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8.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1.xml" ContentType="application/vnd.openxmlformats-officedocument.theme+xml"/>
  <Override PartName="/ppt/tags/tag13.xml" ContentType="application/vnd.openxmlformats-officedocument.presentationml.tags+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comments/modernComment_7FFFFD09_46A71C9D.xml" ContentType="application/vnd.ms-powerpoint.comments+xml"/>
  <Override PartName="/ppt/comments/modernComment_7FFFFD05_7CD432C8.xml" ContentType="application/vnd.ms-powerpoint.comments+xml"/>
  <Override PartName="/ppt/comments/modernComment_10AB_E03A1B52.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omments/modernComment_10D5_8378388.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692" r:id="rId2"/>
    <p:sldMasterId id="2147483722" r:id="rId3"/>
    <p:sldMasterId id="2147483745" r:id="rId4"/>
    <p:sldMasterId id="2147483769" r:id="rId5"/>
    <p:sldMasterId id="2147483798" r:id="rId6"/>
    <p:sldMasterId id="2147483810" r:id="rId7"/>
    <p:sldMasterId id="2147483845" r:id="rId8"/>
    <p:sldMasterId id="2147483858" r:id="rId9"/>
    <p:sldMasterId id="2147483897" r:id="rId10"/>
    <p:sldMasterId id="2147483927" r:id="rId11"/>
    <p:sldMasterId id="2147483966" r:id="rId12"/>
  </p:sldMasterIdLst>
  <p:notesMasterIdLst>
    <p:notesMasterId r:id="rId43"/>
  </p:notesMasterIdLst>
  <p:sldIdLst>
    <p:sldId id="257" r:id="rId13"/>
    <p:sldId id="4211" r:id="rId14"/>
    <p:sldId id="322" r:id="rId15"/>
    <p:sldId id="4295" r:id="rId16"/>
    <p:sldId id="2147475215" r:id="rId17"/>
    <p:sldId id="2147482888" r:id="rId18"/>
    <p:sldId id="4240" r:id="rId19"/>
    <p:sldId id="2147475203" r:id="rId20"/>
    <p:sldId id="2147482889" r:id="rId21"/>
    <p:sldId id="2147482890" r:id="rId22"/>
    <p:sldId id="2147482887" r:id="rId23"/>
    <p:sldId id="2147482885" r:id="rId24"/>
    <p:sldId id="4267" r:id="rId25"/>
    <p:sldId id="2147482775" r:id="rId26"/>
    <p:sldId id="2147482776" r:id="rId27"/>
    <p:sldId id="2147482777" r:id="rId28"/>
    <p:sldId id="2147475222" r:id="rId29"/>
    <p:sldId id="2147475289" r:id="rId30"/>
    <p:sldId id="2147475230" r:id="rId31"/>
    <p:sldId id="2147475281" r:id="rId32"/>
    <p:sldId id="2147475266" r:id="rId33"/>
    <p:sldId id="5161" r:id="rId34"/>
    <p:sldId id="2147482891" r:id="rId35"/>
    <p:sldId id="2147475452" r:id="rId36"/>
    <p:sldId id="4291" r:id="rId37"/>
    <p:sldId id="4292" r:id="rId38"/>
    <p:sldId id="2147475176" r:id="rId39"/>
    <p:sldId id="4309" r:id="rId40"/>
    <p:sldId id="4308" r:id="rId41"/>
    <p:sldId id="285" r:id="rId42"/>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3DCA21-BF6A-D438-C95D-416DD86C7149}" name="Jordi Monso" initials="JM" userId="S::jordi.monso@iotaimpact.com::60eaced4-43b2-46de-8aab-b01ddcd95321" providerId="AD"/>
  <p188:author id="{02DF026F-B72A-B9AE-A31E-8283DCB1CFE6}" name="Andrea Montoya" initials="" userId="S::andrea.montoya@iotaimpact.com::65c4ba14-08da-48ba-b464-36094d4b8781" providerId="AD"/>
  <p188:author id="{80C2B38A-1382-C3D4-ADC7-8EF3F2DF1026}" name="Guest User" initials="GU" userId="S::urn:spo:anon#757c1317d0d132d458febe03096cb9706798525325e187dbeaf9a0d2463d8863::" providerId="AD"/>
  <p188:author id="{A010F08B-5DB1-04A0-ED7C-E94E5E0ADC29}" name="Gabriela Rodriguez" initials="GR" userId="S::gabriela.rodriguez@iotaimpact.com::8005adc6-b615-480f-b3a3-b44e6b8c68dc" providerId="AD"/>
  <p188:author id="{03F214B3-7CEC-38AE-4316-0F5FCDD45928}" name="Ana Duran" initials="AD" userId="S::ana.duran@iotaimpact.com::995a9660-0139-42d7-a321-5cb51c8cec50" providerId="AD"/>
  <p188:author id="{CC6AEBC9-D311-F1FC-8187-020122B6BF4C}" name="Andres Satizabal" initials="AS" userId="S::andres@iotaimpact.com::dd95d34c-96ea-48c0-9463-47f87a3366a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2E98"/>
    <a:srgbClr val="8C7FFE"/>
    <a:srgbClr val="8D8B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386468-88BE-BEEC-AE87-D826B3DD9B6F}" v="6" dt="2024-10-24T17:59:43.4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microsoft.com/office/2018/10/relationships/authors" Target="author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heme" Target="theme/theme1.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oleObject" Target="https://iotaimpactcompany1.sharepoint.com/sites/iotaimpact/Shared%20Documents/1.0%20-%20Research%20Consulting/17.%20PPI%20Beauty/3.%20Marketing%20Mix%20Model/Modelos/1.%20Real%20Techniques/Gr&#225;fica%20Jordi%20Retorno%20y%20Lift%20-%20VF.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iotaimpactcompany1.sharepoint.com/sites/iotaimpact/Shared%20Documents/1.0%20-%20Research%20Consulting/17.%20PPI%20Beauty/3.%20Marketing%20Mix%20Model/Modelos/1.%20Real%20Techniques/Gr&#225;fica%20Jordi%20Retorno%20y%20Lift%20-%20VF.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iotaimpactcompany1.sharepoint.com/sites/iotaimpact/Shared%20Documents/1.0%20-%20Research%20Consulting/17.%20PPI%20Beauty/3.%20Marketing%20Mix%20Model/Modelos/1.%20Real%20Techniques/Gr&#225;fica%20Jordi%20Retorno%20y%20Lift%20-%20VF.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iotaimpactcompany1.sharepoint.com/sites/iotaimpact/Shared%20Documents/1.0%20-%20Research%20Consulting/17.%20PPI%20Beauty/3.%20Marketing%20Mix%20Model/Modelos/1.%20Real%20Techniques/RT-Target%20VF%20sin%20In%20Stock.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iotaimpactcompany1.sharepoint.com/sites/iotaimpact/Shared%20Documents/1.0%20-%20Research%20Consulting/17.%20PPI%20Beauty/3.%20Marketing%20Mix%20Model/Modelos/1.%20Real%20Techniques/RT-Target%20VF%20sin%20In%20Stock.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j-lt"/>
              <a:ea typeface="+mn-ea"/>
              <a:cs typeface="+mn-cs"/>
            </a:defRPr>
          </a:pPr>
          <a:endParaRPr lang="en-US"/>
        </a:p>
      </c:txPr>
    </c:title>
    <c:autoTitleDeleted val="0"/>
    <c:plotArea>
      <c:layout/>
      <c:barChart>
        <c:barDir val="bar"/>
        <c:grouping val="clustered"/>
        <c:varyColors val="0"/>
        <c:ser>
          <c:idx val="0"/>
          <c:order val="0"/>
          <c:tx>
            <c:strRef>
              <c:f>'[Gráfica Jordi Retorno y Lift - VF.xlsx]Sheet1 (2)'!$I$37</c:f>
              <c:strCache>
                <c:ptCount val="1"/>
                <c:pt idx="0">
                  <c:v>Retur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áfica Jordi Retorno y Lift - VF.xlsx]Sheet1 (2)'!$C$38:$C$58</c:f>
              <c:strCache>
                <c:ptCount val="21"/>
                <c:pt idx="0">
                  <c:v>Retailer 1/Campaign 1</c:v>
                </c:pt>
                <c:pt idx="1">
                  <c:v>Retailer 2/Campaign 1</c:v>
                </c:pt>
                <c:pt idx="2">
                  <c:v>Retailer 2/Campaign 2</c:v>
                </c:pt>
                <c:pt idx="3">
                  <c:v>Retailer 2/Campaign 3</c:v>
                </c:pt>
                <c:pt idx="4">
                  <c:v>Retailer 4/Campaign 1</c:v>
                </c:pt>
                <c:pt idx="5">
                  <c:v>Retailer 4/Campaign 2</c:v>
                </c:pt>
                <c:pt idx="6">
                  <c:v>National/Campaign 1</c:v>
                </c:pt>
                <c:pt idx="7">
                  <c:v>Retailer 3/Campaign 1</c:v>
                </c:pt>
                <c:pt idx="8">
                  <c:v>Retailer 2/Campaign 4</c:v>
                </c:pt>
                <c:pt idx="9">
                  <c:v>Retailer 2/Campaign 5</c:v>
                </c:pt>
                <c:pt idx="10">
                  <c:v>National/Campaign 2</c:v>
                </c:pt>
                <c:pt idx="11">
                  <c:v>Retailer 4/Campaign 3</c:v>
                </c:pt>
                <c:pt idx="12">
                  <c:v>Retailer 4/Campaign 4</c:v>
                </c:pt>
                <c:pt idx="13">
                  <c:v>National/Campaign 3</c:v>
                </c:pt>
                <c:pt idx="14">
                  <c:v>National/Campaign 4</c:v>
                </c:pt>
                <c:pt idx="15">
                  <c:v>Retailer 2/Campaign 6</c:v>
                </c:pt>
                <c:pt idx="16">
                  <c:v>Retailer 4/Campaign 5</c:v>
                </c:pt>
                <c:pt idx="17">
                  <c:v>National/Campaign 5</c:v>
                </c:pt>
                <c:pt idx="18">
                  <c:v>National/Campaign 6</c:v>
                </c:pt>
                <c:pt idx="19">
                  <c:v>Retailer 1/Campaign 2</c:v>
                </c:pt>
                <c:pt idx="20">
                  <c:v>Retailer 1/Campaign 3</c:v>
                </c:pt>
              </c:strCache>
            </c:strRef>
          </c:cat>
          <c:val>
            <c:numRef>
              <c:f>'[Gráfica Jordi Retorno y Lift - VF.xlsx]Sheet1 (2)'!$I$38:$I$58</c:f>
              <c:numCache>
                <c:formatCode>0.00</c:formatCode>
                <c:ptCount val="21"/>
                <c:pt idx="0">
                  <c:v>0</c:v>
                </c:pt>
                <c:pt idx="1">
                  <c:v>0</c:v>
                </c:pt>
                <c:pt idx="2">
                  <c:v>0</c:v>
                </c:pt>
                <c:pt idx="3">
                  <c:v>0</c:v>
                </c:pt>
                <c:pt idx="4">
                  <c:v>0</c:v>
                </c:pt>
                <c:pt idx="5">
                  <c:v>0</c:v>
                </c:pt>
                <c:pt idx="6">
                  <c:v>1.0440456770233197E-6</c:v>
                </c:pt>
                <c:pt idx="7">
                  <c:v>2.3025929981983162E-2</c:v>
                </c:pt>
                <c:pt idx="8">
                  <c:v>1.4210785193237485</c:v>
                </c:pt>
                <c:pt idx="9">
                  <c:v>2.1204269145125374</c:v>
                </c:pt>
                <c:pt idx="10">
                  <c:v>2.1123673402664767</c:v>
                </c:pt>
                <c:pt idx="11">
                  <c:v>2.7410004459453079</c:v>
                </c:pt>
                <c:pt idx="12">
                  <c:v>3.0019827290403756</c:v>
                </c:pt>
                <c:pt idx="13">
                  <c:v>3.4991529903010123</c:v>
                </c:pt>
                <c:pt idx="14">
                  <c:v>3.6362741793242179</c:v>
                </c:pt>
                <c:pt idx="15">
                  <c:v>3.6432295215786481</c:v>
                </c:pt>
                <c:pt idx="16">
                  <c:v>4.3910448834894389</c:v>
                </c:pt>
                <c:pt idx="17">
                  <c:v>15.46810569181801</c:v>
                </c:pt>
                <c:pt idx="18">
                  <c:v>25.985191449686184</c:v>
                </c:pt>
                <c:pt idx="19">
                  <c:v>32.137931034482762</c:v>
                </c:pt>
                <c:pt idx="20">
                  <c:v>138.1113155473781</c:v>
                </c:pt>
              </c:numCache>
            </c:numRef>
          </c:val>
          <c:extLst>
            <c:ext xmlns:c16="http://schemas.microsoft.com/office/drawing/2014/chart" uri="{C3380CC4-5D6E-409C-BE32-E72D297353CC}">
              <c16:uniqueId val="{00000000-B57B-4419-837A-52755A14CD53}"/>
            </c:ext>
          </c:extLst>
        </c:ser>
        <c:dLbls>
          <c:dLblPos val="outEnd"/>
          <c:showLegendKey val="0"/>
          <c:showVal val="1"/>
          <c:showCatName val="0"/>
          <c:showSerName val="0"/>
          <c:showPercent val="0"/>
          <c:showBubbleSize val="0"/>
        </c:dLbls>
        <c:gapWidth val="182"/>
        <c:axId val="1204041472"/>
        <c:axId val="1204041952"/>
      </c:barChart>
      <c:catAx>
        <c:axId val="12040414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en-US"/>
          </a:p>
        </c:txPr>
        <c:crossAx val="1204041952"/>
        <c:crosses val="autoZero"/>
        <c:auto val="1"/>
        <c:lblAlgn val="ctr"/>
        <c:lblOffset val="100"/>
        <c:noMultiLvlLbl val="0"/>
      </c:catAx>
      <c:valAx>
        <c:axId val="1204041952"/>
        <c:scaling>
          <c:orientation val="minMax"/>
        </c:scaling>
        <c:delete val="1"/>
        <c:axPos val="b"/>
        <c:numFmt formatCode="0.00" sourceLinked="1"/>
        <c:majorTickMark val="none"/>
        <c:minorTickMark val="none"/>
        <c:tickLblPos val="nextTo"/>
        <c:crossAx val="1204041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j-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j-lt"/>
              <a:ea typeface="+mn-ea"/>
              <a:cs typeface="+mn-cs"/>
            </a:defRPr>
          </a:pPr>
          <a:endParaRPr lang="en-US"/>
        </a:p>
      </c:txPr>
    </c:title>
    <c:autoTitleDeleted val="0"/>
    <c:plotArea>
      <c:layout/>
      <c:barChart>
        <c:barDir val="bar"/>
        <c:grouping val="clustered"/>
        <c:varyColors val="0"/>
        <c:ser>
          <c:idx val="0"/>
          <c:order val="0"/>
          <c:tx>
            <c:strRef>
              <c:f>'[Gráfica Jordi Retorno y Lift - VF.xlsx]Sheet1 (2)'!$E$37</c:f>
              <c:strCache>
                <c:ptCount val="1"/>
                <c:pt idx="0">
                  <c:v>Lift ($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áfica Jordi Retorno y Lift - VF.xlsx]Sheet1 (2)'!$C$38:$C$58</c:f>
              <c:strCache>
                <c:ptCount val="21"/>
                <c:pt idx="0">
                  <c:v>Retailer 1/Campaign 1</c:v>
                </c:pt>
                <c:pt idx="1">
                  <c:v>Retailer 2/Campaign 1</c:v>
                </c:pt>
                <c:pt idx="2">
                  <c:v>Retailer 2/Campaign 2</c:v>
                </c:pt>
                <c:pt idx="3">
                  <c:v>Retailer 2/Campaign 3</c:v>
                </c:pt>
                <c:pt idx="4">
                  <c:v>Retailer 4/Campaign 1</c:v>
                </c:pt>
                <c:pt idx="5">
                  <c:v>Retailer 4/Campaign 2</c:v>
                </c:pt>
                <c:pt idx="6">
                  <c:v>National/Campaign 1</c:v>
                </c:pt>
                <c:pt idx="7">
                  <c:v>Retailer 3/Campaign 1</c:v>
                </c:pt>
                <c:pt idx="8">
                  <c:v>Retailer 2/Campaign 4</c:v>
                </c:pt>
                <c:pt idx="9">
                  <c:v>Retailer 2/Campaign 5</c:v>
                </c:pt>
                <c:pt idx="10">
                  <c:v>National/Campaign 2</c:v>
                </c:pt>
                <c:pt idx="11">
                  <c:v>Retailer 4/Campaign 3</c:v>
                </c:pt>
                <c:pt idx="12">
                  <c:v>Retailer 4/Campaign 4</c:v>
                </c:pt>
                <c:pt idx="13">
                  <c:v>National/Campaign 3</c:v>
                </c:pt>
                <c:pt idx="14">
                  <c:v>National/Campaign 4</c:v>
                </c:pt>
                <c:pt idx="15">
                  <c:v>Retailer 2/Campaign 6</c:v>
                </c:pt>
                <c:pt idx="16">
                  <c:v>Retailer 4/Campaign 5</c:v>
                </c:pt>
                <c:pt idx="17">
                  <c:v>National/Campaign 5</c:v>
                </c:pt>
                <c:pt idx="18">
                  <c:v>National/Campaign 6</c:v>
                </c:pt>
                <c:pt idx="19">
                  <c:v>Retailer 1/Campaign 2</c:v>
                </c:pt>
                <c:pt idx="20">
                  <c:v>Retailer 1/Campaign 3</c:v>
                </c:pt>
              </c:strCache>
            </c:strRef>
          </c:cat>
          <c:val>
            <c:numRef>
              <c:f>'[Gráfica Jordi Retorno y Lift - VF.xlsx]Sheet1 (2)'!$E$38:$E$58</c:f>
              <c:numCache>
                <c:formatCode>[$$-409]#,##0.00_ ;\-[$$-409]#,##0.00\ </c:formatCode>
                <c:ptCount val="21"/>
                <c:pt idx="0">
                  <c:v>0</c:v>
                </c:pt>
                <c:pt idx="1">
                  <c:v>0</c:v>
                </c:pt>
                <c:pt idx="2">
                  <c:v>0</c:v>
                </c:pt>
                <c:pt idx="3">
                  <c:v>0</c:v>
                </c:pt>
                <c:pt idx="4">
                  <c:v>0</c:v>
                </c:pt>
                <c:pt idx="5">
                  <c:v>0</c:v>
                </c:pt>
                <c:pt idx="6">
                  <c:v>3.2000000000000001E-7</c:v>
                </c:pt>
                <c:pt idx="7">
                  <c:v>2.6071799999999997E-3</c:v>
                </c:pt>
                <c:pt idx="8">
                  <c:v>1.02489746</c:v>
                </c:pt>
                <c:pt idx="9">
                  <c:v>1.09509448</c:v>
                </c:pt>
                <c:pt idx="10">
                  <c:v>5.75026525</c:v>
                </c:pt>
                <c:pt idx="11">
                  <c:v>7.8367806699999996</c:v>
                </c:pt>
                <c:pt idx="12">
                  <c:v>2.4671554900000001</c:v>
                </c:pt>
                <c:pt idx="13">
                  <c:v>3.7073246000000002</c:v>
                </c:pt>
                <c:pt idx="14">
                  <c:v>1.99564545</c:v>
                </c:pt>
                <c:pt idx="15">
                  <c:v>0.20530326999999998</c:v>
                </c:pt>
                <c:pt idx="16">
                  <c:v>5.1700338099999996</c:v>
                </c:pt>
                <c:pt idx="17">
                  <c:v>0.33046060999999999</c:v>
                </c:pt>
                <c:pt idx="18">
                  <c:v>4.1526154900000005</c:v>
                </c:pt>
                <c:pt idx="19">
                  <c:v>1.1183999999999999E-2</c:v>
                </c:pt>
                <c:pt idx="20">
                  <c:v>0.15012700000000001</c:v>
                </c:pt>
              </c:numCache>
            </c:numRef>
          </c:val>
          <c:extLst>
            <c:ext xmlns:c16="http://schemas.microsoft.com/office/drawing/2014/chart" uri="{C3380CC4-5D6E-409C-BE32-E72D297353CC}">
              <c16:uniqueId val="{00000000-AFF5-4BA0-8639-FCA80FDE792E}"/>
            </c:ext>
          </c:extLst>
        </c:ser>
        <c:dLbls>
          <c:dLblPos val="outEnd"/>
          <c:showLegendKey val="0"/>
          <c:showVal val="1"/>
          <c:showCatName val="0"/>
          <c:showSerName val="0"/>
          <c:showPercent val="0"/>
          <c:showBubbleSize val="0"/>
        </c:dLbls>
        <c:gapWidth val="182"/>
        <c:axId val="1204041472"/>
        <c:axId val="1204041952"/>
      </c:barChart>
      <c:catAx>
        <c:axId val="1204041472"/>
        <c:scaling>
          <c:orientation val="minMax"/>
        </c:scaling>
        <c:delete val="1"/>
        <c:axPos val="l"/>
        <c:numFmt formatCode="General" sourceLinked="1"/>
        <c:majorTickMark val="none"/>
        <c:minorTickMark val="none"/>
        <c:tickLblPos val="nextTo"/>
        <c:crossAx val="1204041952"/>
        <c:crosses val="autoZero"/>
        <c:auto val="1"/>
        <c:lblAlgn val="ctr"/>
        <c:lblOffset val="100"/>
        <c:noMultiLvlLbl val="0"/>
      </c:catAx>
      <c:valAx>
        <c:axId val="1204041952"/>
        <c:scaling>
          <c:orientation val="minMax"/>
        </c:scaling>
        <c:delete val="1"/>
        <c:axPos val="b"/>
        <c:numFmt formatCode="[$$-409]#,##0.00_ ;\-[$$-409]#,##0.00\ " sourceLinked="1"/>
        <c:majorTickMark val="none"/>
        <c:minorTickMark val="none"/>
        <c:tickLblPos val="nextTo"/>
        <c:crossAx val="1204041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j-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j-lt"/>
              <a:ea typeface="+mn-ea"/>
              <a:cs typeface="+mn-cs"/>
            </a:defRPr>
          </a:pPr>
          <a:endParaRPr lang="en-US"/>
        </a:p>
      </c:txPr>
    </c:title>
    <c:autoTitleDeleted val="0"/>
    <c:plotArea>
      <c:layout/>
      <c:barChart>
        <c:barDir val="bar"/>
        <c:grouping val="clustered"/>
        <c:varyColors val="0"/>
        <c:ser>
          <c:idx val="0"/>
          <c:order val="0"/>
          <c:tx>
            <c:strRef>
              <c:f>'[Gráfica Jordi Retorno y Lift - VF.xlsx]Sheet1 (2)'!$G$37</c:f>
              <c:strCache>
                <c:ptCount val="1"/>
                <c:pt idx="0">
                  <c:v>Spend ($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áfica Jordi Retorno y Lift - VF.xlsx]Sheet1 (2)'!$C$38:$C$58</c:f>
              <c:strCache>
                <c:ptCount val="21"/>
                <c:pt idx="0">
                  <c:v>Retailer 1/Campaign 1</c:v>
                </c:pt>
                <c:pt idx="1">
                  <c:v>Retailer 2/Campaign 1</c:v>
                </c:pt>
                <c:pt idx="2">
                  <c:v>Retailer 2/Campaign 2</c:v>
                </c:pt>
                <c:pt idx="3">
                  <c:v>Retailer 2/Campaign 3</c:v>
                </c:pt>
                <c:pt idx="4">
                  <c:v>Retailer 4/Campaign 1</c:v>
                </c:pt>
                <c:pt idx="5">
                  <c:v>Retailer 4/Campaign 2</c:v>
                </c:pt>
                <c:pt idx="6">
                  <c:v>National/Campaign 1</c:v>
                </c:pt>
                <c:pt idx="7">
                  <c:v>Retailer 3/Campaign 1</c:v>
                </c:pt>
                <c:pt idx="8">
                  <c:v>Retailer 2/Campaign 4</c:v>
                </c:pt>
                <c:pt idx="9">
                  <c:v>Retailer 2/Campaign 5</c:v>
                </c:pt>
                <c:pt idx="10">
                  <c:v>National/Campaign 2</c:v>
                </c:pt>
                <c:pt idx="11">
                  <c:v>Retailer 4/Campaign 3</c:v>
                </c:pt>
                <c:pt idx="12">
                  <c:v>Retailer 4/Campaign 4</c:v>
                </c:pt>
                <c:pt idx="13">
                  <c:v>National/Campaign 3</c:v>
                </c:pt>
                <c:pt idx="14">
                  <c:v>National/Campaign 4</c:v>
                </c:pt>
                <c:pt idx="15">
                  <c:v>Retailer 2/Campaign 6</c:v>
                </c:pt>
                <c:pt idx="16">
                  <c:v>Retailer 4/Campaign 5</c:v>
                </c:pt>
                <c:pt idx="17">
                  <c:v>National/Campaign 5</c:v>
                </c:pt>
                <c:pt idx="18">
                  <c:v>National/Campaign 6</c:v>
                </c:pt>
                <c:pt idx="19">
                  <c:v>Retailer 1/Campaign 2</c:v>
                </c:pt>
                <c:pt idx="20">
                  <c:v>Retailer 1/Campaign 3</c:v>
                </c:pt>
              </c:strCache>
            </c:strRef>
          </c:cat>
          <c:val>
            <c:numRef>
              <c:f>'[Gráfica Jordi Retorno y Lift - VF.xlsx]Sheet1 (2)'!$G$38:$G$58</c:f>
              <c:numCache>
                <c:formatCode>[$$-409]#,##0.00_ ;\-[$$-409]#,##0.00\ </c:formatCode>
                <c:ptCount val="21"/>
                <c:pt idx="0">
                  <c:v>4.0150000000000003E-3</c:v>
                </c:pt>
                <c:pt idx="1">
                  <c:v>2.4646999999999999E-2</c:v>
                </c:pt>
                <c:pt idx="2">
                  <c:v>4.0629999999999998E-3</c:v>
                </c:pt>
                <c:pt idx="3">
                  <c:v>0.58151600000000003</c:v>
                </c:pt>
                <c:pt idx="4">
                  <c:v>3.8287000000000002E-2</c:v>
                </c:pt>
                <c:pt idx="5">
                  <c:v>0.18617800000000001</c:v>
                </c:pt>
                <c:pt idx="6">
                  <c:v>0.30649999999999999</c:v>
                </c:pt>
                <c:pt idx="7">
                  <c:v>0.113228</c:v>
                </c:pt>
                <c:pt idx="8">
                  <c:v>0.72121100000000005</c:v>
                </c:pt>
                <c:pt idx="9">
                  <c:v>0.51644999999999996</c:v>
                </c:pt>
                <c:pt idx="10">
                  <c:v>2.7221899999999999</c:v>
                </c:pt>
                <c:pt idx="11">
                  <c:v>2.8590949999999999</c:v>
                </c:pt>
                <c:pt idx="12">
                  <c:v>0.82184199999999996</c:v>
                </c:pt>
                <c:pt idx="13">
                  <c:v>1.0594920000000001</c:v>
                </c:pt>
                <c:pt idx="14">
                  <c:v>0.54881599999999997</c:v>
                </c:pt>
                <c:pt idx="15">
                  <c:v>5.6351999999999999E-2</c:v>
                </c:pt>
                <c:pt idx="16">
                  <c:v>1.1774039999999999</c:v>
                </c:pt>
                <c:pt idx="17">
                  <c:v>2.1364000000000001E-2</c:v>
                </c:pt>
                <c:pt idx="18">
                  <c:v>0.159807</c:v>
                </c:pt>
                <c:pt idx="19">
                  <c:v>3.48E-4</c:v>
                </c:pt>
                <c:pt idx="20">
                  <c:v>1.0870000000000001E-3</c:v>
                </c:pt>
              </c:numCache>
            </c:numRef>
          </c:val>
          <c:extLst>
            <c:ext xmlns:c16="http://schemas.microsoft.com/office/drawing/2014/chart" uri="{C3380CC4-5D6E-409C-BE32-E72D297353CC}">
              <c16:uniqueId val="{00000000-1D82-4EA7-B548-8770950D6602}"/>
            </c:ext>
          </c:extLst>
        </c:ser>
        <c:dLbls>
          <c:dLblPos val="outEnd"/>
          <c:showLegendKey val="0"/>
          <c:showVal val="1"/>
          <c:showCatName val="0"/>
          <c:showSerName val="0"/>
          <c:showPercent val="0"/>
          <c:showBubbleSize val="0"/>
        </c:dLbls>
        <c:gapWidth val="182"/>
        <c:axId val="1204041472"/>
        <c:axId val="1204041952"/>
      </c:barChart>
      <c:catAx>
        <c:axId val="1204041472"/>
        <c:scaling>
          <c:orientation val="minMax"/>
        </c:scaling>
        <c:delete val="1"/>
        <c:axPos val="l"/>
        <c:numFmt formatCode="General" sourceLinked="1"/>
        <c:majorTickMark val="none"/>
        <c:minorTickMark val="none"/>
        <c:tickLblPos val="nextTo"/>
        <c:crossAx val="1204041952"/>
        <c:crosses val="autoZero"/>
        <c:auto val="1"/>
        <c:lblAlgn val="ctr"/>
        <c:lblOffset val="100"/>
        <c:noMultiLvlLbl val="0"/>
      </c:catAx>
      <c:valAx>
        <c:axId val="1204041952"/>
        <c:scaling>
          <c:orientation val="minMax"/>
        </c:scaling>
        <c:delete val="1"/>
        <c:axPos val="b"/>
        <c:numFmt formatCode="[$$-409]#,##0.00_ ;\-[$$-409]#,##0.00\ " sourceLinked="1"/>
        <c:majorTickMark val="none"/>
        <c:minorTickMark val="none"/>
        <c:tickLblPos val="nextTo"/>
        <c:crossAx val="1204041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j-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ndard"/>
        <c:varyColors val="0"/>
        <c:ser>
          <c:idx val="0"/>
          <c:order val="0"/>
          <c:tx>
            <c:strRef>
              <c:f>'[RT-Target VF sin In Stock.xlsx]Modelo'!$D$4</c:f>
              <c:strCache>
                <c:ptCount val="1"/>
                <c:pt idx="0">
                  <c:v>Real Techniques Target Sales</c:v>
                </c:pt>
              </c:strCache>
            </c:strRef>
          </c:tx>
          <c:spPr>
            <a:solidFill>
              <a:schemeClr val="bg1">
                <a:lumMod val="75000"/>
                <a:alpha val="70000"/>
              </a:schemeClr>
            </a:solidFill>
            <a:ln>
              <a:noFill/>
            </a:ln>
            <a:effectLst/>
          </c:spPr>
          <c:cat>
            <c:strRef>
              <c:f>'[RT-Target VF sin In Stock.xlsx]Modelo'!$A$5:$A$117</c:f>
              <c:strCache>
                <c:ptCount val="113"/>
                <c:pt idx="0">
                  <c:v> 1/1/2022 </c:v>
                </c:pt>
                <c:pt idx="1">
                  <c:v> 1/8/2022 </c:v>
                </c:pt>
                <c:pt idx="2">
                  <c:v> 1/15/2022 </c:v>
                </c:pt>
                <c:pt idx="3">
                  <c:v> 1/22/2022 </c:v>
                </c:pt>
                <c:pt idx="4">
                  <c:v> 1/29/2022 </c:v>
                </c:pt>
                <c:pt idx="5">
                  <c:v> 2/5/2022 </c:v>
                </c:pt>
                <c:pt idx="6">
                  <c:v> 2/12/2022 </c:v>
                </c:pt>
                <c:pt idx="7">
                  <c:v> 2/19/2022 </c:v>
                </c:pt>
                <c:pt idx="8">
                  <c:v> 2/26/2022 </c:v>
                </c:pt>
                <c:pt idx="9">
                  <c:v> 3/5/2022 </c:v>
                </c:pt>
                <c:pt idx="10">
                  <c:v> 3/12/2022 </c:v>
                </c:pt>
                <c:pt idx="11">
                  <c:v> 3/19/2022 </c:v>
                </c:pt>
                <c:pt idx="12">
                  <c:v> 3/26/2022 </c:v>
                </c:pt>
                <c:pt idx="13">
                  <c:v> 4/2/2022 </c:v>
                </c:pt>
                <c:pt idx="14">
                  <c:v> 4/9/2022 </c:v>
                </c:pt>
                <c:pt idx="15">
                  <c:v> 4/16/2022 </c:v>
                </c:pt>
                <c:pt idx="16">
                  <c:v> 4/23/2022 </c:v>
                </c:pt>
                <c:pt idx="17">
                  <c:v> 4/30/2022 </c:v>
                </c:pt>
                <c:pt idx="18">
                  <c:v> 5/7/2022 </c:v>
                </c:pt>
                <c:pt idx="19">
                  <c:v> 5/14/2022 </c:v>
                </c:pt>
                <c:pt idx="20">
                  <c:v> 5/21/2022 </c:v>
                </c:pt>
                <c:pt idx="21">
                  <c:v> 5/28/2022 </c:v>
                </c:pt>
                <c:pt idx="22">
                  <c:v> 6/4/2022 </c:v>
                </c:pt>
                <c:pt idx="23">
                  <c:v> 6/11/2022 </c:v>
                </c:pt>
                <c:pt idx="24">
                  <c:v> 6/18/2022 </c:v>
                </c:pt>
                <c:pt idx="25">
                  <c:v> 6/25/2022 </c:v>
                </c:pt>
                <c:pt idx="26">
                  <c:v> 7/2/2022 </c:v>
                </c:pt>
                <c:pt idx="27">
                  <c:v> 7/9/2022 </c:v>
                </c:pt>
                <c:pt idx="28">
                  <c:v> 7/16/2022 </c:v>
                </c:pt>
                <c:pt idx="29">
                  <c:v> 7/23/2022 </c:v>
                </c:pt>
                <c:pt idx="30">
                  <c:v> 7/30/2022 </c:v>
                </c:pt>
                <c:pt idx="31">
                  <c:v> 8/6/2022 </c:v>
                </c:pt>
                <c:pt idx="32">
                  <c:v> 8/13/2022 </c:v>
                </c:pt>
                <c:pt idx="33">
                  <c:v> 8/20/2022 </c:v>
                </c:pt>
                <c:pt idx="34">
                  <c:v> 8/27/2022 </c:v>
                </c:pt>
                <c:pt idx="35">
                  <c:v> 9/3/2022 </c:v>
                </c:pt>
                <c:pt idx="36">
                  <c:v> 9/10/2022 </c:v>
                </c:pt>
                <c:pt idx="37">
                  <c:v> 9/17/2022 </c:v>
                </c:pt>
                <c:pt idx="38">
                  <c:v> 9/24/2022 </c:v>
                </c:pt>
                <c:pt idx="39">
                  <c:v> 10/1/2022 </c:v>
                </c:pt>
                <c:pt idx="40">
                  <c:v> 10/8/2022 </c:v>
                </c:pt>
                <c:pt idx="41">
                  <c:v> 10/15/2022 </c:v>
                </c:pt>
                <c:pt idx="42">
                  <c:v> 10/22/2022 </c:v>
                </c:pt>
                <c:pt idx="43">
                  <c:v> 10/29/2022 </c:v>
                </c:pt>
                <c:pt idx="44">
                  <c:v> 11/5/2022 </c:v>
                </c:pt>
                <c:pt idx="45">
                  <c:v> 11/12/2022 </c:v>
                </c:pt>
                <c:pt idx="46">
                  <c:v> 11/19/2022 </c:v>
                </c:pt>
                <c:pt idx="47">
                  <c:v> 11/26/2022 </c:v>
                </c:pt>
                <c:pt idx="48">
                  <c:v> 12/3/2022 </c:v>
                </c:pt>
                <c:pt idx="49">
                  <c:v> 12/10/2022 </c:v>
                </c:pt>
                <c:pt idx="50">
                  <c:v> 12/17/2022 </c:v>
                </c:pt>
                <c:pt idx="51">
                  <c:v> 12/24/2022 </c:v>
                </c:pt>
                <c:pt idx="52">
                  <c:v> 12/31/2022 </c:v>
                </c:pt>
                <c:pt idx="53">
                  <c:v> 1/7/2023 </c:v>
                </c:pt>
                <c:pt idx="54">
                  <c:v> 1/14/2023 </c:v>
                </c:pt>
                <c:pt idx="55">
                  <c:v> 1/21/2023 </c:v>
                </c:pt>
                <c:pt idx="56">
                  <c:v> 1/28/2023 </c:v>
                </c:pt>
                <c:pt idx="57">
                  <c:v> 2/4/2023 </c:v>
                </c:pt>
                <c:pt idx="58">
                  <c:v> 2/11/2023 </c:v>
                </c:pt>
                <c:pt idx="59">
                  <c:v> 2/18/2023 </c:v>
                </c:pt>
                <c:pt idx="60">
                  <c:v> 2/25/2023 </c:v>
                </c:pt>
                <c:pt idx="61">
                  <c:v> 3/4/2023 </c:v>
                </c:pt>
                <c:pt idx="62">
                  <c:v> 3/11/2023 </c:v>
                </c:pt>
                <c:pt idx="63">
                  <c:v> 3/18/2023 </c:v>
                </c:pt>
                <c:pt idx="64">
                  <c:v> 3/25/2023 </c:v>
                </c:pt>
                <c:pt idx="65">
                  <c:v> 4/1/2023 </c:v>
                </c:pt>
                <c:pt idx="66">
                  <c:v> 4/8/2023 </c:v>
                </c:pt>
                <c:pt idx="67">
                  <c:v> 4/15/2023 </c:v>
                </c:pt>
                <c:pt idx="68">
                  <c:v> 4/22/2023 </c:v>
                </c:pt>
                <c:pt idx="69">
                  <c:v> 4/29/2023 </c:v>
                </c:pt>
                <c:pt idx="70">
                  <c:v> 5/6/2023 </c:v>
                </c:pt>
                <c:pt idx="71">
                  <c:v> 5/13/2023 </c:v>
                </c:pt>
                <c:pt idx="72">
                  <c:v> 5/20/2023 </c:v>
                </c:pt>
                <c:pt idx="73">
                  <c:v> 5/27/2023 </c:v>
                </c:pt>
                <c:pt idx="74">
                  <c:v> 6/3/2023 </c:v>
                </c:pt>
                <c:pt idx="75">
                  <c:v> 6/10/2023 </c:v>
                </c:pt>
                <c:pt idx="76">
                  <c:v> 6/17/2023 </c:v>
                </c:pt>
                <c:pt idx="77">
                  <c:v> 6/24/2023 </c:v>
                </c:pt>
                <c:pt idx="78">
                  <c:v> 7/1/2023 </c:v>
                </c:pt>
                <c:pt idx="79">
                  <c:v> 7/8/2023 </c:v>
                </c:pt>
                <c:pt idx="80">
                  <c:v> 7/15/2023 </c:v>
                </c:pt>
                <c:pt idx="81">
                  <c:v> 7/22/2023 </c:v>
                </c:pt>
                <c:pt idx="82">
                  <c:v> 7/29/2023 </c:v>
                </c:pt>
                <c:pt idx="83">
                  <c:v> 8/5/2023 </c:v>
                </c:pt>
                <c:pt idx="84">
                  <c:v> 8/12/2023 </c:v>
                </c:pt>
                <c:pt idx="85">
                  <c:v> 8/19/2023 </c:v>
                </c:pt>
                <c:pt idx="86">
                  <c:v> 8/26/2023 </c:v>
                </c:pt>
                <c:pt idx="87">
                  <c:v> 9/2/2023 </c:v>
                </c:pt>
                <c:pt idx="88">
                  <c:v> 9/9/2023 </c:v>
                </c:pt>
                <c:pt idx="89">
                  <c:v> 9/16/2023 </c:v>
                </c:pt>
                <c:pt idx="90">
                  <c:v> 9/23/2023 </c:v>
                </c:pt>
                <c:pt idx="91">
                  <c:v> 9/30/2023 </c:v>
                </c:pt>
                <c:pt idx="92">
                  <c:v> 10/7/2023 </c:v>
                </c:pt>
                <c:pt idx="93">
                  <c:v> 10/14/2023 </c:v>
                </c:pt>
                <c:pt idx="94">
                  <c:v> 10/21/2023 </c:v>
                </c:pt>
                <c:pt idx="95">
                  <c:v> 10/28/2023 </c:v>
                </c:pt>
                <c:pt idx="96">
                  <c:v> 11/4/2023 </c:v>
                </c:pt>
                <c:pt idx="97">
                  <c:v> 11/11/2023 </c:v>
                </c:pt>
                <c:pt idx="98">
                  <c:v> 11/18/2023 </c:v>
                </c:pt>
                <c:pt idx="99">
                  <c:v> 11/25/2023 </c:v>
                </c:pt>
                <c:pt idx="100">
                  <c:v> 12/2/2023 </c:v>
                </c:pt>
                <c:pt idx="101">
                  <c:v> 12/9/2023 </c:v>
                </c:pt>
                <c:pt idx="102">
                  <c:v> 12/16/2023 </c:v>
                </c:pt>
                <c:pt idx="103">
                  <c:v> 12/23/2023 </c:v>
                </c:pt>
                <c:pt idx="104">
                  <c:v> 12/30/2023 </c:v>
                </c:pt>
                <c:pt idx="105">
                  <c:v> 1/6/2024 </c:v>
                </c:pt>
                <c:pt idx="106">
                  <c:v> 1/13/2024 </c:v>
                </c:pt>
                <c:pt idx="107">
                  <c:v> 1/20/2024 </c:v>
                </c:pt>
                <c:pt idx="108">
                  <c:v> 1/27/2024 </c:v>
                </c:pt>
                <c:pt idx="109">
                  <c:v> 2/3/2024 </c:v>
                </c:pt>
                <c:pt idx="110">
                  <c:v> 2/10/2024 </c:v>
                </c:pt>
                <c:pt idx="111">
                  <c:v> 2/17/2024 </c:v>
                </c:pt>
                <c:pt idx="112">
                  <c:v> 2/24/2024 </c:v>
                </c:pt>
              </c:strCache>
            </c:strRef>
          </c:cat>
          <c:val>
            <c:numRef>
              <c:f>'[RT-Target VF sin In Stock.xlsx]Modelo'!$D$5:$D$117</c:f>
              <c:numCache>
                <c:formatCode>"$"#,##0_);[Red]\("$"#,##0\)</c:formatCode>
                <c:ptCount val="113"/>
                <c:pt idx="0">
                  <c:v>549764</c:v>
                </c:pt>
                <c:pt idx="1">
                  <c:v>421171</c:v>
                </c:pt>
                <c:pt idx="2">
                  <c:v>412038</c:v>
                </c:pt>
                <c:pt idx="3">
                  <c:v>414127</c:v>
                </c:pt>
                <c:pt idx="4">
                  <c:v>396466</c:v>
                </c:pt>
                <c:pt idx="5">
                  <c:v>379465</c:v>
                </c:pt>
                <c:pt idx="6">
                  <c:v>381265</c:v>
                </c:pt>
                <c:pt idx="7">
                  <c:v>371253</c:v>
                </c:pt>
                <c:pt idx="8">
                  <c:v>419833</c:v>
                </c:pt>
                <c:pt idx="9">
                  <c:v>443921</c:v>
                </c:pt>
                <c:pt idx="10">
                  <c:v>441541</c:v>
                </c:pt>
                <c:pt idx="11">
                  <c:v>479812</c:v>
                </c:pt>
                <c:pt idx="12">
                  <c:v>462384</c:v>
                </c:pt>
                <c:pt idx="13">
                  <c:v>440014</c:v>
                </c:pt>
                <c:pt idx="14">
                  <c:v>440360</c:v>
                </c:pt>
                <c:pt idx="15">
                  <c:v>485112</c:v>
                </c:pt>
                <c:pt idx="16">
                  <c:v>401886</c:v>
                </c:pt>
                <c:pt idx="17">
                  <c:v>444305</c:v>
                </c:pt>
                <c:pt idx="18">
                  <c:v>479586</c:v>
                </c:pt>
                <c:pt idx="19">
                  <c:v>421492</c:v>
                </c:pt>
                <c:pt idx="20">
                  <c:v>424820</c:v>
                </c:pt>
                <c:pt idx="21">
                  <c:v>447505</c:v>
                </c:pt>
                <c:pt idx="22">
                  <c:v>422168</c:v>
                </c:pt>
                <c:pt idx="23">
                  <c:v>416157</c:v>
                </c:pt>
                <c:pt idx="24">
                  <c:v>384912</c:v>
                </c:pt>
                <c:pt idx="25">
                  <c:v>372434</c:v>
                </c:pt>
                <c:pt idx="26">
                  <c:v>348684</c:v>
                </c:pt>
                <c:pt idx="27">
                  <c:v>333381</c:v>
                </c:pt>
                <c:pt idx="28">
                  <c:v>363387</c:v>
                </c:pt>
                <c:pt idx="29">
                  <c:v>372391</c:v>
                </c:pt>
                <c:pt idx="30">
                  <c:v>383442</c:v>
                </c:pt>
                <c:pt idx="31">
                  <c:v>413580</c:v>
                </c:pt>
                <c:pt idx="32">
                  <c:v>439788</c:v>
                </c:pt>
                <c:pt idx="33">
                  <c:v>483418</c:v>
                </c:pt>
                <c:pt idx="34">
                  <c:v>456781</c:v>
                </c:pt>
                <c:pt idx="35">
                  <c:v>421737</c:v>
                </c:pt>
                <c:pt idx="36">
                  <c:v>421983</c:v>
                </c:pt>
                <c:pt idx="37">
                  <c:v>429349</c:v>
                </c:pt>
                <c:pt idx="38">
                  <c:v>450923</c:v>
                </c:pt>
                <c:pt idx="39">
                  <c:v>443902</c:v>
                </c:pt>
                <c:pt idx="40">
                  <c:v>463773</c:v>
                </c:pt>
                <c:pt idx="41">
                  <c:v>462699</c:v>
                </c:pt>
                <c:pt idx="42">
                  <c:v>468894</c:v>
                </c:pt>
                <c:pt idx="43">
                  <c:v>502037</c:v>
                </c:pt>
                <c:pt idx="44">
                  <c:v>431257</c:v>
                </c:pt>
                <c:pt idx="45">
                  <c:v>473662</c:v>
                </c:pt>
                <c:pt idx="46">
                  <c:v>470526</c:v>
                </c:pt>
                <c:pt idx="47">
                  <c:v>460364</c:v>
                </c:pt>
                <c:pt idx="48">
                  <c:v>501287</c:v>
                </c:pt>
                <c:pt idx="49">
                  <c:v>544673</c:v>
                </c:pt>
                <c:pt idx="50">
                  <c:v>672836</c:v>
                </c:pt>
                <c:pt idx="51">
                  <c:v>818114</c:v>
                </c:pt>
                <c:pt idx="52">
                  <c:v>525689</c:v>
                </c:pt>
                <c:pt idx="53">
                  <c:v>462624</c:v>
                </c:pt>
                <c:pt idx="54">
                  <c:v>419306</c:v>
                </c:pt>
                <c:pt idx="55">
                  <c:v>423352</c:v>
                </c:pt>
                <c:pt idx="56">
                  <c:v>405102</c:v>
                </c:pt>
                <c:pt idx="57">
                  <c:v>449710</c:v>
                </c:pt>
                <c:pt idx="58">
                  <c:v>504677</c:v>
                </c:pt>
                <c:pt idx="59">
                  <c:v>491952</c:v>
                </c:pt>
                <c:pt idx="60">
                  <c:v>518139</c:v>
                </c:pt>
                <c:pt idx="61">
                  <c:v>480225</c:v>
                </c:pt>
                <c:pt idx="62">
                  <c:v>495497</c:v>
                </c:pt>
                <c:pt idx="63">
                  <c:v>499185</c:v>
                </c:pt>
                <c:pt idx="64">
                  <c:v>447210</c:v>
                </c:pt>
                <c:pt idx="65">
                  <c:v>429231</c:v>
                </c:pt>
                <c:pt idx="66">
                  <c:v>490095</c:v>
                </c:pt>
                <c:pt idx="67">
                  <c:v>371002</c:v>
                </c:pt>
                <c:pt idx="68">
                  <c:v>464756</c:v>
                </c:pt>
                <c:pt idx="69">
                  <c:v>475820</c:v>
                </c:pt>
                <c:pt idx="70">
                  <c:v>476734</c:v>
                </c:pt>
                <c:pt idx="71">
                  <c:v>519262</c:v>
                </c:pt>
                <c:pt idx="72">
                  <c:v>498128</c:v>
                </c:pt>
                <c:pt idx="73">
                  <c:v>441711</c:v>
                </c:pt>
                <c:pt idx="74">
                  <c:v>416805</c:v>
                </c:pt>
                <c:pt idx="75">
                  <c:v>406968</c:v>
                </c:pt>
                <c:pt idx="76">
                  <c:v>422653</c:v>
                </c:pt>
                <c:pt idx="77">
                  <c:v>411958</c:v>
                </c:pt>
                <c:pt idx="78">
                  <c:v>411998</c:v>
                </c:pt>
                <c:pt idx="79">
                  <c:v>376726</c:v>
                </c:pt>
                <c:pt idx="80">
                  <c:v>399690</c:v>
                </c:pt>
                <c:pt idx="81">
                  <c:v>405384</c:v>
                </c:pt>
                <c:pt idx="82">
                  <c:v>408323</c:v>
                </c:pt>
                <c:pt idx="83">
                  <c:v>441929</c:v>
                </c:pt>
                <c:pt idx="84">
                  <c:v>462644</c:v>
                </c:pt>
                <c:pt idx="85">
                  <c:v>474428</c:v>
                </c:pt>
                <c:pt idx="86">
                  <c:v>443072</c:v>
                </c:pt>
                <c:pt idx="87">
                  <c:v>408130</c:v>
                </c:pt>
                <c:pt idx="88">
                  <c:v>391129</c:v>
                </c:pt>
                <c:pt idx="89">
                  <c:v>362195</c:v>
                </c:pt>
                <c:pt idx="90">
                  <c:v>424274</c:v>
                </c:pt>
                <c:pt idx="91">
                  <c:v>434454</c:v>
                </c:pt>
                <c:pt idx="92">
                  <c:v>459018</c:v>
                </c:pt>
                <c:pt idx="93">
                  <c:v>417017</c:v>
                </c:pt>
                <c:pt idx="94">
                  <c:v>397667</c:v>
                </c:pt>
                <c:pt idx="95">
                  <c:v>427254</c:v>
                </c:pt>
                <c:pt idx="96">
                  <c:v>402819</c:v>
                </c:pt>
                <c:pt idx="97">
                  <c:v>435375</c:v>
                </c:pt>
                <c:pt idx="98">
                  <c:v>404287</c:v>
                </c:pt>
                <c:pt idx="99">
                  <c:v>424444</c:v>
                </c:pt>
                <c:pt idx="100">
                  <c:v>468607</c:v>
                </c:pt>
                <c:pt idx="101">
                  <c:v>552234</c:v>
                </c:pt>
                <c:pt idx="102">
                  <c:v>622500</c:v>
                </c:pt>
                <c:pt idx="103">
                  <c:v>984600</c:v>
                </c:pt>
                <c:pt idx="104">
                  <c:v>527754</c:v>
                </c:pt>
                <c:pt idx="105">
                  <c:v>434981</c:v>
                </c:pt>
                <c:pt idx="106">
                  <c:v>371319</c:v>
                </c:pt>
                <c:pt idx="107">
                  <c:v>375654</c:v>
                </c:pt>
                <c:pt idx="108">
                  <c:v>376175</c:v>
                </c:pt>
                <c:pt idx="109">
                  <c:v>384807</c:v>
                </c:pt>
                <c:pt idx="110">
                  <c:v>452190</c:v>
                </c:pt>
                <c:pt idx="111">
                  <c:v>491908</c:v>
                </c:pt>
                <c:pt idx="112">
                  <c:v>551136</c:v>
                </c:pt>
              </c:numCache>
            </c:numRef>
          </c:val>
          <c:extLst>
            <c:ext xmlns:c16="http://schemas.microsoft.com/office/drawing/2014/chart" uri="{C3380CC4-5D6E-409C-BE32-E72D297353CC}">
              <c16:uniqueId val="{00000000-8F86-4891-8999-784A92BEA202}"/>
            </c:ext>
          </c:extLst>
        </c:ser>
        <c:dLbls>
          <c:showLegendKey val="0"/>
          <c:showVal val="0"/>
          <c:showCatName val="0"/>
          <c:showSerName val="0"/>
          <c:showPercent val="0"/>
          <c:showBubbleSize val="0"/>
        </c:dLbls>
        <c:axId val="1274246367"/>
        <c:axId val="1119267375"/>
      </c:areaChart>
      <c:lineChart>
        <c:grouping val="standard"/>
        <c:varyColors val="0"/>
        <c:ser>
          <c:idx val="1"/>
          <c:order val="1"/>
          <c:tx>
            <c:strRef>
              <c:f>'[RT-Target VF sin In Stock.xlsx]Modelo'!$AP$4</c:f>
              <c:strCache>
                <c:ptCount val="1"/>
                <c:pt idx="0">
                  <c:v>Predicted</c:v>
                </c:pt>
              </c:strCache>
            </c:strRef>
          </c:tx>
          <c:spPr>
            <a:ln w="28575" cap="rnd">
              <a:solidFill>
                <a:schemeClr val="accent4"/>
              </a:solidFill>
              <a:round/>
            </a:ln>
            <a:effectLst/>
          </c:spPr>
          <c:marker>
            <c:symbol val="none"/>
          </c:marker>
          <c:val>
            <c:numRef>
              <c:f>'[RT-Target VF sin In Stock.xlsx]Modelo'!$AP$5:$AP$117</c:f>
              <c:numCache>
                <c:formatCode>"$"#,##0.00_);[Red]\("$"#,##0.00\)</c:formatCode>
                <c:ptCount val="113"/>
                <c:pt idx="0">
                  <c:v>499193.81435841654</c:v>
                </c:pt>
                <c:pt idx="1">
                  <c:v>378576.6685033238</c:v>
                </c:pt>
                <c:pt idx="2">
                  <c:v>378587.5509818893</c:v>
                </c:pt>
                <c:pt idx="3">
                  <c:v>378579.21416035283</c:v>
                </c:pt>
                <c:pt idx="4">
                  <c:v>378789.94353975367</c:v>
                </c:pt>
                <c:pt idx="5">
                  <c:v>394521.98870297614</c:v>
                </c:pt>
                <c:pt idx="6">
                  <c:v>422558.70446296537</c:v>
                </c:pt>
                <c:pt idx="7">
                  <c:v>402249.3586701384</c:v>
                </c:pt>
                <c:pt idx="8">
                  <c:v>396602.86122090655</c:v>
                </c:pt>
                <c:pt idx="9">
                  <c:v>421013.26369920478</c:v>
                </c:pt>
                <c:pt idx="10">
                  <c:v>430245.15366548696</c:v>
                </c:pt>
                <c:pt idx="11">
                  <c:v>465576.10375138663</c:v>
                </c:pt>
                <c:pt idx="12">
                  <c:v>478931.37675053242</c:v>
                </c:pt>
                <c:pt idx="13">
                  <c:v>455538.36443655344</c:v>
                </c:pt>
                <c:pt idx="14">
                  <c:v>450754.44605908869</c:v>
                </c:pt>
                <c:pt idx="15">
                  <c:v>450577.39166501799</c:v>
                </c:pt>
                <c:pt idx="16">
                  <c:v>451395.63633416581</c:v>
                </c:pt>
                <c:pt idx="17">
                  <c:v>439727.38987911725</c:v>
                </c:pt>
                <c:pt idx="18">
                  <c:v>457667.60925251141</c:v>
                </c:pt>
                <c:pt idx="19">
                  <c:v>429697.22730946011</c:v>
                </c:pt>
                <c:pt idx="20">
                  <c:v>418195.4332884812</c:v>
                </c:pt>
                <c:pt idx="21">
                  <c:v>403366.22743131616</c:v>
                </c:pt>
                <c:pt idx="22">
                  <c:v>399404.1817143347</c:v>
                </c:pt>
                <c:pt idx="23">
                  <c:v>396531.15583489044</c:v>
                </c:pt>
                <c:pt idx="24">
                  <c:v>394337.04095342779</c:v>
                </c:pt>
                <c:pt idx="25">
                  <c:v>413455.49782976159</c:v>
                </c:pt>
                <c:pt idx="26">
                  <c:v>391832.80835411284</c:v>
                </c:pt>
                <c:pt idx="27">
                  <c:v>385139.3860520242</c:v>
                </c:pt>
                <c:pt idx="28">
                  <c:v>382724.66750615078</c:v>
                </c:pt>
                <c:pt idx="29">
                  <c:v>426065.53713015799</c:v>
                </c:pt>
                <c:pt idx="30">
                  <c:v>405162.73302234209</c:v>
                </c:pt>
                <c:pt idx="31">
                  <c:v>399105.59641913942</c:v>
                </c:pt>
                <c:pt idx="32">
                  <c:v>397220.91296758904</c:v>
                </c:pt>
                <c:pt idx="33">
                  <c:v>431605.75043196877</c:v>
                </c:pt>
                <c:pt idx="34">
                  <c:v>439078.4715412826</c:v>
                </c:pt>
                <c:pt idx="35">
                  <c:v>412969.33751921827</c:v>
                </c:pt>
                <c:pt idx="36">
                  <c:v>405640.93796458247</c:v>
                </c:pt>
                <c:pt idx="37">
                  <c:v>404473.44352520956</c:v>
                </c:pt>
                <c:pt idx="38">
                  <c:v>407562.85485734278</c:v>
                </c:pt>
                <c:pt idx="39">
                  <c:v>438129.1758587996</c:v>
                </c:pt>
                <c:pt idx="40">
                  <c:v>427485.00394976977</c:v>
                </c:pt>
                <c:pt idx="41">
                  <c:v>466449.0965536841</c:v>
                </c:pt>
                <c:pt idx="42">
                  <c:v>449947.16616823035</c:v>
                </c:pt>
                <c:pt idx="43">
                  <c:v>464500.25876400329</c:v>
                </c:pt>
                <c:pt idx="44">
                  <c:v>436967.96604261186</c:v>
                </c:pt>
                <c:pt idx="45">
                  <c:v>448983.93103030603</c:v>
                </c:pt>
                <c:pt idx="46">
                  <c:v>471297.62594530074</c:v>
                </c:pt>
                <c:pt idx="47">
                  <c:v>478179.32722220389</c:v>
                </c:pt>
                <c:pt idx="48">
                  <c:v>493946.52380922902</c:v>
                </c:pt>
                <c:pt idx="49">
                  <c:v>569832.70720638812</c:v>
                </c:pt>
                <c:pt idx="50">
                  <c:v>599699.78603688604</c:v>
                </c:pt>
                <c:pt idx="51">
                  <c:v>888290.31089125364</c:v>
                </c:pt>
                <c:pt idx="52">
                  <c:v>557993.55041599751</c:v>
                </c:pt>
                <c:pt idx="53">
                  <c:v>464339.79696016957</c:v>
                </c:pt>
                <c:pt idx="54">
                  <c:v>438670.7533718124</c:v>
                </c:pt>
                <c:pt idx="55">
                  <c:v>435526.98770960432</c:v>
                </c:pt>
                <c:pt idx="56">
                  <c:v>441665.62080927112</c:v>
                </c:pt>
                <c:pt idx="57">
                  <c:v>460061.16900539235</c:v>
                </c:pt>
                <c:pt idx="58">
                  <c:v>487165.01811520744</c:v>
                </c:pt>
                <c:pt idx="59">
                  <c:v>463187.1819873557</c:v>
                </c:pt>
                <c:pt idx="60">
                  <c:v>510957.27091369196</c:v>
                </c:pt>
                <c:pt idx="61">
                  <c:v>463794.99298182275</c:v>
                </c:pt>
                <c:pt idx="62">
                  <c:v>450575.30008223443</c:v>
                </c:pt>
                <c:pt idx="63">
                  <c:v>502342.47763198934</c:v>
                </c:pt>
                <c:pt idx="64">
                  <c:v>460026.44441893511</c:v>
                </c:pt>
                <c:pt idx="65">
                  <c:v>436372.08574224025</c:v>
                </c:pt>
                <c:pt idx="66">
                  <c:v>442702.41609763831</c:v>
                </c:pt>
                <c:pt idx="67">
                  <c:v>448907.01194512722</c:v>
                </c:pt>
                <c:pt idx="68">
                  <c:v>453939.17999640305</c:v>
                </c:pt>
                <c:pt idx="69">
                  <c:v>457485.7882623378</c:v>
                </c:pt>
                <c:pt idx="70">
                  <c:v>471732.15535084862</c:v>
                </c:pt>
                <c:pt idx="71">
                  <c:v>480684.08818942861</c:v>
                </c:pt>
                <c:pt idx="72">
                  <c:v>454548.35939143505</c:v>
                </c:pt>
                <c:pt idx="73">
                  <c:v>446868.62650129362</c:v>
                </c:pt>
                <c:pt idx="74">
                  <c:v>421401.50776021095</c:v>
                </c:pt>
                <c:pt idx="75">
                  <c:v>418603.910892552</c:v>
                </c:pt>
                <c:pt idx="76">
                  <c:v>424545.59067300835</c:v>
                </c:pt>
                <c:pt idx="77">
                  <c:v>443016.82411957544</c:v>
                </c:pt>
                <c:pt idx="78">
                  <c:v>417288.54131707293</c:v>
                </c:pt>
                <c:pt idx="79">
                  <c:v>410129.43354339618</c:v>
                </c:pt>
                <c:pt idx="80">
                  <c:v>435977.96590054152</c:v>
                </c:pt>
                <c:pt idx="81">
                  <c:v>421814.82251475059</c:v>
                </c:pt>
                <c:pt idx="82">
                  <c:v>410958.0338618175</c:v>
                </c:pt>
                <c:pt idx="83">
                  <c:v>409074.98680772184</c:v>
                </c:pt>
                <c:pt idx="84">
                  <c:v>436478.49180097616</c:v>
                </c:pt>
                <c:pt idx="85">
                  <c:v>441889.12683399662</c:v>
                </c:pt>
                <c:pt idx="86">
                  <c:v>415789.62980488432</c:v>
                </c:pt>
                <c:pt idx="87">
                  <c:v>408498.50030240358</c:v>
                </c:pt>
                <c:pt idx="88">
                  <c:v>406427.41299777769</c:v>
                </c:pt>
                <c:pt idx="89">
                  <c:v>405020.39791207935</c:v>
                </c:pt>
                <c:pt idx="90">
                  <c:v>404867.54192715848</c:v>
                </c:pt>
                <c:pt idx="91">
                  <c:v>404800.20697925985</c:v>
                </c:pt>
                <c:pt idx="92">
                  <c:v>460918.6524917467</c:v>
                </c:pt>
                <c:pt idx="93">
                  <c:v>430460.80248848803</c:v>
                </c:pt>
                <c:pt idx="94">
                  <c:v>419190.93448276166</c:v>
                </c:pt>
                <c:pt idx="95">
                  <c:v>472206.36847656412</c:v>
                </c:pt>
                <c:pt idx="96">
                  <c:v>475784.39145288215</c:v>
                </c:pt>
                <c:pt idx="97">
                  <c:v>442730.91607543099</c:v>
                </c:pt>
                <c:pt idx="98">
                  <c:v>439483.72863264638</c:v>
                </c:pt>
                <c:pt idx="99">
                  <c:v>438593.03587777034</c:v>
                </c:pt>
                <c:pt idx="100">
                  <c:v>478650.3877253735</c:v>
                </c:pt>
                <c:pt idx="101">
                  <c:v>577880.48598652682</c:v>
                </c:pt>
                <c:pt idx="102">
                  <c:v>580079.27187217702</c:v>
                </c:pt>
                <c:pt idx="103">
                  <c:v>916337.20740669337</c:v>
                </c:pt>
                <c:pt idx="104">
                  <c:v>588706.21510058688</c:v>
                </c:pt>
                <c:pt idx="105">
                  <c:v>409725.03976674326</c:v>
                </c:pt>
                <c:pt idx="106">
                  <c:v>421529.44352813379</c:v>
                </c:pt>
                <c:pt idx="107">
                  <c:v>419015.29583687207</c:v>
                </c:pt>
                <c:pt idx="108">
                  <c:v>418328.03071154736</c:v>
                </c:pt>
                <c:pt idx="109">
                  <c:v>447610.73222171445</c:v>
                </c:pt>
                <c:pt idx="110">
                  <c:v>484083.57346593752</c:v>
                </c:pt>
                <c:pt idx="111">
                  <c:v>466020.03507389844</c:v>
                </c:pt>
                <c:pt idx="112">
                  <c:v>477904.12280710298</c:v>
                </c:pt>
              </c:numCache>
            </c:numRef>
          </c:val>
          <c:smooth val="0"/>
          <c:extLst>
            <c:ext xmlns:c16="http://schemas.microsoft.com/office/drawing/2014/chart" uri="{C3380CC4-5D6E-409C-BE32-E72D297353CC}">
              <c16:uniqueId val="{00000001-8F86-4891-8999-784A92BEA202}"/>
            </c:ext>
          </c:extLst>
        </c:ser>
        <c:dLbls>
          <c:showLegendKey val="0"/>
          <c:showVal val="0"/>
          <c:showCatName val="0"/>
          <c:showSerName val="0"/>
          <c:showPercent val="0"/>
          <c:showBubbleSize val="0"/>
        </c:dLbls>
        <c:marker val="1"/>
        <c:smooth val="0"/>
        <c:axId val="1274246367"/>
        <c:axId val="1119267375"/>
      </c:lineChart>
      <c:catAx>
        <c:axId val="12742463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9267375"/>
        <c:crossesAt val="500"/>
        <c:auto val="1"/>
        <c:lblAlgn val="ctr"/>
        <c:lblOffset val="100"/>
        <c:noMultiLvlLbl val="0"/>
      </c:catAx>
      <c:valAx>
        <c:axId val="1119267375"/>
        <c:scaling>
          <c:orientation val="minMax"/>
        </c:scaling>
        <c:delete val="0"/>
        <c:axPos val="l"/>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4246367"/>
        <c:crosses val="autoZero"/>
        <c:crossBetween val="between"/>
      </c:valAx>
      <c:spPr>
        <a:noFill/>
        <a:ln>
          <a:noFill/>
        </a:ln>
        <a:effectLst/>
      </c:spPr>
    </c:plotArea>
    <c:legend>
      <c:legendPos val="b"/>
      <c:layout>
        <c:manualLayout>
          <c:xMode val="edge"/>
          <c:yMode val="edge"/>
          <c:x val="0.34482023510541382"/>
          <c:y val="0.91285836067672976"/>
          <c:w val="0.29905510107894984"/>
          <c:h val="5.213954789000566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3"/>
          <c:order val="0"/>
          <c:tx>
            <c:strRef>
              <c:f>'[RT-Target VF sin In Stock.xlsx]Modelo'!$D$4</c:f>
              <c:strCache>
                <c:ptCount val="1"/>
                <c:pt idx="0">
                  <c:v>Real Techniques Target Sales</c:v>
                </c:pt>
              </c:strCache>
            </c:strRef>
          </c:tx>
          <c:spPr>
            <a:solidFill>
              <a:schemeClr val="bg1">
                <a:lumMod val="75000"/>
                <a:alpha val="70000"/>
              </a:schemeClr>
            </a:solidFill>
            <a:ln>
              <a:noFill/>
            </a:ln>
            <a:effectLst/>
          </c:spPr>
          <c:cat>
            <c:strRef>
              <c:f>'[RT-Target VF sin In Stock.xlsx]Modelo'!$A$5:$A$117</c:f>
              <c:strCache>
                <c:ptCount val="113"/>
                <c:pt idx="0">
                  <c:v> 1/1/2022 </c:v>
                </c:pt>
                <c:pt idx="1">
                  <c:v> 1/8/2022 </c:v>
                </c:pt>
                <c:pt idx="2">
                  <c:v> 1/15/2022 </c:v>
                </c:pt>
                <c:pt idx="3">
                  <c:v> 1/22/2022 </c:v>
                </c:pt>
                <c:pt idx="4">
                  <c:v> 1/29/2022 </c:v>
                </c:pt>
                <c:pt idx="5">
                  <c:v> 2/5/2022 </c:v>
                </c:pt>
                <c:pt idx="6">
                  <c:v> 2/12/2022 </c:v>
                </c:pt>
                <c:pt idx="7">
                  <c:v> 2/19/2022 </c:v>
                </c:pt>
                <c:pt idx="8">
                  <c:v> 2/26/2022 </c:v>
                </c:pt>
                <c:pt idx="9">
                  <c:v> 3/5/2022 </c:v>
                </c:pt>
                <c:pt idx="10">
                  <c:v> 3/12/2022 </c:v>
                </c:pt>
                <c:pt idx="11">
                  <c:v> 3/19/2022 </c:v>
                </c:pt>
                <c:pt idx="12">
                  <c:v> 3/26/2022 </c:v>
                </c:pt>
                <c:pt idx="13">
                  <c:v> 4/2/2022 </c:v>
                </c:pt>
                <c:pt idx="14">
                  <c:v> 4/9/2022 </c:v>
                </c:pt>
                <c:pt idx="15">
                  <c:v> 4/16/2022 </c:v>
                </c:pt>
                <c:pt idx="16">
                  <c:v> 4/23/2022 </c:v>
                </c:pt>
                <c:pt idx="17">
                  <c:v> 4/30/2022 </c:v>
                </c:pt>
                <c:pt idx="18">
                  <c:v> 5/7/2022 </c:v>
                </c:pt>
                <c:pt idx="19">
                  <c:v> 5/14/2022 </c:v>
                </c:pt>
                <c:pt idx="20">
                  <c:v> 5/21/2022 </c:v>
                </c:pt>
                <c:pt idx="21">
                  <c:v> 5/28/2022 </c:v>
                </c:pt>
                <c:pt idx="22">
                  <c:v> 6/4/2022 </c:v>
                </c:pt>
                <c:pt idx="23">
                  <c:v> 6/11/2022 </c:v>
                </c:pt>
                <c:pt idx="24">
                  <c:v> 6/18/2022 </c:v>
                </c:pt>
                <c:pt idx="25">
                  <c:v> 6/25/2022 </c:v>
                </c:pt>
                <c:pt idx="26">
                  <c:v> 7/2/2022 </c:v>
                </c:pt>
                <c:pt idx="27">
                  <c:v> 7/9/2022 </c:v>
                </c:pt>
                <c:pt idx="28">
                  <c:v> 7/16/2022 </c:v>
                </c:pt>
                <c:pt idx="29">
                  <c:v> 7/23/2022 </c:v>
                </c:pt>
                <c:pt idx="30">
                  <c:v> 7/30/2022 </c:v>
                </c:pt>
                <c:pt idx="31">
                  <c:v> 8/6/2022 </c:v>
                </c:pt>
                <c:pt idx="32">
                  <c:v> 8/13/2022 </c:v>
                </c:pt>
                <c:pt idx="33">
                  <c:v> 8/20/2022 </c:v>
                </c:pt>
                <c:pt idx="34">
                  <c:v> 8/27/2022 </c:v>
                </c:pt>
                <c:pt idx="35">
                  <c:v> 9/3/2022 </c:v>
                </c:pt>
                <c:pt idx="36">
                  <c:v> 9/10/2022 </c:v>
                </c:pt>
                <c:pt idx="37">
                  <c:v> 9/17/2022 </c:v>
                </c:pt>
                <c:pt idx="38">
                  <c:v> 9/24/2022 </c:v>
                </c:pt>
                <c:pt idx="39">
                  <c:v> 10/1/2022 </c:v>
                </c:pt>
                <c:pt idx="40">
                  <c:v> 10/8/2022 </c:v>
                </c:pt>
                <c:pt idx="41">
                  <c:v> 10/15/2022 </c:v>
                </c:pt>
                <c:pt idx="42">
                  <c:v> 10/22/2022 </c:v>
                </c:pt>
                <c:pt idx="43">
                  <c:v> 10/29/2022 </c:v>
                </c:pt>
                <c:pt idx="44">
                  <c:v> 11/5/2022 </c:v>
                </c:pt>
                <c:pt idx="45">
                  <c:v> 11/12/2022 </c:v>
                </c:pt>
                <c:pt idx="46">
                  <c:v> 11/19/2022 </c:v>
                </c:pt>
                <c:pt idx="47">
                  <c:v> 11/26/2022 </c:v>
                </c:pt>
                <c:pt idx="48">
                  <c:v> 12/3/2022 </c:v>
                </c:pt>
                <c:pt idx="49">
                  <c:v> 12/10/2022 </c:v>
                </c:pt>
                <c:pt idx="50">
                  <c:v> 12/17/2022 </c:v>
                </c:pt>
                <c:pt idx="51">
                  <c:v> 12/24/2022 </c:v>
                </c:pt>
                <c:pt idx="52">
                  <c:v> 12/31/2022 </c:v>
                </c:pt>
                <c:pt idx="53">
                  <c:v> 1/7/2023 </c:v>
                </c:pt>
                <c:pt idx="54">
                  <c:v> 1/14/2023 </c:v>
                </c:pt>
                <c:pt idx="55">
                  <c:v> 1/21/2023 </c:v>
                </c:pt>
                <c:pt idx="56">
                  <c:v> 1/28/2023 </c:v>
                </c:pt>
                <c:pt idx="57">
                  <c:v> 2/4/2023 </c:v>
                </c:pt>
                <c:pt idx="58">
                  <c:v> 2/11/2023 </c:v>
                </c:pt>
                <c:pt idx="59">
                  <c:v> 2/18/2023 </c:v>
                </c:pt>
                <c:pt idx="60">
                  <c:v> 2/25/2023 </c:v>
                </c:pt>
                <c:pt idx="61">
                  <c:v> 3/4/2023 </c:v>
                </c:pt>
                <c:pt idx="62">
                  <c:v> 3/11/2023 </c:v>
                </c:pt>
                <c:pt idx="63">
                  <c:v> 3/18/2023 </c:v>
                </c:pt>
                <c:pt idx="64">
                  <c:v> 3/25/2023 </c:v>
                </c:pt>
                <c:pt idx="65">
                  <c:v> 4/1/2023 </c:v>
                </c:pt>
                <c:pt idx="66">
                  <c:v> 4/8/2023 </c:v>
                </c:pt>
                <c:pt idx="67">
                  <c:v> 4/15/2023 </c:v>
                </c:pt>
                <c:pt idx="68">
                  <c:v> 4/22/2023 </c:v>
                </c:pt>
                <c:pt idx="69">
                  <c:v> 4/29/2023 </c:v>
                </c:pt>
                <c:pt idx="70">
                  <c:v> 5/6/2023 </c:v>
                </c:pt>
                <c:pt idx="71">
                  <c:v> 5/13/2023 </c:v>
                </c:pt>
                <c:pt idx="72">
                  <c:v> 5/20/2023 </c:v>
                </c:pt>
                <c:pt idx="73">
                  <c:v> 5/27/2023 </c:v>
                </c:pt>
                <c:pt idx="74">
                  <c:v> 6/3/2023 </c:v>
                </c:pt>
                <c:pt idx="75">
                  <c:v> 6/10/2023 </c:v>
                </c:pt>
                <c:pt idx="76">
                  <c:v> 6/17/2023 </c:v>
                </c:pt>
                <c:pt idx="77">
                  <c:v> 6/24/2023 </c:v>
                </c:pt>
                <c:pt idx="78">
                  <c:v> 7/1/2023 </c:v>
                </c:pt>
                <c:pt idx="79">
                  <c:v> 7/8/2023 </c:v>
                </c:pt>
                <c:pt idx="80">
                  <c:v> 7/15/2023 </c:v>
                </c:pt>
                <c:pt idx="81">
                  <c:v> 7/22/2023 </c:v>
                </c:pt>
                <c:pt idx="82">
                  <c:v> 7/29/2023 </c:v>
                </c:pt>
                <c:pt idx="83">
                  <c:v> 8/5/2023 </c:v>
                </c:pt>
                <c:pt idx="84">
                  <c:v> 8/12/2023 </c:v>
                </c:pt>
                <c:pt idx="85">
                  <c:v> 8/19/2023 </c:v>
                </c:pt>
                <c:pt idx="86">
                  <c:v> 8/26/2023 </c:v>
                </c:pt>
                <c:pt idx="87">
                  <c:v> 9/2/2023 </c:v>
                </c:pt>
                <c:pt idx="88">
                  <c:v> 9/9/2023 </c:v>
                </c:pt>
                <c:pt idx="89">
                  <c:v> 9/16/2023 </c:v>
                </c:pt>
                <c:pt idx="90">
                  <c:v> 9/23/2023 </c:v>
                </c:pt>
                <c:pt idx="91">
                  <c:v> 9/30/2023 </c:v>
                </c:pt>
                <c:pt idx="92">
                  <c:v> 10/7/2023 </c:v>
                </c:pt>
                <c:pt idx="93">
                  <c:v> 10/14/2023 </c:v>
                </c:pt>
                <c:pt idx="94">
                  <c:v> 10/21/2023 </c:v>
                </c:pt>
                <c:pt idx="95">
                  <c:v> 10/28/2023 </c:v>
                </c:pt>
                <c:pt idx="96">
                  <c:v> 11/4/2023 </c:v>
                </c:pt>
                <c:pt idx="97">
                  <c:v> 11/11/2023 </c:v>
                </c:pt>
                <c:pt idx="98">
                  <c:v> 11/18/2023 </c:v>
                </c:pt>
                <c:pt idx="99">
                  <c:v> 11/25/2023 </c:v>
                </c:pt>
                <c:pt idx="100">
                  <c:v> 12/2/2023 </c:v>
                </c:pt>
                <c:pt idx="101">
                  <c:v> 12/9/2023 </c:v>
                </c:pt>
                <c:pt idx="102">
                  <c:v> 12/16/2023 </c:v>
                </c:pt>
                <c:pt idx="103">
                  <c:v> 12/23/2023 </c:v>
                </c:pt>
                <c:pt idx="104">
                  <c:v> 12/30/2023 </c:v>
                </c:pt>
                <c:pt idx="105">
                  <c:v> 1/6/2024 </c:v>
                </c:pt>
                <c:pt idx="106">
                  <c:v> 1/13/2024 </c:v>
                </c:pt>
                <c:pt idx="107">
                  <c:v> 1/20/2024 </c:v>
                </c:pt>
                <c:pt idx="108">
                  <c:v> 1/27/2024 </c:v>
                </c:pt>
                <c:pt idx="109">
                  <c:v> 2/3/2024 </c:v>
                </c:pt>
                <c:pt idx="110">
                  <c:v> 2/10/2024 </c:v>
                </c:pt>
                <c:pt idx="111">
                  <c:v> 2/17/2024 </c:v>
                </c:pt>
                <c:pt idx="112">
                  <c:v> 2/24/2024 </c:v>
                </c:pt>
              </c:strCache>
            </c:strRef>
          </c:cat>
          <c:val>
            <c:numRef>
              <c:f>'[RT-Target VF sin In Stock.xlsx]Modelo'!$D$5:$D$117</c:f>
              <c:numCache>
                <c:formatCode>"$"#,##0_);[Red]\("$"#,##0\)</c:formatCode>
                <c:ptCount val="113"/>
                <c:pt idx="0">
                  <c:v>549764</c:v>
                </c:pt>
                <c:pt idx="1">
                  <c:v>421171</c:v>
                </c:pt>
                <c:pt idx="2">
                  <c:v>412038</c:v>
                </c:pt>
                <c:pt idx="3">
                  <c:v>414127</c:v>
                </c:pt>
                <c:pt idx="4">
                  <c:v>396466</c:v>
                </c:pt>
                <c:pt idx="5">
                  <c:v>379465</c:v>
                </c:pt>
                <c:pt idx="6">
                  <c:v>381265</c:v>
                </c:pt>
                <c:pt idx="7">
                  <c:v>371253</c:v>
                </c:pt>
                <c:pt idx="8">
                  <c:v>419833</c:v>
                </c:pt>
                <c:pt idx="9">
                  <c:v>443921</c:v>
                </c:pt>
                <c:pt idx="10">
                  <c:v>441541</c:v>
                </c:pt>
                <c:pt idx="11">
                  <c:v>479812</c:v>
                </c:pt>
                <c:pt idx="12">
                  <c:v>462384</c:v>
                </c:pt>
                <c:pt idx="13">
                  <c:v>440014</c:v>
                </c:pt>
                <c:pt idx="14">
                  <c:v>440360</c:v>
                </c:pt>
                <c:pt idx="15">
                  <c:v>485112</c:v>
                </c:pt>
                <c:pt idx="16">
                  <c:v>401886</c:v>
                </c:pt>
                <c:pt idx="17">
                  <c:v>444305</c:v>
                </c:pt>
                <c:pt idx="18">
                  <c:v>479586</c:v>
                </c:pt>
                <c:pt idx="19">
                  <c:v>421492</c:v>
                </c:pt>
                <c:pt idx="20">
                  <c:v>424820</c:v>
                </c:pt>
                <c:pt idx="21">
                  <c:v>447505</c:v>
                </c:pt>
                <c:pt idx="22">
                  <c:v>422168</c:v>
                </c:pt>
                <c:pt idx="23">
                  <c:v>416157</c:v>
                </c:pt>
                <c:pt idx="24">
                  <c:v>384912</c:v>
                </c:pt>
                <c:pt idx="25">
                  <c:v>372434</c:v>
                </c:pt>
                <c:pt idx="26">
                  <c:v>348684</c:v>
                </c:pt>
                <c:pt idx="27">
                  <c:v>333381</c:v>
                </c:pt>
                <c:pt idx="28">
                  <c:v>363387</c:v>
                </c:pt>
                <c:pt idx="29">
                  <c:v>372391</c:v>
                </c:pt>
                <c:pt idx="30">
                  <c:v>383442</c:v>
                </c:pt>
                <c:pt idx="31">
                  <c:v>413580</c:v>
                </c:pt>
                <c:pt idx="32">
                  <c:v>439788</c:v>
                </c:pt>
                <c:pt idx="33">
                  <c:v>483418</c:v>
                </c:pt>
                <c:pt idx="34">
                  <c:v>456781</c:v>
                </c:pt>
                <c:pt idx="35">
                  <c:v>421737</c:v>
                </c:pt>
                <c:pt idx="36">
                  <c:v>421983</c:v>
                </c:pt>
                <c:pt idx="37">
                  <c:v>429349</c:v>
                </c:pt>
                <c:pt idx="38">
                  <c:v>450923</c:v>
                </c:pt>
                <c:pt idx="39">
                  <c:v>443902</c:v>
                </c:pt>
                <c:pt idx="40">
                  <c:v>463773</c:v>
                </c:pt>
                <c:pt idx="41">
                  <c:v>462699</c:v>
                </c:pt>
                <c:pt idx="42">
                  <c:v>468894</c:v>
                </c:pt>
                <c:pt idx="43">
                  <c:v>502037</c:v>
                </c:pt>
                <c:pt idx="44">
                  <c:v>431257</c:v>
                </c:pt>
                <c:pt idx="45">
                  <c:v>473662</c:v>
                </c:pt>
                <c:pt idx="46">
                  <c:v>470526</c:v>
                </c:pt>
                <c:pt idx="47">
                  <c:v>460364</c:v>
                </c:pt>
                <c:pt idx="48">
                  <c:v>501287</c:v>
                </c:pt>
                <c:pt idx="49">
                  <c:v>544673</c:v>
                </c:pt>
                <c:pt idx="50">
                  <c:v>672836</c:v>
                </c:pt>
                <c:pt idx="51">
                  <c:v>818114</c:v>
                </c:pt>
                <c:pt idx="52">
                  <c:v>525689</c:v>
                </c:pt>
                <c:pt idx="53">
                  <c:v>462624</c:v>
                </c:pt>
                <c:pt idx="54">
                  <c:v>419306</c:v>
                </c:pt>
                <c:pt idx="55">
                  <c:v>423352</c:v>
                </c:pt>
                <c:pt idx="56">
                  <c:v>405102</c:v>
                </c:pt>
                <c:pt idx="57">
                  <c:v>449710</c:v>
                </c:pt>
                <c:pt idx="58">
                  <c:v>504677</c:v>
                </c:pt>
                <c:pt idx="59">
                  <c:v>491952</c:v>
                </c:pt>
                <c:pt idx="60">
                  <c:v>518139</c:v>
                </c:pt>
                <c:pt idx="61">
                  <c:v>480225</c:v>
                </c:pt>
                <c:pt idx="62">
                  <c:v>495497</c:v>
                </c:pt>
                <c:pt idx="63">
                  <c:v>499185</c:v>
                </c:pt>
                <c:pt idx="64">
                  <c:v>447210</c:v>
                </c:pt>
                <c:pt idx="65">
                  <c:v>429231</c:v>
                </c:pt>
                <c:pt idx="66">
                  <c:v>490095</c:v>
                </c:pt>
                <c:pt idx="67">
                  <c:v>371002</c:v>
                </c:pt>
                <c:pt idx="68">
                  <c:v>464756</c:v>
                </c:pt>
                <c:pt idx="69">
                  <c:v>475820</c:v>
                </c:pt>
                <c:pt idx="70">
                  <c:v>476734</c:v>
                </c:pt>
                <c:pt idx="71">
                  <c:v>519262</c:v>
                </c:pt>
                <c:pt idx="72">
                  <c:v>498128</c:v>
                </c:pt>
                <c:pt idx="73">
                  <c:v>441711</c:v>
                </c:pt>
                <c:pt idx="74">
                  <c:v>416805</c:v>
                </c:pt>
                <c:pt idx="75">
                  <c:v>406968</c:v>
                </c:pt>
                <c:pt idx="76">
                  <c:v>422653</c:v>
                </c:pt>
                <c:pt idx="77">
                  <c:v>411958</c:v>
                </c:pt>
                <c:pt idx="78">
                  <c:v>411998</c:v>
                </c:pt>
                <c:pt idx="79">
                  <c:v>376726</c:v>
                </c:pt>
                <c:pt idx="80">
                  <c:v>399690</c:v>
                </c:pt>
                <c:pt idx="81">
                  <c:v>405384</c:v>
                </c:pt>
                <c:pt idx="82">
                  <c:v>408323</c:v>
                </c:pt>
                <c:pt idx="83">
                  <c:v>441929</c:v>
                </c:pt>
                <c:pt idx="84">
                  <c:v>462644</c:v>
                </c:pt>
                <c:pt idx="85">
                  <c:v>474428</c:v>
                </c:pt>
                <c:pt idx="86">
                  <c:v>443072</c:v>
                </c:pt>
                <c:pt idx="87">
                  <c:v>408130</c:v>
                </c:pt>
                <c:pt idx="88">
                  <c:v>391129</c:v>
                </c:pt>
                <c:pt idx="89">
                  <c:v>362195</c:v>
                </c:pt>
                <c:pt idx="90">
                  <c:v>424274</c:v>
                </c:pt>
                <c:pt idx="91">
                  <c:v>434454</c:v>
                </c:pt>
                <c:pt idx="92">
                  <c:v>459018</c:v>
                </c:pt>
                <c:pt idx="93">
                  <c:v>417017</c:v>
                </c:pt>
                <c:pt idx="94">
                  <c:v>397667</c:v>
                </c:pt>
                <c:pt idx="95">
                  <c:v>427254</c:v>
                </c:pt>
                <c:pt idx="96">
                  <c:v>402819</c:v>
                </c:pt>
                <c:pt idx="97">
                  <c:v>435375</c:v>
                </c:pt>
                <c:pt idx="98">
                  <c:v>404287</c:v>
                </c:pt>
                <c:pt idx="99">
                  <c:v>424444</c:v>
                </c:pt>
                <c:pt idx="100">
                  <c:v>468607</c:v>
                </c:pt>
                <c:pt idx="101">
                  <c:v>552234</c:v>
                </c:pt>
                <c:pt idx="102">
                  <c:v>622500</c:v>
                </c:pt>
                <c:pt idx="103">
                  <c:v>984600</c:v>
                </c:pt>
                <c:pt idx="104">
                  <c:v>527754</c:v>
                </c:pt>
                <c:pt idx="105">
                  <c:v>434981</c:v>
                </c:pt>
                <c:pt idx="106">
                  <c:v>371319</c:v>
                </c:pt>
                <c:pt idx="107">
                  <c:v>375654</c:v>
                </c:pt>
                <c:pt idx="108">
                  <c:v>376175</c:v>
                </c:pt>
                <c:pt idx="109">
                  <c:v>384807</c:v>
                </c:pt>
                <c:pt idx="110">
                  <c:v>452190</c:v>
                </c:pt>
                <c:pt idx="111">
                  <c:v>491908</c:v>
                </c:pt>
                <c:pt idx="112">
                  <c:v>551136</c:v>
                </c:pt>
              </c:numCache>
            </c:numRef>
          </c:val>
          <c:extLst>
            <c:ext xmlns:c16="http://schemas.microsoft.com/office/drawing/2014/chart" uri="{C3380CC4-5D6E-409C-BE32-E72D297353CC}">
              <c16:uniqueId val="{00000000-B3B5-43ED-A78A-FCF847B96439}"/>
            </c:ext>
          </c:extLst>
        </c:ser>
        <c:dLbls>
          <c:showLegendKey val="0"/>
          <c:showVal val="0"/>
          <c:showCatName val="0"/>
          <c:showSerName val="0"/>
          <c:showPercent val="0"/>
          <c:showBubbleSize val="0"/>
        </c:dLbls>
        <c:axId val="1120490160"/>
        <c:axId val="1120490640"/>
      </c:areaChart>
      <c:lineChart>
        <c:grouping val="standard"/>
        <c:varyColors val="0"/>
        <c:ser>
          <c:idx val="0"/>
          <c:order val="1"/>
          <c:tx>
            <c:strRef>
              <c:f>'[RT-Target VF sin In Stock.xlsx]Modelo'!$AJ$4</c:f>
              <c:strCache>
                <c:ptCount val="1"/>
                <c:pt idx="0">
                  <c:v>Total Market</c:v>
                </c:pt>
              </c:strCache>
            </c:strRef>
          </c:tx>
          <c:spPr>
            <a:ln w="28575" cap="rnd">
              <a:solidFill>
                <a:schemeClr val="accent1"/>
              </a:solidFill>
              <a:round/>
            </a:ln>
            <a:effectLst/>
          </c:spPr>
          <c:marker>
            <c:symbol val="none"/>
          </c:marker>
          <c:cat>
            <c:strRef>
              <c:f>'[RT-Target VF sin In Stock.xlsx]Modelo'!$A$5:$A$117</c:f>
              <c:strCache>
                <c:ptCount val="113"/>
                <c:pt idx="0">
                  <c:v> 1/1/2022 </c:v>
                </c:pt>
                <c:pt idx="1">
                  <c:v> 1/8/2022 </c:v>
                </c:pt>
                <c:pt idx="2">
                  <c:v> 1/15/2022 </c:v>
                </c:pt>
                <c:pt idx="3">
                  <c:v> 1/22/2022 </c:v>
                </c:pt>
                <c:pt idx="4">
                  <c:v> 1/29/2022 </c:v>
                </c:pt>
                <c:pt idx="5">
                  <c:v> 2/5/2022 </c:v>
                </c:pt>
                <c:pt idx="6">
                  <c:v> 2/12/2022 </c:v>
                </c:pt>
                <c:pt idx="7">
                  <c:v> 2/19/2022 </c:v>
                </c:pt>
                <c:pt idx="8">
                  <c:v> 2/26/2022 </c:v>
                </c:pt>
                <c:pt idx="9">
                  <c:v> 3/5/2022 </c:v>
                </c:pt>
                <c:pt idx="10">
                  <c:v> 3/12/2022 </c:v>
                </c:pt>
                <c:pt idx="11">
                  <c:v> 3/19/2022 </c:v>
                </c:pt>
                <c:pt idx="12">
                  <c:v> 3/26/2022 </c:v>
                </c:pt>
                <c:pt idx="13">
                  <c:v> 4/2/2022 </c:v>
                </c:pt>
                <c:pt idx="14">
                  <c:v> 4/9/2022 </c:v>
                </c:pt>
                <c:pt idx="15">
                  <c:v> 4/16/2022 </c:v>
                </c:pt>
                <c:pt idx="16">
                  <c:v> 4/23/2022 </c:v>
                </c:pt>
                <c:pt idx="17">
                  <c:v> 4/30/2022 </c:v>
                </c:pt>
                <c:pt idx="18">
                  <c:v> 5/7/2022 </c:v>
                </c:pt>
                <c:pt idx="19">
                  <c:v> 5/14/2022 </c:v>
                </c:pt>
                <c:pt idx="20">
                  <c:v> 5/21/2022 </c:v>
                </c:pt>
                <c:pt idx="21">
                  <c:v> 5/28/2022 </c:v>
                </c:pt>
                <c:pt idx="22">
                  <c:v> 6/4/2022 </c:v>
                </c:pt>
                <c:pt idx="23">
                  <c:v> 6/11/2022 </c:v>
                </c:pt>
                <c:pt idx="24">
                  <c:v> 6/18/2022 </c:v>
                </c:pt>
                <c:pt idx="25">
                  <c:v> 6/25/2022 </c:v>
                </c:pt>
                <c:pt idx="26">
                  <c:v> 7/2/2022 </c:v>
                </c:pt>
                <c:pt idx="27">
                  <c:v> 7/9/2022 </c:v>
                </c:pt>
                <c:pt idx="28">
                  <c:v> 7/16/2022 </c:v>
                </c:pt>
                <c:pt idx="29">
                  <c:v> 7/23/2022 </c:v>
                </c:pt>
                <c:pt idx="30">
                  <c:v> 7/30/2022 </c:v>
                </c:pt>
                <c:pt idx="31">
                  <c:v> 8/6/2022 </c:v>
                </c:pt>
                <c:pt idx="32">
                  <c:v> 8/13/2022 </c:v>
                </c:pt>
                <c:pt idx="33">
                  <c:v> 8/20/2022 </c:v>
                </c:pt>
                <c:pt idx="34">
                  <c:v> 8/27/2022 </c:v>
                </c:pt>
                <c:pt idx="35">
                  <c:v> 9/3/2022 </c:v>
                </c:pt>
                <c:pt idx="36">
                  <c:v> 9/10/2022 </c:v>
                </c:pt>
                <c:pt idx="37">
                  <c:v> 9/17/2022 </c:v>
                </c:pt>
                <c:pt idx="38">
                  <c:v> 9/24/2022 </c:v>
                </c:pt>
                <c:pt idx="39">
                  <c:v> 10/1/2022 </c:v>
                </c:pt>
                <c:pt idx="40">
                  <c:v> 10/8/2022 </c:v>
                </c:pt>
                <c:pt idx="41">
                  <c:v> 10/15/2022 </c:v>
                </c:pt>
                <c:pt idx="42">
                  <c:v> 10/22/2022 </c:v>
                </c:pt>
                <c:pt idx="43">
                  <c:v> 10/29/2022 </c:v>
                </c:pt>
                <c:pt idx="44">
                  <c:v> 11/5/2022 </c:v>
                </c:pt>
                <c:pt idx="45">
                  <c:v> 11/12/2022 </c:v>
                </c:pt>
                <c:pt idx="46">
                  <c:v> 11/19/2022 </c:v>
                </c:pt>
                <c:pt idx="47">
                  <c:v> 11/26/2022 </c:v>
                </c:pt>
                <c:pt idx="48">
                  <c:v> 12/3/2022 </c:v>
                </c:pt>
                <c:pt idx="49">
                  <c:v> 12/10/2022 </c:v>
                </c:pt>
                <c:pt idx="50">
                  <c:v> 12/17/2022 </c:v>
                </c:pt>
                <c:pt idx="51">
                  <c:v> 12/24/2022 </c:v>
                </c:pt>
                <c:pt idx="52">
                  <c:v> 12/31/2022 </c:v>
                </c:pt>
                <c:pt idx="53">
                  <c:v> 1/7/2023 </c:v>
                </c:pt>
                <c:pt idx="54">
                  <c:v> 1/14/2023 </c:v>
                </c:pt>
                <c:pt idx="55">
                  <c:v> 1/21/2023 </c:v>
                </c:pt>
                <c:pt idx="56">
                  <c:v> 1/28/2023 </c:v>
                </c:pt>
                <c:pt idx="57">
                  <c:v> 2/4/2023 </c:v>
                </c:pt>
                <c:pt idx="58">
                  <c:v> 2/11/2023 </c:v>
                </c:pt>
                <c:pt idx="59">
                  <c:v> 2/18/2023 </c:v>
                </c:pt>
                <c:pt idx="60">
                  <c:v> 2/25/2023 </c:v>
                </c:pt>
                <c:pt idx="61">
                  <c:v> 3/4/2023 </c:v>
                </c:pt>
                <c:pt idx="62">
                  <c:v> 3/11/2023 </c:v>
                </c:pt>
                <c:pt idx="63">
                  <c:v> 3/18/2023 </c:v>
                </c:pt>
                <c:pt idx="64">
                  <c:v> 3/25/2023 </c:v>
                </c:pt>
                <c:pt idx="65">
                  <c:v> 4/1/2023 </c:v>
                </c:pt>
                <c:pt idx="66">
                  <c:v> 4/8/2023 </c:v>
                </c:pt>
                <c:pt idx="67">
                  <c:v> 4/15/2023 </c:v>
                </c:pt>
                <c:pt idx="68">
                  <c:v> 4/22/2023 </c:v>
                </c:pt>
                <c:pt idx="69">
                  <c:v> 4/29/2023 </c:v>
                </c:pt>
                <c:pt idx="70">
                  <c:v> 5/6/2023 </c:v>
                </c:pt>
                <c:pt idx="71">
                  <c:v> 5/13/2023 </c:v>
                </c:pt>
                <c:pt idx="72">
                  <c:v> 5/20/2023 </c:v>
                </c:pt>
                <c:pt idx="73">
                  <c:v> 5/27/2023 </c:v>
                </c:pt>
                <c:pt idx="74">
                  <c:v> 6/3/2023 </c:v>
                </c:pt>
                <c:pt idx="75">
                  <c:v> 6/10/2023 </c:v>
                </c:pt>
                <c:pt idx="76">
                  <c:v> 6/17/2023 </c:v>
                </c:pt>
                <c:pt idx="77">
                  <c:v> 6/24/2023 </c:v>
                </c:pt>
                <c:pt idx="78">
                  <c:v> 7/1/2023 </c:v>
                </c:pt>
                <c:pt idx="79">
                  <c:v> 7/8/2023 </c:v>
                </c:pt>
                <c:pt idx="80">
                  <c:v> 7/15/2023 </c:v>
                </c:pt>
                <c:pt idx="81">
                  <c:v> 7/22/2023 </c:v>
                </c:pt>
                <c:pt idx="82">
                  <c:v> 7/29/2023 </c:v>
                </c:pt>
                <c:pt idx="83">
                  <c:v> 8/5/2023 </c:v>
                </c:pt>
                <c:pt idx="84">
                  <c:v> 8/12/2023 </c:v>
                </c:pt>
                <c:pt idx="85">
                  <c:v> 8/19/2023 </c:v>
                </c:pt>
                <c:pt idx="86">
                  <c:v> 8/26/2023 </c:v>
                </c:pt>
                <c:pt idx="87">
                  <c:v> 9/2/2023 </c:v>
                </c:pt>
                <c:pt idx="88">
                  <c:v> 9/9/2023 </c:v>
                </c:pt>
                <c:pt idx="89">
                  <c:v> 9/16/2023 </c:v>
                </c:pt>
                <c:pt idx="90">
                  <c:v> 9/23/2023 </c:v>
                </c:pt>
                <c:pt idx="91">
                  <c:v> 9/30/2023 </c:v>
                </c:pt>
                <c:pt idx="92">
                  <c:v> 10/7/2023 </c:v>
                </c:pt>
                <c:pt idx="93">
                  <c:v> 10/14/2023 </c:v>
                </c:pt>
                <c:pt idx="94">
                  <c:v> 10/21/2023 </c:v>
                </c:pt>
                <c:pt idx="95">
                  <c:v> 10/28/2023 </c:v>
                </c:pt>
                <c:pt idx="96">
                  <c:v> 11/4/2023 </c:v>
                </c:pt>
                <c:pt idx="97">
                  <c:v> 11/11/2023 </c:v>
                </c:pt>
                <c:pt idx="98">
                  <c:v> 11/18/2023 </c:v>
                </c:pt>
                <c:pt idx="99">
                  <c:v> 11/25/2023 </c:v>
                </c:pt>
                <c:pt idx="100">
                  <c:v> 12/2/2023 </c:v>
                </c:pt>
                <c:pt idx="101">
                  <c:v> 12/9/2023 </c:v>
                </c:pt>
                <c:pt idx="102">
                  <c:v> 12/16/2023 </c:v>
                </c:pt>
                <c:pt idx="103">
                  <c:v> 12/23/2023 </c:v>
                </c:pt>
                <c:pt idx="104">
                  <c:v> 12/30/2023 </c:v>
                </c:pt>
                <c:pt idx="105">
                  <c:v> 1/6/2024 </c:v>
                </c:pt>
                <c:pt idx="106">
                  <c:v> 1/13/2024 </c:v>
                </c:pt>
                <c:pt idx="107">
                  <c:v> 1/20/2024 </c:v>
                </c:pt>
                <c:pt idx="108">
                  <c:v> 1/27/2024 </c:v>
                </c:pt>
                <c:pt idx="109">
                  <c:v> 2/3/2024 </c:v>
                </c:pt>
                <c:pt idx="110">
                  <c:v> 2/10/2024 </c:v>
                </c:pt>
                <c:pt idx="111">
                  <c:v> 2/17/2024 </c:v>
                </c:pt>
                <c:pt idx="112">
                  <c:v> 2/24/2024 </c:v>
                </c:pt>
              </c:strCache>
            </c:strRef>
          </c:cat>
          <c:val>
            <c:numRef>
              <c:f>'[RT-Target VF sin In Stock.xlsx]Modelo'!$AJ$5:$AJ$117</c:f>
              <c:numCache>
                <c:formatCode>"$"#,##0.00_);[Red]\("$"#,##0.00\)</c:formatCode>
                <c:ptCount val="113"/>
                <c:pt idx="0">
                  <c:v>499173.12295529974</c:v>
                </c:pt>
                <c:pt idx="1">
                  <c:v>378435.83058030892</c:v>
                </c:pt>
                <c:pt idx="2">
                  <c:v>378422.71290138876</c:v>
                </c:pt>
                <c:pt idx="3">
                  <c:v>378409.5952224686</c:v>
                </c:pt>
                <c:pt idx="4">
                  <c:v>378387.95105225034</c:v>
                </c:pt>
                <c:pt idx="5">
                  <c:v>394203.53218114126</c:v>
                </c:pt>
                <c:pt idx="6">
                  <c:v>394181.88801092305</c:v>
                </c:pt>
                <c:pt idx="7">
                  <c:v>394160.24384070578</c:v>
                </c:pt>
                <c:pt idx="8">
                  <c:v>394142.92850453116</c:v>
                </c:pt>
                <c:pt idx="9">
                  <c:v>407558.33993676945</c:v>
                </c:pt>
                <c:pt idx="10">
                  <c:v>407541.02460059588</c:v>
                </c:pt>
                <c:pt idx="11">
                  <c:v>407523.70926442125</c:v>
                </c:pt>
                <c:pt idx="12">
                  <c:v>407506.3939282457</c:v>
                </c:pt>
                <c:pt idx="13">
                  <c:v>406849.54483150388</c:v>
                </c:pt>
                <c:pt idx="14">
                  <c:v>406850.20071544987</c:v>
                </c:pt>
                <c:pt idx="15">
                  <c:v>406850.85659939685</c:v>
                </c:pt>
                <c:pt idx="16">
                  <c:v>406851.5124833429</c:v>
                </c:pt>
                <c:pt idx="17">
                  <c:v>394303.19649832393</c:v>
                </c:pt>
                <c:pt idx="18">
                  <c:v>394297.29354281083</c:v>
                </c:pt>
                <c:pt idx="19">
                  <c:v>394291.39058729581</c:v>
                </c:pt>
                <c:pt idx="20">
                  <c:v>394285.48763178173</c:v>
                </c:pt>
                <c:pt idx="21">
                  <c:v>385529.04198596498</c:v>
                </c:pt>
                <c:pt idx="22">
                  <c:v>385488.63953489292</c:v>
                </c:pt>
                <c:pt idx="23">
                  <c:v>385448.23708381684</c:v>
                </c:pt>
                <c:pt idx="24">
                  <c:v>385407.8346327428</c:v>
                </c:pt>
                <c:pt idx="25">
                  <c:v>378127.03612134757</c:v>
                </c:pt>
                <c:pt idx="26">
                  <c:v>378107.35960296734</c:v>
                </c:pt>
                <c:pt idx="27">
                  <c:v>378087.68308458611</c:v>
                </c:pt>
                <c:pt idx="28">
                  <c:v>378068.00656620588</c:v>
                </c:pt>
                <c:pt idx="29">
                  <c:v>394435.14681641303</c:v>
                </c:pt>
                <c:pt idx="30">
                  <c:v>394474.4998531735</c:v>
                </c:pt>
                <c:pt idx="31">
                  <c:v>394513.85288993397</c:v>
                </c:pt>
                <c:pt idx="32">
                  <c:v>394553.20592669438</c:v>
                </c:pt>
                <c:pt idx="33">
                  <c:v>401587.21586960979</c:v>
                </c:pt>
                <c:pt idx="34">
                  <c:v>401626.5689063702</c:v>
                </c:pt>
                <c:pt idx="35">
                  <c:v>401658.05133577855</c:v>
                </c:pt>
                <c:pt idx="36">
                  <c:v>401689.53376518795</c:v>
                </c:pt>
                <c:pt idx="37">
                  <c:v>402652.62149261171</c:v>
                </c:pt>
                <c:pt idx="38">
                  <c:v>402684.10392202006</c:v>
                </c:pt>
                <c:pt idx="39">
                  <c:v>402648.03030498966</c:v>
                </c:pt>
                <c:pt idx="40">
                  <c:v>402611.95668795926</c:v>
                </c:pt>
                <c:pt idx="41">
                  <c:v>411907.53396692825</c:v>
                </c:pt>
                <c:pt idx="42">
                  <c:v>411871.46034989785</c:v>
                </c:pt>
                <c:pt idx="43">
                  <c:v>411859.39208529133</c:v>
                </c:pt>
                <c:pt idx="44">
                  <c:v>411847.32382068579</c:v>
                </c:pt>
                <c:pt idx="45">
                  <c:v>434100.74395023304</c:v>
                </c:pt>
                <c:pt idx="46">
                  <c:v>434088.67568562651</c:v>
                </c:pt>
                <c:pt idx="47">
                  <c:v>434076.60742102197</c:v>
                </c:pt>
                <c:pt idx="48">
                  <c:v>446302.6726572747</c:v>
                </c:pt>
                <c:pt idx="49">
                  <c:v>519802.77736380382</c:v>
                </c:pt>
                <c:pt idx="50">
                  <c:v>519855.90395125753</c:v>
                </c:pt>
                <c:pt idx="51">
                  <c:v>827441.41658615507</c:v>
                </c:pt>
                <c:pt idx="52">
                  <c:v>519901.16025106638</c:v>
                </c:pt>
                <c:pt idx="53">
                  <c:v>415614.61026072351</c:v>
                </c:pt>
                <c:pt idx="54">
                  <c:v>415606.73965337046</c:v>
                </c:pt>
                <c:pt idx="55">
                  <c:v>415598.86904601834</c:v>
                </c:pt>
                <c:pt idx="56">
                  <c:v>415571.32192028605</c:v>
                </c:pt>
                <c:pt idx="57">
                  <c:v>434113.05567365285</c:v>
                </c:pt>
                <c:pt idx="58">
                  <c:v>434085.5085479205</c:v>
                </c:pt>
                <c:pt idx="59">
                  <c:v>434057.9614221892</c:v>
                </c:pt>
                <c:pt idx="60">
                  <c:v>434064.78261522768</c:v>
                </c:pt>
                <c:pt idx="61">
                  <c:v>431093.04822008533</c:v>
                </c:pt>
                <c:pt idx="62">
                  <c:v>431099.8694131248</c:v>
                </c:pt>
                <c:pt idx="63">
                  <c:v>431106.69060616329</c:v>
                </c:pt>
                <c:pt idx="64">
                  <c:v>431113.51179920079</c:v>
                </c:pt>
                <c:pt idx="65">
                  <c:v>419602.5654302811</c:v>
                </c:pt>
                <c:pt idx="66">
                  <c:v>419583.54479584587</c:v>
                </c:pt>
                <c:pt idx="67">
                  <c:v>419564.52416141267</c:v>
                </c:pt>
                <c:pt idx="68">
                  <c:v>419545.50352697843</c:v>
                </c:pt>
                <c:pt idx="69">
                  <c:v>419213.80818500003</c:v>
                </c:pt>
                <c:pt idx="70">
                  <c:v>419219.05525656906</c:v>
                </c:pt>
                <c:pt idx="71">
                  <c:v>419224.30232813617</c:v>
                </c:pt>
                <c:pt idx="72">
                  <c:v>419229.54939970421</c:v>
                </c:pt>
                <c:pt idx="73">
                  <c:v>400808.35953079973</c:v>
                </c:pt>
                <c:pt idx="74">
                  <c:v>400856.89494280529</c:v>
                </c:pt>
                <c:pt idx="75">
                  <c:v>400905.43035480985</c:v>
                </c:pt>
                <c:pt idx="76">
                  <c:v>400953.96576681337</c:v>
                </c:pt>
                <c:pt idx="77">
                  <c:v>404644.24989984429</c:v>
                </c:pt>
                <c:pt idx="78">
                  <c:v>404692.12942790281</c:v>
                </c:pt>
                <c:pt idx="79">
                  <c:v>404740.00895596039</c:v>
                </c:pt>
                <c:pt idx="80">
                  <c:v>404787.88848401891</c:v>
                </c:pt>
                <c:pt idx="81">
                  <c:v>407048.71680631896</c:v>
                </c:pt>
                <c:pt idx="82">
                  <c:v>406991.52372622711</c:v>
                </c:pt>
                <c:pt idx="83">
                  <c:v>406934.3306461352</c:v>
                </c:pt>
                <c:pt idx="84">
                  <c:v>406877.13756604336</c:v>
                </c:pt>
                <c:pt idx="85">
                  <c:v>404748.05696060113</c:v>
                </c:pt>
                <c:pt idx="86">
                  <c:v>404690.86388050928</c:v>
                </c:pt>
                <c:pt idx="87">
                  <c:v>404670.53147818398</c:v>
                </c:pt>
                <c:pt idx="88">
                  <c:v>404650.19907585776</c:v>
                </c:pt>
                <c:pt idx="89">
                  <c:v>403837.04569741874</c:v>
                </c:pt>
                <c:pt idx="90">
                  <c:v>403816.71329509246</c:v>
                </c:pt>
                <c:pt idx="91">
                  <c:v>403814.08975930844</c:v>
                </c:pt>
                <c:pt idx="92">
                  <c:v>403811.46622352442</c:v>
                </c:pt>
                <c:pt idx="93">
                  <c:v>413938.23007369513</c:v>
                </c:pt>
                <c:pt idx="94">
                  <c:v>413935.60653791111</c:v>
                </c:pt>
                <c:pt idx="95">
                  <c:v>413932.45829497027</c:v>
                </c:pt>
                <c:pt idx="96">
                  <c:v>413929.31005203043</c:v>
                </c:pt>
                <c:pt idx="97">
                  <c:v>437399.56510599318</c:v>
                </c:pt>
                <c:pt idx="98">
                  <c:v>437396.41686305229</c:v>
                </c:pt>
                <c:pt idx="99">
                  <c:v>437393.26862011349</c:v>
                </c:pt>
                <c:pt idx="100">
                  <c:v>449623.26916004223</c:v>
                </c:pt>
                <c:pt idx="101">
                  <c:v>541132.63565727393</c:v>
                </c:pt>
                <c:pt idx="102">
                  <c:v>541189.69754840364</c:v>
                </c:pt>
                <c:pt idx="103">
                  <c:v>848779.14548697718</c:v>
                </c:pt>
                <c:pt idx="104">
                  <c:v>541268.27275266766</c:v>
                </c:pt>
                <c:pt idx="105">
                  <c:v>396039.95948557614</c:v>
                </c:pt>
                <c:pt idx="106">
                  <c:v>416885.77540915535</c:v>
                </c:pt>
                <c:pt idx="107">
                  <c:v>416907.28840258438</c:v>
                </c:pt>
                <c:pt idx="108">
                  <c:v>416928.80139601347</c:v>
                </c:pt>
                <c:pt idx="109">
                  <c:v>414332.77103646751</c:v>
                </c:pt>
                <c:pt idx="110">
                  <c:v>414279.6444368409</c:v>
                </c:pt>
                <c:pt idx="111">
                  <c:v>414226.51783721533</c:v>
                </c:pt>
                <c:pt idx="112">
                  <c:v>414173.39123758872</c:v>
                </c:pt>
              </c:numCache>
            </c:numRef>
          </c:val>
          <c:smooth val="0"/>
          <c:extLst>
            <c:ext xmlns:c16="http://schemas.microsoft.com/office/drawing/2014/chart" uri="{C3380CC4-5D6E-409C-BE32-E72D297353CC}">
              <c16:uniqueId val="{00000001-B3B5-43ED-A78A-FCF847B96439}"/>
            </c:ext>
          </c:extLst>
        </c:ser>
        <c:ser>
          <c:idx val="5"/>
          <c:order val="2"/>
          <c:tx>
            <c:strRef>
              <c:f>'[RT-Target VF sin In Stock.xlsx]Modelo'!$AK$4</c:f>
              <c:strCache>
                <c:ptCount val="1"/>
                <c:pt idx="0">
                  <c:v>Total PPI Prices</c:v>
                </c:pt>
              </c:strCache>
            </c:strRef>
          </c:tx>
          <c:spPr>
            <a:ln w="28575" cap="rnd">
              <a:solidFill>
                <a:schemeClr val="accent6"/>
              </a:solidFill>
              <a:prstDash val="sysDot"/>
              <a:round/>
            </a:ln>
            <a:effectLst/>
          </c:spPr>
          <c:marker>
            <c:symbol val="none"/>
          </c:marker>
          <c:cat>
            <c:strRef>
              <c:f>'[RT-Target VF sin In Stock.xlsx]Modelo'!$A$5:$A$117</c:f>
              <c:strCache>
                <c:ptCount val="113"/>
                <c:pt idx="0">
                  <c:v> 1/1/2022 </c:v>
                </c:pt>
                <c:pt idx="1">
                  <c:v> 1/8/2022 </c:v>
                </c:pt>
                <c:pt idx="2">
                  <c:v> 1/15/2022 </c:v>
                </c:pt>
                <c:pt idx="3">
                  <c:v> 1/22/2022 </c:v>
                </c:pt>
                <c:pt idx="4">
                  <c:v> 1/29/2022 </c:v>
                </c:pt>
                <c:pt idx="5">
                  <c:v> 2/5/2022 </c:v>
                </c:pt>
                <c:pt idx="6">
                  <c:v> 2/12/2022 </c:v>
                </c:pt>
                <c:pt idx="7">
                  <c:v> 2/19/2022 </c:v>
                </c:pt>
                <c:pt idx="8">
                  <c:v> 2/26/2022 </c:v>
                </c:pt>
                <c:pt idx="9">
                  <c:v> 3/5/2022 </c:v>
                </c:pt>
                <c:pt idx="10">
                  <c:v> 3/12/2022 </c:v>
                </c:pt>
                <c:pt idx="11">
                  <c:v> 3/19/2022 </c:v>
                </c:pt>
                <c:pt idx="12">
                  <c:v> 3/26/2022 </c:v>
                </c:pt>
                <c:pt idx="13">
                  <c:v> 4/2/2022 </c:v>
                </c:pt>
                <c:pt idx="14">
                  <c:v> 4/9/2022 </c:v>
                </c:pt>
                <c:pt idx="15">
                  <c:v> 4/16/2022 </c:v>
                </c:pt>
                <c:pt idx="16">
                  <c:v> 4/23/2022 </c:v>
                </c:pt>
                <c:pt idx="17">
                  <c:v> 4/30/2022 </c:v>
                </c:pt>
                <c:pt idx="18">
                  <c:v> 5/7/2022 </c:v>
                </c:pt>
                <c:pt idx="19">
                  <c:v> 5/14/2022 </c:v>
                </c:pt>
                <c:pt idx="20">
                  <c:v> 5/21/2022 </c:v>
                </c:pt>
                <c:pt idx="21">
                  <c:v> 5/28/2022 </c:v>
                </c:pt>
                <c:pt idx="22">
                  <c:v> 6/4/2022 </c:v>
                </c:pt>
                <c:pt idx="23">
                  <c:v> 6/11/2022 </c:v>
                </c:pt>
                <c:pt idx="24">
                  <c:v> 6/18/2022 </c:v>
                </c:pt>
                <c:pt idx="25">
                  <c:v> 6/25/2022 </c:v>
                </c:pt>
                <c:pt idx="26">
                  <c:v> 7/2/2022 </c:v>
                </c:pt>
                <c:pt idx="27">
                  <c:v> 7/9/2022 </c:v>
                </c:pt>
                <c:pt idx="28">
                  <c:v> 7/16/2022 </c:v>
                </c:pt>
                <c:pt idx="29">
                  <c:v> 7/23/2022 </c:v>
                </c:pt>
                <c:pt idx="30">
                  <c:v> 7/30/2022 </c:v>
                </c:pt>
                <c:pt idx="31">
                  <c:v> 8/6/2022 </c:v>
                </c:pt>
                <c:pt idx="32">
                  <c:v> 8/13/2022 </c:v>
                </c:pt>
                <c:pt idx="33">
                  <c:v> 8/20/2022 </c:v>
                </c:pt>
                <c:pt idx="34">
                  <c:v> 8/27/2022 </c:v>
                </c:pt>
                <c:pt idx="35">
                  <c:v> 9/3/2022 </c:v>
                </c:pt>
                <c:pt idx="36">
                  <c:v> 9/10/2022 </c:v>
                </c:pt>
                <c:pt idx="37">
                  <c:v> 9/17/2022 </c:v>
                </c:pt>
                <c:pt idx="38">
                  <c:v> 9/24/2022 </c:v>
                </c:pt>
                <c:pt idx="39">
                  <c:v> 10/1/2022 </c:v>
                </c:pt>
                <c:pt idx="40">
                  <c:v> 10/8/2022 </c:v>
                </c:pt>
                <c:pt idx="41">
                  <c:v> 10/15/2022 </c:v>
                </c:pt>
                <c:pt idx="42">
                  <c:v> 10/22/2022 </c:v>
                </c:pt>
                <c:pt idx="43">
                  <c:v> 10/29/2022 </c:v>
                </c:pt>
                <c:pt idx="44">
                  <c:v> 11/5/2022 </c:v>
                </c:pt>
                <c:pt idx="45">
                  <c:v> 11/12/2022 </c:v>
                </c:pt>
                <c:pt idx="46">
                  <c:v> 11/19/2022 </c:v>
                </c:pt>
                <c:pt idx="47">
                  <c:v> 11/26/2022 </c:v>
                </c:pt>
                <c:pt idx="48">
                  <c:v> 12/3/2022 </c:v>
                </c:pt>
                <c:pt idx="49">
                  <c:v> 12/10/2022 </c:v>
                </c:pt>
                <c:pt idx="50">
                  <c:v> 12/17/2022 </c:v>
                </c:pt>
                <c:pt idx="51">
                  <c:v> 12/24/2022 </c:v>
                </c:pt>
                <c:pt idx="52">
                  <c:v> 12/31/2022 </c:v>
                </c:pt>
                <c:pt idx="53">
                  <c:v> 1/7/2023 </c:v>
                </c:pt>
                <c:pt idx="54">
                  <c:v> 1/14/2023 </c:v>
                </c:pt>
                <c:pt idx="55">
                  <c:v> 1/21/2023 </c:v>
                </c:pt>
                <c:pt idx="56">
                  <c:v> 1/28/2023 </c:v>
                </c:pt>
                <c:pt idx="57">
                  <c:v> 2/4/2023 </c:v>
                </c:pt>
                <c:pt idx="58">
                  <c:v> 2/11/2023 </c:v>
                </c:pt>
                <c:pt idx="59">
                  <c:v> 2/18/2023 </c:v>
                </c:pt>
                <c:pt idx="60">
                  <c:v> 2/25/2023 </c:v>
                </c:pt>
                <c:pt idx="61">
                  <c:v> 3/4/2023 </c:v>
                </c:pt>
                <c:pt idx="62">
                  <c:v> 3/11/2023 </c:v>
                </c:pt>
                <c:pt idx="63">
                  <c:v> 3/18/2023 </c:v>
                </c:pt>
                <c:pt idx="64">
                  <c:v> 3/25/2023 </c:v>
                </c:pt>
                <c:pt idx="65">
                  <c:v> 4/1/2023 </c:v>
                </c:pt>
                <c:pt idx="66">
                  <c:v> 4/8/2023 </c:v>
                </c:pt>
                <c:pt idx="67">
                  <c:v> 4/15/2023 </c:v>
                </c:pt>
                <c:pt idx="68">
                  <c:v> 4/22/2023 </c:v>
                </c:pt>
                <c:pt idx="69">
                  <c:v> 4/29/2023 </c:v>
                </c:pt>
                <c:pt idx="70">
                  <c:v> 5/6/2023 </c:v>
                </c:pt>
                <c:pt idx="71">
                  <c:v> 5/13/2023 </c:v>
                </c:pt>
                <c:pt idx="72">
                  <c:v> 5/20/2023 </c:v>
                </c:pt>
                <c:pt idx="73">
                  <c:v> 5/27/2023 </c:v>
                </c:pt>
                <c:pt idx="74">
                  <c:v> 6/3/2023 </c:v>
                </c:pt>
                <c:pt idx="75">
                  <c:v> 6/10/2023 </c:v>
                </c:pt>
                <c:pt idx="76">
                  <c:v> 6/17/2023 </c:v>
                </c:pt>
                <c:pt idx="77">
                  <c:v> 6/24/2023 </c:v>
                </c:pt>
                <c:pt idx="78">
                  <c:v> 7/1/2023 </c:v>
                </c:pt>
                <c:pt idx="79">
                  <c:v> 7/8/2023 </c:v>
                </c:pt>
                <c:pt idx="80">
                  <c:v> 7/15/2023 </c:v>
                </c:pt>
                <c:pt idx="81">
                  <c:v> 7/22/2023 </c:v>
                </c:pt>
                <c:pt idx="82">
                  <c:v> 7/29/2023 </c:v>
                </c:pt>
                <c:pt idx="83">
                  <c:v> 8/5/2023 </c:v>
                </c:pt>
                <c:pt idx="84">
                  <c:v> 8/12/2023 </c:v>
                </c:pt>
                <c:pt idx="85">
                  <c:v> 8/19/2023 </c:v>
                </c:pt>
                <c:pt idx="86">
                  <c:v> 8/26/2023 </c:v>
                </c:pt>
                <c:pt idx="87">
                  <c:v> 9/2/2023 </c:v>
                </c:pt>
                <c:pt idx="88">
                  <c:v> 9/9/2023 </c:v>
                </c:pt>
                <c:pt idx="89">
                  <c:v> 9/16/2023 </c:v>
                </c:pt>
                <c:pt idx="90">
                  <c:v> 9/23/2023 </c:v>
                </c:pt>
                <c:pt idx="91">
                  <c:v> 9/30/2023 </c:v>
                </c:pt>
                <c:pt idx="92">
                  <c:v> 10/7/2023 </c:v>
                </c:pt>
                <c:pt idx="93">
                  <c:v> 10/14/2023 </c:v>
                </c:pt>
                <c:pt idx="94">
                  <c:v> 10/21/2023 </c:v>
                </c:pt>
                <c:pt idx="95">
                  <c:v> 10/28/2023 </c:v>
                </c:pt>
                <c:pt idx="96">
                  <c:v> 11/4/2023 </c:v>
                </c:pt>
                <c:pt idx="97">
                  <c:v> 11/11/2023 </c:v>
                </c:pt>
                <c:pt idx="98">
                  <c:v> 11/18/2023 </c:v>
                </c:pt>
                <c:pt idx="99">
                  <c:v> 11/25/2023 </c:v>
                </c:pt>
                <c:pt idx="100">
                  <c:v> 12/2/2023 </c:v>
                </c:pt>
                <c:pt idx="101">
                  <c:v> 12/9/2023 </c:v>
                </c:pt>
                <c:pt idx="102">
                  <c:v> 12/16/2023 </c:v>
                </c:pt>
                <c:pt idx="103">
                  <c:v> 12/23/2023 </c:v>
                </c:pt>
                <c:pt idx="104">
                  <c:v> 12/30/2023 </c:v>
                </c:pt>
                <c:pt idx="105">
                  <c:v> 1/6/2024 </c:v>
                </c:pt>
                <c:pt idx="106">
                  <c:v> 1/13/2024 </c:v>
                </c:pt>
                <c:pt idx="107">
                  <c:v> 1/20/2024 </c:v>
                </c:pt>
                <c:pt idx="108">
                  <c:v> 1/27/2024 </c:v>
                </c:pt>
                <c:pt idx="109">
                  <c:v> 2/3/2024 </c:v>
                </c:pt>
                <c:pt idx="110">
                  <c:v> 2/10/2024 </c:v>
                </c:pt>
                <c:pt idx="111">
                  <c:v> 2/17/2024 </c:v>
                </c:pt>
                <c:pt idx="112">
                  <c:v> 2/24/2024 </c:v>
                </c:pt>
              </c:strCache>
            </c:strRef>
          </c:cat>
          <c:val>
            <c:numRef>
              <c:f>'[RT-Target VF sin In Stock.xlsx]Modelo'!$AK$5:$AK$117</c:f>
              <c:numCache>
                <c:formatCode>"$"#,##0.00_);[Red]\("$"#,##0.00\)</c:formatCode>
                <c:ptCount val="113"/>
                <c:pt idx="0">
                  <c:v>499173.12295529974</c:v>
                </c:pt>
                <c:pt idx="1">
                  <c:v>378435.83058030892</c:v>
                </c:pt>
                <c:pt idx="2">
                  <c:v>378422.71290138876</c:v>
                </c:pt>
                <c:pt idx="3">
                  <c:v>378409.5952224686</c:v>
                </c:pt>
                <c:pt idx="4">
                  <c:v>378387.95105225034</c:v>
                </c:pt>
                <c:pt idx="5">
                  <c:v>394203.53218114126</c:v>
                </c:pt>
                <c:pt idx="6">
                  <c:v>394181.88801092305</c:v>
                </c:pt>
                <c:pt idx="7">
                  <c:v>394160.24384070578</c:v>
                </c:pt>
                <c:pt idx="8">
                  <c:v>394142.92850453116</c:v>
                </c:pt>
                <c:pt idx="9">
                  <c:v>407558.33993676945</c:v>
                </c:pt>
                <c:pt idx="10">
                  <c:v>407541.02460059588</c:v>
                </c:pt>
                <c:pt idx="11">
                  <c:v>407523.70926442125</c:v>
                </c:pt>
                <c:pt idx="12">
                  <c:v>407506.3939282457</c:v>
                </c:pt>
                <c:pt idx="13">
                  <c:v>406849.54483150388</c:v>
                </c:pt>
                <c:pt idx="14">
                  <c:v>406850.20071544987</c:v>
                </c:pt>
                <c:pt idx="15">
                  <c:v>406850.85659939685</c:v>
                </c:pt>
                <c:pt idx="16">
                  <c:v>406851.5124833429</c:v>
                </c:pt>
                <c:pt idx="17">
                  <c:v>394303.19649832393</c:v>
                </c:pt>
                <c:pt idx="18">
                  <c:v>394297.29354281083</c:v>
                </c:pt>
                <c:pt idx="19">
                  <c:v>394291.39058729581</c:v>
                </c:pt>
                <c:pt idx="20">
                  <c:v>394285.48763178173</c:v>
                </c:pt>
                <c:pt idx="21">
                  <c:v>385529.04198596498</c:v>
                </c:pt>
                <c:pt idx="22">
                  <c:v>385488.63953489292</c:v>
                </c:pt>
                <c:pt idx="23">
                  <c:v>385448.23708381684</c:v>
                </c:pt>
                <c:pt idx="24">
                  <c:v>385407.8346327428</c:v>
                </c:pt>
                <c:pt idx="25">
                  <c:v>378127.03612134757</c:v>
                </c:pt>
                <c:pt idx="26">
                  <c:v>378107.35960296734</c:v>
                </c:pt>
                <c:pt idx="27">
                  <c:v>378087.68308458611</c:v>
                </c:pt>
                <c:pt idx="28">
                  <c:v>378068.00656620588</c:v>
                </c:pt>
                <c:pt idx="29">
                  <c:v>394435.14681641303</c:v>
                </c:pt>
                <c:pt idx="30">
                  <c:v>394474.4998531735</c:v>
                </c:pt>
                <c:pt idx="31">
                  <c:v>394513.85288993397</c:v>
                </c:pt>
                <c:pt idx="32">
                  <c:v>394553.20592669438</c:v>
                </c:pt>
                <c:pt idx="33">
                  <c:v>401587.21586960979</c:v>
                </c:pt>
                <c:pt idx="34">
                  <c:v>401626.5689063702</c:v>
                </c:pt>
                <c:pt idx="35">
                  <c:v>401658.05133577855</c:v>
                </c:pt>
                <c:pt idx="36">
                  <c:v>401689.53376518795</c:v>
                </c:pt>
                <c:pt idx="37">
                  <c:v>402652.62149261171</c:v>
                </c:pt>
                <c:pt idx="38">
                  <c:v>402684.10392202006</c:v>
                </c:pt>
                <c:pt idx="39">
                  <c:v>402648.03030498966</c:v>
                </c:pt>
                <c:pt idx="40">
                  <c:v>402611.95668795926</c:v>
                </c:pt>
                <c:pt idx="41">
                  <c:v>411907.53396692825</c:v>
                </c:pt>
                <c:pt idx="42">
                  <c:v>411871.46034989785</c:v>
                </c:pt>
                <c:pt idx="43">
                  <c:v>411859.39208529133</c:v>
                </c:pt>
                <c:pt idx="44">
                  <c:v>411847.32382068579</c:v>
                </c:pt>
                <c:pt idx="45">
                  <c:v>434100.74395023304</c:v>
                </c:pt>
                <c:pt idx="46">
                  <c:v>434088.67568562651</c:v>
                </c:pt>
                <c:pt idx="47">
                  <c:v>434076.60742102197</c:v>
                </c:pt>
                <c:pt idx="48">
                  <c:v>446302.6726572747</c:v>
                </c:pt>
                <c:pt idx="49">
                  <c:v>519802.77736380382</c:v>
                </c:pt>
                <c:pt idx="50">
                  <c:v>519855.90395125753</c:v>
                </c:pt>
                <c:pt idx="51">
                  <c:v>827441.41658615507</c:v>
                </c:pt>
                <c:pt idx="52">
                  <c:v>519901.16025106638</c:v>
                </c:pt>
                <c:pt idx="53">
                  <c:v>415614.61026072351</c:v>
                </c:pt>
                <c:pt idx="54">
                  <c:v>415606.73965337046</c:v>
                </c:pt>
                <c:pt idx="55">
                  <c:v>415598.86904601834</c:v>
                </c:pt>
                <c:pt idx="56">
                  <c:v>415571.32192028605</c:v>
                </c:pt>
                <c:pt idx="57">
                  <c:v>434113.05567365285</c:v>
                </c:pt>
                <c:pt idx="58">
                  <c:v>434085.5085479205</c:v>
                </c:pt>
                <c:pt idx="59">
                  <c:v>434057.9614221892</c:v>
                </c:pt>
                <c:pt idx="60">
                  <c:v>434064.78261522768</c:v>
                </c:pt>
                <c:pt idx="61">
                  <c:v>431093.04822008533</c:v>
                </c:pt>
                <c:pt idx="62">
                  <c:v>431099.8694131248</c:v>
                </c:pt>
                <c:pt idx="63">
                  <c:v>431106.69060616329</c:v>
                </c:pt>
                <c:pt idx="64">
                  <c:v>431113.51179920079</c:v>
                </c:pt>
                <c:pt idx="65">
                  <c:v>419602.5654302811</c:v>
                </c:pt>
                <c:pt idx="66">
                  <c:v>419583.54479584587</c:v>
                </c:pt>
                <c:pt idx="67">
                  <c:v>419564.52416141267</c:v>
                </c:pt>
                <c:pt idx="68">
                  <c:v>419545.50352697843</c:v>
                </c:pt>
                <c:pt idx="69">
                  <c:v>419213.80818500003</c:v>
                </c:pt>
                <c:pt idx="70">
                  <c:v>419219.05525656906</c:v>
                </c:pt>
                <c:pt idx="71">
                  <c:v>419224.30232813617</c:v>
                </c:pt>
                <c:pt idx="72">
                  <c:v>419229.54939970421</c:v>
                </c:pt>
                <c:pt idx="73">
                  <c:v>400808.35953079973</c:v>
                </c:pt>
                <c:pt idx="74">
                  <c:v>400856.89494280529</c:v>
                </c:pt>
                <c:pt idx="75">
                  <c:v>400905.43035480985</c:v>
                </c:pt>
                <c:pt idx="76">
                  <c:v>400953.96576681337</c:v>
                </c:pt>
                <c:pt idx="77">
                  <c:v>404644.24989984429</c:v>
                </c:pt>
                <c:pt idx="78">
                  <c:v>404692.12942790281</c:v>
                </c:pt>
                <c:pt idx="79">
                  <c:v>404740.00895596039</c:v>
                </c:pt>
                <c:pt idx="80">
                  <c:v>404787.88848401891</c:v>
                </c:pt>
                <c:pt idx="81">
                  <c:v>407048.71680631896</c:v>
                </c:pt>
                <c:pt idx="82">
                  <c:v>406991.52372622711</c:v>
                </c:pt>
                <c:pt idx="83">
                  <c:v>406934.3306461352</c:v>
                </c:pt>
                <c:pt idx="84">
                  <c:v>406877.13756604336</c:v>
                </c:pt>
                <c:pt idx="85">
                  <c:v>404748.05696060113</c:v>
                </c:pt>
                <c:pt idx="86">
                  <c:v>404690.86388050928</c:v>
                </c:pt>
                <c:pt idx="87">
                  <c:v>404670.53147818398</c:v>
                </c:pt>
                <c:pt idx="88">
                  <c:v>404650.19907585776</c:v>
                </c:pt>
                <c:pt idx="89">
                  <c:v>403837.04569741874</c:v>
                </c:pt>
                <c:pt idx="90">
                  <c:v>403816.71329509246</c:v>
                </c:pt>
                <c:pt idx="91">
                  <c:v>403814.08975930844</c:v>
                </c:pt>
                <c:pt idx="92">
                  <c:v>403811.46622352442</c:v>
                </c:pt>
                <c:pt idx="93">
                  <c:v>413938.23007369513</c:v>
                </c:pt>
                <c:pt idx="94">
                  <c:v>413935.60653791111</c:v>
                </c:pt>
                <c:pt idx="95">
                  <c:v>413932.45829497027</c:v>
                </c:pt>
                <c:pt idx="96">
                  <c:v>413929.31005203043</c:v>
                </c:pt>
                <c:pt idx="97">
                  <c:v>437399.56510599318</c:v>
                </c:pt>
                <c:pt idx="98">
                  <c:v>437396.41686305229</c:v>
                </c:pt>
                <c:pt idx="99">
                  <c:v>437393.26862011349</c:v>
                </c:pt>
                <c:pt idx="100">
                  <c:v>449623.26916004223</c:v>
                </c:pt>
                <c:pt idx="101">
                  <c:v>541132.63565727393</c:v>
                </c:pt>
                <c:pt idx="102">
                  <c:v>541189.69754840364</c:v>
                </c:pt>
                <c:pt idx="103">
                  <c:v>848779.14548697718</c:v>
                </c:pt>
                <c:pt idx="104">
                  <c:v>541268.27275266766</c:v>
                </c:pt>
                <c:pt idx="105">
                  <c:v>396039.95948557614</c:v>
                </c:pt>
                <c:pt idx="106">
                  <c:v>416885.77540915535</c:v>
                </c:pt>
                <c:pt idx="107">
                  <c:v>416907.28840258438</c:v>
                </c:pt>
                <c:pt idx="108">
                  <c:v>416928.80139601347</c:v>
                </c:pt>
                <c:pt idx="109">
                  <c:v>414332.77103646751</c:v>
                </c:pt>
                <c:pt idx="110">
                  <c:v>414279.6444368409</c:v>
                </c:pt>
                <c:pt idx="111">
                  <c:v>414226.51783721533</c:v>
                </c:pt>
                <c:pt idx="112">
                  <c:v>414173.39123758872</c:v>
                </c:pt>
              </c:numCache>
            </c:numRef>
          </c:val>
          <c:smooth val="0"/>
          <c:extLst>
            <c:ext xmlns:c16="http://schemas.microsoft.com/office/drawing/2014/chart" uri="{C3380CC4-5D6E-409C-BE32-E72D297353CC}">
              <c16:uniqueId val="{00000002-B3B5-43ED-A78A-FCF847B96439}"/>
            </c:ext>
          </c:extLst>
        </c:ser>
        <c:ser>
          <c:idx val="2"/>
          <c:order val="3"/>
          <c:tx>
            <c:strRef>
              <c:f>'[RT-Target VF sin In Stock.xlsx]Modelo'!$AL$4</c:f>
              <c:strCache>
                <c:ptCount val="1"/>
                <c:pt idx="0">
                  <c:v>Total Retailed</c:v>
                </c:pt>
              </c:strCache>
            </c:strRef>
          </c:tx>
          <c:spPr>
            <a:ln w="28575" cap="rnd">
              <a:solidFill>
                <a:schemeClr val="accent1"/>
              </a:solidFill>
              <a:round/>
            </a:ln>
            <a:effectLst/>
          </c:spPr>
          <c:marker>
            <c:symbol val="none"/>
          </c:marker>
          <c:cat>
            <c:strRef>
              <c:f>'[RT-Target VF sin In Stock.xlsx]Modelo'!$A$5:$A$117</c:f>
              <c:strCache>
                <c:ptCount val="113"/>
                <c:pt idx="0">
                  <c:v> 1/1/2022 </c:v>
                </c:pt>
                <c:pt idx="1">
                  <c:v> 1/8/2022 </c:v>
                </c:pt>
                <c:pt idx="2">
                  <c:v> 1/15/2022 </c:v>
                </c:pt>
                <c:pt idx="3">
                  <c:v> 1/22/2022 </c:v>
                </c:pt>
                <c:pt idx="4">
                  <c:v> 1/29/2022 </c:v>
                </c:pt>
                <c:pt idx="5">
                  <c:v> 2/5/2022 </c:v>
                </c:pt>
                <c:pt idx="6">
                  <c:v> 2/12/2022 </c:v>
                </c:pt>
                <c:pt idx="7">
                  <c:v> 2/19/2022 </c:v>
                </c:pt>
                <c:pt idx="8">
                  <c:v> 2/26/2022 </c:v>
                </c:pt>
                <c:pt idx="9">
                  <c:v> 3/5/2022 </c:v>
                </c:pt>
                <c:pt idx="10">
                  <c:v> 3/12/2022 </c:v>
                </c:pt>
                <c:pt idx="11">
                  <c:v> 3/19/2022 </c:v>
                </c:pt>
                <c:pt idx="12">
                  <c:v> 3/26/2022 </c:v>
                </c:pt>
                <c:pt idx="13">
                  <c:v> 4/2/2022 </c:v>
                </c:pt>
                <c:pt idx="14">
                  <c:v> 4/9/2022 </c:v>
                </c:pt>
                <c:pt idx="15">
                  <c:v> 4/16/2022 </c:v>
                </c:pt>
                <c:pt idx="16">
                  <c:v> 4/23/2022 </c:v>
                </c:pt>
                <c:pt idx="17">
                  <c:v> 4/30/2022 </c:v>
                </c:pt>
                <c:pt idx="18">
                  <c:v> 5/7/2022 </c:v>
                </c:pt>
                <c:pt idx="19">
                  <c:v> 5/14/2022 </c:v>
                </c:pt>
                <c:pt idx="20">
                  <c:v> 5/21/2022 </c:v>
                </c:pt>
                <c:pt idx="21">
                  <c:v> 5/28/2022 </c:v>
                </c:pt>
                <c:pt idx="22">
                  <c:v> 6/4/2022 </c:v>
                </c:pt>
                <c:pt idx="23">
                  <c:v> 6/11/2022 </c:v>
                </c:pt>
                <c:pt idx="24">
                  <c:v> 6/18/2022 </c:v>
                </c:pt>
                <c:pt idx="25">
                  <c:v> 6/25/2022 </c:v>
                </c:pt>
                <c:pt idx="26">
                  <c:v> 7/2/2022 </c:v>
                </c:pt>
                <c:pt idx="27">
                  <c:v> 7/9/2022 </c:v>
                </c:pt>
                <c:pt idx="28">
                  <c:v> 7/16/2022 </c:v>
                </c:pt>
                <c:pt idx="29">
                  <c:v> 7/23/2022 </c:v>
                </c:pt>
                <c:pt idx="30">
                  <c:v> 7/30/2022 </c:v>
                </c:pt>
                <c:pt idx="31">
                  <c:v> 8/6/2022 </c:v>
                </c:pt>
                <c:pt idx="32">
                  <c:v> 8/13/2022 </c:v>
                </c:pt>
                <c:pt idx="33">
                  <c:v> 8/20/2022 </c:v>
                </c:pt>
                <c:pt idx="34">
                  <c:v> 8/27/2022 </c:v>
                </c:pt>
                <c:pt idx="35">
                  <c:v> 9/3/2022 </c:v>
                </c:pt>
                <c:pt idx="36">
                  <c:v> 9/10/2022 </c:v>
                </c:pt>
                <c:pt idx="37">
                  <c:v> 9/17/2022 </c:v>
                </c:pt>
                <c:pt idx="38">
                  <c:v> 9/24/2022 </c:v>
                </c:pt>
                <c:pt idx="39">
                  <c:v> 10/1/2022 </c:v>
                </c:pt>
                <c:pt idx="40">
                  <c:v> 10/8/2022 </c:v>
                </c:pt>
                <c:pt idx="41">
                  <c:v> 10/15/2022 </c:v>
                </c:pt>
                <c:pt idx="42">
                  <c:v> 10/22/2022 </c:v>
                </c:pt>
                <c:pt idx="43">
                  <c:v> 10/29/2022 </c:v>
                </c:pt>
                <c:pt idx="44">
                  <c:v> 11/5/2022 </c:v>
                </c:pt>
                <c:pt idx="45">
                  <c:v> 11/12/2022 </c:v>
                </c:pt>
                <c:pt idx="46">
                  <c:v> 11/19/2022 </c:v>
                </c:pt>
                <c:pt idx="47">
                  <c:v> 11/26/2022 </c:v>
                </c:pt>
                <c:pt idx="48">
                  <c:v> 12/3/2022 </c:v>
                </c:pt>
                <c:pt idx="49">
                  <c:v> 12/10/2022 </c:v>
                </c:pt>
                <c:pt idx="50">
                  <c:v> 12/17/2022 </c:v>
                </c:pt>
                <c:pt idx="51">
                  <c:v> 12/24/2022 </c:v>
                </c:pt>
                <c:pt idx="52">
                  <c:v> 12/31/2022 </c:v>
                </c:pt>
                <c:pt idx="53">
                  <c:v> 1/7/2023 </c:v>
                </c:pt>
                <c:pt idx="54">
                  <c:v> 1/14/2023 </c:v>
                </c:pt>
                <c:pt idx="55">
                  <c:v> 1/21/2023 </c:v>
                </c:pt>
                <c:pt idx="56">
                  <c:v> 1/28/2023 </c:v>
                </c:pt>
                <c:pt idx="57">
                  <c:v> 2/4/2023 </c:v>
                </c:pt>
                <c:pt idx="58">
                  <c:v> 2/11/2023 </c:v>
                </c:pt>
                <c:pt idx="59">
                  <c:v> 2/18/2023 </c:v>
                </c:pt>
                <c:pt idx="60">
                  <c:v> 2/25/2023 </c:v>
                </c:pt>
                <c:pt idx="61">
                  <c:v> 3/4/2023 </c:v>
                </c:pt>
                <c:pt idx="62">
                  <c:v> 3/11/2023 </c:v>
                </c:pt>
                <c:pt idx="63">
                  <c:v> 3/18/2023 </c:v>
                </c:pt>
                <c:pt idx="64">
                  <c:v> 3/25/2023 </c:v>
                </c:pt>
                <c:pt idx="65">
                  <c:v> 4/1/2023 </c:v>
                </c:pt>
                <c:pt idx="66">
                  <c:v> 4/8/2023 </c:v>
                </c:pt>
                <c:pt idx="67">
                  <c:v> 4/15/2023 </c:v>
                </c:pt>
                <c:pt idx="68">
                  <c:v> 4/22/2023 </c:v>
                </c:pt>
                <c:pt idx="69">
                  <c:v> 4/29/2023 </c:v>
                </c:pt>
                <c:pt idx="70">
                  <c:v> 5/6/2023 </c:v>
                </c:pt>
                <c:pt idx="71">
                  <c:v> 5/13/2023 </c:v>
                </c:pt>
                <c:pt idx="72">
                  <c:v> 5/20/2023 </c:v>
                </c:pt>
                <c:pt idx="73">
                  <c:v> 5/27/2023 </c:v>
                </c:pt>
                <c:pt idx="74">
                  <c:v> 6/3/2023 </c:v>
                </c:pt>
                <c:pt idx="75">
                  <c:v> 6/10/2023 </c:v>
                </c:pt>
                <c:pt idx="76">
                  <c:v> 6/17/2023 </c:v>
                </c:pt>
                <c:pt idx="77">
                  <c:v> 6/24/2023 </c:v>
                </c:pt>
                <c:pt idx="78">
                  <c:v> 7/1/2023 </c:v>
                </c:pt>
                <c:pt idx="79">
                  <c:v> 7/8/2023 </c:v>
                </c:pt>
                <c:pt idx="80">
                  <c:v> 7/15/2023 </c:v>
                </c:pt>
                <c:pt idx="81">
                  <c:v> 7/22/2023 </c:v>
                </c:pt>
                <c:pt idx="82">
                  <c:v> 7/29/2023 </c:v>
                </c:pt>
                <c:pt idx="83">
                  <c:v> 8/5/2023 </c:v>
                </c:pt>
                <c:pt idx="84">
                  <c:v> 8/12/2023 </c:v>
                </c:pt>
                <c:pt idx="85">
                  <c:v> 8/19/2023 </c:v>
                </c:pt>
                <c:pt idx="86">
                  <c:v> 8/26/2023 </c:v>
                </c:pt>
                <c:pt idx="87">
                  <c:v> 9/2/2023 </c:v>
                </c:pt>
                <c:pt idx="88">
                  <c:v> 9/9/2023 </c:v>
                </c:pt>
                <c:pt idx="89">
                  <c:v> 9/16/2023 </c:v>
                </c:pt>
                <c:pt idx="90">
                  <c:v> 9/23/2023 </c:v>
                </c:pt>
                <c:pt idx="91">
                  <c:v> 9/30/2023 </c:v>
                </c:pt>
                <c:pt idx="92">
                  <c:v> 10/7/2023 </c:v>
                </c:pt>
                <c:pt idx="93">
                  <c:v> 10/14/2023 </c:v>
                </c:pt>
                <c:pt idx="94">
                  <c:v> 10/21/2023 </c:v>
                </c:pt>
                <c:pt idx="95">
                  <c:v> 10/28/2023 </c:v>
                </c:pt>
                <c:pt idx="96">
                  <c:v> 11/4/2023 </c:v>
                </c:pt>
                <c:pt idx="97">
                  <c:v> 11/11/2023 </c:v>
                </c:pt>
                <c:pt idx="98">
                  <c:v> 11/18/2023 </c:v>
                </c:pt>
                <c:pt idx="99">
                  <c:v> 11/25/2023 </c:v>
                </c:pt>
                <c:pt idx="100">
                  <c:v> 12/2/2023 </c:v>
                </c:pt>
                <c:pt idx="101">
                  <c:v> 12/9/2023 </c:v>
                </c:pt>
                <c:pt idx="102">
                  <c:v> 12/16/2023 </c:v>
                </c:pt>
                <c:pt idx="103">
                  <c:v> 12/23/2023 </c:v>
                </c:pt>
                <c:pt idx="104">
                  <c:v> 12/30/2023 </c:v>
                </c:pt>
                <c:pt idx="105">
                  <c:v> 1/6/2024 </c:v>
                </c:pt>
                <c:pt idx="106">
                  <c:v> 1/13/2024 </c:v>
                </c:pt>
                <c:pt idx="107">
                  <c:v> 1/20/2024 </c:v>
                </c:pt>
                <c:pt idx="108">
                  <c:v> 1/27/2024 </c:v>
                </c:pt>
                <c:pt idx="109">
                  <c:v> 2/3/2024 </c:v>
                </c:pt>
                <c:pt idx="110">
                  <c:v> 2/10/2024 </c:v>
                </c:pt>
                <c:pt idx="111">
                  <c:v> 2/17/2024 </c:v>
                </c:pt>
                <c:pt idx="112">
                  <c:v> 2/24/2024 </c:v>
                </c:pt>
              </c:strCache>
            </c:strRef>
          </c:cat>
          <c:val>
            <c:numRef>
              <c:f>'[RT-Target VF sin In Stock.xlsx]Modelo'!$AL$5:$AL$117</c:f>
              <c:numCache>
                <c:formatCode>"$"#,##0.00_);[Red]\("$"#,##0.00\)</c:formatCode>
                <c:ptCount val="113"/>
                <c:pt idx="0">
                  <c:v>499193.81435581652</c:v>
                </c:pt>
                <c:pt idx="1">
                  <c:v>378576.6684976347</c:v>
                </c:pt>
                <c:pt idx="2">
                  <c:v>378587.55096996884</c:v>
                </c:pt>
                <c:pt idx="3">
                  <c:v>378579.21414645377</c:v>
                </c:pt>
                <c:pt idx="4">
                  <c:v>378789.94352738396</c:v>
                </c:pt>
                <c:pt idx="5">
                  <c:v>394521.98869350308</c:v>
                </c:pt>
                <c:pt idx="6">
                  <c:v>422558.70445675077</c:v>
                </c:pt>
                <c:pt idx="7">
                  <c:v>402249.35866595915</c:v>
                </c:pt>
                <c:pt idx="8">
                  <c:v>396602.8612118286</c:v>
                </c:pt>
                <c:pt idx="9">
                  <c:v>408456.33499804285</c:v>
                </c:pt>
                <c:pt idx="10">
                  <c:v>408005.62228824972</c:v>
                </c:pt>
                <c:pt idx="11">
                  <c:v>435942.73752454988</c:v>
                </c:pt>
                <c:pt idx="12">
                  <c:v>443682.23444712296</c:v>
                </c:pt>
                <c:pt idx="13">
                  <c:v>417103.06229072</c:v>
                </c:pt>
                <c:pt idx="14">
                  <c:v>409910.77670444408</c:v>
                </c:pt>
                <c:pt idx="15">
                  <c:v>407915.53095156356</c:v>
                </c:pt>
                <c:pt idx="16">
                  <c:v>407362.36287321663</c:v>
                </c:pt>
                <c:pt idx="17">
                  <c:v>394660.371488748</c:v>
                </c:pt>
                <c:pt idx="18">
                  <c:v>422686.51456642727</c:v>
                </c:pt>
                <c:pt idx="19">
                  <c:v>402384.27229698427</c:v>
                </c:pt>
                <c:pt idx="20">
                  <c:v>396746.52914309443</c:v>
                </c:pt>
                <c:pt idx="21">
                  <c:v>386427.35715882533</c:v>
                </c:pt>
                <c:pt idx="22">
                  <c:v>385953.32848221873</c:v>
                </c:pt>
                <c:pt idx="23">
                  <c:v>385792.60317051236</c:v>
                </c:pt>
                <c:pt idx="24">
                  <c:v>385718.81346110353</c:v>
                </c:pt>
                <c:pt idx="25">
                  <c:v>406503.43860675779</c:v>
                </c:pt>
                <c:pt idx="26">
                  <c:v>386196.68441717181</c:v>
                </c:pt>
                <c:pt idx="27">
                  <c:v>380547.73762618797</c:v>
                </c:pt>
                <c:pt idx="28">
                  <c:v>378966.04787397117</c:v>
                </c:pt>
                <c:pt idx="29">
                  <c:v>422974.44774435583</c:v>
                </c:pt>
                <c:pt idx="30">
                  <c:v>402609.0258230347</c:v>
                </c:pt>
                <c:pt idx="31">
                  <c:v>396986.44987387722</c:v>
                </c:pt>
                <c:pt idx="32">
                  <c:v>395454.72751779831</c:v>
                </c:pt>
                <c:pt idx="33">
                  <c:v>430127.48250771861</c:v>
                </c:pt>
                <c:pt idx="34">
                  <c:v>437836.05081432743</c:v>
                </c:pt>
                <c:pt idx="35">
                  <c:v>411920.90364581859</c:v>
                </c:pt>
                <c:pt idx="36">
                  <c:v>404752.69999866933</c:v>
                </c:pt>
                <c:pt idx="37">
                  <c:v>403718.01458873355</c:v>
                </c:pt>
                <c:pt idx="38">
                  <c:v>403195.15375021612</c:v>
                </c:pt>
                <c:pt idx="39">
                  <c:v>431079.94860956928</c:v>
                </c:pt>
                <c:pt idx="40">
                  <c:v>410716.68606472592</c:v>
                </c:pt>
                <c:pt idx="41">
                  <c:v>442446.55094944302</c:v>
                </c:pt>
                <c:pt idx="42">
                  <c:v>420560.86871003889</c:v>
                </c:pt>
                <c:pt idx="43">
                  <c:v>442560.646136806</c:v>
                </c:pt>
                <c:pt idx="44">
                  <c:v>420581.749819119</c:v>
                </c:pt>
                <c:pt idx="45">
                  <c:v>436739.80155021662</c:v>
                </c:pt>
                <c:pt idx="46">
                  <c:v>453406.76933912165</c:v>
                </c:pt>
                <c:pt idx="47">
                  <c:v>456084.36584686971</c:v>
                </c:pt>
                <c:pt idx="48">
                  <c:v>468721.95435866987</c:v>
                </c:pt>
                <c:pt idx="49">
                  <c:v>542278.79047987412</c:v>
                </c:pt>
                <c:pt idx="50">
                  <c:v>570412.49622675602</c:v>
                </c:pt>
                <c:pt idx="51">
                  <c:v>857713.44803654065</c:v>
                </c:pt>
                <c:pt idx="52">
                  <c:v>526457.5636311291</c:v>
                </c:pt>
                <c:pt idx="53">
                  <c:v>438011.17409177218</c:v>
                </c:pt>
                <c:pt idx="54">
                  <c:v>416223.49519412668</c:v>
                </c:pt>
                <c:pt idx="55">
                  <c:v>415972.94440437574</c:v>
                </c:pt>
                <c:pt idx="56">
                  <c:v>424268.39212902007</c:v>
                </c:pt>
                <c:pt idx="57">
                  <c:v>444271.94893666013</c:v>
                </c:pt>
                <c:pt idx="58">
                  <c:v>472574.79065942118</c:v>
                </c:pt>
                <c:pt idx="59">
                  <c:v>452307.34632021846</c:v>
                </c:pt>
                <c:pt idx="60">
                  <c:v>502842.74153814779</c:v>
                </c:pt>
                <c:pt idx="61">
                  <c:v>457741.51842469553</c:v>
                </c:pt>
                <c:pt idx="62">
                  <c:v>446058.0818952038</c:v>
                </c:pt>
                <c:pt idx="63">
                  <c:v>498970.43445081008</c:v>
                </c:pt>
                <c:pt idx="64">
                  <c:v>457508.13334696565</c:v>
                </c:pt>
                <c:pt idx="65">
                  <c:v>434490.30970620242</c:v>
                </c:pt>
                <c:pt idx="66">
                  <c:v>431278.35384753603</c:v>
                </c:pt>
                <c:pt idx="67">
                  <c:v>430373.35564106307</c:v>
                </c:pt>
                <c:pt idx="68">
                  <c:v>430108.4934234618</c:v>
                </c:pt>
                <c:pt idx="69">
                  <c:v>429708.58181332337</c:v>
                </c:pt>
                <c:pt idx="70">
                  <c:v>441014.6670710562</c:v>
                </c:pt>
                <c:pt idx="71">
                  <c:v>457792.99114086485</c:v>
                </c:pt>
                <c:pt idx="72">
                  <c:v>437488.91394594498</c:v>
                </c:pt>
                <c:pt idx="73">
                  <c:v>434154.53731426073</c:v>
                </c:pt>
                <c:pt idx="74">
                  <c:v>411925.32221623103</c:v>
                </c:pt>
                <c:pt idx="75">
                  <c:v>411540.45303850656</c:v>
                </c:pt>
                <c:pt idx="76">
                  <c:v>419280.00982062484</c:v>
                </c:pt>
                <c:pt idx="77">
                  <c:v>439090.98382042034</c:v>
                </c:pt>
                <c:pt idx="78">
                  <c:v>414361.0737072046</c:v>
                </c:pt>
                <c:pt idx="79">
                  <c:v>407945.9759779172</c:v>
                </c:pt>
                <c:pt idx="80">
                  <c:v>434348.98393969709</c:v>
                </c:pt>
                <c:pt idx="81">
                  <c:v>420599.08607007907</c:v>
                </c:pt>
                <c:pt idx="82">
                  <c:v>410050.30486233352</c:v>
                </c:pt>
                <c:pt idx="83">
                  <c:v>408396.84560719633</c:v>
                </c:pt>
                <c:pt idx="84">
                  <c:v>435971.50155594596</c:v>
                </c:pt>
                <c:pt idx="85">
                  <c:v>441509.74051083717</c:v>
                </c:pt>
                <c:pt idx="86">
                  <c:v>415505.3951830549</c:v>
                </c:pt>
                <c:pt idx="87">
                  <c:v>408285.23231953965</c:v>
                </c:pt>
                <c:pt idx="88">
                  <c:v>406267.0868420222</c:v>
                </c:pt>
                <c:pt idx="89">
                  <c:v>404899.57913520734</c:v>
                </c:pt>
                <c:pt idx="90">
                  <c:v>404725.42417138</c:v>
                </c:pt>
                <c:pt idx="91">
                  <c:v>404680.11786137155</c:v>
                </c:pt>
                <c:pt idx="92">
                  <c:v>460815.02664599585</c:v>
                </c:pt>
                <c:pt idx="93">
                  <c:v>430369.49010932114</c:v>
                </c:pt>
                <c:pt idx="94">
                  <c:v>419108.84074311907</c:v>
                </c:pt>
                <c:pt idx="95">
                  <c:v>472131.18480202486</c:v>
                </c:pt>
                <c:pt idx="96">
                  <c:v>475714.3953017827</c:v>
                </c:pt>
                <c:pt idx="97">
                  <c:v>442664.82173305552</c:v>
                </c:pt>
                <c:pt idx="98">
                  <c:v>439471.30184233887</c:v>
                </c:pt>
                <c:pt idx="99">
                  <c:v>438582.88740620943</c:v>
                </c:pt>
                <c:pt idx="100">
                  <c:v>478641.93173534924</c:v>
                </c:pt>
                <c:pt idx="101">
                  <c:v>577873.31771232269</c:v>
                </c:pt>
                <c:pt idx="102">
                  <c:v>580073.09012029821</c:v>
                </c:pt>
                <c:pt idx="103">
                  <c:v>916331.78660947992</c:v>
                </c:pt>
                <c:pt idx="104">
                  <c:v>588701.38589154859</c:v>
                </c:pt>
                <c:pt idx="105">
                  <c:v>409720.6746575305</c:v>
                </c:pt>
                <c:pt idx="106">
                  <c:v>421525.44637120195</c:v>
                </c:pt>
                <c:pt idx="107">
                  <c:v>419011.59383961197</c:v>
                </c:pt>
                <c:pt idx="108">
                  <c:v>418324.56857868406</c:v>
                </c:pt>
                <c:pt idx="109">
                  <c:v>447607.46776467754</c:v>
                </c:pt>
                <c:pt idx="110">
                  <c:v>484080.47431948374</c:v>
                </c:pt>
                <c:pt idx="111">
                  <c:v>466017.07625212288</c:v>
                </c:pt>
                <c:pt idx="112">
                  <c:v>477901.28486752586</c:v>
                </c:pt>
              </c:numCache>
            </c:numRef>
          </c:val>
          <c:smooth val="0"/>
          <c:extLst>
            <c:ext xmlns:c16="http://schemas.microsoft.com/office/drawing/2014/chart" uri="{C3380CC4-5D6E-409C-BE32-E72D297353CC}">
              <c16:uniqueId val="{00000003-B3B5-43ED-A78A-FCF847B96439}"/>
            </c:ext>
          </c:extLst>
        </c:ser>
        <c:ser>
          <c:idx val="1"/>
          <c:order val="4"/>
          <c:tx>
            <c:strRef>
              <c:f>'[RT-Target VF sin In Stock.xlsx]Modelo'!$AM$4</c:f>
              <c:strCache>
                <c:ptCount val="1"/>
                <c:pt idx="0">
                  <c:v>Total PPI MKTG</c:v>
                </c:pt>
              </c:strCache>
            </c:strRef>
          </c:tx>
          <c:spPr>
            <a:ln w="28575" cap="rnd">
              <a:solidFill>
                <a:srgbClr val="DB456C"/>
              </a:solidFill>
              <a:round/>
            </a:ln>
            <a:effectLst/>
          </c:spPr>
          <c:marker>
            <c:symbol val="none"/>
          </c:marker>
          <c:cat>
            <c:strRef>
              <c:f>'[RT-Target VF sin In Stock.xlsx]Modelo'!$A$5:$A$117</c:f>
              <c:strCache>
                <c:ptCount val="113"/>
                <c:pt idx="0">
                  <c:v> 1/1/2022 </c:v>
                </c:pt>
                <c:pt idx="1">
                  <c:v> 1/8/2022 </c:v>
                </c:pt>
                <c:pt idx="2">
                  <c:v> 1/15/2022 </c:v>
                </c:pt>
                <c:pt idx="3">
                  <c:v> 1/22/2022 </c:v>
                </c:pt>
                <c:pt idx="4">
                  <c:v> 1/29/2022 </c:v>
                </c:pt>
                <c:pt idx="5">
                  <c:v> 2/5/2022 </c:v>
                </c:pt>
                <c:pt idx="6">
                  <c:v> 2/12/2022 </c:v>
                </c:pt>
                <c:pt idx="7">
                  <c:v> 2/19/2022 </c:v>
                </c:pt>
                <c:pt idx="8">
                  <c:v> 2/26/2022 </c:v>
                </c:pt>
                <c:pt idx="9">
                  <c:v> 3/5/2022 </c:v>
                </c:pt>
                <c:pt idx="10">
                  <c:v> 3/12/2022 </c:v>
                </c:pt>
                <c:pt idx="11">
                  <c:v> 3/19/2022 </c:v>
                </c:pt>
                <c:pt idx="12">
                  <c:v> 3/26/2022 </c:v>
                </c:pt>
                <c:pt idx="13">
                  <c:v> 4/2/2022 </c:v>
                </c:pt>
                <c:pt idx="14">
                  <c:v> 4/9/2022 </c:v>
                </c:pt>
                <c:pt idx="15">
                  <c:v> 4/16/2022 </c:v>
                </c:pt>
                <c:pt idx="16">
                  <c:v> 4/23/2022 </c:v>
                </c:pt>
                <c:pt idx="17">
                  <c:v> 4/30/2022 </c:v>
                </c:pt>
                <c:pt idx="18">
                  <c:v> 5/7/2022 </c:v>
                </c:pt>
                <c:pt idx="19">
                  <c:v> 5/14/2022 </c:v>
                </c:pt>
                <c:pt idx="20">
                  <c:v> 5/21/2022 </c:v>
                </c:pt>
                <c:pt idx="21">
                  <c:v> 5/28/2022 </c:v>
                </c:pt>
                <c:pt idx="22">
                  <c:v> 6/4/2022 </c:v>
                </c:pt>
                <c:pt idx="23">
                  <c:v> 6/11/2022 </c:v>
                </c:pt>
                <c:pt idx="24">
                  <c:v> 6/18/2022 </c:v>
                </c:pt>
                <c:pt idx="25">
                  <c:v> 6/25/2022 </c:v>
                </c:pt>
                <c:pt idx="26">
                  <c:v> 7/2/2022 </c:v>
                </c:pt>
                <c:pt idx="27">
                  <c:v> 7/9/2022 </c:v>
                </c:pt>
                <c:pt idx="28">
                  <c:v> 7/16/2022 </c:v>
                </c:pt>
                <c:pt idx="29">
                  <c:v> 7/23/2022 </c:v>
                </c:pt>
                <c:pt idx="30">
                  <c:v> 7/30/2022 </c:v>
                </c:pt>
                <c:pt idx="31">
                  <c:v> 8/6/2022 </c:v>
                </c:pt>
                <c:pt idx="32">
                  <c:v> 8/13/2022 </c:v>
                </c:pt>
                <c:pt idx="33">
                  <c:v> 8/20/2022 </c:v>
                </c:pt>
                <c:pt idx="34">
                  <c:v> 8/27/2022 </c:v>
                </c:pt>
                <c:pt idx="35">
                  <c:v> 9/3/2022 </c:v>
                </c:pt>
                <c:pt idx="36">
                  <c:v> 9/10/2022 </c:v>
                </c:pt>
                <c:pt idx="37">
                  <c:v> 9/17/2022 </c:v>
                </c:pt>
                <c:pt idx="38">
                  <c:v> 9/24/2022 </c:v>
                </c:pt>
                <c:pt idx="39">
                  <c:v> 10/1/2022 </c:v>
                </c:pt>
                <c:pt idx="40">
                  <c:v> 10/8/2022 </c:v>
                </c:pt>
                <c:pt idx="41">
                  <c:v> 10/15/2022 </c:v>
                </c:pt>
                <c:pt idx="42">
                  <c:v> 10/22/2022 </c:v>
                </c:pt>
                <c:pt idx="43">
                  <c:v> 10/29/2022 </c:v>
                </c:pt>
                <c:pt idx="44">
                  <c:v> 11/5/2022 </c:v>
                </c:pt>
                <c:pt idx="45">
                  <c:v> 11/12/2022 </c:v>
                </c:pt>
                <c:pt idx="46">
                  <c:v> 11/19/2022 </c:v>
                </c:pt>
                <c:pt idx="47">
                  <c:v> 11/26/2022 </c:v>
                </c:pt>
                <c:pt idx="48">
                  <c:v> 12/3/2022 </c:v>
                </c:pt>
                <c:pt idx="49">
                  <c:v> 12/10/2022 </c:v>
                </c:pt>
                <c:pt idx="50">
                  <c:v> 12/17/2022 </c:v>
                </c:pt>
                <c:pt idx="51">
                  <c:v> 12/24/2022 </c:v>
                </c:pt>
                <c:pt idx="52">
                  <c:v> 12/31/2022 </c:v>
                </c:pt>
                <c:pt idx="53">
                  <c:v> 1/7/2023 </c:v>
                </c:pt>
                <c:pt idx="54">
                  <c:v> 1/14/2023 </c:v>
                </c:pt>
                <c:pt idx="55">
                  <c:v> 1/21/2023 </c:v>
                </c:pt>
                <c:pt idx="56">
                  <c:v> 1/28/2023 </c:v>
                </c:pt>
                <c:pt idx="57">
                  <c:v> 2/4/2023 </c:v>
                </c:pt>
                <c:pt idx="58">
                  <c:v> 2/11/2023 </c:v>
                </c:pt>
                <c:pt idx="59">
                  <c:v> 2/18/2023 </c:v>
                </c:pt>
                <c:pt idx="60">
                  <c:v> 2/25/2023 </c:v>
                </c:pt>
                <c:pt idx="61">
                  <c:v> 3/4/2023 </c:v>
                </c:pt>
                <c:pt idx="62">
                  <c:v> 3/11/2023 </c:v>
                </c:pt>
                <c:pt idx="63">
                  <c:v> 3/18/2023 </c:v>
                </c:pt>
                <c:pt idx="64">
                  <c:v> 3/25/2023 </c:v>
                </c:pt>
                <c:pt idx="65">
                  <c:v> 4/1/2023 </c:v>
                </c:pt>
                <c:pt idx="66">
                  <c:v> 4/8/2023 </c:v>
                </c:pt>
                <c:pt idx="67">
                  <c:v> 4/15/2023 </c:v>
                </c:pt>
                <c:pt idx="68">
                  <c:v> 4/22/2023 </c:v>
                </c:pt>
                <c:pt idx="69">
                  <c:v> 4/29/2023 </c:v>
                </c:pt>
                <c:pt idx="70">
                  <c:v> 5/6/2023 </c:v>
                </c:pt>
                <c:pt idx="71">
                  <c:v> 5/13/2023 </c:v>
                </c:pt>
                <c:pt idx="72">
                  <c:v> 5/20/2023 </c:v>
                </c:pt>
                <c:pt idx="73">
                  <c:v> 5/27/2023 </c:v>
                </c:pt>
                <c:pt idx="74">
                  <c:v> 6/3/2023 </c:v>
                </c:pt>
                <c:pt idx="75">
                  <c:v> 6/10/2023 </c:v>
                </c:pt>
                <c:pt idx="76">
                  <c:v> 6/17/2023 </c:v>
                </c:pt>
                <c:pt idx="77">
                  <c:v> 6/24/2023 </c:v>
                </c:pt>
                <c:pt idx="78">
                  <c:v> 7/1/2023 </c:v>
                </c:pt>
                <c:pt idx="79">
                  <c:v> 7/8/2023 </c:v>
                </c:pt>
                <c:pt idx="80">
                  <c:v> 7/15/2023 </c:v>
                </c:pt>
                <c:pt idx="81">
                  <c:v> 7/22/2023 </c:v>
                </c:pt>
                <c:pt idx="82">
                  <c:v> 7/29/2023 </c:v>
                </c:pt>
                <c:pt idx="83">
                  <c:v> 8/5/2023 </c:v>
                </c:pt>
                <c:pt idx="84">
                  <c:v> 8/12/2023 </c:v>
                </c:pt>
                <c:pt idx="85">
                  <c:v> 8/19/2023 </c:v>
                </c:pt>
                <c:pt idx="86">
                  <c:v> 8/26/2023 </c:v>
                </c:pt>
                <c:pt idx="87">
                  <c:v> 9/2/2023 </c:v>
                </c:pt>
                <c:pt idx="88">
                  <c:v> 9/9/2023 </c:v>
                </c:pt>
                <c:pt idx="89">
                  <c:v> 9/16/2023 </c:v>
                </c:pt>
                <c:pt idx="90">
                  <c:v> 9/23/2023 </c:v>
                </c:pt>
                <c:pt idx="91">
                  <c:v> 9/30/2023 </c:v>
                </c:pt>
                <c:pt idx="92">
                  <c:v> 10/7/2023 </c:v>
                </c:pt>
                <c:pt idx="93">
                  <c:v> 10/14/2023 </c:v>
                </c:pt>
                <c:pt idx="94">
                  <c:v> 10/21/2023 </c:v>
                </c:pt>
                <c:pt idx="95">
                  <c:v> 10/28/2023 </c:v>
                </c:pt>
                <c:pt idx="96">
                  <c:v> 11/4/2023 </c:v>
                </c:pt>
                <c:pt idx="97">
                  <c:v> 11/11/2023 </c:v>
                </c:pt>
                <c:pt idx="98">
                  <c:v> 11/18/2023 </c:v>
                </c:pt>
                <c:pt idx="99">
                  <c:v> 11/25/2023 </c:v>
                </c:pt>
                <c:pt idx="100">
                  <c:v> 12/2/2023 </c:v>
                </c:pt>
                <c:pt idx="101">
                  <c:v> 12/9/2023 </c:v>
                </c:pt>
                <c:pt idx="102">
                  <c:v> 12/16/2023 </c:v>
                </c:pt>
                <c:pt idx="103">
                  <c:v> 12/23/2023 </c:v>
                </c:pt>
                <c:pt idx="104">
                  <c:v> 12/30/2023 </c:v>
                </c:pt>
                <c:pt idx="105">
                  <c:v> 1/6/2024 </c:v>
                </c:pt>
                <c:pt idx="106">
                  <c:v> 1/13/2024 </c:v>
                </c:pt>
                <c:pt idx="107">
                  <c:v> 1/20/2024 </c:v>
                </c:pt>
                <c:pt idx="108">
                  <c:v> 1/27/2024 </c:v>
                </c:pt>
                <c:pt idx="109">
                  <c:v> 2/3/2024 </c:v>
                </c:pt>
                <c:pt idx="110">
                  <c:v> 2/10/2024 </c:v>
                </c:pt>
                <c:pt idx="111">
                  <c:v> 2/17/2024 </c:v>
                </c:pt>
                <c:pt idx="112">
                  <c:v> 2/24/2024 </c:v>
                </c:pt>
              </c:strCache>
            </c:strRef>
          </c:cat>
          <c:val>
            <c:numRef>
              <c:f>'[RT-Target VF sin In Stock.xlsx]Modelo'!$AM$5:$AM$117</c:f>
              <c:numCache>
                <c:formatCode>"$"#,##0.00_);[Red]\("$"#,##0.00\)</c:formatCode>
                <c:ptCount val="113"/>
                <c:pt idx="0">
                  <c:v>499193.81435831654</c:v>
                </c:pt>
                <c:pt idx="1">
                  <c:v>378576.66850322386</c:v>
                </c:pt>
                <c:pt idx="2">
                  <c:v>378587.5509817893</c:v>
                </c:pt>
                <c:pt idx="3">
                  <c:v>378579.21416025283</c:v>
                </c:pt>
                <c:pt idx="4">
                  <c:v>378789.94353965361</c:v>
                </c:pt>
                <c:pt idx="5">
                  <c:v>394521.9887028762</c:v>
                </c:pt>
                <c:pt idx="6">
                  <c:v>422558.70446286537</c:v>
                </c:pt>
                <c:pt idx="7">
                  <c:v>402249.35867003835</c:v>
                </c:pt>
                <c:pt idx="8">
                  <c:v>396602.86122080649</c:v>
                </c:pt>
                <c:pt idx="9">
                  <c:v>421013.26369910466</c:v>
                </c:pt>
                <c:pt idx="10">
                  <c:v>430245.1536653869</c:v>
                </c:pt>
                <c:pt idx="11">
                  <c:v>465576.10375128657</c:v>
                </c:pt>
                <c:pt idx="12">
                  <c:v>478931.37675043242</c:v>
                </c:pt>
                <c:pt idx="13">
                  <c:v>455538.36443645321</c:v>
                </c:pt>
                <c:pt idx="14">
                  <c:v>450754.44605898828</c:v>
                </c:pt>
                <c:pt idx="15">
                  <c:v>450577.39166491752</c:v>
                </c:pt>
                <c:pt idx="16">
                  <c:v>451395.63633406541</c:v>
                </c:pt>
                <c:pt idx="17">
                  <c:v>439727.38987901673</c:v>
                </c:pt>
                <c:pt idx="18">
                  <c:v>457667.60925241094</c:v>
                </c:pt>
                <c:pt idx="19">
                  <c:v>429697.22730935965</c:v>
                </c:pt>
                <c:pt idx="20">
                  <c:v>418195.43328838068</c:v>
                </c:pt>
                <c:pt idx="21">
                  <c:v>403366.22743121575</c:v>
                </c:pt>
                <c:pt idx="22">
                  <c:v>399404.18171423418</c:v>
                </c:pt>
                <c:pt idx="23">
                  <c:v>396531.15583478997</c:v>
                </c:pt>
                <c:pt idx="24">
                  <c:v>394337.04095332732</c:v>
                </c:pt>
                <c:pt idx="25">
                  <c:v>413455.49782966112</c:v>
                </c:pt>
                <c:pt idx="26">
                  <c:v>391832.80835401232</c:v>
                </c:pt>
                <c:pt idx="27">
                  <c:v>385139.38605192368</c:v>
                </c:pt>
                <c:pt idx="28">
                  <c:v>382724.66750605026</c:v>
                </c:pt>
                <c:pt idx="29">
                  <c:v>426065.53713005735</c:v>
                </c:pt>
                <c:pt idx="30">
                  <c:v>405162.73302224145</c:v>
                </c:pt>
                <c:pt idx="31">
                  <c:v>399105.59641903877</c:v>
                </c:pt>
                <c:pt idx="32">
                  <c:v>397220.91296748829</c:v>
                </c:pt>
                <c:pt idx="33">
                  <c:v>431605.75043186807</c:v>
                </c:pt>
                <c:pt idx="34">
                  <c:v>439078.47154118185</c:v>
                </c:pt>
                <c:pt idx="35">
                  <c:v>412969.33751911751</c:v>
                </c:pt>
                <c:pt idx="36">
                  <c:v>405640.93796448188</c:v>
                </c:pt>
                <c:pt idx="37">
                  <c:v>404473.44352510892</c:v>
                </c:pt>
                <c:pt idx="38">
                  <c:v>407562.85485724203</c:v>
                </c:pt>
                <c:pt idx="39">
                  <c:v>438129.17585869884</c:v>
                </c:pt>
                <c:pt idx="40">
                  <c:v>427485.00394966902</c:v>
                </c:pt>
                <c:pt idx="41">
                  <c:v>466449.09655358328</c:v>
                </c:pt>
                <c:pt idx="42">
                  <c:v>449947.16616812948</c:v>
                </c:pt>
                <c:pt idx="43">
                  <c:v>464500.25876390241</c:v>
                </c:pt>
                <c:pt idx="44">
                  <c:v>436967.96604251082</c:v>
                </c:pt>
                <c:pt idx="45">
                  <c:v>448983.93103020493</c:v>
                </c:pt>
                <c:pt idx="46">
                  <c:v>471297.62594519951</c:v>
                </c:pt>
                <c:pt idx="47">
                  <c:v>478179.32722210273</c:v>
                </c:pt>
                <c:pt idx="48">
                  <c:v>493946.52380912786</c:v>
                </c:pt>
                <c:pt idx="49">
                  <c:v>569832.70720628696</c:v>
                </c:pt>
                <c:pt idx="50">
                  <c:v>599699.78603678476</c:v>
                </c:pt>
                <c:pt idx="51">
                  <c:v>888290.31089115248</c:v>
                </c:pt>
                <c:pt idx="52">
                  <c:v>557993.55041589634</c:v>
                </c:pt>
                <c:pt idx="53">
                  <c:v>464339.79696006852</c:v>
                </c:pt>
                <c:pt idx="54">
                  <c:v>438670.75337171124</c:v>
                </c:pt>
                <c:pt idx="55">
                  <c:v>435526.98770950327</c:v>
                </c:pt>
                <c:pt idx="56">
                  <c:v>441665.62080917001</c:v>
                </c:pt>
                <c:pt idx="57">
                  <c:v>460061.16900529125</c:v>
                </c:pt>
                <c:pt idx="58">
                  <c:v>487165.01811510633</c:v>
                </c:pt>
                <c:pt idx="59">
                  <c:v>463187.18198725459</c:v>
                </c:pt>
                <c:pt idx="60">
                  <c:v>510957.27091359085</c:v>
                </c:pt>
                <c:pt idx="61">
                  <c:v>463794.99298172165</c:v>
                </c:pt>
                <c:pt idx="62">
                  <c:v>450575.30008213338</c:v>
                </c:pt>
                <c:pt idx="63">
                  <c:v>502342.47763188824</c:v>
                </c:pt>
                <c:pt idx="64">
                  <c:v>460026.444418834</c:v>
                </c:pt>
                <c:pt idx="65">
                  <c:v>436372.08574213885</c:v>
                </c:pt>
                <c:pt idx="66">
                  <c:v>442702.41609753697</c:v>
                </c:pt>
                <c:pt idx="67">
                  <c:v>448907.01194502582</c:v>
                </c:pt>
                <c:pt idx="68">
                  <c:v>453939.17999630165</c:v>
                </c:pt>
                <c:pt idx="69">
                  <c:v>457485.78826223657</c:v>
                </c:pt>
                <c:pt idx="70">
                  <c:v>471732.1553507474</c:v>
                </c:pt>
                <c:pt idx="71">
                  <c:v>480684.08818932739</c:v>
                </c:pt>
                <c:pt idx="72">
                  <c:v>454548.35939133383</c:v>
                </c:pt>
                <c:pt idx="73">
                  <c:v>446868.62650119234</c:v>
                </c:pt>
                <c:pt idx="74">
                  <c:v>421401.50776010979</c:v>
                </c:pt>
                <c:pt idx="75">
                  <c:v>418603.91089245077</c:v>
                </c:pt>
                <c:pt idx="76">
                  <c:v>424545.59067290707</c:v>
                </c:pt>
                <c:pt idx="77">
                  <c:v>443016.82411947416</c:v>
                </c:pt>
                <c:pt idx="78">
                  <c:v>417288.54131697165</c:v>
                </c:pt>
                <c:pt idx="79">
                  <c:v>410129.43354329496</c:v>
                </c:pt>
                <c:pt idx="80">
                  <c:v>435977.96590044012</c:v>
                </c:pt>
                <c:pt idx="81">
                  <c:v>421814.82251464913</c:v>
                </c:pt>
                <c:pt idx="82">
                  <c:v>410958.03386171605</c:v>
                </c:pt>
                <c:pt idx="83">
                  <c:v>409074.98680762033</c:v>
                </c:pt>
                <c:pt idx="84">
                  <c:v>436478.49180087459</c:v>
                </c:pt>
                <c:pt idx="85">
                  <c:v>441889.12683389493</c:v>
                </c:pt>
                <c:pt idx="86">
                  <c:v>415789.62980478274</c:v>
                </c:pt>
                <c:pt idx="87">
                  <c:v>408498.50030229404</c:v>
                </c:pt>
                <c:pt idx="88">
                  <c:v>406427.41299758572</c:v>
                </c:pt>
                <c:pt idx="89">
                  <c:v>405020.39791188732</c:v>
                </c:pt>
                <c:pt idx="90">
                  <c:v>404867.54192696651</c:v>
                </c:pt>
                <c:pt idx="91">
                  <c:v>404800.20697906776</c:v>
                </c:pt>
                <c:pt idx="92">
                  <c:v>460918.65249155468</c:v>
                </c:pt>
                <c:pt idx="93">
                  <c:v>430460.802488296</c:v>
                </c:pt>
                <c:pt idx="94">
                  <c:v>419190.9344825694</c:v>
                </c:pt>
                <c:pt idx="95">
                  <c:v>472206.3684763721</c:v>
                </c:pt>
                <c:pt idx="96">
                  <c:v>475784.39145269012</c:v>
                </c:pt>
                <c:pt idx="97">
                  <c:v>442730.91607523896</c:v>
                </c:pt>
                <c:pt idx="98">
                  <c:v>439483.72863245429</c:v>
                </c:pt>
                <c:pt idx="99">
                  <c:v>438593.03587757843</c:v>
                </c:pt>
                <c:pt idx="100">
                  <c:v>478650.38772518153</c:v>
                </c:pt>
                <c:pt idx="101">
                  <c:v>577880.48598633485</c:v>
                </c:pt>
                <c:pt idx="102">
                  <c:v>580079.27187198517</c:v>
                </c:pt>
                <c:pt idx="103">
                  <c:v>916337.20740651549</c:v>
                </c:pt>
                <c:pt idx="104">
                  <c:v>588706.21510048525</c:v>
                </c:pt>
                <c:pt idx="105">
                  <c:v>409725.03976664168</c:v>
                </c:pt>
                <c:pt idx="106">
                  <c:v>421529.44352803228</c:v>
                </c:pt>
                <c:pt idx="107">
                  <c:v>419015.2958367705</c:v>
                </c:pt>
                <c:pt idx="108">
                  <c:v>418328.03071144631</c:v>
                </c:pt>
                <c:pt idx="109">
                  <c:v>447610.73222161335</c:v>
                </c:pt>
                <c:pt idx="110">
                  <c:v>484083.57346583641</c:v>
                </c:pt>
                <c:pt idx="111">
                  <c:v>466020.03507379733</c:v>
                </c:pt>
                <c:pt idx="112">
                  <c:v>477904.12280700181</c:v>
                </c:pt>
              </c:numCache>
            </c:numRef>
          </c:val>
          <c:smooth val="0"/>
          <c:extLst>
            <c:ext xmlns:c16="http://schemas.microsoft.com/office/drawing/2014/chart" uri="{C3380CC4-5D6E-409C-BE32-E72D297353CC}">
              <c16:uniqueId val="{00000004-B3B5-43ED-A78A-FCF847B96439}"/>
            </c:ext>
          </c:extLst>
        </c:ser>
        <c:ser>
          <c:idx val="4"/>
          <c:order val="5"/>
          <c:tx>
            <c:strRef>
              <c:f>'[RT-Target VF sin In Stock.xlsx]Modelo'!$AN$4</c:f>
              <c:strCache>
                <c:ptCount val="1"/>
                <c:pt idx="0">
                  <c:v>Total Logistics</c:v>
                </c:pt>
              </c:strCache>
            </c:strRef>
          </c:tx>
          <c:spPr>
            <a:ln w="28575" cap="rnd">
              <a:solidFill>
                <a:schemeClr val="bg1"/>
              </a:solidFill>
              <a:prstDash val="sysDot"/>
              <a:round/>
            </a:ln>
            <a:effectLst/>
          </c:spPr>
          <c:marker>
            <c:symbol val="none"/>
          </c:marker>
          <c:cat>
            <c:strRef>
              <c:f>'[RT-Target VF sin In Stock.xlsx]Modelo'!$A$5:$A$117</c:f>
              <c:strCache>
                <c:ptCount val="113"/>
                <c:pt idx="0">
                  <c:v> 1/1/2022 </c:v>
                </c:pt>
                <c:pt idx="1">
                  <c:v> 1/8/2022 </c:v>
                </c:pt>
                <c:pt idx="2">
                  <c:v> 1/15/2022 </c:v>
                </c:pt>
                <c:pt idx="3">
                  <c:v> 1/22/2022 </c:v>
                </c:pt>
                <c:pt idx="4">
                  <c:v> 1/29/2022 </c:v>
                </c:pt>
                <c:pt idx="5">
                  <c:v> 2/5/2022 </c:v>
                </c:pt>
                <c:pt idx="6">
                  <c:v> 2/12/2022 </c:v>
                </c:pt>
                <c:pt idx="7">
                  <c:v> 2/19/2022 </c:v>
                </c:pt>
                <c:pt idx="8">
                  <c:v> 2/26/2022 </c:v>
                </c:pt>
                <c:pt idx="9">
                  <c:v> 3/5/2022 </c:v>
                </c:pt>
                <c:pt idx="10">
                  <c:v> 3/12/2022 </c:v>
                </c:pt>
                <c:pt idx="11">
                  <c:v> 3/19/2022 </c:v>
                </c:pt>
                <c:pt idx="12">
                  <c:v> 3/26/2022 </c:v>
                </c:pt>
                <c:pt idx="13">
                  <c:v> 4/2/2022 </c:v>
                </c:pt>
                <c:pt idx="14">
                  <c:v> 4/9/2022 </c:v>
                </c:pt>
                <c:pt idx="15">
                  <c:v> 4/16/2022 </c:v>
                </c:pt>
                <c:pt idx="16">
                  <c:v> 4/23/2022 </c:v>
                </c:pt>
                <c:pt idx="17">
                  <c:v> 4/30/2022 </c:v>
                </c:pt>
                <c:pt idx="18">
                  <c:v> 5/7/2022 </c:v>
                </c:pt>
                <c:pt idx="19">
                  <c:v> 5/14/2022 </c:v>
                </c:pt>
                <c:pt idx="20">
                  <c:v> 5/21/2022 </c:v>
                </c:pt>
                <c:pt idx="21">
                  <c:v> 5/28/2022 </c:v>
                </c:pt>
                <c:pt idx="22">
                  <c:v> 6/4/2022 </c:v>
                </c:pt>
                <c:pt idx="23">
                  <c:v> 6/11/2022 </c:v>
                </c:pt>
                <c:pt idx="24">
                  <c:v> 6/18/2022 </c:v>
                </c:pt>
                <c:pt idx="25">
                  <c:v> 6/25/2022 </c:v>
                </c:pt>
                <c:pt idx="26">
                  <c:v> 7/2/2022 </c:v>
                </c:pt>
                <c:pt idx="27">
                  <c:v> 7/9/2022 </c:v>
                </c:pt>
                <c:pt idx="28">
                  <c:v> 7/16/2022 </c:v>
                </c:pt>
                <c:pt idx="29">
                  <c:v> 7/23/2022 </c:v>
                </c:pt>
                <c:pt idx="30">
                  <c:v> 7/30/2022 </c:v>
                </c:pt>
                <c:pt idx="31">
                  <c:v> 8/6/2022 </c:v>
                </c:pt>
                <c:pt idx="32">
                  <c:v> 8/13/2022 </c:v>
                </c:pt>
                <c:pt idx="33">
                  <c:v> 8/20/2022 </c:v>
                </c:pt>
                <c:pt idx="34">
                  <c:v> 8/27/2022 </c:v>
                </c:pt>
                <c:pt idx="35">
                  <c:v> 9/3/2022 </c:v>
                </c:pt>
                <c:pt idx="36">
                  <c:v> 9/10/2022 </c:v>
                </c:pt>
                <c:pt idx="37">
                  <c:v> 9/17/2022 </c:v>
                </c:pt>
                <c:pt idx="38">
                  <c:v> 9/24/2022 </c:v>
                </c:pt>
                <c:pt idx="39">
                  <c:v> 10/1/2022 </c:v>
                </c:pt>
                <c:pt idx="40">
                  <c:v> 10/8/2022 </c:v>
                </c:pt>
                <c:pt idx="41">
                  <c:v> 10/15/2022 </c:v>
                </c:pt>
                <c:pt idx="42">
                  <c:v> 10/22/2022 </c:v>
                </c:pt>
                <c:pt idx="43">
                  <c:v> 10/29/2022 </c:v>
                </c:pt>
                <c:pt idx="44">
                  <c:v> 11/5/2022 </c:v>
                </c:pt>
                <c:pt idx="45">
                  <c:v> 11/12/2022 </c:v>
                </c:pt>
                <c:pt idx="46">
                  <c:v> 11/19/2022 </c:v>
                </c:pt>
                <c:pt idx="47">
                  <c:v> 11/26/2022 </c:v>
                </c:pt>
                <c:pt idx="48">
                  <c:v> 12/3/2022 </c:v>
                </c:pt>
                <c:pt idx="49">
                  <c:v> 12/10/2022 </c:v>
                </c:pt>
                <c:pt idx="50">
                  <c:v> 12/17/2022 </c:v>
                </c:pt>
                <c:pt idx="51">
                  <c:v> 12/24/2022 </c:v>
                </c:pt>
                <c:pt idx="52">
                  <c:v> 12/31/2022 </c:v>
                </c:pt>
                <c:pt idx="53">
                  <c:v> 1/7/2023 </c:v>
                </c:pt>
                <c:pt idx="54">
                  <c:v> 1/14/2023 </c:v>
                </c:pt>
                <c:pt idx="55">
                  <c:v> 1/21/2023 </c:v>
                </c:pt>
                <c:pt idx="56">
                  <c:v> 1/28/2023 </c:v>
                </c:pt>
                <c:pt idx="57">
                  <c:v> 2/4/2023 </c:v>
                </c:pt>
                <c:pt idx="58">
                  <c:v> 2/11/2023 </c:v>
                </c:pt>
                <c:pt idx="59">
                  <c:v> 2/18/2023 </c:v>
                </c:pt>
                <c:pt idx="60">
                  <c:v> 2/25/2023 </c:v>
                </c:pt>
                <c:pt idx="61">
                  <c:v> 3/4/2023 </c:v>
                </c:pt>
                <c:pt idx="62">
                  <c:v> 3/11/2023 </c:v>
                </c:pt>
                <c:pt idx="63">
                  <c:v> 3/18/2023 </c:v>
                </c:pt>
                <c:pt idx="64">
                  <c:v> 3/25/2023 </c:v>
                </c:pt>
                <c:pt idx="65">
                  <c:v> 4/1/2023 </c:v>
                </c:pt>
                <c:pt idx="66">
                  <c:v> 4/8/2023 </c:v>
                </c:pt>
                <c:pt idx="67">
                  <c:v> 4/15/2023 </c:v>
                </c:pt>
                <c:pt idx="68">
                  <c:v> 4/22/2023 </c:v>
                </c:pt>
                <c:pt idx="69">
                  <c:v> 4/29/2023 </c:v>
                </c:pt>
                <c:pt idx="70">
                  <c:v> 5/6/2023 </c:v>
                </c:pt>
                <c:pt idx="71">
                  <c:v> 5/13/2023 </c:v>
                </c:pt>
                <c:pt idx="72">
                  <c:v> 5/20/2023 </c:v>
                </c:pt>
                <c:pt idx="73">
                  <c:v> 5/27/2023 </c:v>
                </c:pt>
                <c:pt idx="74">
                  <c:v> 6/3/2023 </c:v>
                </c:pt>
                <c:pt idx="75">
                  <c:v> 6/10/2023 </c:v>
                </c:pt>
                <c:pt idx="76">
                  <c:v> 6/17/2023 </c:v>
                </c:pt>
                <c:pt idx="77">
                  <c:v> 6/24/2023 </c:v>
                </c:pt>
                <c:pt idx="78">
                  <c:v> 7/1/2023 </c:v>
                </c:pt>
                <c:pt idx="79">
                  <c:v> 7/8/2023 </c:v>
                </c:pt>
                <c:pt idx="80">
                  <c:v> 7/15/2023 </c:v>
                </c:pt>
                <c:pt idx="81">
                  <c:v> 7/22/2023 </c:v>
                </c:pt>
                <c:pt idx="82">
                  <c:v> 7/29/2023 </c:v>
                </c:pt>
                <c:pt idx="83">
                  <c:v> 8/5/2023 </c:v>
                </c:pt>
                <c:pt idx="84">
                  <c:v> 8/12/2023 </c:v>
                </c:pt>
                <c:pt idx="85">
                  <c:v> 8/19/2023 </c:v>
                </c:pt>
                <c:pt idx="86">
                  <c:v> 8/26/2023 </c:v>
                </c:pt>
                <c:pt idx="87">
                  <c:v> 9/2/2023 </c:v>
                </c:pt>
                <c:pt idx="88">
                  <c:v> 9/9/2023 </c:v>
                </c:pt>
                <c:pt idx="89">
                  <c:v> 9/16/2023 </c:v>
                </c:pt>
                <c:pt idx="90">
                  <c:v> 9/23/2023 </c:v>
                </c:pt>
                <c:pt idx="91">
                  <c:v> 9/30/2023 </c:v>
                </c:pt>
                <c:pt idx="92">
                  <c:v> 10/7/2023 </c:v>
                </c:pt>
                <c:pt idx="93">
                  <c:v> 10/14/2023 </c:v>
                </c:pt>
                <c:pt idx="94">
                  <c:v> 10/21/2023 </c:v>
                </c:pt>
                <c:pt idx="95">
                  <c:v> 10/28/2023 </c:v>
                </c:pt>
                <c:pt idx="96">
                  <c:v> 11/4/2023 </c:v>
                </c:pt>
                <c:pt idx="97">
                  <c:v> 11/11/2023 </c:v>
                </c:pt>
                <c:pt idx="98">
                  <c:v> 11/18/2023 </c:v>
                </c:pt>
                <c:pt idx="99">
                  <c:v> 11/25/2023 </c:v>
                </c:pt>
                <c:pt idx="100">
                  <c:v> 12/2/2023 </c:v>
                </c:pt>
                <c:pt idx="101">
                  <c:v> 12/9/2023 </c:v>
                </c:pt>
                <c:pt idx="102">
                  <c:v> 12/16/2023 </c:v>
                </c:pt>
                <c:pt idx="103">
                  <c:v> 12/23/2023 </c:v>
                </c:pt>
                <c:pt idx="104">
                  <c:v> 12/30/2023 </c:v>
                </c:pt>
                <c:pt idx="105">
                  <c:v> 1/6/2024 </c:v>
                </c:pt>
                <c:pt idx="106">
                  <c:v> 1/13/2024 </c:v>
                </c:pt>
                <c:pt idx="107">
                  <c:v> 1/20/2024 </c:v>
                </c:pt>
                <c:pt idx="108">
                  <c:v> 1/27/2024 </c:v>
                </c:pt>
                <c:pt idx="109">
                  <c:v> 2/3/2024 </c:v>
                </c:pt>
                <c:pt idx="110">
                  <c:v> 2/10/2024 </c:v>
                </c:pt>
                <c:pt idx="111">
                  <c:v> 2/17/2024 </c:v>
                </c:pt>
                <c:pt idx="112">
                  <c:v> 2/24/2024 </c:v>
                </c:pt>
              </c:strCache>
            </c:strRef>
          </c:cat>
          <c:val>
            <c:numRef>
              <c:f>'[RT-Target VF sin In Stock.xlsx]Modelo'!$AN$5:$AN$117</c:f>
              <c:numCache>
                <c:formatCode>"$"#,##0.00_);[Red]\("$"#,##0.00\)</c:formatCode>
                <c:ptCount val="113"/>
                <c:pt idx="0">
                  <c:v>499193.81435841654</c:v>
                </c:pt>
                <c:pt idx="1">
                  <c:v>378576.66850332386</c:v>
                </c:pt>
                <c:pt idx="2">
                  <c:v>378587.5509818893</c:v>
                </c:pt>
                <c:pt idx="3">
                  <c:v>378579.21416035283</c:v>
                </c:pt>
                <c:pt idx="4">
                  <c:v>378789.94353975361</c:v>
                </c:pt>
                <c:pt idx="5">
                  <c:v>394521.9887029762</c:v>
                </c:pt>
                <c:pt idx="6">
                  <c:v>422558.70446296537</c:v>
                </c:pt>
                <c:pt idx="7">
                  <c:v>402249.35867013835</c:v>
                </c:pt>
                <c:pt idx="8">
                  <c:v>396602.86122090655</c:v>
                </c:pt>
                <c:pt idx="9">
                  <c:v>421013.26369920472</c:v>
                </c:pt>
                <c:pt idx="10">
                  <c:v>430245.15366548696</c:v>
                </c:pt>
                <c:pt idx="11">
                  <c:v>465576.10375138663</c:v>
                </c:pt>
                <c:pt idx="12">
                  <c:v>478931.37675053248</c:v>
                </c:pt>
                <c:pt idx="13">
                  <c:v>455538.36443655344</c:v>
                </c:pt>
                <c:pt idx="14">
                  <c:v>450754.44605908869</c:v>
                </c:pt>
                <c:pt idx="15">
                  <c:v>450577.39166501799</c:v>
                </c:pt>
                <c:pt idx="16">
                  <c:v>451395.63633416587</c:v>
                </c:pt>
                <c:pt idx="17">
                  <c:v>439727.3898791172</c:v>
                </c:pt>
                <c:pt idx="18">
                  <c:v>457667.60925251135</c:v>
                </c:pt>
                <c:pt idx="19">
                  <c:v>429697.22730946011</c:v>
                </c:pt>
                <c:pt idx="20">
                  <c:v>418195.43328848114</c:v>
                </c:pt>
                <c:pt idx="21">
                  <c:v>403366.22743131622</c:v>
                </c:pt>
                <c:pt idx="22">
                  <c:v>399404.18171433464</c:v>
                </c:pt>
                <c:pt idx="23">
                  <c:v>396531.15583489044</c:v>
                </c:pt>
                <c:pt idx="24">
                  <c:v>394337.04095342779</c:v>
                </c:pt>
                <c:pt idx="25">
                  <c:v>413455.49782976165</c:v>
                </c:pt>
                <c:pt idx="26">
                  <c:v>391832.80835411284</c:v>
                </c:pt>
                <c:pt idx="27">
                  <c:v>385139.3860520242</c:v>
                </c:pt>
                <c:pt idx="28">
                  <c:v>382724.6675061509</c:v>
                </c:pt>
                <c:pt idx="29">
                  <c:v>426065.53713015805</c:v>
                </c:pt>
                <c:pt idx="30">
                  <c:v>405162.73302234214</c:v>
                </c:pt>
                <c:pt idx="31">
                  <c:v>399105.59641913947</c:v>
                </c:pt>
                <c:pt idx="32">
                  <c:v>397220.91296758899</c:v>
                </c:pt>
                <c:pt idx="33">
                  <c:v>431605.75043196877</c:v>
                </c:pt>
                <c:pt idx="34">
                  <c:v>439078.47154128255</c:v>
                </c:pt>
                <c:pt idx="35">
                  <c:v>412969.33751921821</c:v>
                </c:pt>
                <c:pt idx="36">
                  <c:v>405640.93796458258</c:v>
                </c:pt>
                <c:pt idx="37">
                  <c:v>404473.44352520962</c:v>
                </c:pt>
                <c:pt idx="38">
                  <c:v>407562.85485734273</c:v>
                </c:pt>
                <c:pt idx="39">
                  <c:v>438129.1758587996</c:v>
                </c:pt>
                <c:pt idx="40">
                  <c:v>427485.00394976977</c:v>
                </c:pt>
                <c:pt idx="41">
                  <c:v>466449.09655368404</c:v>
                </c:pt>
                <c:pt idx="42">
                  <c:v>449947.16616823029</c:v>
                </c:pt>
                <c:pt idx="43">
                  <c:v>464500.25876400329</c:v>
                </c:pt>
                <c:pt idx="44">
                  <c:v>436967.96604261186</c:v>
                </c:pt>
                <c:pt idx="45">
                  <c:v>448983.93103030609</c:v>
                </c:pt>
                <c:pt idx="46">
                  <c:v>471297.62594530074</c:v>
                </c:pt>
                <c:pt idx="47">
                  <c:v>478179.32722220395</c:v>
                </c:pt>
                <c:pt idx="48">
                  <c:v>493946.52380922908</c:v>
                </c:pt>
                <c:pt idx="49">
                  <c:v>569832.70720638812</c:v>
                </c:pt>
                <c:pt idx="50">
                  <c:v>599699.78603688593</c:v>
                </c:pt>
                <c:pt idx="51">
                  <c:v>888290.31089125364</c:v>
                </c:pt>
                <c:pt idx="52">
                  <c:v>557993.55041599751</c:v>
                </c:pt>
                <c:pt idx="53">
                  <c:v>464339.79696016962</c:v>
                </c:pt>
                <c:pt idx="54">
                  <c:v>438670.75337181234</c:v>
                </c:pt>
                <c:pt idx="55">
                  <c:v>435526.98770960438</c:v>
                </c:pt>
                <c:pt idx="56">
                  <c:v>441665.62080927112</c:v>
                </c:pt>
                <c:pt idx="57">
                  <c:v>460061.16900539235</c:v>
                </c:pt>
                <c:pt idx="58">
                  <c:v>487165.01811520749</c:v>
                </c:pt>
                <c:pt idx="59">
                  <c:v>463187.18198735575</c:v>
                </c:pt>
                <c:pt idx="60">
                  <c:v>510957.27091369202</c:v>
                </c:pt>
                <c:pt idx="61">
                  <c:v>463794.99298182275</c:v>
                </c:pt>
                <c:pt idx="62">
                  <c:v>450575.30008223455</c:v>
                </c:pt>
                <c:pt idx="63">
                  <c:v>502342.4776319894</c:v>
                </c:pt>
                <c:pt idx="64">
                  <c:v>460026.44441893516</c:v>
                </c:pt>
                <c:pt idx="65">
                  <c:v>436372.08574224019</c:v>
                </c:pt>
                <c:pt idx="66">
                  <c:v>442702.41609763837</c:v>
                </c:pt>
                <c:pt idx="67">
                  <c:v>448907.01194512722</c:v>
                </c:pt>
                <c:pt idx="68">
                  <c:v>453939.17999640305</c:v>
                </c:pt>
                <c:pt idx="69">
                  <c:v>457485.7882623378</c:v>
                </c:pt>
                <c:pt idx="70">
                  <c:v>471732.15535084862</c:v>
                </c:pt>
                <c:pt idx="71">
                  <c:v>480684.08818942861</c:v>
                </c:pt>
                <c:pt idx="72">
                  <c:v>454548.35939143505</c:v>
                </c:pt>
                <c:pt idx="73">
                  <c:v>446868.62650129356</c:v>
                </c:pt>
                <c:pt idx="74">
                  <c:v>421401.50776021101</c:v>
                </c:pt>
                <c:pt idx="75">
                  <c:v>418603.910892552</c:v>
                </c:pt>
                <c:pt idx="76">
                  <c:v>424545.59067300829</c:v>
                </c:pt>
                <c:pt idx="77">
                  <c:v>443016.82411957538</c:v>
                </c:pt>
                <c:pt idx="78">
                  <c:v>417288.54131707287</c:v>
                </c:pt>
                <c:pt idx="79">
                  <c:v>410129.43354339618</c:v>
                </c:pt>
                <c:pt idx="80">
                  <c:v>435977.96590054152</c:v>
                </c:pt>
                <c:pt idx="81">
                  <c:v>421814.82251475065</c:v>
                </c:pt>
                <c:pt idx="82">
                  <c:v>410958.03386181756</c:v>
                </c:pt>
                <c:pt idx="83">
                  <c:v>409074.98680772184</c:v>
                </c:pt>
                <c:pt idx="84">
                  <c:v>436478.49180097622</c:v>
                </c:pt>
                <c:pt idx="85">
                  <c:v>441889.12683399662</c:v>
                </c:pt>
                <c:pt idx="86">
                  <c:v>415789.62980488443</c:v>
                </c:pt>
                <c:pt idx="87">
                  <c:v>408498.50030240352</c:v>
                </c:pt>
                <c:pt idx="88">
                  <c:v>406427.41299777769</c:v>
                </c:pt>
                <c:pt idx="89">
                  <c:v>405020.39791207929</c:v>
                </c:pt>
                <c:pt idx="90">
                  <c:v>404867.54192715848</c:v>
                </c:pt>
                <c:pt idx="91">
                  <c:v>404800.20697925979</c:v>
                </c:pt>
                <c:pt idx="92">
                  <c:v>460918.6524917467</c:v>
                </c:pt>
                <c:pt idx="93">
                  <c:v>430460.80248848803</c:v>
                </c:pt>
                <c:pt idx="94">
                  <c:v>419190.9344827616</c:v>
                </c:pt>
                <c:pt idx="95">
                  <c:v>472206.36847656412</c:v>
                </c:pt>
                <c:pt idx="96">
                  <c:v>475784.39145288215</c:v>
                </c:pt>
                <c:pt idx="97">
                  <c:v>442730.91607543099</c:v>
                </c:pt>
                <c:pt idx="98">
                  <c:v>439483.72863264632</c:v>
                </c:pt>
                <c:pt idx="99">
                  <c:v>438593.0358777704</c:v>
                </c:pt>
                <c:pt idx="100">
                  <c:v>478650.3877253735</c:v>
                </c:pt>
                <c:pt idx="101">
                  <c:v>577880.48598652682</c:v>
                </c:pt>
                <c:pt idx="102">
                  <c:v>580079.27187217714</c:v>
                </c:pt>
                <c:pt idx="103">
                  <c:v>916337.2074066936</c:v>
                </c:pt>
                <c:pt idx="104">
                  <c:v>588706.21510058676</c:v>
                </c:pt>
                <c:pt idx="105">
                  <c:v>409725.03976674326</c:v>
                </c:pt>
                <c:pt idx="106">
                  <c:v>421529.44352813385</c:v>
                </c:pt>
                <c:pt idx="107">
                  <c:v>419015.29583687207</c:v>
                </c:pt>
                <c:pt idx="108">
                  <c:v>418328.03071154747</c:v>
                </c:pt>
                <c:pt idx="109">
                  <c:v>447610.73222171451</c:v>
                </c:pt>
                <c:pt idx="110">
                  <c:v>484083.57346593757</c:v>
                </c:pt>
                <c:pt idx="111">
                  <c:v>466020.0350738985</c:v>
                </c:pt>
                <c:pt idx="112">
                  <c:v>477904.12280710298</c:v>
                </c:pt>
              </c:numCache>
            </c:numRef>
          </c:val>
          <c:smooth val="0"/>
          <c:extLst>
            <c:ext xmlns:c16="http://schemas.microsoft.com/office/drawing/2014/chart" uri="{C3380CC4-5D6E-409C-BE32-E72D297353CC}">
              <c16:uniqueId val="{00000005-B3B5-43ED-A78A-FCF847B96439}"/>
            </c:ext>
          </c:extLst>
        </c:ser>
        <c:dLbls>
          <c:showLegendKey val="0"/>
          <c:showVal val="0"/>
          <c:showCatName val="0"/>
          <c:showSerName val="0"/>
          <c:showPercent val="0"/>
          <c:showBubbleSize val="0"/>
        </c:dLbls>
        <c:marker val="1"/>
        <c:smooth val="0"/>
        <c:axId val="1120490160"/>
        <c:axId val="1120490640"/>
      </c:lineChart>
      <c:catAx>
        <c:axId val="1120490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20490640"/>
        <c:crosses val="autoZero"/>
        <c:auto val="1"/>
        <c:lblAlgn val="ctr"/>
        <c:lblOffset val="100"/>
        <c:noMultiLvlLbl val="0"/>
      </c:catAx>
      <c:valAx>
        <c:axId val="1120490640"/>
        <c:scaling>
          <c:orientation val="minMax"/>
          <c:max val="1000000"/>
        </c:scaling>
        <c:delete val="0"/>
        <c:axPos val="l"/>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20490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0AB_E03A1B52.xml><?xml version="1.0" encoding="utf-8"?>
<p188:cmLst xmlns:a="http://schemas.openxmlformats.org/drawingml/2006/main" xmlns:r="http://schemas.openxmlformats.org/officeDocument/2006/relationships" xmlns:p188="http://schemas.microsoft.com/office/powerpoint/2018/8/main">
  <p188:cm id="{ECCDAD31-0A07-4FF0-BB8A-D2176B316087}" authorId="{80C2B38A-1382-C3D4-ADC7-8EF3F2DF1026}" status="resolved" created="2024-10-15T19:07:41.417" complete="100000">
    <pc:sldMkLst xmlns:pc="http://schemas.microsoft.com/office/powerpoint/2013/main/command">
      <pc:docMk/>
      <pc:sldMk cId="3761904466" sldId="4267"/>
    </pc:sldMkLst>
    <p188:replyLst>
      <p188:reply id="{3354A583-F042-497F-A47B-43B323D699E2}" authorId="{03F214B3-7CEC-38AE-4316-0F5FCDD45928}" created="2024-10-15T20:05:09.700">
        <p188:txBody>
          <a:bodyPr/>
          <a:lstStyle/>
          <a:p>
            <a:r>
              <a:rPr lang="es-CO"/>
              <a:t>[@Juan Andres Ferrans] esta creo q no me la mandaste pero será que la tienes para poderla modificar?</a:t>
            </a:r>
          </a:p>
        </p188:txBody>
      </p188:reply>
    </p188:replyLst>
    <p188:txBody>
      <a:bodyPr/>
      <a:lstStyle/>
      <a:p>
        <a:r>
          <a:rPr lang="en-US"/>
          <a:t>Make it smaller list and change names... As of now It's just a bunch of columns</a:t>
        </a:r>
      </a:p>
    </p188:txBody>
  </p188:cm>
</p188:cmLst>
</file>

<file path=ppt/comments/modernComment_10D5_8378388.xml><?xml version="1.0" encoding="utf-8"?>
<p188:cmLst xmlns:a="http://schemas.openxmlformats.org/drawingml/2006/main" xmlns:r="http://schemas.openxmlformats.org/officeDocument/2006/relationships" xmlns:p188="http://schemas.microsoft.com/office/powerpoint/2018/8/main">
  <p188:cm id="{80C60F26-B718-4CD0-80A2-E9A879D85958}" authorId="{CC6AEBC9-D311-F1FC-8187-020122B6BF4C}" status="resolved" created="2024-06-05T19:24:30.177">
    <ac:deMkLst xmlns:ac="http://schemas.microsoft.com/office/drawing/2013/main/command">
      <pc:docMk xmlns:pc="http://schemas.microsoft.com/office/powerpoint/2013/main/command"/>
      <pc:sldMk xmlns:pc="http://schemas.microsoft.com/office/powerpoint/2013/main/command" cId="137855880" sldId="4309"/>
      <ac:picMk id="2" creationId="{CEAB5746-B1A8-28CD-2D60-D1C3435AFCA5}"/>
    </ac:deMkLst>
    <p188:replyLst>
      <p188:reply id="{0977D77F-6B03-4553-A060-DBBAAF999DD7}" authorId="{A010F08B-5DB1-04A0-ED7C-E94E5E0ADC29}" created="2024-06-06T04:11:43.962">
        <p188:txBody>
          <a:bodyPr/>
          <a:lstStyle/>
          <a:p>
            <a:r>
              <a:rPr lang="es-419"/>
              <a:t>[@Andrea Montoya] ayudame resaltando Ecuador y Turquia, no se porque no me deja colorearlos! </a:t>
            </a:r>
          </a:p>
        </p188:txBody>
        <p188:extLst>
          <p:ext xmlns:p="http://schemas.openxmlformats.org/presentationml/2006/main" uri="{57CB4572-C831-44C2-8A1C-0ADB6CCDFE69}">
            <p223:reactions xmlns:p223="http://schemas.microsoft.com/office/powerpoint/2022/03/main">
              <p223:rxn type="👍">
                <p223:instance time="2024-06-06T17:29:18.983" authorId="{02DF026F-B72A-B9AE-A31E-8283DCB1CFE6}"/>
              </p223:rxn>
            </p223:reactions>
          </p:ext>
        </p188:extLst>
      </p188:reply>
      <p188:reply id="{553B3E2C-E822-4AD1-8268-C5C5DED51793}" authorId="{02DF026F-B72A-B9AE-A31E-8283DCB1CFE6}" created="2024-06-06T17:31:19.692">
        <p188:txBody>
          <a:bodyPr/>
          <a:lstStyle/>
          <a:p>
            <a:r>
              <a:rPr lang="es-CO"/>
              <a:t>[@Gabriela Rodriguez] Ya coloree Ecuador y Turquía si necesitas otro país ya lo ajuste para que puedas colorear el que necesites</a:t>
            </a:r>
          </a:p>
        </p188:txBody>
      </p188:reply>
    </p188:replyLst>
    <p188:txBody>
      <a:bodyPr/>
      <a:lstStyle/>
      <a:p>
        <a:r>
          <a:rPr lang="en-US"/>
          <a:t>We are able to do research in Ecuador, Paraguay, Uruguay as well. Not sure why it isn't there. Add Turkey too.</a:t>
        </a:r>
      </a:p>
    </p188:txBody>
  </p188:cm>
</p188:cmLst>
</file>

<file path=ppt/comments/modernComment_7FFFFD05_7CD432C8.xml><?xml version="1.0" encoding="utf-8"?>
<p188:cmLst xmlns:a="http://schemas.openxmlformats.org/drawingml/2006/main" xmlns:r="http://schemas.openxmlformats.org/officeDocument/2006/relationships" xmlns:p188="http://schemas.microsoft.com/office/powerpoint/2018/8/main">
  <p188:cm id="{1F76D54E-EBAF-4195-95F2-6E56874B800B}" authorId="{80C2B38A-1382-C3D4-ADC7-8EF3F2DF1026}" created="2024-10-15T19:06:28.180">
    <pc:sldMkLst xmlns:pc="http://schemas.microsoft.com/office/powerpoint/2013/main/command">
      <pc:docMk/>
      <pc:sldMk cId="2094281416" sldId="2147482885"/>
    </pc:sldMkLst>
    <p188:replyLst>
      <p188:reply id="{00A5DBFE-824A-4365-B49E-56DD2C9BABFD}" authorId="{03F214B3-7CEC-38AE-4316-0F5FCDD45928}" created="2024-10-15T23:16:25.349">
        <p188:txBody>
          <a:bodyPr/>
          <a:lstStyle/>
          <a:p>
            <a:r>
              <a:rPr lang="es-CO"/>
              <a:t>[@Jordi Monso] since this is an example taken from the PPI presentation is it ok to show it like this?</a:t>
            </a:r>
          </a:p>
        </p188:txBody>
      </p188:reply>
    </p188:replyLst>
    <p188:txBody>
      <a:bodyPr/>
      <a:lstStyle/>
      <a:p>
        <a:r>
          <a:rPr lang="en-US"/>
          <a:t>I would only focus on 3 - If we want, we can add 1 and 2 as a different phase of the proposal (phase 1B) where we will do an assessment of competitors. But this for me is TBD </a:t>
        </a:r>
      </a:p>
    </p188:txBody>
  </p188:cm>
</p188:cmLst>
</file>

<file path=ppt/comments/modernComment_7FFFFD09_46A71C9D.xml><?xml version="1.0" encoding="utf-8"?>
<p188:cmLst xmlns:a="http://schemas.openxmlformats.org/drawingml/2006/main" xmlns:r="http://schemas.openxmlformats.org/officeDocument/2006/relationships" xmlns:p188="http://schemas.microsoft.com/office/powerpoint/2018/8/main">
  <p188:cm id="{6C1E1EF4-1048-44AB-8DC0-38229FF0490E}" authorId="{80C2B38A-1382-C3D4-ADC7-8EF3F2DF1026}" status="resolved" created="2024-10-15T19:02:58.188" complete="100000">
    <ac:deMkLst xmlns:ac="http://schemas.microsoft.com/office/drawing/2013/main/command">
      <pc:docMk xmlns:pc="http://schemas.microsoft.com/office/powerpoint/2013/main/command"/>
      <pc:sldMk xmlns:pc="http://schemas.microsoft.com/office/powerpoint/2013/main/command" cId="1185356957" sldId="2147482889"/>
      <ac:picMk id="8" creationId="{4D84789B-36D2-900E-08E9-C2EE429E13E0}"/>
    </ac:deMkLst>
    <p188:replyLst>
      <p188:reply id="{D2056053-E8D0-4937-9CFB-A742754A3B06}" authorId="{03F214B3-7CEC-38AE-4316-0F5FCDD45928}" created="2024-10-15T20:04:13.180">
        <p188:txBody>
          <a:bodyPr/>
          <a:lstStyle/>
          <a:p>
            <a:r>
              <a:rPr lang="es-CO"/>
              <a:t>[@Juan Andres Ferrans] </a:t>
            </a:r>
          </a:p>
        </p188:txBody>
      </p188:reply>
    </p188:replyLst>
    <p188:txBody>
      <a:bodyPr/>
      <a:lstStyle/>
      <a:p>
        <a:r>
          <a:rPr lang="en-US"/>
          <a:t>Can we make it look less dummy and more real (we can even use a real one if we feel it makes sense but with out vertical axis - just the shape) and add callout for 3 peaks: 
(1) Xmas, (2) Thanks giving and (3) Campaign exampl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011201-4194-436E-A98E-0003B8F6A918}" type="datetimeFigureOut">
              <a:rPr lang="es-CO" smtClean="0"/>
              <a:t>27/11/2024</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8BE04A-F464-45A6-8281-E45B61797283}" type="slidenum">
              <a:rPr lang="es-CO" smtClean="0"/>
              <a:t>‹#›</a:t>
            </a:fld>
            <a:endParaRPr lang="es-CO"/>
          </a:p>
        </p:txBody>
      </p:sp>
    </p:spTree>
    <p:extLst>
      <p:ext uri="{BB962C8B-B14F-4D97-AF65-F5344CB8AC3E}">
        <p14:creationId xmlns:p14="http://schemas.microsoft.com/office/powerpoint/2010/main" val="932757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2D8BE04A-F464-45A6-8281-E45B61797283}" type="slidenum">
              <a:rPr lang="es-CO" smtClean="0"/>
              <a:t>4</a:t>
            </a:fld>
            <a:endParaRPr lang="es-CO"/>
          </a:p>
        </p:txBody>
      </p:sp>
    </p:spTree>
    <p:extLst>
      <p:ext uri="{BB962C8B-B14F-4D97-AF65-F5344CB8AC3E}">
        <p14:creationId xmlns:p14="http://schemas.microsoft.com/office/powerpoint/2010/main" val="950905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CO"/>
              <a:t>8</a:t>
            </a:r>
          </a:p>
        </p:txBody>
      </p:sp>
      <p:sp>
        <p:nvSpPr>
          <p:cNvPr id="4" name="Slide Number Placeholder 3"/>
          <p:cNvSpPr>
            <a:spLocks noGrp="1"/>
          </p:cNvSpPr>
          <p:nvPr>
            <p:ph type="sldNum" sz="quarter" idx="5"/>
          </p:nvPr>
        </p:nvSpPr>
        <p:spPr/>
        <p:txBody>
          <a:bodyPr/>
          <a:lstStyle/>
          <a:p>
            <a:fld id="{CADA9C84-37D9-42F2-A122-25195E70602F}" type="slidenum">
              <a:rPr lang="es-CO" smtClean="0"/>
              <a:t>22</a:t>
            </a:fld>
            <a:endParaRPr lang="es-CO"/>
          </a:p>
        </p:txBody>
      </p:sp>
    </p:spTree>
    <p:extLst>
      <p:ext uri="{BB962C8B-B14F-4D97-AF65-F5344CB8AC3E}">
        <p14:creationId xmlns:p14="http://schemas.microsoft.com/office/powerpoint/2010/main" val="12913139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22.png"/><Relationship Id="rId26" Type="http://schemas.openxmlformats.org/officeDocument/2006/relationships/image" Target="../media/image87.png"/><Relationship Id="rId39" Type="http://schemas.openxmlformats.org/officeDocument/2006/relationships/image" Target="../media/image95.png"/><Relationship Id="rId21" Type="http://schemas.openxmlformats.org/officeDocument/2006/relationships/image" Target="../media/image82.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99.png"/><Relationship Id="rId7" Type="http://schemas.openxmlformats.org/officeDocument/2006/relationships/image" Target="../media/image69.png"/><Relationship Id="rId2" Type="http://schemas.openxmlformats.org/officeDocument/2006/relationships/image" Target="../media/image64.png"/><Relationship Id="rId16" Type="http://schemas.openxmlformats.org/officeDocument/2006/relationships/image" Target="../media/image78.png"/><Relationship Id="rId29" Type="http://schemas.openxmlformats.org/officeDocument/2006/relationships/image" Target="../media/image90.png"/><Relationship Id="rId11" Type="http://schemas.openxmlformats.org/officeDocument/2006/relationships/image" Target="../media/image73.png"/><Relationship Id="rId24" Type="http://schemas.openxmlformats.org/officeDocument/2006/relationships/image" Target="../media/image85.png"/><Relationship Id="rId32" Type="http://schemas.openxmlformats.org/officeDocument/2006/relationships/image" Target="../media/image36.png"/><Relationship Id="rId37" Type="http://schemas.openxmlformats.org/officeDocument/2006/relationships/image" Target="../media/image93.png"/><Relationship Id="rId40" Type="http://schemas.openxmlformats.org/officeDocument/2006/relationships/image" Target="../media/image44.png"/><Relationship Id="rId45" Type="http://schemas.openxmlformats.org/officeDocument/2006/relationships/image" Target="../media/image49.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4.png"/><Relationship Id="rId28" Type="http://schemas.openxmlformats.org/officeDocument/2006/relationships/image" Target="../media/image89.png"/><Relationship Id="rId36" Type="http://schemas.openxmlformats.org/officeDocument/2006/relationships/image" Target="../media/image40.png"/><Relationship Id="rId49"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0.png"/><Relationship Id="rId31" Type="http://schemas.openxmlformats.org/officeDocument/2006/relationships/image" Target="../media/image35.png"/><Relationship Id="rId44" Type="http://schemas.openxmlformats.org/officeDocument/2006/relationships/image" Target="../media/image48.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3.png"/><Relationship Id="rId27" Type="http://schemas.openxmlformats.org/officeDocument/2006/relationships/image" Target="../media/image88.png"/><Relationship Id="rId30" Type="http://schemas.openxmlformats.org/officeDocument/2006/relationships/image" Target="../media/image91.png"/><Relationship Id="rId35" Type="http://schemas.openxmlformats.org/officeDocument/2006/relationships/image" Target="../media/image39.png"/><Relationship Id="rId43" Type="http://schemas.openxmlformats.org/officeDocument/2006/relationships/image" Target="../media/image97.png"/><Relationship Id="rId48" Type="http://schemas.openxmlformats.org/officeDocument/2006/relationships/image" Target="../media/image52.png"/><Relationship Id="rId8" Type="http://schemas.openxmlformats.org/officeDocument/2006/relationships/image" Target="../media/image70.png"/><Relationship Id="rId51" Type="http://schemas.openxmlformats.org/officeDocument/2006/relationships/image" Target="../media/image10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6.png"/><Relationship Id="rId33" Type="http://schemas.openxmlformats.org/officeDocument/2006/relationships/image" Target="../media/image92.png"/><Relationship Id="rId38" Type="http://schemas.openxmlformats.org/officeDocument/2006/relationships/image" Target="../media/image94.png"/><Relationship Id="rId46" Type="http://schemas.openxmlformats.org/officeDocument/2006/relationships/image" Target="../media/image50.png"/><Relationship Id="rId20" Type="http://schemas.openxmlformats.org/officeDocument/2006/relationships/image" Target="../media/image81.png"/><Relationship Id="rId41" Type="http://schemas.openxmlformats.org/officeDocument/2006/relationships/image" Target="../media/image96.png"/><Relationship Id="rId1" Type="http://schemas.openxmlformats.org/officeDocument/2006/relationships/slideMaster" Target="../slideMasters/slideMaster5.xml"/><Relationship Id="rId6" Type="http://schemas.openxmlformats.org/officeDocument/2006/relationships/image" Target="../media/image68.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4.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58.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Master" Target="../slideMasters/slideMaster5.xml"/><Relationship Id="rId5" Type="http://schemas.openxmlformats.org/officeDocument/2006/relationships/image" Target="../media/image105.png"/><Relationship Id="rId4" Type="http://schemas.openxmlformats.org/officeDocument/2006/relationships/hyperlink" Target="http://www.iotaimpact.com/" TargetMode="Externa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5.xml"/><Relationship Id="rId4" Type="http://schemas.openxmlformats.org/officeDocument/2006/relationships/image" Target="../media/image62.sv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22.png"/><Relationship Id="rId26" Type="http://schemas.openxmlformats.org/officeDocument/2006/relationships/image" Target="../media/image87.png"/><Relationship Id="rId39" Type="http://schemas.openxmlformats.org/officeDocument/2006/relationships/image" Target="../media/image95.png"/><Relationship Id="rId21" Type="http://schemas.openxmlformats.org/officeDocument/2006/relationships/image" Target="../media/image82.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99.png"/><Relationship Id="rId7" Type="http://schemas.openxmlformats.org/officeDocument/2006/relationships/image" Target="../media/image69.png"/><Relationship Id="rId2" Type="http://schemas.openxmlformats.org/officeDocument/2006/relationships/image" Target="../media/image64.png"/><Relationship Id="rId16" Type="http://schemas.openxmlformats.org/officeDocument/2006/relationships/image" Target="../media/image78.png"/><Relationship Id="rId29" Type="http://schemas.openxmlformats.org/officeDocument/2006/relationships/image" Target="../media/image90.png"/><Relationship Id="rId11" Type="http://schemas.openxmlformats.org/officeDocument/2006/relationships/image" Target="../media/image73.png"/><Relationship Id="rId24" Type="http://schemas.openxmlformats.org/officeDocument/2006/relationships/image" Target="../media/image85.png"/><Relationship Id="rId32" Type="http://schemas.openxmlformats.org/officeDocument/2006/relationships/image" Target="../media/image36.png"/><Relationship Id="rId37" Type="http://schemas.openxmlformats.org/officeDocument/2006/relationships/image" Target="../media/image93.png"/><Relationship Id="rId40" Type="http://schemas.openxmlformats.org/officeDocument/2006/relationships/image" Target="../media/image44.png"/><Relationship Id="rId45" Type="http://schemas.openxmlformats.org/officeDocument/2006/relationships/image" Target="../media/image49.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4.png"/><Relationship Id="rId28" Type="http://schemas.openxmlformats.org/officeDocument/2006/relationships/image" Target="../media/image89.png"/><Relationship Id="rId36" Type="http://schemas.openxmlformats.org/officeDocument/2006/relationships/image" Target="../media/image40.png"/><Relationship Id="rId49"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0.png"/><Relationship Id="rId31" Type="http://schemas.openxmlformats.org/officeDocument/2006/relationships/image" Target="../media/image35.png"/><Relationship Id="rId44" Type="http://schemas.openxmlformats.org/officeDocument/2006/relationships/image" Target="../media/image48.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3.png"/><Relationship Id="rId27" Type="http://schemas.openxmlformats.org/officeDocument/2006/relationships/image" Target="../media/image88.png"/><Relationship Id="rId30" Type="http://schemas.openxmlformats.org/officeDocument/2006/relationships/image" Target="../media/image91.png"/><Relationship Id="rId35" Type="http://schemas.openxmlformats.org/officeDocument/2006/relationships/image" Target="../media/image39.png"/><Relationship Id="rId43" Type="http://schemas.openxmlformats.org/officeDocument/2006/relationships/image" Target="../media/image97.png"/><Relationship Id="rId48" Type="http://schemas.openxmlformats.org/officeDocument/2006/relationships/image" Target="../media/image52.png"/><Relationship Id="rId8" Type="http://schemas.openxmlformats.org/officeDocument/2006/relationships/image" Target="../media/image70.png"/><Relationship Id="rId51" Type="http://schemas.openxmlformats.org/officeDocument/2006/relationships/image" Target="../media/image10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6.png"/><Relationship Id="rId33" Type="http://schemas.openxmlformats.org/officeDocument/2006/relationships/image" Target="../media/image92.png"/><Relationship Id="rId38" Type="http://schemas.openxmlformats.org/officeDocument/2006/relationships/image" Target="../media/image94.png"/><Relationship Id="rId46" Type="http://schemas.openxmlformats.org/officeDocument/2006/relationships/image" Target="../media/image50.png"/><Relationship Id="rId20" Type="http://schemas.openxmlformats.org/officeDocument/2006/relationships/image" Target="../media/image81.png"/><Relationship Id="rId41" Type="http://schemas.openxmlformats.org/officeDocument/2006/relationships/image" Target="../media/image96.png"/><Relationship Id="rId1" Type="http://schemas.openxmlformats.org/officeDocument/2006/relationships/slideMaster" Target="../slideMasters/slideMaster7.xml"/><Relationship Id="rId6" Type="http://schemas.openxmlformats.org/officeDocument/2006/relationships/image" Target="../media/image68.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8.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0.xml"/><Relationship Id="rId4" Type="http://schemas.openxmlformats.org/officeDocument/2006/relationships/image" Target="../media/image58.emf"/></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19.jpeg"/><Relationship Id="rId1" Type="http://schemas.openxmlformats.org/officeDocument/2006/relationships/slideMaster" Target="../slideMasters/slideMaster7.xml"/><Relationship Id="rId6" Type="http://schemas.openxmlformats.org/officeDocument/2006/relationships/image" Target="../media/image121.png"/><Relationship Id="rId5" Type="http://schemas.openxmlformats.org/officeDocument/2006/relationships/hyperlink" Target="http://www.iotaimpact.com/" TargetMode="External"/><Relationship Id="rId4" Type="http://schemas.openxmlformats.org/officeDocument/2006/relationships/image" Target="../media/image120.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6.png"/><Relationship Id="rId2" Type="http://schemas.openxmlformats.org/officeDocument/2006/relationships/image" Target="../media/image119.jpeg"/><Relationship Id="rId1" Type="http://schemas.openxmlformats.org/officeDocument/2006/relationships/slideMaster" Target="../slideMasters/slideMaster7.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19.jpe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22.png"/><Relationship Id="rId1" Type="http://schemas.openxmlformats.org/officeDocument/2006/relationships/slideMaster" Target="../slideMasters/slideMaster7.xml"/><Relationship Id="rId4" Type="http://schemas.openxmlformats.org/officeDocument/2006/relationships/image" Target="../media/image62.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22.png"/><Relationship Id="rId26" Type="http://schemas.openxmlformats.org/officeDocument/2006/relationships/image" Target="../media/image87.png"/><Relationship Id="rId39" Type="http://schemas.openxmlformats.org/officeDocument/2006/relationships/image" Target="../media/image95.png"/><Relationship Id="rId21" Type="http://schemas.openxmlformats.org/officeDocument/2006/relationships/image" Target="../media/image82.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99.png"/><Relationship Id="rId7" Type="http://schemas.openxmlformats.org/officeDocument/2006/relationships/image" Target="../media/image69.png"/><Relationship Id="rId2" Type="http://schemas.openxmlformats.org/officeDocument/2006/relationships/image" Target="../media/image64.png"/><Relationship Id="rId16" Type="http://schemas.openxmlformats.org/officeDocument/2006/relationships/image" Target="../media/image78.png"/><Relationship Id="rId29" Type="http://schemas.openxmlformats.org/officeDocument/2006/relationships/image" Target="../media/image90.png"/><Relationship Id="rId11" Type="http://schemas.openxmlformats.org/officeDocument/2006/relationships/image" Target="../media/image73.png"/><Relationship Id="rId24" Type="http://schemas.openxmlformats.org/officeDocument/2006/relationships/image" Target="../media/image85.png"/><Relationship Id="rId32" Type="http://schemas.openxmlformats.org/officeDocument/2006/relationships/image" Target="../media/image36.png"/><Relationship Id="rId37" Type="http://schemas.openxmlformats.org/officeDocument/2006/relationships/image" Target="../media/image93.png"/><Relationship Id="rId40" Type="http://schemas.openxmlformats.org/officeDocument/2006/relationships/image" Target="../media/image44.png"/><Relationship Id="rId45" Type="http://schemas.openxmlformats.org/officeDocument/2006/relationships/image" Target="../media/image49.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4.png"/><Relationship Id="rId28" Type="http://schemas.openxmlformats.org/officeDocument/2006/relationships/image" Target="../media/image89.png"/><Relationship Id="rId36" Type="http://schemas.openxmlformats.org/officeDocument/2006/relationships/image" Target="../media/image40.png"/><Relationship Id="rId49"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0.png"/><Relationship Id="rId31" Type="http://schemas.openxmlformats.org/officeDocument/2006/relationships/image" Target="../media/image35.png"/><Relationship Id="rId44" Type="http://schemas.openxmlformats.org/officeDocument/2006/relationships/image" Target="../media/image48.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3.png"/><Relationship Id="rId27" Type="http://schemas.openxmlformats.org/officeDocument/2006/relationships/image" Target="../media/image88.png"/><Relationship Id="rId30" Type="http://schemas.openxmlformats.org/officeDocument/2006/relationships/image" Target="../media/image91.png"/><Relationship Id="rId35" Type="http://schemas.openxmlformats.org/officeDocument/2006/relationships/image" Target="../media/image39.png"/><Relationship Id="rId43" Type="http://schemas.openxmlformats.org/officeDocument/2006/relationships/image" Target="../media/image97.png"/><Relationship Id="rId48" Type="http://schemas.openxmlformats.org/officeDocument/2006/relationships/image" Target="../media/image52.png"/><Relationship Id="rId8" Type="http://schemas.openxmlformats.org/officeDocument/2006/relationships/image" Target="../media/image70.png"/><Relationship Id="rId51" Type="http://schemas.openxmlformats.org/officeDocument/2006/relationships/image" Target="../media/image10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6.png"/><Relationship Id="rId33" Type="http://schemas.openxmlformats.org/officeDocument/2006/relationships/image" Target="../media/image92.png"/><Relationship Id="rId38" Type="http://schemas.openxmlformats.org/officeDocument/2006/relationships/image" Target="../media/image94.png"/><Relationship Id="rId46" Type="http://schemas.openxmlformats.org/officeDocument/2006/relationships/image" Target="../media/image50.png"/><Relationship Id="rId20" Type="http://schemas.openxmlformats.org/officeDocument/2006/relationships/image" Target="../media/image81.png"/><Relationship Id="rId41" Type="http://schemas.openxmlformats.org/officeDocument/2006/relationships/image" Target="../media/image96.png"/><Relationship Id="rId1" Type="http://schemas.openxmlformats.org/officeDocument/2006/relationships/slideMaster" Target="../slideMasters/slideMaster9.xml"/><Relationship Id="rId6" Type="http://schemas.openxmlformats.org/officeDocument/2006/relationships/image" Target="../media/image68.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58.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9.xml"/><Relationship Id="rId1" Type="http://schemas.openxmlformats.org/officeDocument/2006/relationships/tags" Target="../tags/tag11.xml"/><Relationship Id="rId4" Type="http://schemas.openxmlformats.org/officeDocument/2006/relationships/image" Target="../media/image5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19.jpeg"/><Relationship Id="rId1" Type="http://schemas.openxmlformats.org/officeDocument/2006/relationships/slideMaster" Target="../slideMasters/slideMaster9.xml"/><Relationship Id="rId6" Type="http://schemas.openxmlformats.org/officeDocument/2006/relationships/image" Target="../media/image121.png"/><Relationship Id="rId5" Type="http://schemas.openxmlformats.org/officeDocument/2006/relationships/hyperlink" Target="http://www.iotaimpact.com/" TargetMode="External"/><Relationship Id="rId4" Type="http://schemas.openxmlformats.org/officeDocument/2006/relationships/image" Target="../media/image120.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6.png"/><Relationship Id="rId2" Type="http://schemas.openxmlformats.org/officeDocument/2006/relationships/image" Target="../media/image119.jpeg"/><Relationship Id="rId1" Type="http://schemas.openxmlformats.org/officeDocument/2006/relationships/slideMaster" Target="../slideMasters/slideMaster9.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19.jpe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22.png"/><Relationship Id="rId1" Type="http://schemas.openxmlformats.org/officeDocument/2006/relationships/slideMaster" Target="../slideMasters/slideMaster9.xml"/><Relationship Id="rId4" Type="http://schemas.openxmlformats.org/officeDocument/2006/relationships/image" Target="../media/image62.sv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22.png"/><Relationship Id="rId26" Type="http://schemas.openxmlformats.org/officeDocument/2006/relationships/image" Target="../media/image87.png"/><Relationship Id="rId39" Type="http://schemas.openxmlformats.org/officeDocument/2006/relationships/image" Target="../media/image95.png"/><Relationship Id="rId21" Type="http://schemas.openxmlformats.org/officeDocument/2006/relationships/image" Target="../media/image82.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99.png"/><Relationship Id="rId7" Type="http://schemas.openxmlformats.org/officeDocument/2006/relationships/image" Target="../media/image69.png"/><Relationship Id="rId2" Type="http://schemas.openxmlformats.org/officeDocument/2006/relationships/image" Target="../media/image64.png"/><Relationship Id="rId16" Type="http://schemas.openxmlformats.org/officeDocument/2006/relationships/image" Target="../media/image78.png"/><Relationship Id="rId29" Type="http://schemas.openxmlformats.org/officeDocument/2006/relationships/image" Target="../media/image90.png"/><Relationship Id="rId11" Type="http://schemas.openxmlformats.org/officeDocument/2006/relationships/image" Target="../media/image73.png"/><Relationship Id="rId24" Type="http://schemas.openxmlformats.org/officeDocument/2006/relationships/image" Target="../media/image85.png"/><Relationship Id="rId32" Type="http://schemas.openxmlformats.org/officeDocument/2006/relationships/image" Target="../media/image36.png"/><Relationship Id="rId37" Type="http://schemas.openxmlformats.org/officeDocument/2006/relationships/image" Target="../media/image93.png"/><Relationship Id="rId40" Type="http://schemas.openxmlformats.org/officeDocument/2006/relationships/image" Target="../media/image44.png"/><Relationship Id="rId45" Type="http://schemas.openxmlformats.org/officeDocument/2006/relationships/image" Target="../media/image49.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4.png"/><Relationship Id="rId28" Type="http://schemas.openxmlformats.org/officeDocument/2006/relationships/image" Target="../media/image89.png"/><Relationship Id="rId36" Type="http://schemas.openxmlformats.org/officeDocument/2006/relationships/image" Target="../media/image40.png"/><Relationship Id="rId49"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0.png"/><Relationship Id="rId31" Type="http://schemas.openxmlformats.org/officeDocument/2006/relationships/image" Target="../media/image35.png"/><Relationship Id="rId44" Type="http://schemas.openxmlformats.org/officeDocument/2006/relationships/image" Target="../media/image48.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3.png"/><Relationship Id="rId27" Type="http://schemas.openxmlformats.org/officeDocument/2006/relationships/image" Target="../media/image88.png"/><Relationship Id="rId30" Type="http://schemas.openxmlformats.org/officeDocument/2006/relationships/image" Target="../media/image91.png"/><Relationship Id="rId35" Type="http://schemas.openxmlformats.org/officeDocument/2006/relationships/image" Target="../media/image39.png"/><Relationship Id="rId43" Type="http://schemas.openxmlformats.org/officeDocument/2006/relationships/image" Target="../media/image97.png"/><Relationship Id="rId48" Type="http://schemas.openxmlformats.org/officeDocument/2006/relationships/image" Target="../media/image52.png"/><Relationship Id="rId8" Type="http://schemas.openxmlformats.org/officeDocument/2006/relationships/image" Target="../media/image70.png"/><Relationship Id="rId51" Type="http://schemas.openxmlformats.org/officeDocument/2006/relationships/image" Target="../media/image10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6.png"/><Relationship Id="rId33" Type="http://schemas.openxmlformats.org/officeDocument/2006/relationships/image" Target="../media/image92.png"/><Relationship Id="rId38" Type="http://schemas.openxmlformats.org/officeDocument/2006/relationships/image" Target="../media/image94.png"/><Relationship Id="rId46" Type="http://schemas.openxmlformats.org/officeDocument/2006/relationships/image" Target="../media/image50.png"/><Relationship Id="rId20" Type="http://schemas.openxmlformats.org/officeDocument/2006/relationships/image" Target="../media/image81.png"/><Relationship Id="rId41" Type="http://schemas.openxmlformats.org/officeDocument/2006/relationships/image" Target="../media/image96.png"/><Relationship Id="rId1" Type="http://schemas.openxmlformats.org/officeDocument/2006/relationships/slideMaster" Target="../slideMasters/slideMaster10.xml"/><Relationship Id="rId6" Type="http://schemas.openxmlformats.org/officeDocument/2006/relationships/image" Target="../media/image68.pn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4.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2.xml"/><Relationship Id="rId4" Type="http://schemas.openxmlformats.org/officeDocument/2006/relationships/image" Target="../media/image58.emf"/></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Master" Target="../slideMasters/slideMaster10.xml"/><Relationship Id="rId5" Type="http://schemas.openxmlformats.org/officeDocument/2006/relationships/image" Target="../media/image105.png"/><Relationship Id="rId4" Type="http://schemas.openxmlformats.org/officeDocument/2006/relationships/hyperlink" Target="http://www.iotaimpact.com/" TargetMode="Externa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0.xml"/><Relationship Id="rId4" Type="http://schemas.openxmlformats.org/officeDocument/2006/relationships/image" Target="../media/image6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22.png"/><Relationship Id="rId26" Type="http://schemas.openxmlformats.org/officeDocument/2006/relationships/image" Target="../media/image87.png"/><Relationship Id="rId39" Type="http://schemas.openxmlformats.org/officeDocument/2006/relationships/image" Target="../media/image95.png"/><Relationship Id="rId21" Type="http://schemas.openxmlformats.org/officeDocument/2006/relationships/image" Target="../media/image82.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99.png"/><Relationship Id="rId7" Type="http://schemas.openxmlformats.org/officeDocument/2006/relationships/image" Target="../media/image69.png"/><Relationship Id="rId2" Type="http://schemas.openxmlformats.org/officeDocument/2006/relationships/image" Target="../media/image64.png"/><Relationship Id="rId16" Type="http://schemas.openxmlformats.org/officeDocument/2006/relationships/image" Target="../media/image78.png"/><Relationship Id="rId29" Type="http://schemas.openxmlformats.org/officeDocument/2006/relationships/image" Target="../media/image90.png"/><Relationship Id="rId11" Type="http://schemas.openxmlformats.org/officeDocument/2006/relationships/image" Target="../media/image73.png"/><Relationship Id="rId24" Type="http://schemas.openxmlformats.org/officeDocument/2006/relationships/image" Target="../media/image85.png"/><Relationship Id="rId32" Type="http://schemas.openxmlformats.org/officeDocument/2006/relationships/image" Target="../media/image36.png"/><Relationship Id="rId37" Type="http://schemas.openxmlformats.org/officeDocument/2006/relationships/image" Target="../media/image93.png"/><Relationship Id="rId40" Type="http://schemas.openxmlformats.org/officeDocument/2006/relationships/image" Target="../media/image44.png"/><Relationship Id="rId45" Type="http://schemas.openxmlformats.org/officeDocument/2006/relationships/image" Target="../media/image49.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4.png"/><Relationship Id="rId28" Type="http://schemas.openxmlformats.org/officeDocument/2006/relationships/image" Target="../media/image89.png"/><Relationship Id="rId36" Type="http://schemas.openxmlformats.org/officeDocument/2006/relationships/image" Target="../media/image40.png"/><Relationship Id="rId49"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0.png"/><Relationship Id="rId31" Type="http://schemas.openxmlformats.org/officeDocument/2006/relationships/image" Target="../media/image35.png"/><Relationship Id="rId44" Type="http://schemas.openxmlformats.org/officeDocument/2006/relationships/image" Target="../media/image48.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3.png"/><Relationship Id="rId27" Type="http://schemas.openxmlformats.org/officeDocument/2006/relationships/image" Target="../media/image88.png"/><Relationship Id="rId30" Type="http://schemas.openxmlformats.org/officeDocument/2006/relationships/image" Target="../media/image91.png"/><Relationship Id="rId35" Type="http://schemas.openxmlformats.org/officeDocument/2006/relationships/image" Target="../media/image39.png"/><Relationship Id="rId43" Type="http://schemas.openxmlformats.org/officeDocument/2006/relationships/image" Target="../media/image97.png"/><Relationship Id="rId48" Type="http://schemas.openxmlformats.org/officeDocument/2006/relationships/image" Target="../media/image52.png"/><Relationship Id="rId8" Type="http://schemas.openxmlformats.org/officeDocument/2006/relationships/image" Target="../media/image70.png"/><Relationship Id="rId51" Type="http://schemas.openxmlformats.org/officeDocument/2006/relationships/image" Target="../media/image10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6.png"/><Relationship Id="rId33" Type="http://schemas.openxmlformats.org/officeDocument/2006/relationships/image" Target="../media/image92.png"/><Relationship Id="rId38" Type="http://schemas.openxmlformats.org/officeDocument/2006/relationships/image" Target="../media/image94.png"/><Relationship Id="rId46" Type="http://schemas.openxmlformats.org/officeDocument/2006/relationships/image" Target="../media/image50.png"/><Relationship Id="rId20" Type="http://schemas.openxmlformats.org/officeDocument/2006/relationships/image" Target="../media/image81.png"/><Relationship Id="rId41" Type="http://schemas.openxmlformats.org/officeDocument/2006/relationships/image" Target="../media/image96.png"/><Relationship Id="rId1" Type="http://schemas.openxmlformats.org/officeDocument/2006/relationships/slideMaster" Target="../slideMasters/slideMaster11.xml"/><Relationship Id="rId6" Type="http://schemas.openxmlformats.org/officeDocument/2006/relationships/image" Target="../media/image68.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xml"/><Relationship Id="rId4" Type="http://schemas.openxmlformats.org/officeDocument/2006/relationships/image" Target="../media/image62.sv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13.xml"/><Relationship Id="rId4" Type="http://schemas.openxmlformats.org/officeDocument/2006/relationships/image" Target="../media/image58.emf"/></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19.jpeg"/><Relationship Id="rId1" Type="http://schemas.openxmlformats.org/officeDocument/2006/relationships/slideMaster" Target="../slideMasters/slideMaster11.xml"/><Relationship Id="rId6" Type="http://schemas.openxmlformats.org/officeDocument/2006/relationships/image" Target="../media/image121.png"/><Relationship Id="rId5" Type="http://schemas.openxmlformats.org/officeDocument/2006/relationships/hyperlink" Target="http://www.iotaimpact.com/" TargetMode="External"/><Relationship Id="rId4" Type="http://schemas.openxmlformats.org/officeDocument/2006/relationships/image" Target="../media/image12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6.png"/><Relationship Id="rId2" Type="http://schemas.openxmlformats.org/officeDocument/2006/relationships/image" Target="../media/image119.jpeg"/><Relationship Id="rId1" Type="http://schemas.openxmlformats.org/officeDocument/2006/relationships/slideMaster" Target="../slideMasters/slideMaster1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19.jpe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22.png"/><Relationship Id="rId1" Type="http://schemas.openxmlformats.org/officeDocument/2006/relationships/slideMaster" Target="../slideMasters/slideMaster11.xml"/><Relationship Id="rId4" Type="http://schemas.openxmlformats.org/officeDocument/2006/relationships/image" Target="../media/image62.sv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22.png"/><Relationship Id="rId26" Type="http://schemas.openxmlformats.org/officeDocument/2006/relationships/image" Target="../media/image87.png"/><Relationship Id="rId39" Type="http://schemas.openxmlformats.org/officeDocument/2006/relationships/image" Target="../media/image95.png"/><Relationship Id="rId21" Type="http://schemas.openxmlformats.org/officeDocument/2006/relationships/image" Target="../media/image82.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99.png"/><Relationship Id="rId7" Type="http://schemas.openxmlformats.org/officeDocument/2006/relationships/image" Target="../media/image69.png"/><Relationship Id="rId2" Type="http://schemas.openxmlformats.org/officeDocument/2006/relationships/image" Target="../media/image64.png"/><Relationship Id="rId16" Type="http://schemas.openxmlformats.org/officeDocument/2006/relationships/image" Target="../media/image78.png"/><Relationship Id="rId29" Type="http://schemas.openxmlformats.org/officeDocument/2006/relationships/image" Target="../media/image90.png"/><Relationship Id="rId11" Type="http://schemas.openxmlformats.org/officeDocument/2006/relationships/image" Target="../media/image73.png"/><Relationship Id="rId24" Type="http://schemas.openxmlformats.org/officeDocument/2006/relationships/image" Target="../media/image85.png"/><Relationship Id="rId32" Type="http://schemas.openxmlformats.org/officeDocument/2006/relationships/image" Target="../media/image36.png"/><Relationship Id="rId37" Type="http://schemas.openxmlformats.org/officeDocument/2006/relationships/image" Target="../media/image93.png"/><Relationship Id="rId40" Type="http://schemas.openxmlformats.org/officeDocument/2006/relationships/image" Target="../media/image44.png"/><Relationship Id="rId45" Type="http://schemas.openxmlformats.org/officeDocument/2006/relationships/image" Target="../media/image49.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4.png"/><Relationship Id="rId28" Type="http://schemas.openxmlformats.org/officeDocument/2006/relationships/image" Target="../media/image89.png"/><Relationship Id="rId36" Type="http://schemas.openxmlformats.org/officeDocument/2006/relationships/image" Target="../media/image40.png"/><Relationship Id="rId49"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0.png"/><Relationship Id="rId31" Type="http://schemas.openxmlformats.org/officeDocument/2006/relationships/image" Target="../media/image35.png"/><Relationship Id="rId44" Type="http://schemas.openxmlformats.org/officeDocument/2006/relationships/image" Target="../media/image48.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3.png"/><Relationship Id="rId27" Type="http://schemas.openxmlformats.org/officeDocument/2006/relationships/image" Target="../media/image88.png"/><Relationship Id="rId30" Type="http://schemas.openxmlformats.org/officeDocument/2006/relationships/image" Target="../media/image91.png"/><Relationship Id="rId35" Type="http://schemas.openxmlformats.org/officeDocument/2006/relationships/image" Target="../media/image39.png"/><Relationship Id="rId43" Type="http://schemas.openxmlformats.org/officeDocument/2006/relationships/image" Target="../media/image97.png"/><Relationship Id="rId48" Type="http://schemas.openxmlformats.org/officeDocument/2006/relationships/image" Target="../media/image52.png"/><Relationship Id="rId8" Type="http://schemas.openxmlformats.org/officeDocument/2006/relationships/image" Target="../media/image70.png"/><Relationship Id="rId51" Type="http://schemas.openxmlformats.org/officeDocument/2006/relationships/image" Target="../media/image10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6.png"/><Relationship Id="rId33" Type="http://schemas.openxmlformats.org/officeDocument/2006/relationships/image" Target="../media/image92.png"/><Relationship Id="rId38" Type="http://schemas.openxmlformats.org/officeDocument/2006/relationships/image" Target="../media/image94.png"/><Relationship Id="rId46" Type="http://schemas.openxmlformats.org/officeDocument/2006/relationships/image" Target="../media/image50.png"/><Relationship Id="rId20" Type="http://schemas.openxmlformats.org/officeDocument/2006/relationships/image" Target="../media/image81.png"/><Relationship Id="rId41" Type="http://schemas.openxmlformats.org/officeDocument/2006/relationships/image" Target="../media/image96.png"/><Relationship Id="rId1" Type="http://schemas.openxmlformats.org/officeDocument/2006/relationships/slideMaster" Target="../slideMasters/slideMaster12.xml"/><Relationship Id="rId6" Type="http://schemas.openxmlformats.org/officeDocument/2006/relationships/image" Target="../media/image68.pn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5.png"/><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14.xml"/><Relationship Id="rId4" Type="http://schemas.openxmlformats.org/officeDocument/2006/relationships/image" Target="../media/image58.emf"/></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22.png"/><Relationship Id="rId26" Type="http://schemas.openxmlformats.org/officeDocument/2006/relationships/image" Target="../media/image87.png"/><Relationship Id="rId39" Type="http://schemas.openxmlformats.org/officeDocument/2006/relationships/image" Target="../media/image95.png"/><Relationship Id="rId21" Type="http://schemas.openxmlformats.org/officeDocument/2006/relationships/image" Target="../media/image82.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99.png"/><Relationship Id="rId7" Type="http://schemas.openxmlformats.org/officeDocument/2006/relationships/image" Target="../media/image69.png"/><Relationship Id="rId2" Type="http://schemas.openxmlformats.org/officeDocument/2006/relationships/image" Target="../media/image64.png"/><Relationship Id="rId16" Type="http://schemas.openxmlformats.org/officeDocument/2006/relationships/image" Target="../media/image78.png"/><Relationship Id="rId29" Type="http://schemas.openxmlformats.org/officeDocument/2006/relationships/image" Target="../media/image90.png"/><Relationship Id="rId11" Type="http://schemas.openxmlformats.org/officeDocument/2006/relationships/image" Target="../media/image73.png"/><Relationship Id="rId24" Type="http://schemas.openxmlformats.org/officeDocument/2006/relationships/image" Target="../media/image85.png"/><Relationship Id="rId32" Type="http://schemas.openxmlformats.org/officeDocument/2006/relationships/image" Target="../media/image36.png"/><Relationship Id="rId37" Type="http://schemas.openxmlformats.org/officeDocument/2006/relationships/image" Target="../media/image93.png"/><Relationship Id="rId40" Type="http://schemas.openxmlformats.org/officeDocument/2006/relationships/image" Target="../media/image44.png"/><Relationship Id="rId45" Type="http://schemas.openxmlformats.org/officeDocument/2006/relationships/image" Target="../media/image49.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4.png"/><Relationship Id="rId28" Type="http://schemas.openxmlformats.org/officeDocument/2006/relationships/image" Target="../media/image89.png"/><Relationship Id="rId36" Type="http://schemas.openxmlformats.org/officeDocument/2006/relationships/image" Target="../media/image40.png"/><Relationship Id="rId49"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0.png"/><Relationship Id="rId31" Type="http://schemas.openxmlformats.org/officeDocument/2006/relationships/image" Target="../media/image35.png"/><Relationship Id="rId44" Type="http://schemas.openxmlformats.org/officeDocument/2006/relationships/image" Target="../media/image48.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3.png"/><Relationship Id="rId27" Type="http://schemas.openxmlformats.org/officeDocument/2006/relationships/image" Target="../media/image88.png"/><Relationship Id="rId30" Type="http://schemas.openxmlformats.org/officeDocument/2006/relationships/image" Target="../media/image91.png"/><Relationship Id="rId35" Type="http://schemas.openxmlformats.org/officeDocument/2006/relationships/image" Target="../media/image39.png"/><Relationship Id="rId43" Type="http://schemas.openxmlformats.org/officeDocument/2006/relationships/image" Target="../media/image97.png"/><Relationship Id="rId48" Type="http://schemas.openxmlformats.org/officeDocument/2006/relationships/image" Target="../media/image52.png"/><Relationship Id="rId8" Type="http://schemas.openxmlformats.org/officeDocument/2006/relationships/image" Target="../media/image70.png"/><Relationship Id="rId51" Type="http://schemas.openxmlformats.org/officeDocument/2006/relationships/image" Target="../media/image10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6.png"/><Relationship Id="rId33" Type="http://schemas.openxmlformats.org/officeDocument/2006/relationships/image" Target="../media/image92.png"/><Relationship Id="rId38" Type="http://schemas.openxmlformats.org/officeDocument/2006/relationships/image" Target="../media/image94.png"/><Relationship Id="rId46" Type="http://schemas.openxmlformats.org/officeDocument/2006/relationships/image" Target="../media/image50.png"/><Relationship Id="rId20" Type="http://schemas.openxmlformats.org/officeDocument/2006/relationships/image" Target="../media/image81.png"/><Relationship Id="rId41" Type="http://schemas.openxmlformats.org/officeDocument/2006/relationships/image" Target="../media/image96.png"/><Relationship Id="rId1" Type="http://schemas.openxmlformats.org/officeDocument/2006/relationships/slideMaster" Target="../slideMasters/slideMaster2.xml"/><Relationship Id="rId6" Type="http://schemas.openxmlformats.org/officeDocument/2006/relationships/image" Target="../media/image68.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Master" Target="../slideMasters/slideMaster12.xml"/><Relationship Id="rId5" Type="http://schemas.openxmlformats.org/officeDocument/2006/relationships/image" Target="../media/image105.png"/><Relationship Id="rId4" Type="http://schemas.openxmlformats.org/officeDocument/2006/relationships/hyperlink" Target="http://www.iotaimpact.com/" TargetMode="Externa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2.xml"/><Relationship Id="rId4" Type="http://schemas.openxmlformats.org/officeDocument/2006/relationships/image" Target="../media/image62.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3.png"/><Relationship Id="rId21" Type="http://schemas.openxmlformats.org/officeDocument/2006/relationships/image" Target="../media/image25.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54.png"/><Relationship Id="rId7" Type="http://schemas.openxmlformats.org/officeDocument/2006/relationships/image" Target="../media/image11.png"/><Relationship Id="rId2" Type="http://schemas.openxmlformats.org/officeDocument/2006/relationships/image" Target="../media/image6.png"/><Relationship Id="rId16" Type="http://schemas.openxmlformats.org/officeDocument/2006/relationships/image" Target="../media/image20.png"/><Relationship Id="rId29" Type="http://schemas.openxmlformats.org/officeDocument/2006/relationships/image" Target="../media/image33.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6.png"/><Relationship Id="rId37" Type="http://schemas.openxmlformats.org/officeDocument/2006/relationships/image" Target="../media/image41.png"/><Relationship Id="rId40" Type="http://schemas.openxmlformats.org/officeDocument/2006/relationships/image" Target="../media/image44.png"/><Relationship Id="rId45" Type="http://schemas.openxmlformats.org/officeDocument/2006/relationships/image" Target="../media/image49.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40.png"/><Relationship Id="rId49" Type="http://schemas.openxmlformats.org/officeDocument/2006/relationships/image" Target="../media/image53.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5.png"/><Relationship Id="rId44" Type="http://schemas.openxmlformats.org/officeDocument/2006/relationships/image" Target="../media/image48.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png"/><Relationship Id="rId43" Type="http://schemas.openxmlformats.org/officeDocument/2006/relationships/image" Target="../media/image47.png"/><Relationship Id="rId48" Type="http://schemas.openxmlformats.org/officeDocument/2006/relationships/image" Target="../media/image52.png"/><Relationship Id="rId8" Type="http://schemas.openxmlformats.org/officeDocument/2006/relationships/image" Target="../media/image12.png"/><Relationship Id="rId51" Type="http://schemas.openxmlformats.org/officeDocument/2006/relationships/image" Target="../media/image55.png"/><Relationship Id="rId3" Type="http://schemas.openxmlformats.org/officeDocument/2006/relationships/image" Target="../media/image7.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png"/><Relationship Id="rId46" Type="http://schemas.openxmlformats.org/officeDocument/2006/relationships/image" Target="../media/image50.png"/><Relationship Id="rId20" Type="http://schemas.openxmlformats.org/officeDocument/2006/relationships/image" Target="../media/image24.png"/><Relationship Id="rId41" Type="http://schemas.openxmlformats.org/officeDocument/2006/relationships/image" Target="../media/image45.png"/><Relationship Id="rId1" Type="http://schemas.openxmlformats.org/officeDocument/2006/relationships/slideMaster" Target="../slideMasters/slideMaster1.xml"/><Relationship Id="rId6" Type="http://schemas.openxmlformats.org/officeDocument/2006/relationships/image" Target="../media/image10.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58.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Master" Target="../slideMasters/slideMaster2.xml"/><Relationship Id="rId5" Type="http://schemas.openxmlformats.org/officeDocument/2006/relationships/image" Target="../media/image105.png"/><Relationship Id="rId4" Type="http://schemas.openxmlformats.org/officeDocument/2006/relationships/hyperlink" Target="http://www.iotaimpact.com/" TargetMode="Externa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62.sv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07.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58.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58.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58.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58.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1.png"/><Relationship Id="rId1" Type="http://schemas.openxmlformats.org/officeDocument/2006/relationships/slideMaster" Target="../slideMasters/slideMaster4.xml"/><Relationship Id="rId5" Type="http://schemas.openxmlformats.org/officeDocument/2006/relationships/image" Target="../media/image113.png"/><Relationship Id="rId4" Type="http://schemas.openxmlformats.org/officeDocument/2006/relationships/image" Target="../media/image112.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4694" y="1393371"/>
            <a:ext cx="11732506"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29585972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Proposed</a:t>
            </a:r>
            <a:r>
              <a:rPr lang="es-CO" sz="1300" b="1">
                <a:solidFill>
                  <a:srgbClr val="FFFFFF"/>
                </a:solidFill>
                <a:latin typeface="+mj-lt"/>
              </a:rPr>
              <a:t> </a:t>
            </a:r>
            <a:r>
              <a:rPr lang="es-CO" sz="1300" b="1" err="1">
                <a:solidFill>
                  <a:srgbClr val="FFFFFF"/>
                </a:solidFill>
                <a:latin typeface="+mj-lt"/>
              </a:rPr>
              <a:t>investment</a:t>
            </a:r>
            <a:endParaRPr lang="es-CO" sz="1300" b="1">
              <a:solidFill>
                <a:srgbClr val="FFFFFF"/>
              </a:solidFill>
              <a:latin typeface="+mj-lt"/>
            </a:endParaRP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7" name="Isosceles Triangle 6">
            <a:extLst>
              <a:ext uri="{FF2B5EF4-FFF2-40B4-BE49-F238E27FC236}">
                <a16:creationId xmlns:a16="http://schemas.microsoft.com/office/drawing/2014/main" id="{33FE29B9-A305-81B5-E1A3-1B7BB8258339}"/>
              </a:ext>
            </a:extLst>
          </p:cNvPr>
          <p:cNvSpPr/>
          <p:nvPr/>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17987558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Gantt Chart - Imag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AE9CAA70-475F-4852-9832-842B7F6A1A18}"/>
              </a:ext>
            </a:extLst>
          </p:cNvPr>
          <p:cNvSpPr>
            <a:spLocks noGrp="1"/>
          </p:cNvSpPr>
          <p:nvPr>
            <p:ph type="pic" sz="quarter" idx="10" hasCustomPrompt="1"/>
          </p:nvPr>
        </p:nvSpPr>
        <p:spPr>
          <a:xfrm>
            <a:off x="364984" y="2564785"/>
            <a:ext cx="457200" cy="457200"/>
          </a:xfrm>
          <a:prstGeom prst="roundRect">
            <a:avLst/>
          </a:prstGeom>
          <a:pattFill prst="wdDnDiag">
            <a:fgClr>
              <a:schemeClr val="tx1">
                <a:lumMod val="25000"/>
                <a:lumOff val="75000"/>
              </a:schemeClr>
            </a:fgClr>
            <a:bgClr>
              <a:schemeClr val="bg1"/>
            </a:bgClr>
          </a:pattFill>
        </p:spPr>
        <p:txBody>
          <a:bodyPr anchor="ctr"/>
          <a:lstStyle>
            <a:lvl1pPr algn="ctr">
              <a:buNone/>
              <a:defRPr sz="600"/>
            </a:lvl1pPr>
          </a:lstStyle>
          <a:p>
            <a:r>
              <a:rPr lang="en-US"/>
              <a:t>image</a:t>
            </a:r>
          </a:p>
        </p:txBody>
      </p:sp>
      <p:sp>
        <p:nvSpPr>
          <p:cNvPr id="18" name="Picture Placeholder 16">
            <a:extLst>
              <a:ext uri="{FF2B5EF4-FFF2-40B4-BE49-F238E27FC236}">
                <a16:creationId xmlns:a16="http://schemas.microsoft.com/office/drawing/2014/main" id="{5CFD7B86-D2C3-4737-8CDD-1C0EB569FCD7}"/>
              </a:ext>
            </a:extLst>
          </p:cNvPr>
          <p:cNvSpPr>
            <a:spLocks noGrp="1"/>
          </p:cNvSpPr>
          <p:nvPr>
            <p:ph type="pic" sz="quarter" idx="11" hasCustomPrompt="1"/>
          </p:nvPr>
        </p:nvSpPr>
        <p:spPr>
          <a:xfrm>
            <a:off x="364984" y="3182879"/>
            <a:ext cx="457200" cy="457200"/>
          </a:xfrm>
          <a:prstGeom prst="roundRect">
            <a:avLst/>
          </a:prstGeom>
          <a:pattFill prst="wdDnDiag">
            <a:fgClr>
              <a:schemeClr val="tx1">
                <a:lumMod val="25000"/>
                <a:lumOff val="75000"/>
              </a:schemeClr>
            </a:fgClr>
            <a:bgClr>
              <a:schemeClr val="bg1"/>
            </a:bgClr>
          </a:pattFill>
        </p:spPr>
        <p:txBody>
          <a:bodyPr anchor="ctr"/>
          <a:lstStyle>
            <a:lvl1pPr algn="ctr">
              <a:buNone/>
              <a:defRPr sz="600"/>
            </a:lvl1pPr>
          </a:lstStyle>
          <a:p>
            <a:r>
              <a:rPr lang="en-US"/>
              <a:t>image</a:t>
            </a:r>
          </a:p>
        </p:txBody>
      </p:sp>
      <p:sp>
        <p:nvSpPr>
          <p:cNvPr id="19" name="Picture Placeholder 16">
            <a:extLst>
              <a:ext uri="{FF2B5EF4-FFF2-40B4-BE49-F238E27FC236}">
                <a16:creationId xmlns:a16="http://schemas.microsoft.com/office/drawing/2014/main" id="{042AF60C-CF1E-40A9-8D3D-BCBF81728CE6}"/>
              </a:ext>
            </a:extLst>
          </p:cNvPr>
          <p:cNvSpPr>
            <a:spLocks noGrp="1"/>
          </p:cNvSpPr>
          <p:nvPr>
            <p:ph type="pic" sz="quarter" idx="12" hasCustomPrompt="1"/>
          </p:nvPr>
        </p:nvSpPr>
        <p:spPr>
          <a:xfrm>
            <a:off x="363707" y="3819583"/>
            <a:ext cx="457200" cy="457200"/>
          </a:xfrm>
          <a:prstGeom prst="roundRect">
            <a:avLst/>
          </a:prstGeom>
          <a:pattFill prst="wdDnDiag">
            <a:fgClr>
              <a:schemeClr val="tx1">
                <a:lumMod val="25000"/>
                <a:lumOff val="75000"/>
              </a:schemeClr>
            </a:fgClr>
            <a:bgClr>
              <a:schemeClr val="bg1"/>
            </a:bgClr>
          </a:pattFill>
        </p:spPr>
        <p:txBody>
          <a:bodyPr anchor="ctr"/>
          <a:lstStyle>
            <a:lvl1pPr algn="ctr">
              <a:buNone/>
              <a:defRPr sz="600"/>
            </a:lvl1pPr>
          </a:lstStyle>
          <a:p>
            <a:r>
              <a:rPr lang="en-US"/>
              <a:t>image</a:t>
            </a:r>
          </a:p>
        </p:txBody>
      </p:sp>
      <p:sp>
        <p:nvSpPr>
          <p:cNvPr id="20" name="Picture Placeholder 16">
            <a:extLst>
              <a:ext uri="{FF2B5EF4-FFF2-40B4-BE49-F238E27FC236}">
                <a16:creationId xmlns:a16="http://schemas.microsoft.com/office/drawing/2014/main" id="{5FB262FE-4934-444B-B452-00C7428688F5}"/>
              </a:ext>
            </a:extLst>
          </p:cNvPr>
          <p:cNvSpPr>
            <a:spLocks noGrp="1"/>
          </p:cNvSpPr>
          <p:nvPr>
            <p:ph type="pic" sz="quarter" idx="13" hasCustomPrompt="1"/>
          </p:nvPr>
        </p:nvSpPr>
        <p:spPr>
          <a:xfrm>
            <a:off x="363707" y="4437677"/>
            <a:ext cx="457200" cy="457200"/>
          </a:xfrm>
          <a:prstGeom prst="roundRect">
            <a:avLst/>
          </a:prstGeom>
          <a:pattFill prst="wdDnDiag">
            <a:fgClr>
              <a:schemeClr val="tx1">
                <a:lumMod val="25000"/>
                <a:lumOff val="75000"/>
              </a:schemeClr>
            </a:fgClr>
            <a:bgClr>
              <a:schemeClr val="bg1"/>
            </a:bgClr>
          </a:pattFill>
        </p:spPr>
        <p:txBody>
          <a:bodyPr anchor="ctr"/>
          <a:lstStyle>
            <a:lvl1pPr algn="ctr">
              <a:buNone/>
              <a:defRPr sz="600"/>
            </a:lvl1pPr>
          </a:lstStyle>
          <a:p>
            <a:r>
              <a:rPr lang="en-US"/>
              <a:t>image</a:t>
            </a:r>
          </a:p>
        </p:txBody>
      </p:sp>
      <p:sp>
        <p:nvSpPr>
          <p:cNvPr id="21" name="Picture Placeholder 16">
            <a:extLst>
              <a:ext uri="{FF2B5EF4-FFF2-40B4-BE49-F238E27FC236}">
                <a16:creationId xmlns:a16="http://schemas.microsoft.com/office/drawing/2014/main" id="{834D1F36-D1A2-447C-A696-225A8C9F5A7A}"/>
              </a:ext>
            </a:extLst>
          </p:cNvPr>
          <p:cNvSpPr>
            <a:spLocks noGrp="1"/>
          </p:cNvSpPr>
          <p:nvPr>
            <p:ph type="pic" sz="quarter" idx="14" hasCustomPrompt="1"/>
          </p:nvPr>
        </p:nvSpPr>
        <p:spPr>
          <a:xfrm>
            <a:off x="362430" y="5074381"/>
            <a:ext cx="457200" cy="457200"/>
          </a:xfrm>
          <a:prstGeom prst="roundRect">
            <a:avLst/>
          </a:prstGeom>
          <a:pattFill prst="wdDnDiag">
            <a:fgClr>
              <a:schemeClr val="tx1">
                <a:lumMod val="25000"/>
                <a:lumOff val="75000"/>
              </a:schemeClr>
            </a:fgClr>
            <a:bgClr>
              <a:schemeClr val="bg1"/>
            </a:bgClr>
          </a:pattFill>
        </p:spPr>
        <p:txBody>
          <a:bodyPr anchor="ctr"/>
          <a:lstStyle>
            <a:lvl1pPr algn="ctr">
              <a:buNone/>
              <a:defRPr sz="600"/>
            </a:lvl1pPr>
          </a:lstStyle>
          <a:p>
            <a:r>
              <a:rPr lang="en-US"/>
              <a:t>image</a:t>
            </a:r>
          </a:p>
        </p:txBody>
      </p:sp>
      <p:sp>
        <p:nvSpPr>
          <p:cNvPr id="22" name="Picture Placeholder 16">
            <a:extLst>
              <a:ext uri="{FF2B5EF4-FFF2-40B4-BE49-F238E27FC236}">
                <a16:creationId xmlns:a16="http://schemas.microsoft.com/office/drawing/2014/main" id="{F5BD4EF0-8E44-4D39-8700-E34507910126}"/>
              </a:ext>
            </a:extLst>
          </p:cNvPr>
          <p:cNvSpPr>
            <a:spLocks noGrp="1"/>
          </p:cNvSpPr>
          <p:nvPr>
            <p:ph type="pic" sz="quarter" idx="15" hasCustomPrompt="1"/>
          </p:nvPr>
        </p:nvSpPr>
        <p:spPr>
          <a:xfrm>
            <a:off x="362430" y="5692475"/>
            <a:ext cx="457200" cy="457200"/>
          </a:xfrm>
          <a:prstGeom prst="roundRect">
            <a:avLst/>
          </a:prstGeom>
          <a:pattFill prst="wdDnDiag">
            <a:fgClr>
              <a:schemeClr val="tx1">
                <a:lumMod val="25000"/>
                <a:lumOff val="75000"/>
              </a:schemeClr>
            </a:fgClr>
            <a:bgClr>
              <a:schemeClr val="bg1"/>
            </a:bgClr>
          </a:pattFill>
        </p:spPr>
        <p:txBody>
          <a:bodyPr anchor="ctr"/>
          <a:lstStyle>
            <a:lvl1pPr algn="ctr">
              <a:buNone/>
              <a:defRPr sz="600"/>
            </a:lvl1pPr>
          </a:lstStyle>
          <a:p>
            <a:r>
              <a:rPr lang="en-US"/>
              <a:t>image</a:t>
            </a:r>
          </a:p>
        </p:txBody>
      </p:sp>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323951497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3D418-61E0-3CAE-6EBE-8B4E01F36F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01C30B7-0306-FDE9-A4A8-B796FDAD96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A11E64-685C-0BFF-CA75-E5A8739426DA}"/>
              </a:ext>
            </a:extLst>
          </p:cNvPr>
          <p:cNvSpPr>
            <a:spLocks noGrp="1"/>
          </p:cNvSpPr>
          <p:nvPr>
            <p:ph type="dt" sz="half" idx="10"/>
          </p:nvPr>
        </p:nvSpPr>
        <p:spPr/>
        <p:txBody>
          <a:bodyPr/>
          <a:lstStyle/>
          <a:p>
            <a:fld id="{F83BD814-748B-4BE5-9B83-DFA15AED897D}" type="datetimeFigureOut">
              <a:rPr lang="en-US" smtClean="0"/>
              <a:t>11/27/2024</a:t>
            </a:fld>
            <a:endParaRPr lang="en-US"/>
          </a:p>
        </p:txBody>
      </p:sp>
      <p:sp>
        <p:nvSpPr>
          <p:cNvPr id="5" name="Footer Placeholder 4">
            <a:extLst>
              <a:ext uri="{FF2B5EF4-FFF2-40B4-BE49-F238E27FC236}">
                <a16:creationId xmlns:a16="http://schemas.microsoft.com/office/drawing/2014/main" id="{182CA686-32F4-A496-B044-DFAB96A816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B4E45-F03E-ECB4-8A55-894ACA42CA18}"/>
              </a:ext>
            </a:extLst>
          </p:cNvPr>
          <p:cNvSpPr>
            <a:spLocks noGrp="1"/>
          </p:cNvSpPr>
          <p:nvPr>
            <p:ph type="sldNum" sz="quarter" idx="12"/>
          </p:nvPr>
        </p:nvSpPr>
        <p:spPr/>
        <p:txBody>
          <a:bodyPr/>
          <a:lstStyle/>
          <a:p>
            <a:fld id="{880C8665-E746-485E-8CD6-CE8BBBE458DA}" type="slidenum">
              <a:rPr lang="en-US" smtClean="0"/>
              <a:t>‹#›</a:t>
            </a:fld>
            <a:endParaRPr lang="en-US"/>
          </a:p>
        </p:txBody>
      </p:sp>
    </p:spTree>
    <p:extLst>
      <p:ext uri="{BB962C8B-B14F-4D97-AF65-F5344CB8AC3E}">
        <p14:creationId xmlns:p14="http://schemas.microsoft.com/office/powerpoint/2010/main" val="27778351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57603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40205750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2391334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36349305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3050226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163470612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6010614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25699473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preserve="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Proposed</a:t>
            </a:r>
            <a:r>
              <a:rPr lang="es-CO" sz="1300" b="1">
                <a:solidFill>
                  <a:srgbClr val="FFFFFF"/>
                </a:solidFill>
                <a:latin typeface="+mj-lt"/>
              </a:rPr>
              <a:t> </a:t>
            </a:r>
            <a:r>
              <a:rPr lang="es-CO" sz="1300" b="1" err="1">
                <a:solidFill>
                  <a:srgbClr val="FFFFFF"/>
                </a:solidFill>
                <a:latin typeface="+mj-lt"/>
              </a:rPr>
              <a:t>investment</a:t>
            </a:r>
            <a:endParaRPr lang="es-CO" sz="1300" b="1">
              <a:solidFill>
                <a:srgbClr val="FFFFFF"/>
              </a:solidFill>
              <a:latin typeface="+mj-lt"/>
            </a:endParaRP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7" name="Isosceles Triangle 6">
            <a:extLst>
              <a:ext uri="{FF2B5EF4-FFF2-40B4-BE49-F238E27FC236}">
                <a16:creationId xmlns:a16="http://schemas.microsoft.com/office/drawing/2014/main" id="{33FE29B9-A305-81B5-E1A3-1B7BB8258339}"/>
              </a:ext>
            </a:extLst>
          </p:cNvPr>
          <p:cNvSpPr/>
          <p:nvPr/>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endParaRPr lang="es-CO"/>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26655824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rgbClr val="304258"/>
                </a:solidFill>
                <a:latin typeface="Poppins" panose="00000500000000000000" pitchFamily="2" charset="0"/>
                <a:cs typeface="Poppins" panose="00000500000000000000" pitchFamily="2" charset="0"/>
              </a:rPr>
              <a:t>Data gathering</a:t>
            </a:r>
          </a:p>
          <a:p>
            <a:r>
              <a:rPr lang="en-US">
                <a:solidFill>
                  <a:srgbClr val="304258"/>
                </a:solidFill>
                <a:latin typeface="Poppins" panose="00000500000000000000" pitchFamily="2" charset="0"/>
                <a:cs typeface="Poppins" panose="00000500000000000000" pitchFamily="2" charset="0"/>
              </a:rPr>
              <a:t>Analysis structuring and execution</a:t>
            </a:r>
          </a:p>
          <a:p>
            <a:r>
              <a:rPr lang="en-US">
                <a:solidFill>
                  <a:srgbClr val="304258"/>
                </a:solidFill>
                <a:latin typeface="Poppins" panose="00000500000000000000" pitchFamily="2" charset="0"/>
                <a:cs typeface="Poppins" panose="00000500000000000000" pitchFamily="2" charset="0"/>
              </a:rPr>
              <a:t>Technical expertise</a:t>
            </a:r>
          </a:p>
          <a:p>
            <a:r>
              <a:rPr lang="en-US">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3764721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6383504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6234430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0145737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249232792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52967092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74492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26734308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19173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1597388327"/>
      </p:ext>
    </p:extLst>
  </p:cSld>
  <p:clrMapOvr>
    <a:masterClrMapping/>
  </p:clrMapOvr>
  <p:transition spd="slow" advTm="2000">
    <p:cover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Proposed</a:t>
            </a:r>
            <a:r>
              <a:rPr lang="es-CO" sz="1300" b="1">
                <a:solidFill>
                  <a:srgbClr val="FFFFFF"/>
                </a:solidFill>
                <a:latin typeface="+mj-lt"/>
              </a:rPr>
              <a:t> </a:t>
            </a:r>
            <a:r>
              <a:rPr lang="es-CO" sz="1300" b="1" err="1">
                <a:solidFill>
                  <a:srgbClr val="FFFFFF"/>
                </a:solidFill>
                <a:latin typeface="+mj-lt"/>
              </a:rPr>
              <a:t>investment</a:t>
            </a:r>
            <a:endParaRPr lang="es-CO" sz="1300" b="1">
              <a:solidFill>
                <a:srgbClr val="FFFFFF"/>
              </a:solidFill>
              <a:latin typeface="+mj-lt"/>
            </a:endParaRP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7" name="Isosceles Triangle 6">
            <a:extLst>
              <a:ext uri="{FF2B5EF4-FFF2-40B4-BE49-F238E27FC236}">
                <a16:creationId xmlns:a16="http://schemas.microsoft.com/office/drawing/2014/main" id="{33FE29B9-A305-81B5-E1A3-1B7BB8258339}"/>
              </a:ext>
            </a:extLst>
          </p:cNvPr>
          <p:cNvSpPr/>
          <p:nvPr/>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endParaRPr lang="es-CO"/>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endParaRPr lang="es-CO"/>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 name="Rectangle 17">
            <a:extLst>
              <a:ext uri="{FF2B5EF4-FFF2-40B4-BE49-F238E27FC236}">
                <a16:creationId xmlns:a16="http://schemas.microsoft.com/office/drawing/2014/main" id="{49D80E92-CD8E-C093-BB0F-5D8BC75B8F48}"/>
              </a:ext>
            </a:extLst>
          </p:cNvPr>
          <p:cNvSpPr/>
          <p:nvPr/>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351176921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4956238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8104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16035558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552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5130641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181128623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22"/>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a:t>TÍTULO</a:t>
            </a:r>
          </a:p>
          <a:p>
            <a:r>
              <a:rPr lang="en-US"/>
              <a:t>  PROYECTO</a:t>
            </a:r>
          </a:p>
          <a:p>
            <a:pPr>
              <a:buFontTx/>
              <a:buNone/>
              <a:defRPr/>
            </a:pPr>
            <a:r>
              <a:rPr lang="en-US" sz="1800">
                <a:solidFill>
                  <a:srgbClr val="FFFFFF"/>
                </a:solidFill>
                <a:latin typeface="Poppins Light"/>
                <a:cs typeface="+mn-cs"/>
              </a:rPr>
              <a:t>         </a:t>
            </a:r>
            <a:r>
              <a:rPr lang="en-US" sz="1800" err="1">
                <a:solidFill>
                  <a:srgbClr val="FFFFFF"/>
                </a:solidFill>
                <a:latin typeface="Poppins Light"/>
                <a:cs typeface="+mn-cs"/>
              </a:rPr>
              <a:t>Descripción</a:t>
            </a:r>
            <a:endParaRPr lang="en-US" sz="1800">
              <a:solidFill>
                <a:srgbClr val="FFFFFF"/>
              </a:solidFill>
              <a:latin typeface="Poppins Light"/>
              <a:cs typeface="+mn-cs"/>
            </a:endParaRPr>
          </a:p>
          <a:p>
            <a:pPr>
              <a:defRPr/>
            </a:pPr>
            <a:r>
              <a:rPr lang="en-US" sz="1800">
                <a:solidFill>
                  <a:srgbClr val="D5B9FF"/>
                </a:solidFill>
                <a:latin typeface="Poppins Light"/>
                <a:cs typeface="+mn-cs"/>
              </a:rPr>
              <a:t>         Friday, March 22, 2024</a:t>
            </a:r>
            <a:endParaRPr lang="en-US" sz="1800">
              <a:solidFill>
                <a:srgbClr val="FFFFFF"/>
              </a:solidFill>
              <a:latin typeface="Poppins Light"/>
              <a:cs typeface="+mn-cs"/>
            </a:endParaRPr>
          </a:p>
          <a:p>
            <a:pPr>
              <a:buFontTx/>
              <a:buNone/>
              <a:defRPr/>
            </a:pPr>
            <a:endParaRPr lang="en-US" sz="1800">
              <a:solidFill>
                <a:srgbClr val="FFFFFF"/>
              </a:solidFill>
              <a:latin typeface="Poppins Light"/>
              <a:cs typeface="+mn-cs"/>
            </a:endParaRPr>
          </a:p>
          <a:p>
            <a:endParaRPr lang="en-US"/>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a:solidFill>
                <a:srgbClr val="D5B9FF"/>
              </a:solidFill>
            </a:endParaRPr>
          </a:p>
        </p:txBody>
      </p:sp>
      <p:sp>
        <p:nvSpPr>
          <p:cNvPr id="2" name="CuadroTexto 1">
            <a:extLst>
              <a:ext uri="{FF2B5EF4-FFF2-40B4-BE49-F238E27FC236}">
                <a16:creationId xmlns:a16="http://schemas.microsoft.com/office/drawing/2014/main" id="{67017BD7-AB31-38CC-4DE9-36A09F012734}"/>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err="1">
                <a:solidFill>
                  <a:schemeClr val="bg1"/>
                </a:solidFill>
                <a:effectLst/>
                <a:latin typeface="+mj-lt"/>
              </a:rPr>
              <a:t>andres@iotaimpact.com</a:t>
            </a:r>
            <a:endParaRPr lang="es-CO" i="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us</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latam</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l"/>
            <a:endParaRPr lang="es-CO">
              <a:solidFill>
                <a:schemeClr val="bg1"/>
              </a:solidFill>
            </a:endParaRPr>
          </a:p>
        </p:txBody>
      </p:sp>
      <p:pic>
        <p:nvPicPr>
          <p:cNvPr id="3" name="Imagen 2">
            <a:extLst>
              <a:ext uri="{FF2B5EF4-FFF2-40B4-BE49-F238E27FC236}">
                <a16:creationId xmlns:a16="http://schemas.microsoft.com/office/drawing/2014/main" id="{4741025A-CBAB-EEE5-0483-9393666D6C7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6131977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28240069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2436621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Marcador de fecha 3">
            <a:extLst>
              <a:ext uri="{FF2B5EF4-FFF2-40B4-BE49-F238E27FC236}">
                <a16:creationId xmlns:a16="http://schemas.microsoft.com/office/drawing/2014/main" id="{0FC0B111-A78C-D5A2-3DD6-625293704698}"/>
              </a:ext>
            </a:extLst>
          </p:cNvPr>
          <p:cNvSpPr>
            <a:spLocks noGrp="1"/>
          </p:cNvSpPr>
          <p:nvPr>
            <p:ph type="dt" sz="half" idx="10"/>
          </p:nvPr>
        </p:nvSpPr>
        <p:spPr>
          <a:xfrm>
            <a:off x="977064" y="5670960"/>
            <a:ext cx="3236717" cy="365125"/>
          </a:xfrm>
          <a:prstGeom prst="rect">
            <a:avLst/>
          </a:prstGeom>
        </p:spPr>
        <p:txBody>
          <a:bodyPr/>
          <a:lstStyle>
            <a:lvl1pPr marL="0" indent="0" algn="l">
              <a:buFont typeface="Arial" panose="020B0604020202020204" pitchFamily="34" charset="0"/>
              <a:buNone/>
              <a:defRPr b="1">
                <a:solidFill>
                  <a:schemeClr val="bg1"/>
                </a:solidFill>
              </a:defRPr>
            </a:lvl1pPr>
          </a:lstStyle>
          <a:p>
            <a:fld id="{A80612AF-EEE3-4F43-89C6-693985F10456}" type="datetime2">
              <a:rPr lang="es-CO" smtClean="0"/>
              <a:t>miércoles, 27 de noviembre de 2024</a:t>
            </a:fld>
            <a:endParaRPr lang="es-CO"/>
          </a:p>
        </p:txBody>
      </p:sp>
      <p:sp>
        <p:nvSpPr>
          <p:cNvPr id="5" name="Marcador de pie de página 4">
            <a:extLst>
              <a:ext uri="{FF2B5EF4-FFF2-40B4-BE49-F238E27FC236}">
                <a16:creationId xmlns:a16="http://schemas.microsoft.com/office/drawing/2014/main" id="{295D9352-9182-5B80-B0B8-FC189528FB6F}"/>
              </a:ext>
            </a:extLst>
          </p:cNvPr>
          <p:cNvSpPr>
            <a:spLocks noGrp="1"/>
          </p:cNvSpPr>
          <p:nvPr>
            <p:ph type="ftr" sz="quarter" idx="11"/>
          </p:nvPr>
        </p:nvSpPr>
        <p:spPr>
          <a:xfrm>
            <a:off x="977064" y="6209149"/>
            <a:ext cx="5985164" cy="365125"/>
          </a:xfrm>
          <a:prstGeom prst="rect">
            <a:avLst/>
          </a:prstGeom>
        </p:spPr>
        <p:txBody>
          <a:bodyPr/>
          <a:lstStyle>
            <a:lvl1pPr>
              <a:defRPr sz="800">
                <a:solidFill>
                  <a:schemeClr val="bg1"/>
                </a:solidFill>
              </a:defRPr>
            </a:lvl1pPr>
          </a:lstStyle>
          <a:p>
            <a:endParaRPr lang="es-CO"/>
          </a:p>
        </p:txBody>
      </p:sp>
      <p:sp>
        <p:nvSpPr>
          <p:cNvPr id="2" name="Picture Placeholder 3">
            <a:extLst>
              <a:ext uri="{FF2B5EF4-FFF2-40B4-BE49-F238E27FC236}">
                <a16:creationId xmlns:a16="http://schemas.microsoft.com/office/drawing/2014/main" id="{A55F2657-94D4-1A94-8F39-5699AC6AC56D}"/>
              </a:ext>
            </a:extLst>
          </p:cNvPr>
          <p:cNvSpPr>
            <a:spLocks noGrp="1"/>
          </p:cNvSpPr>
          <p:nvPr>
            <p:ph type="pic" sz="quarter" idx="12" hasCustomPrompt="1"/>
          </p:nvPr>
        </p:nvSpPr>
        <p:spPr>
          <a:xfrm>
            <a:off x="977064" y="4613564"/>
            <a:ext cx="1616507" cy="884332"/>
          </a:xfrm>
          <a:prstGeom prst="rect">
            <a:avLst/>
          </a:prstGeom>
          <a:solidFill>
            <a:srgbClr val="FFFFFF"/>
          </a:solidFill>
        </p:spPr>
        <p:txBody>
          <a:bodyPr anchor="ctr"/>
          <a:lstStyle>
            <a:lvl1pPr marL="0" indent="0" algn="ctr">
              <a:lnSpc>
                <a:spcPct val="100000"/>
              </a:lnSpc>
              <a:spcBef>
                <a:spcPts val="0"/>
              </a:spcBef>
              <a:buNone/>
              <a:defRPr/>
            </a:lvl1pPr>
          </a:lstStyle>
          <a:p>
            <a:r>
              <a:rPr lang="es-CO" err="1"/>
              <a:t>Insert</a:t>
            </a:r>
            <a:r>
              <a:rPr lang="es-CO"/>
              <a:t> Logo </a:t>
            </a:r>
            <a:r>
              <a:rPr lang="es-CO" err="1"/>
              <a:t>here</a:t>
            </a:r>
            <a:endParaRPr lang="es-CO"/>
          </a:p>
        </p:txBody>
      </p:sp>
    </p:spTree>
    <p:extLst>
      <p:ext uri="{BB962C8B-B14F-4D97-AF65-F5344CB8AC3E}">
        <p14:creationId xmlns:p14="http://schemas.microsoft.com/office/powerpoint/2010/main" val="28955610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preserve="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4694" y="1656525"/>
            <a:ext cx="5825255" cy="3882555"/>
          </a:xfrm>
          <a:prstGeom prst="rect">
            <a:avLst/>
          </a:prstGeom>
        </p:spPr>
      </p:pic>
    </p:spTree>
    <p:extLst>
      <p:ext uri="{BB962C8B-B14F-4D97-AF65-F5344CB8AC3E}">
        <p14:creationId xmlns:p14="http://schemas.microsoft.com/office/powerpoint/2010/main" val="40574337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41DAC8E-805E-F0F8-6D5C-9122FF403E26}"/>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376CAFCF-3C3C-E660-2314-BE458C2EED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44BF44AB-497E-D511-5591-65BA3C6A216E}"/>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3C6C5DFE-8FAD-3FE4-BEE8-0C657776F9F2}"/>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4918B1DB-93BB-BB90-90B5-8B5D7F89F602}"/>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406056821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328091384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F8ADB8-98B9-8857-059A-4DC7214DB96F}"/>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B23C294F-B85E-4A8B-7C22-5C2A1350F5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FAD0C093-3D97-F298-7D6D-23740E012110}"/>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91FF76F-E4BA-3AFB-FD34-15C38398A0FA}"/>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6117CE79-355E-4107-6283-C248D5FD4995}"/>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39268364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FEA1C8-3A3D-7163-3159-07B788BE574F}"/>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79C6014E-7CCD-CFAA-74B1-C2F03676D0CA}"/>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915D3472-5C68-A6E1-5FC9-4DFA1DEE3A5F}"/>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8E9622E4-FC05-F489-B53D-D23EEC7A1CAC}"/>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6" name="Marcador de pie de página 5">
            <a:extLst>
              <a:ext uri="{FF2B5EF4-FFF2-40B4-BE49-F238E27FC236}">
                <a16:creationId xmlns:a16="http://schemas.microsoft.com/office/drawing/2014/main" id="{D4E847F5-5DE1-7354-DBE8-3352ED7B9A4D}"/>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DDB38B45-0F2F-3562-72DF-66A4AE57F0FF}"/>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16399171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5BCA4A1-3DB8-BFC1-B533-A7DA451B751E}"/>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CCDE2ECA-9AD5-FC7B-E65C-DAB552D3C8F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AA58B10A-D605-C4B1-ED8F-0F8DFACF58E7}"/>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id="{0F1E5184-A688-81AA-B26F-6D02D57D19B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63C8B962-326F-386F-D22C-828C662361AF}"/>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id="{8B43ED23-5820-6E44-406E-6D8921559B31}"/>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8" name="Marcador de pie de página 7">
            <a:extLst>
              <a:ext uri="{FF2B5EF4-FFF2-40B4-BE49-F238E27FC236}">
                <a16:creationId xmlns:a16="http://schemas.microsoft.com/office/drawing/2014/main" id="{350B352A-8412-DFFB-FFD8-5C320E871E5E}"/>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id="{E304E50A-3613-BBE3-634E-3469B2BD5984}"/>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38901574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96D0811-E17D-7222-E0C5-1419836FCBA0}"/>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50E6B1C3-6FC9-58D6-BCDE-3252A8F0B2D6}"/>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4" name="Marcador de pie de página 3">
            <a:extLst>
              <a:ext uri="{FF2B5EF4-FFF2-40B4-BE49-F238E27FC236}">
                <a16:creationId xmlns:a16="http://schemas.microsoft.com/office/drawing/2014/main" id="{9D063551-C977-DF0A-466B-CEF4A7623463}"/>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8685D24C-AE55-0D50-B11D-D4B427795B2C}"/>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262702996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63F91224-D9E2-C478-B604-3F24CF34CF97}"/>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3" name="Marcador de pie de página 2">
            <a:extLst>
              <a:ext uri="{FF2B5EF4-FFF2-40B4-BE49-F238E27FC236}">
                <a16:creationId xmlns:a16="http://schemas.microsoft.com/office/drawing/2014/main" id="{0D6C023B-2F54-A922-06DA-9AF2EA8C3AFF}"/>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DE23B04D-2619-C6BA-8D19-771572E3EFF1}"/>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1617184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2120F9-0413-F8AA-92EF-ABE9790FE3C9}"/>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AAB1305-F1AA-242B-78D0-728333BD04D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A71B0BDD-0F13-C207-3363-616331F957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A6758D63-1B5C-1560-DB37-B9C8487FF605}"/>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6" name="Marcador de pie de página 5">
            <a:extLst>
              <a:ext uri="{FF2B5EF4-FFF2-40B4-BE49-F238E27FC236}">
                <a16:creationId xmlns:a16="http://schemas.microsoft.com/office/drawing/2014/main" id="{BE648E9B-AB43-20DE-3034-7C1AF9F9B558}"/>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97087DB0-151F-E1D1-29DE-6B99EE355E18}"/>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34281901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BE526B0-9349-B17D-287F-B6898704D222}"/>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id="{0D1B845F-6B7D-9FC9-AB67-A445B3E7B54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a:p>
        </p:txBody>
      </p:sp>
      <p:sp>
        <p:nvSpPr>
          <p:cNvPr id="4" name="Marcador de texto 3">
            <a:extLst>
              <a:ext uri="{FF2B5EF4-FFF2-40B4-BE49-F238E27FC236}">
                <a16:creationId xmlns:a16="http://schemas.microsoft.com/office/drawing/2014/main" id="{90084474-24C0-9BE7-F2D2-EEAA04F004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AA01C33C-155C-559D-E877-02CD772A8F38}"/>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6" name="Marcador de pie de página 5">
            <a:extLst>
              <a:ext uri="{FF2B5EF4-FFF2-40B4-BE49-F238E27FC236}">
                <a16:creationId xmlns:a16="http://schemas.microsoft.com/office/drawing/2014/main" id="{C66B352C-C920-66EF-B59C-ED279DEE8AD7}"/>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42D71AFB-64D4-69BC-93F6-36062F5EB70D}"/>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39506139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4B3FBA2-3A60-9EF5-4611-54E8E19226BF}"/>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FF2EB573-EE54-CAF8-5AD0-5D84FE0672D3}"/>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11EE9154-F187-C477-F350-B579E45DD520}"/>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87C17C38-509F-43BB-EA20-83BDD66BF854}"/>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06BD9D9F-2A92-7096-8CB4-37B7FE928D67}"/>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2758821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54695" y="1143992"/>
            <a:ext cx="117325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54694" y="78619"/>
            <a:ext cx="11732506" cy="798836"/>
          </a:xfrm>
          <a:prstGeom prst="rect">
            <a:avLst/>
          </a:prstGeom>
        </p:spPr>
        <p:txBody>
          <a:bodyP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14" name="Text Placeholder 13">
            <a:extLst>
              <a:ext uri="{FF2B5EF4-FFF2-40B4-BE49-F238E27FC236}">
                <a16:creationId xmlns:a16="http://schemas.microsoft.com/office/drawing/2014/main" id="{E7C3FE4E-72CB-63EA-E56E-CD22A2A0DE87}"/>
              </a:ext>
            </a:extLst>
          </p:cNvPr>
          <p:cNvSpPr>
            <a:spLocks noGrp="1"/>
          </p:cNvSpPr>
          <p:nvPr>
            <p:ph type="body" sz="quarter" idx="10" hasCustomPrompt="1"/>
          </p:nvPr>
        </p:nvSpPr>
        <p:spPr>
          <a:xfrm>
            <a:off x="153987" y="6363855"/>
            <a:ext cx="10079903" cy="494145"/>
          </a:xfrm>
          <a:prstGeom prst="rect">
            <a:avLst/>
          </a:prstGeom>
        </p:spPr>
        <p:txBody>
          <a:bodyPr anchor="ctr"/>
          <a:lstStyle>
            <a:lvl1pPr algn="l">
              <a:defRPr/>
            </a:lvl1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419521958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5A775048-75C3-AB1F-617C-3A8F55A4E37D}"/>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4186B17C-CD8B-9B6D-A2BF-9F090398BD0B}"/>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1C74309-2A84-EC2F-49F2-7E78AD61BD60}"/>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6666F398-42A8-D99A-FCE7-B18D54F44272}"/>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E98AE302-728F-93D7-BAC8-AAFBB7690D8F}"/>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12936153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92136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20969972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1877377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77797426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421152107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46667130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26095342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rgbClr val="304258"/>
                </a:solidFill>
                <a:latin typeface="Poppins" panose="00000500000000000000" pitchFamily="2" charset="0"/>
                <a:cs typeface="Poppins" panose="00000500000000000000" pitchFamily="2" charset="0"/>
              </a:rPr>
              <a:t>Data gathering</a:t>
            </a:r>
          </a:p>
          <a:p>
            <a:r>
              <a:rPr lang="en-US">
                <a:solidFill>
                  <a:srgbClr val="304258"/>
                </a:solidFill>
                <a:latin typeface="Poppins" panose="00000500000000000000" pitchFamily="2" charset="0"/>
                <a:cs typeface="Poppins" panose="00000500000000000000" pitchFamily="2" charset="0"/>
              </a:rPr>
              <a:t>Analysis structuring and execution</a:t>
            </a:r>
          </a:p>
          <a:p>
            <a:r>
              <a:rPr lang="en-US">
                <a:solidFill>
                  <a:srgbClr val="304258"/>
                </a:solidFill>
                <a:latin typeface="Poppins" panose="00000500000000000000" pitchFamily="2" charset="0"/>
                <a:cs typeface="Poppins" panose="00000500000000000000" pitchFamily="2" charset="0"/>
              </a:rPr>
              <a:t>Technical expertise</a:t>
            </a:r>
          </a:p>
          <a:p>
            <a:r>
              <a:rPr lang="en-US">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08628596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0176561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90911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293166" y="804874"/>
            <a:ext cx="2463994" cy="1325563"/>
          </a:xfrm>
          <a:prstGeom prst="rect">
            <a:avLst/>
          </a:prstGeo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4" name="Footer Placeholder 3"/>
          <p:cNvSpPr>
            <a:spLocks noGrp="1"/>
          </p:cNvSpPr>
          <p:nvPr>
            <p:ph type="ftr" sz="quarter" idx="11"/>
          </p:nvPr>
        </p:nvSpPr>
        <p:spPr/>
        <p:txBody>
          <a:bodyPr/>
          <a:lstStyle>
            <a:lvl1pPr>
              <a:defRPr>
                <a:latin typeface="Poppins" panose="00000500000000000000" pitchFamily="2" charset="0"/>
              </a:defRPr>
            </a:lvl1pPr>
          </a:lstStyle>
          <a:p>
            <a:endParaRPr lang="es-CO"/>
          </a:p>
        </p:txBody>
      </p:sp>
      <p:sp>
        <p:nvSpPr>
          <p:cNvPr id="5" name="Slide Number Placeholder 4"/>
          <p:cNvSpPr>
            <a:spLocks noGrp="1"/>
          </p:cNvSpPr>
          <p:nvPr>
            <p:ph type="sldNum" sz="quarter" idx="12"/>
          </p:nvPr>
        </p:nvSpPr>
        <p:spPr/>
        <p:txBody>
          <a:bodyPr vert="horz" anchor="ctr" anchorCtr="0"/>
          <a:lstStyle>
            <a:lvl1pPr algn="r">
              <a:defRPr sz="900">
                <a:solidFill>
                  <a:srgbClr val="004454"/>
                </a:solidFill>
                <a:latin typeface="Poppins" panose="00000500000000000000" pitchFamily="2" charset="0"/>
              </a:defRPr>
            </a:lvl1pPr>
          </a:lstStyle>
          <a:p>
            <a:fld id="{892EE196-DDA1-41FD-83E0-096904DE06E3}" type="slidenum">
              <a:rPr lang="es-CO" smtClean="0"/>
              <a:pPr/>
              <a:t>‹#›</a:t>
            </a:fld>
            <a:endParaRPr lang="es-CO"/>
          </a:p>
        </p:txBody>
      </p:sp>
    </p:spTree>
    <p:extLst>
      <p:ext uri="{BB962C8B-B14F-4D97-AF65-F5344CB8AC3E}">
        <p14:creationId xmlns:p14="http://schemas.microsoft.com/office/powerpoint/2010/main" val="99161505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78127333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37878508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391005696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234951616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3841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38533663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85496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112239468"/>
      </p:ext>
    </p:extLst>
  </p:cSld>
  <p:clrMapOvr>
    <a:masterClrMapping/>
  </p:clrMapOvr>
  <p:transition spd="slow" advTm="2000">
    <p:cover dir="d"/>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21969469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23870425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925C-7845-4EE2-A88F-20F57FE70D02}"/>
              </a:ext>
            </a:extLst>
          </p:cNvPr>
          <p:cNvSpPr>
            <a:spLocks noGrp="1"/>
          </p:cNvSpPr>
          <p:nvPr>
            <p:ph type="title" hasCustomPrompt="1"/>
          </p:nvPr>
        </p:nvSpPr>
        <p:spPr>
          <a:xfrm>
            <a:off x="71686" y="0"/>
            <a:ext cx="11991975" cy="1152345"/>
          </a:xfrm>
          <a:prstGeom prst="rect">
            <a:avLst/>
          </a:prstGeom>
        </p:spPr>
        <p:txBody>
          <a:bodyPr/>
          <a:lstStyle>
            <a:lvl1pPr>
              <a:defRPr sz="2400" b="1">
                <a:solidFill>
                  <a:schemeClr val="accent4"/>
                </a:solidFill>
              </a:defRPr>
            </a:lvl1pP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71687" y="1393371"/>
            <a:ext cx="11991975" cy="4783592"/>
          </a:xfrm>
          <a:prstGeom prst="rect">
            <a:avLst/>
          </a:prstGeom>
        </p:spPr>
        <p:txBody>
          <a:bodyPr/>
          <a:lstStyle>
            <a:lvl1pPr>
              <a:defRPr>
                <a:solidFill>
                  <a:schemeClr val="tx1"/>
                </a:solidFill>
              </a:defRPr>
            </a:lvl1pPr>
            <a:lvl2pPr>
              <a:defRPr>
                <a:solidFill>
                  <a:schemeClr val="tx1"/>
                </a:solidFill>
                <a:latin typeface="Poppins" panose="00000500000000000000" pitchFamily="2" charset="0"/>
              </a:defRPr>
            </a:lvl2pPr>
            <a:lvl3pPr>
              <a:defRPr>
                <a:solidFill>
                  <a:schemeClr val="tx1"/>
                </a:solidFill>
                <a:latin typeface="Poppins" panose="00000500000000000000" pitchFamily="2" charset="0"/>
              </a:defRPr>
            </a:lvl3pPr>
            <a:lvl4pPr marL="1371600" indent="0">
              <a:buNone/>
              <a:defRPr>
                <a:solidFill>
                  <a:schemeClr val="tx1"/>
                </a:solidFill>
                <a:latin typeface="Poppins" panose="00000500000000000000" pitchFamily="2" charset="0"/>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6" name="Slide Number Placeholder 5">
            <a:extLst>
              <a:ext uri="{FF2B5EF4-FFF2-40B4-BE49-F238E27FC236}">
                <a16:creationId xmlns:a16="http://schemas.microsoft.com/office/drawing/2014/main" id="{55E422A2-8C74-45BD-A87E-80FB938061CF}"/>
              </a:ext>
            </a:extLst>
          </p:cNvPr>
          <p:cNvSpPr>
            <a:spLocks noGrp="1"/>
          </p:cNvSpPr>
          <p:nvPr>
            <p:ph type="sldNum" sz="quarter" idx="12"/>
          </p:nvPr>
        </p:nvSpPr>
        <p:spPr>
          <a:xfrm>
            <a:off x="11502189" y="6356350"/>
            <a:ext cx="561474" cy="501650"/>
          </a:xfrm>
          <a:prstGeom prst="rect">
            <a:avLst/>
          </a:prstGeom>
        </p:spPr>
        <p:txBody>
          <a:bodyPr/>
          <a:lstStyle>
            <a:lvl1pPr>
              <a:defRPr>
                <a:latin typeface="Poppins" panose="00000500000000000000" pitchFamily="2" charset="0"/>
              </a:defRPr>
            </a:lvl1pPr>
          </a:lstStyle>
          <a:p>
            <a:fld id="{45DD850A-48CF-4963-9607-58D982076C8A}" type="slidenum">
              <a:rPr lang="es-CO" smtClean="0"/>
              <a:pPr/>
              <a:t>‹#›</a:t>
            </a:fld>
            <a:endParaRPr lang="es-CO"/>
          </a:p>
        </p:txBody>
      </p:sp>
      <p:sp>
        <p:nvSpPr>
          <p:cNvPr id="9" name="Content Placeholder 2">
            <a:extLst>
              <a:ext uri="{FF2B5EF4-FFF2-40B4-BE49-F238E27FC236}">
                <a16:creationId xmlns:a16="http://schemas.microsoft.com/office/drawing/2014/main" id="{7E1EF5F8-9AD9-4FA5-8593-375C2F92D645}"/>
              </a:ext>
            </a:extLst>
          </p:cNvPr>
          <p:cNvSpPr>
            <a:spLocks noGrp="1"/>
          </p:cNvSpPr>
          <p:nvPr>
            <p:ph idx="11" hasCustomPrompt="1"/>
          </p:nvPr>
        </p:nvSpPr>
        <p:spPr>
          <a:xfrm>
            <a:off x="1254071" y="6356350"/>
            <a:ext cx="10099729" cy="482194"/>
          </a:xfrm>
          <a:prstGeom prst="rect">
            <a:avLst/>
          </a:prstGeom>
        </p:spPr>
        <p:txBody>
          <a:bodyPr anchor="ctr"/>
          <a:lstStyle>
            <a:lvl1pPr>
              <a:buNone/>
              <a:defRPr sz="900" i="1">
                <a:solidFill>
                  <a:schemeClr val="tx2"/>
                </a:solidFill>
              </a:defRPr>
            </a:lvl1pPr>
            <a:lvl2pPr>
              <a:defRPr sz="2400"/>
            </a:lvl2pPr>
            <a:lvl3pPr>
              <a:defRPr sz="2400"/>
            </a:lvl3pPr>
            <a:lvl4pPr marL="1371600" indent="0">
              <a:buNone/>
              <a:defRPr/>
            </a:lvl4pPr>
          </a:lstStyle>
          <a:p>
            <a:pPr lvl="0"/>
            <a:r>
              <a:rPr lang="es-CO"/>
              <a:t>Click </a:t>
            </a:r>
            <a:r>
              <a:rPr lang="es-CO" err="1"/>
              <a:t>to</a:t>
            </a:r>
            <a:r>
              <a:rPr lang="es-CO"/>
              <a:t> </a:t>
            </a:r>
            <a:r>
              <a:rPr lang="es-CO" err="1"/>
              <a:t>edit</a:t>
            </a:r>
            <a:r>
              <a:rPr lang="es-CO"/>
              <a:t> </a:t>
            </a:r>
            <a:r>
              <a:rPr lang="es-CO" err="1"/>
              <a:t>footnotes</a:t>
            </a:r>
            <a:endParaRPr lang="es-CO"/>
          </a:p>
        </p:txBody>
      </p:sp>
    </p:spTree>
    <p:extLst>
      <p:ext uri="{BB962C8B-B14F-4D97-AF65-F5344CB8AC3E}">
        <p14:creationId xmlns:p14="http://schemas.microsoft.com/office/powerpoint/2010/main" val="4270370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69066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2189358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265697834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4F073F8-607F-1F0D-1F94-DE173FD35D1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84150" y="-465138"/>
            <a:ext cx="1447800" cy="2762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D83F68A5-56D2-50A6-B45C-4697020590E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58950" y="-465138"/>
            <a:ext cx="3209925" cy="971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7360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2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44289787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3970"/>
            <a:ext cx="12192000" cy="6858000"/>
          </a:xfrm>
          <a:prstGeom prst="rect">
            <a:avLst/>
          </a:prstGeom>
        </p:spPr>
      </p:pic>
      <p:pic>
        <p:nvPicPr>
          <p:cNvPr id="2" name="Imagen 1">
            <a:extLst>
              <a:ext uri="{FF2B5EF4-FFF2-40B4-BE49-F238E27FC236}">
                <a16:creationId xmlns:a16="http://schemas.microsoft.com/office/drawing/2014/main" id="{66CBDFF5-B742-7C26-43F0-E23B8768C35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80380" y="439955"/>
            <a:ext cx="2788158" cy="912281"/>
          </a:xfrm>
          <a:prstGeom prst="rect">
            <a:avLst/>
          </a:prstGeom>
        </p:spPr>
      </p:pic>
      <p:sp>
        <p:nvSpPr>
          <p:cNvPr id="3" name="CuadroTexto 2">
            <a:extLst>
              <a:ext uri="{FF2B5EF4-FFF2-40B4-BE49-F238E27FC236}">
                <a16:creationId xmlns:a16="http://schemas.microsoft.com/office/drawing/2014/main" id="{4EC85468-6DD4-AB84-8BE4-2C23EFB7F5E6}"/>
              </a:ext>
            </a:extLst>
          </p:cNvPr>
          <p:cNvSpPr txBox="1"/>
          <p:nvPr userDrawn="1"/>
        </p:nvSpPr>
        <p:spPr>
          <a:xfrm>
            <a:off x="785191" y="1868557"/>
            <a:ext cx="5764696" cy="2677656"/>
          </a:xfrm>
          <a:prstGeom prst="rect">
            <a:avLst/>
          </a:prstGeom>
          <a:noFill/>
        </p:spPr>
        <p:txBody>
          <a:bodyPr wrap="square" rtlCol="0">
            <a:spAutoFit/>
          </a:bodyPr>
          <a:lstStyle/>
          <a:p>
            <a:pPr algn="l"/>
            <a:r>
              <a:rPr lang="es-CO" sz="1800" b="0" i="0">
                <a:solidFill>
                  <a:srgbClr val="000000"/>
                </a:solidFill>
                <a:effectLst/>
                <a:highlight>
                  <a:srgbClr val="EDEBE9"/>
                </a:highlight>
                <a:latin typeface="Poppins" pitchFamily="2" charset="77"/>
              </a:rPr>
              <a:t>​</a:t>
            </a:r>
            <a:r>
              <a:rPr lang="es-CO" sz="4400" b="1" i="0" err="1">
                <a:solidFill>
                  <a:schemeClr val="bg1"/>
                </a:solidFill>
                <a:latin typeface="Poppins" pitchFamily="2" charset="77"/>
                <a:cs typeface="Poppins" pitchFamily="2" charset="77"/>
              </a:rPr>
              <a:t>Let’s</a:t>
            </a:r>
            <a:r>
              <a:rPr lang="es-CO" sz="4400" b="1" i="0">
                <a:solidFill>
                  <a:schemeClr val="bg1"/>
                </a:solidFill>
                <a:latin typeface="Poppins" pitchFamily="2" charset="77"/>
                <a:cs typeface="Poppins" pitchFamily="2" charset="77"/>
              </a:rPr>
              <a:t> Future-</a:t>
            </a:r>
            <a:r>
              <a:rPr lang="es-CO" sz="4400" b="1" i="0" err="1">
                <a:solidFill>
                  <a:schemeClr val="bg1"/>
                </a:solidFill>
                <a:latin typeface="Poppins" pitchFamily="2" charset="77"/>
                <a:cs typeface="Poppins" pitchFamily="2" charset="77"/>
              </a:rPr>
              <a:t>Proof</a:t>
            </a:r>
            <a:endParaRPr lang="es-CO" sz="4400" b="1" i="0">
              <a:solidFill>
                <a:schemeClr val="bg1"/>
              </a:solidFill>
              <a:latin typeface="Poppins" pitchFamily="2" charset="77"/>
              <a:cs typeface="Poppins" pitchFamily="2" charset="77"/>
            </a:endParaRPr>
          </a:p>
          <a:p>
            <a:pPr algn="l"/>
            <a:r>
              <a:rPr lang="es-CO" sz="4400" b="1" i="0" err="1">
                <a:solidFill>
                  <a:schemeClr val="bg1"/>
                </a:solidFill>
                <a:latin typeface="Poppins" pitchFamily="2" charset="77"/>
                <a:cs typeface="Poppins" pitchFamily="2" charset="77"/>
              </a:rPr>
              <a:t>Your</a:t>
            </a:r>
            <a:r>
              <a:rPr lang="es-CO" sz="4400" b="1" i="0">
                <a:solidFill>
                  <a:schemeClr val="bg1"/>
                </a:solidFill>
                <a:latin typeface="Poppins" pitchFamily="2" charset="77"/>
                <a:cs typeface="Poppins" pitchFamily="2" charset="77"/>
              </a:rPr>
              <a:t> Business.​</a:t>
            </a:r>
            <a:br>
              <a:rPr lang="es-CO" sz="4400" b="1" i="0">
                <a:solidFill>
                  <a:schemeClr val="bg1"/>
                </a:solidFill>
                <a:latin typeface="Poppins" pitchFamily="2" charset="77"/>
                <a:cs typeface="Poppins" pitchFamily="2" charset="77"/>
              </a:rPr>
            </a:br>
            <a:r>
              <a:rPr lang="es-CO" sz="4400" b="1" i="0">
                <a:solidFill>
                  <a:schemeClr val="bg1"/>
                </a:solidFill>
                <a:latin typeface="Poppins" pitchFamily="2" charset="77"/>
                <a:cs typeface="Poppins" pitchFamily="2" charset="77"/>
              </a:rPr>
              <a:t>​</a:t>
            </a:r>
            <a:br>
              <a:rPr lang="es-CO" b="0" i="0">
                <a:solidFill>
                  <a:srgbClr val="FFFFFF"/>
                </a:solidFill>
                <a:effectLst/>
                <a:highlight>
                  <a:srgbClr val="212121"/>
                </a:highlight>
                <a:latin typeface="Söhne"/>
              </a:rPr>
            </a:br>
            <a:endParaRPr lang="es-CO" b="0" i="0">
              <a:solidFill>
                <a:srgbClr val="FFFFFF"/>
              </a:solidFill>
              <a:effectLst/>
              <a:highlight>
                <a:srgbClr val="212121"/>
              </a:highlight>
              <a:latin typeface="Söhne"/>
            </a:endParaRPr>
          </a:p>
          <a:p>
            <a:endParaRPr lang="es-CO"/>
          </a:p>
        </p:txBody>
      </p:sp>
      <p:sp>
        <p:nvSpPr>
          <p:cNvPr id="4" name="Marcador de fecha 3">
            <a:extLst>
              <a:ext uri="{FF2B5EF4-FFF2-40B4-BE49-F238E27FC236}">
                <a16:creationId xmlns:a16="http://schemas.microsoft.com/office/drawing/2014/main" id="{368839BF-B971-796D-8913-D6A1D19A7239}"/>
              </a:ext>
            </a:extLst>
          </p:cNvPr>
          <p:cNvSpPr txBox="1">
            <a:spLocks/>
          </p:cNvSpPr>
          <p:nvPr userDrawn="1"/>
        </p:nvSpPr>
        <p:spPr>
          <a:xfrm>
            <a:off x="785191" y="3429000"/>
            <a:ext cx="6378685"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r>
              <a:rPr lang="en-US" sz="1800" b="0" i="0" u="none" strike="noStrike">
                <a:solidFill>
                  <a:srgbClr val="FFFFFF"/>
                </a:solidFill>
                <a:effectLst/>
                <a:latin typeface="Poppins" pitchFamily="2" charset="77"/>
              </a:rPr>
              <a:t>CUTTING-EDGE RESEARCH</a:t>
            </a:r>
            <a:r>
              <a:rPr lang="en-US" sz="1800" b="0" i="0">
                <a:solidFill>
                  <a:srgbClr val="000000"/>
                </a:solidFill>
                <a:effectLst/>
                <a:latin typeface="Poppins" pitchFamily="2" charset="77"/>
              </a:rPr>
              <a:t>​</a:t>
            </a:r>
            <a:endParaRPr lang="en-US" b="0" i="0">
              <a:solidFill>
                <a:srgbClr val="000000"/>
              </a:solidFill>
              <a:effectLst/>
              <a:latin typeface="Segoe UI" panose="020B0502040204020203" pitchFamily="34" charset="0"/>
            </a:endParaRPr>
          </a:p>
          <a:p>
            <a:pPr algn="l" rtl="0" fontAlgn="base"/>
            <a:r>
              <a:rPr lang="en-US" sz="1800" b="0" i="0" u="none" strike="noStrike">
                <a:solidFill>
                  <a:srgbClr val="FFFFFF"/>
                </a:solidFill>
                <a:effectLst/>
                <a:latin typeface="Poppins" pitchFamily="2" charset="77"/>
              </a:rPr>
              <a:t>&amp; CONSULTING SOLUTIONS.</a:t>
            </a:r>
            <a:endParaRPr lang="en-US" b="0" i="0">
              <a:solidFill>
                <a:srgbClr val="000000"/>
              </a:solidFill>
              <a:effectLst/>
              <a:latin typeface="Segoe UI" panose="020B0502040204020203" pitchFamily="34" charset="0"/>
            </a:endParaRPr>
          </a:p>
        </p:txBody>
      </p:sp>
      <p:sp>
        <p:nvSpPr>
          <p:cNvPr id="5" name="CuadroTexto 4">
            <a:extLst>
              <a:ext uri="{FF2B5EF4-FFF2-40B4-BE49-F238E27FC236}">
                <a16:creationId xmlns:a16="http://schemas.microsoft.com/office/drawing/2014/main" id="{AF67E6AD-30BB-1951-6E76-DB9EC75D5535}"/>
              </a:ext>
            </a:extLst>
          </p:cNvPr>
          <p:cNvSpPr txBox="1"/>
          <p:nvPr userDrawn="1"/>
        </p:nvSpPr>
        <p:spPr>
          <a:xfrm>
            <a:off x="785191" y="4914571"/>
            <a:ext cx="5780049" cy="1923604"/>
          </a:xfrm>
          <a:prstGeom prst="rect">
            <a:avLst/>
          </a:prstGeom>
          <a:noFill/>
        </p:spPr>
        <p:txBody>
          <a:bodyPr wrap="square" rtlCol="0">
            <a:spAutoFit/>
          </a:bodyPr>
          <a:lstStyle/>
          <a:p>
            <a:pPr algn="l"/>
            <a:r>
              <a:rPr lang="es-CO" sz="2800" b="1" i="0" u="none">
                <a:solidFill>
                  <a:schemeClr val="bg1"/>
                </a:solidFill>
                <a:effectLst/>
                <a:latin typeface="Poppins Medium" pitchFamily="2" charset="77"/>
                <a:cs typeface="Poppins Medium" pitchFamily="2" charset="77"/>
                <a:hlinkClick r:id="rId5">
                  <a:extLst>
                    <a:ext uri="{A12FA001-AC4F-418D-AE19-62706E023703}">
                      <ahyp:hlinkClr xmlns:ahyp="http://schemas.microsoft.com/office/drawing/2018/hyperlinkcolor" val="tx"/>
                    </a:ext>
                  </a:extLst>
                </a:hlinkClick>
              </a:rPr>
              <a:t>www.iotaimpact.com</a:t>
            </a:r>
            <a:endParaRPr lang="es-CO" sz="2800" b="1" i="0" u="none">
              <a:solidFill>
                <a:schemeClr val="bg1"/>
              </a:solidFill>
              <a:effectLst/>
              <a:latin typeface="Poppins Medium" pitchFamily="2" charset="77"/>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1" err="1">
                <a:solidFill>
                  <a:schemeClr val="bg1"/>
                </a:solidFill>
                <a:effectLst/>
                <a:latin typeface="Helvetica" pitchFamily="2" charset="0"/>
              </a:rPr>
              <a:t>natalia.iragorri@iotaimpact.com</a:t>
            </a:r>
            <a:endParaRPr lang="es-CO" i="1">
              <a:solidFill>
                <a:schemeClr val="bg1"/>
              </a:solidFill>
              <a:effectLst/>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us</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latam</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Helvetica" pitchFamily="2" charset="0"/>
              </a:rPr>
              <a:t>Confidential</a:t>
            </a:r>
            <a:r>
              <a:rPr lang="es-CO" sz="900" i="1">
                <a:solidFill>
                  <a:schemeClr val="bg1"/>
                </a:solidFill>
                <a:effectLst/>
                <a:latin typeface="Helvetica" pitchFamily="2" charset="0"/>
              </a:rPr>
              <a:t> and </a:t>
            </a:r>
            <a:r>
              <a:rPr lang="es-CO" sz="900" i="1" err="1">
                <a:solidFill>
                  <a:schemeClr val="bg1"/>
                </a:solidFill>
                <a:effectLst/>
                <a:latin typeface="Helvetica" pitchFamily="2" charset="0"/>
              </a:rPr>
              <a:t>proprietary</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Not</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for</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distribution</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without</a:t>
            </a:r>
            <a:r>
              <a:rPr lang="es-CO" sz="900" i="1">
                <a:solidFill>
                  <a:schemeClr val="bg1"/>
                </a:solidFill>
                <a:effectLst/>
                <a:latin typeface="Helvetica" pitchFamily="2" charset="0"/>
              </a:rPr>
              <a:t> IOTA </a:t>
            </a:r>
            <a:r>
              <a:rPr lang="es-CO" sz="900" i="1" err="1">
                <a:solidFill>
                  <a:schemeClr val="bg1"/>
                </a:solidFill>
                <a:effectLst/>
                <a:latin typeface="Helvetica" pitchFamily="2" charset="0"/>
              </a:rPr>
              <a:t>Impact's</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permission</a:t>
            </a:r>
            <a:r>
              <a:rPr lang="es-CO" sz="900" i="1">
                <a:solidFill>
                  <a:schemeClr val="bg1"/>
                </a:solidFill>
                <a:effectLst/>
                <a:latin typeface="Helvetica" pitchFamily="2" charset="0"/>
              </a:rPr>
              <a:t>.</a:t>
            </a:r>
            <a:endParaRPr lang="es-CO" sz="900">
              <a:solidFill>
                <a:schemeClr val="bg1"/>
              </a:solidFill>
              <a:effectLst/>
              <a:latin typeface="Helvetica" pitchFamily="2" charset="0"/>
            </a:endParaRPr>
          </a:p>
          <a:p>
            <a:pPr algn="l"/>
            <a:endParaRPr lang="es-CO">
              <a:solidFill>
                <a:schemeClr val="bg1"/>
              </a:solidFill>
            </a:endParaRPr>
          </a:p>
        </p:txBody>
      </p:sp>
      <p:pic>
        <p:nvPicPr>
          <p:cNvPr id="7" name="Imagen 6">
            <a:extLst>
              <a:ext uri="{FF2B5EF4-FFF2-40B4-BE49-F238E27FC236}">
                <a16:creationId xmlns:a16="http://schemas.microsoft.com/office/drawing/2014/main" id="{8FA9289E-F056-6919-664D-D591E0A9E5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27392" y="5592954"/>
            <a:ext cx="668049" cy="668049"/>
          </a:xfrm>
          <a:prstGeom prst="rect">
            <a:avLst/>
          </a:prstGeom>
        </p:spPr>
      </p:pic>
    </p:spTree>
    <p:extLst>
      <p:ext uri="{BB962C8B-B14F-4D97-AF65-F5344CB8AC3E}">
        <p14:creationId xmlns:p14="http://schemas.microsoft.com/office/powerpoint/2010/main" val="319621620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57F68F58-6AE7-DC56-A37D-3815C5E7F4A8}"/>
              </a:ext>
            </a:extLst>
          </p:cNvPr>
          <p:cNvGrpSpPr/>
          <p:nvPr userDrawn="1"/>
        </p:nvGrpSpPr>
        <p:grpSpPr>
          <a:xfrm rot="10800000" flipH="1">
            <a:off x="0" y="0"/>
            <a:ext cx="12192000" cy="6858000"/>
            <a:chOff x="0" y="0"/>
            <a:chExt cx="12192000" cy="685800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riángulo isósceles 5">
              <a:extLst>
                <a:ext uri="{FF2B5EF4-FFF2-40B4-BE49-F238E27FC236}">
                  <a16:creationId xmlns:a16="http://schemas.microsoft.com/office/drawing/2014/main" id="{5D08758D-B65F-C4D9-0202-83F2697A2BD2}"/>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pic>
        <p:nvPicPr>
          <p:cNvPr id="9" name="Imagen 8">
            <a:extLst>
              <a:ext uri="{FF2B5EF4-FFF2-40B4-BE49-F238E27FC236}">
                <a16:creationId xmlns:a16="http://schemas.microsoft.com/office/drawing/2014/main" id="{470FC81E-4B4D-20E6-A72B-7910638D6DF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022" t="1053" b="1053"/>
          <a:stretch/>
        </p:blipFill>
        <p:spPr>
          <a:xfrm>
            <a:off x="-5628" y="-1"/>
            <a:ext cx="709114" cy="6858001"/>
          </a:xfrm>
          <a:prstGeom prst="rect">
            <a:avLst/>
          </a:prstGeom>
        </p:spPr>
      </p:pic>
      <p:sp>
        <p:nvSpPr>
          <p:cNvPr id="10" name="CuadroTexto 9">
            <a:extLst>
              <a:ext uri="{FF2B5EF4-FFF2-40B4-BE49-F238E27FC236}">
                <a16:creationId xmlns:a16="http://schemas.microsoft.com/office/drawing/2014/main" id="{C8033403-7F08-9211-C316-C13B7D1A4301}"/>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409732E0-8F75-F8FC-D7D1-81C5E727344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2" name="Imagen 11">
            <a:extLst>
              <a:ext uri="{FF2B5EF4-FFF2-40B4-BE49-F238E27FC236}">
                <a16:creationId xmlns:a16="http://schemas.microsoft.com/office/drawing/2014/main" id="{92CE866A-4594-C346-FA03-E9911CA511A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16200000">
            <a:off x="89626" y="6443501"/>
            <a:ext cx="403481" cy="546652"/>
          </a:xfrm>
          <a:prstGeom prst="rect">
            <a:avLst/>
          </a:prstGeom>
        </p:spPr>
      </p:pic>
      <p:pic>
        <p:nvPicPr>
          <p:cNvPr id="13" name="Imagen 12">
            <a:extLst>
              <a:ext uri="{FF2B5EF4-FFF2-40B4-BE49-F238E27FC236}">
                <a16:creationId xmlns:a16="http://schemas.microsoft.com/office/drawing/2014/main" id="{3270BB94-3A74-F305-B62E-478B6D5A7A4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a:off x="-31724" y="472704"/>
            <a:ext cx="761306" cy="346404"/>
          </a:xfrm>
          <a:prstGeom prst="rect">
            <a:avLst/>
          </a:prstGeom>
        </p:spPr>
      </p:pic>
    </p:spTree>
    <p:extLst>
      <p:ext uri="{BB962C8B-B14F-4D97-AF65-F5344CB8AC3E}">
        <p14:creationId xmlns:p14="http://schemas.microsoft.com/office/powerpoint/2010/main" val="328588608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57F68F58-6AE7-DC56-A37D-3815C5E7F4A8}"/>
              </a:ext>
            </a:extLst>
          </p:cNvPr>
          <p:cNvGrpSpPr/>
          <p:nvPr userDrawn="1"/>
        </p:nvGrpSpPr>
        <p:grpSpPr>
          <a:xfrm rot="10800000" flipH="1">
            <a:off x="0" y="0"/>
            <a:ext cx="12192000" cy="6858000"/>
            <a:chOff x="0" y="0"/>
            <a:chExt cx="12192000" cy="685800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riángulo isósceles 5">
              <a:extLst>
                <a:ext uri="{FF2B5EF4-FFF2-40B4-BE49-F238E27FC236}">
                  <a16:creationId xmlns:a16="http://schemas.microsoft.com/office/drawing/2014/main" id="{5D08758D-B65F-C4D9-0202-83F2697A2BD2}"/>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spTree>
    <p:extLst>
      <p:ext uri="{BB962C8B-B14F-4D97-AF65-F5344CB8AC3E}">
        <p14:creationId xmlns:p14="http://schemas.microsoft.com/office/powerpoint/2010/main" val="63921402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97737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1272584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37638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PhAnim="0" userDrawn="1">
  <p:cSld name="2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417075806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E5B75565-3A45-534B-9501-98CA1E1416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042" y="-16043"/>
            <a:ext cx="12405898" cy="6978317"/>
          </a:xfrm>
          <a:prstGeom prst="rect">
            <a:avLst/>
          </a:prstGeom>
        </p:spPr>
      </p:pic>
      <p:pic>
        <p:nvPicPr>
          <p:cNvPr id="9" name="Imagen 8">
            <a:extLst>
              <a:ext uri="{FF2B5EF4-FFF2-40B4-BE49-F238E27FC236}">
                <a16:creationId xmlns:a16="http://schemas.microsoft.com/office/drawing/2014/main" id="{2D854875-D85C-9045-AFF2-9892D3A97E6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9363"/>
          <a:stretch/>
        </p:blipFill>
        <p:spPr>
          <a:xfrm>
            <a:off x="10450693" y="6130885"/>
            <a:ext cx="1382046" cy="466208"/>
          </a:xfrm>
          <a:prstGeom prst="rect">
            <a:avLst/>
          </a:prstGeom>
        </p:spPr>
      </p:pic>
      <p:sp>
        <p:nvSpPr>
          <p:cNvPr id="10" name="Title 1">
            <a:extLst>
              <a:ext uri="{FF2B5EF4-FFF2-40B4-BE49-F238E27FC236}">
                <a16:creationId xmlns:a16="http://schemas.microsoft.com/office/drawing/2014/main" id="{94671BEA-721A-944E-9A84-F723FDD77FA9}"/>
              </a:ext>
            </a:extLst>
          </p:cNvPr>
          <p:cNvSpPr>
            <a:spLocks noGrp="1"/>
          </p:cNvSpPr>
          <p:nvPr>
            <p:ph type="title" hasCustomPrompt="1"/>
          </p:nvPr>
        </p:nvSpPr>
        <p:spPr>
          <a:xfrm>
            <a:off x="914401" y="1848855"/>
            <a:ext cx="10603832" cy="1822988"/>
          </a:xfrm>
          <a:noFill/>
        </p:spPr>
        <p:txBody>
          <a:bodyPr lIns="137160" tIns="137160" rIns="137160" bIns="137160" anchor="t" anchorCtr="0"/>
          <a:lstStyle>
            <a:lvl1pPr algn="ctr">
              <a:defRPr sz="6000" spc="-98" baseline="0">
                <a:solidFill>
                  <a:schemeClr val="accent2">
                    <a:lumMod val="40000"/>
                    <a:lumOff val="60000"/>
                  </a:schemeClr>
                </a:solidFill>
              </a:defRPr>
            </a:lvl1pPr>
          </a:lstStyle>
          <a:p>
            <a:r>
              <a:rPr lang="en-US"/>
              <a:t>Section title</a:t>
            </a:r>
          </a:p>
        </p:txBody>
      </p:sp>
    </p:spTree>
    <p:extLst>
      <p:ext uri="{BB962C8B-B14F-4D97-AF65-F5344CB8AC3E}">
        <p14:creationId xmlns:p14="http://schemas.microsoft.com/office/powerpoint/2010/main" val="14410767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terno Sección">
    <p:spTree>
      <p:nvGrpSpPr>
        <p:cNvPr id="1" name=""/>
        <p:cNvGrpSpPr/>
        <p:nvPr/>
      </p:nvGrpSpPr>
      <p:grpSpPr>
        <a:xfrm>
          <a:off x="0" y="0"/>
          <a:ext cx="0" cy="0"/>
          <a:chOff x="0" y="0"/>
          <a:chExt cx="0" cy="0"/>
        </a:xfrm>
      </p:grpSpPr>
      <p:sp>
        <p:nvSpPr>
          <p:cNvPr id="19" name="Marcador de número de diapositiva 5">
            <a:extLst>
              <a:ext uri="{FF2B5EF4-FFF2-40B4-BE49-F238E27FC236}">
                <a16:creationId xmlns:a16="http://schemas.microsoft.com/office/drawing/2014/main" id="{D4C435DB-248E-B8A7-87A1-4C4655C4CB71}"/>
              </a:ext>
            </a:extLst>
          </p:cNvPr>
          <p:cNvSpPr txBox="1">
            <a:spLocks/>
          </p:cNvSpPr>
          <p:nvPr userDrawn="1"/>
        </p:nvSpPr>
        <p:spPr>
          <a:xfrm>
            <a:off x="4775199" y="6452918"/>
            <a:ext cx="2743200" cy="365125"/>
          </a:xfrm>
          <a:prstGeom prst="rect">
            <a:avLst/>
          </a:prstGeom>
        </p:spPr>
        <p:txBody>
          <a:bodyPr anchor="t"/>
          <a:lstStyle>
            <a:defPPr>
              <a:defRPr lang="es-CO"/>
            </a:defPPr>
            <a:lvl1pPr marL="0" algn="l" defTabSz="914400" rtl="0" eaLnBrk="1" latinLnBrk="0" hangingPunct="1">
              <a:defRPr sz="1800" kern="1200">
                <a:solidFill>
                  <a:schemeClr val="bg1">
                    <a:lumMod val="9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4C6C1A2-A7E8-A349-BC65-CFD954CC74C7}" type="slidenum">
              <a:rPr lang="es-CO" sz="1000" smtClean="0">
                <a:solidFill>
                  <a:srgbClr val="9275FF"/>
                </a:solidFill>
                <a:latin typeface="Avenir Book" panose="02000503020000020003" pitchFamily="2" charset="0"/>
              </a:rPr>
              <a:pPr algn="ctr"/>
              <a:t>‹#›</a:t>
            </a:fld>
            <a:endParaRPr lang="es-CO" sz="1000">
              <a:solidFill>
                <a:srgbClr val="9275FF"/>
              </a:solidFill>
              <a:latin typeface="Avenir Book" panose="02000503020000020003" pitchFamily="2" charset="0"/>
            </a:endParaRPr>
          </a:p>
        </p:txBody>
      </p:sp>
      <p:sp>
        <p:nvSpPr>
          <p:cNvPr id="13" name="Marcador de texto 15">
            <a:extLst>
              <a:ext uri="{FF2B5EF4-FFF2-40B4-BE49-F238E27FC236}">
                <a16:creationId xmlns:a16="http://schemas.microsoft.com/office/drawing/2014/main" id="{1B023B90-BA8B-D55C-19C5-C73CE8087E31}"/>
              </a:ext>
            </a:extLst>
          </p:cNvPr>
          <p:cNvSpPr>
            <a:spLocks noGrp="1"/>
          </p:cNvSpPr>
          <p:nvPr>
            <p:ph type="body" sz="quarter" idx="16" hasCustomPrompt="1"/>
          </p:nvPr>
        </p:nvSpPr>
        <p:spPr>
          <a:xfrm>
            <a:off x="2984770" y="2033716"/>
            <a:ext cx="4140392" cy="4096496"/>
          </a:xfrm>
        </p:spPr>
        <p:txBody>
          <a:bodyPr anchor="t">
            <a:normAutofit/>
          </a:bodyPr>
          <a:lstStyle>
            <a:lvl1pPr marL="0" indent="0" algn="l">
              <a:lnSpc>
                <a:spcPct val="100000"/>
              </a:lnSpc>
              <a:buNone/>
              <a:defRPr lang="es-MX" sz="1200" b="0" i="0" kern="1200" dirty="0">
                <a:solidFill>
                  <a:srgbClr val="0E3636"/>
                </a:solidFill>
                <a:effectLst/>
                <a:latin typeface="Avenir Book" panose="02000503020000020003" pitchFamily="2" charset="0"/>
                <a:ea typeface="+mn-ea"/>
                <a:cs typeface="+mn-cs"/>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marL="1828800" indent="0" algn="ctr">
              <a:buNone/>
              <a:defRPr>
                <a:solidFill>
                  <a:schemeClr val="bg1">
                    <a:lumMod val="95000"/>
                  </a:schemeClr>
                </a:solidFill>
              </a:defRPr>
            </a:lvl5pPr>
          </a:lstStyle>
          <a:p>
            <a:pPr lvl="0"/>
            <a:r>
              <a:rPr lang="es-MX"/>
              <a:t>Agrregar texto</a:t>
            </a:r>
            <a:endParaRPr lang="es-CO"/>
          </a:p>
        </p:txBody>
      </p:sp>
      <p:sp>
        <p:nvSpPr>
          <p:cNvPr id="20" name="Marcador de texto 23">
            <a:extLst>
              <a:ext uri="{FF2B5EF4-FFF2-40B4-BE49-F238E27FC236}">
                <a16:creationId xmlns:a16="http://schemas.microsoft.com/office/drawing/2014/main" id="{1389B5E8-9979-BEF3-88B5-B300E9B5D159}"/>
              </a:ext>
            </a:extLst>
          </p:cNvPr>
          <p:cNvSpPr>
            <a:spLocks noGrp="1"/>
          </p:cNvSpPr>
          <p:nvPr>
            <p:ph type="body" sz="quarter" idx="12"/>
          </p:nvPr>
        </p:nvSpPr>
        <p:spPr>
          <a:xfrm>
            <a:off x="2984769" y="1218322"/>
            <a:ext cx="4236960" cy="646331"/>
          </a:xfrm>
        </p:spPr>
        <p:txBody>
          <a:bodyPr anchor="t">
            <a:noAutofit/>
          </a:bodyPr>
          <a:lstStyle>
            <a:lvl1pPr marL="0" indent="0">
              <a:buNone/>
              <a:defRPr sz="1800" b="0" i="0">
                <a:solidFill>
                  <a:srgbClr val="442E98"/>
                </a:solidFill>
                <a:latin typeface="Poppins Medium" pitchFamily="2" charset="77"/>
                <a:cs typeface="Poppins Medium" pitchFamily="2" charset="77"/>
              </a:defRPr>
            </a:lvl1pPr>
            <a:lvl2pPr>
              <a:defRPr>
                <a:latin typeface="Poppins" pitchFamily="2" charset="77"/>
                <a:cs typeface="Poppins" pitchFamily="2" charset="77"/>
              </a:defRPr>
            </a:lvl2pPr>
            <a:lvl3pPr>
              <a:defRPr>
                <a:latin typeface="Poppins" pitchFamily="2" charset="77"/>
                <a:cs typeface="Poppins" pitchFamily="2" charset="77"/>
              </a:defRPr>
            </a:lvl3pPr>
            <a:lvl4pPr>
              <a:defRPr>
                <a:latin typeface="Poppins" pitchFamily="2" charset="77"/>
                <a:cs typeface="Poppins" pitchFamily="2" charset="77"/>
              </a:defRPr>
            </a:lvl4pPr>
            <a:lvl5pPr>
              <a:defRPr>
                <a:latin typeface="Poppins" pitchFamily="2" charset="77"/>
                <a:cs typeface="Poppins" pitchFamily="2" charset="77"/>
              </a:defRPr>
            </a:lvl5pPr>
          </a:lstStyle>
          <a:p>
            <a:pPr lvl="0"/>
            <a:r>
              <a:rPr lang="es-MX"/>
              <a:t>Haga clic para modificar los estilos de texto del patrón</a:t>
            </a:r>
            <a:endParaRPr lang="es-CO"/>
          </a:p>
        </p:txBody>
      </p:sp>
      <p:sp>
        <p:nvSpPr>
          <p:cNvPr id="27" name="Marcador de texto 15">
            <a:extLst>
              <a:ext uri="{FF2B5EF4-FFF2-40B4-BE49-F238E27FC236}">
                <a16:creationId xmlns:a16="http://schemas.microsoft.com/office/drawing/2014/main" id="{A105FD16-454C-32B5-2FEB-2EA2413DF93B}"/>
              </a:ext>
            </a:extLst>
          </p:cNvPr>
          <p:cNvSpPr>
            <a:spLocks noGrp="1"/>
          </p:cNvSpPr>
          <p:nvPr>
            <p:ph type="body" sz="quarter" idx="15" hasCustomPrompt="1"/>
          </p:nvPr>
        </p:nvSpPr>
        <p:spPr>
          <a:xfrm>
            <a:off x="2545210" y="460141"/>
            <a:ext cx="4230403" cy="215444"/>
          </a:xfrm>
        </p:spPr>
        <p:txBody>
          <a:bodyPr anchor="t">
            <a:normAutofit/>
          </a:bodyPr>
          <a:lstStyle>
            <a:lvl1pPr marL="0" indent="0" algn="l">
              <a:buNone/>
              <a:defRPr lang="es-MX" sz="800" kern="1200" dirty="0" smtClean="0">
                <a:solidFill>
                  <a:schemeClr val="tx1"/>
                </a:solidFill>
                <a:latin typeface="Avenir Book" panose="02000503020000020003" pitchFamily="2" charset="0"/>
                <a:ea typeface="+mn-ea"/>
                <a:cs typeface="+mn-cs"/>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marL="1828800" indent="0" algn="ctr">
              <a:buNone/>
              <a:defRPr>
                <a:solidFill>
                  <a:schemeClr val="bg1">
                    <a:lumMod val="95000"/>
                  </a:schemeClr>
                </a:solidFill>
              </a:defRPr>
            </a:lvl5pPr>
          </a:lstStyle>
          <a:p>
            <a:pPr lvl="0"/>
            <a:r>
              <a:rPr lang="es-MX"/>
              <a:t>Agregar miga de pan</a:t>
            </a:r>
            <a:endParaRPr lang="es-CO"/>
          </a:p>
        </p:txBody>
      </p:sp>
      <p:sp>
        <p:nvSpPr>
          <p:cNvPr id="29" name="Marcador de texto 23">
            <a:extLst>
              <a:ext uri="{FF2B5EF4-FFF2-40B4-BE49-F238E27FC236}">
                <a16:creationId xmlns:a16="http://schemas.microsoft.com/office/drawing/2014/main" id="{1377EF7F-AEFE-EEC9-BD13-49EFEEED3C4F}"/>
              </a:ext>
            </a:extLst>
          </p:cNvPr>
          <p:cNvSpPr>
            <a:spLocks noGrp="1"/>
          </p:cNvSpPr>
          <p:nvPr>
            <p:ph type="body" sz="quarter" idx="20"/>
          </p:nvPr>
        </p:nvSpPr>
        <p:spPr>
          <a:xfrm>
            <a:off x="8350142" y="1989787"/>
            <a:ext cx="2871874" cy="2878427"/>
          </a:xfrm>
        </p:spPr>
        <p:txBody>
          <a:bodyPr anchor="ctr">
            <a:noAutofit/>
          </a:bodyPr>
          <a:lstStyle>
            <a:lvl1pPr marL="0" indent="0">
              <a:buNone/>
              <a:defRPr lang="es-CO" sz="2000" u="sng" kern="1200" dirty="0">
                <a:solidFill>
                  <a:srgbClr val="9275FF"/>
                </a:solidFill>
                <a:latin typeface="Poppins Medium" pitchFamily="2" charset="77"/>
                <a:ea typeface="+mn-ea"/>
                <a:cs typeface="Poppins Medium" pitchFamily="2" charset="77"/>
              </a:defRPr>
            </a:lvl1pPr>
            <a:lvl2pPr>
              <a:defRPr>
                <a:latin typeface="Poppins" pitchFamily="2" charset="77"/>
                <a:cs typeface="Poppins" pitchFamily="2" charset="77"/>
              </a:defRPr>
            </a:lvl2pPr>
            <a:lvl3pPr>
              <a:defRPr>
                <a:latin typeface="Poppins" pitchFamily="2" charset="77"/>
                <a:cs typeface="Poppins" pitchFamily="2" charset="77"/>
              </a:defRPr>
            </a:lvl3pPr>
            <a:lvl4pPr>
              <a:defRPr>
                <a:latin typeface="Poppins" pitchFamily="2" charset="77"/>
                <a:cs typeface="Poppins" pitchFamily="2" charset="77"/>
              </a:defRPr>
            </a:lvl4pPr>
            <a:lvl5pPr>
              <a:defRPr>
                <a:latin typeface="Poppins" pitchFamily="2" charset="77"/>
                <a:cs typeface="Poppins" pitchFamily="2" charset="77"/>
              </a:defRPr>
            </a:lvl5pPr>
          </a:lstStyle>
          <a:p>
            <a:pPr lvl="0"/>
            <a:r>
              <a:rPr lang="es-MX"/>
              <a:t>Haga clic para modificar los estilos de texto del patrón</a:t>
            </a:r>
            <a:endParaRPr lang="es-CO"/>
          </a:p>
        </p:txBody>
      </p:sp>
    </p:spTree>
    <p:extLst>
      <p:ext uri="{BB962C8B-B14F-4D97-AF65-F5344CB8AC3E}">
        <p14:creationId xmlns:p14="http://schemas.microsoft.com/office/powerpoint/2010/main" val="134637038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45354">
                  <a:tint val="75000"/>
                </a:srgbClr>
              </a:solidFill>
              <a:effectLst/>
              <a:uLnTx/>
              <a:uFillTx/>
              <a:latin typeface="Poppins Light"/>
              <a:ea typeface="+mn-ea"/>
              <a:cs typeface="+mn-cs"/>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545354">
                    <a:tint val="75000"/>
                  </a:srgbClr>
                </a:solidFill>
                <a:effectLst/>
                <a:uLnTx/>
                <a:uFillTx/>
                <a:latin typeface="Poppins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7/2024</a:t>
            </a:fld>
            <a:endParaRPr kumimoji="0" lang="en-US" sz="1800" b="0" i="0" u="none" strike="noStrike" kern="1200" cap="none" spc="0" normalizeH="0" baseline="0" noProof="0">
              <a:ln>
                <a:noFill/>
              </a:ln>
              <a:solidFill>
                <a:srgbClr val="545354">
                  <a:tint val="75000"/>
                </a:srgbClr>
              </a:solidFill>
              <a:effectLst/>
              <a:uLnTx/>
              <a:uFillTx/>
              <a:latin typeface="Poppins Light"/>
              <a:ea typeface="+mn-ea"/>
              <a:cs typeface="+mn-cs"/>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545354">
                    <a:tint val="75000"/>
                  </a:srgbClr>
                </a:solidFill>
                <a:effectLst/>
                <a:uLnTx/>
                <a:uFillTx/>
                <a:latin typeface="Poppi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545354">
                  <a:tint val="75000"/>
                </a:srgbClr>
              </a:solidFill>
              <a:effectLst/>
              <a:uLnTx/>
              <a:uFillTx/>
              <a:latin typeface="Poppins Light"/>
              <a:ea typeface="+mn-ea"/>
              <a:cs typeface="+mn-cs"/>
            </a:endParaRPr>
          </a:p>
        </p:txBody>
      </p:sp>
    </p:spTree>
    <p:extLst>
      <p:ext uri="{BB962C8B-B14F-4D97-AF65-F5344CB8AC3E}">
        <p14:creationId xmlns:p14="http://schemas.microsoft.com/office/powerpoint/2010/main" val="366138317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8895E1E-282B-C31C-B7AD-96610287686E}"/>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345F96D3-E995-4BE9-2BD4-CC363727A4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9DF82609-8C59-2E28-5562-F1A0CDD30BA3}"/>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5" name="Marcador de pie de página 4">
            <a:extLst>
              <a:ext uri="{FF2B5EF4-FFF2-40B4-BE49-F238E27FC236}">
                <a16:creationId xmlns:a16="http://schemas.microsoft.com/office/drawing/2014/main" id="{D5508E9B-4154-F915-8536-12E91E77E1BD}"/>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474BBB28-9CB2-8CD2-FF83-1E2E654E2A04}"/>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155252333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2A2A0F8-E753-FAEB-2999-2A061140E2EB}"/>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22684DE-8144-7069-D6CA-A33A9CB9DBCC}"/>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01590394-679C-60AA-A3AB-13F657891BBC}"/>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5" name="Marcador de pie de página 4">
            <a:extLst>
              <a:ext uri="{FF2B5EF4-FFF2-40B4-BE49-F238E27FC236}">
                <a16:creationId xmlns:a16="http://schemas.microsoft.com/office/drawing/2014/main" id="{B45FDF21-EE52-E32E-C409-09BBB142FC76}"/>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3A60BB18-9BD7-332D-2A74-30269DEAE659}"/>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32553111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9B0837C-D686-F89F-0D5C-A3B2AF0C63A5}"/>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16CB354F-A1F0-F092-CCC1-BC07761595F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84287934-14B8-F0CB-8659-C5B341038E3D}"/>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5" name="Marcador de pie de página 4">
            <a:extLst>
              <a:ext uri="{FF2B5EF4-FFF2-40B4-BE49-F238E27FC236}">
                <a16:creationId xmlns:a16="http://schemas.microsoft.com/office/drawing/2014/main" id="{96DBF675-614D-46E5-33DA-323EAA0D0394}"/>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10E11132-5BF1-D3F3-BE27-02C7D6C09712}"/>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329606086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008CFB7-1354-393B-4734-A82463EBE8D1}"/>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8CDDF427-F006-1CA0-AF80-3900B63F7C77}"/>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9A17AE33-8376-0E62-7589-6AE375D44BBC}"/>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6C1EB538-4934-86ED-7B15-3A81B03B5D87}"/>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6" name="Marcador de pie de página 5">
            <a:extLst>
              <a:ext uri="{FF2B5EF4-FFF2-40B4-BE49-F238E27FC236}">
                <a16:creationId xmlns:a16="http://schemas.microsoft.com/office/drawing/2014/main" id="{8EF9FD22-CFB1-7F76-E6EF-70229E78E0FE}"/>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67B620A6-20BD-5E32-F73F-72001E02BBED}"/>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260951023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669B9-7668-BAD5-13DC-4775ADDB6DF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F668371C-DE42-FC98-FB4F-5EA6195210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45FED001-D0EB-BA0F-D06C-B960E98C0D12}"/>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id="{6339AA34-8144-25A3-A551-1C6FEDA30AB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B7843EED-C079-952E-DAFA-43A450A3D671}"/>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id="{20536C21-4C33-F78D-4223-3205FC313E67}"/>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8" name="Marcador de pie de página 7">
            <a:extLst>
              <a:ext uri="{FF2B5EF4-FFF2-40B4-BE49-F238E27FC236}">
                <a16:creationId xmlns:a16="http://schemas.microsoft.com/office/drawing/2014/main" id="{8F89EEAB-3151-E68F-1B7B-44614ECE6250}"/>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id="{9DCB378F-9CAA-16F7-777D-52EE13626DEB}"/>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335626619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37EED11-B74E-1D92-F11D-619047888FE3}"/>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49694895-F4E7-847E-2344-9650C6E3556A}"/>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4" name="Marcador de pie de página 3">
            <a:extLst>
              <a:ext uri="{FF2B5EF4-FFF2-40B4-BE49-F238E27FC236}">
                <a16:creationId xmlns:a16="http://schemas.microsoft.com/office/drawing/2014/main" id="{AA80E50C-27E2-3DC6-8600-88A524B60777}"/>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EC60085B-6D41-B751-E17E-DF9C91E3FC04}"/>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22536798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PhAnim="0">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EFDBD-92DA-8013-FB65-C32B49CB1EF8}"/>
              </a:ext>
            </a:extLst>
          </p:cNvPr>
          <p:cNvSpPr>
            <a:spLocks noGrp="1"/>
          </p:cNvSpPr>
          <p:nvPr>
            <p:ph type="title" hasCustomPrompt="1"/>
          </p:nvPr>
        </p:nvSpPr>
        <p:spPr>
          <a:xfrm>
            <a:off x="1101213" y="216270"/>
            <a:ext cx="10579510" cy="798836"/>
          </a:xfrm>
          <a:prstGeom prst="rect">
            <a:avLst/>
          </a:prstGeom>
        </p:spPr>
        <p:txBody>
          <a:bodyP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Tree>
    <p:extLst>
      <p:ext uri="{BB962C8B-B14F-4D97-AF65-F5344CB8AC3E}">
        <p14:creationId xmlns:p14="http://schemas.microsoft.com/office/powerpoint/2010/main" val="9095290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B5696183-3658-9C50-A290-EEE1A809BD80}"/>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3" name="Marcador de pie de página 2">
            <a:extLst>
              <a:ext uri="{FF2B5EF4-FFF2-40B4-BE49-F238E27FC236}">
                <a16:creationId xmlns:a16="http://schemas.microsoft.com/office/drawing/2014/main" id="{7C34C966-A782-1946-5C0C-5466928FAF66}"/>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89AFF033-805B-009B-94DE-F0558CD1DADB}"/>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389570696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D115276-5F1A-2AAB-6C87-823A716E4F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42FA4352-C721-3FE7-15B9-5D71732AF47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D96DE437-757E-3D1B-F28B-616076D4CF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E91F7D2-76E2-6ECE-49BD-D3D8E412D218}"/>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6" name="Marcador de pie de página 5">
            <a:extLst>
              <a:ext uri="{FF2B5EF4-FFF2-40B4-BE49-F238E27FC236}">
                <a16:creationId xmlns:a16="http://schemas.microsoft.com/office/drawing/2014/main" id="{F1C0CD60-333D-3938-0131-360755DE3F33}"/>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A0C205A6-D23D-785D-AA1A-80F9954819F6}"/>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61482951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8BF2C9A-BDEA-9A8B-5CDF-23151FCFA9C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id="{FACA4259-B574-3E04-B347-B7D98B61275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a:p>
        </p:txBody>
      </p:sp>
      <p:sp>
        <p:nvSpPr>
          <p:cNvPr id="4" name="Marcador de texto 3">
            <a:extLst>
              <a:ext uri="{FF2B5EF4-FFF2-40B4-BE49-F238E27FC236}">
                <a16:creationId xmlns:a16="http://schemas.microsoft.com/office/drawing/2014/main" id="{248677F7-4FC5-754A-E961-7B62C83511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855E2425-94A6-4F06-E9DD-8BB98C827629}"/>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6" name="Marcador de pie de página 5">
            <a:extLst>
              <a:ext uri="{FF2B5EF4-FFF2-40B4-BE49-F238E27FC236}">
                <a16:creationId xmlns:a16="http://schemas.microsoft.com/office/drawing/2014/main" id="{D5190BC9-195E-92BB-2AFE-AF6A76233CF5}"/>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2FE4157E-FE28-71D9-7241-7BD2B35D0554}"/>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171203093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84BBDC-82CA-956C-F25A-01B39D0909E7}"/>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631D218B-51A5-123C-FBE6-85775709E0FF}"/>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209799EF-2ED6-B82B-2EB9-F4A093C9E99A}"/>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5" name="Marcador de pie de página 4">
            <a:extLst>
              <a:ext uri="{FF2B5EF4-FFF2-40B4-BE49-F238E27FC236}">
                <a16:creationId xmlns:a16="http://schemas.microsoft.com/office/drawing/2014/main" id="{6371F589-6020-2313-C87F-832E2A5AE377}"/>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A36675F0-FF89-6452-16B8-FFF9CE11BCD6}"/>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276352479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AD0E3235-8F4F-2F42-A377-F21B9F828109}"/>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0083A3C4-C2F5-1B1C-78C4-BAC2D6F0BFAE}"/>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F57D4AD6-7BE4-DFB5-D174-570AC08AF7BC}"/>
              </a:ext>
            </a:extLst>
          </p:cNvPr>
          <p:cNvSpPr>
            <a:spLocks noGrp="1"/>
          </p:cNvSpPr>
          <p:nvPr>
            <p:ph type="dt" sz="half" idx="10"/>
          </p:nvPr>
        </p:nvSpPr>
        <p:spPr/>
        <p:txBody>
          <a:bodyPr/>
          <a:lstStyle/>
          <a:p>
            <a:fld id="{4F521351-F782-4D51-AFB8-2B056516C2AA}" type="datetimeFigureOut">
              <a:rPr lang="es-CO" smtClean="0"/>
              <a:t>27/11/2024</a:t>
            </a:fld>
            <a:endParaRPr lang="es-CO"/>
          </a:p>
        </p:txBody>
      </p:sp>
      <p:sp>
        <p:nvSpPr>
          <p:cNvPr id="5" name="Marcador de pie de página 4">
            <a:extLst>
              <a:ext uri="{FF2B5EF4-FFF2-40B4-BE49-F238E27FC236}">
                <a16:creationId xmlns:a16="http://schemas.microsoft.com/office/drawing/2014/main" id="{419E1C11-F846-67AB-033B-7B81552DA6CF}"/>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96807F39-F17D-D06B-64E6-724699116CDB}"/>
              </a:ext>
            </a:extLst>
          </p:cNvPr>
          <p:cNvSpPr>
            <a:spLocks noGrp="1"/>
          </p:cNvSpPr>
          <p:nvPr>
            <p:ph type="sldNum" sz="quarter" idx="12"/>
          </p:nvPr>
        </p:nvSpPr>
        <p:spPr/>
        <p:txBody>
          <a:bodyPr/>
          <a:lstStyle/>
          <a:p>
            <a:fld id="{FFFDDCF4-3F6A-4B87-B61F-1FF7C3F9BAB8}" type="slidenum">
              <a:rPr lang="es-CO" smtClean="0"/>
              <a:t>‹#›</a:t>
            </a:fld>
            <a:endParaRPr lang="es-CO"/>
          </a:p>
        </p:txBody>
      </p:sp>
    </p:spTree>
    <p:extLst>
      <p:ext uri="{BB962C8B-B14F-4D97-AF65-F5344CB8AC3E}">
        <p14:creationId xmlns:p14="http://schemas.microsoft.com/office/powerpoint/2010/main" val="217084081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99528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0892942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310332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226836365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41995144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90911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72786699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41147981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174233143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2171236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64269500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rgbClr val="304258"/>
                </a:solidFill>
                <a:latin typeface="Poppins" panose="00000500000000000000" pitchFamily="2" charset="0"/>
                <a:cs typeface="Poppins" panose="00000500000000000000" pitchFamily="2" charset="0"/>
              </a:rPr>
              <a:t>Data gathering</a:t>
            </a:r>
          </a:p>
          <a:p>
            <a:r>
              <a:rPr lang="en-US">
                <a:solidFill>
                  <a:srgbClr val="304258"/>
                </a:solidFill>
                <a:latin typeface="Poppins" panose="00000500000000000000" pitchFamily="2" charset="0"/>
                <a:cs typeface="Poppins" panose="00000500000000000000" pitchFamily="2" charset="0"/>
              </a:rPr>
              <a:t>Analysis structuring and execution</a:t>
            </a:r>
          </a:p>
          <a:p>
            <a:r>
              <a:rPr lang="en-US">
                <a:solidFill>
                  <a:srgbClr val="304258"/>
                </a:solidFill>
                <a:latin typeface="Poppins" panose="00000500000000000000" pitchFamily="2" charset="0"/>
                <a:cs typeface="Poppins" panose="00000500000000000000" pitchFamily="2" charset="0"/>
              </a:rPr>
              <a:t>Technical expertise</a:t>
            </a:r>
          </a:p>
          <a:p>
            <a:r>
              <a:rPr lang="en-US">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2143683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61049461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5344778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01375683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105389013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29770377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p:cSld name="1_Title and numbers footnote">
    <p:bg>
      <p:bgPr>
        <a:solidFill>
          <a:srgbClr val="5E3FD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9659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Encabezado de sección">
    <p:bg>
      <p:bgPr>
        <a:solidFill>
          <a:srgbClr val="5E3FD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86701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07631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48216522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279543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1541708087"/>
      </p:ext>
    </p:extLst>
  </p:cSld>
  <p:clrMapOvr>
    <a:masterClrMapping/>
  </p:clrMapOvr>
  <p:transition spd="slow" advTm="2000">
    <p:cover dir="d"/>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308060219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54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337936017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26532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47324265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5103656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Diapositiva de título">
    <p:bg>
      <p:bgPr>
        <a:solidFill>
          <a:srgbClr val="6200EE"/>
        </a:solidFill>
        <a:effectLst/>
      </p:bgPr>
    </p:bg>
    <p:spTree>
      <p:nvGrpSpPr>
        <p:cNvPr id="1" name=""/>
        <p:cNvGrpSpPr/>
        <p:nvPr/>
      </p:nvGrpSpPr>
      <p:grpSpPr>
        <a:xfrm>
          <a:off x="0" y="0"/>
          <a:ext cx="0" cy="0"/>
          <a:chOff x="0" y="0"/>
          <a:chExt cx="0" cy="0"/>
        </a:xfrm>
      </p:grpSpPr>
      <p:cxnSp>
        <p:nvCxnSpPr>
          <p:cNvPr id="5" name="Conector recto 4">
            <a:extLst>
              <a:ext uri="{FF2B5EF4-FFF2-40B4-BE49-F238E27FC236}">
                <a16:creationId xmlns:a16="http://schemas.microsoft.com/office/drawing/2014/main" id="{043E04FA-A9CF-CF79-C59A-9FD1245095BE}"/>
              </a:ext>
            </a:extLst>
          </p:cNvPr>
          <p:cNvCxnSpPr/>
          <p:nvPr/>
        </p:nvCxnSpPr>
        <p:spPr>
          <a:xfrm>
            <a:off x="0" y="4400434"/>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793BAE32-5BBF-015E-8057-5EB819B10410}"/>
              </a:ext>
            </a:extLst>
          </p:cNvPr>
          <p:cNvCxnSpPr/>
          <p:nvPr/>
        </p:nvCxnSpPr>
        <p:spPr>
          <a:xfrm>
            <a:off x="0" y="4543689"/>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56D6F88-F512-6EDE-3ECB-04408191AF04}"/>
              </a:ext>
            </a:extLst>
          </p:cNvPr>
          <p:cNvCxnSpPr/>
          <p:nvPr/>
        </p:nvCxnSpPr>
        <p:spPr>
          <a:xfrm>
            <a:off x="0" y="4675007"/>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id="{28B6BE3C-D673-8CEB-5933-9FA24C74C0BD}"/>
              </a:ext>
            </a:extLst>
          </p:cNvPr>
          <p:cNvCxnSpPr/>
          <p:nvPr/>
        </p:nvCxnSpPr>
        <p:spPr>
          <a:xfrm>
            <a:off x="0" y="4842859"/>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FFAFF1A9-6DF7-5BA7-F833-1C5D47D1F411}"/>
              </a:ext>
            </a:extLst>
          </p:cNvPr>
          <p:cNvCxnSpPr/>
          <p:nvPr/>
        </p:nvCxnSpPr>
        <p:spPr>
          <a:xfrm>
            <a:off x="1782618" y="5513415"/>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8B95D2BA-FAB8-547C-7F3F-480B2D2CD146}"/>
              </a:ext>
            </a:extLst>
          </p:cNvPr>
          <p:cNvCxnSpPr/>
          <p:nvPr/>
        </p:nvCxnSpPr>
        <p:spPr>
          <a:xfrm>
            <a:off x="1782618" y="5656670"/>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510AEE90-597C-D943-1F40-59CF579889A9}"/>
              </a:ext>
            </a:extLst>
          </p:cNvPr>
          <p:cNvCxnSpPr/>
          <p:nvPr/>
        </p:nvCxnSpPr>
        <p:spPr>
          <a:xfrm>
            <a:off x="1782618" y="5787988"/>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7D050868-1F8B-97A3-2D19-7881353204C3}"/>
              </a:ext>
            </a:extLst>
          </p:cNvPr>
          <p:cNvCxnSpPr/>
          <p:nvPr/>
        </p:nvCxnSpPr>
        <p:spPr>
          <a:xfrm>
            <a:off x="1782618" y="5955840"/>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561951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4F073F8-607F-1F0D-1F94-DE173FD35D1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84150" y="-465138"/>
            <a:ext cx="1447800" cy="2762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D83F68A5-56D2-50A6-B45C-4697020590E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58950" y="-465138"/>
            <a:ext cx="3209925" cy="971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450866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2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240250529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2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3970"/>
            <a:ext cx="12192000" cy="6858000"/>
          </a:xfrm>
          <a:prstGeom prst="rect">
            <a:avLst/>
          </a:prstGeom>
        </p:spPr>
      </p:pic>
      <p:pic>
        <p:nvPicPr>
          <p:cNvPr id="2" name="Imagen 1">
            <a:extLst>
              <a:ext uri="{FF2B5EF4-FFF2-40B4-BE49-F238E27FC236}">
                <a16:creationId xmlns:a16="http://schemas.microsoft.com/office/drawing/2014/main" id="{66CBDFF5-B742-7C26-43F0-E23B8768C35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80380" y="439955"/>
            <a:ext cx="2788158" cy="912281"/>
          </a:xfrm>
          <a:prstGeom prst="rect">
            <a:avLst/>
          </a:prstGeom>
        </p:spPr>
      </p:pic>
      <p:sp>
        <p:nvSpPr>
          <p:cNvPr id="3" name="CuadroTexto 2">
            <a:extLst>
              <a:ext uri="{FF2B5EF4-FFF2-40B4-BE49-F238E27FC236}">
                <a16:creationId xmlns:a16="http://schemas.microsoft.com/office/drawing/2014/main" id="{4EC85468-6DD4-AB84-8BE4-2C23EFB7F5E6}"/>
              </a:ext>
            </a:extLst>
          </p:cNvPr>
          <p:cNvSpPr txBox="1"/>
          <p:nvPr userDrawn="1"/>
        </p:nvSpPr>
        <p:spPr>
          <a:xfrm>
            <a:off x="785191" y="1868557"/>
            <a:ext cx="5764696" cy="2677656"/>
          </a:xfrm>
          <a:prstGeom prst="rect">
            <a:avLst/>
          </a:prstGeom>
          <a:noFill/>
        </p:spPr>
        <p:txBody>
          <a:bodyPr wrap="square" rtlCol="0">
            <a:spAutoFit/>
          </a:bodyPr>
          <a:lstStyle/>
          <a:p>
            <a:pPr algn="l"/>
            <a:r>
              <a:rPr lang="es-CO" sz="1800" b="0" i="0">
                <a:solidFill>
                  <a:srgbClr val="000000"/>
                </a:solidFill>
                <a:effectLst/>
                <a:highlight>
                  <a:srgbClr val="EDEBE9"/>
                </a:highlight>
                <a:latin typeface="Poppins" pitchFamily="2" charset="77"/>
              </a:rPr>
              <a:t>​</a:t>
            </a:r>
            <a:r>
              <a:rPr lang="es-CO" sz="4400" b="1" i="0" err="1">
                <a:solidFill>
                  <a:schemeClr val="bg1"/>
                </a:solidFill>
                <a:latin typeface="Poppins" pitchFamily="2" charset="77"/>
                <a:cs typeface="Poppins" pitchFamily="2" charset="77"/>
              </a:rPr>
              <a:t>Let’s</a:t>
            </a:r>
            <a:r>
              <a:rPr lang="es-CO" sz="4400" b="1" i="0">
                <a:solidFill>
                  <a:schemeClr val="bg1"/>
                </a:solidFill>
                <a:latin typeface="Poppins" pitchFamily="2" charset="77"/>
                <a:cs typeface="Poppins" pitchFamily="2" charset="77"/>
              </a:rPr>
              <a:t> Future-</a:t>
            </a:r>
            <a:r>
              <a:rPr lang="es-CO" sz="4400" b="1" i="0" err="1">
                <a:solidFill>
                  <a:schemeClr val="bg1"/>
                </a:solidFill>
                <a:latin typeface="Poppins" pitchFamily="2" charset="77"/>
                <a:cs typeface="Poppins" pitchFamily="2" charset="77"/>
              </a:rPr>
              <a:t>Proof</a:t>
            </a:r>
            <a:endParaRPr lang="es-CO" sz="4400" b="1" i="0">
              <a:solidFill>
                <a:schemeClr val="bg1"/>
              </a:solidFill>
              <a:latin typeface="Poppins" pitchFamily="2" charset="77"/>
              <a:cs typeface="Poppins" pitchFamily="2" charset="77"/>
            </a:endParaRPr>
          </a:p>
          <a:p>
            <a:pPr algn="l"/>
            <a:r>
              <a:rPr lang="es-CO" sz="4400" b="1" i="0" err="1">
                <a:solidFill>
                  <a:schemeClr val="bg1"/>
                </a:solidFill>
                <a:latin typeface="Poppins" pitchFamily="2" charset="77"/>
                <a:cs typeface="Poppins" pitchFamily="2" charset="77"/>
              </a:rPr>
              <a:t>Your</a:t>
            </a:r>
            <a:r>
              <a:rPr lang="es-CO" sz="4400" b="1" i="0">
                <a:solidFill>
                  <a:schemeClr val="bg1"/>
                </a:solidFill>
                <a:latin typeface="Poppins" pitchFamily="2" charset="77"/>
                <a:cs typeface="Poppins" pitchFamily="2" charset="77"/>
              </a:rPr>
              <a:t> Business.​</a:t>
            </a:r>
            <a:br>
              <a:rPr lang="es-CO" sz="4400" b="1" i="0">
                <a:solidFill>
                  <a:schemeClr val="bg1"/>
                </a:solidFill>
                <a:latin typeface="Poppins" pitchFamily="2" charset="77"/>
                <a:cs typeface="Poppins" pitchFamily="2" charset="77"/>
              </a:rPr>
            </a:br>
            <a:r>
              <a:rPr lang="es-CO" sz="4400" b="1" i="0">
                <a:solidFill>
                  <a:schemeClr val="bg1"/>
                </a:solidFill>
                <a:latin typeface="Poppins" pitchFamily="2" charset="77"/>
                <a:cs typeface="Poppins" pitchFamily="2" charset="77"/>
              </a:rPr>
              <a:t>​</a:t>
            </a:r>
            <a:br>
              <a:rPr lang="es-CO" b="0" i="0">
                <a:solidFill>
                  <a:srgbClr val="FFFFFF"/>
                </a:solidFill>
                <a:effectLst/>
                <a:highlight>
                  <a:srgbClr val="212121"/>
                </a:highlight>
                <a:latin typeface="Söhne"/>
              </a:rPr>
            </a:br>
            <a:endParaRPr lang="es-CO" b="0" i="0">
              <a:solidFill>
                <a:srgbClr val="FFFFFF"/>
              </a:solidFill>
              <a:effectLst/>
              <a:highlight>
                <a:srgbClr val="212121"/>
              </a:highlight>
              <a:latin typeface="Söhne"/>
            </a:endParaRPr>
          </a:p>
          <a:p>
            <a:endParaRPr lang="es-CO"/>
          </a:p>
        </p:txBody>
      </p:sp>
      <p:sp>
        <p:nvSpPr>
          <p:cNvPr id="4" name="Marcador de fecha 3">
            <a:extLst>
              <a:ext uri="{FF2B5EF4-FFF2-40B4-BE49-F238E27FC236}">
                <a16:creationId xmlns:a16="http://schemas.microsoft.com/office/drawing/2014/main" id="{368839BF-B971-796D-8913-D6A1D19A7239}"/>
              </a:ext>
            </a:extLst>
          </p:cNvPr>
          <p:cNvSpPr txBox="1">
            <a:spLocks/>
          </p:cNvSpPr>
          <p:nvPr userDrawn="1"/>
        </p:nvSpPr>
        <p:spPr>
          <a:xfrm>
            <a:off x="785191" y="3429000"/>
            <a:ext cx="6378685"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r>
              <a:rPr lang="en-US" sz="1800" b="0" i="0" u="none" strike="noStrike">
                <a:solidFill>
                  <a:srgbClr val="FFFFFF"/>
                </a:solidFill>
                <a:effectLst/>
                <a:latin typeface="Poppins" pitchFamily="2" charset="77"/>
              </a:rPr>
              <a:t>CUTTING-EDGE RESEARCH</a:t>
            </a:r>
            <a:r>
              <a:rPr lang="en-US" sz="1800" b="0" i="0">
                <a:solidFill>
                  <a:srgbClr val="000000"/>
                </a:solidFill>
                <a:effectLst/>
                <a:latin typeface="Poppins" pitchFamily="2" charset="77"/>
              </a:rPr>
              <a:t>​</a:t>
            </a:r>
            <a:endParaRPr lang="en-US" b="0" i="0">
              <a:solidFill>
                <a:srgbClr val="000000"/>
              </a:solidFill>
              <a:effectLst/>
              <a:latin typeface="Segoe UI" panose="020B0502040204020203" pitchFamily="34" charset="0"/>
            </a:endParaRPr>
          </a:p>
          <a:p>
            <a:pPr algn="l" rtl="0" fontAlgn="base"/>
            <a:r>
              <a:rPr lang="en-US" sz="1800" b="0" i="0" u="none" strike="noStrike">
                <a:solidFill>
                  <a:srgbClr val="FFFFFF"/>
                </a:solidFill>
                <a:effectLst/>
                <a:latin typeface="Poppins" pitchFamily="2" charset="77"/>
              </a:rPr>
              <a:t>&amp; CONSULTING SOLUTIONS.</a:t>
            </a:r>
            <a:endParaRPr lang="en-US" b="0" i="0">
              <a:solidFill>
                <a:srgbClr val="000000"/>
              </a:solidFill>
              <a:effectLst/>
              <a:latin typeface="Segoe UI" panose="020B0502040204020203" pitchFamily="34" charset="0"/>
            </a:endParaRPr>
          </a:p>
        </p:txBody>
      </p:sp>
      <p:sp>
        <p:nvSpPr>
          <p:cNvPr id="5" name="CuadroTexto 4">
            <a:extLst>
              <a:ext uri="{FF2B5EF4-FFF2-40B4-BE49-F238E27FC236}">
                <a16:creationId xmlns:a16="http://schemas.microsoft.com/office/drawing/2014/main" id="{AF67E6AD-30BB-1951-6E76-DB9EC75D5535}"/>
              </a:ext>
            </a:extLst>
          </p:cNvPr>
          <p:cNvSpPr txBox="1"/>
          <p:nvPr userDrawn="1"/>
        </p:nvSpPr>
        <p:spPr>
          <a:xfrm>
            <a:off x="785191" y="4914571"/>
            <a:ext cx="5780049" cy="1923604"/>
          </a:xfrm>
          <a:prstGeom prst="rect">
            <a:avLst/>
          </a:prstGeom>
          <a:noFill/>
        </p:spPr>
        <p:txBody>
          <a:bodyPr wrap="square" rtlCol="0">
            <a:spAutoFit/>
          </a:bodyPr>
          <a:lstStyle/>
          <a:p>
            <a:pPr algn="l"/>
            <a:r>
              <a:rPr lang="es-CO" sz="2800" b="1" i="0" u="none">
                <a:solidFill>
                  <a:schemeClr val="bg1"/>
                </a:solidFill>
                <a:effectLst/>
                <a:latin typeface="Poppins Medium" pitchFamily="2" charset="77"/>
                <a:cs typeface="Poppins Medium" pitchFamily="2" charset="77"/>
                <a:hlinkClick r:id="rId5">
                  <a:extLst>
                    <a:ext uri="{A12FA001-AC4F-418D-AE19-62706E023703}">
                      <ahyp:hlinkClr xmlns:ahyp="http://schemas.microsoft.com/office/drawing/2018/hyperlinkcolor" val="tx"/>
                    </a:ext>
                  </a:extLst>
                </a:hlinkClick>
              </a:rPr>
              <a:t>www.iotaimpact.com</a:t>
            </a:r>
            <a:endParaRPr lang="es-CO" sz="2800" b="1" i="0" u="none">
              <a:solidFill>
                <a:schemeClr val="bg1"/>
              </a:solidFill>
              <a:effectLst/>
              <a:latin typeface="Poppins Medium" pitchFamily="2" charset="77"/>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1" err="1">
                <a:solidFill>
                  <a:schemeClr val="bg1"/>
                </a:solidFill>
                <a:effectLst/>
                <a:latin typeface="Helvetica" pitchFamily="2" charset="0"/>
              </a:rPr>
              <a:t>natalia.iragorri@iotaimpact.com</a:t>
            </a:r>
            <a:endParaRPr lang="es-CO" i="1">
              <a:solidFill>
                <a:schemeClr val="bg1"/>
              </a:solidFill>
              <a:effectLst/>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us</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latam</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Helvetica" pitchFamily="2" charset="0"/>
              </a:rPr>
              <a:t>Confidential</a:t>
            </a:r>
            <a:r>
              <a:rPr lang="es-CO" sz="900" i="1">
                <a:solidFill>
                  <a:schemeClr val="bg1"/>
                </a:solidFill>
                <a:effectLst/>
                <a:latin typeface="Helvetica" pitchFamily="2" charset="0"/>
              </a:rPr>
              <a:t> and </a:t>
            </a:r>
            <a:r>
              <a:rPr lang="es-CO" sz="900" i="1" err="1">
                <a:solidFill>
                  <a:schemeClr val="bg1"/>
                </a:solidFill>
                <a:effectLst/>
                <a:latin typeface="Helvetica" pitchFamily="2" charset="0"/>
              </a:rPr>
              <a:t>proprietary</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Not</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for</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distribution</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without</a:t>
            </a:r>
            <a:r>
              <a:rPr lang="es-CO" sz="900" i="1">
                <a:solidFill>
                  <a:schemeClr val="bg1"/>
                </a:solidFill>
                <a:effectLst/>
                <a:latin typeface="Helvetica" pitchFamily="2" charset="0"/>
              </a:rPr>
              <a:t> IOTA </a:t>
            </a:r>
            <a:r>
              <a:rPr lang="es-CO" sz="900" i="1" err="1">
                <a:solidFill>
                  <a:schemeClr val="bg1"/>
                </a:solidFill>
                <a:effectLst/>
                <a:latin typeface="Helvetica" pitchFamily="2" charset="0"/>
              </a:rPr>
              <a:t>Impact's</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permission</a:t>
            </a:r>
            <a:r>
              <a:rPr lang="es-CO" sz="900" i="1">
                <a:solidFill>
                  <a:schemeClr val="bg1"/>
                </a:solidFill>
                <a:effectLst/>
                <a:latin typeface="Helvetica" pitchFamily="2" charset="0"/>
              </a:rPr>
              <a:t>.</a:t>
            </a:r>
            <a:endParaRPr lang="es-CO" sz="900">
              <a:solidFill>
                <a:schemeClr val="bg1"/>
              </a:solidFill>
              <a:effectLst/>
              <a:latin typeface="Helvetica" pitchFamily="2" charset="0"/>
            </a:endParaRPr>
          </a:p>
          <a:p>
            <a:pPr algn="l"/>
            <a:endParaRPr lang="es-CO">
              <a:solidFill>
                <a:schemeClr val="bg1"/>
              </a:solidFill>
            </a:endParaRPr>
          </a:p>
        </p:txBody>
      </p:sp>
      <p:pic>
        <p:nvPicPr>
          <p:cNvPr id="7" name="Imagen 6">
            <a:extLst>
              <a:ext uri="{FF2B5EF4-FFF2-40B4-BE49-F238E27FC236}">
                <a16:creationId xmlns:a16="http://schemas.microsoft.com/office/drawing/2014/main" id="{8FA9289E-F056-6919-664D-D591E0A9E5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27392" y="5592954"/>
            <a:ext cx="668049" cy="668049"/>
          </a:xfrm>
          <a:prstGeom prst="rect">
            <a:avLst/>
          </a:prstGeom>
        </p:spPr>
      </p:pic>
    </p:spTree>
    <p:extLst>
      <p:ext uri="{BB962C8B-B14F-4D97-AF65-F5344CB8AC3E}">
        <p14:creationId xmlns:p14="http://schemas.microsoft.com/office/powerpoint/2010/main" val="10118737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57F68F58-6AE7-DC56-A37D-3815C5E7F4A8}"/>
              </a:ext>
            </a:extLst>
          </p:cNvPr>
          <p:cNvGrpSpPr/>
          <p:nvPr userDrawn="1"/>
        </p:nvGrpSpPr>
        <p:grpSpPr>
          <a:xfrm rot="10800000" flipH="1">
            <a:off x="0" y="0"/>
            <a:ext cx="12192000" cy="6858000"/>
            <a:chOff x="0" y="0"/>
            <a:chExt cx="12192000" cy="685800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riángulo isósceles 5">
              <a:extLst>
                <a:ext uri="{FF2B5EF4-FFF2-40B4-BE49-F238E27FC236}">
                  <a16:creationId xmlns:a16="http://schemas.microsoft.com/office/drawing/2014/main" id="{5D08758D-B65F-C4D9-0202-83F2697A2BD2}"/>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pic>
        <p:nvPicPr>
          <p:cNvPr id="9" name="Imagen 8">
            <a:extLst>
              <a:ext uri="{FF2B5EF4-FFF2-40B4-BE49-F238E27FC236}">
                <a16:creationId xmlns:a16="http://schemas.microsoft.com/office/drawing/2014/main" id="{470FC81E-4B4D-20E6-A72B-7910638D6DF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022" t="1053" b="1053"/>
          <a:stretch/>
        </p:blipFill>
        <p:spPr>
          <a:xfrm>
            <a:off x="-5628" y="-1"/>
            <a:ext cx="709114" cy="6858001"/>
          </a:xfrm>
          <a:prstGeom prst="rect">
            <a:avLst/>
          </a:prstGeom>
        </p:spPr>
      </p:pic>
      <p:sp>
        <p:nvSpPr>
          <p:cNvPr id="10" name="CuadroTexto 9">
            <a:extLst>
              <a:ext uri="{FF2B5EF4-FFF2-40B4-BE49-F238E27FC236}">
                <a16:creationId xmlns:a16="http://schemas.microsoft.com/office/drawing/2014/main" id="{C8033403-7F08-9211-C316-C13B7D1A4301}"/>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409732E0-8F75-F8FC-D7D1-81C5E727344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2" name="Imagen 11">
            <a:extLst>
              <a:ext uri="{FF2B5EF4-FFF2-40B4-BE49-F238E27FC236}">
                <a16:creationId xmlns:a16="http://schemas.microsoft.com/office/drawing/2014/main" id="{92CE866A-4594-C346-FA03-E9911CA511A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16200000">
            <a:off x="89626" y="6443501"/>
            <a:ext cx="403481" cy="546652"/>
          </a:xfrm>
          <a:prstGeom prst="rect">
            <a:avLst/>
          </a:prstGeom>
        </p:spPr>
      </p:pic>
      <p:pic>
        <p:nvPicPr>
          <p:cNvPr id="13" name="Imagen 12">
            <a:extLst>
              <a:ext uri="{FF2B5EF4-FFF2-40B4-BE49-F238E27FC236}">
                <a16:creationId xmlns:a16="http://schemas.microsoft.com/office/drawing/2014/main" id="{3270BB94-3A74-F305-B62E-478B6D5A7A4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a:off x="-31724" y="472704"/>
            <a:ext cx="761306" cy="346404"/>
          </a:xfrm>
          <a:prstGeom prst="rect">
            <a:avLst/>
          </a:prstGeom>
        </p:spPr>
      </p:pic>
    </p:spTree>
    <p:extLst>
      <p:ext uri="{BB962C8B-B14F-4D97-AF65-F5344CB8AC3E}">
        <p14:creationId xmlns:p14="http://schemas.microsoft.com/office/powerpoint/2010/main" val="311932980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57F68F58-6AE7-DC56-A37D-3815C5E7F4A8}"/>
              </a:ext>
            </a:extLst>
          </p:cNvPr>
          <p:cNvGrpSpPr/>
          <p:nvPr userDrawn="1"/>
        </p:nvGrpSpPr>
        <p:grpSpPr>
          <a:xfrm rot="10800000" flipH="1">
            <a:off x="0" y="0"/>
            <a:ext cx="12192000" cy="6858000"/>
            <a:chOff x="0" y="0"/>
            <a:chExt cx="12192000" cy="685800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riángulo isósceles 5">
              <a:extLst>
                <a:ext uri="{FF2B5EF4-FFF2-40B4-BE49-F238E27FC236}">
                  <a16:creationId xmlns:a16="http://schemas.microsoft.com/office/drawing/2014/main" id="{5D08758D-B65F-C4D9-0202-83F2697A2BD2}"/>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spTree>
    <p:extLst>
      <p:ext uri="{BB962C8B-B14F-4D97-AF65-F5344CB8AC3E}">
        <p14:creationId xmlns:p14="http://schemas.microsoft.com/office/powerpoint/2010/main" val="117672957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25653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133501105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PhAnim="0" userDrawn="1">
  <p:cSld name="2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30880537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E5B75565-3A45-534B-9501-98CA1E1416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042" y="-16043"/>
            <a:ext cx="12405898" cy="6978317"/>
          </a:xfrm>
          <a:prstGeom prst="rect">
            <a:avLst/>
          </a:prstGeom>
        </p:spPr>
      </p:pic>
      <p:pic>
        <p:nvPicPr>
          <p:cNvPr id="9" name="Imagen 8">
            <a:extLst>
              <a:ext uri="{FF2B5EF4-FFF2-40B4-BE49-F238E27FC236}">
                <a16:creationId xmlns:a16="http://schemas.microsoft.com/office/drawing/2014/main" id="{2D854875-D85C-9045-AFF2-9892D3A97E6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9363"/>
          <a:stretch/>
        </p:blipFill>
        <p:spPr>
          <a:xfrm>
            <a:off x="10450693" y="6130885"/>
            <a:ext cx="1382046" cy="466208"/>
          </a:xfrm>
          <a:prstGeom prst="rect">
            <a:avLst/>
          </a:prstGeom>
        </p:spPr>
      </p:pic>
      <p:sp>
        <p:nvSpPr>
          <p:cNvPr id="10" name="Title 1">
            <a:extLst>
              <a:ext uri="{FF2B5EF4-FFF2-40B4-BE49-F238E27FC236}">
                <a16:creationId xmlns:a16="http://schemas.microsoft.com/office/drawing/2014/main" id="{94671BEA-721A-944E-9A84-F723FDD77FA9}"/>
              </a:ext>
            </a:extLst>
          </p:cNvPr>
          <p:cNvSpPr>
            <a:spLocks noGrp="1"/>
          </p:cNvSpPr>
          <p:nvPr>
            <p:ph type="title" hasCustomPrompt="1"/>
          </p:nvPr>
        </p:nvSpPr>
        <p:spPr>
          <a:xfrm>
            <a:off x="914401" y="1848855"/>
            <a:ext cx="10603832" cy="1822988"/>
          </a:xfrm>
          <a:noFill/>
        </p:spPr>
        <p:txBody>
          <a:bodyPr lIns="137160" tIns="137160" rIns="137160" bIns="137160" anchor="t" anchorCtr="0"/>
          <a:lstStyle>
            <a:lvl1pPr algn="ctr">
              <a:defRPr sz="6000" spc="-98" baseline="0">
                <a:solidFill>
                  <a:schemeClr val="accent2">
                    <a:lumMod val="40000"/>
                    <a:lumOff val="60000"/>
                  </a:schemeClr>
                </a:solidFill>
              </a:defRPr>
            </a:lvl1pPr>
          </a:lstStyle>
          <a:p>
            <a:r>
              <a:rPr lang="en-US"/>
              <a:t>Section title</a:t>
            </a:r>
          </a:p>
        </p:txBody>
      </p:sp>
    </p:spTree>
    <p:extLst>
      <p:ext uri="{BB962C8B-B14F-4D97-AF65-F5344CB8AC3E}">
        <p14:creationId xmlns:p14="http://schemas.microsoft.com/office/powerpoint/2010/main" val="198993833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terno Sección">
    <p:spTree>
      <p:nvGrpSpPr>
        <p:cNvPr id="1" name=""/>
        <p:cNvGrpSpPr/>
        <p:nvPr/>
      </p:nvGrpSpPr>
      <p:grpSpPr>
        <a:xfrm>
          <a:off x="0" y="0"/>
          <a:ext cx="0" cy="0"/>
          <a:chOff x="0" y="0"/>
          <a:chExt cx="0" cy="0"/>
        </a:xfrm>
      </p:grpSpPr>
      <p:sp>
        <p:nvSpPr>
          <p:cNvPr id="19" name="Marcador de número de diapositiva 5">
            <a:extLst>
              <a:ext uri="{FF2B5EF4-FFF2-40B4-BE49-F238E27FC236}">
                <a16:creationId xmlns:a16="http://schemas.microsoft.com/office/drawing/2014/main" id="{D4C435DB-248E-B8A7-87A1-4C4655C4CB71}"/>
              </a:ext>
            </a:extLst>
          </p:cNvPr>
          <p:cNvSpPr txBox="1">
            <a:spLocks/>
          </p:cNvSpPr>
          <p:nvPr userDrawn="1"/>
        </p:nvSpPr>
        <p:spPr>
          <a:xfrm>
            <a:off x="4775199" y="6452918"/>
            <a:ext cx="2743200" cy="365125"/>
          </a:xfrm>
          <a:prstGeom prst="rect">
            <a:avLst/>
          </a:prstGeom>
        </p:spPr>
        <p:txBody>
          <a:bodyPr anchor="t"/>
          <a:lstStyle>
            <a:defPPr>
              <a:defRPr lang="es-CO"/>
            </a:defPPr>
            <a:lvl1pPr marL="0" algn="l" defTabSz="914400" rtl="0" eaLnBrk="1" latinLnBrk="0" hangingPunct="1">
              <a:defRPr sz="1800" kern="1200">
                <a:solidFill>
                  <a:schemeClr val="bg1">
                    <a:lumMod val="9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4C6C1A2-A7E8-A349-BC65-CFD954CC74C7}" type="slidenum">
              <a:rPr lang="es-CO" sz="1000" smtClean="0">
                <a:solidFill>
                  <a:srgbClr val="9275FF"/>
                </a:solidFill>
                <a:latin typeface="Avenir Book" panose="02000503020000020003" pitchFamily="2" charset="0"/>
              </a:rPr>
              <a:pPr algn="ctr"/>
              <a:t>‹#›</a:t>
            </a:fld>
            <a:endParaRPr lang="es-CO" sz="1000">
              <a:solidFill>
                <a:srgbClr val="9275FF"/>
              </a:solidFill>
              <a:latin typeface="Avenir Book" panose="02000503020000020003" pitchFamily="2" charset="0"/>
            </a:endParaRPr>
          </a:p>
        </p:txBody>
      </p:sp>
      <p:sp>
        <p:nvSpPr>
          <p:cNvPr id="13" name="Marcador de texto 15">
            <a:extLst>
              <a:ext uri="{FF2B5EF4-FFF2-40B4-BE49-F238E27FC236}">
                <a16:creationId xmlns:a16="http://schemas.microsoft.com/office/drawing/2014/main" id="{1B023B90-BA8B-D55C-19C5-C73CE8087E31}"/>
              </a:ext>
            </a:extLst>
          </p:cNvPr>
          <p:cNvSpPr>
            <a:spLocks noGrp="1"/>
          </p:cNvSpPr>
          <p:nvPr>
            <p:ph type="body" sz="quarter" idx="16" hasCustomPrompt="1"/>
          </p:nvPr>
        </p:nvSpPr>
        <p:spPr>
          <a:xfrm>
            <a:off x="2984770" y="2033716"/>
            <a:ext cx="4140392" cy="4096496"/>
          </a:xfrm>
        </p:spPr>
        <p:txBody>
          <a:bodyPr anchor="t">
            <a:normAutofit/>
          </a:bodyPr>
          <a:lstStyle>
            <a:lvl1pPr marL="0" indent="0" algn="l">
              <a:lnSpc>
                <a:spcPct val="100000"/>
              </a:lnSpc>
              <a:buNone/>
              <a:defRPr lang="es-MX" sz="1200" b="0" i="0" kern="1200" dirty="0">
                <a:solidFill>
                  <a:srgbClr val="0E3636"/>
                </a:solidFill>
                <a:effectLst/>
                <a:latin typeface="Avenir Book" panose="02000503020000020003" pitchFamily="2" charset="0"/>
                <a:ea typeface="+mn-ea"/>
                <a:cs typeface="+mn-cs"/>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marL="1828800" indent="0" algn="ctr">
              <a:buNone/>
              <a:defRPr>
                <a:solidFill>
                  <a:schemeClr val="bg1">
                    <a:lumMod val="95000"/>
                  </a:schemeClr>
                </a:solidFill>
              </a:defRPr>
            </a:lvl5pPr>
          </a:lstStyle>
          <a:p>
            <a:pPr lvl="0"/>
            <a:r>
              <a:rPr lang="es-MX"/>
              <a:t>Agrregar texto</a:t>
            </a:r>
            <a:endParaRPr lang="es-CO"/>
          </a:p>
        </p:txBody>
      </p:sp>
      <p:sp>
        <p:nvSpPr>
          <p:cNvPr id="20" name="Marcador de texto 23">
            <a:extLst>
              <a:ext uri="{FF2B5EF4-FFF2-40B4-BE49-F238E27FC236}">
                <a16:creationId xmlns:a16="http://schemas.microsoft.com/office/drawing/2014/main" id="{1389B5E8-9979-BEF3-88B5-B300E9B5D159}"/>
              </a:ext>
            </a:extLst>
          </p:cNvPr>
          <p:cNvSpPr>
            <a:spLocks noGrp="1"/>
          </p:cNvSpPr>
          <p:nvPr>
            <p:ph type="body" sz="quarter" idx="12"/>
          </p:nvPr>
        </p:nvSpPr>
        <p:spPr>
          <a:xfrm>
            <a:off x="2984769" y="1218322"/>
            <a:ext cx="4236960" cy="646331"/>
          </a:xfrm>
        </p:spPr>
        <p:txBody>
          <a:bodyPr anchor="t">
            <a:noAutofit/>
          </a:bodyPr>
          <a:lstStyle>
            <a:lvl1pPr marL="0" indent="0">
              <a:buNone/>
              <a:defRPr sz="1800" b="0" i="0">
                <a:solidFill>
                  <a:srgbClr val="442E98"/>
                </a:solidFill>
                <a:latin typeface="Poppins Medium" pitchFamily="2" charset="77"/>
                <a:cs typeface="Poppins Medium" pitchFamily="2" charset="77"/>
              </a:defRPr>
            </a:lvl1pPr>
            <a:lvl2pPr>
              <a:defRPr>
                <a:latin typeface="Poppins" pitchFamily="2" charset="77"/>
                <a:cs typeface="Poppins" pitchFamily="2" charset="77"/>
              </a:defRPr>
            </a:lvl2pPr>
            <a:lvl3pPr>
              <a:defRPr>
                <a:latin typeface="Poppins" pitchFamily="2" charset="77"/>
                <a:cs typeface="Poppins" pitchFamily="2" charset="77"/>
              </a:defRPr>
            </a:lvl3pPr>
            <a:lvl4pPr>
              <a:defRPr>
                <a:latin typeface="Poppins" pitchFamily="2" charset="77"/>
                <a:cs typeface="Poppins" pitchFamily="2" charset="77"/>
              </a:defRPr>
            </a:lvl4pPr>
            <a:lvl5pPr>
              <a:defRPr>
                <a:latin typeface="Poppins" pitchFamily="2" charset="77"/>
                <a:cs typeface="Poppins" pitchFamily="2" charset="77"/>
              </a:defRPr>
            </a:lvl5pPr>
          </a:lstStyle>
          <a:p>
            <a:pPr lvl="0"/>
            <a:r>
              <a:rPr lang="es-MX"/>
              <a:t>Haga clic para modificar los estilos de texto del patrón</a:t>
            </a:r>
            <a:endParaRPr lang="es-CO"/>
          </a:p>
        </p:txBody>
      </p:sp>
      <p:sp>
        <p:nvSpPr>
          <p:cNvPr id="27" name="Marcador de texto 15">
            <a:extLst>
              <a:ext uri="{FF2B5EF4-FFF2-40B4-BE49-F238E27FC236}">
                <a16:creationId xmlns:a16="http://schemas.microsoft.com/office/drawing/2014/main" id="{A105FD16-454C-32B5-2FEB-2EA2413DF93B}"/>
              </a:ext>
            </a:extLst>
          </p:cNvPr>
          <p:cNvSpPr>
            <a:spLocks noGrp="1"/>
          </p:cNvSpPr>
          <p:nvPr>
            <p:ph type="body" sz="quarter" idx="15" hasCustomPrompt="1"/>
          </p:nvPr>
        </p:nvSpPr>
        <p:spPr>
          <a:xfrm>
            <a:off x="2545210" y="460141"/>
            <a:ext cx="4230403" cy="215444"/>
          </a:xfrm>
        </p:spPr>
        <p:txBody>
          <a:bodyPr anchor="t">
            <a:normAutofit/>
          </a:bodyPr>
          <a:lstStyle>
            <a:lvl1pPr marL="0" indent="0" algn="l">
              <a:buNone/>
              <a:defRPr lang="es-MX" sz="800" kern="1200" dirty="0" smtClean="0">
                <a:solidFill>
                  <a:schemeClr val="tx1"/>
                </a:solidFill>
                <a:latin typeface="Avenir Book" panose="02000503020000020003" pitchFamily="2" charset="0"/>
                <a:ea typeface="+mn-ea"/>
                <a:cs typeface="+mn-cs"/>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marL="1828800" indent="0" algn="ctr">
              <a:buNone/>
              <a:defRPr>
                <a:solidFill>
                  <a:schemeClr val="bg1">
                    <a:lumMod val="95000"/>
                  </a:schemeClr>
                </a:solidFill>
              </a:defRPr>
            </a:lvl5pPr>
          </a:lstStyle>
          <a:p>
            <a:pPr lvl="0"/>
            <a:r>
              <a:rPr lang="es-MX"/>
              <a:t>Agregar miga de pan</a:t>
            </a:r>
            <a:endParaRPr lang="es-CO"/>
          </a:p>
        </p:txBody>
      </p:sp>
      <p:sp>
        <p:nvSpPr>
          <p:cNvPr id="29" name="Marcador de texto 23">
            <a:extLst>
              <a:ext uri="{FF2B5EF4-FFF2-40B4-BE49-F238E27FC236}">
                <a16:creationId xmlns:a16="http://schemas.microsoft.com/office/drawing/2014/main" id="{1377EF7F-AEFE-EEC9-BD13-49EFEEED3C4F}"/>
              </a:ext>
            </a:extLst>
          </p:cNvPr>
          <p:cNvSpPr>
            <a:spLocks noGrp="1"/>
          </p:cNvSpPr>
          <p:nvPr>
            <p:ph type="body" sz="quarter" idx="20"/>
          </p:nvPr>
        </p:nvSpPr>
        <p:spPr>
          <a:xfrm>
            <a:off x="8350142" y="1989787"/>
            <a:ext cx="2871874" cy="2878427"/>
          </a:xfrm>
        </p:spPr>
        <p:txBody>
          <a:bodyPr anchor="ctr">
            <a:noAutofit/>
          </a:bodyPr>
          <a:lstStyle>
            <a:lvl1pPr marL="0" indent="0">
              <a:buNone/>
              <a:defRPr lang="es-CO" sz="2000" u="sng" kern="1200" dirty="0">
                <a:solidFill>
                  <a:srgbClr val="9275FF"/>
                </a:solidFill>
                <a:latin typeface="Poppins Medium" pitchFamily="2" charset="77"/>
                <a:ea typeface="+mn-ea"/>
                <a:cs typeface="Poppins Medium" pitchFamily="2" charset="77"/>
              </a:defRPr>
            </a:lvl1pPr>
            <a:lvl2pPr>
              <a:defRPr>
                <a:latin typeface="Poppins" pitchFamily="2" charset="77"/>
                <a:cs typeface="Poppins" pitchFamily="2" charset="77"/>
              </a:defRPr>
            </a:lvl2pPr>
            <a:lvl3pPr>
              <a:defRPr>
                <a:latin typeface="Poppins" pitchFamily="2" charset="77"/>
                <a:cs typeface="Poppins" pitchFamily="2" charset="77"/>
              </a:defRPr>
            </a:lvl3pPr>
            <a:lvl4pPr>
              <a:defRPr>
                <a:latin typeface="Poppins" pitchFamily="2" charset="77"/>
                <a:cs typeface="Poppins" pitchFamily="2" charset="77"/>
              </a:defRPr>
            </a:lvl4pPr>
            <a:lvl5pPr>
              <a:defRPr>
                <a:latin typeface="Poppins" pitchFamily="2" charset="77"/>
                <a:cs typeface="Poppins" pitchFamily="2" charset="77"/>
              </a:defRPr>
            </a:lvl5pPr>
          </a:lstStyle>
          <a:p>
            <a:pPr lvl="0"/>
            <a:r>
              <a:rPr lang="es-MX"/>
              <a:t>Haga clic para modificar los estilos de texto del patrón</a:t>
            </a:r>
            <a:endParaRPr lang="es-CO"/>
          </a:p>
        </p:txBody>
      </p:sp>
    </p:spTree>
    <p:extLst>
      <p:ext uri="{BB962C8B-B14F-4D97-AF65-F5344CB8AC3E}">
        <p14:creationId xmlns:p14="http://schemas.microsoft.com/office/powerpoint/2010/main" val="12501626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2_Diapositiva de título">
    <p:bg>
      <p:bgPr>
        <a:solidFill>
          <a:srgbClr val="6200EE"/>
        </a:solidFill>
        <a:effectLst/>
      </p:bgPr>
    </p:bg>
    <p:spTree>
      <p:nvGrpSpPr>
        <p:cNvPr id="1" name=""/>
        <p:cNvGrpSpPr/>
        <p:nvPr/>
      </p:nvGrpSpPr>
      <p:grpSpPr>
        <a:xfrm>
          <a:off x="0" y="0"/>
          <a:ext cx="0" cy="0"/>
          <a:chOff x="0" y="0"/>
          <a:chExt cx="0" cy="0"/>
        </a:xfrm>
      </p:grpSpPr>
      <p:pic>
        <p:nvPicPr>
          <p:cNvPr id="3" name="Imagen 2" descr="Icono&#10;&#10;Descripción generada automáticamente con confianza media">
            <a:extLst>
              <a:ext uri="{FF2B5EF4-FFF2-40B4-BE49-F238E27FC236}">
                <a16:creationId xmlns:a16="http://schemas.microsoft.com/office/drawing/2014/main" id="{74C8951A-C480-6462-08BC-10A53B3A8F90}"/>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02885" y="5891327"/>
            <a:ext cx="575295" cy="134562"/>
          </a:xfrm>
          <a:prstGeom prst="rect">
            <a:avLst/>
          </a:prstGeom>
        </p:spPr>
      </p:pic>
      <p:sp>
        <p:nvSpPr>
          <p:cNvPr id="4" name="Picture Placeholder 3">
            <a:extLst>
              <a:ext uri="{FF2B5EF4-FFF2-40B4-BE49-F238E27FC236}">
                <a16:creationId xmlns:a16="http://schemas.microsoft.com/office/drawing/2014/main" id="{8BD6049C-2BE0-EF10-DADE-AC579DA7BE0B}"/>
              </a:ext>
            </a:extLst>
          </p:cNvPr>
          <p:cNvSpPr>
            <a:spLocks noGrp="1"/>
          </p:cNvSpPr>
          <p:nvPr>
            <p:ph type="pic" sz="quarter" idx="12" hasCustomPrompt="1"/>
          </p:nvPr>
        </p:nvSpPr>
        <p:spPr>
          <a:xfrm>
            <a:off x="165174" y="256186"/>
            <a:ext cx="450715" cy="420241"/>
          </a:xfrm>
          <a:prstGeom prst="rect">
            <a:avLst/>
          </a:prstGeom>
          <a:solidFill>
            <a:srgbClr val="FFFFFF"/>
          </a:solidFill>
        </p:spPr>
        <p:txBody>
          <a:bodyPr anchor="ctr"/>
          <a:lstStyle>
            <a:lvl1pPr marL="0" indent="0" algn="ctr">
              <a:lnSpc>
                <a:spcPct val="100000"/>
              </a:lnSpc>
              <a:spcBef>
                <a:spcPts val="0"/>
              </a:spcBef>
              <a:buNone/>
              <a:defRPr sz="800"/>
            </a:lvl1pPr>
          </a:lstStyle>
          <a:p>
            <a:r>
              <a:rPr lang="es-CO"/>
              <a:t>Logo </a:t>
            </a:r>
            <a:r>
              <a:rPr lang="es-CO" err="1"/>
              <a:t>here</a:t>
            </a:r>
            <a:endParaRPr lang="es-CO"/>
          </a:p>
        </p:txBody>
      </p:sp>
      <p:cxnSp>
        <p:nvCxnSpPr>
          <p:cNvPr id="5" name="Conector recto 4">
            <a:extLst>
              <a:ext uri="{FF2B5EF4-FFF2-40B4-BE49-F238E27FC236}">
                <a16:creationId xmlns:a16="http://schemas.microsoft.com/office/drawing/2014/main" id="{043E04FA-A9CF-CF79-C59A-9FD1245095BE}"/>
              </a:ext>
            </a:extLst>
          </p:cNvPr>
          <p:cNvCxnSpPr/>
          <p:nvPr/>
        </p:nvCxnSpPr>
        <p:spPr>
          <a:xfrm>
            <a:off x="0" y="4400434"/>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793BAE32-5BBF-015E-8057-5EB819B10410}"/>
              </a:ext>
            </a:extLst>
          </p:cNvPr>
          <p:cNvCxnSpPr/>
          <p:nvPr/>
        </p:nvCxnSpPr>
        <p:spPr>
          <a:xfrm>
            <a:off x="0" y="4543689"/>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56D6F88-F512-6EDE-3ECB-04408191AF04}"/>
              </a:ext>
            </a:extLst>
          </p:cNvPr>
          <p:cNvCxnSpPr/>
          <p:nvPr/>
        </p:nvCxnSpPr>
        <p:spPr>
          <a:xfrm>
            <a:off x="0" y="4675007"/>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id="{28B6BE3C-D673-8CEB-5933-9FA24C74C0BD}"/>
              </a:ext>
            </a:extLst>
          </p:cNvPr>
          <p:cNvCxnSpPr/>
          <p:nvPr/>
        </p:nvCxnSpPr>
        <p:spPr>
          <a:xfrm>
            <a:off x="0" y="4842859"/>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FFAFF1A9-6DF7-5BA7-F833-1C5D47D1F411}"/>
              </a:ext>
            </a:extLst>
          </p:cNvPr>
          <p:cNvCxnSpPr/>
          <p:nvPr/>
        </p:nvCxnSpPr>
        <p:spPr>
          <a:xfrm>
            <a:off x="1782618" y="5513415"/>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8B95D2BA-FAB8-547C-7F3F-480B2D2CD146}"/>
              </a:ext>
            </a:extLst>
          </p:cNvPr>
          <p:cNvCxnSpPr/>
          <p:nvPr/>
        </p:nvCxnSpPr>
        <p:spPr>
          <a:xfrm>
            <a:off x="1782618" y="5656670"/>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510AEE90-597C-D943-1F40-59CF579889A9}"/>
              </a:ext>
            </a:extLst>
          </p:cNvPr>
          <p:cNvCxnSpPr/>
          <p:nvPr/>
        </p:nvCxnSpPr>
        <p:spPr>
          <a:xfrm>
            <a:off x="1782618" y="5787988"/>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7D050868-1F8B-97A3-2D19-7881353204C3}"/>
              </a:ext>
            </a:extLst>
          </p:cNvPr>
          <p:cNvCxnSpPr/>
          <p:nvPr/>
        </p:nvCxnSpPr>
        <p:spPr>
          <a:xfrm>
            <a:off x="1782618" y="5955840"/>
            <a:ext cx="1782618" cy="1681018"/>
          </a:xfrm>
          <a:prstGeom prst="line">
            <a:avLst/>
          </a:prstGeom>
          <a:ln>
            <a:solidFill>
              <a:srgbClr val="FFFFFF">
                <a:alpha val="30196"/>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27393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2"/>
        <p:cNvGrpSpPr/>
        <p:nvPr/>
      </p:nvGrpSpPr>
      <p:grpSpPr>
        <a:xfrm>
          <a:off x="0" y="0"/>
          <a:ext cx="0" cy="0"/>
          <a:chOff x="0" y="0"/>
          <a:chExt cx="0" cy="0"/>
        </a:xfrm>
      </p:grpSpPr>
      <p:sp>
        <p:nvSpPr>
          <p:cNvPr id="13" name="Google Shape;13;p3"/>
          <p:cNvSpPr>
            <a:spLocks noGrp="1"/>
          </p:cNvSpPr>
          <p:nvPr>
            <p:ph type="pic" idx="2"/>
          </p:nvPr>
        </p:nvSpPr>
        <p:spPr>
          <a:xfrm>
            <a:off x="950967" y="719333"/>
            <a:ext cx="10290000" cy="5425200"/>
          </a:xfrm>
          <a:prstGeom prst="rect">
            <a:avLst/>
          </a:prstGeom>
          <a:noFill/>
          <a:ln>
            <a:noFill/>
          </a:ln>
        </p:spPr>
      </p:sp>
      <p:sp>
        <p:nvSpPr>
          <p:cNvPr id="14" name="Google Shape;14;p3"/>
          <p:cNvSpPr txBox="1">
            <a:spLocks noGrp="1"/>
          </p:cNvSpPr>
          <p:nvPr>
            <p:ph type="title"/>
          </p:nvPr>
        </p:nvSpPr>
        <p:spPr>
          <a:xfrm>
            <a:off x="3263433" y="3630667"/>
            <a:ext cx="7977600" cy="1122400"/>
          </a:xfrm>
          <a:prstGeom prst="rect">
            <a:avLst/>
          </a:prstGeom>
          <a:solidFill>
            <a:schemeClr val="dk1"/>
          </a:solidFill>
        </p:spPr>
        <p:txBody>
          <a:bodyPr spcFirstLastPara="1" wrap="square" lIns="91425" tIns="91425" rIns="91425" bIns="91425" anchor="ctr" anchorCtr="0">
            <a:noAutofit/>
          </a:bodyPr>
          <a:lstStyle>
            <a:lvl1pPr lvl="0" algn="r">
              <a:spcBef>
                <a:spcPts val="0"/>
              </a:spcBef>
              <a:spcAft>
                <a:spcPts val="0"/>
              </a:spcAft>
              <a:buSzPts val="3600"/>
              <a:buNone/>
              <a:defRPr sz="56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title" idx="3" hasCustomPrompt="1"/>
          </p:nvPr>
        </p:nvSpPr>
        <p:spPr>
          <a:xfrm>
            <a:off x="9132533" y="1364100"/>
            <a:ext cx="2108400" cy="1122400"/>
          </a:xfrm>
          <a:prstGeom prst="rect">
            <a:avLst/>
          </a:prstGeom>
          <a:solidFill>
            <a:schemeClr val="dk1"/>
          </a:solidFill>
        </p:spPr>
        <p:txBody>
          <a:bodyPr spcFirstLastPara="1" wrap="square" lIns="91425" tIns="91425" rIns="91425" bIns="91425" anchor="ctr" anchorCtr="0">
            <a:noAutofit/>
          </a:bodyPr>
          <a:lstStyle>
            <a:lvl1pPr lvl="0" algn="r" rtl="0">
              <a:spcBef>
                <a:spcPts val="0"/>
              </a:spcBef>
              <a:spcAft>
                <a:spcPts val="0"/>
              </a:spcAft>
              <a:buSzPts val="6000"/>
              <a:buNone/>
              <a:defRPr sz="8000">
                <a:solidFill>
                  <a:schemeClr val="lt1"/>
                </a:solidFill>
              </a:defRPr>
            </a:lvl1pPr>
            <a:lvl2pPr lvl="1" algn="ctr" rtl="0">
              <a:spcBef>
                <a:spcPts val="0"/>
              </a:spcBef>
              <a:spcAft>
                <a:spcPts val="0"/>
              </a:spcAft>
              <a:buSzPts val="6000"/>
              <a:buNone/>
              <a:defRPr sz="8000"/>
            </a:lvl2pPr>
            <a:lvl3pPr lvl="2" algn="ctr" rtl="0">
              <a:spcBef>
                <a:spcPts val="0"/>
              </a:spcBef>
              <a:spcAft>
                <a:spcPts val="0"/>
              </a:spcAft>
              <a:buSzPts val="6000"/>
              <a:buNone/>
              <a:defRPr sz="8000"/>
            </a:lvl3pPr>
            <a:lvl4pPr lvl="3" algn="ctr" rtl="0">
              <a:spcBef>
                <a:spcPts val="0"/>
              </a:spcBef>
              <a:spcAft>
                <a:spcPts val="0"/>
              </a:spcAft>
              <a:buSzPts val="6000"/>
              <a:buNone/>
              <a:defRPr sz="8000"/>
            </a:lvl4pPr>
            <a:lvl5pPr lvl="4" algn="ctr" rtl="0">
              <a:spcBef>
                <a:spcPts val="0"/>
              </a:spcBef>
              <a:spcAft>
                <a:spcPts val="0"/>
              </a:spcAft>
              <a:buSzPts val="6000"/>
              <a:buNone/>
              <a:defRPr sz="8000"/>
            </a:lvl5pPr>
            <a:lvl6pPr lvl="5" algn="ctr" rtl="0">
              <a:spcBef>
                <a:spcPts val="0"/>
              </a:spcBef>
              <a:spcAft>
                <a:spcPts val="0"/>
              </a:spcAft>
              <a:buSzPts val="6000"/>
              <a:buNone/>
              <a:defRPr sz="8000"/>
            </a:lvl6pPr>
            <a:lvl7pPr lvl="6" algn="ctr" rtl="0">
              <a:spcBef>
                <a:spcPts val="0"/>
              </a:spcBef>
              <a:spcAft>
                <a:spcPts val="0"/>
              </a:spcAft>
              <a:buSzPts val="6000"/>
              <a:buNone/>
              <a:defRPr sz="8000"/>
            </a:lvl7pPr>
            <a:lvl8pPr lvl="7" algn="ctr" rtl="0">
              <a:spcBef>
                <a:spcPts val="0"/>
              </a:spcBef>
              <a:spcAft>
                <a:spcPts val="0"/>
              </a:spcAft>
              <a:buSzPts val="6000"/>
              <a:buNone/>
              <a:defRPr sz="8000"/>
            </a:lvl8pPr>
            <a:lvl9pPr lvl="8" algn="ctr" rtl="0">
              <a:spcBef>
                <a:spcPts val="0"/>
              </a:spcBef>
              <a:spcAft>
                <a:spcPts val="0"/>
              </a:spcAft>
              <a:buSzPts val="6000"/>
              <a:buNone/>
              <a:defRPr sz="8000"/>
            </a:lvl9pPr>
          </a:lstStyle>
          <a:p>
            <a:r>
              <a:t>xx%</a:t>
            </a:r>
          </a:p>
        </p:txBody>
      </p:sp>
      <p:sp>
        <p:nvSpPr>
          <p:cNvPr id="16" name="Google Shape;16;p3"/>
          <p:cNvSpPr txBox="1">
            <a:spLocks noGrp="1"/>
          </p:cNvSpPr>
          <p:nvPr>
            <p:ph type="subTitle" idx="1"/>
          </p:nvPr>
        </p:nvSpPr>
        <p:spPr>
          <a:xfrm>
            <a:off x="3771900" y="4753067"/>
            <a:ext cx="7469200" cy="564400"/>
          </a:xfrm>
          <a:prstGeom prst="rect">
            <a:avLst/>
          </a:prstGeom>
          <a:solidFill>
            <a:schemeClr val="lt2"/>
          </a:solidFill>
        </p:spPr>
        <p:txBody>
          <a:bodyPr spcFirstLastPara="1" wrap="square" lIns="91425" tIns="91425" rIns="91425" bIns="91425" anchor="t" anchorCtr="0">
            <a:noAutofit/>
          </a:bodyPr>
          <a:lstStyle>
            <a:lvl1pPr lvl="0" algn="r" rtl="0">
              <a:lnSpc>
                <a:spcPct val="100000"/>
              </a:lnSpc>
              <a:spcBef>
                <a:spcPts val="0"/>
              </a:spcBef>
              <a:spcAft>
                <a:spcPts val="0"/>
              </a:spcAft>
              <a:buSzPts val="1400"/>
              <a:buNone/>
              <a:defRPr sz="2133"/>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2448611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B2C59-5AD1-DC36-5954-232685A165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D9BFDD-E1D2-6F2D-A8E8-D8C0C6CA1C0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D47C96-CA0C-21AD-F974-9DA0D3E50690}"/>
              </a:ext>
            </a:extLst>
          </p:cNvPr>
          <p:cNvSpPr>
            <a:spLocks noGrp="1"/>
          </p:cNvSpPr>
          <p:nvPr>
            <p:ph type="dt" sz="half" idx="10"/>
          </p:nvPr>
        </p:nvSpPr>
        <p:spPr/>
        <p:txBody>
          <a:bodyPr/>
          <a:lstStyle/>
          <a:p>
            <a:fld id="{FE8EE82D-5829-4D06-9239-49E8FA02DC21}" type="datetimeFigureOut">
              <a:rPr lang="en-US" smtClean="0"/>
              <a:t>11/27/2024</a:t>
            </a:fld>
            <a:endParaRPr lang="en-US"/>
          </a:p>
        </p:txBody>
      </p:sp>
      <p:sp>
        <p:nvSpPr>
          <p:cNvPr id="5" name="Footer Placeholder 4">
            <a:extLst>
              <a:ext uri="{FF2B5EF4-FFF2-40B4-BE49-F238E27FC236}">
                <a16:creationId xmlns:a16="http://schemas.microsoft.com/office/drawing/2014/main" id="{153B1826-7224-CDC8-8319-4772164EFD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1467D-3294-9F4E-9AC0-2064B0ADEAA3}"/>
              </a:ext>
            </a:extLst>
          </p:cNvPr>
          <p:cNvSpPr>
            <a:spLocks noGrp="1"/>
          </p:cNvSpPr>
          <p:nvPr>
            <p:ph type="sldNum" sz="quarter" idx="12"/>
          </p:nvPr>
        </p:nvSpPr>
        <p:spPr/>
        <p:txBody>
          <a:bodyPr/>
          <a:lstStyle/>
          <a:p>
            <a:fld id="{A929F1A2-D254-469F-9FCB-A85B0E49D283}" type="slidenum">
              <a:rPr lang="en-US" smtClean="0"/>
              <a:t>‹#›</a:t>
            </a:fld>
            <a:endParaRPr lang="en-US"/>
          </a:p>
        </p:txBody>
      </p:sp>
    </p:spTree>
    <p:extLst>
      <p:ext uri="{BB962C8B-B14F-4D97-AF65-F5344CB8AC3E}">
        <p14:creationId xmlns:p14="http://schemas.microsoft.com/office/powerpoint/2010/main" val="121785141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45354">
                  <a:tint val="75000"/>
                </a:srgbClr>
              </a:solidFill>
              <a:effectLst/>
              <a:uLnTx/>
              <a:uFillTx/>
              <a:latin typeface="Poppins Light"/>
              <a:ea typeface="+mn-ea"/>
              <a:cs typeface="+mn-cs"/>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545354">
                    <a:tint val="75000"/>
                  </a:srgbClr>
                </a:solidFill>
                <a:effectLst/>
                <a:uLnTx/>
                <a:uFillTx/>
                <a:latin typeface="Poppins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7/2024</a:t>
            </a:fld>
            <a:endParaRPr kumimoji="0" lang="en-US" sz="1800" b="0" i="0" u="none" strike="noStrike" kern="1200" cap="none" spc="0" normalizeH="0" baseline="0" noProof="0">
              <a:ln>
                <a:noFill/>
              </a:ln>
              <a:solidFill>
                <a:srgbClr val="545354">
                  <a:tint val="75000"/>
                </a:srgbClr>
              </a:solidFill>
              <a:effectLst/>
              <a:uLnTx/>
              <a:uFillTx/>
              <a:latin typeface="Poppins Light"/>
              <a:ea typeface="+mn-ea"/>
              <a:cs typeface="+mn-cs"/>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545354">
                    <a:tint val="75000"/>
                  </a:srgbClr>
                </a:solidFill>
                <a:effectLst/>
                <a:uLnTx/>
                <a:uFillTx/>
                <a:latin typeface="Poppi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545354">
                  <a:tint val="75000"/>
                </a:srgbClr>
              </a:solidFill>
              <a:effectLst/>
              <a:uLnTx/>
              <a:uFillTx/>
              <a:latin typeface="Poppins Light"/>
              <a:ea typeface="+mn-ea"/>
              <a:cs typeface="+mn-cs"/>
            </a:endParaRPr>
          </a:p>
        </p:txBody>
      </p:sp>
    </p:spTree>
    <p:extLst>
      <p:ext uri="{BB962C8B-B14F-4D97-AF65-F5344CB8AC3E}">
        <p14:creationId xmlns:p14="http://schemas.microsoft.com/office/powerpoint/2010/main" val="10260773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010530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307810055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31729357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253436059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223066689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223945319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353100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787368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390437310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rgbClr val="304258"/>
                </a:solidFill>
                <a:latin typeface="Poppins" panose="00000500000000000000" pitchFamily="2" charset="0"/>
                <a:cs typeface="Poppins" panose="00000500000000000000" pitchFamily="2" charset="0"/>
              </a:rPr>
              <a:t>Data gathering</a:t>
            </a:r>
          </a:p>
          <a:p>
            <a:r>
              <a:rPr lang="en-US">
                <a:solidFill>
                  <a:srgbClr val="304258"/>
                </a:solidFill>
                <a:latin typeface="Poppins" panose="00000500000000000000" pitchFamily="2" charset="0"/>
                <a:cs typeface="Poppins" panose="00000500000000000000" pitchFamily="2" charset="0"/>
              </a:rPr>
              <a:t>Analysis structuring and execution</a:t>
            </a:r>
          </a:p>
          <a:p>
            <a:r>
              <a:rPr lang="en-US">
                <a:solidFill>
                  <a:srgbClr val="304258"/>
                </a:solidFill>
                <a:latin typeface="Poppins" panose="00000500000000000000" pitchFamily="2" charset="0"/>
                <a:cs typeface="Poppins" panose="00000500000000000000" pitchFamily="2" charset="0"/>
              </a:rPr>
              <a:t>Technical expertise</a:t>
            </a:r>
          </a:p>
          <a:p>
            <a:r>
              <a:rPr lang="en-US">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46643527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19973476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09162285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9843718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352139165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144265121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84893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304174301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578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userDrawn="1">
  <p:cSld name="2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38200" y="365125"/>
            <a:ext cx="10515600" cy="1325563"/>
          </a:xfrm>
          <a:prstGeom prst="rect">
            <a:avLst/>
          </a:prstGeo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25878455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3109275069"/>
      </p:ext>
    </p:extLst>
  </p:cSld>
  <p:clrMapOvr>
    <a:masterClrMapping/>
  </p:clrMapOvr>
  <p:transition spd="slow" advTm="2000">
    <p:cover dir="d"/>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8950763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00841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125651229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48907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58574997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392789767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22"/>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a:t>TÍTULO</a:t>
            </a:r>
          </a:p>
          <a:p>
            <a:r>
              <a:rPr lang="en-US"/>
              <a:t>  PROYECTO</a:t>
            </a:r>
          </a:p>
          <a:p>
            <a:pPr>
              <a:buFontTx/>
              <a:buNone/>
              <a:defRPr/>
            </a:pPr>
            <a:r>
              <a:rPr lang="en-US" sz="1800">
                <a:solidFill>
                  <a:srgbClr val="FFFFFF"/>
                </a:solidFill>
                <a:latin typeface="Poppins Light"/>
                <a:cs typeface="+mn-cs"/>
              </a:rPr>
              <a:t>         </a:t>
            </a:r>
            <a:r>
              <a:rPr lang="en-US" sz="1800" err="1">
                <a:solidFill>
                  <a:srgbClr val="FFFFFF"/>
                </a:solidFill>
                <a:latin typeface="Poppins Light"/>
                <a:cs typeface="+mn-cs"/>
              </a:rPr>
              <a:t>Descripción</a:t>
            </a:r>
            <a:endParaRPr lang="en-US" sz="1800">
              <a:solidFill>
                <a:srgbClr val="FFFFFF"/>
              </a:solidFill>
              <a:latin typeface="Poppins Light"/>
              <a:cs typeface="+mn-cs"/>
            </a:endParaRPr>
          </a:p>
          <a:p>
            <a:pPr>
              <a:defRPr/>
            </a:pPr>
            <a:r>
              <a:rPr lang="en-US" sz="1800">
                <a:solidFill>
                  <a:srgbClr val="D5B9FF"/>
                </a:solidFill>
                <a:latin typeface="Poppins Light"/>
                <a:cs typeface="+mn-cs"/>
              </a:rPr>
              <a:t>         Friday, March 22, 2024</a:t>
            </a:r>
            <a:endParaRPr lang="en-US" sz="1800">
              <a:solidFill>
                <a:srgbClr val="FFFFFF"/>
              </a:solidFill>
              <a:latin typeface="Poppins Light"/>
              <a:cs typeface="+mn-cs"/>
            </a:endParaRPr>
          </a:p>
          <a:p>
            <a:pPr>
              <a:buFontTx/>
              <a:buNone/>
              <a:defRPr/>
            </a:pPr>
            <a:endParaRPr lang="en-US" sz="1800">
              <a:solidFill>
                <a:srgbClr val="FFFFFF"/>
              </a:solidFill>
              <a:latin typeface="Poppins Light"/>
              <a:cs typeface="+mn-cs"/>
            </a:endParaRPr>
          </a:p>
          <a:p>
            <a:endParaRPr lang="en-US"/>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a:solidFill>
                <a:srgbClr val="D5B9FF"/>
              </a:solidFill>
            </a:endParaRPr>
          </a:p>
        </p:txBody>
      </p:sp>
      <p:sp>
        <p:nvSpPr>
          <p:cNvPr id="2" name="CuadroTexto 1">
            <a:extLst>
              <a:ext uri="{FF2B5EF4-FFF2-40B4-BE49-F238E27FC236}">
                <a16:creationId xmlns:a16="http://schemas.microsoft.com/office/drawing/2014/main" id="{67017BD7-AB31-38CC-4DE9-36A09F012734}"/>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err="1">
                <a:solidFill>
                  <a:schemeClr val="bg1"/>
                </a:solidFill>
                <a:effectLst/>
                <a:latin typeface="+mj-lt"/>
              </a:rPr>
              <a:t>andres@iotaimpact.com</a:t>
            </a:r>
            <a:endParaRPr lang="es-CO" i="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us</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latam</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l"/>
            <a:endParaRPr lang="es-CO">
              <a:solidFill>
                <a:schemeClr val="bg1"/>
              </a:solidFill>
            </a:endParaRPr>
          </a:p>
        </p:txBody>
      </p:sp>
      <p:pic>
        <p:nvPicPr>
          <p:cNvPr id="3" name="Imagen 2">
            <a:extLst>
              <a:ext uri="{FF2B5EF4-FFF2-40B4-BE49-F238E27FC236}">
                <a16:creationId xmlns:a16="http://schemas.microsoft.com/office/drawing/2014/main" id="{4741025A-CBAB-EEE5-0483-9393666D6C7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299034455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424945259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39370558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preserve="1" userDrawn="1">
  <p:cSld name="1_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38200" y="365125"/>
            <a:ext cx="10515600" cy="1325563"/>
          </a:xfrm>
          <a:prstGeom prst="rect">
            <a:avLst/>
          </a:prstGeo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1402077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Marcador de fecha 3">
            <a:extLst>
              <a:ext uri="{FF2B5EF4-FFF2-40B4-BE49-F238E27FC236}">
                <a16:creationId xmlns:a16="http://schemas.microsoft.com/office/drawing/2014/main" id="{0FC0B111-A78C-D5A2-3DD6-625293704698}"/>
              </a:ext>
            </a:extLst>
          </p:cNvPr>
          <p:cNvSpPr>
            <a:spLocks noGrp="1"/>
          </p:cNvSpPr>
          <p:nvPr>
            <p:ph type="dt" sz="half" idx="10"/>
          </p:nvPr>
        </p:nvSpPr>
        <p:spPr>
          <a:xfrm>
            <a:off x="977064" y="5670960"/>
            <a:ext cx="3236717" cy="365125"/>
          </a:xfrm>
          <a:prstGeom prst="rect">
            <a:avLst/>
          </a:prstGeom>
        </p:spPr>
        <p:txBody>
          <a:bodyPr/>
          <a:lstStyle>
            <a:lvl1pPr marL="0" indent="0" algn="l">
              <a:buFont typeface="Arial" panose="020B0604020202020204" pitchFamily="34" charset="0"/>
              <a:buNone/>
              <a:defRPr b="1">
                <a:solidFill>
                  <a:schemeClr val="bg1"/>
                </a:solidFill>
              </a:defRPr>
            </a:lvl1pPr>
          </a:lstStyle>
          <a:p>
            <a:fld id="{A80612AF-EEE3-4F43-89C6-693985F10456}" type="datetime2">
              <a:rPr lang="es-CO" smtClean="0"/>
              <a:t>miércoles, 27 de noviembre de 2024</a:t>
            </a:fld>
            <a:endParaRPr lang="es-CO"/>
          </a:p>
        </p:txBody>
      </p:sp>
      <p:sp>
        <p:nvSpPr>
          <p:cNvPr id="5" name="Marcador de pie de página 4">
            <a:extLst>
              <a:ext uri="{FF2B5EF4-FFF2-40B4-BE49-F238E27FC236}">
                <a16:creationId xmlns:a16="http://schemas.microsoft.com/office/drawing/2014/main" id="{295D9352-9182-5B80-B0B8-FC189528FB6F}"/>
              </a:ext>
            </a:extLst>
          </p:cNvPr>
          <p:cNvSpPr>
            <a:spLocks noGrp="1"/>
          </p:cNvSpPr>
          <p:nvPr>
            <p:ph type="ftr" sz="quarter" idx="11"/>
          </p:nvPr>
        </p:nvSpPr>
        <p:spPr>
          <a:xfrm>
            <a:off x="977064" y="6209149"/>
            <a:ext cx="5985164" cy="365125"/>
          </a:xfrm>
          <a:prstGeom prst="rect">
            <a:avLst/>
          </a:prstGeom>
        </p:spPr>
        <p:txBody>
          <a:bodyPr/>
          <a:lstStyle>
            <a:lvl1pPr>
              <a:defRPr sz="800">
                <a:solidFill>
                  <a:schemeClr val="bg1"/>
                </a:solidFill>
              </a:defRPr>
            </a:lvl1pPr>
          </a:lstStyle>
          <a:p>
            <a:endParaRPr lang="es-CO"/>
          </a:p>
        </p:txBody>
      </p:sp>
      <p:sp>
        <p:nvSpPr>
          <p:cNvPr id="2" name="Picture Placeholder 3">
            <a:extLst>
              <a:ext uri="{FF2B5EF4-FFF2-40B4-BE49-F238E27FC236}">
                <a16:creationId xmlns:a16="http://schemas.microsoft.com/office/drawing/2014/main" id="{A55F2657-94D4-1A94-8F39-5699AC6AC56D}"/>
              </a:ext>
            </a:extLst>
          </p:cNvPr>
          <p:cNvSpPr>
            <a:spLocks noGrp="1"/>
          </p:cNvSpPr>
          <p:nvPr>
            <p:ph type="pic" sz="quarter" idx="12" hasCustomPrompt="1"/>
          </p:nvPr>
        </p:nvSpPr>
        <p:spPr>
          <a:xfrm>
            <a:off x="977064" y="4613564"/>
            <a:ext cx="1616507" cy="884332"/>
          </a:xfrm>
          <a:prstGeom prst="rect">
            <a:avLst/>
          </a:prstGeom>
          <a:solidFill>
            <a:srgbClr val="FFFFFF"/>
          </a:solidFill>
        </p:spPr>
        <p:txBody>
          <a:bodyPr anchor="ctr"/>
          <a:lstStyle>
            <a:lvl1pPr marL="0" indent="0" algn="ctr">
              <a:lnSpc>
                <a:spcPct val="100000"/>
              </a:lnSpc>
              <a:spcBef>
                <a:spcPts val="0"/>
              </a:spcBef>
              <a:buNone/>
              <a:defRPr/>
            </a:lvl1pPr>
          </a:lstStyle>
          <a:p>
            <a:r>
              <a:rPr lang="es-CO" err="1"/>
              <a:t>Insert</a:t>
            </a:r>
            <a:r>
              <a:rPr lang="es-CO"/>
              <a:t> Logo </a:t>
            </a:r>
            <a:r>
              <a:rPr lang="es-CO" err="1"/>
              <a:t>here</a:t>
            </a:r>
            <a:endParaRPr lang="es-CO"/>
          </a:p>
        </p:txBody>
      </p:sp>
    </p:spTree>
    <p:extLst>
      <p:ext uri="{BB962C8B-B14F-4D97-AF65-F5344CB8AC3E}">
        <p14:creationId xmlns:p14="http://schemas.microsoft.com/office/powerpoint/2010/main" val="201039076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370971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348767026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155908804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13144095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415297311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376606583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51870197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143224706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rgbClr val="304258"/>
                </a:solidFill>
                <a:latin typeface="Poppins" panose="00000500000000000000" pitchFamily="2" charset="0"/>
                <a:cs typeface="Poppins" panose="00000500000000000000" pitchFamily="2" charset="0"/>
              </a:rPr>
              <a:t>Data gathering</a:t>
            </a:r>
          </a:p>
          <a:p>
            <a:r>
              <a:rPr lang="en-US">
                <a:solidFill>
                  <a:srgbClr val="304258"/>
                </a:solidFill>
                <a:latin typeface="Poppins" panose="00000500000000000000" pitchFamily="2" charset="0"/>
                <a:cs typeface="Poppins" panose="00000500000000000000" pitchFamily="2" charset="0"/>
              </a:rPr>
              <a:t>Analysis structuring and execution</a:t>
            </a:r>
          </a:p>
          <a:p>
            <a:r>
              <a:rPr lang="en-US">
                <a:solidFill>
                  <a:srgbClr val="304258"/>
                </a:solidFill>
                <a:latin typeface="Poppins" panose="00000500000000000000" pitchFamily="2" charset="0"/>
                <a:cs typeface="Poppins" panose="00000500000000000000" pitchFamily="2" charset="0"/>
              </a:rPr>
              <a:t>Technical expertise</a:t>
            </a:r>
          </a:p>
          <a:p>
            <a:r>
              <a:rPr lang="en-US">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5698648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13636986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9922748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4297519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5969417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95383377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117278919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73943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271838092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53747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3943164528"/>
      </p:ext>
    </p:extLst>
  </p:cSld>
  <p:clrMapOvr>
    <a:masterClrMapping/>
  </p:clrMapOvr>
  <p:transition spd="slow" advTm="2000">
    <p:cover dir="d"/>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5043189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1154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67945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54935554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662209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02249976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6371409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4F073F8-607F-1F0D-1F94-DE173FD35D1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84150" y="-465138"/>
            <a:ext cx="1447800" cy="2762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D83F68A5-56D2-50A6-B45C-4697020590E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58950" y="-465138"/>
            <a:ext cx="3209925" cy="971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227789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2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219710614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2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3970"/>
            <a:ext cx="12192000" cy="6858000"/>
          </a:xfrm>
          <a:prstGeom prst="rect">
            <a:avLst/>
          </a:prstGeom>
        </p:spPr>
      </p:pic>
      <p:pic>
        <p:nvPicPr>
          <p:cNvPr id="2" name="Imagen 1">
            <a:extLst>
              <a:ext uri="{FF2B5EF4-FFF2-40B4-BE49-F238E27FC236}">
                <a16:creationId xmlns:a16="http://schemas.microsoft.com/office/drawing/2014/main" id="{66CBDFF5-B742-7C26-43F0-E23B8768C35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80380" y="439955"/>
            <a:ext cx="2788158" cy="912281"/>
          </a:xfrm>
          <a:prstGeom prst="rect">
            <a:avLst/>
          </a:prstGeom>
        </p:spPr>
      </p:pic>
      <p:sp>
        <p:nvSpPr>
          <p:cNvPr id="3" name="CuadroTexto 2">
            <a:extLst>
              <a:ext uri="{FF2B5EF4-FFF2-40B4-BE49-F238E27FC236}">
                <a16:creationId xmlns:a16="http://schemas.microsoft.com/office/drawing/2014/main" id="{4EC85468-6DD4-AB84-8BE4-2C23EFB7F5E6}"/>
              </a:ext>
            </a:extLst>
          </p:cNvPr>
          <p:cNvSpPr txBox="1"/>
          <p:nvPr userDrawn="1"/>
        </p:nvSpPr>
        <p:spPr>
          <a:xfrm>
            <a:off x="785191" y="1868557"/>
            <a:ext cx="5764696" cy="2677656"/>
          </a:xfrm>
          <a:prstGeom prst="rect">
            <a:avLst/>
          </a:prstGeom>
          <a:noFill/>
        </p:spPr>
        <p:txBody>
          <a:bodyPr wrap="square" rtlCol="0">
            <a:spAutoFit/>
          </a:bodyPr>
          <a:lstStyle/>
          <a:p>
            <a:pPr algn="l"/>
            <a:r>
              <a:rPr lang="es-CO" sz="1800" b="0" i="0">
                <a:solidFill>
                  <a:srgbClr val="000000"/>
                </a:solidFill>
                <a:effectLst/>
                <a:highlight>
                  <a:srgbClr val="EDEBE9"/>
                </a:highlight>
                <a:latin typeface="Poppins" pitchFamily="2" charset="77"/>
              </a:rPr>
              <a:t>​</a:t>
            </a:r>
            <a:r>
              <a:rPr lang="es-CO" sz="4400" b="1" i="0" err="1">
                <a:solidFill>
                  <a:schemeClr val="bg1"/>
                </a:solidFill>
                <a:latin typeface="Poppins" pitchFamily="2" charset="77"/>
                <a:cs typeface="Poppins" pitchFamily="2" charset="77"/>
              </a:rPr>
              <a:t>Let’s</a:t>
            </a:r>
            <a:r>
              <a:rPr lang="es-CO" sz="4400" b="1" i="0">
                <a:solidFill>
                  <a:schemeClr val="bg1"/>
                </a:solidFill>
                <a:latin typeface="Poppins" pitchFamily="2" charset="77"/>
                <a:cs typeface="Poppins" pitchFamily="2" charset="77"/>
              </a:rPr>
              <a:t> Future-</a:t>
            </a:r>
            <a:r>
              <a:rPr lang="es-CO" sz="4400" b="1" i="0" err="1">
                <a:solidFill>
                  <a:schemeClr val="bg1"/>
                </a:solidFill>
                <a:latin typeface="Poppins" pitchFamily="2" charset="77"/>
                <a:cs typeface="Poppins" pitchFamily="2" charset="77"/>
              </a:rPr>
              <a:t>Proof</a:t>
            </a:r>
            <a:endParaRPr lang="es-CO" sz="4400" b="1" i="0">
              <a:solidFill>
                <a:schemeClr val="bg1"/>
              </a:solidFill>
              <a:latin typeface="Poppins" pitchFamily="2" charset="77"/>
              <a:cs typeface="Poppins" pitchFamily="2" charset="77"/>
            </a:endParaRPr>
          </a:p>
          <a:p>
            <a:pPr algn="l"/>
            <a:r>
              <a:rPr lang="es-CO" sz="4400" b="1" i="0" err="1">
                <a:solidFill>
                  <a:schemeClr val="bg1"/>
                </a:solidFill>
                <a:latin typeface="Poppins" pitchFamily="2" charset="77"/>
                <a:cs typeface="Poppins" pitchFamily="2" charset="77"/>
              </a:rPr>
              <a:t>Your</a:t>
            </a:r>
            <a:r>
              <a:rPr lang="es-CO" sz="4400" b="1" i="0">
                <a:solidFill>
                  <a:schemeClr val="bg1"/>
                </a:solidFill>
                <a:latin typeface="Poppins" pitchFamily="2" charset="77"/>
                <a:cs typeface="Poppins" pitchFamily="2" charset="77"/>
              </a:rPr>
              <a:t> Business.​</a:t>
            </a:r>
            <a:br>
              <a:rPr lang="es-CO" sz="4400" b="1" i="0">
                <a:solidFill>
                  <a:schemeClr val="bg1"/>
                </a:solidFill>
                <a:latin typeface="Poppins" pitchFamily="2" charset="77"/>
                <a:cs typeface="Poppins" pitchFamily="2" charset="77"/>
              </a:rPr>
            </a:br>
            <a:r>
              <a:rPr lang="es-CO" sz="4400" b="1" i="0">
                <a:solidFill>
                  <a:schemeClr val="bg1"/>
                </a:solidFill>
                <a:latin typeface="Poppins" pitchFamily="2" charset="77"/>
                <a:cs typeface="Poppins" pitchFamily="2" charset="77"/>
              </a:rPr>
              <a:t>​</a:t>
            </a:r>
            <a:br>
              <a:rPr lang="es-CO" b="0" i="0">
                <a:solidFill>
                  <a:srgbClr val="FFFFFF"/>
                </a:solidFill>
                <a:effectLst/>
                <a:highlight>
                  <a:srgbClr val="212121"/>
                </a:highlight>
                <a:latin typeface="Söhne"/>
              </a:rPr>
            </a:br>
            <a:endParaRPr lang="es-CO" b="0" i="0">
              <a:solidFill>
                <a:srgbClr val="FFFFFF"/>
              </a:solidFill>
              <a:effectLst/>
              <a:highlight>
                <a:srgbClr val="212121"/>
              </a:highlight>
              <a:latin typeface="Söhne"/>
            </a:endParaRPr>
          </a:p>
          <a:p>
            <a:endParaRPr lang="es-CO"/>
          </a:p>
        </p:txBody>
      </p:sp>
      <p:sp>
        <p:nvSpPr>
          <p:cNvPr id="4" name="Marcador de fecha 3">
            <a:extLst>
              <a:ext uri="{FF2B5EF4-FFF2-40B4-BE49-F238E27FC236}">
                <a16:creationId xmlns:a16="http://schemas.microsoft.com/office/drawing/2014/main" id="{368839BF-B971-796D-8913-D6A1D19A7239}"/>
              </a:ext>
            </a:extLst>
          </p:cNvPr>
          <p:cNvSpPr txBox="1">
            <a:spLocks/>
          </p:cNvSpPr>
          <p:nvPr userDrawn="1"/>
        </p:nvSpPr>
        <p:spPr>
          <a:xfrm>
            <a:off x="785191" y="3429000"/>
            <a:ext cx="6378685"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r>
              <a:rPr lang="en-US" sz="1800" b="0" i="0" u="none" strike="noStrike">
                <a:solidFill>
                  <a:srgbClr val="FFFFFF"/>
                </a:solidFill>
                <a:effectLst/>
                <a:latin typeface="Poppins" pitchFamily="2" charset="77"/>
              </a:rPr>
              <a:t>CUTTING-EDGE RESEARCH</a:t>
            </a:r>
            <a:r>
              <a:rPr lang="en-US" sz="1800" b="0" i="0">
                <a:solidFill>
                  <a:srgbClr val="000000"/>
                </a:solidFill>
                <a:effectLst/>
                <a:latin typeface="Poppins" pitchFamily="2" charset="77"/>
              </a:rPr>
              <a:t>​</a:t>
            </a:r>
            <a:endParaRPr lang="en-US" b="0" i="0">
              <a:solidFill>
                <a:srgbClr val="000000"/>
              </a:solidFill>
              <a:effectLst/>
              <a:latin typeface="Segoe UI" panose="020B0502040204020203" pitchFamily="34" charset="0"/>
            </a:endParaRPr>
          </a:p>
          <a:p>
            <a:pPr algn="l" rtl="0" fontAlgn="base"/>
            <a:r>
              <a:rPr lang="en-US" sz="1800" b="0" i="0" u="none" strike="noStrike">
                <a:solidFill>
                  <a:srgbClr val="FFFFFF"/>
                </a:solidFill>
                <a:effectLst/>
                <a:latin typeface="Poppins" pitchFamily="2" charset="77"/>
              </a:rPr>
              <a:t>&amp; CONSULTING SOLUTIONS.</a:t>
            </a:r>
            <a:endParaRPr lang="en-US" b="0" i="0">
              <a:solidFill>
                <a:srgbClr val="000000"/>
              </a:solidFill>
              <a:effectLst/>
              <a:latin typeface="Segoe UI" panose="020B0502040204020203" pitchFamily="34" charset="0"/>
            </a:endParaRPr>
          </a:p>
        </p:txBody>
      </p:sp>
      <p:sp>
        <p:nvSpPr>
          <p:cNvPr id="5" name="CuadroTexto 4">
            <a:extLst>
              <a:ext uri="{FF2B5EF4-FFF2-40B4-BE49-F238E27FC236}">
                <a16:creationId xmlns:a16="http://schemas.microsoft.com/office/drawing/2014/main" id="{AF67E6AD-30BB-1951-6E76-DB9EC75D5535}"/>
              </a:ext>
            </a:extLst>
          </p:cNvPr>
          <p:cNvSpPr txBox="1"/>
          <p:nvPr userDrawn="1"/>
        </p:nvSpPr>
        <p:spPr>
          <a:xfrm>
            <a:off x="785191" y="4914571"/>
            <a:ext cx="5780049" cy="1923604"/>
          </a:xfrm>
          <a:prstGeom prst="rect">
            <a:avLst/>
          </a:prstGeom>
          <a:noFill/>
        </p:spPr>
        <p:txBody>
          <a:bodyPr wrap="square" rtlCol="0">
            <a:spAutoFit/>
          </a:bodyPr>
          <a:lstStyle/>
          <a:p>
            <a:pPr algn="l"/>
            <a:r>
              <a:rPr lang="es-CO" sz="2800" b="1" i="0" u="none">
                <a:solidFill>
                  <a:schemeClr val="bg1"/>
                </a:solidFill>
                <a:effectLst/>
                <a:latin typeface="Poppins Medium" pitchFamily="2" charset="77"/>
                <a:cs typeface="Poppins Medium" pitchFamily="2" charset="77"/>
                <a:hlinkClick r:id="rId5">
                  <a:extLst>
                    <a:ext uri="{A12FA001-AC4F-418D-AE19-62706E023703}">
                      <ahyp:hlinkClr xmlns:ahyp="http://schemas.microsoft.com/office/drawing/2018/hyperlinkcolor" val="tx"/>
                    </a:ext>
                  </a:extLst>
                </a:hlinkClick>
              </a:rPr>
              <a:t>www.iotaimpact.com</a:t>
            </a:r>
            <a:endParaRPr lang="es-CO" sz="2800" b="1" i="0" u="none">
              <a:solidFill>
                <a:schemeClr val="bg1"/>
              </a:solidFill>
              <a:effectLst/>
              <a:latin typeface="Poppins Medium" pitchFamily="2" charset="77"/>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1" err="1">
                <a:solidFill>
                  <a:schemeClr val="bg1"/>
                </a:solidFill>
                <a:effectLst/>
                <a:latin typeface="Helvetica" pitchFamily="2" charset="0"/>
              </a:rPr>
              <a:t>natalia.iragorri@iotaimpact.com</a:t>
            </a:r>
            <a:endParaRPr lang="es-CO" i="1">
              <a:solidFill>
                <a:schemeClr val="bg1"/>
              </a:solidFill>
              <a:effectLst/>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us</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latam</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Helvetica" pitchFamily="2" charset="0"/>
              </a:rPr>
              <a:t>Confidential</a:t>
            </a:r>
            <a:r>
              <a:rPr lang="es-CO" sz="900" i="1">
                <a:solidFill>
                  <a:schemeClr val="bg1"/>
                </a:solidFill>
                <a:effectLst/>
                <a:latin typeface="Helvetica" pitchFamily="2" charset="0"/>
              </a:rPr>
              <a:t> and </a:t>
            </a:r>
            <a:r>
              <a:rPr lang="es-CO" sz="900" i="1" err="1">
                <a:solidFill>
                  <a:schemeClr val="bg1"/>
                </a:solidFill>
                <a:effectLst/>
                <a:latin typeface="Helvetica" pitchFamily="2" charset="0"/>
              </a:rPr>
              <a:t>proprietary</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Not</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for</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distribution</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without</a:t>
            </a:r>
            <a:r>
              <a:rPr lang="es-CO" sz="900" i="1">
                <a:solidFill>
                  <a:schemeClr val="bg1"/>
                </a:solidFill>
                <a:effectLst/>
                <a:latin typeface="Helvetica" pitchFamily="2" charset="0"/>
              </a:rPr>
              <a:t> IOTA </a:t>
            </a:r>
            <a:r>
              <a:rPr lang="es-CO" sz="900" i="1" err="1">
                <a:solidFill>
                  <a:schemeClr val="bg1"/>
                </a:solidFill>
                <a:effectLst/>
                <a:latin typeface="Helvetica" pitchFamily="2" charset="0"/>
              </a:rPr>
              <a:t>Impact's</a:t>
            </a:r>
            <a:r>
              <a:rPr lang="es-CO" sz="900" i="1">
                <a:solidFill>
                  <a:schemeClr val="bg1"/>
                </a:solidFill>
                <a:effectLst/>
                <a:latin typeface="Helvetica" pitchFamily="2" charset="0"/>
              </a:rPr>
              <a:t> </a:t>
            </a:r>
            <a:r>
              <a:rPr lang="es-CO" sz="900" i="1" err="1">
                <a:solidFill>
                  <a:schemeClr val="bg1"/>
                </a:solidFill>
                <a:effectLst/>
                <a:latin typeface="Helvetica" pitchFamily="2" charset="0"/>
              </a:rPr>
              <a:t>permission</a:t>
            </a:r>
            <a:r>
              <a:rPr lang="es-CO" sz="900" i="1">
                <a:solidFill>
                  <a:schemeClr val="bg1"/>
                </a:solidFill>
                <a:effectLst/>
                <a:latin typeface="Helvetica" pitchFamily="2" charset="0"/>
              </a:rPr>
              <a:t>.</a:t>
            </a:r>
            <a:endParaRPr lang="es-CO" sz="900">
              <a:solidFill>
                <a:schemeClr val="bg1"/>
              </a:solidFill>
              <a:effectLst/>
              <a:latin typeface="Helvetica" pitchFamily="2" charset="0"/>
            </a:endParaRPr>
          </a:p>
          <a:p>
            <a:pPr algn="l"/>
            <a:endParaRPr lang="es-CO">
              <a:solidFill>
                <a:schemeClr val="bg1"/>
              </a:solidFill>
            </a:endParaRPr>
          </a:p>
        </p:txBody>
      </p:sp>
      <p:pic>
        <p:nvPicPr>
          <p:cNvPr id="7" name="Imagen 6">
            <a:extLst>
              <a:ext uri="{FF2B5EF4-FFF2-40B4-BE49-F238E27FC236}">
                <a16:creationId xmlns:a16="http://schemas.microsoft.com/office/drawing/2014/main" id="{8FA9289E-F056-6919-664D-D591E0A9E5C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27392" y="5592954"/>
            <a:ext cx="668049" cy="668049"/>
          </a:xfrm>
          <a:prstGeom prst="rect">
            <a:avLst/>
          </a:prstGeom>
        </p:spPr>
      </p:pic>
    </p:spTree>
    <p:extLst>
      <p:ext uri="{BB962C8B-B14F-4D97-AF65-F5344CB8AC3E}">
        <p14:creationId xmlns:p14="http://schemas.microsoft.com/office/powerpoint/2010/main" val="120342971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57F68F58-6AE7-DC56-A37D-3815C5E7F4A8}"/>
              </a:ext>
            </a:extLst>
          </p:cNvPr>
          <p:cNvGrpSpPr/>
          <p:nvPr userDrawn="1"/>
        </p:nvGrpSpPr>
        <p:grpSpPr>
          <a:xfrm rot="10800000" flipH="1">
            <a:off x="0" y="0"/>
            <a:ext cx="12192000" cy="6858000"/>
            <a:chOff x="0" y="0"/>
            <a:chExt cx="12192000" cy="685800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riángulo isósceles 5">
              <a:extLst>
                <a:ext uri="{FF2B5EF4-FFF2-40B4-BE49-F238E27FC236}">
                  <a16:creationId xmlns:a16="http://schemas.microsoft.com/office/drawing/2014/main" id="{5D08758D-B65F-C4D9-0202-83F2697A2BD2}"/>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pic>
        <p:nvPicPr>
          <p:cNvPr id="9" name="Imagen 8">
            <a:extLst>
              <a:ext uri="{FF2B5EF4-FFF2-40B4-BE49-F238E27FC236}">
                <a16:creationId xmlns:a16="http://schemas.microsoft.com/office/drawing/2014/main" id="{470FC81E-4B4D-20E6-A72B-7910638D6DF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022" t="1053" b="1053"/>
          <a:stretch/>
        </p:blipFill>
        <p:spPr>
          <a:xfrm>
            <a:off x="-5628" y="-1"/>
            <a:ext cx="709114" cy="6858001"/>
          </a:xfrm>
          <a:prstGeom prst="rect">
            <a:avLst/>
          </a:prstGeom>
        </p:spPr>
      </p:pic>
      <p:sp>
        <p:nvSpPr>
          <p:cNvPr id="10" name="CuadroTexto 9">
            <a:extLst>
              <a:ext uri="{FF2B5EF4-FFF2-40B4-BE49-F238E27FC236}">
                <a16:creationId xmlns:a16="http://schemas.microsoft.com/office/drawing/2014/main" id="{C8033403-7F08-9211-C316-C13B7D1A4301}"/>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409732E0-8F75-F8FC-D7D1-81C5E727344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2" name="Imagen 11">
            <a:extLst>
              <a:ext uri="{FF2B5EF4-FFF2-40B4-BE49-F238E27FC236}">
                <a16:creationId xmlns:a16="http://schemas.microsoft.com/office/drawing/2014/main" id="{92CE866A-4594-C346-FA03-E9911CA511A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16200000">
            <a:off x="89626" y="6443501"/>
            <a:ext cx="403481" cy="546652"/>
          </a:xfrm>
          <a:prstGeom prst="rect">
            <a:avLst/>
          </a:prstGeom>
        </p:spPr>
      </p:pic>
      <p:pic>
        <p:nvPicPr>
          <p:cNvPr id="13" name="Imagen 12">
            <a:extLst>
              <a:ext uri="{FF2B5EF4-FFF2-40B4-BE49-F238E27FC236}">
                <a16:creationId xmlns:a16="http://schemas.microsoft.com/office/drawing/2014/main" id="{3270BB94-3A74-F305-B62E-478B6D5A7A4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a:off x="-31724" y="472704"/>
            <a:ext cx="761306" cy="346404"/>
          </a:xfrm>
          <a:prstGeom prst="rect">
            <a:avLst/>
          </a:prstGeom>
        </p:spPr>
      </p:pic>
    </p:spTree>
    <p:extLst>
      <p:ext uri="{BB962C8B-B14F-4D97-AF65-F5344CB8AC3E}">
        <p14:creationId xmlns:p14="http://schemas.microsoft.com/office/powerpoint/2010/main" val="382584896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_Encabezado de secció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57F68F58-6AE7-DC56-A37D-3815C5E7F4A8}"/>
              </a:ext>
            </a:extLst>
          </p:cNvPr>
          <p:cNvGrpSpPr/>
          <p:nvPr userDrawn="1"/>
        </p:nvGrpSpPr>
        <p:grpSpPr>
          <a:xfrm rot="10800000" flipH="1">
            <a:off x="0" y="0"/>
            <a:ext cx="12192000" cy="6858000"/>
            <a:chOff x="0" y="0"/>
            <a:chExt cx="12192000" cy="6858000"/>
          </a:xfrm>
        </p:grpSpPr>
        <p:pic>
          <p:nvPicPr>
            <p:cNvPr id="8" name="Imagen 7">
              <a:extLst>
                <a:ext uri="{FF2B5EF4-FFF2-40B4-BE49-F238E27FC236}">
                  <a16:creationId xmlns:a16="http://schemas.microsoft.com/office/drawing/2014/main" id="{EC827735-7F00-B503-AB81-8F1710622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riángulo isósceles 5">
              <a:extLst>
                <a:ext uri="{FF2B5EF4-FFF2-40B4-BE49-F238E27FC236}">
                  <a16:creationId xmlns:a16="http://schemas.microsoft.com/office/drawing/2014/main" id="{5D08758D-B65F-C4D9-0202-83F2697A2BD2}"/>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spTree>
    <p:extLst>
      <p:ext uri="{BB962C8B-B14F-4D97-AF65-F5344CB8AC3E}">
        <p14:creationId xmlns:p14="http://schemas.microsoft.com/office/powerpoint/2010/main" val="26019320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37434758"/>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42737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339097025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PhAnim="0" userDrawn="1">
  <p:cSld name="2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2619382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E5B75565-3A45-534B-9501-98CA1E1416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042" y="-16043"/>
            <a:ext cx="12405898" cy="6978317"/>
          </a:xfrm>
          <a:prstGeom prst="rect">
            <a:avLst/>
          </a:prstGeom>
        </p:spPr>
      </p:pic>
      <p:pic>
        <p:nvPicPr>
          <p:cNvPr id="9" name="Imagen 8">
            <a:extLst>
              <a:ext uri="{FF2B5EF4-FFF2-40B4-BE49-F238E27FC236}">
                <a16:creationId xmlns:a16="http://schemas.microsoft.com/office/drawing/2014/main" id="{2D854875-D85C-9045-AFF2-9892D3A97E6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9363"/>
          <a:stretch/>
        </p:blipFill>
        <p:spPr>
          <a:xfrm>
            <a:off x="10450693" y="6130885"/>
            <a:ext cx="1382046" cy="466208"/>
          </a:xfrm>
          <a:prstGeom prst="rect">
            <a:avLst/>
          </a:prstGeom>
        </p:spPr>
      </p:pic>
      <p:sp>
        <p:nvSpPr>
          <p:cNvPr id="10" name="Title 1">
            <a:extLst>
              <a:ext uri="{FF2B5EF4-FFF2-40B4-BE49-F238E27FC236}">
                <a16:creationId xmlns:a16="http://schemas.microsoft.com/office/drawing/2014/main" id="{94671BEA-721A-944E-9A84-F723FDD77FA9}"/>
              </a:ext>
            </a:extLst>
          </p:cNvPr>
          <p:cNvSpPr>
            <a:spLocks noGrp="1"/>
          </p:cNvSpPr>
          <p:nvPr>
            <p:ph type="title" hasCustomPrompt="1"/>
          </p:nvPr>
        </p:nvSpPr>
        <p:spPr>
          <a:xfrm>
            <a:off x="914401" y="1848855"/>
            <a:ext cx="10603832" cy="1822988"/>
          </a:xfrm>
          <a:noFill/>
        </p:spPr>
        <p:txBody>
          <a:bodyPr lIns="137160" tIns="137160" rIns="137160" bIns="137160" anchor="t" anchorCtr="0"/>
          <a:lstStyle>
            <a:lvl1pPr algn="ctr">
              <a:defRPr sz="6000" spc="-98" baseline="0">
                <a:solidFill>
                  <a:schemeClr val="accent2">
                    <a:lumMod val="40000"/>
                    <a:lumOff val="60000"/>
                  </a:schemeClr>
                </a:solidFill>
              </a:defRPr>
            </a:lvl1pPr>
          </a:lstStyle>
          <a:p>
            <a:r>
              <a:rPr lang="en-US"/>
              <a:t>Section title</a:t>
            </a:r>
          </a:p>
        </p:txBody>
      </p:sp>
    </p:spTree>
    <p:extLst>
      <p:ext uri="{BB962C8B-B14F-4D97-AF65-F5344CB8AC3E}">
        <p14:creationId xmlns:p14="http://schemas.microsoft.com/office/powerpoint/2010/main" val="164282566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Interno Sección">
    <p:spTree>
      <p:nvGrpSpPr>
        <p:cNvPr id="1" name=""/>
        <p:cNvGrpSpPr/>
        <p:nvPr/>
      </p:nvGrpSpPr>
      <p:grpSpPr>
        <a:xfrm>
          <a:off x="0" y="0"/>
          <a:ext cx="0" cy="0"/>
          <a:chOff x="0" y="0"/>
          <a:chExt cx="0" cy="0"/>
        </a:xfrm>
      </p:grpSpPr>
      <p:sp>
        <p:nvSpPr>
          <p:cNvPr id="19" name="Marcador de número de diapositiva 5">
            <a:extLst>
              <a:ext uri="{FF2B5EF4-FFF2-40B4-BE49-F238E27FC236}">
                <a16:creationId xmlns:a16="http://schemas.microsoft.com/office/drawing/2014/main" id="{D4C435DB-248E-B8A7-87A1-4C4655C4CB71}"/>
              </a:ext>
            </a:extLst>
          </p:cNvPr>
          <p:cNvSpPr txBox="1">
            <a:spLocks/>
          </p:cNvSpPr>
          <p:nvPr userDrawn="1"/>
        </p:nvSpPr>
        <p:spPr>
          <a:xfrm>
            <a:off x="4775199" y="6452918"/>
            <a:ext cx="2743200" cy="365125"/>
          </a:xfrm>
          <a:prstGeom prst="rect">
            <a:avLst/>
          </a:prstGeom>
        </p:spPr>
        <p:txBody>
          <a:bodyPr anchor="t"/>
          <a:lstStyle>
            <a:defPPr>
              <a:defRPr lang="es-CO"/>
            </a:defPPr>
            <a:lvl1pPr marL="0" algn="l" defTabSz="914400" rtl="0" eaLnBrk="1" latinLnBrk="0" hangingPunct="1">
              <a:defRPr sz="1800" kern="1200">
                <a:solidFill>
                  <a:schemeClr val="bg1">
                    <a:lumMod val="9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4C6C1A2-A7E8-A349-BC65-CFD954CC74C7}" type="slidenum">
              <a:rPr lang="es-CO" sz="1000" smtClean="0">
                <a:solidFill>
                  <a:srgbClr val="9275FF"/>
                </a:solidFill>
                <a:latin typeface="Avenir Book" panose="02000503020000020003" pitchFamily="2" charset="0"/>
              </a:rPr>
              <a:pPr algn="ctr"/>
              <a:t>‹#›</a:t>
            </a:fld>
            <a:endParaRPr lang="es-CO" sz="1000">
              <a:solidFill>
                <a:srgbClr val="9275FF"/>
              </a:solidFill>
              <a:latin typeface="Avenir Book" panose="02000503020000020003" pitchFamily="2" charset="0"/>
            </a:endParaRPr>
          </a:p>
        </p:txBody>
      </p:sp>
      <p:sp>
        <p:nvSpPr>
          <p:cNvPr id="13" name="Marcador de texto 15">
            <a:extLst>
              <a:ext uri="{FF2B5EF4-FFF2-40B4-BE49-F238E27FC236}">
                <a16:creationId xmlns:a16="http://schemas.microsoft.com/office/drawing/2014/main" id="{1B023B90-BA8B-D55C-19C5-C73CE8087E31}"/>
              </a:ext>
            </a:extLst>
          </p:cNvPr>
          <p:cNvSpPr>
            <a:spLocks noGrp="1"/>
          </p:cNvSpPr>
          <p:nvPr>
            <p:ph type="body" sz="quarter" idx="16" hasCustomPrompt="1"/>
          </p:nvPr>
        </p:nvSpPr>
        <p:spPr>
          <a:xfrm>
            <a:off x="2984770" y="2033716"/>
            <a:ext cx="4140392" cy="4096496"/>
          </a:xfrm>
        </p:spPr>
        <p:txBody>
          <a:bodyPr anchor="t">
            <a:normAutofit/>
          </a:bodyPr>
          <a:lstStyle>
            <a:lvl1pPr marL="0" indent="0" algn="l">
              <a:lnSpc>
                <a:spcPct val="100000"/>
              </a:lnSpc>
              <a:buNone/>
              <a:defRPr lang="es-MX" sz="1200" b="0" i="0" kern="1200" dirty="0">
                <a:solidFill>
                  <a:srgbClr val="0E3636"/>
                </a:solidFill>
                <a:effectLst/>
                <a:latin typeface="Avenir Book" panose="02000503020000020003" pitchFamily="2" charset="0"/>
                <a:ea typeface="+mn-ea"/>
                <a:cs typeface="+mn-cs"/>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marL="1828800" indent="0" algn="ctr">
              <a:buNone/>
              <a:defRPr>
                <a:solidFill>
                  <a:schemeClr val="bg1">
                    <a:lumMod val="95000"/>
                  </a:schemeClr>
                </a:solidFill>
              </a:defRPr>
            </a:lvl5pPr>
          </a:lstStyle>
          <a:p>
            <a:pPr lvl="0"/>
            <a:r>
              <a:rPr lang="es-MX"/>
              <a:t>Agrregar texto</a:t>
            </a:r>
            <a:endParaRPr lang="es-CO"/>
          </a:p>
        </p:txBody>
      </p:sp>
      <p:sp>
        <p:nvSpPr>
          <p:cNvPr id="20" name="Marcador de texto 23">
            <a:extLst>
              <a:ext uri="{FF2B5EF4-FFF2-40B4-BE49-F238E27FC236}">
                <a16:creationId xmlns:a16="http://schemas.microsoft.com/office/drawing/2014/main" id="{1389B5E8-9979-BEF3-88B5-B300E9B5D159}"/>
              </a:ext>
            </a:extLst>
          </p:cNvPr>
          <p:cNvSpPr>
            <a:spLocks noGrp="1"/>
          </p:cNvSpPr>
          <p:nvPr>
            <p:ph type="body" sz="quarter" idx="12"/>
          </p:nvPr>
        </p:nvSpPr>
        <p:spPr>
          <a:xfrm>
            <a:off x="2984769" y="1218322"/>
            <a:ext cx="4236960" cy="646331"/>
          </a:xfrm>
        </p:spPr>
        <p:txBody>
          <a:bodyPr anchor="t">
            <a:noAutofit/>
          </a:bodyPr>
          <a:lstStyle>
            <a:lvl1pPr marL="0" indent="0">
              <a:buNone/>
              <a:defRPr sz="1800" b="0" i="0">
                <a:solidFill>
                  <a:srgbClr val="442E98"/>
                </a:solidFill>
                <a:latin typeface="Poppins Medium" pitchFamily="2" charset="77"/>
                <a:cs typeface="Poppins Medium" pitchFamily="2" charset="77"/>
              </a:defRPr>
            </a:lvl1pPr>
            <a:lvl2pPr>
              <a:defRPr>
                <a:latin typeface="Poppins" pitchFamily="2" charset="77"/>
                <a:cs typeface="Poppins" pitchFamily="2" charset="77"/>
              </a:defRPr>
            </a:lvl2pPr>
            <a:lvl3pPr>
              <a:defRPr>
                <a:latin typeface="Poppins" pitchFamily="2" charset="77"/>
                <a:cs typeface="Poppins" pitchFamily="2" charset="77"/>
              </a:defRPr>
            </a:lvl3pPr>
            <a:lvl4pPr>
              <a:defRPr>
                <a:latin typeface="Poppins" pitchFamily="2" charset="77"/>
                <a:cs typeface="Poppins" pitchFamily="2" charset="77"/>
              </a:defRPr>
            </a:lvl4pPr>
            <a:lvl5pPr>
              <a:defRPr>
                <a:latin typeface="Poppins" pitchFamily="2" charset="77"/>
                <a:cs typeface="Poppins" pitchFamily="2" charset="77"/>
              </a:defRPr>
            </a:lvl5pPr>
          </a:lstStyle>
          <a:p>
            <a:pPr lvl="0"/>
            <a:r>
              <a:rPr lang="es-MX"/>
              <a:t>Haga clic para modificar los estilos de texto del patrón</a:t>
            </a:r>
            <a:endParaRPr lang="es-CO"/>
          </a:p>
        </p:txBody>
      </p:sp>
      <p:sp>
        <p:nvSpPr>
          <p:cNvPr id="27" name="Marcador de texto 15">
            <a:extLst>
              <a:ext uri="{FF2B5EF4-FFF2-40B4-BE49-F238E27FC236}">
                <a16:creationId xmlns:a16="http://schemas.microsoft.com/office/drawing/2014/main" id="{A105FD16-454C-32B5-2FEB-2EA2413DF93B}"/>
              </a:ext>
            </a:extLst>
          </p:cNvPr>
          <p:cNvSpPr>
            <a:spLocks noGrp="1"/>
          </p:cNvSpPr>
          <p:nvPr>
            <p:ph type="body" sz="quarter" idx="15" hasCustomPrompt="1"/>
          </p:nvPr>
        </p:nvSpPr>
        <p:spPr>
          <a:xfrm>
            <a:off x="2545210" y="460141"/>
            <a:ext cx="4230403" cy="215444"/>
          </a:xfrm>
        </p:spPr>
        <p:txBody>
          <a:bodyPr anchor="t">
            <a:normAutofit/>
          </a:bodyPr>
          <a:lstStyle>
            <a:lvl1pPr marL="0" indent="0" algn="l">
              <a:buNone/>
              <a:defRPr lang="es-MX" sz="800" kern="1200" dirty="0" smtClean="0">
                <a:solidFill>
                  <a:schemeClr val="tx1"/>
                </a:solidFill>
                <a:latin typeface="Avenir Book" panose="02000503020000020003" pitchFamily="2" charset="0"/>
                <a:ea typeface="+mn-ea"/>
                <a:cs typeface="+mn-cs"/>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marL="1828800" indent="0" algn="ctr">
              <a:buNone/>
              <a:defRPr>
                <a:solidFill>
                  <a:schemeClr val="bg1">
                    <a:lumMod val="95000"/>
                  </a:schemeClr>
                </a:solidFill>
              </a:defRPr>
            </a:lvl5pPr>
          </a:lstStyle>
          <a:p>
            <a:pPr lvl="0"/>
            <a:r>
              <a:rPr lang="es-MX"/>
              <a:t>Agregar miga de pan</a:t>
            </a:r>
            <a:endParaRPr lang="es-CO"/>
          </a:p>
        </p:txBody>
      </p:sp>
      <p:sp>
        <p:nvSpPr>
          <p:cNvPr id="29" name="Marcador de texto 23">
            <a:extLst>
              <a:ext uri="{FF2B5EF4-FFF2-40B4-BE49-F238E27FC236}">
                <a16:creationId xmlns:a16="http://schemas.microsoft.com/office/drawing/2014/main" id="{1377EF7F-AEFE-EEC9-BD13-49EFEEED3C4F}"/>
              </a:ext>
            </a:extLst>
          </p:cNvPr>
          <p:cNvSpPr>
            <a:spLocks noGrp="1"/>
          </p:cNvSpPr>
          <p:nvPr>
            <p:ph type="body" sz="quarter" idx="20"/>
          </p:nvPr>
        </p:nvSpPr>
        <p:spPr>
          <a:xfrm>
            <a:off x="8350142" y="1989787"/>
            <a:ext cx="2871874" cy="2878427"/>
          </a:xfrm>
        </p:spPr>
        <p:txBody>
          <a:bodyPr anchor="ctr">
            <a:noAutofit/>
          </a:bodyPr>
          <a:lstStyle>
            <a:lvl1pPr marL="0" indent="0">
              <a:buNone/>
              <a:defRPr lang="es-CO" sz="2000" u="sng" kern="1200" dirty="0">
                <a:solidFill>
                  <a:srgbClr val="9275FF"/>
                </a:solidFill>
                <a:latin typeface="Poppins Medium" pitchFamily="2" charset="77"/>
                <a:ea typeface="+mn-ea"/>
                <a:cs typeface="Poppins Medium" pitchFamily="2" charset="77"/>
              </a:defRPr>
            </a:lvl1pPr>
            <a:lvl2pPr>
              <a:defRPr>
                <a:latin typeface="Poppins" pitchFamily="2" charset="77"/>
                <a:cs typeface="Poppins" pitchFamily="2" charset="77"/>
              </a:defRPr>
            </a:lvl2pPr>
            <a:lvl3pPr>
              <a:defRPr>
                <a:latin typeface="Poppins" pitchFamily="2" charset="77"/>
                <a:cs typeface="Poppins" pitchFamily="2" charset="77"/>
              </a:defRPr>
            </a:lvl3pPr>
            <a:lvl4pPr>
              <a:defRPr>
                <a:latin typeface="Poppins" pitchFamily="2" charset="77"/>
                <a:cs typeface="Poppins" pitchFamily="2" charset="77"/>
              </a:defRPr>
            </a:lvl4pPr>
            <a:lvl5pPr>
              <a:defRPr>
                <a:latin typeface="Poppins" pitchFamily="2" charset="77"/>
                <a:cs typeface="Poppins" pitchFamily="2" charset="77"/>
              </a:defRPr>
            </a:lvl5pPr>
          </a:lstStyle>
          <a:p>
            <a:pPr lvl="0"/>
            <a:r>
              <a:rPr lang="es-MX"/>
              <a:t>Haga clic para modificar los estilos de texto del patrón</a:t>
            </a:r>
            <a:endParaRPr lang="es-CO"/>
          </a:p>
        </p:txBody>
      </p:sp>
    </p:spTree>
    <p:extLst>
      <p:ext uri="{BB962C8B-B14F-4D97-AF65-F5344CB8AC3E}">
        <p14:creationId xmlns:p14="http://schemas.microsoft.com/office/powerpoint/2010/main" val="32085187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2"/>
        <p:cNvGrpSpPr/>
        <p:nvPr/>
      </p:nvGrpSpPr>
      <p:grpSpPr>
        <a:xfrm>
          <a:off x="0" y="0"/>
          <a:ext cx="0" cy="0"/>
          <a:chOff x="0" y="0"/>
          <a:chExt cx="0" cy="0"/>
        </a:xfrm>
      </p:grpSpPr>
      <p:sp>
        <p:nvSpPr>
          <p:cNvPr id="13" name="Google Shape;13;p3"/>
          <p:cNvSpPr>
            <a:spLocks noGrp="1"/>
          </p:cNvSpPr>
          <p:nvPr>
            <p:ph type="pic" idx="2"/>
          </p:nvPr>
        </p:nvSpPr>
        <p:spPr>
          <a:xfrm>
            <a:off x="950967" y="719333"/>
            <a:ext cx="10290000" cy="5425200"/>
          </a:xfrm>
          <a:prstGeom prst="rect">
            <a:avLst/>
          </a:prstGeom>
          <a:noFill/>
          <a:ln>
            <a:noFill/>
          </a:ln>
        </p:spPr>
      </p:sp>
      <p:sp>
        <p:nvSpPr>
          <p:cNvPr id="14" name="Google Shape;14;p3"/>
          <p:cNvSpPr txBox="1">
            <a:spLocks noGrp="1"/>
          </p:cNvSpPr>
          <p:nvPr>
            <p:ph type="title"/>
          </p:nvPr>
        </p:nvSpPr>
        <p:spPr>
          <a:xfrm>
            <a:off x="3263433" y="3630667"/>
            <a:ext cx="7977600" cy="1122400"/>
          </a:xfrm>
          <a:prstGeom prst="rect">
            <a:avLst/>
          </a:prstGeom>
          <a:solidFill>
            <a:schemeClr val="dk1"/>
          </a:solidFill>
        </p:spPr>
        <p:txBody>
          <a:bodyPr spcFirstLastPara="1" wrap="square" lIns="91425" tIns="91425" rIns="91425" bIns="91425" anchor="ctr" anchorCtr="0">
            <a:noAutofit/>
          </a:bodyPr>
          <a:lstStyle>
            <a:lvl1pPr lvl="0" algn="r">
              <a:spcBef>
                <a:spcPts val="0"/>
              </a:spcBef>
              <a:spcAft>
                <a:spcPts val="0"/>
              </a:spcAft>
              <a:buSzPts val="3600"/>
              <a:buNone/>
              <a:defRPr sz="56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title" idx="3" hasCustomPrompt="1"/>
          </p:nvPr>
        </p:nvSpPr>
        <p:spPr>
          <a:xfrm>
            <a:off x="9132533" y="1364100"/>
            <a:ext cx="2108400" cy="1122400"/>
          </a:xfrm>
          <a:prstGeom prst="rect">
            <a:avLst/>
          </a:prstGeom>
          <a:solidFill>
            <a:schemeClr val="dk1"/>
          </a:solidFill>
        </p:spPr>
        <p:txBody>
          <a:bodyPr spcFirstLastPara="1" wrap="square" lIns="91425" tIns="91425" rIns="91425" bIns="91425" anchor="ctr" anchorCtr="0">
            <a:noAutofit/>
          </a:bodyPr>
          <a:lstStyle>
            <a:lvl1pPr lvl="0" algn="r" rtl="0">
              <a:spcBef>
                <a:spcPts val="0"/>
              </a:spcBef>
              <a:spcAft>
                <a:spcPts val="0"/>
              </a:spcAft>
              <a:buSzPts val="6000"/>
              <a:buNone/>
              <a:defRPr sz="8000">
                <a:solidFill>
                  <a:schemeClr val="lt1"/>
                </a:solidFill>
              </a:defRPr>
            </a:lvl1pPr>
            <a:lvl2pPr lvl="1" algn="ctr" rtl="0">
              <a:spcBef>
                <a:spcPts val="0"/>
              </a:spcBef>
              <a:spcAft>
                <a:spcPts val="0"/>
              </a:spcAft>
              <a:buSzPts val="6000"/>
              <a:buNone/>
              <a:defRPr sz="8000"/>
            </a:lvl2pPr>
            <a:lvl3pPr lvl="2" algn="ctr" rtl="0">
              <a:spcBef>
                <a:spcPts val="0"/>
              </a:spcBef>
              <a:spcAft>
                <a:spcPts val="0"/>
              </a:spcAft>
              <a:buSzPts val="6000"/>
              <a:buNone/>
              <a:defRPr sz="8000"/>
            </a:lvl3pPr>
            <a:lvl4pPr lvl="3" algn="ctr" rtl="0">
              <a:spcBef>
                <a:spcPts val="0"/>
              </a:spcBef>
              <a:spcAft>
                <a:spcPts val="0"/>
              </a:spcAft>
              <a:buSzPts val="6000"/>
              <a:buNone/>
              <a:defRPr sz="8000"/>
            </a:lvl4pPr>
            <a:lvl5pPr lvl="4" algn="ctr" rtl="0">
              <a:spcBef>
                <a:spcPts val="0"/>
              </a:spcBef>
              <a:spcAft>
                <a:spcPts val="0"/>
              </a:spcAft>
              <a:buSzPts val="6000"/>
              <a:buNone/>
              <a:defRPr sz="8000"/>
            </a:lvl5pPr>
            <a:lvl6pPr lvl="5" algn="ctr" rtl="0">
              <a:spcBef>
                <a:spcPts val="0"/>
              </a:spcBef>
              <a:spcAft>
                <a:spcPts val="0"/>
              </a:spcAft>
              <a:buSzPts val="6000"/>
              <a:buNone/>
              <a:defRPr sz="8000"/>
            </a:lvl6pPr>
            <a:lvl7pPr lvl="6" algn="ctr" rtl="0">
              <a:spcBef>
                <a:spcPts val="0"/>
              </a:spcBef>
              <a:spcAft>
                <a:spcPts val="0"/>
              </a:spcAft>
              <a:buSzPts val="6000"/>
              <a:buNone/>
              <a:defRPr sz="8000"/>
            </a:lvl7pPr>
            <a:lvl8pPr lvl="7" algn="ctr" rtl="0">
              <a:spcBef>
                <a:spcPts val="0"/>
              </a:spcBef>
              <a:spcAft>
                <a:spcPts val="0"/>
              </a:spcAft>
              <a:buSzPts val="6000"/>
              <a:buNone/>
              <a:defRPr sz="8000"/>
            </a:lvl8pPr>
            <a:lvl9pPr lvl="8" algn="ctr" rtl="0">
              <a:spcBef>
                <a:spcPts val="0"/>
              </a:spcBef>
              <a:spcAft>
                <a:spcPts val="0"/>
              </a:spcAft>
              <a:buSzPts val="6000"/>
              <a:buNone/>
              <a:defRPr sz="8000"/>
            </a:lvl9pPr>
          </a:lstStyle>
          <a:p>
            <a:r>
              <a:t>xx%</a:t>
            </a:r>
          </a:p>
        </p:txBody>
      </p:sp>
      <p:sp>
        <p:nvSpPr>
          <p:cNvPr id="16" name="Google Shape;16;p3"/>
          <p:cNvSpPr txBox="1">
            <a:spLocks noGrp="1"/>
          </p:cNvSpPr>
          <p:nvPr>
            <p:ph type="subTitle" idx="1"/>
          </p:nvPr>
        </p:nvSpPr>
        <p:spPr>
          <a:xfrm>
            <a:off x="3771900" y="4753067"/>
            <a:ext cx="7469200" cy="564400"/>
          </a:xfrm>
          <a:prstGeom prst="rect">
            <a:avLst/>
          </a:prstGeom>
          <a:solidFill>
            <a:schemeClr val="lt2"/>
          </a:solidFill>
        </p:spPr>
        <p:txBody>
          <a:bodyPr spcFirstLastPara="1" wrap="square" lIns="91425" tIns="91425" rIns="91425" bIns="91425" anchor="t" anchorCtr="0">
            <a:noAutofit/>
          </a:bodyPr>
          <a:lstStyle>
            <a:lvl1pPr lvl="0" algn="r" rtl="0">
              <a:lnSpc>
                <a:spcPct val="100000"/>
              </a:lnSpc>
              <a:spcBef>
                <a:spcPts val="0"/>
              </a:spcBef>
              <a:spcAft>
                <a:spcPts val="0"/>
              </a:spcAft>
              <a:buSzPts val="1400"/>
              <a:buNone/>
              <a:defRPr sz="2133"/>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41770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B2C59-5AD1-DC36-5954-232685A165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D9BFDD-E1D2-6F2D-A8E8-D8C0C6CA1C0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D47C96-CA0C-21AD-F974-9DA0D3E50690}"/>
              </a:ext>
            </a:extLst>
          </p:cNvPr>
          <p:cNvSpPr>
            <a:spLocks noGrp="1"/>
          </p:cNvSpPr>
          <p:nvPr>
            <p:ph type="dt" sz="half" idx="10"/>
          </p:nvPr>
        </p:nvSpPr>
        <p:spPr/>
        <p:txBody>
          <a:bodyPr/>
          <a:lstStyle/>
          <a:p>
            <a:fld id="{FE8EE82D-5829-4D06-9239-49E8FA02DC21}" type="datetimeFigureOut">
              <a:rPr lang="en-US" smtClean="0"/>
              <a:t>11/27/2024</a:t>
            </a:fld>
            <a:endParaRPr lang="en-US"/>
          </a:p>
        </p:txBody>
      </p:sp>
      <p:sp>
        <p:nvSpPr>
          <p:cNvPr id="5" name="Footer Placeholder 4">
            <a:extLst>
              <a:ext uri="{FF2B5EF4-FFF2-40B4-BE49-F238E27FC236}">
                <a16:creationId xmlns:a16="http://schemas.microsoft.com/office/drawing/2014/main" id="{153B1826-7224-CDC8-8319-4772164EFD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1467D-3294-9F4E-9AC0-2064B0ADEAA3}"/>
              </a:ext>
            </a:extLst>
          </p:cNvPr>
          <p:cNvSpPr>
            <a:spLocks noGrp="1"/>
          </p:cNvSpPr>
          <p:nvPr>
            <p:ph type="sldNum" sz="quarter" idx="12"/>
          </p:nvPr>
        </p:nvSpPr>
        <p:spPr/>
        <p:txBody>
          <a:bodyPr/>
          <a:lstStyle/>
          <a:p>
            <a:fld id="{A929F1A2-D254-469F-9FCB-A85B0E49D283}" type="slidenum">
              <a:rPr lang="en-US" smtClean="0"/>
              <a:t>‹#›</a:t>
            </a:fld>
            <a:endParaRPr lang="en-US"/>
          </a:p>
        </p:txBody>
      </p:sp>
    </p:spTree>
    <p:extLst>
      <p:ext uri="{BB962C8B-B14F-4D97-AF65-F5344CB8AC3E}">
        <p14:creationId xmlns:p14="http://schemas.microsoft.com/office/powerpoint/2010/main" val="263166775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45354">
                  <a:tint val="75000"/>
                </a:srgbClr>
              </a:solidFill>
              <a:effectLst/>
              <a:uLnTx/>
              <a:uFillTx/>
              <a:latin typeface="Poppins Light"/>
              <a:ea typeface="+mn-ea"/>
              <a:cs typeface="+mn-cs"/>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545354">
                    <a:tint val="75000"/>
                  </a:srgbClr>
                </a:solidFill>
                <a:effectLst/>
                <a:uLnTx/>
                <a:uFillTx/>
                <a:latin typeface="Poppins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7/2024</a:t>
            </a:fld>
            <a:endParaRPr kumimoji="0" lang="en-US" sz="1800" b="0" i="0" u="none" strike="noStrike" kern="1200" cap="none" spc="0" normalizeH="0" baseline="0" noProof="0">
              <a:ln>
                <a:noFill/>
              </a:ln>
              <a:solidFill>
                <a:srgbClr val="545354">
                  <a:tint val="75000"/>
                </a:srgbClr>
              </a:solidFill>
              <a:effectLst/>
              <a:uLnTx/>
              <a:uFillTx/>
              <a:latin typeface="Poppins Light"/>
              <a:ea typeface="+mn-ea"/>
              <a:cs typeface="+mn-cs"/>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545354">
                    <a:tint val="75000"/>
                  </a:srgbClr>
                </a:solidFill>
                <a:effectLst/>
                <a:uLnTx/>
                <a:uFillTx/>
                <a:latin typeface="Poppi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545354">
                  <a:tint val="75000"/>
                </a:srgbClr>
              </a:solidFill>
              <a:effectLst/>
              <a:uLnTx/>
              <a:uFillTx/>
              <a:latin typeface="Poppins Light"/>
              <a:ea typeface="+mn-ea"/>
              <a:cs typeface="+mn-cs"/>
            </a:endParaRPr>
          </a:p>
        </p:txBody>
      </p:sp>
    </p:spTree>
    <p:extLst>
      <p:ext uri="{BB962C8B-B14F-4D97-AF65-F5344CB8AC3E}">
        <p14:creationId xmlns:p14="http://schemas.microsoft.com/office/powerpoint/2010/main" val="373186749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602780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6046643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PhAnim="0"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305383306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105673523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72805955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293062438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21352432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3336194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32502654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rgbClr val="304258"/>
                </a:solidFill>
                <a:latin typeface="Poppins" panose="00000500000000000000" pitchFamily="2" charset="0"/>
                <a:cs typeface="Poppins" panose="00000500000000000000" pitchFamily="2" charset="0"/>
              </a:rPr>
              <a:t>Data gathering</a:t>
            </a:r>
          </a:p>
          <a:p>
            <a:r>
              <a:rPr lang="en-US">
                <a:solidFill>
                  <a:srgbClr val="304258"/>
                </a:solidFill>
                <a:latin typeface="Poppins" panose="00000500000000000000" pitchFamily="2" charset="0"/>
                <a:cs typeface="Poppins" panose="00000500000000000000" pitchFamily="2" charset="0"/>
              </a:rPr>
              <a:t>Analysis structuring and execution</a:t>
            </a:r>
          </a:p>
          <a:p>
            <a:r>
              <a:rPr lang="en-US">
                <a:solidFill>
                  <a:srgbClr val="304258"/>
                </a:solidFill>
                <a:latin typeface="Poppins" panose="00000500000000000000" pitchFamily="2" charset="0"/>
                <a:cs typeface="Poppins" panose="00000500000000000000" pitchFamily="2" charset="0"/>
              </a:rPr>
              <a:t>Technical expertise</a:t>
            </a:r>
          </a:p>
          <a:p>
            <a:r>
              <a:rPr lang="en-US">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76803652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7476138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60303321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60427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54693" y="1393825"/>
            <a:ext cx="3764163" cy="4783138"/>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4152301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89269748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298398375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389748495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30844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174515120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611265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3697856137"/>
      </p:ext>
    </p:extLst>
  </p:cSld>
  <p:clrMapOvr>
    <a:masterClrMapping/>
  </p:clrMapOvr>
  <p:transition spd="slow" advTm="2000">
    <p:cover dir="d"/>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5411816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07973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420726356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9246970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PhAnim="0" preserve="1" userDrawn="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865240" y="136808"/>
            <a:ext cx="11021960"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644286" y="1393371"/>
            <a:ext cx="7242913"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865240" y="6317673"/>
            <a:ext cx="9368650" cy="521855"/>
          </a:xfrm>
          <a:prstGeom prst="rect">
            <a:avLst/>
          </a:prstGeom>
          <a:ln>
            <a:noFill/>
          </a:ln>
        </p:spPr>
        <p:txBody>
          <a:bodyPr anchor="ctr"/>
          <a:lstStyle/>
          <a:p>
            <a:pPr lvl="0"/>
            <a:r>
              <a:rPr lang="en-US"/>
              <a:t>Click to edit Master text styles</a:t>
            </a:r>
          </a:p>
        </p:txBody>
      </p:sp>
      <p:grpSp>
        <p:nvGrpSpPr>
          <p:cNvPr id="3" name="Group 2">
            <a:extLst>
              <a:ext uri="{FF2B5EF4-FFF2-40B4-BE49-F238E27FC236}">
                <a16:creationId xmlns:a16="http://schemas.microsoft.com/office/drawing/2014/main" id="{68FD0E65-81A9-7732-E46B-FB8EF4F101FD}"/>
              </a:ext>
            </a:extLst>
          </p:cNvPr>
          <p:cNvGrpSpPr/>
          <p:nvPr userDrawn="1"/>
        </p:nvGrpSpPr>
        <p:grpSpPr>
          <a:xfrm>
            <a:off x="677875" y="1926448"/>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7" cy="1135901"/>
              <a:chOff x="5133727" y="2858498"/>
              <a:chExt cx="1433627"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No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8" y="3378782"/>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extLst>
                    <a:ext uri="{28A0092B-C50C-407E-A947-70E740481C1C}">
                      <a14:useLocalDpi xmlns:a14="http://schemas.microsoft.com/office/drawing/2010/main" val="0"/>
                    </a:ext>
                  </a:extLst>
                </a:blip>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extLst>
                    <a:ext uri="{28A0092B-C50C-407E-A947-70E740481C1C}">
                      <a14:useLocalDpi xmlns:a14="http://schemas.microsoft.com/office/drawing/2010/main" val="0"/>
                    </a:ext>
                  </a:extLst>
                </a:blip>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extLst>
                    <a:ext uri="{28A0092B-C50C-407E-A947-70E740481C1C}">
                      <a14:useLocalDpi xmlns:a14="http://schemas.microsoft.com/office/drawing/2010/main" val="0"/>
                    </a:ext>
                  </a:extLst>
                </a:blip>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extLst>
                    <a:ext uri="{28A0092B-C50C-407E-A947-70E740481C1C}">
                      <a14:useLocalDpi xmlns:a14="http://schemas.microsoft.com/office/drawing/2010/main" val="0"/>
                    </a:ext>
                  </a:extLst>
                </a:blip>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extLst>
                    <a:ext uri="{28A0092B-C50C-407E-A947-70E740481C1C}">
                      <a14:useLocalDpi xmlns:a14="http://schemas.microsoft.com/office/drawing/2010/main" val="0"/>
                    </a:ext>
                  </a:extLst>
                </a:blip>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extLst>
                    <a:ext uri="{28A0092B-C50C-407E-A947-70E740481C1C}">
                      <a14:useLocalDpi xmlns:a14="http://schemas.microsoft.com/office/drawing/2010/main" val="0"/>
                    </a:ext>
                  </a:extLst>
                </a:blip>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extLst>
                    <a:ext uri="{28A0092B-C50C-407E-A947-70E740481C1C}">
                      <a14:useLocalDpi xmlns:a14="http://schemas.microsoft.com/office/drawing/2010/main" val="0"/>
                    </a:ext>
                  </a:extLst>
                </a:blip>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extLst>
                    <a:ext uri="{28A0092B-C50C-407E-A947-70E740481C1C}">
                      <a14:useLocalDpi xmlns:a14="http://schemas.microsoft.com/office/drawing/2010/main" val="0"/>
                    </a:ext>
                  </a:extLst>
                </a:blip>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extLst>
                    <a:ext uri="{28A0092B-C50C-407E-A947-70E740481C1C}">
                      <a14:useLocalDpi xmlns:a14="http://schemas.microsoft.com/office/drawing/2010/main" val="0"/>
                    </a:ext>
                  </a:extLst>
                </a:blip>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extLst>
                    <a:ext uri="{28A0092B-C50C-407E-A947-70E740481C1C}">
                      <a14:useLocalDpi xmlns:a14="http://schemas.microsoft.com/office/drawing/2010/main" val="0"/>
                    </a:ext>
                  </a:extLst>
                </a:blip>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extLst>
                    <a:ext uri="{28A0092B-C50C-407E-A947-70E740481C1C}">
                      <a14:useLocalDpi xmlns:a14="http://schemas.microsoft.com/office/drawing/2010/main" val="0"/>
                    </a:ext>
                  </a:extLst>
                </a:blip>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extLst>
                    <a:ext uri="{28A0092B-C50C-407E-A947-70E740481C1C}">
                      <a14:useLocalDpi xmlns:a14="http://schemas.microsoft.com/office/drawing/2010/main" val="0"/>
                    </a:ext>
                  </a:extLst>
                </a:blip>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extLst>
                    <a:ext uri="{28A0092B-C50C-407E-A947-70E740481C1C}">
                      <a14:useLocalDpi xmlns:a14="http://schemas.microsoft.com/office/drawing/2010/main" val="0"/>
                    </a:ext>
                  </a:extLst>
                </a:blip>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extLst>
                    <a:ext uri="{28A0092B-C50C-407E-A947-70E740481C1C}">
                      <a14:useLocalDpi xmlns:a14="http://schemas.microsoft.com/office/drawing/2010/main" val="0"/>
                    </a:ext>
                  </a:extLst>
                </a:blip>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extLst>
                    <a:ext uri="{28A0092B-C50C-407E-A947-70E740481C1C}">
                      <a14:useLocalDpi xmlns:a14="http://schemas.microsoft.com/office/drawing/2010/main" val="0"/>
                    </a:ext>
                  </a:extLst>
                </a:blip>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extLst>
                    <a:ext uri="{28A0092B-C50C-407E-A947-70E740481C1C}">
                      <a14:useLocalDpi xmlns:a14="http://schemas.microsoft.com/office/drawing/2010/main" val="0"/>
                    </a:ext>
                  </a:extLst>
                </a:blip>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extLst>
                    <a:ext uri="{28A0092B-C50C-407E-A947-70E740481C1C}">
                      <a14:useLocalDpi xmlns:a14="http://schemas.microsoft.com/office/drawing/2010/main" val="0"/>
                    </a:ext>
                  </a:extLst>
                </a:blip>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extLst>
                    <a:ext uri="{28A0092B-C50C-407E-A947-70E740481C1C}">
                      <a14:useLocalDpi xmlns:a14="http://schemas.microsoft.com/office/drawing/2010/main" val="0"/>
                    </a:ext>
                  </a:extLst>
                </a:blip>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extLst>
                    <a:ext uri="{28A0092B-C50C-407E-A947-70E740481C1C}">
                      <a14:useLocalDpi xmlns:a14="http://schemas.microsoft.com/office/drawing/2010/main" val="0"/>
                    </a:ext>
                  </a:extLst>
                </a:blip>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extLst>
                  <a:ext uri="{28A0092B-C50C-407E-A947-70E740481C1C}">
                    <a14:useLocalDpi xmlns:a14="http://schemas.microsoft.com/office/drawing/2010/main" val="0"/>
                  </a:ext>
                </a:extLst>
              </a:blip>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extLst>
                  <a:ext uri="{28A0092B-C50C-407E-A947-70E740481C1C}">
                    <a14:useLocalDpi xmlns:a14="http://schemas.microsoft.com/office/drawing/2010/main" val="0"/>
                  </a:ext>
                </a:extLst>
              </a:blip>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326564726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258882894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22"/>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a:t>TÍTULO</a:t>
            </a:r>
          </a:p>
          <a:p>
            <a:r>
              <a:rPr lang="en-US"/>
              <a:t>  PROYECTO</a:t>
            </a:r>
          </a:p>
          <a:p>
            <a:pPr>
              <a:buFontTx/>
              <a:buNone/>
              <a:defRPr/>
            </a:pPr>
            <a:r>
              <a:rPr lang="en-US" sz="1800">
                <a:solidFill>
                  <a:srgbClr val="FFFFFF"/>
                </a:solidFill>
                <a:latin typeface="Poppins Light"/>
                <a:cs typeface="+mn-cs"/>
              </a:rPr>
              <a:t>         </a:t>
            </a:r>
            <a:r>
              <a:rPr lang="en-US" sz="1800" err="1">
                <a:solidFill>
                  <a:srgbClr val="FFFFFF"/>
                </a:solidFill>
                <a:latin typeface="Poppins Light"/>
                <a:cs typeface="+mn-cs"/>
              </a:rPr>
              <a:t>Descripción</a:t>
            </a:r>
            <a:endParaRPr lang="en-US" sz="1800">
              <a:solidFill>
                <a:srgbClr val="FFFFFF"/>
              </a:solidFill>
              <a:latin typeface="Poppins Light"/>
              <a:cs typeface="+mn-cs"/>
            </a:endParaRPr>
          </a:p>
          <a:p>
            <a:pPr>
              <a:defRPr/>
            </a:pPr>
            <a:r>
              <a:rPr lang="en-US" sz="1800">
                <a:solidFill>
                  <a:srgbClr val="D5B9FF"/>
                </a:solidFill>
                <a:latin typeface="Poppins Light"/>
                <a:cs typeface="+mn-cs"/>
              </a:rPr>
              <a:t>         Friday, March 22, 2024</a:t>
            </a:r>
            <a:endParaRPr lang="en-US" sz="1800">
              <a:solidFill>
                <a:srgbClr val="FFFFFF"/>
              </a:solidFill>
              <a:latin typeface="Poppins Light"/>
              <a:cs typeface="+mn-cs"/>
            </a:endParaRPr>
          </a:p>
          <a:p>
            <a:pPr>
              <a:buFontTx/>
              <a:buNone/>
              <a:defRPr/>
            </a:pPr>
            <a:endParaRPr lang="en-US" sz="1800">
              <a:solidFill>
                <a:srgbClr val="FFFFFF"/>
              </a:solidFill>
              <a:latin typeface="Poppins Light"/>
              <a:cs typeface="+mn-cs"/>
            </a:endParaRPr>
          </a:p>
          <a:p>
            <a:endParaRPr lang="en-US"/>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a:solidFill>
                <a:srgbClr val="D5B9FF"/>
              </a:solidFill>
            </a:endParaRPr>
          </a:p>
        </p:txBody>
      </p:sp>
      <p:sp>
        <p:nvSpPr>
          <p:cNvPr id="2" name="CuadroTexto 1">
            <a:extLst>
              <a:ext uri="{FF2B5EF4-FFF2-40B4-BE49-F238E27FC236}">
                <a16:creationId xmlns:a16="http://schemas.microsoft.com/office/drawing/2014/main" id="{67017BD7-AB31-38CC-4DE9-36A09F012734}"/>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err="1">
                <a:solidFill>
                  <a:schemeClr val="bg1"/>
                </a:solidFill>
                <a:effectLst/>
                <a:latin typeface="+mj-lt"/>
              </a:rPr>
              <a:t>andres@iotaimpact.com</a:t>
            </a:r>
            <a:endParaRPr lang="es-CO" i="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us</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latam</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l"/>
            <a:endParaRPr lang="es-CO">
              <a:solidFill>
                <a:schemeClr val="bg1"/>
              </a:solidFill>
            </a:endParaRPr>
          </a:p>
        </p:txBody>
      </p:sp>
      <p:pic>
        <p:nvPicPr>
          <p:cNvPr id="3" name="Imagen 2">
            <a:extLst>
              <a:ext uri="{FF2B5EF4-FFF2-40B4-BE49-F238E27FC236}">
                <a16:creationId xmlns:a16="http://schemas.microsoft.com/office/drawing/2014/main" id="{4741025A-CBAB-EEE5-0483-9393666D6C7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198383203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383514103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75761378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ABB12109-C502-3045-4D00-0FE9BC202BD7}"/>
              </a:ext>
            </a:extLst>
          </p:cNvPr>
          <p:cNvGrpSpPr/>
          <p:nvPr userDrawn="1"/>
        </p:nvGrpSpPr>
        <p:grpSpPr>
          <a:xfrm rot="10800000" flipH="1">
            <a:off x="0" y="0"/>
            <a:ext cx="12192000" cy="6858000"/>
            <a:chOff x="0" y="0"/>
            <a:chExt cx="12192000" cy="6858000"/>
          </a:xfrm>
        </p:grpSpPr>
        <p:pic>
          <p:nvPicPr>
            <p:cNvPr id="4" name="Imagen 3">
              <a:extLst>
                <a:ext uri="{FF2B5EF4-FFF2-40B4-BE49-F238E27FC236}">
                  <a16:creationId xmlns:a16="http://schemas.microsoft.com/office/drawing/2014/main" id="{CCABE3BB-B03C-6EC1-5179-C19D28D0CA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riángulo isósceles 5">
              <a:extLst>
                <a:ext uri="{FF2B5EF4-FFF2-40B4-BE49-F238E27FC236}">
                  <a16:creationId xmlns:a16="http://schemas.microsoft.com/office/drawing/2014/main" id="{1E7003A5-BEDC-CCE6-2754-1EF92DE23EF6}"/>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spTree>
    <p:extLst>
      <p:ext uri="{BB962C8B-B14F-4D97-AF65-F5344CB8AC3E}">
        <p14:creationId xmlns:p14="http://schemas.microsoft.com/office/powerpoint/2010/main" val="193377237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PhAnim="0" userDrawn="1">
  <p:cSld name="1_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4694" y="1393371"/>
            <a:ext cx="11732506"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9168347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PhAnim="0" preserve="1" userDrawn="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49" y="1209456"/>
            <a:ext cx="3526972"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endParaRPr lang="es-CO"/>
          </a:p>
        </p:txBody>
      </p:sp>
    </p:spTree>
    <p:extLst>
      <p:ext uri="{BB962C8B-B14F-4D97-AF65-F5344CB8AC3E}">
        <p14:creationId xmlns:p14="http://schemas.microsoft.com/office/powerpoint/2010/main" val="134739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PhAnim="0" preserve="1" userDrawn="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39550" y="1393371"/>
            <a:ext cx="3526972"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3" name="Rectangle 2">
            <a:extLst>
              <a:ext uri="{FF2B5EF4-FFF2-40B4-BE49-F238E27FC236}">
                <a16:creationId xmlns:a16="http://schemas.microsoft.com/office/drawing/2014/main" id="{2E354242-21A7-0EDC-3F2C-B70BBF29F893}"/>
              </a:ext>
            </a:extLst>
          </p:cNvPr>
          <p:cNvSpPr/>
          <p:nvPr userDrawn="1"/>
        </p:nvSpPr>
        <p:spPr>
          <a:xfrm>
            <a:off x="1539550" y="1209456"/>
            <a:ext cx="3526971"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userDrawn="1"/>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endParaRPr lang="es-CO"/>
          </a:p>
        </p:txBody>
      </p:sp>
    </p:spTree>
    <p:extLst>
      <p:ext uri="{BB962C8B-B14F-4D97-AF65-F5344CB8AC3E}">
        <p14:creationId xmlns:p14="http://schemas.microsoft.com/office/powerpoint/2010/main" val="10900866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PhAnim="0" preserve="1" userDrawn="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1496" y="1449354"/>
            <a:ext cx="4377703" cy="4783138"/>
          </a:xfrm>
          <a:prstGeom prst="rect">
            <a:avLst/>
          </a:prstGeom>
        </p:spPr>
        <p:txBody>
          <a:bodyPr/>
          <a:lstStyle/>
          <a:p>
            <a:endParaRPr lang="es-CO"/>
          </a:p>
        </p:txBody>
      </p:sp>
      <p:sp>
        <p:nvSpPr>
          <p:cNvPr id="3" name="Rectangle 2">
            <a:extLst>
              <a:ext uri="{FF2B5EF4-FFF2-40B4-BE49-F238E27FC236}">
                <a16:creationId xmlns:a16="http://schemas.microsoft.com/office/drawing/2014/main" id="{FB3F6377-E847-A0C6-F520-122248FABD04}"/>
              </a:ext>
            </a:extLst>
          </p:cNvPr>
          <p:cNvSpPr/>
          <p:nvPr userDrawn="1"/>
        </p:nvSpPr>
        <p:spPr>
          <a:xfrm>
            <a:off x="1112741" y="1265439"/>
            <a:ext cx="4376459" cy="1794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userDrawn="1"/>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userDrawn="1"/>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6519901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9644741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PhAnim="0" preserve="1" userDrawn="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userDrawn="1"/>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teering Committe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Team</a:t>
            </a: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userDrawn="1"/>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userDrawn="1"/>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userDrawn="1"/>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userDrawn="1"/>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userDrawn="1"/>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userDrawn="1"/>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endParaRPr lang="es-CO"/>
          </a:p>
        </p:txBody>
      </p:sp>
      <p:sp>
        <p:nvSpPr>
          <p:cNvPr id="17" name="Rectángulo 37">
            <a:extLst>
              <a:ext uri="{FF2B5EF4-FFF2-40B4-BE49-F238E27FC236}">
                <a16:creationId xmlns:a16="http://schemas.microsoft.com/office/drawing/2014/main" id="{3B26E765-45BE-2F2E-CCFF-E6CEC51D8ED3}"/>
              </a:ext>
            </a:extLst>
          </p:cNvPr>
          <p:cNvSpPr/>
          <p:nvPr userDrawn="1"/>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userDrawn="1"/>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n-US"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userDrawn="1"/>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userDrawn="1"/>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userDrawn="1"/>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n-US"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userDrawn="1"/>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Project leadership</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Decision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Issue re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rgbClr val="304258"/>
                </a:solidFill>
                <a:latin typeface="Poppins" panose="00000500000000000000" pitchFamily="2" charset="0"/>
                <a:ea typeface="Lato"/>
                <a:cs typeface="Poppins" panose="00000500000000000000" pitchFamily="2" charset="0"/>
              </a:rPr>
              <a:t>Experience</a:t>
            </a: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userDrawn="1"/>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rgbClr val="304258"/>
                </a:solidFill>
                <a:latin typeface="Poppins" panose="00000500000000000000" pitchFamily="2" charset="0"/>
                <a:cs typeface="Poppins" panose="00000500000000000000" pitchFamily="2" charset="0"/>
              </a:rPr>
              <a:t>Data gathering</a:t>
            </a:r>
          </a:p>
          <a:p>
            <a:r>
              <a:rPr lang="en-US">
                <a:solidFill>
                  <a:srgbClr val="304258"/>
                </a:solidFill>
                <a:latin typeface="Poppins" panose="00000500000000000000" pitchFamily="2" charset="0"/>
                <a:cs typeface="Poppins" panose="00000500000000000000" pitchFamily="2" charset="0"/>
              </a:rPr>
              <a:t>Analysis structuring and execution</a:t>
            </a:r>
          </a:p>
          <a:p>
            <a:r>
              <a:rPr lang="en-US">
                <a:solidFill>
                  <a:srgbClr val="304258"/>
                </a:solidFill>
                <a:latin typeface="Poppins" panose="00000500000000000000" pitchFamily="2" charset="0"/>
                <a:cs typeface="Poppins" panose="00000500000000000000" pitchFamily="2" charset="0"/>
              </a:rPr>
              <a:t>Technical expertise</a:t>
            </a:r>
          </a:p>
          <a:p>
            <a:r>
              <a:rPr lang="en-US">
                <a:solidFill>
                  <a:srgbClr val="304258"/>
                </a:solidFill>
                <a:latin typeface="Poppins" panose="00000500000000000000" pitchFamily="2" charset="0"/>
                <a:cs typeface="Poppins" panose="00000500000000000000" pitchFamily="2" charset="0"/>
              </a:rPr>
              <a:t>Logistics</a:t>
            </a: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userDrawn="1"/>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Expertise</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Agile workflow management</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rgbClr val="304258"/>
                </a:solidFill>
                <a:latin typeface="Poppins" panose="00000500000000000000" pitchFamily="2" charset="0"/>
                <a:ea typeface="Lato"/>
                <a:cs typeface="Poppins" panose="00000500000000000000" pitchFamily="2" charset="0"/>
              </a:rPr>
              <a:t>Recommendations and quality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6091688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PhAnim="0" preserve="1" userDrawn="1">
  <p:cSld name="1_Investment 2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337715"/>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334730"/>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33990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33473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9805753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PhAnim="0" preserve="1" userDrawn="1">
  <p:cSld name="Investment 3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79946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860231"/>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038315"/>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796478"/>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85724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796478"/>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7904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862417"/>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85724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9383249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PhAnim="0" preserve="1" userDrawn="1">
  <p:cSld name="1_Investment 4 phases">
    <p:spTree>
      <p:nvGrpSpPr>
        <p:cNvPr id="1" name=""/>
        <p:cNvGrpSpPr/>
        <p:nvPr/>
      </p:nvGrpSpPr>
      <p:grpSpPr>
        <a:xfrm>
          <a:off x="0" y="0"/>
          <a:ext cx="0" cy="0"/>
          <a:chOff x="0" y="0"/>
          <a:chExt cx="0" cy="0"/>
        </a:xfrm>
      </p:grpSpPr>
      <p:sp>
        <p:nvSpPr>
          <p:cNvPr id="44" name="Rectangle 17">
            <a:extLst>
              <a:ext uri="{FF2B5EF4-FFF2-40B4-BE49-F238E27FC236}">
                <a16:creationId xmlns:a16="http://schemas.microsoft.com/office/drawing/2014/main" id="{4F3DDA03-AE81-5275-8188-AF428E29774A}"/>
              </a:ext>
            </a:extLst>
          </p:cNvPr>
          <p:cNvSpPr/>
          <p:nvPr userDrawn="1"/>
        </p:nvSpPr>
        <p:spPr>
          <a:xfrm>
            <a:off x="176323" y="179620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5" name="Rectangle 17">
            <a:extLst>
              <a:ext uri="{FF2B5EF4-FFF2-40B4-BE49-F238E27FC236}">
                <a16:creationId xmlns:a16="http://schemas.microsoft.com/office/drawing/2014/main" id="{1AA35DD0-A87F-C4D2-58A0-3B958F0B8A3A}"/>
              </a:ext>
            </a:extLst>
          </p:cNvPr>
          <p:cNvSpPr/>
          <p:nvPr userDrawn="1"/>
        </p:nvSpPr>
        <p:spPr>
          <a:xfrm>
            <a:off x="251926" y="2637856"/>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46" name="Rectangle 17">
            <a:extLst>
              <a:ext uri="{FF2B5EF4-FFF2-40B4-BE49-F238E27FC236}">
                <a16:creationId xmlns:a16="http://schemas.microsoft.com/office/drawing/2014/main" id="{6EC9BCCA-AC53-2708-25C7-C5D8082EC251}"/>
              </a:ext>
            </a:extLst>
          </p:cNvPr>
          <p:cNvSpPr/>
          <p:nvPr userDrawn="1"/>
        </p:nvSpPr>
        <p:spPr>
          <a:xfrm>
            <a:off x="251925" y="3493354"/>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userDrawn="1"/>
        </p:nvSpPr>
        <p:spPr bwMode="auto">
          <a:xfrm>
            <a:off x="251925" y="5438416"/>
            <a:ext cx="2472613" cy="691795"/>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n-US" sz="1300" b="1">
                <a:solidFill>
                  <a:srgbClr val="FFFFFF"/>
                </a:solidFill>
                <a:latin typeface="+mj-lt"/>
              </a:rPr>
              <a:t>Proposed investment</a:t>
            </a:r>
          </a:p>
        </p:txBody>
      </p:sp>
      <p:sp>
        <p:nvSpPr>
          <p:cNvPr id="3" name="Content Placeholder 2">
            <a:extLst>
              <a:ext uri="{FF2B5EF4-FFF2-40B4-BE49-F238E27FC236}">
                <a16:creationId xmlns:a16="http://schemas.microsoft.com/office/drawing/2014/main" id="{256D2585-D90D-7AB4-EDE1-F684B1413F32}"/>
              </a:ext>
            </a:extLst>
          </p:cNvPr>
          <p:cNvSpPr>
            <a:spLocks noGrp="1"/>
          </p:cNvSpPr>
          <p:nvPr>
            <p:ph idx="1" hasCustomPrompt="1"/>
          </p:nvPr>
        </p:nvSpPr>
        <p:spPr>
          <a:xfrm>
            <a:off x="4805875" y="543841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1"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7" name="Isosceles Triangle 6">
            <a:extLst>
              <a:ext uri="{FF2B5EF4-FFF2-40B4-BE49-F238E27FC236}">
                <a16:creationId xmlns:a16="http://schemas.microsoft.com/office/drawing/2014/main" id="{33FE29B9-A305-81B5-E1A3-1B7BB8258339}"/>
              </a:ext>
            </a:extLst>
          </p:cNvPr>
          <p:cNvSpPr/>
          <p:nvPr userDrawn="1"/>
        </p:nvSpPr>
        <p:spPr>
          <a:xfrm rot="10800000">
            <a:off x="5025900" y="5131619"/>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oppins" panose="00000500000000000000" pitchFamily="2" charset="0"/>
            </a:endParaRPr>
          </a:p>
        </p:txBody>
      </p:sp>
      <p:sp>
        <p:nvSpPr>
          <p:cNvPr id="32" name="Text Placeholder 17">
            <a:extLst>
              <a:ext uri="{FF2B5EF4-FFF2-40B4-BE49-F238E27FC236}">
                <a16:creationId xmlns:a16="http://schemas.microsoft.com/office/drawing/2014/main" id="{976CBE3A-5D9F-E047-1597-12A7A540393B}"/>
              </a:ext>
            </a:extLst>
          </p:cNvPr>
          <p:cNvSpPr>
            <a:spLocks noGrp="1"/>
          </p:cNvSpPr>
          <p:nvPr>
            <p:ph type="body" sz="quarter" idx="14" hasCustomPrompt="1"/>
          </p:nvPr>
        </p:nvSpPr>
        <p:spPr>
          <a:xfrm>
            <a:off x="251926" y="179620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4" name="Text Placeholder 7">
            <a:extLst>
              <a:ext uri="{FF2B5EF4-FFF2-40B4-BE49-F238E27FC236}">
                <a16:creationId xmlns:a16="http://schemas.microsoft.com/office/drawing/2014/main" id="{7EA52E33-E48F-1445-949D-2C64268EBFF7}"/>
              </a:ext>
            </a:extLst>
          </p:cNvPr>
          <p:cNvSpPr>
            <a:spLocks noGrp="1"/>
          </p:cNvSpPr>
          <p:nvPr>
            <p:ph type="body" sz="quarter" idx="11" hasCustomPrompt="1"/>
          </p:nvPr>
        </p:nvSpPr>
        <p:spPr>
          <a:xfrm>
            <a:off x="3274656" y="1191913"/>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5" name="Text Placeholder 7">
            <a:extLst>
              <a:ext uri="{FF2B5EF4-FFF2-40B4-BE49-F238E27FC236}">
                <a16:creationId xmlns:a16="http://schemas.microsoft.com/office/drawing/2014/main" id="{32A703EA-763E-D07F-B8B3-53B1498C5551}"/>
              </a:ext>
            </a:extLst>
          </p:cNvPr>
          <p:cNvSpPr>
            <a:spLocks noGrp="1"/>
          </p:cNvSpPr>
          <p:nvPr>
            <p:ph type="body" sz="quarter" idx="15" hasCustomPrompt="1"/>
          </p:nvPr>
        </p:nvSpPr>
        <p:spPr>
          <a:xfrm>
            <a:off x="7419469" y="1191912"/>
            <a:ext cx="3420000"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n-US"/>
              <a:t>Click to edit Master text styles</a:t>
            </a:r>
          </a:p>
          <a:p>
            <a:pPr lvl="1"/>
            <a:endParaRPr lang="en-US"/>
          </a:p>
        </p:txBody>
      </p:sp>
      <p:sp>
        <p:nvSpPr>
          <p:cNvPr id="36" name="Text Placeholder 17">
            <a:extLst>
              <a:ext uri="{FF2B5EF4-FFF2-40B4-BE49-F238E27FC236}">
                <a16:creationId xmlns:a16="http://schemas.microsoft.com/office/drawing/2014/main" id="{1F725D9A-6654-32A1-C59B-F5D9D68DADBE}"/>
              </a:ext>
            </a:extLst>
          </p:cNvPr>
          <p:cNvSpPr>
            <a:spLocks noGrp="1"/>
          </p:cNvSpPr>
          <p:nvPr>
            <p:ph type="body" sz="quarter" idx="16" hasCustomPrompt="1"/>
          </p:nvPr>
        </p:nvSpPr>
        <p:spPr>
          <a:xfrm>
            <a:off x="251926" y="2637856"/>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7" name="Text Placeholder 17">
            <a:extLst>
              <a:ext uri="{FF2B5EF4-FFF2-40B4-BE49-F238E27FC236}">
                <a16:creationId xmlns:a16="http://schemas.microsoft.com/office/drawing/2014/main" id="{FC02BCC7-5CFC-94D9-7203-56CF0E1A9E88}"/>
              </a:ext>
            </a:extLst>
          </p:cNvPr>
          <p:cNvSpPr>
            <a:spLocks noGrp="1"/>
          </p:cNvSpPr>
          <p:nvPr>
            <p:ph type="body" sz="quarter" idx="17" hasCustomPrompt="1"/>
          </p:nvPr>
        </p:nvSpPr>
        <p:spPr>
          <a:xfrm>
            <a:off x="251925" y="3493354"/>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38" name="Content Placeholder 2">
            <a:extLst>
              <a:ext uri="{FF2B5EF4-FFF2-40B4-BE49-F238E27FC236}">
                <a16:creationId xmlns:a16="http://schemas.microsoft.com/office/drawing/2014/main" id="{7EF4ED42-01E0-27B3-600F-68E2D139C754}"/>
              </a:ext>
            </a:extLst>
          </p:cNvPr>
          <p:cNvSpPr>
            <a:spLocks noGrp="1"/>
          </p:cNvSpPr>
          <p:nvPr>
            <p:ph idx="18" hasCustomPrompt="1"/>
          </p:nvPr>
        </p:nvSpPr>
        <p:spPr>
          <a:xfrm>
            <a:off x="3274656"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39" name="Content Placeholder 2">
            <a:extLst>
              <a:ext uri="{FF2B5EF4-FFF2-40B4-BE49-F238E27FC236}">
                <a16:creationId xmlns:a16="http://schemas.microsoft.com/office/drawing/2014/main" id="{32493816-FC92-64BB-2A0E-9B9BB6C407A1}"/>
              </a:ext>
            </a:extLst>
          </p:cNvPr>
          <p:cNvSpPr>
            <a:spLocks noGrp="1"/>
          </p:cNvSpPr>
          <p:nvPr>
            <p:ph idx="19" hasCustomPrompt="1"/>
          </p:nvPr>
        </p:nvSpPr>
        <p:spPr>
          <a:xfrm>
            <a:off x="7419469" y="179620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0" name="Content Placeholder 2">
            <a:extLst>
              <a:ext uri="{FF2B5EF4-FFF2-40B4-BE49-F238E27FC236}">
                <a16:creationId xmlns:a16="http://schemas.microsoft.com/office/drawing/2014/main" id="{BA1D6AF1-BA48-4D36-AFC5-10ED6EC0B589}"/>
              </a:ext>
            </a:extLst>
          </p:cNvPr>
          <p:cNvSpPr>
            <a:spLocks noGrp="1"/>
          </p:cNvSpPr>
          <p:nvPr>
            <p:ph idx="20" hasCustomPrompt="1"/>
          </p:nvPr>
        </p:nvSpPr>
        <p:spPr>
          <a:xfrm>
            <a:off x="3274656" y="2637856"/>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1" name="Content Placeholder 2">
            <a:extLst>
              <a:ext uri="{FF2B5EF4-FFF2-40B4-BE49-F238E27FC236}">
                <a16:creationId xmlns:a16="http://schemas.microsoft.com/office/drawing/2014/main" id="{8CB96E9E-2BD7-5B0E-96C4-A14BF90E8379}"/>
              </a:ext>
            </a:extLst>
          </p:cNvPr>
          <p:cNvSpPr>
            <a:spLocks noGrp="1"/>
          </p:cNvSpPr>
          <p:nvPr>
            <p:ph idx="21" hasCustomPrompt="1"/>
          </p:nvPr>
        </p:nvSpPr>
        <p:spPr>
          <a:xfrm>
            <a:off x="7419469" y="2631800"/>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2" name="Content Placeholder 2">
            <a:extLst>
              <a:ext uri="{FF2B5EF4-FFF2-40B4-BE49-F238E27FC236}">
                <a16:creationId xmlns:a16="http://schemas.microsoft.com/office/drawing/2014/main" id="{1F4E302A-ECB5-000C-351E-0639CAC01CEE}"/>
              </a:ext>
            </a:extLst>
          </p:cNvPr>
          <p:cNvSpPr>
            <a:spLocks noGrp="1"/>
          </p:cNvSpPr>
          <p:nvPr>
            <p:ph idx="22" hasCustomPrompt="1"/>
          </p:nvPr>
        </p:nvSpPr>
        <p:spPr>
          <a:xfrm>
            <a:off x="3274656" y="3498525"/>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3" name="Content Placeholder 2">
            <a:extLst>
              <a:ext uri="{FF2B5EF4-FFF2-40B4-BE49-F238E27FC236}">
                <a16:creationId xmlns:a16="http://schemas.microsoft.com/office/drawing/2014/main" id="{B29E30BF-4089-220C-F412-64863D3D9FD6}"/>
              </a:ext>
            </a:extLst>
          </p:cNvPr>
          <p:cNvSpPr>
            <a:spLocks noGrp="1"/>
          </p:cNvSpPr>
          <p:nvPr>
            <p:ph idx="23" hasCustomPrompt="1"/>
          </p:nvPr>
        </p:nvSpPr>
        <p:spPr>
          <a:xfrm>
            <a:off x="7419469" y="349335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4" name="Rectangle 17">
            <a:extLst>
              <a:ext uri="{FF2B5EF4-FFF2-40B4-BE49-F238E27FC236}">
                <a16:creationId xmlns:a16="http://schemas.microsoft.com/office/drawing/2014/main" id="{49D80E92-CD8E-C093-BB0F-5D8BC75B8F48}"/>
              </a:ext>
            </a:extLst>
          </p:cNvPr>
          <p:cNvSpPr/>
          <p:nvPr userDrawn="1"/>
        </p:nvSpPr>
        <p:spPr>
          <a:xfrm>
            <a:off x="251925" y="4350313"/>
            <a:ext cx="12032785" cy="795528"/>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5" name="Text Placeholder 17">
            <a:extLst>
              <a:ext uri="{FF2B5EF4-FFF2-40B4-BE49-F238E27FC236}">
                <a16:creationId xmlns:a16="http://schemas.microsoft.com/office/drawing/2014/main" id="{CA355AB3-AF41-ECA8-748F-EA6F8CA146DB}"/>
              </a:ext>
            </a:extLst>
          </p:cNvPr>
          <p:cNvSpPr>
            <a:spLocks noGrp="1"/>
          </p:cNvSpPr>
          <p:nvPr>
            <p:ph type="body" sz="quarter" idx="24" hasCustomPrompt="1"/>
          </p:nvPr>
        </p:nvSpPr>
        <p:spPr>
          <a:xfrm>
            <a:off x="251925" y="4350313"/>
            <a:ext cx="2472613" cy="798513"/>
          </a:xfrm>
          <a:prstGeom prst="rect">
            <a:avLst/>
          </a:prstGeom>
          <a:solidFill>
            <a:schemeClr val="accent4"/>
          </a:solidFill>
        </p:spPr>
        <p:txBody>
          <a:bodyPr>
            <a:noAutofit/>
          </a:bodyPr>
          <a:lstStyle>
            <a:lvl1pPr algn="l">
              <a:defRPr sz="1300" b="1" i="0">
                <a:solidFill>
                  <a:schemeClr val="bg1"/>
                </a:solidFill>
                <a:latin typeface="+mj-lt"/>
              </a:defRPr>
            </a:lvl1pPr>
            <a:lvl2pPr marL="457200" indent="0">
              <a:buNone/>
              <a:defRPr/>
            </a:lvl2pPr>
          </a:lstStyle>
          <a:p>
            <a:pPr lvl="0"/>
            <a:r>
              <a:rPr lang="en-US"/>
              <a:t>Click to edit Master text style</a:t>
            </a:r>
          </a:p>
        </p:txBody>
      </p:sp>
      <p:sp>
        <p:nvSpPr>
          <p:cNvPr id="8" name="Content Placeholder 2">
            <a:extLst>
              <a:ext uri="{FF2B5EF4-FFF2-40B4-BE49-F238E27FC236}">
                <a16:creationId xmlns:a16="http://schemas.microsoft.com/office/drawing/2014/main" id="{76FEB6F6-F8CF-36E0-519E-C5309F4A3F7A}"/>
              </a:ext>
            </a:extLst>
          </p:cNvPr>
          <p:cNvSpPr>
            <a:spLocks noGrp="1"/>
          </p:cNvSpPr>
          <p:nvPr>
            <p:ph idx="25" hasCustomPrompt="1"/>
          </p:nvPr>
        </p:nvSpPr>
        <p:spPr>
          <a:xfrm>
            <a:off x="3274656" y="4355484"/>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
        <p:nvSpPr>
          <p:cNvPr id="9" name="Content Placeholder 2">
            <a:extLst>
              <a:ext uri="{FF2B5EF4-FFF2-40B4-BE49-F238E27FC236}">
                <a16:creationId xmlns:a16="http://schemas.microsoft.com/office/drawing/2014/main" id="{5AC0E765-2E5D-8A9C-F63D-A1648FC717F7}"/>
              </a:ext>
            </a:extLst>
          </p:cNvPr>
          <p:cNvSpPr>
            <a:spLocks noGrp="1"/>
          </p:cNvSpPr>
          <p:nvPr>
            <p:ph idx="26" hasCustomPrompt="1"/>
          </p:nvPr>
        </p:nvSpPr>
        <p:spPr>
          <a:xfrm>
            <a:off x="7419469" y="4350313"/>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b="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380424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p:cSld name="4. Differentiated appro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grpSp>
        <p:nvGrpSpPr>
          <p:cNvPr id="3" name="Group 2">
            <a:extLst>
              <a:ext uri="{FF2B5EF4-FFF2-40B4-BE49-F238E27FC236}">
                <a16:creationId xmlns:a16="http://schemas.microsoft.com/office/drawing/2014/main" id="{68FD0E65-81A9-7732-E46B-FB8EF4F101FD}"/>
              </a:ext>
            </a:extLst>
          </p:cNvPr>
          <p:cNvGrpSpPr/>
          <p:nvPr/>
        </p:nvGrpSpPr>
        <p:grpSpPr>
          <a:xfrm>
            <a:off x="146933" y="1996751"/>
            <a:ext cx="3594643" cy="3400420"/>
            <a:chOff x="3791883" y="1517333"/>
            <a:chExt cx="4075485" cy="3612243"/>
          </a:xfrm>
        </p:grpSpPr>
        <p:sp>
          <p:nvSpPr>
            <p:cNvPr id="6" name="Freeform 2">
              <a:extLst>
                <a:ext uri="{FF2B5EF4-FFF2-40B4-BE49-F238E27FC236}">
                  <a16:creationId xmlns:a16="http://schemas.microsoft.com/office/drawing/2014/main" id="{CE7510E1-41A3-E349-6E56-576A6A8E81E0}"/>
                </a:ext>
              </a:extLst>
            </p:cNvPr>
            <p:cNvSpPr>
              <a:spLocks noChangeArrowheads="1"/>
            </p:cNvSpPr>
            <p:nvPr/>
          </p:nvSpPr>
          <p:spPr bwMode="auto">
            <a:xfrm>
              <a:off x="3821565" y="1517333"/>
              <a:ext cx="1965019" cy="1730119"/>
            </a:xfrm>
            <a:custGeom>
              <a:avLst/>
              <a:gdLst>
                <a:gd name="T0" fmla="*/ 2919 w 2920"/>
                <a:gd name="T1" fmla="*/ 2073 h 2761"/>
                <a:gd name="T2" fmla="*/ 2919 w 2920"/>
                <a:gd name="T3" fmla="*/ 0 h 2761"/>
                <a:gd name="T4" fmla="*/ 0 w 2920"/>
                <a:gd name="T5" fmla="*/ 2121 h 2761"/>
                <a:gd name="T6" fmla="*/ 1971 w 2920"/>
                <a:gd name="T7" fmla="*/ 2760 h 2761"/>
                <a:gd name="T8" fmla="*/ 1971 w 2920"/>
                <a:gd name="T9" fmla="*/ 2760 h 2761"/>
                <a:gd name="T10" fmla="*/ 2919 w 2920"/>
                <a:gd name="T11" fmla="*/ 2073 h 2761"/>
              </a:gdLst>
              <a:ahLst/>
              <a:cxnLst>
                <a:cxn ang="0">
                  <a:pos x="T0" y="T1"/>
                </a:cxn>
                <a:cxn ang="0">
                  <a:pos x="T2" y="T3"/>
                </a:cxn>
                <a:cxn ang="0">
                  <a:pos x="T4" y="T5"/>
                </a:cxn>
                <a:cxn ang="0">
                  <a:pos x="T6" y="T7"/>
                </a:cxn>
                <a:cxn ang="0">
                  <a:pos x="T8" y="T9"/>
                </a:cxn>
                <a:cxn ang="0">
                  <a:pos x="T10" y="T11"/>
                </a:cxn>
              </a:cxnLst>
              <a:rect l="0" t="0" r="r" b="b"/>
              <a:pathLst>
                <a:path w="2920" h="2761">
                  <a:moveTo>
                    <a:pt x="2919" y="2073"/>
                  </a:moveTo>
                  <a:lnTo>
                    <a:pt x="2919" y="0"/>
                  </a:lnTo>
                  <a:lnTo>
                    <a:pt x="0" y="2121"/>
                  </a:lnTo>
                  <a:lnTo>
                    <a:pt x="1971" y="2760"/>
                  </a:lnTo>
                  <a:lnTo>
                    <a:pt x="1971" y="2760"/>
                  </a:lnTo>
                  <a:cubicBezTo>
                    <a:pt x="2123" y="2377"/>
                    <a:pt x="2488" y="2099"/>
                    <a:pt x="2919" y="207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8" name="Freeform 435">
              <a:extLst>
                <a:ext uri="{FF2B5EF4-FFF2-40B4-BE49-F238E27FC236}">
                  <a16:creationId xmlns:a16="http://schemas.microsoft.com/office/drawing/2014/main" id="{6562D609-7953-DC34-CB99-E773E9A1D2A4}"/>
                </a:ext>
              </a:extLst>
            </p:cNvPr>
            <p:cNvSpPr>
              <a:spLocks noChangeArrowheads="1"/>
            </p:cNvSpPr>
            <p:nvPr/>
          </p:nvSpPr>
          <p:spPr bwMode="auto">
            <a:xfrm>
              <a:off x="5875634" y="1517333"/>
              <a:ext cx="1965019" cy="1730119"/>
            </a:xfrm>
            <a:custGeom>
              <a:avLst/>
              <a:gdLst>
                <a:gd name="T0" fmla="*/ 948 w 2920"/>
                <a:gd name="T1" fmla="*/ 2760 h 2761"/>
                <a:gd name="T2" fmla="*/ 2919 w 2920"/>
                <a:gd name="T3" fmla="*/ 2121 h 2761"/>
                <a:gd name="T4" fmla="*/ 0 w 2920"/>
                <a:gd name="T5" fmla="*/ 0 h 2761"/>
                <a:gd name="T6" fmla="*/ 0 w 2920"/>
                <a:gd name="T7" fmla="*/ 2073 h 2761"/>
                <a:gd name="T8" fmla="*/ 0 w 2920"/>
                <a:gd name="T9" fmla="*/ 2073 h 2761"/>
                <a:gd name="T10" fmla="*/ 948 w 2920"/>
                <a:gd name="T11" fmla="*/ 2760 h 2761"/>
              </a:gdLst>
              <a:ahLst/>
              <a:cxnLst>
                <a:cxn ang="0">
                  <a:pos x="T0" y="T1"/>
                </a:cxn>
                <a:cxn ang="0">
                  <a:pos x="T2" y="T3"/>
                </a:cxn>
                <a:cxn ang="0">
                  <a:pos x="T4" y="T5"/>
                </a:cxn>
                <a:cxn ang="0">
                  <a:pos x="T6" y="T7"/>
                </a:cxn>
                <a:cxn ang="0">
                  <a:pos x="T8" y="T9"/>
                </a:cxn>
                <a:cxn ang="0">
                  <a:pos x="T10" y="T11"/>
                </a:cxn>
              </a:cxnLst>
              <a:rect l="0" t="0" r="r" b="b"/>
              <a:pathLst>
                <a:path w="2920" h="2761">
                  <a:moveTo>
                    <a:pt x="948" y="2760"/>
                  </a:moveTo>
                  <a:lnTo>
                    <a:pt x="2919" y="2121"/>
                  </a:lnTo>
                  <a:lnTo>
                    <a:pt x="0" y="0"/>
                  </a:lnTo>
                  <a:lnTo>
                    <a:pt x="0" y="2073"/>
                  </a:lnTo>
                  <a:lnTo>
                    <a:pt x="0" y="2073"/>
                  </a:lnTo>
                  <a:cubicBezTo>
                    <a:pt x="432" y="2099"/>
                    <a:pt x="796" y="2377"/>
                    <a:pt x="948" y="276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9" name="Freeform 436">
              <a:extLst>
                <a:ext uri="{FF2B5EF4-FFF2-40B4-BE49-F238E27FC236}">
                  <a16:creationId xmlns:a16="http://schemas.microsoft.com/office/drawing/2014/main" id="{76F979BA-D03B-0259-D9C2-47A79A6F8E4B}"/>
                </a:ext>
              </a:extLst>
            </p:cNvPr>
            <p:cNvSpPr>
              <a:spLocks noChangeArrowheads="1"/>
            </p:cNvSpPr>
            <p:nvPr/>
          </p:nvSpPr>
          <p:spPr bwMode="auto">
            <a:xfrm>
              <a:off x="6297134" y="2926854"/>
              <a:ext cx="1570234" cy="2150211"/>
            </a:xfrm>
            <a:custGeom>
              <a:avLst/>
              <a:gdLst>
                <a:gd name="T0" fmla="*/ 362 w 2334"/>
                <a:gd name="T1" fmla="*/ 639 h 3431"/>
                <a:gd name="T2" fmla="*/ 362 w 2334"/>
                <a:gd name="T3" fmla="*/ 639 h 3431"/>
                <a:gd name="T4" fmla="*/ 397 w 2334"/>
                <a:gd name="T5" fmla="*/ 912 h 3431"/>
                <a:gd name="T6" fmla="*/ 397 w 2334"/>
                <a:gd name="T7" fmla="*/ 912 h 3431"/>
                <a:gd name="T8" fmla="*/ 0 w 2334"/>
                <a:gd name="T9" fmla="*/ 1753 h 3431"/>
                <a:gd name="T10" fmla="*/ 1218 w 2334"/>
                <a:gd name="T11" fmla="*/ 3430 h 3431"/>
                <a:gd name="T12" fmla="*/ 2333 w 2334"/>
                <a:gd name="T13" fmla="*/ 0 h 3431"/>
                <a:gd name="T14" fmla="*/ 362 w 2334"/>
                <a:gd name="T15" fmla="*/ 639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362" y="639"/>
                  </a:moveTo>
                  <a:lnTo>
                    <a:pt x="362" y="639"/>
                  </a:lnTo>
                  <a:cubicBezTo>
                    <a:pt x="385" y="726"/>
                    <a:pt x="397" y="818"/>
                    <a:pt x="397" y="912"/>
                  </a:cubicBezTo>
                  <a:lnTo>
                    <a:pt x="397" y="912"/>
                  </a:lnTo>
                  <a:cubicBezTo>
                    <a:pt x="397" y="1250"/>
                    <a:pt x="242" y="1553"/>
                    <a:pt x="0" y="1753"/>
                  </a:cubicBezTo>
                  <a:lnTo>
                    <a:pt x="1218" y="3430"/>
                  </a:lnTo>
                  <a:lnTo>
                    <a:pt x="2333" y="0"/>
                  </a:lnTo>
                  <a:lnTo>
                    <a:pt x="362" y="63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0" name="Freeform 437">
              <a:extLst>
                <a:ext uri="{FF2B5EF4-FFF2-40B4-BE49-F238E27FC236}">
                  <a16:creationId xmlns:a16="http://schemas.microsoft.com/office/drawing/2014/main" id="{D49074BA-6EE9-A832-23E8-B6454382DDDB}"/>
                </a:ext>
              </a:extLst>
            </p:cNvPr>
            <p:cNvSpPr>
              <a:spLocks noChangeArrowheads="1"/>
            </p:cNvSpPr>
            <p:nvPr/>
          </p:nvSpPr>
          <p:spPr bwMode="auto">
            <a:xfrm>
              <a:off x="4617072" y="4076582"/>
              <a:ext cx="2428075" cy="1052994"/>
            </a:xfrm>
            <a:custGeom>
              <a:avLst/>
              <a:gdLst>
                <a:gd name="T0" fmla="*/ 2389 w 3608"/>
                <a:gd name="T1" fmla="*/ 0 h 1678"/>
                <a:gd name="T2" fmla="*/ 2389 w 3608"/>
                <a:gd name="T3" fmla="*/ 0 h 1678"/>
                <a:gd name="T4" fmla="*/ 1804 w 3608"/>
                <a:gd name="T5" fmla="*/ 171 h 1678"/>
                <a:gd name="T6" fmla="*/ 1804 w 3608"/>
                <a:gd name="T7" fmla="*/ 171 h 1678"/>
                <a:gd name="T8" fmla="*/ 1218 w 3608"/>
                <a:gd name="T9" fmla="*/ 0 h 1678"/>
                <a:gd name="T10" fmla="*/ 0 w 3608"/>
                <a:gd name="T11" fmla="*/ 1677 h 1678"/>
                <a:gd name="T12" fmla="*/ 3607 w 3608"/>
                <a:gd name="T13" fmla="*/ 1677 h 1678"/>
                <a:gd name="T14" fmla="*/ 2389 w 3608"/>
                <a:gd name="T15" fmla="*/ 0 h 16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8" h="1678">
                  <a:moveTo>
                    <a:pt x="2389" y="0"/>
                  </a:moveTo>
                  <a:lnTo>
                    <a:pt x="2389" y="0"/>
                  </a:lnTo>
                  <a:cubicBezTo>
                    <a:pt x="2220" y="108"/>
                    <a:pt x="2018" y="171"/>
                    <a:pt x="1804" y="171"/>
                  </a:cubicBezTo>
                  <a:lnTo>
                    <a:pt x="1804" y="171"/>
                  </a:lnTo>
                  <a:cubicBezTo>
                    <a:pt x="1589" y="171"/>
                    <a:pt x="1388" y="108"/>
                    <a:pt x="1218" y="0"/>
                  </a:cubicBezTo>
                  <a:lnTo>
                    <a:pt x="0" y="1677"/>
                  </a:lnTo>
                  <a:lnTo>
                    <a:pt x="3607" y="1677"/>
                  </a:lnTo>
                  <a:lnTo>
                    <a:pt x="2389"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1" name="Freeform 438">
              <a:extLst>
                <a:ext uri="{FF2B5EF4-FFF2-40B4-BE49-F238E27FC236}">
                  <a16:creationId xmlns:a16="http://schemas.microsoft.com/office/drawing/2014/main" id="{457C60C3-E211-EC3C-A1CF-41C74FDA6E8B}"/>
                </a:ext>
              </a:extLst>
            </p:cNvPr>
            <p:cNvSpPr>
              <a:spLocks noChangeArrowheads="1"/>
            </p:cNvSpPr>
            <p:nvPr/>
          </p:nvSpPr>
          <p:spPr bwMode="auto">
            <a:xfrm>
              <a:off x="3791883" y="2926854"/>
              <a:ext cx="1570234" cy="2150211"/>
            </a:xfrm>
            <a:custGeom>
              <a:avLst/>
              <a:gdLst>
                <a:gd name="T0" fmla="*/ 1937 w 2334"/>
                <a:gd name="T1" fmla="*/ 912 h 3431"/>
                <a:gd name="T2" fmla="*/ 1937 w 2334"/>
                <a:gd name="T3" fmla="*/ 912 h 3431"/>
                <a:gd name="T4" fmla="*/ 1971 w 2334"/>
                <a:gd name="T5" fmla="*/ 639 h 3431"/>
                <a:gd name="T6" fmla="*/ 0 w 2334"/>
                <a:gd name="T7" fmla="*/ 0 h 3431"/>
                <a:gd name="T8" fmla="*/ 1115 w 2334"/>
                <a:gd name="T9" fmla="*/ 3430 h 3431"/>
                <a:gd name="T10" fmla="*/ 2333 w 2334"/>
                <a:gd name="T11" fmla="*/ 1753 h 3431"/>
                <a:gd name="T12" fmla="*/ 2333 w 2334"/>
                <a:gd name="T13" fmla="*/ 1753 h 3431"/>
                <a:gd name="T14" fmla="*/ 1937 w 2334"/>
                <a:gd name="T15" fmla="*/ 912 h 3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4" h="3431">
                  <a:moveTo>
                    <a:pt x="1937" y="912"/>
                  </a:moveTo>
                  <a:lnTo>
                    <a:pt x="1937" y="912"/>
                  </a:lnTo>
                  <a:cubicBezTo>
                    <a:pt x="1937" y="818"/>
                    <a:pt x="1949" y="726"/>
                    <a:pt x="1971" y="639"/>
                  </a:cubicBezTo>
                  <a:lnTo>
                    <a:pt x="0" y="0"/>
                  </a:lnTo>
                  <a:lnTo>
                    <a:pt x="1115" y="3430"/>
                  </a:lnTo>
                  <a:lnTo>
                    <a:pt x="2333" y="1753"/>
                  </a:lnTo>
                  <a:lnTo>
                    <a:pt x="2333" y="1753"/>
                  </a:lnTo>
                  <a:cubicBezTo>
                    <a:pt x="2091" y="1553"/>
                    <a:pt x="1937" y="1250"/>
                    <a:pt x="1937" y="91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sp>
          <p:nvSpPr>
            <p:cNvPr id="12" name="TextBox 22">
              <a:extLst>
                <a:ext uri="{FF2B5EF4-FFF2-40B4-BE49-F238E27FC236}">
                  <a16:creationId xmlns:a16="http://schemas.microsoft.com/office/drawing/2014/main" id="{0B806796-2B41-752B-A987-41EAA42C2C43}"/>
                </a:ext>
              </a:extLst>
            </p:cNvPr>
            <p:cNvSpPr txBox="1"/>
            <p:nvPr/>
          </p:nvSpPr>
          <p:spPr>
            <a:xfrm>
              <a:off x="4705283"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3" name="TextBox 23">
              <a:extLst>
                <a:ext uri="{FF2B5EF4-FFF2-40B4-BE49-F238E27FC236}">
                  <a16:creationId xmlns:a16="http://schemas.microsoft.com/office/drawing/2014/main" id="{59E7FECD-29AE-B3A7-9E99-F96EF446BAB1}"/>
                </a:ext>
              </a:extLst>
            </p:cNvPr>
            <p:cNvSpPr txBox="1"/>
            <p:nvPr/>
          </p:nvSpPr>
          <p:spPr>
            <a:xfrm>
              <a:off x="4254300"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4" name="TextBox 24">
              <a:extLst>
                <a:ext uri="{FF2B5EF4-FFF2-40B4-BE49-F238E27FC236}">
                  <a16:creationId xmlns:a16="http://schemas.microsoft.com/office/drawing/2014/main" id="{3F39999C-034B-F1C0-40D4-63ADB63E1613}"/>
                </a:ext>
              </a:extLst>
            </p:cNvPr>
            <p:cNvSpPr txBox="1"/>
            <p:nvPr/>
          </p:nvSpPr>
          <p:spPr>
            <a:xfrm>
              <a:off x="5439886" y="4223557"/>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5" name="TextBox 25">
              <a:extLst>
                <a:ext uri="{FF2B5EF4-FFF2-40B4-BE49-F238E27FC236}">
                  <a16:creationId xmlns:a16="http://schemas.microsoft.com/office/drawing/2014/main" id="{D447E6BD-C128-6B5F-E0FF-2A4537572214}"/>
                </a:ext>
              </a:extLst>
            </p:cNvPr>
            <p:cNvSpPr txBox="1"/>
            <p:nvPr/>
          </p:nvSpPr>
          <p:spPr>
            <a:xfrm>
              <a:off x="6629394" y="3420533"/>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sp>
          <p:nvSpPr>
            <p:cNvPr id="16" name="TextBox 26">
              <a:extLst>
                <a:ext uri="{FF2B5EF4-FFF2-40B4-BE49-F238E27FC236}">
                  <a16:creationId xmlns:a16="http://schemas.microsoft.com/office/drawing/2014/main" id="{E6D28A08-BA83-0608-F74F-A8ACDC0E3A4A}"/>
                </a:ext>
              </a:extLst>
            </p:cNvPr>
            <p:cNvSpPr txBox="1"/>
            <p:nvPr/>
          </p:nvSpPr>
          <p:spPr>
            <a:xfrm>
              <a:off x="6178416" y="2120651"/>
              <a:ext cx="758914" cy="8827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b="1" i="0" u="none" strike="noStrike" kern="1200" cap="none" spc="-290" normalizeH="0" baseline="0" noProof="0">
                <a:ln>
                  <a:noFill/>
                </a:ln>
                <a:solidFill>
                  <a:prstClr val="white"/>
                </a:solidFill>
                <a:effectLst/>
                <a:uLnTx/>
                <a:uFillTx/>
                <a:latin typeface="Poppins" panose="00000500000000000000" pitchFamily="2" charset="0"/>
                <a:ea typeface="+mn-ea"/>
                <a:cs typeface="Poppins" pitchFamily="2" charset="77"/>
              </a:endParaRPr>
            </a:p>
          </p:txBody>
        </p:sp>
        <p:grpSp>
          <p:nvGrpSpPr>
            <p:cNvPr id="17" name="Grupo 146">
              <a:extLst>
                <a:ext uri="{FF2B5EF4-FFF2-40B4-BE49-F238E27FC236}">
                  <a16:creationId xmlns:a16="http://schemas.microsoft.com/office/drawing/2014/main" id="{057B876F-3EC9-2ECB-328F-B6E87F97C052}"/>
                </a:ext>
              </a:extLst>
            </p:cNvPr>
            <p:cNvGrpSpPr/>
            <p:nvPr/>
          </p:nvGrpSpPr>
          <p:grpSpPr>
            <a:xfrm>
              <a:off x="5247416" y="2911259"/>
              <a:ext cx="1190528" cy="1135901"/>
              <a:chOff x="5133727" y="2858498"/>
              <a:chExt cx="1433628" cy="1264823"/>
            </a:xfrm>
          </p:grpSpPr>
          <p:pic>
            <p:nvPicPr>
              <p:cNvPr id="84" name="Imagen 31">
                <a:extLst>
                  <a:ext uri="{FF2B5EF4-FFF2-40B4-BE49-F238E27FC236}">
                    <a16:creationId xmlns:a16="http://schemas.microsoft.com/office/drawing/2014/main" id="{540E83C2-D0C7-ACC6-E218-81A700EDC9EE}"/>
                  </a:ext>
                </a:extLst>
              </p:cNvPr>
              <p:cNvPicPr>
                <a:picLocks noChangeAspect="1"/>
              </p:cNvPicPr>
              <p:nvPr/>
            </p:nvPicPr>
            <p:blipFill rotWithShape="1">
              <a:blip r:embed="rId2"/>
              <a:srcRect l="14492" r="16968"/>
              <a:stretch/>
            </p:blipFill>
            <p:spPr>
              <a:xfrm>
                <a:off x="5172156" y="2858498"/>
                <a:ext cx="1305206" cy="1264823"/>
              </a:xfrm>
              <a:prstGeom prst="ellipse">
                <a:avLst/>
              </a:prstGeom>
            </p:spPr>
          </p:pic>
          <p:sp>
            <p:nvSpPr>
              <p:cNvPr id="85" name="TextBox 21">
                <a:extLst>
                  <a:ext uri="{FF2B5EF4-FFF2-40B4-BE49-F238E27FC236}">
                    <a16:creationId xmlns:a16="http://schemas.microsoft.com/office/drawing/2014/main" id="{26DF87ED-4870-4C4D-8837-1ABA5710B6DC}"/>
                  </a:ext>
                </a:extLst>
              </p:cNvPr>
              <p:cNvSpPr txBox="1"/>
              <p:nvPr/>
            </p:nvSpPr>
            <p:spPr>
              <a:xfrm rot="20644378">
                <a:off x="5133727" y="3179162"/>
                <a:ext cx="1110560" cy="30034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050" b="1" i="1" u="none" strike="noStrike" kern="1200" cap="none" spc="-30" normalizeH="0" baseline="0" noProof="0" err="1">
                    <a:ln>
                      <a:noFill/>
                    </a:ln>
                    <a:solidFill>
                      <a:srgbClr val="23036A"/>
                    </a:solidFill>
                    <a:effectLst/>
                    <a:uLnTx/>
                    <a:uFillTx/>
                    <a:latin typeface="Poppins" panose="00000500000000000000" pitchFamily="2" charset="0"/>
                    <a:ea typeface="+mn-ea"/>
                    <a:cs typeface="Poppins" pitchFamily="2" charset="77"/>
                  </a:rPr>
                  <a:t>Not</a:t>
                </a:r>
                <a:r>
                  <a:rPr kumimoji="0" lang="es-CO"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 so</a:t>
                </a:r>
              </a:p>
            </p:txBody>
          </p:sp>
          <p:sp>
            <p:nvSpPr>
              <p:cNvPr id="86" name="TextBox 21">
                <a:extLst>
                  <a:ext uri="{FF2B5EF4-FFF2-40B4-BE49-F238E27FC236}">
                    <a16:creationId xmlns:a16="http://schemas.microsoft.com/office/drawing/2014/main" id="{56D874E3-1392-BFC8-FF3E-568E414EFADE}"/>
                  </a:ext>
                </a:extLst>
              </p:cNvPr>
              <p:cNvSpPr txBox="1"/>
              <p:nvPr/>
            </p:nvSpPr>
            <p:spPr>
              <a:xfrm rot="20644378">
                <a:off x="5773219" y="3474346"/>
                <a:ext cx="794136" cy="4914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1" u="none" strike="noStrike" kern="1200" cap="none" spc="-30" normalizeH="0" baseline="0" noProof="0">
                    <a:ln>
                      <a:noFill/>
                    </a:ln>
                    <a:solidFill>
                      <a:srgbClr val="23036A"/>
                    </a:solidFill>
                    <a:effectLst/>
                    <a:uLnTx/>
                    <a:uFillTx/>
                    <a:latin typeface="Poppins" panose="00000500000000000000" pitchFamily="2" charset="0"/>
                    <a:ea typeface="+mn-ea"/>
                    <a:cs typeface="Poppins" pitchFamily="2" charset="77"/>
                  </a:rPr>
                  <a:t>Sauce</a:t>
                </a:r>
              </a:p>
            </p:txBody>
          </p:sp>
        </p:grpSp>
        <p:sp>
          <p:nvSpPr>
            <p:cNvPr id="18" name="Elipse 143">
              <a:extLst>
                <a:ext uri="{FF2B5EF4-FFF2-40B4-BE49-F238E27FC236}">
                  <a16:creationId xmlns:a16="http://schemas.microsoft.com/office/drawing/2014/main" id="{80E0CD33-1CBC-A3EF-A5FB-E208FC6BF0C8}"/>
                </a:ext>
              </a:extLst>
            </p:cNvPr>
            <p:cNvSpPr/>
            <p:nvPr/>
          </p:nvSpPr>
          <p:spPr>
            <a:xfrm>
              <a:off x="4665060" y="2173939"/>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sp>
          <p:nvSpPr>
            <p:cNvPr id="19" name="Elipse 142">
              <a:extLst>
                <a:ext uri="{FF2B5EF4-FFF2-40B4-BE49-F238E27FC236}">
                  <a16:creationId xmlns:a16="http://schemas.microsoft.com/office/drawing/2014/main" id="{C1840ABB-2658-0EC4-DAF1-D5C837EBCB06}"/>
                </a:ext>
              </a:extLst>
            </p:cNvPr>
            <p:cNvSpPr/>
            <p:nvPr/>
          </p:nvSpPr>
          <p:spPr>
            <a:xfrm>
              <a:off x="4241458" y="3433904"/>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0" name="object 3">
              <a:extLst>
                <a:ext uri="{FF2B5EF4-FFF2-40B4-BE49-F238E27FC236}">
                  <a16:creationId xmlns:a16="http://schemas.microsoft.com/office/drawing/2014/main" id="{0C04512D-D873-7DFD-DCF4-1AA6E8B23B0E}"/>
                </a:ext>
              </a:extLst>
            </p:cNvPr>
            <p:cNvPicPr/>
            <p:nvPr/>
          </p:nvPicPr>
          <p:blipFill>
            <a:blip r:embed="rId3" cstate="print"/>
            <a:stretch>
              <a:fillRect/>
            </a:stretch>
          </p:blipFill>
          <p:spPr>
            <a:xfrm>
              <a:off x="4763881" y="2295261"/>
              <a:ext cx="606033" cy="581189"/>
            </a:xfrm>
            <a:prstGeom prst="rect">
              <a:avLst/>
            </a:prstGeom>
          </p:spPr>
        </p:pic>
        <p:grpSp>
          <p:nvGrpSpPr>
            <p:cNvPr id="21" name="object 4">
              <a:extLst>
                <a:ext uri="{FF2B5EF4-FFF2-40B4-BE49-F238E27FC236}">
                  <a16:creationId xmlns:a16="http://schemas.microsoft.com/office/drawing/2014/main" id="{662ABB74-BDB6-D0DA-EBCF-5A89BC8DBA59}"/>
                </a:ext>
              </a:extLst>
            </p:cNvPr>
            <p:cNvGrpSpPr/>
            <p:nvPr/>
          </p:nvGrpSpPr>
          <p:grpSpPr>
            <a:xfrm>
              <a:off x="4354690" y="3591730"/>
              <a:ext cx="594966" cy="460379"/>
              <a:chOff x="3415332" y="1257389"/>
              <a:chExt cx="2122805" cy="1496695"/>
            </a:xfrm>
          </p:grpSpPr>
          <p:pic>
            <p:nvPicPr>
              <p:cNvPr id="82" name="object 5">
                <a:extLst>
                  <a:ext uri="{FF2B5EF4-FFF2-40B4-BE49-F238E27FC236}">
                    <a16:creationId xmlns:a16="http://schemas.microsoft.com/office/drawing/2014/main" id="{D844CA67-A596-8893-FDD9-FA3E4F8A871D}"/>
                  </a:ext>
                </a:extLst>
              </p:cNvPr>
              <p:cNvPicPr/>
              <p:nvPr/>
            </p:nvPicPr>
            <p:blipFill>
              <a:blip r:embed="rId4" cstate="print"/>
              <a:stretch>
                <a:fillRect/>
              </a:stretch>
            </p:blipFill>
            <p:spPr>
              <a:xfrm>
                <a:off x="3416691" y="1257389"/>
                <a:ext cx="2120903" cy="1496293"/>
              </a:xfrm>
              <a:prstGeom prst="rect">
                <a:avLst/>
              </a:prstGeom>
            </p:spPr>
          </p:pic>
          <p:sp>
            <p:nvSpPr>
              <p:cNvPr id="83" name="object 6">
                <a:extLst>
                  <a:ext uri="{FF2B5EF4-FFF2-40B4-BE49-F238E27FC236}">
                    <a16:creationId xmlns:a16="http://schemas.microsoft.com/office/drawing/2014/main" id="{BDE13DEA-5C75-E552-F602-59D385A4CE17}"/>
                  </a:ext>
                </a:extLst>
              </p:cNvPr>
              <p:cNvSpPr/>
              <p:nvPr/>
            </p:nvSpPr>
            <p:spPr>
              <a:xfrm>
                <a:off x="3415332" y="2747847"/>
                <a:ext cx="2032000" cy="6350"/>
              </a:xfrm>
              <a:custGeom>
                <a:avLst/>
                <a:gdLst/>
                <a:ahLst/>
                <a:cxnLst/>
                <a:rect l="l" t="t" r="r" b="b"/>
                <a:pathLst>
                  <a:path w="2032000" h="6350">
                    <a:moveTo>
                      <a:pt x="2031658" y="5836"/>
                    </a:moveTo>
                    <a:lnTo>
                      <a:pt x="0" y="5836"/>
                    </a:lnTo>
                    <a:lnTo>
                      <a:pt x="0" y="0"/>
                    </a:lnTo>
                    <a:lnTo>
                      <a:pt x="2031658" y="0"/>
                    </a:lnTo>
                    <a:lnTo>
                      <a:pt x="2031658" y="5836"/>
                    </a:lnTo>
                    <a:close/>
                  </a:path>
                </a:pathLst>
              </a:custGeom>
              <a:solidFill>
                <a:srgbClr val="38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grpSp>
        <p:sp>
          <p:nvSpPr>
            <p:cNvPr id="22" name="Elipse 141">
              <a:extLst>
                <a:ext uri="{FF2B5EF4-FFF2-40B4-BE49-F238E27FC236}">
                  <a16:creationId xmlns:a16="http://schemas.microsoft.com/office/drawing/2014/main" id="{95F2C2A3-6275-BC70-8D12-F2B53FB339BA}"/>
                </a:ext>
              </a:extLst>
            </p:cNvPr>
            <p:cNvSpPr/>
            <p:nvPr/>
          </p:nvSpPr>
          <p:spPr>
            <a:xfrm>
              <a:off x="5409946" y="4269143"/>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pic>
          <p:nvPicPr>
            <p:cNvPr id="23" name="object 7">
              <a:extLst>
                <a:ext uri="{FF2B5EF4-FFF2-40B4-BE49-F238E27FC236}">
                  <a16:creationId xmlns:a16="http://schemas.microsoft.com/office/drawing/2014/main" id="{21942157-2050-3A9F-C25C-FB2CD919C1E6}"/>
                </a:ext>
              </a:extLst>
            </p:cNvPr>
            <p:cNvPicPr/>
            <p:nvPr/>
          </p:nvPicPr>
          <p:blipFill>
            <a:blip r:embed="rId5" cstate="print"/>
            <a:stretch>
              <a:fillRect/>
            </a:stretch>
          </p:blipFill>
          <p:spPr>
            <a:xfrm>
              <a:off x="5498855" y="4371919"/>
              <a:ext cx="640976" cy="601878"/>
            </a:xfrm>
            <a:prstGeom prst="rect">
              <a:avLst/>
            </a:prstGeom>
          </p:spPr>
        </p:pic>
        <p:grpSp>
          <p:nvGrpSpPr>
            <p:cNvPr id="24" name="Grupo 145">
              <a:extLst>
                <a:ext uri="{FF2B5EF4-FFF2-40B4-BE49-F238E27FC236}">
                  <a16:creationId xmlns:a16="http://schemas.microsoft.com/office/drawing/2014/main" id="{BFC86A1C-F39C-16A1-762D-B881466C53E5}"/>
                </a:ext>
              </a:extLst>
            </p:cNvPr>
            <p:cNvGrpSpPr/>
            <p:nvPr/>
          </p:nvGrpSpPr>
          <p:grpSpPr>
            <a:xfrm>
              <a:off x="6572018" y="3525481"/>
              <a:ext cx="839358" cy="779851"/>
              <a:chOff x="6572018" y="3471051"/>
              <a:chExt cx="839358" cy="779851"/>
            </a:xfrm>
          </p:grpSpPr>
          <p:sp>
            <p:nvSpPr>
              <p:cNvPr id="31" name="Elipse 140">
                <a:extLst>
                  <a:ext uri="{FF2B5EF4-FFF2-40B4-BE49-F238E27FC236}">
                    <a16:creationId xmlns:a16="http://schemas.microsoft.com/office/drawing/2014/main" id="{3092B70A-8DE8-6997-64DA-8F0098E853B5}"/>
                  </a:ext>
                </a:extLst>
              </p:cNvPr>
              <p:cNvSpPr/>
              <p:nvPr/>
            </p:nvSpPr>
            <p:spPr>
              <a:xfrm>
                <a:off x="6572018" y="3471051"/>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32" name="object 8">
                <a:extLst>
                  <a:ext uri="{FF2B5EF4-FFF2-40B4-BE49-F238E27FC236}">
                    <a16:creationId xmlns:a16="http://schemas.microsoft.com/office/drawing/2014/main" id="{B624B5EA-219C-CD7E-9AD5-E7D6EE65415C}"/>
                  </a:ext>
                </a:extLst>
              </p:cNvPr>
              <p:cNvGrpSpPr/>
              <p:nvPr/>
            </p:nvGrpSpPr>
            <p:grpSpPr>
              <a:xfrm>
                <a:off x="6704333" y="3564575"/>
                <a:ext cx="577437" cy="556200"/>
                <a:chOff x="3168471" y="3028342"/>
                <a:chExt cx="1791345" cy="1779523"/>
              </a:xfrm>
            </p:grpSpPr>
            <p:pic>
              <p:nvPicPr>
                <p:cNvPr id="33" name="object 9">
                  <a:extLst>
                    <a:ext uri="{FF2B5EF4-FFF2-40B4-BE49-F238E27FC236}">
                      <a16:creationId xmlns:a16="http://schemas.microsoft.com/office/drawing/2014/main" id="{E0E41365-E496-A679-FA04-183FDF116E44}"/>
                    </a:ext>
                  </a:extLst>
                </p:cNvPr>
                <p:cNvPicPr/>
                <p:nvPr/>
              </p:nvPicPr>
              <p:blipFill>
                <a:blip r:embed="rId6" cstate="print"/>
                <a:stretch>
                  <a:fillRect/>
                </a:stretch>
              </p:blipFill>
              <p:spPr>
                <a:xfrm>
                  <a:off x="3187404" y="3028342"/>
                  <a:ext cx="1758018" cy="1760534"/>
                </a:xfrm>
                <a:prstGeom prst="rect">
                  <a:avLst/>
                </a:prstGeom>
              </p:spPr>
            </p:pic>
            <p:pic>
              <p:nvPicPr>
                <p:cNvPr id="34" name="object 10">
                  <a:extLst>
                    <a:ext uri="{FF2B5EF4-FFF2-40B4-BE49-F238E27FC236}">
                      <a16:creationId xmlns:a16="http://schemas.microsoft.com/office/drawing/2014/main" id="{0F714DEA-1606-A7B6-2293-CB9F3BC51F91}"/>
                    </a:ext>
                  </a:extLst>
                </p:cNvPr>
                <p:cNvPicPr/>
                <p:nvPr/>
              </p:nvPicPr>
              <p:blipFill>
                <a:blip r:embed="rId7" cstate="print"/>
                <a:stretch>
                  <a:fillRect/>
                </a:stretch>
              </p:blipFill>
              <p:spPr>
                <a:xfrm>
                  <a:off x="3249788" y="3637779"/>
                  <a:ext cx="1607649" cy="981314"/>
                </a:xfrm>
                <a:prstGeom prst="rect">
                  <a:avLst/>
                </a:prstGeom>
              </p:spPr>
            </p:pic>
            <p:sp>
              <p:nvSpPr>
                <p:cNvPr id="35" name="object 11">
                  <a:extLst>
                    <a:ext uri="{FF2B5EF4-FFF2-40B4-BE49-F238E27FC236}">
                      <a16:creationId xmlns:a16="http://schemas.microsoft.com/office/drawing/2014/main" id="{84715E2E-2642-43F8-ECAF-DA1970E5BCEE}"/>
                    </a:ext>
                  </a:extLst>
                </p:cNvPr>
                <p:cNvSpPr/>
                <p:nvPr/>
              </p:nvSpPr>
              <p:spPr>
                <a:xfrm>
                  <a:off x="3306978" y="3713809"/>
                  <a:ext cx="519430" cy="473075"/>
                </a:xfrm>
                <a:custGeom>
                  <a:avLst/>
                  <a:gdLst/>
                  <a:ahLst/>
                  <a:cxnLst/>
                  <a:rect l="l" t="t" r="r" b="b"/>
                  <a:pathLst>
                    <a:path w="519429" h="473075">
                      <a:moveTo>
                        <a:pt x="10248" y="471716"/>
                      </a:moveTo>
                      <a:lnTo>
                        <a:pt x="9271" y="405168"/>
                      </a:lnTo>
                      <a:lnTo>
                        <a:pt x="8229" y="404241"/>
                      </a:lnTo>
                      <a:lnTo>
                        <a:pt x="7099" y="404241"/>
                      </a:lnTo>
                      <a:lnTo>
                        <a:pt x="5918" y="404253"/>
                      </a:lnTo>
                      <a:lnTo>
                        <a:pt x="4965" y="405231"/>
                      </a:lnTo>
                      <a:lnTo>
                        <a:pt x="5943" y="471779"/>
                      </a:lnTo>
                      <a:lnTo>
                        <a:pt x="6896" y="472719"/>
                      </a:lnTo>
                      <a:lnTo>
                        <a:pt x="8077" y="472719"/>
                      </a:lnTo>
                      <a:lnTo>
                        <a:pt x="9296" y="472694"/>
                      </a:lnTo>
                      <a:lnTo>
                        <a:pt x="10248" y="471716"/>
                      </a:lnTo>
                      <a:close/>
                    </a:path>
                    <a:path w="519429" h="473075">
                      <a:moveTo>
                        <a:pt x="519188" y="3289"/>
                      </a:moveTo>
                      <a:lnTo>
                        <a:pt x="519125" y="914"/>
                      </a:lnTo>
                      <a:lnTo>
                        <a:pt x="518160" y="0"/>
                      </a:lnTo>
                      <a:lnTo>
                        <a:pt x="516940" y="12"/>
                      </a:lnTo>
                      <a:lnTo>
                        <a:pt x="62522" y="12192"/>
                      </a:lnTo>
                      <a:lnTo>
                        <a:pt x="57137" y="12293"/>
                      </a:lnTo>
                      <a:lnTo>
                        <a:pt x="15049" y="28524"/>
                      </a:lnTo>
                      <a:lnTo>
                        <a:pt x="0" y="67551"/>
                      </a:lnTo>
                      <a:lnTo>
                        <a:pt x="3632" y="314515"/>
                      </a:lnTo>
                      <a:lnTo>
                        <a:pt x="4584" y="315455"/>
                      </a:lnTo>
                      <a:lnTo>
                        <a:pt x="5765" y="315455"/>
                      </a:lnTo>
                      <a:lnTo>
                        <a:pt x="6985" y="315442"/>
                      </a:lnTo>
                      <a:lnTo>
                        <a:pt x="7937" y="314464"/>
                      </a:lnTo>
                      <a:lnTo>
                        <a:pt x="4305" y="67538"/>
                      </a:lnTo>
                      <a:lnTo>
                        <a:pt x="5207" y="56743"/>
                      </a:lnTo>
                      <a:lnTo>
                        <a:pt x="31864" y="22517"/>
                      </a:lnTo>
                      <a:lnTo>
                        <a:pt x="62509" y="16484"/>
                      </a:lnTo>
                      <a:lnTo>
                        <a:pt x="517055" y="4305"/>
                      </a:lnTo>
                      <a:lnTo>
                        <a:pt x="518248" y="4279"/>
                      </a:lnTo>
                      <a:lnTo>
                        <a:pt x="519188" y="3289"/>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6" name="object 12">
                  <a:extLst>
                    <a:ext uri="{FF2B5EF4-FFF2-40B4-BE49-F238E27FC236}">
                      <a16:creationId xmlns:a16="http://schemas.microsoft.com/office/drawing/2014/main" id="{CB0F8A31-A447-9043-9E7A-12773BCCE482}"/>
                    </a:ext>
                  </a:extLst>
                </p:cNvPr>
                <p:cNvPicPr/>
                <p:nvPr/>
              </p:nvPicPr>
              <p:blipFill>
                <a:blip r:embed="rId8" cstate="print"/>
                <a:stretch>
                  <a:fillRect/>
                </a:stretch>
              </p:blipFill>
              <p:spPr>
                <a:xfrm>
                  <a:off x="3168726" y="4614865"/>
                  <a:ext cx="1791090" cy="76584"/>
                </a:xfrm>
                <a:prstGeom prst="rect">
                  <a:avLst/>
                </a:prstGeom>
              </p:spPr>
            </p:pic>
            <p:pic>
              <p:nvPicPr>
                <p:cNvPr id="37" name="object 13">
                  <a:extLst>
                    <a:ext uri="{FF2B5EF4-FFF2-40B4-BE49-F238E27FC236}">
                      <a16:creationId xmlns:a16="http://schemas.microsoft.com/office/drawing/2014/main" id="{BC166FEF-4EC8-994C-435C-13BACAB30C72}"/>
                    </a:ext>
                  </a:extLst>
                </p:cNvPr>
                <p:cNvPicPr/>
                <p:nvPr/>
              </p:nvPicPr>
              <p:blipFill>
                <a:blip r:embed="rId9" cstate="print"/>
                <a:stretch>
                  <a:fillRect/>
                </a:stretch>
              </p:blipFill>
              <p:spPr>
                <a:xfrm>
                  <a:off x="3363037" y="3731611"/>
                  <a:ext cx="1414294" cy="817879"/>
                </a:xfrm>
                <a:prstGeom prst="rect">
                  <a:avLst/>
                </a:prstGeom>
              </p:spPr>
            </p:pic>
            <p:pic>
              <p:nvPicPr>
                <p:cNvPr id="38" name="object 14">
                  <a:extLst>
                    <a:ext uri="{FF2B5EF4-FFF2-40B4-BE49-F238E27FC236}">
                      <a16:creationId xmlns:a16="http://schemas.microsoft.com/office/drawing/2014/main" id="{EA80960C-3065-859F-1223-00851FCB016B}"/>
                    </a:ext>
                  </a:extLst>
                </p:cNvPr>
                <p:cNvPicPr/>
                <p:nvPr/>
              </p:nvPicPr>
              <p:blipFill>
                <a:blip r:embed="rId10" cstate="print"/>
                <a:stretch>
                  <a:fillRect/>
                </a:stretch>
              </p:blipFill>
              <p:spPr>
                <a:xfrm>
                  <a:off x="3754911" y="3788734"/>
                  <a:ext cx="1012754" cy="759994"/>
                </a:xfrm>
                <a:prstGeom prst="rect">
                  <a:avLst/>
                </a:prstGeom>
              </p:spPr>
            </p:pic>
            <p:pic>
              <p:nvPicPr>
                <p:cNvPr id="39" name="object 15">
                  <a:extLst>
                    <a:ext uri="{FF2B5EF4-FFF2-40B4-BE49-F238E27FC236}">
                      <a16:creationId xmlns:a16="http://schemas.microsoft.com/office/drawing/2014/main" id="{AD6037F7-4E40-F05A-9AC9-A71DE864B659}"/>
                    </a:ext>
                  </a:extLst>
                </p:cNvPr>
                <p:cNvPicPr/>
                <p:nvPr/>
              </p:nvPicPr>
              <p:blipFill>
                <a:blip r:embed="rId11" cstate="print"/>
                <a:stretch>
                  <a:fillRect/>
                </a:stretch>
              </p:blipFill>
              <p:spPr>
                <a:xfrm>
                  <a:off x="4613711" y="4506288"/>
                  <a:ext cx="223888" cy="250643"/>
                </a:xfrm>
                <a:prstGeom prst="rect">
                  <a:avLst/>
                </a:prstGeom>
              </p:spPr>
            </p:pic>
            <p:sp>
              <p:nvSpPr>
                <p:cNvPr id="40" name="object 16">
                  <a:extLst>
                    <a:ext uri="{FF2B5EF4-FFF2-40B4-BE49-F238E27FC236}">
                      <a16:creationId xmlns:a16="http://schemas.microsoft.com/office/drawing/2014/main" id="{63E7E964-746E-8EA5-5B22-58F25B3F8E5F}"/>
                    </a:ext>
                  </a:extLst>
                </p:cNvPr>
                <p:cNvSpPr/>
                <p:nvPr/>
              </p:nvSpPr>
              <p:spPr>
                <a:xfrm>
                  <a:off x="4601513" y="4529392"/>
                  <a:ext cx="182245" cy="262890"/>
                </a:xfrm>
                <a:custGeom>
                  <a:avLst/>
                  <a:gdLst/>
                  <a:ahLst/>
                  <a:cxnLst/>
                  <a:rect l="l" t="t" r="r" b="b"/>
                  <a:pathLst>
                    <a:path w="182245" h="262889">
                      <a:moveTo>
                        <a:pt x="0" y="72013"/>
                      </a:moveTo>
                      <a:lnTo>
                        <a:pt x="53347" y="0"/>
                      </a:lnTo>
                      <a:lnTo>
                        <a:pt x="89600" y="3088"/>
                      </a:lnTo>
                      <a:lnTo>
                        <a:pt x="93227" y="5488"/>
                      </a:lnTo>
                      <a:lnTo>
                        <a:pt x="95135" y="9129"/>
                      </a:lnTo>
                      <a:lnTo>
                        <a:pt x="107971" y="35981"/>
                      </a:lnTo>
                      <a:lnTo>
                        <a:pt x="113248" y="48978"/>
                      </a:lnTo>
                      <a:lnTo>
                        <a:pt x="68806" y="48978"/>
                      </a:lnTo>
                      <a:lnTo>
                        <a:pt x="0" y="72013"/>
                      </a:lnTo>
                      <a:close/>
                    </a:path>
                    <a:path w="182245" h="262889">
                      <a:moveTo>
                        <a:pt x="181948" y="262305"/>
                      </a:moveTo>
                      <a:lnTo>
                        <a:pt x="166193" y="253672"/>
                      </a:lnTo>
                      <a:lnTo>
                        <a:pt x="151917" y="242899"/>
                      </a:lnTo>
                      <a:lnTo>
                        <a:pt x="139135" y="229969"/>
                      </a:lnTo>
                      <a:lnTo>
                        <a:pt x="127861" y="214863"/>
                      </a:lnTo>
                      <a:lnTo>
                        <a:pt x="144012" y="203721"/>
                      </a:lnTo>
                      <a:lnTo>
                        <a:pt x="144644" y="199538"/>
                      </a:lnTo>
                      <a:lnTo>
                        <a:pt x="119379" y="167354"/>
                      </a:lnTo>
                      <a:lnTo>
                        <a:pt x="91675" y="127458"/>
                      </a:lnTo>
                      <a:lnTo>
                        <a:pt x="70930" y="85243"/>
                      </a:lnTo>
                      <a:lnTo>
                        <a:pt x="68806" y="48978"/>
                      </a:lnTo>
                      <a:lnTo>
                        <a:pt x="113248" y="48978"/>
                      </a:lnTo>
                      <a:lnTo>
                        <a:pt x="126316" y="81162"/>
                      </a:lnTo>
                      <a:lnTo>
                        <a:pt x="145491" y="140286"/>
                      </a:lnTo>
                      <a:lnTo>
                        <a:pt x="160820" y="208966"/>
                      </a:lnTo>
                      <a:lnTo>
                        <a:pt x="163625" y="215512"/>
                      </a:lnTo>
                      <a:lnTo>
                        <a:pt x="175622" y="244098"/>
                      </a:lnTo>
                      <a:lnTo>
                        <a:pt x="178426" y="250643"/>
                      </a:lnTo>
                      <a:lnTo>
                        <a:pt x="181948" y="262305"/>
                      </a:lnTo>
                      <a:close/>
                    </a:path>
                  </a:pathLst>
                </a:custGeom>
                <a:solidFill>
                  <a:srgbClr val="F9B67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1" name="object 17">
                  <a:extLst>
                    <a:ext uri="{FF2B5EF4-FFF2-40B4-BE49-F238E27FC236}">
                      <a16:creationId xmlns:a16="http://schemas.microsoft.com/office/drawing/2014/main" id="{5EF62684-631E-C32F-46DB-C8B2CCFABC64}"/>
                    </a:ext>
                  </a:extLst>
                </p:cNvPr>
                <p:cNvPicPr/>
                <p:nvPr/>
              </p:nvPicPr>
              <p:blipFill>
                <a:blip r:embed="rId12" cstate="print"/>
                <a:stretch>
                  <a:fillRect/>
                </a:stretch>
              </p:blipFill>
              <p:spPr>
                <a:xfrm>
                  <a:off x="4724731" y="4739448"/>
                  <a:ext cx="63015" cy="68417"/>
                </a:xfrm>
                <a:prstGeom prst="rect">
                  <a:avLst/>
                </a:prstGeom>
              </p:spPr>
            </p:pic>
            <p:pic>
              <p:nvPicPr>
                <p:cNvPr id="42" name="object 18">
                  <a:extLst>
                    <a:ext uri="{FF2B5EF4-FFF2-40B4-BE49-F238E27FC236}">
                      <a16:creationId xmlns:a16="http://schemas.microsoft.com/office/drawing/2014/main" id="{3FCF9E45-9694-2E1B-4387-1467EFCA892F}"/>
                    </a:ext>
                  </a:extLst>
                </p:cNvPr>
                <p:cNvPicPr/>
                <p:nvPr/>
              </p:nvPicPr>
              <p:blipFill>
                <a:blip r:embed="rId13" cstate="print"/>
                <a:stretch>
                  <a:fillRect/>
                </a:stretch>
              </p:blipFill>
              <p:spPr>
                <a:xfrm>
                  <a:off x="4472895" y="4513032"/>
                  <a:ext cx="236091" cy="93203"/>
                </a:xfrm>
                <a:prstGeom prst="rect">
                  <a:avLst/>
                </a:prstGeom>
              </p:spPr>
            </p:pic>
            <p:pic>
              <p:nvPicPr>
                <p:cNvPr id="43" name="object 19">
                  <a:extLst>
                    <a:ext uri="{FF2B5EF4-FFF2-40B4-BE49-F238E27FC236}">
                      <a16:creationId xmlns:a16="http://schemas.microsoft.com/office/drawing/2014/main" id="{A05E748A-E4F4-3682-D49D-A71F08365920}"/>
                    </a:ext>
                  </a:extLst>
                </p:cNvPr>
                <p:cNvPicPr/>
                <p:nvPr/>
              </p:nvPicPr>
              <p:blipFill>
                <a:blip r:embed="rId14" cstate="print"/>
                <a:stretch>
                  <a:fillRect/>
                </a:stretch>
              </p:blipFill>
              <p:spPr>
                <a:xfrm>
                  <a:off x="4467111" y="4263940"/>
                  <a:ext cx="180441" cy="260002"/>
                </a:xfrm>
                <a:prstGeom prst="rect">
                  <a:avLst/>
                </a:prstGeom>
              </p:spPr>
            </p:pic>
            <p:pic>
              <p:nvPicPr>
                <p:cNvPr id="44" name="object 20">
                  <a:extLst>
                    <a:ext uri="{FF2B5EF4-FFF2-40B4-BE49-F238E27FC236}">
                      <a16:creationId xmlns:a16="http://schemas.microsoft.com/office/drawing/2014/main" id="{A5835188-4B76-63A4-3A6D-04252115E351}"/>
                    </a:ext>
                  </a:extLst>
                </p:cNvPr>
                <p:cNvPicPr/>
                <p:nvPr/>
              </p:nvPicPr>
              <p:blipFill>
                <a:blip r:embed="rId15" cstate="print"/>
                <a:stretch>
                  <a:fillRect/>
                </a:stretch>
              </p:blipFill>
              <p:spPr>
                <a:xfrm>
                  <a:off x="4579571" y="4264690"/>
                  <a:ext cx="94624" cy="97476"/>
                </a:xfrm>
                <a:prstGeom prst="rect">
                  <a:avLst/>
                </a:prstGeom>
              </p:spPr>
            </p:pic>
            <p:pic>
              <p:nvPicPr>
                <p:cNvPr id="45" name="object 21">
                  <a:extLst>
                    <a:ext uri="{FF2B5EF4-FFF2-40B4-BE49-F238E27FC236}">
                      <a16:creationId xmlns:a16="http://schemas.microsoft.com/office/drawing/2014/main" id="{13E0310A-DC4F-F327-7033-7D877B82E3A6}"/>
                    </a:ext>
                  </a:extLst>
                </p:cNvPr>
                <p:cNvPicPr/>
                <p:nvPr/>
              </p:nvPicPr>
              <p:blipFill>
                <a:blip r:embed="rId16" cstate="print"/>
                <a:stretch>
                  <a:fillRect/>
                </a:stretch>
              </p:blipFill>
              <p:spPr>
                <a:xfrm>
                  <a:off x="4558331" y="4426043"/>
                  <a:ext cx="235906" cy="106112"/>
                </a:xfrm>
                <a:prstGeom prst="rect">
                  <a:avLst/>
                </a:prstGeom>
              </p:spPr>
            </p:pic>
            <p:sp>
              <p:nvSpPr>
                <p:cNvPr id="46" name="object 22">
                  <a:extLst>
                    <a:ext uri="{FF2B5EF4-FFF2-40B4-BE49-F238E27FC236}">
                      <a16:creationId xmlns:a16="http://schemas.microsoft.com/office/drawing/2014/main" id="{07094D55-7282-973F-CB4F-BE8A5347B947}"/>
                    </a:ext>
                  </a:extLst>
                </p:cNvPr>
                <p:cNvSpPr/>
                <p:nvPr/>
              </p:nvSpPr>
              <p:spPr>
                <a:xfrm>
                  <a:off x="3357567" y="4664068"/>
                  <a:ext cx="817244" cy="26034"/>
                </a:xfrm>
                <a:custGeom>
                  <a:avLst/>
                  <a:gdLst/>
                  <a:ahLst/>
                  <a:cxnLst/>
                  <a:rect l="l" t="t" r="r" b="b"/>
                  <a:pathLst>
                    <a:path w="817245" h="26035">
                      <a:moveTo>
                        <a:pt x="811443" y="25586"/>
                      </a:moveTo>
                      <a:lnTo>
                        <a:pt x="5736" y="25586"/>
                      </a:lnTo>
                      <a:lnTo>
                        <a:pt x="0" y="19856"/>
                      </a:lnTo>
                      <a:lnTo>
                        <a:pt x="0" y="5729"/>
                      </a:lnTo>
                      <a:lnTo>
                        <a:pt x="5736" y="0"/>
                      </a:lnTo>
                      <a:lnTo>
                        <a:pt x="811443" y="0"/>
                      </a:lnTo>
                      <a:lnTo>
                        <a:pt x="817177" y="5729"/>
                      </a:lnTo>
                      <a:lnTo>
                        <a:pt x="817177" y="19856"/>
                      </a:lnTo>
                      <a:lnTo>
                        <a:pt x="811443" y="25586"/>
                      </a:lnTo>
                      <a:close/>
                    </a:path>
                  </a:pathLst>
                </a:custGeom>
                <a:solidFill>
                  <a:srgbClr val="150D4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47" name="object 23">
                  <a:extLst>
                    <a:ext uri="{FF2B5EF4-FFF2-40B4-BE49-F238E27FC236}">
                      <a16:creationId xmlns:a16="http://schemas.microsoft.com/office/drawing/2014/main" id="{7D0AC2A2-5D38-1248-2A36-3550F38C16C6}"/>
                    </a:ext>
                  </a:extLst>
                </p:cNvPr>
                <p:cNvPicPr/>
                <p:nvPr/>
              </p:nvPicPr>
              <p:blipFill>
                <a:blip r:embed="rId17" cstate="print"/>
                <a:stretch>
                  <a:fillRect/>
                </a:stretch>
              </p:blipFill>
              <p:spPr>
                <a:xfrm>
                  <a:off x="3451529" y="4315790"/>
                  <a:ext cx="629253" cy="348277"/>
                </a:xfrm>
                <a:prstGeom prst="rect">
                  <a:avLst/>
                </a:prstGeom>
              </p:spPr>
            </p:pic>
            <p:pic>
              <p:nvPicPr>
                <p:cNvPr id="48" name="object 24">
                  <a:extLst>
                    <a:ext uri="{FF2B5EF4-FFF2-40B4-BE49-F238E27FC236}">
                      <a16:creationId xmlns:a16="http://schemas.microsoft.com/office/drawing/2014/main" id="{4CF7D98A-E73B-538C-782C-243588579D38}"/>
                    </a:ext>
                  </a:extLst>
                </p:cNvPr>
                <p:cNvPicPr/>
                <p:nvPr/>
              </p:nvPicPr>
              <p:blipFill>
                <a:blip r:embed="rId18" cstate="print"/>
                <a:stretch>
                  <a:fillRect/>
                </a:stretch>
              </p:blipFill>
              <p:spPr>
                <a:xfrm>
                  <a:off x="3600115" y="4561017"/>
                  <a:ext cx="78025" cy="103050"/>
                </a:xfrm>
                <a:prstGeom prst="rect">
                  <a:avLst/>
                </a:prstGeom>
              </p:spPr>
            </p:pic>
            <p:pic>
              <p:nvPicPr>
                <p:cNvPr id="49" name="object 25">
                  <a:extLst>
                    <a:ext uri="{FF2B5EF4-FFF2-40B4-BE49-F238E27FC236}">
                      <a16:creationId xmlns:a16="http://schemas.microsoft.com/office/drawing/2014/main" id="{5A1CFDCA-4983-967F-FAE3-43CC80A0746C}"/>
                    </a:ext>
                  </a:extLst>
                </p:cNvPr>
                <p:cNvPicPr/>
                <p:nvPr/>
              </p:nvPicPr>
              <p:blipFill>
                <a:blip r:embed="rId19" cstate="print"/>
                <a:stretch>
                  <a:fillRect/>
                </a:stretch>
              </p:blipFill>
              <p:spPr>
                <a:xfrm>
                  <a:off x="3279871" y="3725790"/>
                  <a:ext cx="506153" cy="559681"/>
                </a:xfrm>
                <a:prstGeom prst="rect">
                  <a:avLst/>
                </a:prstGeom>
              </p:spPr>
            </p:pic>
            <p:pic>
              <p:nvPicPr>
                <p:cNvPr id="50" name="object 26">
                  <a:extLst>
                    <a:ext uri="{FF2B5EF4-FFF2-40B4-BE49-F238E27FC236}">
                      <a16:creationId xmlns:a16="http://schemas.microsoft.com/office/drawing/2014/main" id="{85A6A843-8998-BC56-5EAF-6282B85B8239}"/>
                    </a:ext>
                  </a:extLst>
                </p:cNvPr>
                <p:cNvPicPr/>
                <p:nvPr/>
              </p:nvPicPr>
              <p:blipFill>
                <a:blip r:embed="rId20" cstate="print"/>
                <a:stretch>
                  <a:fillRect/>
                </a:stretch>
              </p:blipFill>
              <p:spPr>
                <a:xfrm>
                  <a:off x="3367027" y="3806207"/>
                  <a:ext cx="311593" cy="332410"/>
                </a:xfrm>
                <a:prstGeom prst="rect">
                  <a:avLst/>
                </a:prstGeom>
              </p:spPr>
            </p:pic>
            <p:pic>
              <p:nvPicPr>
                <p:cNvPr id="51" name="object 27">
                  <a:extLst>
                    <a:ext uri="{FF2B5EF4-FFF2-40B4-BE49-F238E27FC236}">
                      <a16:creationId xmlns:a16="http://schemas.microsoft.com/office/drawing/2014/main" id="{5B384F3D-C284-AED5-8745-E9C88E6132D3}"/>
                    </a:ext>
                  </a:extLst>
                </p:cNvPr>
                <p:cNvPicPr/>
                <p:nvPr/>
              </p:nvPicPr>
              <p:blipFill>
                <a:blip r:embed="rId21" cstate="print"/>
                <a:stretch>
                  <a:fillRect/>
                </a:stretch>
              </p:blipFill>
              <p:spPr>
                <a:xfrm>
                  <a:off x="3642516" y="4153912"/>
                  <a:ext cx="253922" cy="253654"/>
                </a:xfrm>
                <a:prstGeom prst="rect">
                  <a:avLst/>
                </a:prstGeom>
              </p:spPr>
            </p:pic>
            <p:pic>
              <p:nvPicPr>
                <p:cNvPr id="52" name="object 28">
                  <a:extLst>
                    <a:ext uri="{FF2B5EF4-FFF2-40B4-BE49-F238E27FC236}">
                      <a16:creationId xmlns:a16="http://schemas.microsoft.com/office/drawing/2014/main" id="{DD114694-36FE-AB67-A20D-0D33CA442C0A}"/>
                    </a:ext>
                  </a:extLst>
                </p:cNvPr>
                <p:cNvPicPr/>
                <p:nvPr/>
              </p:nvPicPr>
              <p:blipFill>
                <a:blip r:embed="rId22" cstate="print"/>
                <a:stretch>
                  <a:fillRect/>
                </a:stretch>
              </p:blipFill>
              <p:spPr>
                <a:xfrm>
                  <a:off x="3265470" y="3292506"/>
                  <a:ext cx="430462" cy="425975"/>
                </a:xfrm>
                <a:prstGeom prst="rect">
                  <a:avLst/>
                </a:prstGeom>
              </p:spPr>
            </p:pic>
            <p:pic>
              <p:nvPicPr>
                <p:cNvPr id="53" name="object 29">
                  <a:extLst>
                    <a:ext uri="{FF2B5EF4-FFF2-40B4-BE49-F238E27FC236}">
                      <a16:creationId xmlns:a16="http://schemas.microsoft.com/office/drawing/2014/main" id="{8A41C2CA-14EB-2084-3BDF-9C2D79B6C73E}"/>
                    </a:ext>
                  </a:extLst>
                </p:cNvPr>
                <p:cNvPicPr/>
                <p:nvPr/>
              </p:nvPicPr>
              <p:blipFill>
                <a:blip r:embed="rId23" cstate="print"/>
                <a:stretch>
                  <a:fillRect/>
                </a:stretch>
              </p:blipFill>
              <p:spPr>
                <a:xfrm>
                  <a:off x="3331118" y="3362375"/>
                  <a:ext cx="278084" cy="260108"/>
                </a:xfrm>
                <a:prstGeom prst="rect">
                  <a:avLst/>
                </a:prstGeom>
              </p:spPr>
            </p:pic>
            <p:pic>
              <p:nvPicPr>
                <p:cNvPr id="54" name="object 30">
                  <a:extLst>
                    <a:ext uri="{FF2B5EF4-FFF2-40B4-BE49-F238E27FC236}">
                      <a16:creationId xmlns:a16="http://schemas.microsoft.com/office/drawing/2014/main" id="{CD9D8E3F-0CD8-0C6B-295A-425DD4A40016}"/>
                    </a:ext>
                  </a:extLst>
                </p:cNvPr>
                <p:cNvPicPr/>
                <p:nvPr/>
              </p:nvPicPr>
              <p:blipFill>
                <a:blip r:embed="rId24" cstate="print"/>
                <a:stretch>
                  <a:fillRect/>
                </a:stretch>
              </p:blipFill>
              <p:spPr>
                <a:xfrm>
                  <a:off x="3168471" y="3604453"/>
                  <a:ext cx="203922" cy="203696"/>
                </a:xfrm>
                <a:prstGeom prst="rect">
                  <a:avLst/>
                </a:prstGeom>
              </p:spPr>
            </p:pic>
            <p:pic>
              <p:nvPicPr>
                <p:cNvPr id="55" name="object 31">
                  <a:extLst>
                    <a:ext uri="{FF2B5EF4-FFF2-40B4-BE49-F238E27FC236}">
                      <a16:creationId xmlns:a16="http://schemas.microsoft.com/office/drawing/2014/main" id="{D8C20A5A-D970-C922-C13F-281383FF90CF}"/>
                    </a:ext>
                  </a:extLst>
                </p:cNvPr>
                <p:cNvPicPr/>
                <p:nvPr/>
              </p:nvPicPr>
              <p:blipFill>
                <a:blip r:embed="rId25" cstate="print"/>
                <a:stretch>
                  <a:fillRect/>
                </a:stretch>
              </p:blipFill>
              <p:spPr>
                <a:xfrm>
                  <a:off x="3732490" y="3272107"/>
                  <a:ext cx="272830" cy="208904"/>
                </a:xfrm>
                <a:prstGeom prst="rect">
                  <a:avLst/>
                </a:prstGeom>
              </p:spPr>
            </p:pic>
            <p:pic>
              <p:nvPicPr>
                <p:cNvPr id="56" name="object 32">
                  <a:extLst>
                    <a:ext uri="{FF2B5EF4-FFF2-40B4-BE49-F238E27FC236}">
                      <a16:creationId xmlns:a16="http://schemas.microsoft.com/office/drawing/2014/main" id="{4A220E12-5DD0-9414-7B0A-5D0A72E0A066}"/>
                    </a:ext>
                  </a:extLst>
                </p:cNvPr>
                <p:cNvPicPr/>
                <p:nvPr/>
              </p:nvPicPr>
              <p:blipFill>
                <a:blip r:embed="rId26" cstate="print"/>
                <a:stretch>
                  <a:fillRect/>
                </a:stretch>
              </p:blipFill>
              <p:spPr>
                <a:xfrm>
                  <a:off x="3620550" y="3198013"/>
                  <a:ext cx="159944" cy="159910"/>
                </a:xfrm>
                <a:prstGeom prst="rect">
                  <a:avLst/>
                </a:prstGeom>
              </p:spPr>
            </p:pic>
            <p:pic>
              <p:nvPicPr>
                <p:cNvPr id="57" name="object 33">
                  <a:extLst>
                    <a:ext uri="{FF2B5EF4-FFF2-40B4-BE49-F238E27FC236}">
                      <a16:creationId xmlns:a16="http://schemas.microsoft.com/office/drawing/2014/main" id="{25A1C5ED-0C9C-E6C0-CF65-DD12A592D27B}"/>
                    </a:ext>
                  </a:extLst>
                </p:cNvPr>
                <p:cNvPicPr/>
                <p:nvPr/>
              </p:nvPicPr>
              <p:blipFill>
                <a:blip r:embed="rId27" cstate="print"/>
                <a:stretch>
                  <a:fillRect/>
                </a:stretch>
              </p:blipFill>
              <p:spPr>
                <a:xfrm>
                  <a:off x="3953980" y="3404853"/>
                  <a:ext cx="85084" cy="108029"/>
                </a:xfrm>
                <a:prstGeom prst="rect">
                  <a:avLst/>
                </a:prstGeom>
              </p:spPr>
            </p:pic>
            <p:pic>
              <p:nvPicPr>
                <p:cNvPr id="58" name="object 34">
                  <a:extLst>
                    <a:ext uri="{FF2B5EF4-FFF2-40B4-BE49-F238E27FC236}">
                      <a16:creationId xmlns:a16="http://schemas.microsoft.com/office/drawing/2014/main" id="{4663A7AE-8EEC-3708-C4ED-06C999C6EFC6}"/>
                    </a:ext>
                  </a:extLst>
                </p:cNvPr>
                <p:cNvPicPr/>
                <p:nvPr/>
              </p:nvPicPr>
              <p:blipFill>
                <a:blip r:embed="rId28" cstate="print"/>
                <a:stretch>
                  <a:fillRect/>
                </a:stretch>
              </p:blipFill>
              <p:spPr>
                <a:xfrm>
                  <a:off x="4024009" y="3410170"/>
                  <a:ext cx="212504" cy="228404"/>
                </a:xfrm>
                <a:prstGeom prst="rect">
                  <a:avLst/>
                </a:prstGeom>
              </p:spPr>
            </p:pic>
            <p:pic>
              <p:nvPicPr>
                <p:cNvPr id="59" name="object 35">
                  <a:extLst>
                    <a:ext uri="{FF2B5EF4-FFF2-40B4-BE49-F238E27FC236}">
                      <a16:creationId xmlns:a16="http://schemas.microsoft.com/office/drawing/2014/main" id="{9D99607A-9C6F-F0E9-C6DA-60D8E1DE962D}"/>
                    </a:ext>
                  </a:extLst>
                </p:cNvPr>
                <p:cNvPicPr/>
                <p:nvPr/>
              </p:nvPicPr>
              <p:blipFill>
                <a:blip r:embed="rId29" cstate="print"/>
                <a:stretch>
                  <a:fillRect/>
                </a:stretch>
              </p:blipFill>
              <p:spPr>
                <a:xfrm>
                  <a:off x="3973551" y="3409105"/>
                  <a:ext cx="123806" cy="138793"/>
                </a:xfrm>
                <a:prstGeom prst="rect">
                  <a:avLst/>
                </a:prstGeom>
              </p:spPr>
            </p:pic>
            <p:pic>
              <p:nvPicPr>
                <p:cNvPr id="60" name="object 36">
                  <a:extLst>
                    <a:ext uri="{FF2B5EF4-FFF2-40B4-BE49-F238E27FC236}">
                      <a16:creationId xmlns:a16="http://schemas.microsoft.com/office/drawing/2014/main" id="{466B2DE1-9DEE-4CF3-879A-6459C4BEF22E}"/>
                    </a:ext>
                  </a:extLst>
                </p:cNvPr>
                <p:cNvPicPr/>
                <p:nvPr/>
              </p:nvPicPr>
              <p:blipFill>
                <a:blip r:embed="rId30" cstate="print"/>
                <a:stretch>
                  <a:fillRect/>
                </a:stretch>
              </p:blipFill>
              <p:spPr>
                <a:xfrm>
                  <a:off x="3838236" y="3834290"/>
                  <a:ext cx="77923" cy="398671"/>
                </a:xfrm>
                <a:prstGeom prst="rect">
                  <a:avLst/>
                </a:prstGeom>
              </p:spPr>
            </p:pic>
            <p:pic>
              <p:nvPicPr>
                <p:cNvPr id="61" name="object 37">
                  <a:extLst>
                    <a:ext uri="{FF2B5EF4-FFF2-40B4-BE49-F238E27FC236}">
                      <a16:creationId xmlns:a16="http://schemas.microsoft.com/office/drawing/2014/main" id="{4837D9A8-8AA9-9ABE-CDC2-7F41D1BE34A7}"/>
                    </a:ext>
                  </a:extLst>
                </p:cNvPr>
                <p:cNvPicPr/>
                <p:nvPr/>
              </p:nvPicPr>
              <p:blipFill>
                <a:blip r:embed="rId31" cstate="print"/>
                <a:stretch>
                  <a:fillRect/>
                </a:stretch>
              </p:blipFill>
              <p:spPr>
                <a:xfrm>
                  <a:off x="3921899" y="3769452"/>
                  <a:ext cx="55477" cy="53855"/>
                </a:xfrm>
                <a:prstGeom prst="rect">
                  <a:avLst/>
                </a:prstGeom>
              </p:spPr>
            </p:pic>
            <p:pic>
              <p:nvPicPr>
                <p:cNvPr id="62" name="object 38">
                  <a:extLst>
                    <a:ext uri="{FF2B5EF4-FFF2-40B4-BE49-F238E27FC236}">
                      <a16:creationId xmlns:a16="http://schemas.microsoft.com/office/drawing/2014/main" id="{8319E072-F347-02E9-4255-FD56EB4539AF}"/>
                    </a:ext>
                  </a:extLst>
                </p:cNvPr>
                <p:cNvPicPr/>
                <p:nvPr/>
              </p:nvPicPr>
              <p:blipFill>
                <a:blip r:embed="rId32" cstate="print"/>
                <a:stretch>
                  <a:fillRect/>
                </a:stretch>
              </p:blipFill>
              <p:spPr>
                <a:xfrm>
                  <a:off x="3998994" y="3743547"/>
                  <a:ext cx="14680" cy="4914"/>
                </a:xfrm>
                <a:prstGeom prst="rect">
                  <a:avLst/>
                </a:prstGeom>
              </p:spPr>
            </p:pic>
            <p:pic>
              <p:nvPicPr>
                <p:cNvPr id="63" name="object 39">
                  <a:extLst>
                    <a:ext uri="{FF2B5EF4-FFF2-40B4-BE49-F238E27FC236}">
                      <a16:creationId xmlns:a16="http://schemas.microsoft.com/office/drawing/2014/main" id="{549633EE-AD12-8C72-7152-F6F7F5176FB1}"/>
                    </a:ext>
                  </a:extLst>
                </p:cNvPr>
                <p:cNvPicPr/>
                <p:nvPr/>
              </p:nvPicPr>
              <p:blipFill>
                <a:blip r:embed="rId33" cstate="print"/>
                <a:stretch>
                  <a:fillRect/>
                </a:stretch>
              </p:blipFill>
              <p:spPr>
                <a:xfrm>
                  <a:off x="3988217" y="3692378"/>
                  <a:ext cx="285040" cy="71229"/>
                </a:xfrm>
                <a:prstGeom prst="rect">
                  <a:avLst/>
                </a:prstGeom>
              </p:spPr>
            </p:pic>
            <p:pic>
              <p:nvPicPr>
                <p:cNvPr id="64" name="object 40">
                  <a:extLst>
                    <a:ext uri="{FF2B5EF4-FFF2-40B4-BE49-F238E27FC236}">
                      <a16:creationId xmlns:a16="http://schemas.microsoft.com/office/drawing/2014/main" id="{DCE1D592-F376-1C16-5348-8069FC501BDF}"/>
                    </a:ext>
                  </a:extLst>
                </p:cNvPr>
                <p:cNvPicPr/>
                <p:nvPr/>
              </p:nvPicPr>
              <p:blipFill>
                <a:blip r:embed="rId34" cstate="print"/>
                <a:stretch>
                  <a:fillRect/>
                </a:stretch>
              </p:blipFill>
              <p:spPr>
                <a:xfrm>
                  <a:off x="4288562" y="3708250"/>
                  <a:ext cx="19767" cy="13471"/>
                </a:xfrm>
                <a:prstGeom prst="rect">
                  <a:avLst/>
                </a:prstGeom>
              </p:spPr>
            </p:pic>
            <p:pic>
              <p:nvPicPr>
                <p:cNvPr id="65" name="object 41">
                  <a:extLst>
                    <a:ext uri="{FF2B5EF4-FFF2-40B4-BE49-F238E27FC236}">
                      <a16:creationId xmlns:a16="http://schemas.microsoft.com/office/drawing/2014/main" id="{DFD0A28C-B740-77F4-2275-CAC75D82880C}"/>
                    </a:ext>
                  </a:extLst>
                </p:cNvPr>
                <p:cNvPicPr/>
                <p:nvPr/>
              </p:nvPicPr>
              <p:blipFill>
                <a:blip r:embed="rId35" cstate="print"/>
                <a:stretch>
                  <a:fillRect/>
                </a:stretch>
              </p:blipFill>
              <p:spPr>
                <a:xfrm>
                  <a:off x="4491980" y="3879374"/>
                  <a:ext cx="15303" cy="18468"/>
                </a:xfrm>
                <a:prstGeom prst="rect">
                  <a:avLst/>
                </a:prstGeom>
              </p:spPr>
            </p:pic>
            <p:pic>
              <p:nvPicPr>
                <p:cNvPr id="66" name="object 42">
                  <a:extLst>
                    <a:ext uri="{FF2B5EF4-FFF2-40B4-BE49-F238E27FC236}">
                      <a16:creationId xmlns:a16="http://schemas.microsoft.com/office/drawing/2014/main" id="{490443A3-F10E-28C3-E16F-FD19B67F1E8B}"/>
                    </a:ext>
                  </a:extLst>
                </p:cNvPr>
                <p:cNvPicPr/>
                <p:nvPr/>
              </p:nvPicPr>
              <p:blipFill>
                <a:blip r:embed="rId36" cstate="print"/>
                <a:stretch>
                  <a:fillRect/>
                </a:stretch>
              </p:blipFill>
              <p:spPr>
                <a:xfrm>
                  <a:off x="4056448" y="4359631"/>
                  <a:ext cx="19768" cy="13847"/>
                </a:xfrm>
                <a:prstGeom prst="rect">
                  <a:avLst/>
                </a:prstGeom>
              </p:spPr>
            </p:pic>
            <p:pic>
              <p:nvPicPr>
                <p:cNvPr id="67" name="object 43">
                  <a:extLst>
                    <a:ext uri="{FF2B5EF4-FFF2-40B4-BE49-F238E27FC236}">
                      <a16:creationId xmlns:a16="http://schemas.microsoft.com/office/drawing/2014/main" id="{6402942F-978A-39A5-3049-8B0850555913}"/>
                    </a:ext>
                  </a:extLst>
                </p:cNvPr>
                <p:cNvPicPr/>
                <p:nvPr/>
              </p:nvPicPr>
              <p:blipFill>
                <a:blip r:embed="rId37" cstate="print"/>
                <a:stretch>
                  <a:fillRect/>
                </a:stretch>
              </p:blipFill>
              <p:spPr>
                <a:xfrm>
                  <a:off x="3921543" y="3773426"/>
                  <a:ext cx="620327" cy="621335"/>
                </a:xfrm>
                <a:prstGeom prst="rect">
                  <a:avLst/>
                </a:prstGeom>
              </p:spPr>
            </p:pic>
            <p:pic>
              <p:nvPicPr>
                <p:cNvPr id="68" name="object 44">
                  <a:extLst>
                    <a:ext uri="{FF2B5EF4-FFF2-40B4-BE49-F238E27FC236}">
                      <a16:creationId xmlns:a16="http://schemas.microsoft.com/office/drawing/2014/main" id="{5789F7C8-2740-1574-7784-5691BEF6A095}"/>
                    </a:ext>
                  </a:extLst>
                </p:cNvPr>
                <p:cNvPicPr/>
                <p:nvPr/>
              </p:nvPicPr>
              <p:blipFill>
                <a:blip r:embed="rId38" cstate="print"/>
                <a:stretch>
                  <a:fillRect/>
                </a:stretch>
              </p:blipFill>
              <p:spPr>
                <a:xfrm>
                  <a:off x="4131348" y="3982675"/>
                  <a:ext cx="116409" cy="116218"/>
                </a:xfrm>
                <a:prstGeom prst="rect">
                  <a:avLst/>
                </a:prstGeom>
              </p:spPr>
            </p:pic>
            <p:sp>
              <p:nvSpPr>
                <p:cNvPr id="69" name="object 45">
                  <a:extLst>
                    <a:ext uri="{FF2B5EF4-FFF2-40B4-BE49-F238E27FC236}">
                      <a16:creationId xmlns:a16="http://schemas.microsoft.com/office/drawing/2014/main" id="{74551976-FE70-A408-67FA-4508EFC9288F}"/>
                    </a:ext>
                  </a:extLst>
                </p:cNvPr>
                <p:cNvSpPr/>
                <p:nvPr/>
              </p:nvSpPr>
              <p:spPr>
                <a:xfrm>
                  <a:off x="4041585" y="3892859"/>
                  <a:ext cx="297815" cy="295275"/>
                </a:xfrm>
                <a:custGeom>
                  <a:avLst/>
                  <a:gdLst/>
                  <a:ahLst/>
                  <a:cxnLst/>
                  <a:rect l="l" t="t" r="r" b="b"/>
                  <a:pathLst>
                    <a:path w="297814" h="295275">
                      <a:moveTo>
                        <a:pt x="148428" y="295204"/>
                      </a:moveTo>
                      <a:lnTo>
                        <a:pt x="145775" y="295186"/>
                      </a:lnTo>
                      <a:lnTo>
                        <a:pt x="144475" y="295159"/>
                      </a:lnTo>
                      <a:lnTo>
                        <a:pt x="141753" y="295062"/>
                      </a:lnTo>
                      <a:lnTo>
                        <a:pt x="140838" y="294105"/>
                      </a:lnTo>
                      <a:lnTo>
                        <a:pt x="140838" y="292879"/>
                      </a:lnTo>
                      <a:lnTo>
                        <a:pt x="140883" y="291680"/>
                      </a:lnTo>
                      <a:lnTo>
                        <a:pt x="141897" y="290767"/>
                      </a:lnTo>
                      <a:lnTo>
                        <a:pt x="143078" y="290804"/>
                      </a:lnTo>
                      <a:lnTo>
                        <a:pt x="150743" y="290883"/>
                      </a:lnTo>
                      <a:lnTo>
                        <a:pt x="217884" y="273212"/>
                      </a:lnTo>
                      <a:lnTo>
                        <a:pt x="251484" y="247780"/>
                      </a:lnTo>
                      <a:lnTo>
                        <a:pt x="276145" y="214108"/>
                      </a:lnTo>
                      <a:lnTo>
                        <a:pt x="290229" y="174536"/>
                      </a:lnTo>
                      <a:lnTo>
                        <a:pt x="292097" y="131401"/>
                      </a:lnTo>
                      <a:lnTo>
                        <a:pt x="291748" y="128198"/>
                      </a:lnTo>
                      <a:lnTo>
                        <a:pt x="270367" y="69317"/>
                      </a:lnTo>
                      <a:lnTo>
                        <a:pt x="231358" y="28768"/>
                      </a:lnTo>
                      <a:lnTo>
                        <a:pt x="179832" y="6062"/>
                      </a:lnTo>
                      <a:lnTo>
                        <a:pt x="151944" y="2726"/>
                      </a:lnTo>
                      <a:lnTo>
                        <a:pt x="123519" y="4928"/>
                      </a:lnTo>
                      <a:lnTo>
                        <a:pt x="75405" y="22651"/>
                      </a:lnTo>
                      <a:lnTo>
                        <a:pt x="37703" y="54754"/>
                      </a:lnTo>
                      <a:lnTo>
                        <a:pt x="13106" y="97395"/>
                      </a:lnTo>
                      <a:lnTo>
                        <a:pt x="4309" y="146733"/>
                      </a:lnTo>
                      <a:lnTo>
                        <a:pt x="4309" y="155028"/>
                      </a:lnTo>
                      <a:lnTo>
                        <a:pt x="18348" y="208806"/>
                      </a:lnTo>
                      <a:lnTo>
                        <a:pt x="39548" y="241164"/>
                      </a:lnTo>
                      <a:lnTo>
                        <a:pt x="39906" y="241575"/>
                      </a:lnTo>
                      <a:lnTo>
                        <a:pt x="40076" y="242077"/>
                      </a:lnTo>
                      <a:lnTo>
                        <a:pt x="14457" y="210661"/>
                      </a:lnTo>
                      <a:lnTo>
                        <a:pt x="2276" y="172613"/>
                      </a:lnTo>
                      <a:lnTo>
                        <a:pt x="0" y="146726"/>
                      </a:lnTo>
                      <a:lnTo>
                        <a:pt x="9060" y="95914"/>
                      </a:lnTo>
                      <a:lnTo>
                        <a:pt x="34391" y="51999"/>
                      </a:lnTo>
                      <a:lnTo>
                        <a:pt x="73221" y="18939"/>
                      </a:lnTo>
                      <a:lnTo>
                        <a:pt x="122777" y="688"/>
                      </a:lnTo>
                      <a:lnTo>
                        <a:pt x="170295" y="0"/>
                      </a:lnTo>
                      <a:lnTo>
                        <a:pt x="214133" y="13683"/>
                      </a:lnTo>
                      <a:lnTo>
                        <a:pt x="251433" y="39742"/>
                      </a:lnTo>
                      <a:lnTo>
                        <a:pt x="279333" y="76179"/>
                      </a:lnTo>
                      <a:lnTo>
                        <a:pt x="294974" y="120998"/>
                      </a:lnTo>
                      <a:lnTo>
                        <a:pt x="297250" y="146878"/>
                      </a:lnTo>
                      <a:lnTo>
                        <a:pt x="288190" y="197694"/>
                      </a:lnTo>
                      <a:lnTo>
                        <a:pt x="262859" y="241611"/>
                      </a:lnTo>
                      <a:lnTo>
                        <a:pt x="224029" y="274672"/>
                      </a:lnTo>
                      <a:lnTo>
                        <a:pt x="174473" y="292923"/>
                      </a:lnTo>
                      <a:lnTo>
                        <a:pt x="154952" y="295062"/>
                      </a:lnTo>
                      <a:lnTo>
                        <a:pt x="148428" y="2952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70" name="object 46">
                  <a:extLst>
                    <a:ext uri="{FF2B5EF4-FFF2-40B4-BE49-F238E27FC236}">
                      <a16:creationId xmlns:a16="http://schemas.microsoft.com/office/drawing/2014/main" id="{3810CBA6-EF7C-D512-6B40-689EB379A01E}"/>
                    </a:ext>
                  </a:extLst>
                </p:cNvPr>
                <p:cNvPicPr/>
                <p:nvPr/>
              </p:nvPicPr>
              <p:blipFill>
                <a:blip r:embed="rId39" cstate="print"/>
                <a:stretch>
                  <a:fillRect/>
                </a:stretch>
              </p:blipFill>
              <p:spPr>
                <a:xfrm>
                  <a:off x="4524801" y="3777258"/>
                  <a:ext cx="240104" cy="196399"/>
                </a:xfrm>
                <a:prstGeom prst="rect">
                  <a:avLst/>
                </a:prstGeom>
              </p:spPr>
            </p:pic>
            <p:pic>
              <p:nvPicPr>
                <p:cNvPr id="71" name="object 47">
                  <a:extLst>
                    <a:ext uri="{FF2B5EF4-FFF2-40B4-BE49-F238E27FC236}">
                      <a16:creationId xmlns:a16="http://schemas.microsoft.com/office/drawing/2014/main" id="{A708139B-C6D8-3FA9-2B42-77023F3C9EFE}"/>
                    </a:ext>
                  </a:extLst>
                </p:cNvPr>
                <p:cNvPicPr/>
                <p:nvPr/>
              </p:nvPicPr>
              <p:blipFill>
                <a:blip r:embed="rId40" cstate="print"/>
                <a:stretch>
                  <a:fillRect/>
                </a:stretch>
              </p:blipFill>
              <p:spPr>
                <a:xfrm>
                  <a:off x="4821753" y="3897238"/>
                  <a:ext cx="5644" cy="9594"/>
                </a:xfrm>
                <a:prstGeom prst="rect">
                  <a:avLst/>
                </a:prstGeom>
              </p:spPr>
            </p:pic>
            <p:pic>
              <p:nvPicPr>
                <p:cNvPr id="72" name="object 48">
                  <a:extLst>
                    <a:ext uri="{FF2B5EF4-FFF2-40B4-BE49-F238E27FC236}">
                      <a16:creationId xmlns:a16="http://schemas.microsoft.com/office/drawing/2014/main" id="{1666DF64-9B88-58EB-39E6-FC10EF1C9406}"/>
                    </a:ext>
                  </a:extLst>
                </p:cNvPr>
                <p:cNvPicPr/>
                <p:nvPr/>
              </p:nvPicPr>
              <p:blipFill>
                <a:blip r:embed="rId41" cstate="print"/>
                <a:stretch>
                  <a:fillRect/>
                </a:stretch>
              </p:blipFill>
              <p:spPr>
                <a:xfrm>
                  <a:off x="4343402" y="3736206"/>
                  <a:ext cx="485757" cy="345081"/>
                </a:xfrm>
                <a:prstGeom prst="rect">
                  <a:avLst/>
                </a:prstGeom>
              </p:spPr>
            </p:pic>
            <p:pic>
              <p:nvPicPr>
                <p:cNvPr id="73" name="object 49">
                  <a:extLst>
                    <a:ext uri="{FF2B5EF4-FFF2-40B4-BE49-F238E27FC236}">
                      <a16:creationId xmlns:a16="http://schemas.microsoft.com/office/drawing/2014/main" id="{90064EC0-790D-A175-0869-798BA5383D74}"/>
                    </a:ext>
                  </a:extLst>
                </p:cNvPr>
                <p:cNvPicPr/>
                <p:nvPr/>
              </p:nvPicPr>
              <p:blipFill>
                <a:blip r:embed="rId35" cstate="print"/>
                <a:stretch>
                  <a:fillRect/>
                </a:stretch>
              </p:blipFill>
              <p:spPr>
                <a:xfrm>
                  <a:off x="4233084" y="3671044"/>
                  <a:ext cx="13161" cy="19073"/>
                </a:xfrm>
                <a:prstGeom prst="rect">
                  <a:avLst/>
                </a:prstGeom>
              </p:spPr>
            </p:pic>
            <p:pic>
              <p:nvPicPr>
                <p:cNvPr id="74" name="object 50">
                  <a:extLst>
                    <a:ext uri="{FF2B5EF4-FFF2-40B4-BE49-F238E27FC236}">
                      <a16:creationId xmlns:a16="http://schemas.microsoft.com/office/drawing/2014/main" id="{9D809DFF-B4F9-909F-A610-CCC6AD53C4E3}"/>
                    </a:ext>
                  </a:extLst>
                </p:cNvPr>
                <p:cNvPicPr/>
                <p:nvPr/>
              </p:nvPicPr>
              <p:blipFill>
                <a:blip r:embed="rId42" cstate="print"/>
                <a:stretch>
                  <a:fillRect/>
                </a:stretch>
              </p:blipFill>
              <p:spPr>
                <a:xfrm>
                  <a:off x="4226708" y="3626216"/>
                  <a:ext cx="12312" cy="27993"/>
                </a:xfrm>
                <a:prstGeom prst="rect">
                  <a:avLst/>
                </a:prstGeom>
              </p:spPr>
            </p:pic>
            <p:pic>
              <p:nvPicPr>
                <p:cNvPr id="75" name="object 51">
                  <a:extLst>
                    <a:ext uri="{FF2B5EF4-FFF2-40B4-BE49-F238E27FC236}">
                      <a16:creationId xmlns:a16="http://schemas.microsoft.com/office/drawing/2014/main" id="{357202BE-8A11-AFEC-87D8-F7C84BC871A5}"/>
                    </a:ext>
                  </a:extLst>
                </p:cNvPr>
                <p:cNvPicPr/>
                <p:nvPr/>
              </p:nvPicPr>
              <p:blipFill>
                <a:blip r:embed="rId43" cstate="print"/>
                <a:stretch>
                  <a:fillRect/>
                </a:stretch>
              </p:blipFill>
              <p:spPr>
                <a:xfrm>
                  <a:off x="4227345" y="3396053"/>
                  <a:ext cx="325851" cy="212863"/>
                </a:xfrm>
                <a:prstGeom prst="rect">
                  <a:avLst/>
                </a:prstGeom>
              </p:spPr>
            </p:pic>
            <p:pic>
              <p:nvPicPr>
                <p:cNvPr id="76" name="object 52">
                  <a:extLst>
                    <a:ext uri="{FF2B5EF4-FFF2-40B4-BE49-F238E27FC236}">
                      <a16:creationId xmlns:a16="http://schemas.microsoft.com/office/drawing/2014/main" id="{4ED01E40-69C9-D2B5-13DE-6BBBBFE142E3}"/>
                    </a:ext>
                  </a:extLst>
                </p:cNvPr>
                <p:cNvPicPr/>
                <p:nvPr/>
              </p:nvPicPr>
              <p:blipFill>
                <a:blip r:embed="rId44" cstate="print"/>
                <a:stretch>
                  <a:fillRect/>
                </a:stretch>
              </p:blipFill>
              <p:spPr>
                <a:xfrm>
                  <a:off x="4566588" y="3430715"/>
                  <a:ext cx="18492" cy="15546"/>
                </a:xfrm>
                <a:prstGeom prst="rect">
                  <a:avLst/>
                </a:prstGeom>
              </p:spPr>
            </p:pic>
            <p:pic>
              <p:nvPicPr>
                <p:cNvPr id="77" name="object 53">
                  <a:extLst>
                    <a:ext uri="{FF2B5EF4-FFF2-40B4-BE49-F238E27FC236}">
                      <a16:creationId xmlns:a16="http://schemas.microsoft.com/office/drawing/2014/main" id="{DD8FF16B-2C5F-B6C6-38FE-5684B94F191B}"/>
                    </a:ext>
                  </a:extLst>
                </p:cNvPr>
                <p:cNvPicPr/>
                <p:nvPr/>
              </p:nvPicPr>
              <p:blipFill>
                <a:blip r:embed="rId45" cstate="print"/>
                <a:stretch>
                  <a:fillRect/>
                </a:stretch>
              </p:blipFill>
              <p:spPr>
                <a:xfrm>
                  <a:off x="4664790" y="3572997"/>
                  <a:ext cx="12753" cy="19231"/>
                </a:xfrm>
                <a:prstGeom prst="rect">
                  <a:avLst/>
                </a:prstGeom>
              </p:spPr>
            </p:pic>
            <p:pic>
              <p:nvPicPr>
                <p:cNvPr id="78" name="object 54">
                  <a:extLst>
                    <a:ext uri="{FF2B5EF4-FFF2-40B4-BE49-F238E27FC236}">
                      <a16:creationId xmlns:a16="http://schemas.microsoft.com/office/drawing/2014/main" id="{35696251-1860-B439-FC18-BA9E82FEC4F2}"/>
                    </a:ext>
                  </a:extLst>
                </p:cNvPr>
                <p:cNvPicPr/>
                <p:nvPr/>
              </p:nvPicPr>
              <p:blipFill>
                <a:blip r:embed="rId46" cstate="print"/>
                <a:stretch>
                  <a:fillRect/>
                </a:stretch>
              </p:blipFill>
              <p:spPr>
                <a:xfrm>
                  <a:off x="4647573" y="3696422"/>
                  <a:ext cx="18492" cy="26401"/>
                </a:xfrm>
                <a:prstGeom prst="rect">
                  <a:avLst/>
                </a:prstGeom>
              </p:spPr>
            </p:pic>
            <p:pic>
              <p:nvPicPr>
                <p:cNvPr id="79" name="object 55">
                  <a:extLst>
                    <a:ext uri="{FF2B5EF4-FFF2-40B4-BE49-F238E27FC236}">
                      <a16:creationId xmlns:a16="http://schemas.microsoft.com/office/drawing/2014/main" id="{5F990BD1-4970-BABF-DE7E-8EAC0B684328}"/>
                    </a:ext>
                  </a:extLst>
                </p:cNvPr>
                <p:cNvPicPr/>
                <p:nvPr/>
              </p:nvPicPr>
              <p:blipFill>
                <a:blip r:embed="rId47" cstate="print"/>
                <a:stretch>
                  <a:fillRect/>
                </a:stretch>
              </p:blipFill>
              <p:spPr>
                <a:xfrm>
                  <a:off x="4662877" y="3653427"/>
                  <a:ext cx="14666" cy="27414"/>
                </a:xfrm>
                <a:prstGeom prst="rect">
                  <a:avLst/>
                </a:prstGeom>
              </p:spPr>
            </p:pic>
            <p:pic>
              <p:nvPicPr>
                <p:cNvPr id="80" name="object 56">
                  <a:extLst>
                    <a:ext uri="{FF2B5EF4-FFF2-40B4-BE49-F238E27FC236}">
                      <a16:creationId xmlns:a16="http://schemas.microsoft.com/office/drawing/2014/main" id="{FB1B2F7A-538F-8167-0DEB-C73D37E30B78}"/>
                    </a:ext>
                  </a:extLst>
                </p:cNvPr>
                <p:cNvPicPr/>
                <p:nvPr/>
              </p:nvPicPr>
              <p:blipFill>
                <a:blip r:embed="rId48" cstate="print"/>
                <a:stretch>
                  <a:fillRect/>
                </a:stretch>
              </p:blipFill>
              <p:spPr>
                <a:xfrm>
                  <a:off x="4669049" y="3608954"/>
                  <a:ext cx="11032" cy="27767"/>
                </a:xfrm>
                <a:prstGeom prst="rect">
                  <a:avLst/>
                </a:prstGeom>
              </p:spPr>
            </p:pic>
            <p:pic>
              <p:nvPicPr>
                <p:cNvPr id="81" name="object 57">
                  <a:extLst>
                    <a:ext uri="{FF2B5EF4-FFF2-40B4-BE49-F238E27FC236}">
                      <a16:creationId xmlns:a16="http://schemas.microsoft.com/office/drawing/2014/main" id="{B08A799C-D19D-13DD-03F4-12E634E11D5E}"/>
                    </a:ext>
                  </a:extLst>
                </p:cNvPr>
                <p:cNvPicPr/>
                <p:nvPr/>
              </p:nvPicPr>
              <p:blipFill>
                <a:blip r:embed="rId49" cstate="print"/>
                <a:stretch>
                  <a:fillRect/>
                </a:stretch>
              </p:blipFill>
              <p:spPr>
                <a:xfrm>
                  <a:off x="4281981" y="3449591"/>
                  <a:ext cx="343036" cy="358941"/>
                </a:xfrm>
                <a:prstGeom prst="rect">
                  <a:avLst/>
                </a:prstGeom>
              </p:spPr>
            </p:pic>
          </p:grpSp>
        </p:grpSp>
        <p:sp>
          <p:nvSpPr>
            <p:cNvPr id="25" name="Elipse 139">
              <a:extLst>
                <a:ext uri="{FF2B5EF4-FFF2-40B4-BE49-F238E27FC236}">
                  <a16:creationId xmlns:a16="http://schemas.microsoft.com/office/drawing/2014/main" id="{B5AD4001-720F-35DD-E70A-B828DA56F92E}"/>
                </a:ext>
              </a:extLst>
            </p:cNvPr>
            <p:cNvSpPr/>
            <p:nvPr/>
          </p:nvSpPr>
          <p:spPr>
            <a:xfrm>
              <a:off x="6216691" y="2242066"/>
              <a:ext cx="839358" cy="779851"/>
            </a:xfrm>
            <a:prstGeom prst="ellipse">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Poppins" panose="00000500000000000000" pitchFamily="2" charset="0"/>
                <a:ea typeface="+mn-ea"/>
                <a:cs typeface="+mn-cs"/>
              </a:endParaRPr>
            </a:p>
          </p:txBody>
        </p:sp>
        <p:grpSp>
          <p:nvGrpSpPr>
            <p:cNvPr id="26" name="object 61">
              <a:extLst>
                <a:ext uri="{FF2B5EF4-FFF2-40B4-BE49-F238E27FC236}">
                  <a16:creationId xmlns:a16="http://schemas.microsoft.com/office/drawing/2014/main" id="{9819FD60-7365-CD20-D9EA-3F59207D6F8F}"/>
                </a:ext>
              </a:extLst>
            </p:cNvPr>
            <p:cNvGrpSpPr/>
            <p:nvPr/>
          </p:nvGrpSpPr>
          <p:grpSpPr>
            <a:xfrm>
              <a:off x="6324650" y="2351170"/>
              <a:ext cx="606887" cy="515649"/>
              <a:chOff x="2271547" y="5738328"/>
              <a:chExt cx="1308735" cy="1059815"/>
            </a:xfrm>
          </p:grpSpPr>
          <p:sp>
            <p:nvSpPr>
              <p:cNvPr id="27" name="object 62">
                <a:extLst>
                  <a:ext uri="{FF2B5EF4-FFF2-40B4-BE49-F238E27FC236}">
                    <a16:creationId xmlns:a16="http://schemas.microsoft.com/office/drawing/2014/main" id="{0D3224AA-511C-71BB-C62C-F26EBC307C9E}"/>
                  </a:ext>
                </a:extLst>
              </p:cNvPr>
              <p:cNvSpPr/>
              <p:nvPr/>
            </p:nvSpPr>
            <p:spPr>
              <a:xfrm>
                <a:off x="2290769" y="6212111"/>
                <a:ext cx="376555" cy="509905"/>
              </a:xfrm>
              <a:custGeom>
                <a:avLst/>
                <a:gdLst/>
                <a:ahLst/>
                <a:cxnLst/>
                <a:rect l="l" t="t" r="r" b="b"/>
                <a:pathLst>
                  <a:path w="376555" h="509904">
                    <a:moveTo>
                      <a:pt x="196212" y="509781"/>
                    </a:moveTo>
                    <a:lnTo>
                      <a:pt x="180522" y="509781"/>
                    </a:lnTo>
                    <a:lnTo>
                      <a:pt x="180522" y="368159"/>
                    </a:lnTo>
                    <a:lnTo>
                      <a:pt x="155055" y="374403"/>
                    </a:lnTo>
                    <a:lnTo>
                      <a:pt x="121487" y="378365"/>
                    </a:lnTo>
                    <a:lnTo>
                      <a:pt x="85525" y="375336"/>
                    </a:lnTo>
                    <a:lnTo>
                      <a:pt x="52880" y="360607"/>
                    </a:lnTo>
                    <a:lnTo>
                      <a:pt x="21676" y="328789"/>
                    </a:lnTo>
                    <a:lnTo>
                      <a:pt x="3611" y="293043"/>
                    </a:lnTo>
                    <a:lnTo>
                      <a:pt x="0" y="257672"/>
                    </a:lnTo>
                    <a:lnTo>
                      <a:pt x="12155" y="226977"/>
                    </a:lnTo>
                    <a:lnTo>
                      <a:pt x="38491" y="207071"/>
                    </a:lnTo>
                    <a:lnTo>
                      <a:pt x="73530" y="201119"/>
                    </a:lnTo>
                    <a:lnTo>
                      <a:pt x="112783" y="209007"/>
                    </a:lnTo>
                    <a:lnTo>
                      <a:pt x="151764" y="230618"/>
                    </a:lnTo>
                    <a:lnTo>
                      <a:pt x="180522" y="271120"/>
                    </a:lnTo>
                    <a:lnTo>
                      <a:pt x="180522" y="219307"/>
                    </a:lnTo>
                    <a:lnTo>
                      <a:pt x="159620" y="203287"/>
                    </a:lnTo>
                    <a:lnTo>
                      <a:pt x="135660" y="179711"/>
                    </a:lnTo>
                    <a:lnTo>
                      <a:pt x="115690" y="150026"/>
                    </a:lnTo>
                    <a:lnTo>
                      <a:pt x="106756" y="115681"/>
                    </a:lnTo>
                    <a:lnTo>
                      <a:pt x="111891" y="71399"/>
                    </a:lnTo>
                    <a:lnTo>
                      <a:pt x="128333" y="34880"/>
                    </a:lnTo>
                    <a:lnTo>
                      <a:pt x="153567" y="9841"/>
                    </a:lnTo>
                    <a:lnTo>
                      <a:pt x="185075" y="0"/>
                    </a:lnTo>
                    <a:lnTo>
                      <a:pt x="217102" y="7980"/>
                    </a:lnTo>
                    <a:lnTo>
                      <a:pt x="243752" y="31502"/>
                    </a:lnTo>
                    <a:lnTo>
                      <a:pt x="262293" y="66999"/>
                    </a:lnTo>
                    <a:lnTo>
                      <a:pt x="269994" y="110906"/>
                    </a:lnTo>
                    <a:lnTo>
                      <a:pt x="261484" y="149433"/>
                    </a:lnTo>
                    <a:lnTo>
                      <a:pt x="239959" y="182737"/>
                    </a:lnTo>
                    <a:lnTo>
                      <a:pt x="215005" y="208251"/>
                    </a:lnTo>
                    <a:lnTo>
                      <a:pt x="196212" y="223404"/>
                    </a:lnTo>
                    <a:lnTo>
                      <a:pt x="196212" y="331670"/>
                    </a:lnTo>
                    <a:lnTo>
                      <a:pt x="224547" y="292251"/>
                    </a:lnTo>
                    <a:lnTo>
                      <a:pt x="263528" y="270641"/>
                    </a:lnTo>
                    <a:lnTo>
                      <a:pt x="302781" y="262755"/>
                    </a:lnTo>
                    <a:lnTo>
                      <a:pt x="337820" y="268712"/>
                    </a:lnTo>
                    <a:lnTo>
                      <a:pt x="364156" y="288628"/>
                    </a:lnTo>
                    <a:lnTo>
                      <a:pt x="376311" y="319313"/>
                    </a:lnTo>
                    <a:lnTo>
                      <a:pt x="372700" y="354681"/>
                    </a:lnTo>
                    <a:lnTo>
                      <a:pt x="354635" y="390430"/>
                    </a:lnTo>
                    <a:lnTo>
                      <a:pt x="323431" y="422258"/>
                    </a:lnTo>
                    <a:lnTo>
                      <a:pt x="290971" y="436928"/>
                    </a:lnTo>
                    <a:lnTo>
                      <a:pt x="255201" y="440009"/>
                    </a:lnTo>
                    <a:lnTo>
                      <a:pt x="221741" y="436128"/>
                    </a:lnTo>
                    <a:lnTo>
                      <a:pt x="196212" y="429911"/>
                    </a:lnTo>
                    <a:lnTo>
                      <a:pt x="196212" y="509781"/>
                    </a:lnTo>
                    <a:close/>
                  </a:path>
                </a:pathLst>
              </a:custGeom>
              <a:solidFill>
                <a:srgbClr val="DBED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28" name="object 63">
                <a:extLst>
                  <a:ext uri="{FF2B5EF4-FFF2-40B4-BE49-F238E27FC236}">
                    <a16:creationId xmlns:a16="http://schemas.microsoft.com/office/drawing/2014/main" id="{416B6B10-CCA8-5142-F2BE-5A6796095B65}"/>
                  </a:ext>
                </a:extLst>
              </p:cNvPr>
              <p:cNvPicPr/>
              <p:nvPr/>
            </p:nvPicPr>
            <p:blipFill>
              <a:blip r:embed="rId50" cstate="print"/>
              <a:stretch>
                <a:fillRect/>
              </a:stretch>
            </p:blipFill>
            <p:spPr>
              <a:xfrm>
                <a:off x="2271547" y="6565323"/>
                <a:ext cx="1308392" cy="232382"/>
              </a:xfrm>
              <a:prstGeom prst="rect">
                <a:avLst/>
              </a:prstGeom>
            </p:spPr>
          </p:pic>
          <p:sp>
            <p:nvSpPr>
              <p:cNvPr id="29" name="object 64">
                <a:extLst>
                  <a:ext uri="{FF2B5EF4-FFF2-40B4-BE49-F238E27FC236}">
                    <a16:creationId xmlns:a16="http://schemas.microsoft.com/office/drawing/2014/main" id="{6ABAA7B4-BF24-BDC1-7AFC-C0F44B06D902}"/>
                  </a:ext>
                </a:extLst>
              </p:cNvPr>
              <p:cNvSpPr/>
              <p:nvPr/>
            </p:nvSpPr>
            <p:spPr>
              <a:xfrm>
                <a:off x="3493679" y="6730121"/>
                <a:ext cx="8255" cy="6350"/>
              </a:xfrm>
              <a:custGeom>
                <a:avLst/>
                <a:gdLst/>
                <a:ahLst/>
                <a:cxnLst/>
                <a:rect l="l" t="t" r="r" b="b"/>
                <a:pathLst>
                  <a:path w="8254" h="6350">
                    <a:moveTo>
                      <a:pt x="6990" y="5723"/>
                    </a:moveTo>
                    <a:lnTo>
                      <a:pt x="5687" y="5604"/>
                    </a:lnTo>
                    <a:lnTo>
                      <a:pt x="5128" y="4944"/>
                    </a:lnTo>
                    <a:lnTo>
                      <a:pt x="3639" y="3132"/>
                    </a:lnTo>
                    <a:lnTo>
                      <a:pt x="1912" y="1473"/>
                    </a:lnTo>
                    <a:lnTo>
                      <a:pt x="0" y="0"/>
                    </a:lnTo>
                    <a:lnTo>
                      <a:pt x="2691" y="1777"/>
                    </a:lnTo>
                    <a:lnTo>
                      <a:pt x="5247" y="3555"/>
                    </a:lnTo>
                    <a:lnTo>
                      <a:pt x="7803" y="5299"/>
                    </a:lnTo>
                    <a:lnTo>
                      <a:pt x="6990" y="5723"/>
                    </a:lnTo>
                    <a:close/>
                  </a:path>
                </a:pathLst>
              </a:custGeom>
              <a:solidFill>
                <a:srgbClr val="56A5B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04258"/>
                  </a:solidFill>
                  <a:effectLst/>
                  <a:uLnTx/>
                  <a:uFillTx/>
                  <a:latin typeface="Poppins" panose="00000500000000000000" pitchFamily="2" charset="0"/>
                  <a:ea typeface="+mn-ea"/>
                  <a:cs typeface="+mn-cs"/>
                </a:endParaRPr>
              </a:p>
            </p:txBody>
          </p:sp>
          <p:pic>
            <p:nvPicPr>
              <p:cNvPr id="30" name="object 65">
                <a:extLst>
                  <a:ext uri="{FF2B5EF4-FFF2-40B4-BE49-F238E27FC236}">
                    <a16:creationId xmlns:a16="http://schemas.microsoft.com/office/drawing/2014/main" id="{D7E619B2-6F54-1497-8458-30C673E23A2A}"/>
                  </a:ext>
                </a:extLst>
              </p:cNvPr>
              <p:cNvPicPr/>
              <p:nvPr/>
            </p:nvPicPr>
            <p:blipFill>
              <a:blip r:embed="rId51" cstate="print"/>
              <a:stretch>
                <a:fillRect/>
              </a:stretch>
            </p:blipFill>
            <p:spPr>
              <a:xfrm>
                <a:off x="2394479" y="5738328"/>
                <a:ext cx="1093952" cy="997567"/>
              </a:xfrm>
              <a:prstGeom prst="rect">
                <a:avLst/>
              </a:prstGeom>
            </p:spPr>
          </p:pic>
        </p:grpSp>
      </p:grpSp>
    </p:spTree>
    <p:extLst>
      <p:ext uri="{BB962C8B-B14F-4D97-AF65-F5344CB8AC3E}">
        <p14:creationId xmlns:p14="http://schemas.microsoft.com/office/powerpoint/2010/main" val="26834685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39305348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25983957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40263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34094863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4060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2374099742"/>
      </p:ext>
    </p:extLst>
  </p:cSld>
  <p:clrMapOvr>
    <a:masterClrMapping/>
  </p:clrMapOvr>
  <p:transition spd="slow" advTm="2000">
    <p:cover dir="d"/>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9461487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8112787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6319765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25579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p:cSld name="Deliverables -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4694" y="1393371"/>
            <a:ext cx="4911828"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3" name="Rectangle 2">
            <a:extLst>
              <a:ext uri="{FF2B5EF4-FFF2-40B4-BE49-F238E27FC236}">
                <a16:creationId xmlns:a16="http://schemas.microsoft.com/office/drawing/2014/main" id="{2E354242-21A7-0EDC-3F2C-B70BBF29F893}"/>
              </a:ext>
            </a:extLst>
          </p:cNvPr>
          <p:cNvSpPr/>
          <p:nvPr/>
        </p:nvSpPr>
        <p:spPr>
          <a:xfrm>
            <a:off x="154694" y="1209456"/>
            <a:ext cx="4911827"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8" name="Text Placeholder 7">
            <a:extLst>
              <a:ext uri="{FF2B5EF4-FFF2-40B4-BE49-F238E27FC236}">
                <a16:creationId xmlns:a16="http://schemas.microsoft.com/office/drawing/2014/main" id="{D64B9BC5-0E40-BA75-1C34-0FA314774C6F}"/>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endParaRPr lang="es-CO"/>
          </a:p>
        </p:txBody>
      </p:sp>
      <p:sp>
        <p:nvSpPr>
          <p:cNvPr id="11" name="Picture Placeholder 10">
            <a:extLst>
              <a:ext uri="{FF2B5EF4-FFF2-40B4-BE49-F238E27FC236}">
                <a16:creationId xmlns:a16="http://schemas.microsoft.com/office/drawing/2014/main" id="{4EAE8274-8D54-45A0-DB33-E983093EA9D2}"/>
              </a:ext>
            </a:extLst>
          </p:cNvPr>
          <p:cNvSpPr>
            <a:spLocks noGrp="1"/>
          </p:cNvSpPr>
          <p:nvPr>
            <p:ph type="pic" sz="quarter" idx="13"/>
          </p:nvPr>
        </p:nvSpPr>
        <p:spPr>
          <a:xfrm>
            <a:off x="6848475" y="1884363"/>
            <a:ext cx="4376738" cy="4292600"/>
          </a:xfrm>
          <a:prstGeom prst="rect">
            <a:avLst/>
          </a:prstGeom>
        </p:spPr>
        <p:txBody>
          <a:bodyPr/>
          <a:lstStyle/>
          <a:p>
            <a:r>
              <a:rPr lang="es-MX"/>
              <a:t>Haz clic en el icono para agregar una imagen</a:t>
            </a:r>
            <a:endParaRPr lang="es-CO"/>
          </a:p>
        </p:txBody>
      </p:sp>
      <p:sp>
        <p:nvSpPr>
          <p:cNvPr id="18" name="Text Placeholder 17">
            <a:extLst>
              <a:ext uri="{FF2B5EF4-FFF2-40B4-BE49-F238E27FC236}">
                <a16:creationId xmlns:a16="http://schemas.microsoft.com/office/drawing/2014/main" id="{5351441E-E06C-268F-0EEA-EBFF6E7A2B04}"/>
              </a:ext>
            </a:extLst>
          </p:cNvPr>
          <p:cNvSpPr>
            <a:spLocks noGrp="1"/>
          </p:cNvSpPr>
          <p:nvPr>
            <p:ph type="body" sz="quarter" idx="14" hasCustomPrompt="1"/>
          </p:nvPr>
        </p:nvSpPr>
        <p:spPr>
          <a:xfrm>
            <a:off x="-690464" y="42051"/>
            <a:ext cx="2230340" cy="798513"/>
          </a:xfrm>
          <a:prstGeom prst="roundRect">
            <a:avLst/>
          </a:prstGeom>
          <a:solidFill>
            <a:schemeClr val="accent5"/>
          </a:solidFill>
        </p:spPr>
        <p:txBody>
          <a:bodyPr>
            <a:noAutofit/>
          </a:bodyPr>
          <a:lstStyle>
            <a:lvl1pPr algn="r">
              <a:defRPr sz="3600"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Tree>
    <p:extLst>
      <p:ext uri="{BB962C8B-B14F-4D97-AF65-F5344CB8AC3E}">
        <p14:creationId xmlns:p14="http://schemas.microsoft.com/office/powerpoint/2010/main" val="27178354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4344993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10023223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pic>
        <p:nvPicPr>
          <p:cNvPr id="22" name="Imagen 21">
            <a:extLst>
              <a:ext uri="{FF2B5EF4-FFF2-40B4-BE49-F238E27FC236}">
                <a16:creationId xmlns:a16="http://schemas.microsoft.com/office/drawing/2014/main" id="{488251F9-CB2A-5DBD-804A-E0FFD54CAA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40" r="16738"/>
          <a:stretch/>
        </p:blipFill>
        <p:spPr>
          <a:xfrm>
            <a:off x="5776331" y="0"/>
            <a:ext cx="6415669" cy="6858000"/>
          </a:xfrm>
          <a:prstGeom prst="rect">
            <a:avLst/>
          </a:prstGeom>
        </p:spPr>
      </p:pic>
      <p:pic>
        <p:nvPicPr>
          <p:cNvPr id="23" name="Imagen 22">
            <a:extLst>
              <a:ext uri="{FF2B5EF4-FFF2-40B4-BE49-F238E27FC236}">
                <a16:creationId xmlns:a16="http://schemas.microsoft.com/office/drawing/2014/main" id="{27231D3D-FBC8-8BD3-E48D-F6BB616F40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22"/>
            <a:ext cx="12192000" cy="6858000"/>
          </a:xfrm>
          <a:prstGeom prst="rect">
            <a:avLst/>
          </a:prstGeom>
        </p:spPr>
      </p:pic>
      <p:sp>
        <p:nvSpPr>
          <p:cNvPr id="24" name="Marcador de fecha 3">
            <a:extLst>
              <a:ext uri="{FF2B5EF4-FFF2-40B4-BE49-F238E27FC236}">
                <a16:creationId xmlns:a16="http://schemas.microsoft.com/office/drawing/2014/main" id="{172FDAF0-80D8-0F7D-8337-03400528968C}"/>
              </a:ext>
            </a:extLst>
          </p:cNvPr>
          <p:cNvSpPr>
            <a:spLocks noGrp="1"/>
          </p:cNvSpPr>
          <p:nvPr>
            <p:ph type="dt" sz="half" idx="10"/>
          </p:nvPr>
        </p:nvSpPr>
        <p:spPr>
          <a:xfrm>
            <a:off x="556807" y="1707447"/>
            <a:ext cx="5645381" cy="3381388"/>
          </a:xfrm>
          <a:prstGeom prst="rect">
            <a:avLst/>
          </a:prstGeom>
        </p:spPr>
        <p:txBody>
          <a:bodyPr/>
          <a:lstStyle>
            <a:lvl1pPr marL="0" indent="0" algn="l">
              <a:buFont typeface="Arial" panose="020B0604020202020204" pitchFamily="34" charset="0"/>
              <a:buNone/>
              <a:defRPr sz="6600" b="0" i="0">
                <a:solidFill>
                  <a:schemeClr val="bg1"/>
                </a:solidFill>
                <a:latin typeface="Poppins Medium" pitchFamily="2" charset="77"/>
                <a:cs typeface="Poppins Medium" pitchFamily="2" charset="77"/>
              </a:defRPr>
            </a:lvl1pPr>
          </a:lstStyle>
          <a:p>
            <a:r>
              <a:rPr lang="en-US"/>
              <a:t>TÍTULO</a:t>
            </a:r>
          </a:p>
          <a:p>
            <a:r>
              <a:rPr lang="en-US"/>
              <a:t>  PROYECTO</a:t>
            </a:r>
          </a:p>
          <a:p>
            <a:pPr>
              <a:buFontTx/>
              <a:buNone/>
              <a:defRPr/>
            </a:pPr>
            <a:r>
              <a:rPr lang="en-US" sz="1800">
                <a:solidFill>
                  <a:srgbClr val="FFFFFF"/>
                </a:solidFill>
                <a:latin typeface="Poppins Light"/>
                <a:cs typeface="+mn-cs"/>
              </a:rPr>
              <a:t>         </a:t>
            </a:r>
            <a:r>
              <a:rPr lang="en-US" sz="1800" err="1">
                <a:solidFill>
                  <a:srgbClr val="FFFFFF"/>
                </a:solidFill>
                <a:latin typeface="Poppins Light"/>
                <a:cs typeface="+mn-cs"/>
              </a:rPr>
              <a:t>Descripción</a:t>
            </a:r>
            <a:endParaRPr lang="en-US" sz="1800">
              <a:solidFill>
                <a:srgbClr val="FFFFFF"/>
              </a:solidFill>
              <a:latin typeface="Poppins Light"/>
              <a:cs typeface="+mn-cs"/>
            </a:endParaRPr>
          </a:p>
          <a:p>
            <a:pPr>
              <a:defRPr/>
            </a:pPr>
            <a:r>
              <a:rPr lang="en-US" sz="1800">
                <a:solidFill>
                  <a:srgbClr val="D5B9FF"/>
                </a:solidFill>
                <a:latin typeface="Poppins Light"/>
                <a:cs typeface="+mn-cs"/>
              </a:rPr>
              <a:t>         Friday, March 22, 2024</a:t>
            </a:r>
            <a:endParaRPr lang="en-US" sz="1800">
              <a:solidFill>
                <a:srgbClr val="FFFFFF"/>
              </a:solidFill>
              <a:latin typeface="Poppins Light"/>
              <a:cs typeface="+mn-cs"/>
            </a:endParaRPr>
          </a:p>
          <a:p>
            <a:pPr>
              <a:buFontTx/>
              <a:buNone/>
              <a:defRPr/>
            </a:pPr>
            <a:endParaRPr lang="en-US" sz="1800">
              <a:solidFill>
                <a:srgbClr val="FFFFFF"/>
              </a:solidFill>
              <a:latin typeface="Poppins Light"/>
              <a:cs typeface="+mn-cs"/>
            </a:endParaRPr>
          </a:p>
          <a:p>
            <a:endParaRPr lang="en-US"/>
          </a:p>
        </p:txBody>
      </p:sp>
      <p:sp>
        <p:nvSpPr>
          <p:cNvPr id="25" name="Marcador de fecha 3">
            <a:extLst>
              <a:ext uri="{FF2B5EF4-FFF2-40B4-BE49-F238E27FC236}">
                <a16:creationId xmlns:a16="http://schemas.microsoft.com/office/drawing/2014/main" id="{45B92016-5D8C-BCF1-0142-9D2A94C15C79}"/>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a:solidFill>
                <a:schemeClr val="bg1"/>
              </a:solidFill>
              <a:latin typeface="Poppins Medium" pitchFamily="2" charset="77"/>
              <a:cs typeface="Poppins Medium" pitchFamily="2" charset="77"/>
            </a:endParaRPr>
          </a:p>
        </p:txBody>
      </p:sp>
      <p:sp>
        <p:nvSpPr>
          <p:cNvPr id="26" name="Marcador de fecha 3">
            <a:extLst>
              <a:ext uri="{FF2B5EF4-FFF2-40B4-BE49-F238E27FC236}">
                <a16:creationId xmlns:a16="http://schemas.microsoft.com/office/drawing/2014/main" id="{8F38FFB8-7651-DBE7-0C09-DC7679B00352}"/>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a:solidFill>
                <a:srgbClr val="D5B9FF"/>
              </a:solidFill>
            </a:endParaRPr>
          </a:p>
        </p:txBody>
      </p:sp>
      <p:sp>
        <p:nvSpPr>
          <p:cNvPr id="2" name="CuadroTexto 1">
            <a:extLst>
              <a:ext uri="{FF2B5EF4-FFF2-40B4-BE49-F238E27FC236}">
                <a16:creationId xmlns:a16="http://schemas.microsoft.com/office/drawing/2014/main" id="{67017BD7-AB31-38CC-4DE9-36A09F012734}"/>
              </a:ext>
            </a:extLst>
          </p:cNvPr>
          <p:cNvSpPr txBox="1"/>
          <p:nvPr userDrawn="1"/>
        </p:nvSpPr>
        <p:spPr>
          <a:xfrm>
            <a:off x="978946" y="4762529"/>
            <a:ext cx="5780049" cy="1985159"/>
          </a:xfrm>
          <a:prstGeom prst="rect">
            <a:avLst/>
          </a:prstGeom>
          <a:noFill/>
        </p:spPr>
        <p:txBody>
          <a:bodyPr wrap="square" rtlCol="0">
            <a:spAutoFit/>
          </a:bodyPr>
          <a:lstStyle/>
          <a:p>
            <a:pPr algn="l"/>
            <a:r>
              <a:rPr lang="es-CO" sz="3200" b="1" i="0" u="none">
                <a:solidFill>
                  <a:schemeClr val="bg1"/>
                </a:solidFill>
                <a:effectLst/>
                <a:latin typeface="+mj-lt"/>
                <a:cs typeface="Poppins Medium" pitchFamily="2" charset="77"/>
                <a:hlinkClick r:id="rId4">
                  <a:extLst>
                    <a:ext uri="{A12FA001-AC4F-418D-AE19-62706E023703}">
                      <ahyp:hlinkClr xmlns:ahyp="http://schemas.microsoft.com/office/drawing/2018/hyperlinkcolor" val="tx"/>
                    </a:ext>
                  </a:extLst>
                </a:hlinkClick>
              </a:rPr>
              <a:t>www.iotaimpact.com</a:t>
            </a:r>
            <a:endParaRPr lang="es-CO" sz="3200" b="1" i="0" u="none">
              <a:solidFill>
                <a:schemeClr val="bg1"/>
              </a:solidFill>
              <a:effectLst/>
              <a:latin typeface="+mj-lt"/>
              <a:cs typeface="Poppins Medium"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i="0" err="1">
                <a:solidFill>
                  <a:schemeClr val="bg1"/>
                </a:solidFill>
                <a:effectLst/>
                <a:latin typeface="+mj-lt"/>
              </a:rPr>
              <a:t>andres@iotaimpact.com</a:t>
            </a:r>
            <a:endParaRPr lang="es-CO" i="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us</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400">
                <a:solidFill>
                  <a:schemeClr val="bg1"/>
                </a:solidFill>
                <a:effectLst/>
                <a:latin typeface="+mj-lt"/>
              </a:rPr>
              <a:t>@</a:t>
            </a:r>
            <a:r>
              <a:rPr lang="es-CO" sz="1400" err="1">
                <a:solidFill>
                  <a:schemeClr val="bg1"/>
                </a:solidFill>
                <a:effectLst/>
                <a:latin typeface="+mj-lt"/>
              </a:rPr>
              <a:t>iotaimpactlatam</a:t>
            </a:r>
            <a:endParaRPr lang="es-CO" sz="1400">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l"/>
            <a:endParaRPr lang="es-CO">
              <a:solidFill>
                <a:schemeClr val="bg1"/>
              </a:solidFill>
            </a:endParaRPr>
          </a:p>
        </p:txBody>
      </p:sp>
      <p:pic>
        <p:nvPicPr>
          <p:cNvPr id="3" name="Imagen 2">
            <a:extLst>
              <a:ext uri="{FF2B5EF4-FFF2-40B4-BE49-F238E27FC236}">
                <a16:creationId xmlns:a16="http://schemas.microsoft.com/office/drawing/2014/main" id="{4741025A-CBAB-EEE5-0483-9393666D6C7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832545" y="5492617"/>
            <a:ext cx="668049" cy="668049"/>
          </a:xfrm>
          <a:prstGeom prst="rect">
            <a:avLst/>
          </a:prstGeom>
        </p:spPr>
      </p:pic>
    </p:spTree>
    <p:extLst>
      <p:ext uri="{BB962C8B-B14F-4D97-AF65-F5344CB8AC3E}">
        <p14:creationId xmlns:p14="http://schemas.microsoft.com/office/powerpoint/2010/main" val="30272839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91D224-B8D9-88DE-4670-076335964A6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D7E67CF-DE33-C2B1-440B-7D8547DD332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AEE83E5C-81FB-B682-FD58-840C4CD9CEEE}"/>
              </a:ext>
            </a:extLst>
          </p:cNvPr>
          <p:cNvSpPr>
            <a:spLocks noGrp="1"/>
          </p:cNvSpPr>
          <p:nvPr>
            <p:ph type="dt" sz="half" idx="10"/>
          </p:nvPr>
        </p:nvSpPr>
        <p:spPr/>
        <p:txBody>
          <a:body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9A273A0-DD01-EB71-8B27-E2955F4EF7E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56014A1-F317-270D-BF62-C7C7887BEF7B}"/>
              </a:ext>
            </a:extLst>
          </p:cNvPr>
          <p:cNvSpPr>
            <a:spLocks noGrp="1"/>
          </p:cNvSpPr>
          <p:nvPr>
            <p:ph type="sldNum" sz="quarter" idx="12"/>
          </p:nvPr>
        </p:nvSpPr>
        <p:spPr/>
        <p:txBody>
          <a:bodyPr/>
          <a:lstStyle/>
          <a:p>
            <a:fld id="{C1B451D2-8377-4F3E-BFA3-D23C4C860D00}" type="slidenum">
              <a:rPr lang="es-CO" smtClean="0"/>
              <a:t>‹#›</a:t>
            </a:fld>
            <a:endParaRPr lang="es-CO"/>
          </a:p>
        </p:txBody>
      </p:sp>
    </p:spTree>
    <p:extLst>
      <p:ext uri="{BB962C8B-B14F-4D97-AF65-F5344CB8AC3E}">
        <p14:creationId xmlns:p14="http://schemas.microsoft.com/office/powerpoint/2010/main" val="8307017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7" name="Marcador de contenido 4">
            <a:extLst>
              <a:ext uri="{FF2B5EF4-FFF2-40B4-BE49-F238E27FC236}">
                <a16:creationId xmlns:a16="http://schemas.microsoft.com/office/drawing/2014/main" id="{BAAE6FB6-7AD2-D11A-DD35-F276B17C21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7507"/>
            <a:ext cx="12192001" cy="6858001"/>
          </a:xfrm>
          <a:prstGeom prst="rect">
            <a:avLst/>
          </a:prstGeom>
        </p:spPr>
      </p:pic>
      <p:pic>
        <p:nvPicPr>
          <p:cNvPr id="8" name="Gráfico 7">
            <a:extLst>
              <a:ext uri="{FF2B5EF4-FFF2-40B4-BE49-F238E27FC236}">
                <a16:creationId xmlns:a16="http://schemas.microsoft.com/office/drawing/2014/main" id="{E34719E9-49A5-4B63-6B2B-4A78FDF4FF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820" y="483081"/>
            <a:ext cx="1964830" cy="456658"/>
          </a:xfrm>
          <a:prstGeom prst="rect">
            <a:avLst/>
          </a:prstGeom>
        </p:spPr>
      </p:pic>
    </p:spTree>
    <p:extLst>
      <p:ext uri="{BB962C8B-B14F-4D97-AF65-F5344CB8AC3E}">
        <p14:creationId xmlns:p14="http://schemas.microsoft.com/office/powerpoint/2010/main" val="4914523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ABB12109-C502-3045-4D00-0FE9BC202BD7}"/>
              </a:ext>
            </a:extLst>
          </p:cNvPr>
          <p:cNvGrpSpPr/>
          <p:nvPr userDrawn="1"/>
        </p:nvGrpSpPr>
        <p:grpSpPr>
          <a:xfrm rot="10800000" flipH="1">
            <a:off x="0" y="0"/>
            <a:ext cx="12192000" cy="6858000"/>
            <a:chOff x="0" y="0"/>
            <a:chExt cx="12192000" cy="6858000"/>
          </a:xfrm>
        </p:grpSpPr>
        <p:pic>
          <p:nvPicPr>
            <p:cNvPr id="4" name="Imagen 3">
              <a:extLst>
                <a:ext uri="{FF2B5EF4-FFF2-40B4-BE49-F238E27FC236}">
                  <a16:creationId xmlns:a16="http://schemas.microsoft.com/office/drawing/2014/main" id="{CCABE3BB-B03C-6EC1-5179-C19D28D0CA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riángulo isósceles 5">
              <a:extLst>
                <a:ext uri="{FF2B5EF4-FFF2-40B4-BE49-F238E27FC236}">
                  <a16:creationId xmlns:a16="http://schemas.microsoft.com/office/drawing/2014/main" id="{1E7003A5-BEDC-CCE6-2754-1EF92DE23EF6}"/>
                </a:ext>
              </a:extLst>
            </p:cNvPr>
            <p:cNvSpPr/>
            <p:nvPr userDrawn="1"/>
          </p:nvSpPr>
          <p:spPr>
            <a:xfrm>
              <a:off x="10086109" y="5671127"/>
              <a:ext cx="1320800" cy="1186873"/>
            </a:xfrm>
            <a:prstGeom prst="triangle">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spTree>
    <p:extLst>
      <p:ext uri="{BB962C8B-B14F-4D97-AF65-F5344CB8AC3E}">
        <p14:creationId xmlns:p14="http://schemas.microsoft.com/office/powerpoint/2010/main" val="25322028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599B93-0A26-DB45-BA2E-1C13A53AC81D}"/>
              </a:ext>
            </a:extLst>
          </p:cNvPr>
          <p:cNvGraphicFramePr>
            <a:graphicFrameLocks noChangeAspect="1"/>
          </p:cNvGraphicFramePr>
          <p:nvPr userDrawn="1">
            <p:custDataLst>
              <p:tags r:id="rId1"/>
            </p:custDataLst>
            <p:extLst>
              <p:ext uri="{D42A27DB-BD31-4B8C-83A1-F6EECF244321}">
                <p14:modId xmlns:p14="http://schemas.microsoft.com/office/powerpoint/2010/main" val="6498649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57599B93-0A26-DB45-BA2E-1C13A53AC8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836478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PhAnim="0" userDrawn="1">
  <p:cSld name="1_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err="1"/>
              <a:t>Click</a:t>
            </a:r>
            <a:r>
              <a:rPr lang="es-CO"/>
              <a:t> to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4694" y="1393371"/>
            <a:ext cx="11732506"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err="1"/>
              <a:t>Click</a:t>
            </a:r>
            <a:r>
              <a:rPr lang="es-CO"/>
              <a:t> to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err="1"/>
              <a:t>Click</a:t>
            </a:r>
            <a:r>
              <a:rPr lang="es-CO"/>
              <a:t> to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3709657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14626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PhAnim="0" preserve="1"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12369571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preserve="1">
  <p:cSld name="Deliverables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39550" y="78619"/>
            <a:ext cx="10347649"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54694" y="1393371"/>
            <a:ext cx="4911828" cy="4783592"/>
          </a:xfrm>
          <a:prstGeom prst="rect">
            <a:avLst/>
          </a:prstGeom>
          <a:solidFill>
            <a:schemeClr val="bg1"/>
          </a:solidFill>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3" name="Rectangle 2">
            <a:extLst>
              <a:ext uri="{FF2B5EF4-FFF2-40B4-BE49-F238E27FC236}">
                <a16:creationId xmlns:a16="http://schemas.microsoft.com/office/drawing/2014/main" id="{2E354242-21A7-0EDC-3F2C-B70BBF29F893}"/>
              </a:ext>
            </a:extLst>
          </p:cNvPr>
          <p:cNvSpPr/>
          <p:nvPr/>
        </p:nvSpPr>
        <p:spPr>
          <a:xfrm>
            <a:off x="154694" y="1209456"/>
            <a:ext cx="4911827"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4" name="Isosceles Triangle 3">
            <a:extLst>
              <a:ext uri="{FF2B5EF4-FFF2-40B4-BE49-F238E27FC236}">
                <a16:creationId xmlns:a16="http://schemas.microsoft.com/office/drawing/2014/main" id="{A85C4FD5-01F8-9693-1AEE-381749A4F8A0}"/>
              </a:ext>
            </a:extLst>
          </p:cNvPr>
          <p:cNvSpPr/>
          <p:nvPr/>
        </p:nvSpPr>
        <p:spPr>
          <a:xfrm rot="5400000">
            <a:off x="4242128"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18" name="Text Placeholder 17">
            <a:extLst>
              <a:ext uri="{FF2B5EF4-FFF2-40B4-BE49-F238E27FC236}">
                <a16:creationId xmlns:a16="http://schemas.microsoft.com/office/drawing/2014/main" id="{5351441E-E06C-268F-0EEA-EBFF6E7A2B04}"/>
              </a:ext>
            </a:extLst>
          </p:cNvPr>
          <p:cNvSpPr>
            <a:spLocks noGrp="1"/>
          </p:cNvSpPr>
          <p:nvPr>
            <p:ph type="body" sz="quarter" idx="14" hasCustomPrompt="1"/>
          </p:nvPr>
        </p:nvSpPr>
        <p:spPr>
          <a:xfrm>
            <a:off x="-690464" y="42051"/>
            <a:ext cx="2230340" cy="798513"/>
          </a:xfrm>
          <a:prstGeom prst="roundRect">
            <a:avLst/>
          </a:prstGeom>
          <a:solidFill>
            <a:schemeClr val="accent5"/>
          </a:solidFill>
        </p:spPr>
        <p:txBody>
          <a:bodyPr>
            <a:noAutofit/>
          </a:bodyPr>
          <a:lstStyle>
            <a:lvl1pPr algn="r">
              <a:defRPr sz="3600" i="0">
                <a:solidFill>
                  <a:schemeClr val="bg1"/>
                </a:solidFill>
                <a:latin typeface="+mj-lt"/>
              </a:defRPr>
            </a:lvl1pPr>
            <a:lvl2pPr marL="457200" indent="0">
              <a:buNone/>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a:t>
            </a:r>
            <a:endParaRPr lang="es-CO"/>
          </a:p>
        </p:txBody>
      </p:sp>
      <p:sp>
        <p:nvSpPr>
          <p:cNvPr id="6" name="Text Placeholder 7">
            <a:extLst>
              <a:ext uri="{FF2B5EF4-FFF2-40B4-BE49-F238E27FC236}">
                <a16:creationId xmlns:a16="http://schemas.microsoft.com/office/drawing/2014/main" id="{D8E471E2-CDC6-1E50-4AF8-56DECD164569}"/>
              </a:ext>
            </a:extLst>
          </p:cNvPr>
          <p:cNvSpPr>
            <a:spLocks noGrp="1"/>
          </p:cNvSpPr>
          <p:nvPr>
            <p:ph type="body" sz="quarter" idx="11" hasCustomPrompt="1"/>
          </p:nvPr>
        </p:nvSpPr>
        <p:spPr>
          <a:xfrm>
            <a:off x="6848281" y="1173803"/>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endParaRPr lang="es-CO"/>
          </a:p>
        </p:txBody>
      </p:sp>
      <p:sp>
        <p:nvSpPr>
          <p:cNvPr id="9" name="Text Placeholder 7">
            <a:extLst>
              <a:ext uri="{FF2B5EF4-FFF2-40B4-BE49-F238E27FC236}">
                <a16:creationId xmlns:a16="http://schemas.microsoft.com/office/drawing/2014/main" id="{FEAF4EB9-093B-2824-3A51-C9A00302C4B1}"/>
              </a:ext>
            </a:extLst>
          </p:cNvPr>
          <p:cNvSpPr>
            <a:spLocks noGrp="1"/>
          </p:cNvSpPr>
          <p:nvPr>
            <p:ph type="body" sz="quarter" idx="12" hasCustomPrompt="1"/>
          </p:nvPr>
        </p:nvSpPr>
        <p:spPr>
          <a:xfrm>
            <a:off x="6848281" y="3727674"/>
            <a:ext cx="4376446" cy="521855"/>
          </a:xfrm>
          <a:prstGeom prst="rect">
            <a:avLst/>
          </a:prstGeom>
        </p:spPr>
        <p:txBody>
          <a:bodyPr anchor="t">
            <a:normAutofit/>
          </a:bodyPr>
          <a:lstStyle>
            <a:lvl1pPr>
              <a:defRPr sz="1400" b="1" i="0">
                <a:solidFill>
                  <a:schemeClr val="accent4"/>
                </a:solidFill>
                <a:latin typeface="+mj-lt"/>
              </a:defRPr>
            </a:lvl1pPr>
            <a:lvl2pPr>
              <a:defRPr sz="1400" b="1" i="0">
                <a:solidFill>
                  <a:schemeClr val="accent4"/>
                </a:solidFill>
                <a:latin typeface="+mj-lt"/>
              </a:defRPr>
            </a:lvl2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endParaRPr lang="es-CO"/>
          </a:p>
        </p:txBody>
      </p:sp>
      <p:sp>
        <p:nvSpPr>
          <p:cNvPr id="10" name="Picture Placeholder 10">
            <a:extLst>
              <a:ext uri="{FF2B5EF4-FFF2-40B4-BE49-F238E27FC236}">
                <a16:creationId xmlns:a16="http://schemas.microsoft.com/office/drawing/2014/main" id="{765555C2-EB61-720C-7444-8626B7F89D0F}"/>
              </a:ext>
            </a:extLst>
          </p:cNvPr>
          <p:cNvSpPr>
            <a:spLocks noGrp="1"/>
          </p:cNvSpPr>
          <p:nvPr>
            <p:ph type="pic" sz="quarter" idx="13"/>
          </p:nvPr>
        </p:nvSpPr>
        <p:spPr>
          <a:xfrm>
            <a:off x="6848475" y="1884363"/>
            <a:ext cx="4376738" cy="1643062"/>
          </a:xfrm>
          <a:prstGeom prst="rect">
            <a:avLst/>
          </a:prstGeom>
        </p:spPr>
        <p:txBody>
          <a:bodyPr/>
          <a:lstStyle/>
          <a:p>
            <a:r>
              <a:rPr lang="es-MX"/>
              <a:t>Haz clic en el icono para agregar una imagen</a:t>
            </a:r>
            <a:endParaRPr lang="es-CO"/>
          </a:p>
        </p:txBody>
      </p:sp>
      <p:sp>
        <p:nvSpPr>
          <p:cNvPr id="12" name="Picture Placeholder 12">
            <a:extLst>
              <a:ext uri="{FF2B5EF4-FFF2-40B4-BE49-F238E27FC236}">
                <a16:creationId xmlns:a16="http://schemas.microsoft.com/office/drawing/2014/main" id="{BA4C7614-29EF-9EF5-4C3A-9471D7D8A851}"/>
              </a:ext>
            </a:extLst>
          </p:cNvPr>
          <p:cNvSpPr>
            <a:spLocks noGrp="1"/>
          </p:cNvSpPr>
          <p:nvPr>
            <p:ph type="pic" sz="quarter" idx="15"/>
          </p:nvPr>
        </p:nvSpPr>
        <p:spPr>
          <a:xfrm>
            <a:off x="6848475" y="4391025"/>
            <a:ext cx="4376738" cy="1645920"/>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10707229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23224583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35867439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38028816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25605101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90911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2607378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3322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19691886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8852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2824613744"/>
      </p:ext>
    </p:extLst>
  </p:cSld>
  <p:clrMapOvr>
    <a:masterClrMapping/>
  </p:clrMapOvr>
  <p:transition spd="slow" advTm="2000">
    <p:cover dir="d"/>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5710164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preserve="1">
  <p:cSld name="8 Deliverable deep d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525208" y="1448900"/>
            <a:ext cx="5396204"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39960" y="1449354"/>
            <a:ext cx="5349240" cy="4783138"/>
          </a:xfrm>
          <a:prstGeom prst="rect">
            <a:avLst/>
          </a:prstGeom>
        </p:spPr>
        <p:txBody>
          <a:bodyPr/>
          <a:lstStyle/>
          <a:p>
            <a:r>
              <a:rPr lang="es-MX"/>
              <a:t>Haz clic en el icono para agregar una imagen</a:t>
            </a:r>
            <a:endParaRPr lang="es-CO"/>
          </a:p>
        </p:txBody>
      </p:sp>
      <p:sp>
        <p:nvSpPr>
          <p:cNvPr id="3" name="Rectangle 2">
            <a:extLst>
              <a:ext uri="{FF2B5EF4-FFF2-40B4-BE49-F238E27FC236}">
                <a16:creationId xmlns:a16="http://schemas.microsoft.com/office/drawing/2014/main" id="{FB3F6377-E847-A0C6-F520-122248FABD04}"/>
              </a:ext>
            </a:extLst>
          </p:cNvPr>
          <p:cNvSpPr/>
          <p:nvPr/>
        </p:nvSpPr>
        <p:spPr>
          <a:xfrm>
            <a:off x="139961" y="1265439"/>
            <a:ext cx="534924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
        <p:nvSpPr>
          <p:cNvPr id="6" name="Isosceles Triangle 5">
            <a:extLst>
              <a:ext uri="{FF2B5EF4-FFF2-40B4-BE49-F238E27FC236}">
                <a16:creationId xmlns:a16="http://schemas.microsoft.com/office/drawing/2014/main" id="{5CBF1A9F-3629-810A-98E2-BFF9349BCAAA}"/>
              </a:ext>
            </a:extLst>
          </p:cNvPr>
          <p:cNvSpPr/>
          <p:nvPr/>
        </p:nvSpPr>
        <p:spPr>
          <a:xfrm rot="16200000" flipH="1">
            <a:off x="4531377" y="3545414"/>
            <a:ext cx="2906751" cy="234933"/>
          </a:xfrm>
          <a:prstGeom prst="triangle">
            <a:avLst/>
          </a:prstGeom>
          <a:solidFill>
            <a:schemeClr val="accent4">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endParaRPr>
          </a:p>
        </p:txBody>
      </p:sp>
      <p:sp>
        <p:nvSpPr>
          <p:cNvPr id="8" name="Rectangle 7">
            <a:extLst>
              <a:ext uri="{FF2B5EF4-FFF2-40B4-BE49-F238E27FC236}">
                <a16:creationId xmlns:a16="http://schemas.microsoft.com/office/drawing/2014/main" id="{9822E414-A680-CB78-ED0F-02C09EEDF735}"/>
              </a:ext>
            </a:extLst>
          </p:cNvPr>
          <p:cNvSpPr/>
          <p:nvPr/>
        </p:nvSpPr>
        <p:spPr>
          <a:xfrm>
            <a:off x="6525208" y="1261023"/>
            <a:ext cx="5394960" cy="183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0474051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905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12650537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5281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32753313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7725534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23_Diseño personalizado">
    <p:spTree>
      <p:nvGrpSpPr>
        <p:cNvPr id="1" name=""/>
        <p:cNvGrpSpPr/>
        <p:nvPr/>
      </p:nvGrpSpPr>
      <p:grpSpPr>
        <a:xfrm>
          <a:off x="0" y="0"/>
          <a:ext cx="0" cy="0"/>
          <a:chOff x="0" y="0"/>
          <a:chExt cx="0" cy="0"/>
        </a:xfrm>
      </p:grpSpPr>
      <p:sp>
        <p:nvSpPr>
          <p:cNvPr id="6" name="Marcador de texto 25">
            <a:extLst>
              <a:ext uri="{FF2B5EF4-FFF2-40B4-BE49-F238E27FC236}">
                <a16:creationId xmlns:a16="http://schemas.microsoft.com/office/drawing/2014/main" id="{574E1750-9F98-6B4C-8315-972BB1D07990}"/>
              </a:ext>
            </a:extLst>
          </p:cNvPr>
          <p:cNvSpPr>
            <a:spLocks noGrp="1"/>
          </p:cNvSpPr>
          <p:nvPr>
            <p:ph type="body" sz="quarter" idx="10" hasCustomPrompt="1"/>
          </p:nvPr>
        </p:nvSpPr>
        <p:spPr>
          <a:xfrm>
            <a:off x="746261" y="335910"/>
            <a:ext cx="1225186" cy="189796"/>
          </a:xfrm>
          <a:prstGeom prst="rect">
            <a:avLst/>
          </a:prstGeom>
        </p:spPr>
        <p:txBody>
          <a:bodyPr/>
          <a:lstStyle>
            <a:lvl1pPr>
              <a:buNone/>
              <a:defRPr sz="900" b="1" i="0">
                <a:solidFill>
                  <a:schemeClr val="bg1"/>
                </a:solidFill>
                <a:latin typeface="Montserrat" pitchFamily="2" charset="77"/>
              </a:defRPr>
            </a:lvl1pPr>
          </a:lstStyle>
          <a:p>
            <a:pPr lvl="0"/>
            <a:r>
              <a:rPr lang="es-MX"/>
              <a:t>TÍTULO PRINCIPAL</a:t>
            </a:r>
          </a:p>
        </p:txBody>
      </p:sp>
      <p:sp>
        <p:nvSpPr>
          <p:cNvPr id="7" name="Company name">
            <a:extLst>
              <a:ext uri="{FF2B5EF4-FFF2-40B4-BE49-F238E27FC236}">
                <a16:creationId xmlns:a16="http://schemas.microsoft.com/office/drawing/2014/main" id="{BEAA8794-598D-A945-AF71-3CC94DB36A70}"/>
              </a:ext>
            </a:extLst>
          </p:cNvPr>
          <p:cNvSpPr txBox="1"/>
          <p:nvPr userDrawn="1"/>
        </p:nvSpPr>
        <p:spPr bwMode="auto">
          <a:xfrm>
            <a:off x="9372974" y="6347280"/>
            <a:ext cx="2184778" cy="189796"/>
          </a:xfrm>
          <a:prstGeom prst="rect">
            <a:avLst/>
          </a:prstGeom>
          <a:noFill/>
          <a:ln w="12700" cap="flat">
            <a:noFill/>
            <a:miter lim="400000"/>
          </a:ln>
          <a:effectLst/>
        </p:spPr>
        <p:txBody>
          <a:bodyPr wrap="square" lIns="25400" tIns="25400" rIns="25400" bIns="25400" numCol="1" anchor="ctr">
            <a:spAutoFit/>
          </a:bodyPr>
          <a:lstStyle>
            <a:lvl1pPr algn="r">
              <a:lnSpc>
                <a:spcPct val="100000"/>
              </a:lnSpc>
              <a:defRPr sz="1800" cap="all" spc="90">
                <a:latin typeface="Montserrat Bold"/>
                <a:ea typeface="Montserrat Bold"/>
                <a:cs typeface="Montserrat Bold"/>
              </a:defRPr>
            </a:lvl1pPr>
          </a:lstStyle>
          <a:p>
            <a:pPr marL="0" marR="0" lvl="0" indent="0" algn="r" defTabSz="412750" eaLnBrk="1" fontAlgn="auto" latinLnBrk="0" hangingPunct="1">
              <a:lnSpc>
                <a:spcPct val="100000"/>
              </a:lnSpc>
              <a:spcBef>
                <a:spcPts val="0"/>
              </a:spcBef>
              <a:spcAft>
                <a:spcPts val="0"/>
              </a:spcAft>
              <a:buClrTx/>
              <a:buSzTx/>
              <a:buFontTx/>
              <a:buNone/>
              <a:tabLst/>
              <a:defRPr/>
            </a:pPr>
            <a:r>
              <a:rPr kumimoji="0" lang="es-MX" sz="900" b="0" i="0" u="none" strike="noStrike" kern="0" cap="all" spc="45" normalizeH="0" baseline="0" noProof="0">
                <a:ln>
                  <a:noFill/>
                </a:ln>
                <a:solidFill>
                  <a:srgbClr val="FFFFFF"/>
                </a:solidFill>
                <a:effectLst/>
                <a:uLnTx/>
                <a:uFillTx/>
                <a:latin typeface="Montserrat Bold"/>
              </a:rPr>
              <a:t>ALQUIMIA TRANSFORMA</a:t>
            </a:r>
            <a:r>
              <a:rPr kumimoji="0" lang="es-MX" sz="900" b="0" i="0" u="none" strike="noStrike" kern="0" cap="all" spc="45" normalizeH="0" baseline="30000" noProof="0">
                <a:ln>
                  <a:noFill/>
                </a:ln>
                <a:solidFill>
                  <a:srgbClr val="FFFFFF"/>
                </a:solidFill>
                <a:effectLst/>
                <a:uLnTx/>
                <a:uFillTx/>
                <a:latin typeface="Arial"/>
                <a:ea typeface="Montserrat"/>
                <a:cs typeface="Arial"/>
              </a:rPr>
              <a:t>®</a:t>
            </a:r>
            <a:endParaRPr kumimoji="0" lang="es-MX" sz="900" b="0" i="0" u="none" strike="noStrike" kern="0" cap="all" spc="45" normalizeH="0" baseline="0" noProof="0">
              <a:ln>
                <a:noFill/>
              </a:ln>
              <a:solidFill>
                <a:srgbClr val="FFFFFF"/>
              </a:solidFill>
              <a:effectLst/>
              <a:uLnTx/>
              <a:uFillTx/>
              <a:latin typeface="Montserrat Bold"/>
            </a:endParaRPr>
          </a:p>
        </p:txBody>
      </p:sp>
      <p:sp>
        <p:nvSpPr>
          <p:cNvPr id="8" name="Marcador de texto 25">
            <a:extLst>
              <a:ext uri="{FF2B5EF4-FFF2-40B4-BE49-F238E27FC236}">
                <a16:creationId xmlns:a16="http://schemas.microsoft.com/office/drawing/2014/main" id="{DC888003-9A73-5248-9C6A-04F7ED91A41C}"/>
              </a:ext>
            </a:extLst>
          </p:cNvPr>
          <p:cNvSpPr>
            <a:spLocks noGrp="1"/>
          </p:cNvSpPr>
          <p:nvPr>
            <p:ph type="body" sz="quarter" idx="13" hasCustomPrompt="1"/>
          </p:nvPr>
        </p:nvSpPr>
        <p:spPr>
          <a:xfrm>
            <a:off x="10922710" y="335910"/>
            <a:ext cx="635042" cy="189796"/>
          </a:xfrm>
          <a:prstGeom prst="rect">
            <a:avLst/>
          </a:prstGeom>
        </p:spPr>
        <p:txBody>
          <a:bodyPr/>
          <a:lstStyle>
            <a:lvl1pPr algn="r">
              <a:buNone/>
              <a:defRPr sz="900" b="1" i="0">
                <a:solidFill>
                  <a:schemeClr val="bg1"/>
                </a:solidFill>
                <a:latin typeface="Montserrat" pitchFamily="2" charset="77"/>
              </a:defRPr>
            </a:lvl1pPr>
          </a:lstStyle>
          <a:p>
            <a:pPr lvl="0"/>
            <a:r>
              <a:rPr lang="es-MX"/>
              <a:t>#</a:t>
            </a:r>
          </a:p>
        </p:txBody>
      </p:sp>
      <p:pic>
        <p:nvPicPr>
          <p:cNvPr id="2" name="Imagen 1" descr="Icono&#10;&#10;Descripción generada automáticamente con confianza media">
            <a:extLst>
              <a:ext uri="{FF2B5EF4-FFF2-40B4-BE49-F238E27FC236}">
                <a16:creationId xmlns:a16="http://schemas.microsoft.com/office/drawing/2014/main" id="{94BAF1E5-2BEC-CEE5-338D-9A53238B1A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2675" y="6312877"/>
            <a:ext cx="939272" cy="218005"/>
          </a:xfrm>
          <a:prstGeom prst="rect">
            <a:avLst/>
          </a:prstGeom>
        </p:spPr>
      </p:pic>
      <p:cxnSp>
        <p:nvCxnSpPr>
          <p:cNvPr id="3" name="Conector recto 2">
            <a:extLst>
              <a:ext uri="{FF2B5EF4-FFF2-40B4-BE49-F238E27FC236}">
                <a16:creationId xmlns:a16="http://schemas.microsoft.com/office/drawing/2014/main" id="{ADC2075A-29AB-DCE6-ED9B-76B8335D0756}"/>
              </a:ext>
            </a:extLst>
          </p:cNvPr>
          <p:cNvCxnSpPr/>
          <p:nvPr userDrawn="1"/>
        </p:nvCxnSpPr>
        <p:spPr>
          <a:xfrm>
            <a:off x="9717578" y="6312877"/>
            <a:ext cx="0" cy="218005"/>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a:extLst>
              <a:ext uri="{FF2B5EF4-FFF2-40B4-BE49-F238E27FC236}">
                <a16:creationId xmlns:a16="http://schemas.microsoft.com/office/drawing/2014/main" id="{5F576799-3B55-D711-03D0-5A0D26E24834}"/>
              </a:ext>
            </a:extLst>
          </p:cNvPr>
          <p:cNvSpPr/>
          <p:nvPr userDrawn="1"/>
        </p:nvSpPr>
        <p:spPr bwMode="auto">
          <a:xfrm>
            <a:off x="2379059" y="635000"/>
            <a:ext cx="9813736" cy="5588000"/>
          </a:xfrm>
          <a:prstGeom prst="rect">
            <a:avLst/>
          </a:prstGeom>
          <a:solidFill>
            <a:srgbClr val="D5D5D5">
              <a:lumMod val="10000"/>
            </a:srgbClr>
          </a:solidFill>
          <a:ln w="12700">
            <a:miter lim="400000"/>
          </a:ln>
        </p:spPr>
        <p:txBody>
          <a:bodyPr lIns="19050" tIns="19050" rIns="19050" bIns="19050" anchor="ctr"/>
          <a:lstStyle/>
          <a:p>
            <a:pPr marL="0" marR="0" lvl="0" indent="0" algn="ctr" defTabSz="412750" eaLnBrk="1" fontAlgn="auto" latinLnBrk="0" hangingPunct="1">
              <a:lnSpc>
                <a:spcPct val="100000"/>
              </a:lnSpc>
              <a:spcBef>
                <a:spcPts val="0"/>
              </a:spcBef>
              <a:spcAft>
                <a:spcPts val="0"/>
              </a:spcAft>
              <a:buClrTx/>
              <a:buSzTx/>
              <a:buFontTx/>
              <a:buNone/>
              <a:tabLst/>
              <a:defRPr sz="3200" spc="0">
                <a:latin typeface="Helvetica Neue Medium"/>
                <a:ea typeface="Helvetica Neue Medium"/>
                <a:cs typeface="Helvetica Neue Medium"/>
              </a:defRPr>
            </a:pPr>
            <a:endParaRPr kumimoji="0" sz="1600" b="0" i="0" u="none" strike="noStrike" kern="0" cap="none" spc="0" normalizeH="0" baseline="0" noProof="0">
              <a:ln>
                <a:noFill/>
              </a:ln>
              <a:solidFill>
                <a:srgbClr val="FFFFFF"/>
              </a:solidFill>
              <a:effectLst/>
              <a:uLnTx/>
              <a:uFillTx/>
              <a:latin typeface="Helvetica Neue Medium"/>
              <a:ea typeface="Helvetica Neue Medium"/>
              <a:cs typeface="Helvetica Neue Medium"/>
            </a:endParaRPr>
          </a:p>
        </p:txBody>
      </p:sp>
      <p:pic>
        <p:nvPicPr>
          <p:cNvPr id="4" name="Picture 2" descr="Logo, company name&#10;&#10;Description automatically generated">
            <a:extLst>
              <a:ext uri="{FF2B5EF4-FFF2-40B4-BE49-F238E27FC236}">
                <a16:creationId xmlns:a16="http://schemas.microsoft.com/office/drawing/2014/main" id="{C689BEFB-96C1-A19D-16F2-AB4A8811686C}"/>
              </a:ext>
            </a:extLst>
          </p:cNvPr>
          <p:cNvPicPr>
            <a:picLocks noChangeAspect="1" noChangeArrowheads="1"/>
          </p:cNvPicPr>
          <p:nvPr userDrawn="1"/>
        </p:nvPicPr>
        <p:blipFill>
          <a:blip r:embed="rId3">
            <a:grayscl/>
            <a:extLst>
              <a:ext uri="{28A0092B-C50C-407E-A947-70E740481C1C}">
                <a14:useLocalDpi xmlns:a14="http://schemas.microsoft.com/office/drawing/2010/main" val="0"/>
              </a:ext>
            </a:extLst>
          </a:blip>
          <a:srcRect/>
          <a:stretch>
            <a:fillRect/>
          </a:stretch>
        </p:blipFill>
        <p:spPr bwMode="auto">
          <a:xfrm>
            <a:off x="7949844" y="6304510"/>
            <a:ext cx="377612" cy="28161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Conector recto 4">
            <a:extLst>
              <a:ext uri="{FF2B5EF4-FFF2-40B4-BE49-F238E27FC236}">
                <a16:creationId xmlns:a16="http://schemas.microsoft.com/office/drawing/2014/main" id="{3750B402-F3B9-5641-3457-7CA41A4E8C3E}"/>
              </a:ext>
            </a:extLst>
          </p:cNvPr>
          <p:cNvCxnSpPr/>
          <p:nvPr userDrawn="1"/>
        </p:nvCxnSpPr>
        <p:spPr>
          <a:xfrm>
            <a:off x="8490065" y="6311789"/>
            <a:ext cx="0" cy="21800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09543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Graphs &amp; Chart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710401" y="1550583"/>
            <a:ext cx="10752887" cy="4586695"/>
          </a:xfrm>
        </p:spPr>
        <p:txBody>
          <a:bodyPr/>
          <a:lstStyle>
            <a:lvl1pPr>
              <a:defRPr>
                <a:solidFill>
                  <a:srgbClr val="646464"/>
                </a:solidFill>
              </a:defRPr>
            </a:lvl1pPr>
          </a:lstStyle>
          <a:p>
            <a:r>
              <a:rPr lang="en-US"/>
              <a:t>Drag picture to placeholder or click icon to add</a:t>
            </a:r>
          </a:p>
        </p:txBody>
      </p:sp>
      <p:sp>
        <p:nvSpPr>
          <p:cNvPr id="4" name="Footer Placeholder 3"/>
          <p:cNvSpPr>
            <a:spLocks noGrp="1"/>
          </p:cNvSpPr>
          <p:nvPr>
            <p:ph type="ftr" sz="quarter" idx="12"/>
          </p:nvPr>
        </p:nvSpPr>
        <p:spPr/>
        <p:txBody>
          <a:bodyPr/>
          <a:lstStyle/>
          <a:p>
            <a:endParaRPr lang="en-US"/>
          </a:p>
        </p:txBody>
      </p:sp>
      <p:sp>
        <p:nvSpPr>
          <p:cNvPr id="7" name="Title 1"/>
          <p:cNvSpPr>
            <a:spLocks noGrp="1"/>
          </p:cNvSpPr>
          <p:nvPr>
            <p:ph type="title"/>
          </p:nvPr>
        </p:nvSpPr>
        <p:spPr>
          <a:xfrm>
            <a:off x="720000" y="249600"/>
            <a:ext cx="10752888" cy="676275"/>
          </a:xfrm>
        </p:spPr>
        <p:txBody>
          <a:bodyPr>
            <a:normAutofit/>
          </a:bodyPr>
          <a:lstStyle/>
          <a:p>
            <a:r>
              <a:rPr lang="en-US"/>
              <a:t>Click to edit Master title style</a:t>
            </a:r>
          </a:p>
        </p:txBody>
      </p:sp>
      <p:sp>
        <p:nvSpPr>
          <p:cNvPr id="10" name="Text Placeholder 5"/>
          <p:cNvSpPr>
            <a:spLocks noGrp="1"/>
          </p:cNvSpPr>
          <p:nvPr>
            <p:ph type="body" sz="quarter" idx="14" hasCustomPrompt="1"/>
          </p:nvPr>
        </p:nvSpPr>
        <p:spPr>
          <a:xfrm>
            <a:off x="718765" y="1065601"/>
            <a:ext cx="10754123" cy="345257"/>
          </a:xfrm>
        </p:spPr>
        <p:txBody>
          <a:bodyPr lIns="0" tIns="0" rIns="0" bIns="0" anchor="ctr" anchorCtr="0">
            <a:normAutofit/>
          </a:bodyPr>
          <a:lstStyle>
            <a:lvl1pPr marL="257032" marR="0" indent="-257032" algn="l" defTabSz="342709" rtl="0" eaLnBrk="1" fontAlgn="auto" latinLnBrk="0" hangingPunct="1">
              <a:lnSpc>
                <a:spcPts val="1799"/>
              </a:lnSpc>
              <a:spcBef>
                <a:spcPts val="0"/>
              </a:spcBef>
              <a:spcAft>
                <a:spcPts val="300"/>
              </a:spcAft>
              <a:buClr>
                <a:schemeClr val="accent5"/>
              </a:buClr>
              <a:buSzTx/>
              <a:buFont typeface="Arial"/>
              <a:buNone/>
              <a:tabLst/>
              <a:defRPr sz="1893" baseline="0">
                <a:solidFill>
                  <a:srgbClr val="B2B2B2"/>
                </a:solidFill>
                <a:latin typeface="Roboto Regular" charset="0"/>
              </a:defRPr>
            </a:lvl1pPr>
          </a:lstStyle>
          <a:p>
            <a:pPr marL="257032" marR="0" lvl="0" indent="-257032" algn="l" defTabSz="342709" rtl="0" eaLnBrk="1" fontAlgn="auto" latinLnBrk="0" hangingPunct="1">
              <a:lnSpc>
                <a:spcPts val="1799"/>
              </a:lnSpc>
              <a:spcBef>
                <a:spcPts val="0"/>
              </a:spcBef>
              <a:spcAft>
                <a:spcPts val="300"/>
              </a:spcAft>
              <a:buClr>
                <a:schemeClr val="accent5"/>
              </a:buClr>
              <a:buSzTx/>
              <a:buFont typeface="Arial"/>
              <a:buNone/>
              <a:tabLst/>
              <a:defRPr/>
            </a:pPr>
            <a:r>
              <a:rPr lang="en-US"/>
              <a:t>Click to edit Sub title style</a:t>
            </a:r>
          </a:p>
        </p:txBody>
      </p:sp>
    </p:spTree>
    <p:extLst>
      <p:ext uri="{BB962C8B-B14F-4D97-AF65-F5344CB8AC3E}">
        <p14:creationId xmlns:p14="http://schemas.microsoft.com/office/powerpoint/2010/main" val="28088573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2_Graphs &amp; Charts (nativ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249600"/>
            <a:ext cx="10752888" cy="676275"/>
          </a:xfrm>
        </p:spPr>
        <p:txBody>
          <a:bodyPr>
            <a:normAutofit/>
          </a:bodyPr>
          <a:lstStyle/>
          <a:p>
            <a:r>
              <a:rPr lang="en-US"/>
              <a:t>Click to edit Master title style</a:t>
            </a:r>
          </a:p>
        </p:txBody>
      </p:sp>
      <p:sp>
        <p:nvSpPr>
          <p:cNvPr id="4" name="Footer Placeholder 3"/>
          <p:cNvSpPr>
            <a:spLocks noGrp="1"/>
          </p:cNvSpPr>
          <p:nvPr>
            <p:ph type="ftr" sz="quarter" idx="12"/>
          </p:nvPr>
        </p:nvSpPr>
        <p:spPr/>
        <p:txBody>
          <a:bodyPr/>
          <a:lstStyle/>
          <a:p>
            <a:endParaRPr lang="en-US"/>
          </a:p>
        </p:txBody>
      </p:sp>
      <p:sp>
        <p:nvSpPr>
          <p:cNvPr id="5" name="Chart Placeholder 4"/>
          <p:cNvSpPr>
            <a:spLocks noGrp="1"/>
          </p:cNvSpPr>
          <p:nvPr>
            <p:ph type="chart" sz="quarter" idx="13"/>
          </p:nvPr>
        </p:nvSpPr>
        <p:spPr>
          <a:xfrm>
            <a:off x="720013" y="2400000"/>
            <a:ext cx="7103188" cy="3772200"/>
          </a:xfrm>
          <a:solidFill>
            <a:schemeClr val="tx2"/>
          </a:solidFill>
        </p:spPr>
        <p:txBody>
          <a:bodyPr/>
          <a:lstStyle/>
          <a:p>
            <a:endParaRPr lang="en-US"/>
          </a:p>
        </p:txBody>
      </p:sp>
      <p:sp>
        <p:nvSpPr>
          <p:cNvPr id="7" name="Text Placeholder 5"/>
          <p:cNvSpPr>
            <a:spLocks noGrp="1"/>
          </p:cNvSpPr>
          <p:nvPr>
            <p:ph type="body" sz="quarter" idx="14" hasCustomPrompt="1"/>
          </p:nvPr>
        </p:nvSpPr>
        <p:spPr>
          <a:xfrm>
            <a:off x="718765" y="1065601"/>
            <a:ext cx="10754123" cy="345257"/>
          </a:xfrm>
        </p:spPr>
        <p:txBody>
          <a:bodyPr lIns="0" tIns="0" rIns="0" bIns="0" anchor="ctr" anchorCtr="0">
            <a:normAutofit/>
          </a:bodyPr>
          <a:lstStyle>
            <a:lvl1pPr marL="257032" marR="0" indent="-257032" algn="l" defTabSz="342709" rtl="0" eaLnBrk="1" fontAlgn="auto" latinLnBrk="0" hangingPunct="1">
              <a:lnSpc>
                <a:spcPts val="1799"/>
              </a:lnSpc>
              <a:spcBef>
                <a:spcPts val="0"/>
              </a:spcBef>
              <a:spcAft>
                <a:spcPts val="300"/>
              </a:spcAft>
              <a:buClr>
                <a:schemeClr val="accent5"/>
              </a:buClr>
              <a:buSzTx/>
              <a:buFont typeface="Arial"/>
              <a:buNone/>
              <a:tabLst/>
              <a:defRPr sz="1893" baseline="0">
                <a:solidFill>
                  <a:srgbClr val="B2B2B2"/>
                </a:solidFill>
                <a:latin typeface="Roboto Regular" charset="0"/>
              </a:defRPr>
            </a:lvl1pPr>
          </a:lstStyle>
          <a:p>
            <a:pPr marL="257032" marR="0" lvl="0" indent="-257032" algn="l" defTabSz="342709" rtl="0" eaLnBrk="1" fontAlgn="auto" latinLnBrk="0" hangingPunct="1">
              <a:lnSpc>
                <a:spcPts val="1799"/>
              </a:lnSpc>
              <a:spcBef>
                <a:spcPts val="0"/>
              </a:spcBef>
              <a:spcAft>
                <a:spcPts val="300"/>
              </a:spcAft>
              <a:buClr>
                <a:schemeClr val="accent5"/>
              </a:buClr>
              <a:buSzTx/>
              <a:buFont typeface="Arial"/>
              <a:buNone/>
              <a:tabLst/>
              <a:defRPr/>
            </a:pPr>
            <a:r>
              <a:rPr lang="en-US"/>
              <a:t>Click to edit Sub title style</a:t>
            </a:r>
          </a:p>
        </p:txBody>
      </p:sp>
      <p:sp>
        <p:nvSpPr>
          <p:cNvPr id="6" name="Text Placeholder 5">
            <a:extLst>
              <a:ext uri="{FF2B5EF4-FFF2-40B4-BE49-F238E27FC236}">
                <a16:creationId xmlns:a16="http://schemas.microsoft.com/office/drawing/2014/main" id="{46499515-8373-F64A-9D3C-79A34D90C27E}"/>
              </a:ext>
            </a:extLst>
          </p:cNvPr>
          <p:cNvSpPr>
            <a:spLocks noGrp="1"/>
          </p:cNvSpPr>
          <p:nvPr>
            <p:ph type="body" sz="quarter" idx="15" hasCustomPrompt="1"/>
          </p:nvPr>
        </p:nvSpPr>
        <p:spPr>
          <a:xfrm>
            <a:off x="718779" y="1718400"/>
            <a:ext cx="7104421" cy="345256"/>
          </a:xfrm>
        </p:spPr>
        <p:txBody>
          <a:bodyPr lIns="0" tIns="0" rIns="0" bIns="0" anchor="ctr" anchorCtr="0">
            <a:normAutofit/>
          </a:bodyPr>
          <a:lstStyle>
            <a:lvl1pPr marL="257032" marR="0" indent="-257032" algn="l" defTabSz="342709" rtl="0" eaLnBrk="1" fontAlgn="auto" latinLnBrk="0" hangingPunct="1">
              <a:lnSpc>
                <a:spcPts val="1799"/>
              </a:lnSpc>
              <a:spcBef>
                <a:spcPts val="0"/>
              </a:spcBef>
              <a:spcAft>
                <a:spcPts val="300"/>
              </a:spcAft>
              <a:buClr>
                <a:schemeClr val="accent5"/>
              </a:buClr>
              <a:buSzTx/>
              <a:buFont typeface="Arial"/>
              <a:buNone/>
              <a:tabLst/>
              <a:defRPr sz="1893" baseline="0">
                <a:solidFill>
                  <a:srgbClr val="B2B2B2"/>
                </a:solidFill>
                <a:latin typeface="Roboto Regular" charset="0"/>
              </a:defRPr>
            </a:lvl1pPr>
          </a:lstStyle>
          <a:p>
            <a:pPr marL="257032" marR="0" lvl="0" indent="-257032" algn="l" defTabSz="342709" rtl="0" eaLnBrk="1" fontAlgn="auto" latinLnBrk="0" hangingPunct="1">
              <a:lnSpc>
                <a:spcPts val="1799"/>
              </a:lnSpc>
              <a:spcBef>
                <a:spcPts val="0"/>
              </a:spcBef>
              <a:spcAft>
                <a:spcPts val="300"/>
              </a:spcAft>
              <a:buClr>
                <a:schemeClr val="accent5"/>
              </a:buClr>
              <a:buSzTx/>
              <a:buFont typeface="Arial"/>
              <a:buNone/>
              <a:tabLst/>
              <a:defRPr/>
            </a:pPr>
            <a:r>
              <a:rPr lang="en-US"/>
              <a:t>Click to edit Customize bar title</a:t>
            </a:r>
          </a:p>
        </p:txBody>
      </p:sp>
      <p:cxnSp>
        <p:nvCxnSpPr>
          <p:cNvPr id="8" name="Straight Connector 7">
            <a:extLst>
              <a:ext uri="{FF2B5EF4-FFF2-40B4-BE49-F238E27FC236}">
                <a16:creationId xmlns:a16="http://schemas.microsoft.com/office/drawing/2014/main" id="{24B68638-B34B-5F45-AC36-F23761087066}"/>
              </a:ext>
            </a:extLst>
          </p:cNvPr>
          <p:cNvCxnSpPr>
            <a:cxnSpLocks/>
          </p:cNvCxnSpPr>
          <p:nvPr userDrawn="1"/>
        </p:nvCxnSpPr>
        <p:spPr>
          <a:xfrm>
            <a:off x="8128000" y="1804800"/>
            <a:ext cx="0" cy="4468800"/>
          </a:xfrm>
          <a:prstGeom prst="line">
            <a:avLst/>
          </a:prstGeom>
          <a:ln w="6350">
            <a:solidFill>
              <a:schemeClr val="bg1">
                <a:lumMod val="40000"/>
                <a:lumOff val="6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9" name="Text Placeholder 5">
            <a:extLst>
              <a:ext uri="{FF2B5EF4-FFF2-40B4-BE49-F238E27FC236}">
                <a16:creationId xmlns:a16="http://schemas.microsoft.com/office/drawing/2014/main" id="{BC06EDDB-6FAC-4945-8E41-D8BCF8F32C9A}"/>
              </a:ext>
            </a:extLst>
          </p:cNvPr>
          <p:cNvSpPr>
            <a:spLocks noGrp="1"/>
          </p:cNvSpPr>
          <p:nvPr>
            <p:ph type="body" sz="quarter" idx="16" hasCustomPrompt="1"/>
          </p:nvPr>
        </p:nvSpPr>
        <p:spPr>
          <a:xfrm>
            <a:off x="8432802" y="1718388"/>
            <a:ext cx="3039172" cy="345600"/>
          </a:xfrm>
        </p:spPr>
        <p:txBody>
          <a:bodyPr lIns="0" tIns="0" rIns="0" bIns="0" anchor="ctr" anchorCtr="0">
            <a:normAutofit/>
          </a:bodyPr>
          <a:lstStyle>
            <a:lvl1pPr marL="257032" marR="0" indent="-257032" algn="l" defTabSz="342709" rtl="0" eaLnBrk="1" fontAlgn="auto" latinLnBrk="0" hangingPunct="1">
              <a:lnSpc>
                <a:spcPts val="1799"/>
              </a:lnSpc>
              <a:spcBef>
                <a:spcPts val="0"/>
              </a:spcBef>
              <a:spcAft>
                <a:spcPts val="300"/>
              </a:spcAft>
              <a:buClr>
                <a:schemeClr val="accent5"/>
              </a:buClr>
              <a:buSzTx/>
              <a:buFont typeface="Arial"/>
              <a:buNone/>
              <a:tabLst/>
              <a:defRPr sz="1893" baseline="0">
                <a:solidFill>
                  <a:srgbClr val="B2B2B2"/>
                </a:solidFill>
                <a:latin typeface="Roboto Regular" charset="0"/>
              </a:defRPr>
            </a:lvl1pPr>
          </a:lstStyle>
          <a:p>
            <a:pPr marL="257032" marR="0" lvl="0" indent="-257032" algn="l" defTabSz="342709" rtl="0" eaLnBrk="1" fontAlgn="auto" latinLnBrk="0" hangingPunct="1">
              <a:lnSpc>
                <a:spcPts val="1799"/>
              </a:lnSpc>
              <a:spcBef>
                <a:spcPts val="0"/>
              </a:spcBef>
              <a:spcAft>
                <a:spcPts val="300"/>
              </a:spcAft>
              <a:buClr>
                <a:schemeClr val="accent5"/>
              </a:buClr>
              <a:buSzTx/>
              <a:buFont typeface="Arial"/>
              <a:buNone/>
              <a:tabLst/>
              <a:defRPr/>
            </a:pPr>
            <a:r>
              <a:rPr lang="en-US"/>
              <a:t>Click to edit Iris title</a:t>
            </a:r>
          </a:p>
        </p:txBody>
      </p:sp>
      <p:sp>
        <p:nvSpPr>
          <p:cNvPr id="11" name="Text Placeholder 10">
            <a:extLst>
              <a:ext uri="{FF2B5EF4-FFF2-40B4-BE49-F238E27FC236}">
                <a16:creationId xmlns:a16="http://schemas.microsoft.com/office/drawing/2014/main" id="{6907EC9A-D4D7-D148-BB47-C6E014C4AC02}"/>
              </a:ext>
            </a:extLst>
          </p:cNvPr>
          <p:cNvSpPr>
            <a:spLocks noGrp="1"/>
          </p:cNvSpPr>
          <p:nvPr>
            <p:ph type="body" sz="quarter" idx="17" hasCustomPrompt="1"/>
          </p:nvPr>
        </p:nvSpPr>
        <p:spPr>
          <a:xfrm>
            <a:off x="8432802" y="2400299"/>
            <a:ext cx="3038884" cy="3771901"/>
          </a:xfrm>
        </p:spPr>
        <p:txBody>
          <a:bodyPr/>
          <a:lstStyle/>
          <a:p>
            <a:pPr lvl="0"/>
            <a:r>
              <a:rPr lang="en-US"/>
              <a:t>Click to edit Iris data</a:t>
            </a:r>
          </a:p>
        </p:txBody>
      </p:sp>
    </p:spTree>
    <p:extLst>
      <p:ext uri="{BB962C8B-B14F-4D97-AF65-F5344CB8AC3E}">
        <p14:creationId xmlns:p14="http://schemas.microsoft.com/office/powerpoint/2010/main" val="21052441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PhAnim="0" userDrawn="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EFDBD-92DA-8013-FB65-C32B49CB1EF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01875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PhAnim="0" preserve="1" userDrawn="1">
  <p:cSld name="Title and bullet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228600" indent="-228600">
              <a:lnSpc>
                <a:spcPct val="100000"/>
              </a:lnSpc>
              <a:spcAft>
                <a:spcPts val="600"/>
              </a:spcAft>
              <a:buClr>
                <a:schemeClr val="accent4"/>
              </a:buClr>
              <a:buSzPct val="110000"/>
              <a:buFont typeface="Wingdings" panose="05000000000000000000" pitchFamily="2" charset="2"/>
              <a:buChar char="§"/>
              <a:defRPr sz="1400" i="0">
                <a:solidFill>
                  <a:schemeClr val="tx1"/>
                </a:solidFill>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lnSpc>
                <a:spcPct val="100000"/>
              </a:lnSpc>
              <a:spcAft>
                <a:spcPts val="600"/>
              </a:spcAft>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501291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a:p>
            <a:pPr lvl="1"/>
            <a:r>
              <a:rPr lang="es-CO" err="1"/>
              <a:t>Second</a:t>
            </a:r>
            <a:r>
              <a:rPr lang="es-CO"/>
              <a:t> </a:t>
            </a:r>
            <a:r>
              <a:rPr lang="es-CO" err="1"/>
              <a:t>level</a:t>
            </a:r>
            <a:endParaRPr lang="es-CO"/>
          </a:p>
          <a:p>
            <a:pPr lvl="2"/>
            <a:r>
              <a:rPr lang="es-CO" err="1"/>
              <a:t>Third</a:t>
            </a:r>
            <a:r>
              <a:rPr lang="es-CO"/>
              <a:t> </a:t>
            </a:r>
            <a:r>
              <a:rPr lang="es-CO" err="1"/>
              <a:t>level</a:t>
            </a:r>
            <a:endParaRPr lang="es-CO"/>
          </a:p>
          <a:p>
            <a:pPr lvl="3"/>
            <a:endParaRPr lang="es-CO"/>
          </a:p>
        </p:txBody>
      </p:sp>
      <p:sp>
        <p:nvSpPr>
          <p:cNvPr id="7" name="Text Placeholder 6">
            <a:extLst>
              <a:ext uri="{FF2B5EF4-FFF2-40B4-BE49-F238E27FC236}">
                <a16:creationId xmlns:a16="http://schemas.microsoft.com/office/drawing/2014/main" id="{69EFA15F-D8F6-3D36-F5E7-6F1B91884CC6}"/>
              </a:ext>
            </a:extLst>
          </p:cNvPr>
          <p:cNvSpPr>
            <a:spLocks noGrp="1"/>
          </p:cNvSpPr>
          <p:nvPr>
            <p:ph type="body" sz="quarter" idx="10" hasCustomPrompt="1"/>
          </p:nvPr>
        </p:nvSpPr>
        <p:spPr>
          <a:xfrm>
            <a:off x="154693" y="6317673"/>
            <a:ext cx="10079197" cy="521855"/>
          </a:xfrm>
          <a:prstGeom prst="rect">
            <a:avLst/>
          </a:prstGeom>
          <a:ln>
            <a:noFill/>
          </a:ln>
        </p:spPr>
        <p:txBody>
          <a:bodyPr anchor="ct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54693" y="1393825"/>
            <a:ext cx="8914662" cy="4783138"/>
          </a:xfrm>
          <a:prstGeom prst="rect">
            <a:avLst/>
          </a:prstGeom>
        </p:spPr>
        <p:txBody>
          <a:bodyPr/>
          <a:lstStyle/>
          <a:p>
            <a:r>
              <a:rPr lang="es-MX"/>
              <a:t>Haz clic en el icono para agregar una imagen</a:t>
            </a:r>
            <a:endParaRPr lang="es-CO"/>
          </a:p>
        </p:txBody>
      </p:sp>
    </p:spTree>
    <p:extLst>
      <p:ext uri="{BB962C8B-B14F-4D97-AF65-F5344CB8AC3E}">
        <p14:creationId xmlns:p14="http://schemas.microsoft.com/office/powerpoint/2010/main" val="30965450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PhAnim="0" preserve="1" userDrawn="1">
  <p:cSld name="1_Title and numbers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112742" y="1393371"/>
            <a:ext cx="10774458"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err="1"/>
              <a:t>lThirdevel</a:t>
            </a:r>
            <a:endParaRPr lang="en-US"/>
          </a:p>
          <a:p>
            <a:pPr lvl="3"/>
            <a:endParaRPr lang="en-US"/>
          </a:p>
        </p:txBody>
      </p:sp>
    </p:spTree>
    <p:extLst>
      <p:ext uri="{BB962C8B-B14F-4D97-AF65-F5344CB8AC3E}">
        <p14:creationId xmlns:p14="http://schemas.microsoft.com/office/powerpoint/2010/main" val="15337818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PhAnim="0" preserve="1" userDrawn="1">
  <p:cSld name="3. Image and go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4086808" y="1393371"/>
            <a:ext cx="7800392"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2" y="1393825"/>
            <a:ext cx="2806114" cy="4783138"/>
          </a:xfrm>
          <a:prstGeom prst="rect">
            <a:avLst/>
          </a:prstGeom>
        </p:spPr>
        <p:txBody>
          <a:bodyPr/>
          <a:lstStyle/>
          <a:p>
            <a:endParaRPr lang="es-CO"/>
          </a:p>
        </p:txBody>
      </p:sp>
    </p:spTree>
    <p:extLst>
      <p:ext uri="{BB962C8B-B14F-4D97-AF65-F5344CB8AC3E}">
        <p14:creationId xmlns:p14="http://schemas.microsoft.com/office/powerpoint/2010/main" val="27104512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PhAnim="0" preserve="1" userDrawn="1">
  <p:cSld name="Calend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9209314" y="1393371"/>
            <a:ext cx="2677886" cy="4783592"/>
          </a:xfrm>
          <a:prstGeom prst="rect">
            <a:avLst/>
          </a:prstGeom>
        </p:spPr>
        <p:txBody>
          <a:bodyPr>
            <a:normAutofit/>
          </a:bodyPr>
          <a:lstStyle>
            <a:lvl1pPr marL="176213" indent="-176213">
              <a:lnSpc>
                <a:spcPct val="100000"/>
              </a:lnSpc>
              <a:spcBef>
                <a:spcPts val="0"/>
              </a:spcBef>
              <a:spcAft>
                <a:spcPts val="600"/>
              </a:spcAft>
              <a:buClr>
                <a:schemeClr val="accent4"/>
              </a:buClr>
              <a:buSzPct val="100000"/>
              <a:buFont typeface="+mj-lt"/>
              <a:buAutoNum type="arabicPeriod"/>
              <a:defRPr sz="1200" b="0" i="0">
                <a:solidFill>
                  <a:schemeClr val="tx1"/>
                </a:solidFill>
                <a:latin typeface="+mj-lt"/>
              </a:defRPr>
            </a:lvl1pPr>
            <a:lvl2pPr marL="800100" indent="-342900">
              <a:lnSpc>
                <a:spcPct val="100000"/>
              </a:lnSpc>
              <a:spcBef>
                <a:spcPts val="0"/>
              </a:spcBef>
              <a:spcAft>
                <a:spcPts val="600"/>
              </a:spcAft>
              <a:buClr>
                <a:schemeClr val="accent4"/>
              </a:buClr>
              <a:buSzPct val="100000"/>
              <a:buFont typeface="+mj-lt"/>
              <a:buAutoNum type="alphaLcPeriod"/>
              <a:defRPr sz="1200" b="0">
                <a:solidFill>
                  <a:schemeClr val="tx1"/>
                </a:solidFill>
                <a:latin typeface="+mj-lt"/>
              </a:defRPr>
            </a:lvl2pPr>
            <a:lvl3pPr marL="1257300" indent="-342900">
              <a:lnSpc>
                <a:spcPct val="100000"/>
              </a:lnSpc>
              <a:spcBef>
                <a:spcPts val="0"/>
              </a:spcBef>
              <a:spcAft>
                <a:spcPts val="600"/>
              </a:spcAft>
              <a:buClr>
                <a:schemeClr val="accent4"/>
              </a:buClr>
              <a:buSzPct val="100000"/>
              <a:buFont typeface="+mj-lt"/>
              <a:buAutoNum type="romanLcPeriod"/>
              <a:defRPr sz="1200" b="0">
                <a:solidFill>
                  <a:schemeClr val="tx1"/>
                </a:solidFill>
                <a:latin typeface="+mj-lt"/>
              </a:defRPr>
            </a:lvl3pPr>
            <a:lvl4pPr marL="1714500" indent="-342900">
              <a:lnSpc>
                <a:spcPct val="100000"/>
              </a:lnSpc>
              <a:spcAft>
                <a:spcPts val="600"/>
              </a:spcAft>
              <a:buFont typeface="+mj-lt"/>
              <a:buAutoNum type="arabicPeriod"/>
              <a:defRPr sz="1200" b="0">
                <a:solidFill>
                  <a:schemeClr val="tx1"/>
                </a:solidFill>
                <a:latin typeface="+mj-lt"/>
              </a:defRPr>
            </a:lvl4pPr>
          </a:lstStyle>
          <a:p>
            <a:pPr lvl="0"/>
            <a:r>
              <a:rPr lang="en-US"/>
              <a:t>Click to edit Master text styles</a:t>
            </a:r>
          </a:p>
          <a:p>
            <a:pPr lvl="1"/>
            <a:r>
              <a:rPr lang="en-US"/>
              <a:t>Second level</a:t>
            </a:r>
          </a:p>
          <a:p>
            <a:pPr lvl="2"/>
            <a:r>
              <a:rPr lang="en-US"/>
              <a:t>Third level</a:t>
            </a:r>
          </a:p>
          <a:p>
            <a:pPr lvl="3"/>
            <a:endParaRPr lang="en-US"/>
          </a:p>
        </p:txBody>
      </p:sp>
      <p:sp>
        <p:nvSpPr>
          <p:cNvPr id="4" name="Picture Placeholder 3">
            <a:extLst>
              <a:ext uri="{FF2B5EF4-FFF2-40B4-BE49-F238E27FC236}">
                <a16:creationId xmlns:a16="http://schemas.microsoft.com/office/drawing/2014/main" id="{90B7B01C-C86E-4F0B-9DB4-6754AC7D9DC0}"/>
              </a:ext>
            </a:extLst>
          </p:cNvPr>
          <p:cNvSpPr>
            <a:spLocks noGrp="1"/>
          </p:cNvSpPr>
          <p:nvPr>
            <p:ph type="pic" sz="quarter" idx="11"/>
          </p:nvPr>
        </p:nvSpPr>
        <p:spPr>
          <a:xfrm>
            <a:off x="1112741" y="1393825"/>
            <a:ext cx="7956613" cy="4783138"/>
          </a:xfrm>
          <a:prstGeom prst="rect">
            <a:avLst/>
          </a:prstGeom>
        </p:spPr>
        <p:txBody>
          <a:bodyPr/>
          <a:lstStyle/>
          <a:p>
            <a:endParaRPr lang="es-CO"/>
          </a:p>
        </p:txBody>
      </p:sp>
    </p:spTree>
    <p:extLst>
      <p:ext uri="{BB962C8B-B14F-4D97-AF65-F5344CB8AC3E}">
        <p14:creationId xmlns:p14="http://schemas.microsoft.com/office/powerpoint/2010/main" val="21558624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PhAnim="0" preserve="1" userDrawn="1">
  <p:cSld name="Proposal condi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p:txBody>
          <a:bodyPr anchor="ctr"/>
          <a:lstStyle/>
          <a:p>
            <a:r>
              <a:rPr lang="en-US"/>
              <a:t>Click to edit Master title style</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6212052" y="1393371"/>
            <a:ext cx="5675147" cy="4783592"/>
          </a:xfrm>
          <a:prstGeom prst="rect">
            <a:avLst/>
          </a:prstGeom>
        </p:spPr>
        <p:txBody>
          <a:bodyPr/>
          <a:lstStyle>
            <a:lvl1pPr marL="176213" indent="-176213">
              <a:lnSpc>
                <a:spcPct val="100000"/>
              </a:lnSpc>
              <a:spcBef>
                <a:spcPts val="0"/>
              </a:spcBef>
              <a:spcAft>
                <a:spcPts val="600"/>
              </a:spcAft>
              <a:buClr>
                <a:schemeClr val="accent4"/>
              </a:buClr>
              <a:buSzPct val="100000"/>
              <a:buFont typeface="+mj-lt"/>
              <a:buAutoNum type="arabicPeriod"/>
              <a:defRPr sz="1400" b="1" i="0">
                <a:solidFill>
                  <a:schemeClr val="tx1"/>
                </a:solidFill>
              </a:defRPr>
            </a:lvl1pPr>
            <a:lvl2pPr marL="800100" indent="-342900">
              <a:lnSpc>
                <a:spcPct val="100000"/>
              </a:lnSpc>
              <a:spcBef>
                <a:spcPts val="0"/>
              </a:spcBef>
              <a:spcAft>
                <a:spcPts val="600"/>
              </a:spcAft>
              <a:buClr>
                <a:schemeClr val="accent4"/>
              </a:buClr>
              <a:buSzPct val="100000"/>
              <a:buFont typeface="+mj-lt"/>
              <a:buAutoNum type="alphaLcPeriod"/>
              <a:defRPr sz="1400">
                <a:solidFill>
                  <a:schemeClr val="tx1"/>
                </a:solidFill>
                <a:latin typeface="Poppins" panose="00000500000000000000" pitchFamily="2" charset="0"/>
              </a:defRPr>
            </a:lvl2pPr>
            <a:lvl3pPr marL="1257300" indent="-342900">
              <a:lnSpc>
                <a:spcPct val="100000"/>
              </a:lnSpc>
              <a:spcBef>
                <a:spcPts val="0"/>
              </a:spcBef>
              <a:spcAft>
                <a:spcPts val="600"/>
              </a:spcAft>
              <a:buClr>
                <a:schemeClr val="accent4"/>
              </a:buClr>
              <a:buSzPct val="100000"/>
              <a:buFont typeface="+mj-lt"/>
              <a:buAutoNum type="romanLcPeriod"/>
              <a:defRPr sz="1400">
                <a:solidFill>
                  <a:schemeClr val="tx1"/>
                </a:solidFill>
                <a:latin typeface="Poppins" panose="00000500000000000000" pitchFamily="2" charset="0"/>
              </a:defRPr>
            </a:lvl3pPr>
            <a:lvl4pPr marL="1714500" indent="-342900">
              <a:lnSpc>
                <a:spcPct val="100000"/>
              </a:lnSpc>
              <a:spcAft>
                <a:spcPts val="600"/>
              </a:spcAft>
              <a:buFont typeface="+mj-lt"/>
              <a:buAutoNum type="arabicPeriod"/>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pic>
        <p:nvPicPr>
          <p:cNvPr id="4" name="Picture 3" descr="Business handshake">
            <a:extLst>
              <a:ext uri="{FF2B5EF4-FFF2-40B4-BE49-F238E27FC236}">
                <a16:creationId xmlns:a16="http://schemas.microsoft.com/office/drawing/2014/main" id="{48615E60-3881-B76B-965A-6C9CDA27E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742" y="1393371"/>
            <a:ext cx="4087421" cy="2724282"/>
          </a:xfrm>
          <a:prstGeom prst="rect">
            <a:avLst/>
          </a:prstGeom>
        </p:spPr>
      </p:pic>
    </p:spTree>
    <p:extLst>
      <p:ext uri="{BB962C8B-B14F-4D97-AF65-F5344CB8AC3E}">
        <p14:creationId xmlns:p14="http://schemas.microsoft.com/office/powerpoint/2010/main" val="385790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5214524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90911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440323" y="572118"/>
            <a:ext cx="2463994" cy="1325563"/>
          </a:xfrm>
        </p:spPr>
        <p:txBody>
          <a:bodyPr>
            <a:normAutofit/>
          </a:bodyPr>
          <a:lstStyle>
            <a:lvl1pPr>
              <a:defRPr sz="2200" b="1">
                <a:solidFill>
                  <a:schemeClr val="tx1">
                    <a:lumMod val="75000"/>
                  </a:schemeClr>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20917325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4297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Bullets footnote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7248AC-B1E6-4AF5-BEB0-DAEC85305A72}"/>
              </a:ext>
            </a:extLst>
          </p:cNvPr>
          <p:cNvSpPr>
            <a:spLocks noGrp="1"/>
          </p:cNvSpPr>
          <p:nvPr>
            <p:ph idx="1" hasCustomPrompt="1"/>
          </p:nvPr>
        </p:nvSpPr>
        <p:spPr>
          <a:xfrm>
            <a:off x="1172095" y="1143992"/>
            <a:ext cx="10715106" cy="5145972"/>
          </a:xfrm>
          <a:prstGeom prst="rect">
            <a:avLst/>
          </a:prstGeom>
        </p:spPr>
        <p:txBody>
          <a:bodyPr/>
          <a:lstStyle>
            <a:lvl1pPr marL="228600" indent="-228600">
              <a:buClr>
                <a:schemeClr val="accent4"/>
              </a:buClr>
              <a:buSzPct val="110000"/>
              <a:buFont typeface="Wingdings" panose="05000000000000000000" pitchFamily="2" charset="2"/>
              <a:buChar char="§"/>
              <a:defRPr sz="1400" i="0">
                <a:solidFill>
                  <a:schemeClr val="tx1"/>
                </a:solidFill>
              </a:defRPr>
            </a:lvl1pPr>
            <a:lvl2pPr marL="685800" indent="-228600">
              <a:buClr>
                <a:schemeClr val="accent4"/>
              </a:buClr>
              <a:buSzPct val="120000"/>
              <a:buFont typeface="Poppins Light" panose="00000400000000000000" pitchFamily="2" charset="0"/>
              <a:buChar char="–"/>
              <a:defRPr sz="1400">
                <a:solidFill>
                  <a:schemeClr val="tx1"/>
                </a:solidFill>
                <a:latin typeface="Poppins" panose="00000500000000000000" pitchFamily="2" charset="0"/>
              </a:defRPr>
            </a:lvl2pPr>
            <a:lvl3pPr marL="1143000" indent="-228600">
              <a:buClr>
                <a:schemeClr val="accent4"/>
              </a:buClr>
              <a:buSzPct val="110000"/>
              <a:buFont typeface="Poppins Light" panose="00000400000000000000" pitchFamily="2" charset="0"/>
              <a:buChar char="॰"/>
              <a:defRPr sz="1400">
                <a:solidFill>
                  <a:schemeClr val="tx1"/>
                </a:solidFill>
                <a:latin typeface="Poppins" panose="00000500000000000000" pitchFamily="2" charset="0"/>
              </a:defRPr>
            </a:lvl3pPr>
            <a:lvl4pPr marL="1371600" indent="0">
              <a:buNone/>
              <a:defRPr sz="1400">
                <a:solidFill>
                  <a:schemeClr val="tx1"/>
                </a:solidFill>
                <a:latin typeface="Poppins" panose="00000500000000000000" pitchFamily="2" charset="0"/>
              </a:defRPr>
            </a:lvl4pPr>
          </a:lstStyle>
          <a:p>
            <a:pPr lvl="0"/>
            <a:r>
              <a:rPr lang="en-US"/>
              <a:t>Click to edit Master text styles</a:t>
            </a:r>
          </a:p>
          <a:p>
            <a:pPr lvl="1"/>
            <a:r>
              <a:rPr lang="en-US"/>
              <a:t>Second level</a:t>
            </a:r>
          </a:p>
          <a:p>
            <a:pPr lvl="2"/>
            <a:r>
              <a:rPr lang="en-US"/>
              <a:t>Third level</a:t>
            </a:r>
          </a:p>
          <a:p>
            <a:pPr lvl="3"/>
            <a:endParaRPr lang="en-US"/>
          </a:p>
        </p:txBody>
      </p:sp>
      <p:sp>
        <p:nvSpPr>
          <p:cNvPr id="10" name="Title 1">
            <a:extLst>
              <a:ext uri="{FF2B5EF4-FFF2-40B4-BE49-F238E27FC236}">
                <a16:creationId xmlns:a16="http://schemas.microsoft.com/office/drawing/2014/main" id="{7D1F879D-2D23-F972-D30B-A7A6E2D054B2}"/>
              </a:ext>
            </a:extLst>
          </p:cNvPr>
          <p:cNvSpPr>
            <a:spLocks noGrp="1"/>
          </p:cNvSpPr>
          <p:nvPr>
            <p:ph type="title" hasCustomPrompt="1"/>
          </p:nvPr>
        </p:nvSpPr>
        <p:spPr>
          <a:xfrm>
            <a:off x="1172094" y="78619"/>
            <a:ext cx="10715106" cy="798836"/>
          </a:xfrm>
        </p:spPr>
        <p:txBody>
          <a:bodyPr/>
          <a:lstStyle/>
          <a:p>
            <a:r>
              <a:rPr lang="en-US"/>
              <a:t>Click to edit Master title style</a:t>
            </a:r>
          </a:p>
        </p:txBody>
      </p:sp>
    </p:spTree>
    <p:extLst>
      <p:ext uri="{BB962C8B-B14F-4D97-AF65-F5344CB8AC3E}">
        <p14:creationId xmlns:p14="http://schemas.microsoft.com/office/powerpoint/2010/main" val="25668288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6231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38" name="Shape 2"/>
          <p:cNvSpPr/>
          <p:nvPr userDrawn="1"/>
        </p:nvSpPr>
        <p:spPr>
          <a:xfrm>
            <a:off x="0" y="1400997"/>
            <a:ext cx="12192000" cy="5467350"/>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92027">
              <a:defRPr sz="4000">
                <a:solidFill>
                  <a:srgbClr val="FFFFFF"/>
                </a:solidFill>
                <a:effectLst>
                  <a:outerShdw blurRad="38100" dist="12700" dir="5400000" rotWithShape="0">
                    <a:srgbClr val="000000">
                      <a:alpha val="50000"/>
                    </a:srgbClr>
                  </a:outerShdw>
                </a:effectLst>
              </a:defRPr>
            </a:pPr>
            <a:endParaRPr sz="2000"/>
          </a:p>
        </p:txBody>
      </p:sp>
    </p:spTree>
    <p:extLst>
      <p:ext uri="{BB962C8B-B14F-4D97-AF65-F5344CB8AC3E}">
        <p14:creationId xmlns:p14="http://schemas.microsoft.com/office/powerpoint/2010/main" val="4114251519"/>
      </p:ext>
    </p:extLst>
  </p:cSld>
  <p:clrMapOvr>
    <a:masterClrMapping/>
  </p:clrMapOvr>
  <p:transition spd="slow" advTm="2000">
    <p:cover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preserve="1">
  <p:cSld name="Project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359A-65A3-D92C-B159-D20E6631EB44}"/>
              </a:ext>
            </a:extLst>
          </p:cNvPr>
          <p:cNvSpPr>
            <a:spLocks noGrp="1"/>
          </p:cNvSpPr>
          <p:nvPr>
            <p:ph type="title" hasCustomPrompt="1"/>
          </p:nvPr>
        </p:nvSpPr>
        <p:spPr>
          <a:xfrm>
            <a:off x="154694" y="78619"/>
            <a:ext cx="11732506" cy="798836"/>
          </a:xfrm>
          <a:prstGeom prst="rect">
            <a:avLst/>
          </a:prstGeom>
        </p:spPr>
        <p:txBody>
          <a:bodyPr anchor="ctr"/>
          <a:lstStyle/>
          <a:p>
            <a:r>
              <a:rPr lang="es-CO"/>
              <a:t>Click </a:t>
            </a:r>
            <a:r>
              <a:rPr lang="es-CO" err="1"/>
              <a:t>to</a:t>
            </a:r>
            <a:r>
              <a:rPr lang="es-CO"/>
              <a:t> </a:t>
            </a:r>
            <a:r>
              <a:rPr lang="es-CO" err="1"/>
              <a:t>edit</a:t>
            </a:r>
            <a:r>
              <a:rPr lang="es-CO"/>
              <a:t> Master </a:t>
            </a:r>
            <a:r>
              <a:rPr lang="es-CO" err="1"/>
              <a:t>title</a:t>
            </a:r>
            <a:r>
              <a:rPr lang="es-CO"/>
              <a:t> </a:t>
            </a:r>
            <a:r>
              <a:rPr lang="es-CO" err="1"/>
              <a:t>style</a:t>
            </a:r>
            <a:endParaRPr lang="es-CO"/>
          </a:p>
        </p:txBody>
      </p:sp>
      <p:sp>
        <p:nvSpPr>
          <p:cNvPr id="4" name="Rectángulo 27">
            <a:extLst>
              <a:ext uri="{FF2B5EF4-FFF2-40B4-BE49-F238E27FC236}">
                <a16:creationId xmlns:a16="http://schemas.microsoft.com/office/drawing/2014/main" id="{B17E4127-CD01-D06A-92B8-BD6B3A3FFC1A}"/>
              </a:ext>
            </a:extLst>
          </p:cNvPr>
          <p:cNvSpPr>
            <a:spLocks noChangeArrowheads="1"/>
          </p:cNvSpPr>
          <p:nvPr/>
        </p:nvSpPr>
        <p:spPr bwMode="auto">
          <a:xfrm>
            <a:off x="145362" y="2400426"/>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err="1">
                <a:solidFill>
                  <a:srgbClr val="FFFFFF"/>
                </a:solidFill>
                <a:latin typeface="+mj-lt"/>
              </a:rPr>
              <a:t>Steering</a:t>
            </a:r>
            <a:r>
              <a:rPr lang="es-CO" sz="1300" b="1">
                <a:solidFill>
                  <a:srgbClr val="FFFFFF"/>
                </a:solidFill>
                <a:latin typeface="+mj-lt"/>
              </a:rPr>
              <a:t> </a:t>
            </a:r>
            <a:r>
              <a:rPr lang="es-CO" sz="1300" b="1" err="1">
                <a:solidFill>
                  <a:srgbClr val="FFFFFF"/>
                </a:solidFill>
                <a:latin typeface="+mj-lt"/>
              </a:rPr>
              <a:t>Committee</a:t>
            </a:r>
            <a:endParaRPr lang="es-CO" sz="1300" b="1">
              <a:solidFill>
                <a:srgbClr val="FFFFFF"/>
              </a:solidFill>
              <a:latin typeface="+mj-lt"/>
            </a:endParaRPr>
          </a:p>
        </p:txBody>
      </p:sp>
      <p:sp>
        <p:nvSpPr>
          <p:cNvPr id="6" name="Rectángulo 28">
            <a:extLst>
              <a:ext uri="{FF2B5EF4-FFF2-40B4-BE49-F238E27FC236}">
                <a16:creationId xmlns:a16="http://schemas.microsoft.com/office/drawing/2014/main" id="{BC711A13-D708-5C97-A1DD-00D019649DE9}"/>
              </a:ext>
            </a:extLst>
          </p:cNvPr>
          <p:cNvSpPr>
            <a:spLocks noChangeArrowheads="1"/>
          </p:cNvSpPr>
          <p:nvPr/>
        </p:nvSpPr>
        <p:spPr bwMode="auto">
          <a:xfrm>
            <a:off x="145362" y="4950583"/>
            <a:ext cx="1691640" cy="1818184"/>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ject </a:t>
            </a:r>
            <a:r>
              <a:rPr lang="es-CO" sz="1300" b="1" err="1">
                <a:solidFill>
                  <a:srgbClr val="FFFFFF"/>
                </a:solidFill>
                <a:latin typeface="+mj-lt"/>
              </a:rPr>
              <a:t>Team</a:t>
            </a:r>
            <a:endParaRPr lang="es-CO" sz="1300" b="1">
              <a:solidFill>
                <a:srgbClr val="FFFFFF"/>
              </a:solidFill>
              <a:latin typeface="+mj-lt"/>
            </a:endParaRPr>
          </a:p>
        </p:txBody>
      </p:sp>
      <p:sp>
        <p:nvSpPr>
          <p:cNvPr id="8" name="Rectángulo 29">
            <a:extLst>
              <a:ext uri="{FF2B5EF4-FFF2-40B4-BE49-F238E27FC236}">
                <a16:creationId xmlns:a16="http://schemas.microsoft.com/office/drawing/2014/main" id="{0A01EC68-7C6F-BDDA-3AA4-1AE18EC901A7}"/>
              </a:ext>
            </a:extLst>
          </p:cNvPr>
          <p:cNvSpPr>
            <a:spLocks noChangeArrowheads="1"/>
          </p:cNvSpPr>
          <p:nvPr/>
        </p:nvSpPr>
        <p:spPr bwMode="auto">
          <a:xfrm>
            <a:off x="145362" y="3685027"/>
            <a:ext cx="1691640" cy="1188720"/>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Project Management</a:t>
            </a:r>
          </a:p>
        </p:txBody>
      </p:sp>
      <p:sp>
        <p:nvSpPr>
          <p:cNvPr id="9" name="Rectángulo 27">
            <a:extLst>
              <a:ext uri="{FF2B5EF4-FFF2-40B4-BE49-F238E27FC236}">
                <a16:creationId xmlns:a16="http://schemas.microsoft.com/office/drawing/2014/main" id="{BA237E21-852F-647D-729B-CF3727C96800}"/>
              </a:ext>
            </a:extLst>
          </p:cNvPr>
          <p:cNvSpPr>
            <a:spLocks noChangeArrowheads="1"/>
          </p:cNvSpPr>
          <p:nvPr/>
        </p:nvSpPr>
        <p:spPr bwMode="auto">
          <a:xfrm>
            <a:off x="145362" y="1557947"/>
            <a:ext cx="1691640" cy="694102"/>
          </a:xfrm>
          <a:prstGeom prst="rect">
            <a:avLst/>
          </a:prstGeom>
          <a:solidFill>
            <a:srgbClr val="9582FF"/>
          </a:solidFill>
          <a:ln w="9525">
            <a:solidFill>
              <a:srgbClr val="777DF9"/>
            </a:solidFill>
            <a:miter lim="800000"/>
            <a:headEnd/>
            <a:tailEnd/>
          </a:ln>
          <a:effectLst/>
        </p:spPr>
        <p:txBody>
          <a:bodyPr lIns="91340" tIns="45671" rIns="91340" bIns="45671" anchor="ctr"/>
          <a:lstStyle/>
          <a:p>
            <a:pPr algn="ctr"/>
            <a:r>
              <a:rPr lang="es-CO" sz="1300" b="1">
                <a:solidFill>
                  <a:srgbClr val="FFFFFF"/>
                </a:solidFill>
                <a:latin typeface="+mj-lt"/>
              </a:rPr>
              <a:t>Sponsors</a:t>
            </a:r>
          </a:p>
        </p:txBody>
      </p:sp>
      <p:cxnSp>
        <p:nvCxnSpPr>
          <p:cNvPr id="10" name="Straight Connector 32">
            <a:extLst>
              <a:ext uri="{FF2B5EF4-FFF2-40B4-BE49-F238E27FC236}">
                <a16:creationId xmlns:a16="http://schemas.microsoft.com/office/drawing/2014/main" id="{1FA3E036-BD6E-8A2E-613B-6AC615248460}"/>
              </a:ext>
            </a:extLst>
          </p:cNvPr>
          <p:cNvCxnSpPr>
            <a:cxnSpLocks/>
          </p:cNvCxnSpPr>
          <p:nvPr/>
        </p:nvCxnSpPr>
        <p:spPr>
          <a:xfrm>
            <a:off x="145362" y="232663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32">
            <a:extLst>
              <a:ext uri="{FF2B5EF4-FFF2-40B4-BE49-F238E27FC236}">
                <a16:creationId xmlns:a16="http://schemas.microsoft.com/office/drawing/2014/main" id="{775A324F-C430-BB4B-6CCE-B6698DB05669}"/>
              </a:ext>
            </a:extLst>
          </p:cNvPr>
          <p:cNvCxnSpPr>
            <a:cxnSpLocks/>
          </p:cNvCxnSpPr>
          <p:nvPr/>
        </p:nvCxnSpPr>
        <p:spPr>
          <a:xfrm>
            <a:off x="145362" y="3635467"/>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32">
            <a:extLst>
              <a:ext uri="{FF2B5EF4-FFF2-40B4-BE49-F238E27FC236}">
                <a16:creationId xmlns:a16="http://schemas.microsoft.com/office/drawing/2014/main" id="{2B13274A-FE0F-6AE3-C1FA-05AEA45660F0}"/>
              </a:ext>
            </a:extLst>
          </p:cNvPr>
          <p:cNvCxnSpPr>
            <a:cxnSpLocks/>
          </p:cNvCxnSpPr>
          <p:nvPr/>
        </p:nvCxnSpPr>
        <p:spPr>
          <a:xfrm>
            <a:off x="145362" y="4916871"/>
            <a:ext cx="1192327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3" name="Imagen 9" descr="Imagen que contiene Icono&#10;&#10;Descripción generada automáticamente">
            <a:extLst>
              <a:ext uri="{FF2B5EF4-FFF2-40B4-BE49-F238E27FC236}">
                <a16:creationId xmlns:a16="http://schemas.microsoft.com/office/drawing/2014/main" id="{C68E9A4E-87F8-008D-0EE5-4D4819867CF0}"/>
              </a:ext>
            </a:extLst>
          </p:cNvPr>
          <p:cNvPicPr>
            <a:picLocks noChangeAspect="1"/>
          </p:cNvPicPr>
          <p:nvPr/>
        </p:nvPicPr>
        <p:blipFill>
          <a:blip r:embed="rId2" cstate="print">
            <a:duotone>
              <a:prstClr val="black"/>
              <a:srgbClr val="D9C3A5">
                <a:tint val="50000"/>
                <a:satMod val="180000"/>
              </a:srgbClr>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3112498" y="1197040"/>
            <a:ext cx="738596" cy="227261"/>
          </a:xfrm>
          <a:prstGeom prst="rect">
            <a:avLst/>
          </a:prstGeom>
        </p:spPr>
      </p:pic>
      <p:sp>
        <p:nvSpPr>
          <p:cNvPr id="16" name="Picture Placeholder 15">
            <a:extLst>
              <a:ext uri="{FF2B5EF4-FFF2-40B4-BE49-F238E27FC236}">
                <a16:creationId xmlns:a16="http://schemas.microsoft.com/office/drawing/2014/main" id="{0C8420B8-1D58-A6F8-C40B-9011973667EE}"/>
              </a:ext>
            </a:extLst>
          </p:cNvPr>
          <p:cNvSpPr>
            <a:spLocks noGrp="1"/>
          </p:cNvSpPr>
          <p:nvPr>
            <p:ph type="pic" sz="quarter" idx="10"/>
          </p:nvPr>
        </p:nvSpPr>
        <p:spPr>
          <a:xfrm>
            <a:off x="6857617" y="991423"/>
            <a:ext cx="914400" cy="551527"/>
          </a:xfrm>
          <a:prstGeom prst="rect">
            <a:avLst/>
          </a:prstGeom>
        </p:spPr>
        <p:txBody>
          <a:bodyPr/>
          <a:lstStyle/>
          <a:p>
            <a:r>
              <a:rPr lang="es-MX"/>
              <a:t>Haz clic en el icono para agregar una imagen</a:t>
            </a:r>
            <a:endParaRPr lang="es-CO"/>
          </a:p>
        </p:txBody>
      </p:sp>
      <p:sp>
        <p:nvSpPr>
          <p:cNvPr id="17" name="Rectángulo 37">
            <a:extLst>
              <a:ext uri="{FF2B5EF4-FFF2-40B4-BE49-F238E27FC236}">
                <a16:creationId xmlns:a16="http://schemas.microsoft.com/office/drawing/2014/main" id="{3B26E765-45BE-2F2E-CCFF-E6CEC51D8ED3}"/>
              </a:ext>
            </a:extLst>
          </p:cNvPr>
          <p:cNvSpPr/>
          <p:nvPr/>
        </p:nvSpPr>
        <p:spPr>
          <a:xfrm>
            <a:off x="1922106" y="1557938"/>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s-CO" sz="1200">
              <a:solidFill>
                <a:srgbClr val="304258"/>
              </a:solidFill>
              <a:latin typeface="Poppins" panose="00000500000000000000" pitchFamily="2" charset="0"/>
              <a:cs typeface="Poppins" panose="00000500000000000000" pitchFamily="2" charset="0"/>
            </a:endParaRPr>
          </a:p>
        </p:txBody>
      </p:sp>
      <p:sp>
        <p:nvSpPr>
          <p:cNvPr id="18" name="Rectángulo 37">
            <a:extLst>
              <a:ext uri="{FF2B5EF4-FFF2-40B4-BE49-F238E27FC236}">
                <a16:creationId xmlns:a16="http://schemas.microsoft.com/office/drawing/2014/main" id="{BD5C7593-8E45-28F3-88F9-8246F9FCED62}"/>
              </a:ext>
            </a:extLst>
          </p:cNvPr>
          <p:cNvSpPr/>
          <p:nvPr/>
        </p:nvSpPr>
        <p:spPr>
          <a:xfrm>
            <a:off x="5604817" y="1568552"/>
            <a:ext cx="3420000" cy="5210829"/>
          </a:xfrm>
          <a:prstGeom prst="rect">
            <a:avLst/>
          </a:prstGeom>
          <a:solidFill>
            <a:schemeClr val="accent3">
              <a:lumMod val="20000"/>
              <a:lumOff val="80000"/>
              <a:alpha val="44000"/>
            </a:schemeClr>
          </a:solidFill>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174625" indent="-174625" algn="l">
              <a:lnSpc>
                <a:spcPct val="90000"/>
              </a:lnSpc>
              <a:spcBef>
                <a:spcPts val="300"/>
              </a:spcBef>
              <a:spcAft>
                <a:spcPts val="300"/>
              </a:spcAft>
              <a:buClr>
                <a:schemeClr val="bg2"/>
              </a:buClr>
              <a:buFont typeface="Arial" panose="020B0604020202020204" pitchFamily="34" charset="0"/>
              <a:buChar char="•"/>
            </a:pPr>
            <a:endParaRPr lang="es-CO" sz="1200">
              <a:solidFill>
                <a:srgbClr val="304258"/>
              </a:solidFill>
              <a:latin typeface="Poppins" panose="00000500000000000000" pitchFamily="2" charset="0"/>
              <a:cs typeface="Poppins" panose="00000500000000000000" pitchFamily="2" charset="0"/>
            </a:endParaRPr>
          </a:p>
        </p:txBody>
      </p:sp>
      <p:sp>
        <p:nvSpPr>
          <p:cNvPr id="19" name="Triángulo isósceles 4">
            <a:extLst>
              <a:ext uri="{FF2B5EF4-FFF2-40B4-BE49-F238E27FC236}">
                <a16:creationId xmlns:a16="http://schemas.microsoft.com/office/drawing/2014/main" id="{B15266C6-0D5C-5124-83AE-66A6FF0C07F8}"/>
              </a:ext>
            </a:extLst>
          </p:cNvPr>
          <p:cNvSpPr>
            <a:spLocks noChangeArrowheads="1"/>
          </p:cNvSpPr>
          <p:nvPr/>
        </p:nvSpPr>
        <p:spPr bwMode="auto">
          <a:xfrm rot="5400000">
            <a:off x="8744730" y="2931629"/>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0" name="Triángulo isósceles 4">
            <a:extLst>
              <a:ext uri="{FF2B5EF4-FFF2-40B4-BE49-F238E27FC236}">
                <a16:creationId xmlns:a16="http://schemas.microsoft.com/office/drawing/2014/main" id="{60E48D47-FF3E-B32D-258F-430FD2972CF2}"/>
              </a:ext>
            </a:extLst>
          </p:cNvPr>
          <p:cNvSpPr>
            <a:spLocks noChangeArrowheads="1"/>
          </p:cNvSpPr>
          <p:nvPr/>
        </p:nvSpPr>
        <p:spPr bwMode="auto">
          <a:xfrm rot="5400000">
            <a:off x="8744729" y="4190202"/>
            <a:ext cx="955827"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1" name="Triángulo isósceles 4">
            <a:extLst>
              <a:ext uri="{FF2B5EF4-FFF2-40B4-BE49-F238E27FC236}">
                <a16:creationId xmlns:a16="http://schemas.microsoft.com/office/drawing/2014/main" id="{80DB0719-00AB-2386-93BE-EA1B2C364A79}"/>
              </a:ext>
            </a:extLst>
          </p:cNvPr>
          <p:cNvSpPr>
            <a:spLocks noChangeArrowheads="1"/>
          </p:cNvSpPr>
          <p:nvPr/>
        </p:nvSpPr>
        <p:spPr bwMode="auto">
          <a:xfrm rot="5400000">
            <a:off x="8491122" y="5729683"/>
            <a:ext cx="1463040" cy="129769"/>
          </a:xfrm>
          <a:prstGeom prst="triangle">
            <a:avLst>
              <a:gd name="adj" fmla="val 50000"/>
            </a:avLst>
          </a:prstGeom>
          <a:solidFill>
            <a:srgbClr val="9582FF"/>
          </a:solidFill>
          <a:ln w="9525">
            <a:noFill/>
            <a:miter lim="800000"/>
            <a:headEnd/>
            <a:tailEnd/>
          </a:ln>
          <a:effectLst/>
        </p:spPr>
        <p:txBody>
          <a:bodyPr lIns="91340" tIns="45671" rIns="91340" bIns="45671" anchor="ctr"/>
          <a:lstStyle/>
          <a:p>
            <a:pPr algn="ctr">
              <a:defRPr/>
            </a:pPr>
            <a:endParaRPr lang="es-CO" sz="1200">
              <a:solidFill>
                <a:srgbClr val="304258"/>
              </a:solidFill>
              <a:latin typeface="Poppins" panose="00000500000000000000" pitchFamily="2" charset="0"/>
            </a:endParaRPr>
          </a:p>
        </p:txBody>
      </p:sp>
      <p:sp>
        <p:nvSpPr>
          <p:cNvPr id="22" name="CuadroTexto 5">
            <a:extLst>
              <a:ext uri="{FF2B5EF4-FFF2-40B4-BE49-F238E27FC236}">
                <a16:creationId xmlns:a16="http://schemas.microsoft.com/office/drawing/2014/main" id="{11C25805-2BB7-C063-0D76-933EC8C61641}"/>
              </a:ext>
            </a:extLst>
          </p:cNvPr>
          <p:cNvSpPr txBox="1">
            <a:spLocks noChangeArrowheads="1"/>
          </p:cNvSpPr>
          <p:nvPr/>
        </p:nvSpPr>
        <p:spPr bwMode="auto">
          <a:xfrm>
            <a:off x="9384321" y="2478198"/>
            <a:ext cx="2994236" cy="1061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s-CO" sz="1200">
                <a:solidFill>
                  <a:srgbClr val="304258"/>
                </a:solidFill>
                <a:latin typeface="Poppins" panose="00000500000000000000" pitchFamily="2" charset="0"/>
                <a:ea typeface="Lato"/>
                <a:cs typeface="Poppins" panose="00000500000000000000" pitchFamily="2" charset="0"/>
              </a:rPr>
              <a:t>Project </a:t>
            </a:r>
            <a:r>
              <a:rPr lang="es-CO" sz="1200" err="1">
                <a:solidFill>
                  <a:srgbClr val="304258"/>
                </a:solidFill>
                <a:latin typeface="Poppins" panose="00000500000000000000" pitchFamily="2" charset="0"/>
                <a:ea typeface="Lato"/>
                <a:cs typeface="Poppins" panose="00000500000000000000" pitchFamily="2" charset="0"/>
              </a:rPr>
              <a:t>leadership</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Decision</a:t>
            </a:r>
            <a:r>
              <a:rPr lang="es-CO" sz="1200">
                <a:solidFill>
                  <a:srgbClr val="304258"/>
                </a:solidFill>
                <a:latin typeface="Poppins" panose="00000500000000000000" pitchFamily="2" charset="0"/>
                <a:ea typeface="Lato"/>
                <a:cs typeface="Poppins" panose="00000500000000000000" pitchFamily="2" charset="0"/>
              </a:rPr>
              <a:t> </a:t>
            </a:r>
            <a:r>
              <a:rPr lang="es-CO" sz="1200" err="1">
                <a:solidFill>
                  <a:srgbClr val="304258"/>
                </a:solidFill>
                <a:latin typeface="Poppins" panose="00000500000000000000" pitchFamily="2" charset="0"/>
                <a:ea typeface="Lato"/>
                <a:cs typeface="Poppins" panose="00000500000000000000" pitchFamily="2" charset="0"/>
              </a:rPr>
              <a:t>making</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Issue</a:t>
            </a:r>
            <a:r>
              <a:rPr lang="es-CO" sz="1200">
                <a:solidFill>
                  <a:srgbClr val="304258"/>
                </a:solidFill>
                <a:latin typeface="Poppins" panose="00000500000000000000" pitchFamily="2" charset="0"/>
                <a:ea typeface="Lato"/>
                <a:cs typeface="Poppins" panose="00000500000000000000" pitchFamily="2" charset="0"/>
              </a:rPr>
              <a:t> </a:t>
            </a:r>
            <a:r>
              <a:rPr lang="es-CO" sz="1200" err="1">
                <a:solidFill>
                  <a:srgbClr val="304258"/>
                </a:solidFill>
                <a:latin typeface="Poppins" panose="00000500000000000000" pitchFamily="2" charset="0"/>
                <a:ea typeface="Lato"/>
                <a:cs typeface="Poppins" panose="00000500000000000000" pitchFamily="2" charset="0"/>
              </a:rPr>
              <a:t>resolution</a:t>
            </a:r>
            <a:endParaRPr lang="es-CO" sz="1200">
              <a:solidFill>
                <a:srgbClr val="304258"/>
              </a:solidFill>
              <a:latin typeface="Poppins" panose="00000500000000000000" pitchFamily="2" charset="0"/>
              <a:ea typeface="Lato"/>
              <a:cs typeface="Poppins" panose="000005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s-CO" sz="1200" err="1">
                <a:solidFill>
                  <a:srgbClr val="304258"/>
                </a:solidFill>
                <a:latin typeface="Poppins" panose="00000500000000000000" pitchFamily="2" charset="0"/>
                <a:ea typeface="Lato"/>
                <a:cs typeface="Poppins" panose="00000500000000000000" pitchFamily="2" charset="0"/>
              </a:rPr>
              <a:t>Experience</a:t>
            </a:r>
            <a:endParaRPr lang="es-CO" sz="1200">
              <a:solidFill>
                <a:srgbClr val="304258"/>
              </a:solidFill>
              <a:latin typeface="Poppins" panose="00000500000000000000" pitchFamily="2" charset="0"/>
              <a:ea typeface="Lato"/>
              <a:cs typeface="Poppins" panose="00000500000000000000" pitchFamily="2" charset="0"/>
            </a:endParaRPr>
          </a:p>
        </p:txBody>
      </p:sp>
      <p:sp>
        <p:nvSpPr>
          <p:cNvPr id="23" name="CuadroTexto 42">
            <a:extLst>
              <a:ext uri="{FF2B5EF4-FFF2-40B4-BE49-F238E27FC236}">
                <a16:creationId xmlns:a16="http://schemas.microsoft.com/office/drawing/2014/main" id="{FBDD9321-09C9-1E09-942B-C8455AE1EF25}"/>
              </a:ext>
            </a:extLst>
          </p:cNvPr>
          <p:cNvSpPr txBox="1">
            <a:spLocks noChangeArrowheads="1"/>
          </p:cNvSpPr>
          <p:nvPr/>
        </p:nvSpPr>
        <p:spPr bwMode="auto">
          <a:xfrm>
            <a:off x="9411266" y="517989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s-CO">
                <a:solidFill>
                  <a:srgbClr val="304258"/>
                </a:solidFill>
                <a:latin typeface="Poppins" panose="00000500000000000000" pitchFamily="2" charset="0"/>
                <a:cs typeface="Poppins" panose="00000500000000000000" pitchFamily="2" charset="0"/>
              </a:rPr>
              <a:t>Data </a:t>
            </a:r>
            <a:r>
              <a:rPr lang="es-CO" err="1">
                <a:solidFill>
                  <a:srgbClr val="304258"/>
                </a:solidFill>
                <a:latin typeface="Poppins" panose="00000500000000000000" pitchFamily="2" charset="0"/>
                <a:cs typeface="Poppins" panose="00000500000000000000" pitchFamily="2" charset="0"/>
              </a:rPr>
              <a:t>gathering</a:t>
            </a:r>
            <a:endParaRPr lang="es-CO">
              <a:solidFill>
                <a:srgbClr val="304258"/>
              </a:solidFill>
              <a:latin typeface="Poppins" panose="00000500000000000000" pitchFamily="2" charset="0"/>
              <a:cs typeface="Poppins" panose="00000500000000000000" pitchFamily="2" charset="0"/>
            </a:endParaRPr>
          </a:p>
          <a:p>
            <a:r>
              <a:rPr lang="es-CO" err="1">
                <a:solidFill>
                  <a:srgbClr val="304258"/>
                </a:solidFill>
                <a:latin typeface="Poppins" panose="00000500000000000000" pitchFamily="2" charset="0"/>
                <a:cs typeface="Poppins" panose="00000500000000000000" pitchFamily="2" charset="0"/>
              </a:rPr>
              <a:t>Analysis</a:t>
            </a:r>
            <a:r>
              <a:rPr lang="es-CO">
                <a:solidFill>
                  <a:srgbClr val="304258"/>
                </a:solidFill>
                <a:latin typeface="Poppins" panose="00000500000000000000" pitchFamily="2" charset="0"/>
                <a:cs typeface="Poppins" panose="00000500000000000000" pitchFamily="2" charset="0"/>
              </a:rPr>
              <a:t> </a:t>
            </a:r>
            <a:r>
              <a:rPr lang="es-CO" err="1">
                <a:solidFill>
                  <a:srgbClr val="304258"/>
                </a:solidFill>
                <a:latin typeface="Poppins" panose="00000500000000000000" pitchFamily="2" charset="0"/>
                <a:cs typeface="Poppins" panose="00000500000000000000" pitchFamily="2" charset="0"/>
              </a:rPr>
              <a:t>structuring</a:t>
            </a:r>
            <a:r>
              <a:rPr lang="es-CO">
                <a:solidFill>
                  <a:srgbClr val="304258"/>
                </a:solidFill>
                <a:latin typeface="Poppins" panose="00000500000000000000" pitchFamily="2" charset="0"/>
                <a:cs typeface="Poppins" panose="00000500000000000000" pitchFamily="2" charset="0"/>
              </a:rPr>
              <a:t> and </a:t>
            </a:r>
            <a:r>
              <a:rPr lang="es-CO" err="1">
                <a:solidFill>
                  <a:srgbClr val="304258"/>
                </a:solidFill>
                <a:latin typeface="Poppins" panose="00000500000000000000" pitchFamily="2" charset="0"/>
                <a:cs typeface="Poppins" panose="00000500000000000000" pitchFamily="2" charset="0"/>
              </a:rPr>
              <a:t>execution</a:t>
            </a:r>
            <a:endParaRPr lang="es-CO">
              <a:solidFill>
                <a:srgbClr val="304258"/>
              </a:solidFill>
              <a:latin typeface="Poppins" panose="00000500000000000000" pitchFamily="2" charset="0"/>
              <a:cs typeface="Poppins" panose="00000500000000000000" pitchFamily="2" charset="0"/>
            </a:endParaRPr>
          </a:p>
          <a:p>
            <a:r>
              <a:rPr lang="es-CO" err="1">
                <a:solidFill>
                  <a:srgbClr val="304258"/>
                </a:solidFill>
                <a:latin typeface="Poppins" panose="00000500000000000000" pitchFamily="2" charset="0"/>
                <a:cs typeface="Poppins" panose="00000500000000000000" pitchFamily="2" charset="0"/>
              </a:rPr>
              <a:t>Technical</a:t>
            </a:r>
            <a:r>
              <a:rPr lang="es-CO">
                <a:solidFill>
                  <a:srgbClr val="304258"/>
                </a:solidFill>
                <a:latin typeface="Poppins" panose="00000500000000000000" pitchFamily="2" charset="0"/>
                <a:cs typeface="Poppins" panose="00000500000000000000" pitchFamily="2" charset="0"/>
              </a:rPr>
              <a:t> </a:t>
            </a:r>
            <a:r>
              <a:rPr lang="es-CO" err="1">
                <a:solidFill>
                  <a:srgbClr val="304258"/>
                </a:solidFill>
                <a:latin typeface="Poppins" panose="00000500000000000000" pitchFamily="2" charset="0"/>
                <a:cs typeface="Poppins" panose="00000500000000000000" pitchFamily="2" charset="0"/>
              </a:rPr>
              <a:t>expertise</a:t>
            </a:r>
            <a:endParaRPr lang="es-CO">
              <a:solidFill>
                <a:srgbClr val="304258"/>
              </a:solidFill>
              <a:latin typeface="Poppins" panose="00000500000000000000" pitchFamily="2" charset="0"/>
              <a:cs typeface="Poppins" panose="00000500000000000000" pitchFamily="2" charset="0"/>
            </a:endParaRPr>
          </a:p>
          <a:p>
            <a:r>
              <a:rPr lang="es-CO" err="1">
                <a:solidFill>
                  <a:srgbClr val="304258"/>
                </a:solidFill>
                <a:latin typeface="Poppins" panose="00000500000000000000" pitchFamily="2" charset="0"/>
                <a:cs typeface="Poppins" panose="00000500000000000000" pitchFamily="2" charset="0"/>
              </a:rPr>
              <a:t>Logistics</a:t>
            </a:r>
            <a:endParaRPr lang="es-CO">
              <a:solidFill>
                <a:srgbClr val="304258"/>
              </a:solidFill>
              <a:latin typeface="Poppins" panose="00000500000000000000" pitchFamily="2" charset="0"/>
              <a:cs typeface="Poppins" panose="00000500000000000000" pitchFamily="2" charset="0"/>
            </a:endParaRPr>
          </a:p>
        </p:txBody>
      </p:sp>
      <p:sp>
        <p:nvSpPr>
          <p:cNvPr id="24" name="CuadroTexto 5">
            <a:extLst>
              <a:ext uri="{FF2B5EF4-FFF2-40B4-BE49-F238E27FC236}">
                <a16:creationId xmlns:a16="http://schemas.microsoft.com/office/drawing/2014/main" id="{C33B6DEE-77CE-AB15-CDD3-26F8D5F29857}"/>
              </a:ext>
            </a:extLst>
          </p:cNvPr>
          <p:cNvSpPr txBox="1">
            <a:spLocks noChangeArrowheads="1"/>
          </p:cNvSpPr>
          <p:nvPr/>
        </p:nvSpPr>
        <p:spPr bwMode="auto">
          <a:xfrm>
            <a:off x="9330940" y="3713636"/>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eaLnBrk="1" hangingPunct="1">
              <a:spcBef>
                <a:spcPts val="600"/>
              </a:spcBef>
              <a:buClr>
                <a:srgbClr val="9683FF"/>
              </a:buClr>
              <a:buSzPct val="120000"/>
              <a:buFont typeface="Wingdings" panose="05000000000000000000" pitchFamily="2" charset="2"/>
              <a:buChar char="§"/>
              <a:defRPr/>
            </a:pPr>
            <a:r>
              <a:rPr lang="es-CO" sz="1200" i="0" err="1">
                <a:solidFill>
                  <a:srgbClr val="304258"/>
                </a:solidFill>
                <a:latin typeface="Poppins" panose="00000500000000000000" pitchFamily="2" charset="0"/>
                <a:ea typeface="Lato"/>
                <a:cs typeface="Poppins" panose="00000500000000000000" pitchFamily="2" charset="0"/>
              </a:rPr>
              <a:t>Expertise</a:t>
            </a:r>
            <a:endParaRPr lang="es-CO" sz="1200" i="0">
              <a:solidFill>
                <a:srgbClr val="304258"/>
              </a:solidFill>
              <a:latin typeface="Poppins" panose="00000500000000000000" pitchFamily="2" charset="0"/>
              <a:ea typeface="Lato"/>
              <a:cs typeface="Poppins" panose="000005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s-CO" sz="1200" i="0">
                <a:solidFill>
                  <a:srgbClr val="304258"/>
                </a:solidFill>
                <a:latin typeface="Poppins" panose="00000500000000000000" pitchFamily="2" charset="0"/>
                <a:ea typeface="Lato"/>
                <a:cs typeface="Poppins" panose="00000500000000000000" pitchFamily="2" charset="0"/>
              </a:rPr>
              <a:t>Agile </a:t>
            </a:r>
            <a:r>
              <a:rPr lang="es-CO" sz="1200" i="0" err="1">
                <a:solidFill>
                  <a:srgbClr val="304258"/>
                </a:solidFill>
                <a:latin typeface="Poppins" panose="00000500000000000000" pitchFamily="2" charset="0"/>
                <a:ea typeface="Lato"/>
                <a:cs typeface="Poppins" panose="00000500000000000000" pitchFamily="2" charset="0"/>
              </a:rPr>
              <a:t>workflow</a:t>
            </a:r>
            <a:r>
              <a:rPr lang="es-CO" sz="1200" i="0">
                <a:solidFill>
                  <a:srgbClr val="304258"/>
                </a:solidFill>
                <a:latin typeface="Poppins" panose="00000500000000000000" pitchFamily="2" charset="0"/>
                <a:ea typeface="Lato"/>
                <a:cs typeface="Poppins" panose="00000500000000000000" pitchFamily="2" charset="0"/>
              </a:rPr>
              <a:t> </a:t>
            </a:r>
            <a:r>
              <a:rPr lang="es-CO" sz="1200" i="0" err="1">
                <a:solidFill>
                  <a:srgbClr val="304258"/>
                </a:solidFill>
                <a:latin typeface="Poppins" panose="00000500000000000000" pitchFamily="2" charset="0"/>
                <a:ea typeface="Lato"/>
                <a:cs typeface="Poppins" panose="00000500000000000000" pitchFamily="2" charset="0"/>
              </a:rPr>
              <a:t>management</a:t>
            </a:r>
            <a:endParaRPr lang="es-CO" sz="1200" i="0">
              <a:solidFill>
                <a:srgbClr val="304258"/>
              </a:solidFill>
              <a:latin typeface="Poppins" panose="00000500000000000000" pitchFamily="2" charset="0"/>
              <a:ea typeface="Lato"/>
              <a:cs typeface="Poppins" panose="000005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s-CO" sz="1200" i="0" err="1">
                <a:solidFill>
                  <a:srgbClr val="304258"/>
                </a:solidFill>
                <a:latin typeface="Poppins" panose="00000500000000000000" pitchFamily="2" charset="0"/>
                <a:ea typeface="Lato"/>
                <a:cs typeface="Poppins" panose="00000500000000000000" pitchFamily="2" charset="0"/>
              </a:rPr>
              <a:t>Hypothesis</a:t>
            </a:r>
            <a:r>
              <a:rPr lang="es-CO" sz="1200" i="0">
                <a:solidFill>
                  <a:srgbClr val="304258"/>
                </a:solidFill>
                <a:latin typeface="Poppins" panose="00000500000000000000" pitchFamily="2" charset="0"/>
                <a:ea typeface="Lato"/>
                <a:cs typeface="Poppins" panose="00000500000000000000" pitchFamily="2" charset="0"/>
              </a:rPr>
              <a:t> </a:t>
            </a:r>
            <a:r>
              <a:rPr lang="es-CO" sz="1200" i="0" err="1">
                <a:solidFill>
                  <a:srgbClr val="304258"/>
                </a:solidFill>
                <a:latin typeface="Poppins" panose="00000500000000000000" pitchFamily="2" charset="0"/>
                <a:ea typeface="Lato"/>
                <a:cs typeface="Poppins" panose="00000500000000000000" pitchFamily="2" charset="0"/>
              </a:rPr>
              <a:t>validation</a:t>
            </a:r>
            <a:endParaRPr lang="es-CO" sz="1200" i="0">
              <a:solidFill>
                <a:srgbClr val="304258"/>
              </a:solidFill>
              <a:latin typeface="Poppins" panose="00000500000000000000" pitchFamily="2" charset="0"/>
              <a:ea typeface="Lato"/>
              <a:cs typeface="Poppins" panose="000005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s-CO" sz="1200" i="0" err="1">
                <a:solidFill>
                  <a:srgbClr val="304258"/>
                </a:solidFill>
                <a:latin typeface="Poppins" panose="00000500000000000000" pitchFamily="2" charset="0"/>
                <a:ea typeface="Lato"/>
                <a:cs typeface="Poppins" panose="00000500000000000000" pitchFamily="2" charset="0"/>
              </a:rPr>
              <a:t>Recommendations</a:t>
            </a:r>
            <a:r>
              <a:rPr lang="es-CO" sz="1200" i="0">
                <a:solidFill>
                  <a:srgbClr val="304258"/>
                </a:solidFill>
                <a:latin typeface="Poppins" panose="00000500000000000000" pitchFamily="2" charset="0"/>
                <a:ea typeface="Lato"/>
                <a:cs typeface="Poppins" panose="00000500000000000000" pitchFamily="2" charset="0"/>
              </a:rPr>
              <a:t> and </a:t>
            </a:r>
            <a:r>
              <a:rPr lang="es-CO" sz="1200" i="0" err="1">
                <a:solidFill>
                  <a:srgbClr val="304258"/>
                </a:solidFill>
                <a:latin typeface="Poppins" panose="00000500000000000000" pitchFamily="2" charset="0"/>
                <a:ea typeface="Lato"/>
                <a:cs typeface="Poppins" panose="00000500000000000000" pitchFamily="2" charset="0"/>
              </a:rPr>
              <a:t>quality</a:t>
            </a:r>
            <a:r>
              <a:rPr lang="es-CO" sz="1200" i="0">
                <a:solidFill>
                  <a:srgbClr val="304258"/>
                </a:solidFill>
                <a:latin typeface="Poppins" panose="00000500000000000000" pitchFamily="2" charset="0"/>
                <a:ea typeface="Lato"/>
                <a:cs typeface="Poppins" panose="00000500000000000000" pitchFamily="2" charset="0"/>
              </a:rPr>
              <a:t> control</a:t>
            </a:r>
          </a:p>
        </p:txBody>
      </p:sp>
      <p:sp>
        <p:nvSpPr>
          <p:cNvPr id="5" name="Content Placeholder 2">
            <a:extLst>
              <a:ext uri="{FF2B5EF4-FFF2-40B4-BE49-F238E27FC236}">
                <a16:creationId xmlns:a16="http://schemas.microsoft.com/office/drawing/2014/main" id="{E0BC3D7C-4FBF-5021-E6D4-A7E7F003BB12}"/>
              </a:ext>
            </a:extLst>
          </p:cNvPr>
          <p:cNvSpPr>
            <a:spLocks noGrp="1"/>
          </p:cNvSpPr>
          <p:nvPr>
            <p:ph idx="1" hasCustomPrompt="1"/>
          </p:nvPr>
        </p:nvSpPr>
        <p:spPr>
          <a:xfrm>
            <a:off x="1922106" y="1556322"/>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25" name="Content Placeholder 2">
            <a:extLst>
              <a:ext uri="{FF2B5EF4-FFF2-40B4-BE49-F238E27FC236}">
                <a16:creationId xmlns:a16="http://schemas.microsoft.com/office/drawing/2014/main" id="{80AB7971-92DE-EA19-58C6-9EDC21B3E536}"/>
              </a:ext>
            </a:extLst>
          </p:cNvPr>
          <p:cNvSpPr>
            <a:spLocks noGrp="1"/>
          </p:cNvSpPr>
          <p:nvPr>
            <p:ph idx="11" hasCustomPrompt="1"/>
          </p:nvPr>
        </p:nvSpPr>
        <p:spPr>
          <a:xfrm>
            <a:off x="1922106" y="2400426"/>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26" name="Content Placeholder 2">
            <a:extLst>
              <a:ext uri="{FF2B5EF4-FFF2-40B4-BE49-F238E27FC236}">
                <a16:creationId xmlns:a16="http://schemas.microsoft.com/office/drawing/2014/main" id="{9DCA419A-D307-C10C-47FF-B8A3E33249CE}"/>
              </a:ext>
            </a:extLst>
          </p:cNvPr>
          <p:cNvSpPr>
            <a:spLocks noGrp="1"/>
          </p:cNvSpPr>
          <p:nvPr>
            <p:ph idx="12" hasCustomPrompt="1"/>
          </p:nvPr>
        </p:nvSpPr>
        <p:spPr>
          <a:xfrm>
            <a:off x="1922106" y="3691371"/>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27" name="Content Placeholder 2">
            <a:extLst>
              <a:ext uri="{FF2B5EF4-FFF2-40B4-BE49-F238E27FC236}">
                <a16:creationId xmlns:a16="http://schemas.microsoft.com/office/drawing/2014/main" id="{4D0AB5A4-39E5-CFDC-A3F8-C348A85CC883}"/>
              </a:ext>
            </a:extLst>
          </p:cNvPr>
          <p:cNvSpPr>
            <a:spLocks noGrp="1"/>
          </p:cNvSpPr>
          <p:nvPr>
            <p:ph idx="13" hasCustomPrompt="1"/>
          </p:nvPr>
        </p:nvSpPr>
        <p:spPr>
          <a:xfrm>
            <a:off x="1922106"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28" name="Content Placeholder 2">
            <a:extLst>
              <a:ext uri="{FF2B5EF4-FFF2-40B4-BE49-F238E27FC236}">
                <a16:creationId xmlns:a16="http://schemas.microsoft.com/office/drawing/2014/main" id="{95D10976-FF2D-457E-6AB2-6B30D275C699}"/>
              </a:ext>
            </a:extLst>
          </p:cNvPr>
          <p:cNvSpPr>
            <a:spLocks noGrp="1"/>
          </p:cNvSpPr>
          <p:nvPr>
            <p:ph idx="14" hasCustomPrompt="1"/>
          </p:nvPr>
        </p:nvSpPr>
        <p:spPr>
          <a:xfrm>
            <a:off x="5604817" y="1548211"/>
            <a:ext cx="3420000" cy="691795"/>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29" name="Content Placeholder 2">
            <a:extLst>
              <a:ext uri="{FF2B5EF4-FFF2-40B4-BE49-F238E27FC236}">
                <a16:creationId xmlns:a16="http://schemas.microsoft.com/office/drawing/2014/main" id="{80D16BBE-F162-80A7-F90B-600E14A348A0}"/>
              </a:ext>
            </a:extLst>
          </p:cNvPr>
          <p:cNvSpPr>
            <a:spLocks noGrp="1"/>
          </p:cNvSpPr>
          <p:nvPr>
            <p:ph idx="15" hasCustomPrompt="1"/>
          </p:nvPr>
        </p:nvSpPr>
        <p:spPr>
          <a:xfrm>
            <a:off x="5604817" y="2395545"/>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30" name="Content Placeholder 2">
            <a:extLst>
              <a:ext uri="{FF2B5EF4-FFF2-40B4-BE49-F238E27FC236}">
                <a16:creationId xmlns:a16="http://schemas.microsoft.com/office/drawing/2014/main" id="{083FA612-54A2-AA38-69FF-E8E22519EF17}"/>
              </a:ext>
            </a:extLst>
          </p:cNvPr>
          <p:cNvSpPr>
            <a:spLocks noGrp="1"/>
          </p:cNvSpPr>
          <p:nvPr>
            <p:ph idx="16" hasCustomPrompt="1"/>
          </p:nvPr>
        </p:nvSpPr>
        <p:spPr>
          <a:xfrm>
            <a:off x="5615043" y="3685028"/>
            <a:ext cx="3420000" cy="1188719"/>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
        <p:nvSpPr>
          <p:cNvPr id="31" name="Content Placeholder 2">
            <a:extLst>
              <a:ext uri="{FF2B5EF4-FFF2-40B4-BE49-F238E27FC236}">
                <a16:creationId xmlns:a16="http://schemas.microsoft.com/office/drawing/2014/main" id="{F151C0AF-7644-06E4-EBC6-2962635BA363}"/>
              </a:ext>
            </a:extLst>
          </p:cNvPr>
          <p:cNvSpPr>
            <a:spLocks noGrp="1"/>
          </p:cNvSpPr>
          <p:nvPr>
            <p:ph idx="17" hasCustomPrompt="1"/>
          </p:nvPr>
        </p:nvSpPr>
        <p:spPr>
          <a:xfrm>
            <a:off x="5615043" y="4964505"/>
            <a:ext cx="3420000" cy="1804262"/>
          </a:xfrm>
          <a:prstGeom prst="rect">
            <a:avLst/>
          </a:prstGeom>
        </p:spPr>
        <p:txBody>
          <a:bodyPr>
            <a:normAutofit/>
          </a:bodyPr>
          <a:lstStyle>
            <a:lvl1pPr marL="228600" indent="-228600">
              <a:lnSpc>
                <a:spcPct val="100000"/>
              </a:lnSpc>
              <a:spcAft>
                <a:spcPts val="600"/>
              </a:spcAft>
              <a:buClr>
                <a:schemeClr val="accent4"/>
              </a:buClr>
              <a:buSzPct val="110000"/>
              <a:buFont typeface="Wingdings" panose="05000000000000000000" pitchFamily="2" charset="2"/>
              <a:buChar char="§"/>
              <a:defRPr sz="1200" i="0">
                <a:solidFill>
                  <a:schemeClr val="tx1"/>
                </a:solidFill>
                <a:latin typeface="Poppins" panose="00000500000000000000" pitchFamily="2" charset="0"/>
              </a:defRPr>
            </a:lvl1pPr>
            <a:lvl2pPr marL="685800" indent="-228600">
              <a:lnSpc>
                <a:spcPct val="100000"/>
              </a:lnSpc>
              <a:spcAft>
                <a:spcPts val="600"/>
              </a:spcAft>
              <a:buClr>
                <a:schemeClr val="accent4"/>
              </a:buClr>
              <a:buSzPct val="120000"/>
              <a:buFont typeface="Poppins Light" panose="00000400000000000000" pitchFamily="2" charset="0"/>
              <a:buChar char="–"/>
              <a:defRPr sz="1400">
                <a:solidFill>
                  <a:schemeClr val="tx1"/>
                </a:solidFill>
              </a:defRPr>
            </a:lvl2pPr>
            <a:lvl3pPr marL="1143000" indent="-228600">
              <a:lnSpc>
                <a:spcPct val="100000"/>
              </a:lnSpc>
              <a:spcAft>
                <a:spcPts val="600"/>
              </a:spcAft>
              <a:buClr>
                <a:schemeClr val="accent4"/>
              </a:buClr>
              <a:buSzPct val="110000"/>
              <a:buFont typeface="Poppins Light" panose="00000400000000000000" pitchFamily="2" charset="0"/>
              <a:buChar char="॰"/>
              <a:defRPr sz="1400">
                <a:solidFill>
                  <a:schemeClr val="tx1"/>
                </a:solidFill>
              </a:defRPr>
            </a:lvl3pPr>
            <a:lvl4pPr marL="1371600" indent="0">
              <a:lnSpc>
                <a:spcPct val="100000"/>
              </a:lnSpc>
              <a:spcAft>
                <a:spcPts val="600"/>
              </a:spcAft>
              <a:buNone/>
              <a:defRPr sz="1400">
                <a:solidFill>
                  <a:schemeClr val="tx1"/>
                </a:solidFill>
              </a:defRPr>
            </a:lvl4pPr>
          </a:lstStyle>
          <a:p>
            <a:pPr lvl="0"/>
            <a:r>
              <a:rPr lang="es-CO"/>
              <a:t>Click </a:t>
            </a:r>
            <a:r>
              <a:rPr lang="es-CO" err="1"/>
              <a:t>to</a:t>
            </a:r>
            <a:r>
              <a:rPr lang="es-CO"/>
              <a:t> </a:t>
            </a:r>
            <a:r>
              <a:rPr lang="es-CO" err="1"/>
              <a:t>edit</a:t>
            </a:r>
            <a:r>
              <a:rPr lang="es-CO"/>
              <a:t> Master </a:t>
            </a:r>
            <a:r>
              <a:rPr lang="es-CO" err="1"/>
              <a:t>text</a:t>
            </a:r>
            <a:r>
              <a:rPr lang="es-CO"/>
              <a:t> </a:t>
            </a:r>
            <a:r>
              <a:rPr lang="es-CO" err="1"/>
              <a:t>styles</a:t>
            </a:r>
            <a:endParaRPr lang="es-CO"/>
          </a:p>
        </p:txBody>
      </p:sp>
    </p:spTree>
    <p:extLst>
      <p:ext uri="{BB962C8B-B14F-4D97-AF65-F5344CB8AC3E}">
        <p14:creationId xmlns:p14="http://schemas.microsoft.com/office/powerpoint/2010/main" val="5903280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29088366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842912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1168400" y="879505"/>
            <a:ext cx="9855200" cy="316100"/>
          </a:xfrm>
          <a:prstGeom prst="rect">
            <a:avLst/>
          </a:prstGeom>
        </p:spPr>
        <p:txBody>
          <a:bodyPr vert="horz" anchor="ctr"/>
          <a:lstStyle>
            <a:lvl1pPr marL="0" indent="0" algn="ctr">
              <a:buNone/>
              <a:defRPr sz="1200" i="0" spc="300">
                <a:solidFill>
                  <a:schemeClr val="tx1">
                    <a:lumMod val="65000"/>
                    <a:lumOff val="35000"/>
                  </a:schemeClr>
                </a:solidFill>
                <a:latin typeface="Calibri"/>
                <a:cs typeface="Calibri"/>
              </a:defRPr>
            </a:lvl1pPr>
            <a:lvl2pPr>
              <a:defRPr sz="3000"/>
            </a:lvl2pPr>
            <a:lvl3pPr>
              <a:defRPr sz="3000"/>
            </a:lvl3pPr>
            <a:lvl4pPr>
              <a:defRPr sz="3000"/>
            </a:lvl4pPr>
            <a:lvl5pPr>
              <a:defRPr sz="3000"/>
            </a:lvl5pPr>
          </a:lstStyle>
          <a:p>
            <a:pPr lvl="0"/>
            <a:endParaRPr lang="en-US"/>
          </a:p>
        </p:txBody>
      </p:sp>
    </p:spTree>
    <p:extLst>
      <p:ext uri="{BB962C8B-B14F-4D97-AF65-F5344CB8AC3E}">
        <p14:creationId xmlns:p14="http://schemas.microsoft.com/office/powerpoint/2010/main" val="39641586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3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3067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200" y="371728"/>
            <a:ext cx="10515600" cy="886732"/>
          </a:xfrm>
          <a:prstGeom prst="rect">
            <a:avLst/>
          </a:prstGeom>
        </p:spPr>
        <p:txBody>
          <a:bodyPr anchor="ctr"/>
          <a:lstStyle>
            <a:lvl1pPr algn="ctr">
              <a:defRPr sz="3600">
                <a:solidFill>
                  <a:schemeClr val="tx1"/>
                </a:solidFill>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000" y="1051062"/>
            <a:ext cx="9144000" cy="436562"/>
          </a:xfrm>
          <a:prstGeom prst="rect">
            <a:avLst/>
          </a:prstGeo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awesome subtitle here</a:t>
            </a:r>
            <a:endParaRPr lang="en-MY"/>
          </a:p>
        </p:txBody>
      </p:sp>
    </p:spTree>
    <p:extLst>
      <p:ext uri="{BB962C8B-B14F-4D97-AF65-F5344CB8AC3E}">
        <p14:creationId xmlns:p14="http://schemas.microsoft.com/office/powerpoint/2010/main" val="128474259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D146454-7C42-EA9F-02AF-5F88DB680A10}"/>
              </a:ext>
            </a:extLst>
          </p:cNvPr>
          <p:cNvSpPr>
            <a:spLocks noGrp="1"/>
          </p:cNvSpPr>
          <p:nvPr>
            <p:ph type="title"/>
          </p:nvPr>
        </p:nvSpPr>
        <p:spPr/>
        <p:txBody>
          <a:bodyPr/>
          <a:lstStyle/>
          <a:p>
            <a:r>
              <a:rPr lang="es-MX"/>
              <a:t>Haz clic para modificar el estilo de título del patrón</a:t>
            </a:r>
            <a:endParaRPr lang="es-CO"/>
          </a:p>
        </p:txBody>
      </p:sp>
    </p:spTree>
    <p:extLst>
      <p:ext uri="{BB962C8B-B14F-4D97-AF65-F5344CB8AC3E}">
        <p14:creationId xmlns:p14="http://schemas.microsoft.com/office/powerpoint/2010/main" val="42622546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23_Diseño personalizado">
    <p:spTree>
      <p:nvGrpSpPr>
        <p:cNvPr id="1" name=""/>
        <p:cNvGrpSpPr/>
        <p:nvPr/>
      </p:nvGrpSpPr>
      <p:grpSpPr>
        <a:xfrm>
          <a:off x="0" y="0"/>
          <a:ext cx="0" cy="0"/>
          <a:chOff x="0" y="0"/>
          <a:chExt cx="0" cy="0"/>
        </a:xfrm>
      </p:grpSpPr>
      <p:sp>
        <p:nvSpPr>
          <p:cNvPr id="6" name="Marcador de texto 25">
            <a:extLst>
              <a:ext uri="{FF2B5EF4-FFF2-40B4-BE49-F238E27FC236}">
                <a16:creationId xmlns:a16="http://schemas.microsoft.com/office/drawing/2014/main" id="{574E1750-9F98-6B4C-8315-972BB1D07990}"/>
              </a:ext>
            </a:extLst>
          </p:cNvPr>
          <p:cNvSpPr>
            <a:spLocks noGrp="1"/>
          </p:cNvSpPr>
          <p:nvPr>
            <p:ph type="body" sz="quarter" idx="10" hasCustomPrompt="1"/>
          </p:nvPr>
        </p:nvSpPr>
        <p:spPr>
          <a:xfrm>
            <a:off x="746261" y="335910"/>
            <a:ext cx="1225186" cy="189796"/>
          </a:xfrm>
          <a:prstGeom prst="rect">
            <a:avLst/>
          </a:prstGeom>
        </p:spPr>
        <p:txBody>
          <a:bodyPr/>
          <a:lstStyle>
            <a:lvl1pPr>
              <a:buNone/>
              <a:defRPr sz="900" b="1" i="0">
                <a:solidFill>
                  <a:schemeClr val="bg1"/>
                </a:solidFill>
                <a:latin typeface="Montserrat" pitchFamily="2" charset="77"/>
              </a:defRPr>
            </a:lvl1pPr>
          </a:lstStyle>
          <a:p>
            <a:pPr lvl="0"/>
            <a:r>
              <a:rPr lang="es-MX"/>
              <a:t>TÍTULO PRINCIPAL</a:t>
            </a:r>
          </a:p>
        </p:txBody>
      </p:sp>
      <p:sp>
        <p:nvSpPr>
          <p:cNvPr id="7" name="Company name">
            <a:extLst>
              <a:ext uri="{FF2B5EF4-FFF2-40B4-BE49-F238E27FC236}">
                <a16:creationId xmlns:a16="http://schemas.microsoft.com/office/drawing/2014/main" id="{BEAA8794-598D-A945-AF71-3CC94DB36A70}"/>
              </a:ext>
            </a:extLst>
          </p:cNvPr>
          <p:cNvSpPr txBox="1"/>
          <p:nvPr userDrawn="1"/>
        </p:nvSpPr>
        <p:spPr bwMode="auto">
          <a:xfrm>
            <a:off x="9372974" y="6347280"/>
            <a:ext cx="2184778" cy="189796"/>
          </a:xfrm>
          <a:prstGeom prst="rect">
            <a:avLst/>
          </a:prstGeom>
          <a:noFill/>
          <a:ln w="12700" cap="flat">
            <a:noFill/>
            <a:miter lim="400000"/>
          </a:ln>
          <a:effectLst/>
        </p:spPr>
        <p:txBody>
          <a:bodyPr wrap="square" lIns="25400" tIns="25400" rIns="25400" bIns="25400" numCol="1" anchor="ctr">
            <a:spAutoFit/>
          </a:bodyPr>
          <a:lstStyle>
            <a:lvl1pPr algn="r">
              <a:lnSpc>
                <a:spcPct val="100000"/>
              </a:lnSpc>
              <a:defRPr sz="1800" cap="all" spc="90">
                <a:latin typeface="Montserrat Bold"/>
                <a:ea typeface="Montserrat Bold"/>
                <a:cs typeface="Montserrat Bold"/>
              </a:defRPr>
            </a:lvl1pPr>
          </a:lstStyle>
          <a:p>
            <a:pPr marL="0" marR="0" lvl="0" indent="0" algn="r" defTabSz="412750" eaLnBrk="1" fontAlgn="auto" latinLnBrk="0" hangingPunct="1">
              <a:lnSpc>
                <a:spcPct val="100000"/>
              </a:lnSpc>
              <a:spcBef>
                <a:spcPts val="0"/>
              </a:spcBef>
              <a:spcAft>
                <a:spcPts val="0"/>
              </a:spcAft>
              <a:buClrTx/>
              <a:buSzTx/>
              <a:buFontTx/>
              <a:buNone/>
              <a:tabLst/>
              <a:defRPr/>
            </a:pPr>
            <a:r>
              <a:rPr kumimoji="0" lang="es-MX" sz="900" b="0" i="0" u="none" strike="noStrike" kern="0" cap="all" spc="45" normalizeH="0" baseline="0" noProof="0">
                <a:ln>
                  <a:noFill/>
                </a:ln>
                <a:solidFill>
                  <a:srgbClr val="FFFFFF"/>
                </a:solidFill>
                <a:effectLst/>
                <a:uLnTx/>
                <a:uFillTx/>
                <a:latin typeface="Montserrat Bold"/>
              </a:rPr>
              <a:t>ALQUIMIA TRANSFORMA</a:t>
            </a:r>
            <a:r>
              <a:rPr kumimoji="0" lang="es-MX" sz="900" b="0" i="0" u="none" strike="noStrike" kern="0" cap="all" spc="45" normalizeH="0" baseline="30000" noProof="0">
                <a:ln>
                  <a:noFill/>
                </a:ln>
                <a:solidFill>
                  <a:srgbClr val="FFFFFF"/>
                </a:solidFill>
                <a:effectLst/>
                <a:uLnTx/>
                <a:uFillTx/>
                <a:latin typeface="Arial"/>
                <a:ea typeface="Montserrat"/>
                <a:cs typeface="Arial"/>
              </a:rPr>
              <a:t>®</a:t>
            </a:r>
            <a:endParaRPr kumimoji="0" lang="es-MX" sz="900" b="0" i="0" u="none" strike="noStrike" kern="0" cap="all" spc="45" normalizeH="0" baseline="0" noProof="0">
              <a:ln>
                <a:noFill/>
              </a:ln>
              <a:solidFill>
                <a:srgbClr val="FFFFFF"/>
              </a:solidFill>
              <a:effectLst/>
              <a:uLnTx/>
              <a:uFillTx/>
              <a:latin typeface="Montserrat Bold"/>
            </a:endParaRPr>
          </a:p>
        </p:txBody>
      </p:sp>
      <p:sp>
        <p:nvSpPr>
          <p:cNvPr id="8" name="Marcador de texto 25">
            <a:extLst>
              <a:ext uri="{FF2B5EF4-FFF2-40B4-BE49-F238E27FC236}">
                <a16:creationId xmlns:a16="http://schemas.microsoft.com/office/drawing/2014/main" id="{DC888003-9A73-5248-9C6A-04F7ED91A41C}"/>
              </a:ext>
            </a:extLst>
          </p:cNvPr>
          <p:cNvSpPr>
            <a:spLocks noGrp="1"/>
          </p:cNvSpPr>
          <p:nvPr>
            <p:ph type="body" sz="quarter" idx="13" hasCustomPrompt="1"/>
          </p:nvPr>
        </p:nvSpPr>
        <p:spPr>
          <a:xfrm>
            <a:off x="10922710" y="335910"/>
            <a:ext cx="635042" cy="189796"/>
          </a:xfrm>
          <a:prstGeom prst="rect">
            <a:avLst/>
          </a:prstGeom>
        </p:spPr>
        <p:txBody>
          <a:bodyPr/>
          <a:lstStyle>
            <a:lvl1pPr algn="r">
              <a:buNone/>
              <a:defRPr sz="900" b="1" i="0">
                <a:solidFill>
                  <a:schemeClr val="bg1"/>
                </a:solidFill>
                <a:latin typeface="Montserrat" pitchFamily="2" charset="77"/>
              </a:defRPr>
            </a:lvl1pPr>
          </a:lstStyle>
          <a:p>
            <a:pPr lvl="0"/>
            <a:r>
              <a:rPr lang="es-MX"/>
              <a:t>#</a:t>
            </a:r>
          </a:p>
        </p:txBody>
      </p:sp>
      <p:pic>
        <p:nvPicPr>
          <p:cNvPr id="2" name="Imagen 1" descr="Icono&#10;&#10;Descripción generada automáticamente con confianza media">
            <a:extLst>
              <a:ext uri="{FF2B5EF4-FFF2-40B4-BE49-F238E27FC236}">
                <a16:creationId xmlns:a16="http://schemas.microsoft.com/office/drawing/2014/main" id="{94BAF1E5-2BEC-CEE5-338D-9A53238B1A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2675" y="6312877"/>
            <a:ext cx="939272" cy="218005"/>
          </a:xfrm>
          <a:prstGeom prst="rect">
            <a:avLst/>
          </a:prstGeom>
        </p:spPr>
      </p:pic>
      <p:cxnSp>
        <p:nvCxnSpPr>
          <p:cNvPr id="3" name="Conector recto 2">
            <a:extLst>
              <a:ext uri="{FF2B5EF4-FFF2-40B4-BE49-F238E27FC236}">
                <a16:creationId xmlns:a16="http://schemas.microsoft.com/office/drawing/2014/main" id="{ADC2075A-29AB-DCE6-ED9B-76B8335D0756}"/>
              </a:ext>
            </a:extLst>
          </p:cNvPr>
          <p:cNvCxnSpPr/>
          <p:nvPr userDrawn="1"/>
        </p:nvCxnSpPr>
        <p:spPr>
          <a:xfrm>
            <a:off x="9717578" y="6312877"/>
            <a:ext cx="0" cy="218005"/>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a:extLst>
              <a:ext uri="{FF2B5EF4-FFF2-40B4-BE49-F238E27FC236}">
                <a16:creationId xmlns:a16="http://schemas.microsoft.com/office/drawing/2014/main" id="{5F576799-3B55-D711-03D0-5A0D26E24834}"/>
              </a:ext>
            </a:extLst>
          </p:cNvPr>
          <p:cNvSpPr/>
          <p:nvPr userDrawn="1"/>
        </p:nvSpPr>
        <p:spPr bwMode="auto">
          <a:xfrm>
            <a:off x="2379059" y="635000"/>
            <a:ext cx="9813736" cy="5588000"/>
          </a:xfrm>
          <a:prstGeom prst="rect">
            <a:avLst/>
          </a:prstGeom>
          <a:solidFill>
            <a:srgbClr val="D5D5D5">
              <a:lumMod val="10000"/>
            </a:srgbClr>
          </a:solidFill>
          <a:ln w="12700">
            <a:miter lim="400000"/>
          </a:ln>
        </p:spPr>
        <p:txBody>
          <a:bodyPr lIns="19050" tIns="19050" rIns="19050" bIns="19050" anchor="ctr"/>
          <a:lstStyle/>
          <a:p>
            <a:pPr marL="0" marR="0" lvl="0" indent="0" algn="ctr" defTabSz="412750" eaLnBrk="1" fontAlgn="auto" latinLnBrk="0" hangingPunct="1">
              <a:lnSpc>
                <a:spcPct val="100000"/>
              </a:lnSpc>
              <a:spcBef>
                <a:spcPts val="0"/>
              </a:spcBef>
              <a:spcAft>
                <a:spcPts val="0"/>
              </a:spcAft>
              <a:buClrTx/>
              <a:buSzTx/>
              <a:buFontTx/>
              <a:buNone/>
              <a:tabLst/>
              <a:defRPr sz="3200" spc="0">
                <a:latin typeface="Helvetica Neue Medium"/>
                <a:ea typeface="Helvetica Neue Medium"/>
                <a:cs typeface="Helvetica Neue Medium"/>
              </a:defRPr>
            </a:pPr>
            <a:endParaRPr kumimoji="0" sz="1600" b="0" i="0" u="none" strike="noStrike" kern="0" cap="none" spc="0" normalizeH="0" baseline="0" noProof="0">
              <a:ln>
                <a:noFill/>
              </a:ln>
              <a:solidFill>
                <a:srgbClr val="FFFFFF"/>
              </a:solidFill>
              <a:effectLst/>
              <a:uLnTx/>
              <a:uFillTx/>
              <a:latin typeface="Helvetica Neue Medium"/>
              <a:ea typeface="Helvetica Neue Medium"/>
              <a:cs typeface="Helvetica Neue Medium"/>
            </a:endParaRPr>
          </a:p>
        </p:txBody>
      </p:sp>
      <p:pic>
        <p:nvPicPr>
          <p:cNvPr id="4" name="Picture 2" descr="Logo, company name&#10;&#10;Description automatically generated">
            <a:extLst>
              <a:ext uri="{FF2B5EF4-FFF2-40B4-BE49-F238E27FC236}">
                <a16:creationId xmlns:a16="http://schemas.microsoft.com/office/drawing/2014/main" id="{C689BEFB-96C1-A19D-16F2-AB4A8811686C}"/>
              </a:ext>
            </a:extLst>
          </p:cNvPr>
          <p:cNvPicPr>
            <a:picLocks noChangeAspect="1" noChangeArrowheads="1"/>
          </p:cNvPicPr>
          <p:nvPr userDrawn="1"/>
        </p:nvPicPr>
        <p:blipFill>
          <a:blip r:embed="rId3">
            <a:grayscl/>
            <a:extLst>
              <a:ext uri="{28A0092B-C50C-407E-A947-70E740481C1C}">
                <a14:useLocalDpi xmlns:a14="http://schemas.microsoft.com/office/drawing/2010/main" val="0"/>
              </a:ext>
            </a:extLst>
          </a:blip>
          <a:srcRect/>
          <a:stretch>
            <a:fillRect/>
          </a:stretch>
        </p:blipFill>
        <p:spPr bwMode="auto">
          <a:xfrm>
            <a:off x="7949844" y="6304510"/>
            <a:ext cx="377612" cy="28161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Conector recto 4">
            <a:extLst>
              <a:ext uri="{FF2B5EF4-FFF2-40B4-BE49-F238E27FC236}">
                <a16:creationId xmlns:a16="http://schemas.microsoft.com/office/drawing/2014/main" id="{3750B402-F3B9-5641-3457-7CA41A4E8C3E}"/>
              </a:ext>
            </a:extLst>
          </p:cNvPr>
          <p:cNvCxnSpPr/>
          <p:nvPr userDrawn="1"/>
        </p:nvCxnSpPr>
        <p:spPr>
          <a:xfrm>
            <a:off x="8490065" y="6311789"/>
            <a:ext cx="0" cy="21800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113223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Subtítulo C">
    <p:bg>
      <p:bgPr>
        <a:solidFill>
          <a:srgbClr val="1F2353"/>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94DBBAB0-9AE7-1DD4-2222-60C39D101308}"/>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300000"/>
                    </a14:imgEffect>
                  </a14:imgLayer>
                </a14:imgProps>
              </a:ext>
            </a:extLst>
          </a:blip>
          <a:stretch>
            <a:fillRect/>
          </a:stretch>
        </p:blipFill>
        <p:spPr>
          <a:xfrm>
            <a:off x="4657725" y="0"/>
            <a:ext cx="7534275" cy="6858000"/>
          </a:xfrm>
          <a:prstGeom prst="rect">
            <a:avLst/>
          </a:prstGeom>
        </p:spPr>
      </p:pic>
      <p:sp>
        <p:nvSpPr>
          <p:cNvPr id="3" name="Título 2">
            <a:extLst>
              <a:ext uri="{FF2B5EF4-FFF2-40B4-BE49-F238E27FC236}">
                <a16:creationId xmlns:a16="http://schemas.microsoft.com/office/drawing/2014/main" id="{4682F4AD-7712-4546-906E-7850BFD9AAB8}"/>
              </a:ext>
            </a:extLst>
          </p:cNvPr>
          <p:cNvSpPr>
            <a:spLocks noGrp="1"/>
          </p:cNvSpPr>
          <p:nvPr>
            <p:ph type="title"/>
          </p:nvPr>
        </p:nvSpPr>
        <p:spPr>
          <a:xfrm>
            <a:off x="542925" y="1460500"/>
            <a:ext cx="3324225" cy="1325563"/>
          </a:xfrm>
        </p:spPr>
        <p:txBody>
          <a:bodyPr/>
          <a:lstStyle>
            <a:lvl1pPr algn="ctr">
              <a:defRPr sz="2800">
                <a:solidFill>
                  <a:schemeClr val="bg1"/>
                </a:solidFill>
                <a:latin typeface="Poppins" panose="00000500000000000000" pitchFamily="2" charset="0"/>
                <a:cs typeface="Poppins" panose="00000500000000000000" pitchFamily="2" charset="0"/>
              </a:defRPr>
            </a:lvl1pPr>
          </a:lstStyle>
          <a:p>
            <a:r>
              <a:rPr lang="es-ES"/>
              <a:t>Haga clic para modificar el estilo de título del patrón</a:t>
            </a:r>
            <a:endParaRPr lang="es-CO"/>
          </a:p>
        </p:txBody>
      </p:sp>
      <p:pic>
        <p:nvPicPr>
          <p:cNvPr id="8" name="Imagen 7" descr="Icono&#10;&#10;Descripción generada automáticamente">
            <a:extLst>
              <a:ext uri="{FF2B5EF4-FFF2-40B4-BE49-F238E27FC236}">
                <a16:creationId xmlns:a16="http://schemas.microsoft.com/office/drawing/2014/main" id="{B848CA80-9F73-410B-1098-EEFEBACC9EAC}"/>
              </a:ext>
            </a:extLst>
          </p:cNvPr>
          <p:cNvPicPr>
            <a:picLocks noChangeAspect="1"/>
          </p:cNvPicPr>
          <p:nvPr userDrawn="1"/>
        </p:nvPicPr>
        <p:blipFill>
          <a:blip r:embed="rId4"/>
          <a:stretch>
            <a:fillRect/>
          </a:stretch>
        </p:blipFill>
        <p:spPr>
          <a:xfrm>
            <a:off x="11511986" y="3216927"/>
            <a:ext cx="173605" cy="920508"/>
          </a:xfrm>
          <a:prstGeom prst="rect">
            <a:avLst/>
          </a:prstGeom>
        </p:spPr>
      </p:pic>
      <p:cxnSp>
        <p:nvCxnSpPr>
          <p:cNvPr id="9" name="Conector recto 8">
            <a:extLst>
              <a:ext uri="{FF2B5EF4-FFF2-40B4-BE49-F238E27FC236}">
                <a16:creationId xmlns:a16="http://schemas.microsoft.com/office/drawing/2014/main" id="{78BF9EF8-1598-B9C5-4591-BC13C764C646}"/>
              </a:ext>
            </a:extLst>
          </p:cNvPr>
          <p:cNvCxnSpPr/>
          <p:nvPr userDrawn="1"/>
        </p:nvCxnSpPr>
        <p:spPr>
          <a:xfrm>
            <a:off x="11429548" y="3051018"/>
            <a:ext cx="338481" cy="0"/>
          </a:xfrm>
          <a:prstGeom prst="line">
            <a:avLst/>
          </a:prstGeom>
        </p:spPr>
        <p:style>
          <a:lnRef idx="1">
            <a:schemeClr val="accent3"/>
          </a:lnRef>
          <a:fillRef idx="0">
            <a:schemeClr val="accent3"/>
          </a:fillRef>
          <a:effectRef idx="0">
            <a:schemeClr val="accent3"/>
          </a:effectRef>
          <a:fontRef idx="minor">
            <a:schemeClr val="tx1"/>
          </a:fontRef>
        </p:style>
      </p:cxnSp>
      <p:pic>
        <p:nvPicPr>
          <p:cNvPr id="10" name="Picture 2" descr="PPI Beauty | We Bring Beauty to Life">
            <a:extLst>
              <a:ext uri="{FF2B5EF4-FFF2-40B4-BE49-F238E27FC236}">
                <a16:creationId xmlns:a16="http://schemas.microsoft.com/office/drawing/2014/main" id="{C29B9160-1671-C6CE-66E5-B4F8027A8EC0}"/>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rot="16200000">
            <a:off x="11148123" y="2371218"/>
            <a:ext cx="901330" cy="295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51174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Graphs &amp; Charts">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710401" y="1550583"/>
            <a:ext cx="10752887" cy="4586695"/>
          </a:xfrm>
        </p:spPr>
        <p:txBody>
          <a:bodyPr/>
          <a:lstStyle>
            <a:lvl1pPr>
              <a:defRPr>
                <a:solidFill>
                  <a:srgbClr val="646464"/>
                </a:solidFill>
              </a:defRPr>
            </a:lvl1pPr>
          </a:lstStyle>
          <a:p>
            <a:r>
              <a:rPr lang="en-US"/>
              <a:t>Drag picture to placeholder or click icon to add</a:t>
            </a:r>
          </a:p>
        </p:txBody>
      </p:sp>
      <p:sp>
        <p:nvSpPr>
          <p:cNvPr id="4" name="Footer Placeholder 3"/>
          <p:cNvSpPr>
            <a:spLocks noGrp="1"/>
          </p:cNvSpPr>
          <p:nvPr>
            <p:ph type="ftr" sz="quarter" idx="12"/>
          </p:nvPr>
        </p:nvSpPr>
        <p:spPr/>
        <p:txBody>
          <a:bodyPr/>
          <a:lstStyle/>
          <a:p>
            <a:endParaRPr lang="en-US"/>
          </a:p>
        </p:txBody>
      </p:sp>
      <p:sp>
        <p:nvSpPr>
          <p:cNvPr id="7" name="Title 1"/>
          <p:cNvSpPr>
            <a:spLocks noGrp="1"/>
          </p:cNvSpPr>
          <p:nvPr>
            <p:ph type="title"/>
          </p:nvPr>
        </p:nvSpPr>
        <p:spPr>
          <a:xfrm>
            <a:off x="720000" y="249600"/>
            <a:ext cx="10752888" cy="676275"/>
          </a:xfrm>
        </p:spPr>
        <p:txBody>
          <a:bodyPr>
            <a:normAutofit/>
          </a:bodyPr>
          <a:lstStyle/>
          <a:p>
            <a:r>
              <a:rPr lang="en-US"/>
              <a:t>Click to edit Master title style</a:t>
            </a:r>
          </a:p>
        </p:txBody>
      </p:sp>
      <p:sp>
        <p:nvSpPr>
          <p:cNvPr id="10" name="Text Placeholder 5"/>
          <p:cNvSpPr>
            <a:spLocks noGrp="1"/>
          </p:cNvSpPr>
          <p:nvPr>
            <p:ph type="body" sz="quarter" idx="14" hasCustomPrompt="1"/>
          </p:nvPr>
        </p:nvSpPr>
        <p:spPr>
          <a:xfrm>
            <a:off x="718765" y="1065601"/>
            <a:ext cx="10754123" cy="345257"/>
          </a:xfrm>
        </p:spPr>
        <p:txBody>
          <a:bodyPr lIns="0" tIns="0" rIns="0" bIns="0" anchor="ctr" anchorCtr="0">
            <a:normAutofit/>
          </a:bodyPr>
          <a:lstStyle>
            <a:lvl1pPr marL="257032" marR="0" indent="-257032" algn="l" defTabSz="342709" rtl="0" eaLnBrk="1" fontAlgn="auto" latinLnBrk="0" hangingPunct="1">
              <a:lnSpc>
                <a:spcPts val="1799"/>
              </a:lnSpc>
              <a:spcBef>
                <a:spcPts val="0"/>
              </a:spcBef>
              <a:spcAft>
                <a:spcPts val="300"/>
              </a:spcAft>
              <a:buClr>
                <a:schemeClr val="accent5"/>
              </a:buClr>
              <a:buSzTx/>
              <a:buFont typeface="Arial"/>
              <a:buNone/>
              <a:tabLst/>
              <a:defRPr sz="1893" baseline="0">
                <a:solidFill>
                  <a:srgbClr val="B2B2B2"/>
                </a:solidFill>
                <a:latin typeface="Roboto Regular" charset="0"/>
              </a:defRPr>
            </a:lvl1pPr>
          </a:lstStyle>
          <a:p>
            <a:pPr marL="257032" marR="0" lvl="0" indent="-257032" algn="l" defTabSz="342709" rtl="0" eaLnBrk="1" fontAlgn="auto" latinLnBrk="0" hangingPunct="1">
              <a:lnSpc>
                <a:spcPts val="1799"/>
              </a:lnSpc>
              <a:spcBef>
                <a:spcPts val="0"/>
              </a:spcBef>
              <a:spcAft>
                <a:spcPts val="300"/>
              </a:spcAft>
              <a:buClr>
                <a:schemeClr val="accent5"/>
              </a:buClr>
              <a:buSzTx/>
              <a:buFont typeface="Arial"/>
              <a:buNone/>
              <a:tabLst/>
              <a:defRPr/>
            </a:pPr>
            <a:r>
              <a:rPr lang="en-US"/>
              <a:t>Click to edit Sub title style</a:t>
            </a:r>
          </a:p>
        </p:txBody>
      </p:sp>
    </p:spTree>
    <p:extLst>
      <p:ext uri="{BB962C8B-B14F-4D97-AF65-F5344CB8AC3E}">
        <p14:creationId xmlns:p14="http://schemas.microsoft.com/office/powerpoint/2010/main" val="31337998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2_Graphs &amp; Charts (nativ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249600"/>
            <a:ext cx="10752888" cy="676275"/>
          </a:xfrm>
        </p:spPr>
        <p:txBody>
          <a:bodyPr>
            <a:normAutofit/>
          </a:bodyPr>
          <a:lstStyle/>
          <a:p>
            <a:r>
              <a:rPr lang="en-US"/>
              <a:t>Click to edit Master title style</a:t>
            </a:r>
          </a:p>
        </p:txBody>
      </p:sp>
      <p:sp>
        <p:nvSpPr>
          <p:cNvPr id="4" name="Footer Placeholder 3"/>
          <p:cNvSpPr>
            <a:spLocks noGrp="1"/>
          </p:cNvSpPr>
          <p:nvPr>
            <p:ph type="ftr" sz="quarter" idx="12"/>
          </p:nvPr>
        </p:nvSpPr>
        <p:spPr/>
        <p:txBody>
          <a:bodyPr/>
          <a:lstStyle/>
          <a:p>
            <a:endParaRPr lang="en-US"/>
          </a:p>
        </p:txBody>
      </p:sp>
      <p:sp>
        <p:nvSpPr>
          <p:cNvPr id="5" name="Chart Placeholder 4"/>
          <p:cNvSpPr>
            <a:spLocks noGrp="1"/>
          </p:cNvSpPr>
          <p:nvPr>
            <p:ph type="chart" sz="quarter" idx="13"/>
          </p:nvPr>
        </p:nvSpPr>
        <p:spPr>
          <a:xfrm>
            <a:off x="720013" y="2400000"/>
            <a:ext cx="7103188" cy="3772200"/>
          </a:xfrm>
          <a:solidFill>
            <a:schemeClr val="tx2"/>
          </a:solidFill>
        </p:spPr>
        <p:txBody>
          <a:bodyPr/>
          <a:lstStyle/>
          <a:p>
            <a:endParaRPr lang="en-US"/>
          </a:p>
        </p:txBody>
      </p:sp>
      <p:sp>
        <p:nvSpPr>
          <p:cNvPr id="7" name="Text Placeholder 5"/>
          <p:cNvSpPr>
            <a:spLocks noGrp="1"/>
          </p:cNvSpPr>
          <p:nvPr>
            <p:ph type="body" sz="quarter" idx="14" hasCustomPrompt="1"/>
          </p:nvPr>
        </p:nvSpPr>
        <p:spPr>
          <a:xfrm>
            <a:off x="718765" y="1065601"/>
            <a:ext cx="10754123" cy="345257"/>
          </a:xfrm>
        </p:spPr>
        <p:txBody>
          <a:bodyPr lIns="0" tIns="0" rIns="0" bIns="0" anchor="ctr" anchorCtr="0">
            <a:normAutofit/>
          </a:bodyPr>
          <a:lstStyle>
            <a:lvl1pPr marL="257032" marR="0" indent="-257032" algn="l" defTabSz="342709" rtl="0" eaLnBrk="1" fontAlgn="auto" latinLnBrk="0" hangingPunct="1">
              <a:lnSpc>
                <a:spcPts val="1799"/>
              </a:lnSpc>
              <a:spcBef>
                <a:spcPts val="0"/>
              </a:spcBef>
              <a:spcAft>
                <a:spcPts val="300"/>
              </a:spcAft>
              <a:buClr>
                <a:schemeClr val="accent5"/>
              </a:buClr>
              <a:buSzTx/>
              <a:buFont typeface="Arial"/>
              <a:buNone/>
              <a:tabLst/>
              <a:defRPr sz="1893" baseline="0">
                <a:solidFill>
                  <a:srgbClr val="B2B2B2"/>
                </a:solidFill>
                <a:latin typeface="Roboto Regular" charset="0"/>
              </a:defRPr>
            </a:lvl1pPr>
          </a:lstStyle>
          <a:p>
            <a:pPr marL="257032" marR="0" lvl="0" indent="-257032" algn="l" defTabSz="342709" rtl="0" eaLnBrk="1" fontAlgn="auto" latinLnBrk="0" hangingPunct="1">
              <a:lnSpc>
                <a:spcPts val="1799"/>
              </a:lnSpc>
              <a:spcBef>
                <a:spcPts val="0"/>
              </a:spcBef>
              <a:spcAft>
                <a:spcPts val="300"/>
              </a:spcAft>
              <a:buClr>
                <a:schemeClr val="accent5"/>
              </a:buClr>
              <a:buSzTx/>
              <a:buFont typeface="Arial"/>
              <a:buNone/>
              <a:tabLst/>
              <a:defRPr/>
            </a:pPr>
            <a:r>
              <a:rPr lang="en-US"/>
              <a:t>Click to edit Sub title style</a:t>
            </a:r>
          </a:p>
        </p:txBody>
      </p:sp>
      <p:sp>
        <p:nvSpPr>
          <p:cNvPr id="6" name="Text Placeholder 5">
            <a:extLst>
              <a:ext uri="{FF2B5EF4-FFF2-40B4-BE49-F238E27FC236}">
                <a16:creationId xmlns:a16="http://schemas.microsoft.com/office/drawing/2014/main" id="{46499515-8373-F64A-9D3C-79A34D90C27E}"/>
              </a:ext>
            </a:extLst>
          </p:cNvPr>
          <p:cNvSpPr>
            <a:spLocks noGrp="1"/>
          </p:cNvSpPr>
          <p:nvPr>
            <p:ph type="body" sz="quarter" idx="15" hasCustomPrompt="1"/>
          </p:nvPr>
        </p:nvSpPr>
        <p:spPr>
          <a:xfrm>
            <a:off x="718779" y="1718400"/>
            <a:ext cx="7104421" cy="345256"/>
          </a:xfrm>
        </p:spPr>
        <p:txBody>
          <a:bodyPr lIns="0" tIns="0" rIns="0" bIns="0" anchor="ctr" anchorCtr="0">
            <a:normAutofit/>
          </a:bodyPr>
          <a:lstStyle>
            <a:lvl1pPr marL="257032" marR="0" indent="-257032" algn="l" defTabSz="342709" rtl="0" eaLnBrk="1" fontAlgn="auto" latinLnBrk="0" hangingPunct="1">
              <a:lnSpc>
                <a:spcPts val="1799"/>
              </a:lnSpc>
              <a:spcBef>
                <a:spcPts val="0"/>
              </a:spcBef>
              <a:spcAft>
                <a:spcPts val="300"/>
              </a:spcAft>
              <a:buClr>
                <a:schemeClr val="accent5"/>
              </a:buClr>
              <a:buSzTx/>
              <a:buFont typeface="Arial"/>
              <a:buNone/>
              <a:tabLst/>
              <a:defRPr sz="1893" baseline="0">
                <a:solidFill>
                  <a:srgbClr val="B2B2B2"/>
                </a:solidFill>
                <a:latin typeface="Roboto Regular" charset="0"/>
              </a:defRPr>
            </a:lvl1pPr>
          </a:lstStyle>
          <a:p>
            <a:pPr marL="257032" marR="0" lvl="0" indent="-257032" algn="l" defTabSz="342709" rtl="0" eaLnBrk="1" fontAlgn="auto" latinLnBrk="0" hangingPunct="1">
              <a:lnSpc>
                <a:spcPts val="1799"/>
              </a:lnSpc>
              <a:spcBef>
                <a:spcPts val="0"/>
              </a:spcBef>
              <a:spcAft>
                <a:spcPts val="300"/>
              </a:spcAft>
              <a:buClr>
                <a:schemeClr val="accent5"/>
              </a:buClr>
              <a:buSzTx/>
              <a:buFont typeface="Arial"/>
              <a:buNone/>
              <a:tabLst/>
              <a:defRPr/>
            </a:pPr>
            <a:r>
              <a:rPr lang="en-US"/>
              <a:t>Click to edit Customize bar title</a:t>
            </a:r>
          </a:p>
        </p:txBody>
      </p:sp>
      <p:cxnSp>
        <p:nvCxnSpPr>
          <p:cNvPr id="8" name="Straight Connector 7">
            <a:extLst>
              <a:ext uri="{FF2B5EF4-FFF2-40B4-BE49-F238E27FC236}">
                <a16:creationId xmlns:a16="http://schemas.microsoft.com/office/drawing/2014/main" id="{24B68638-B34B-5F45-AC36-F23761087066}"/>
              </a:ext>
            </a:extLst>
          </p:cNvPr>
          <p:cNvCxnSpPr>
            <a:cxnSpLocks/>
          </p:cNvCxnSpPr>
          <p:nvPr userDrawn="1"/>
        </p:nvCxnSpPr>
        <p:spPr>
          <a:xfrm>
            <a:off x="8128000" y="1804800"/>
            <a:ext cx="0" cy="4468800"/>
          </a:xfrm>
          <a:prstGeom prst="line">
            <a:avLst/>
          </a:prstGeom>
          <a:ln w="6350">
            <a:solidFill>
              <a:schemeClr val="bg1">
                <a:lumMod val="40000"/>
                <a:lumOff val="6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9" name="Text Placeholder 5">
            <a:extLst>
              <a:ext uri="{FF2B5EF4-FFF2-40B4-BE49-F238E27FC236}">
                <a16:creationId xmlns:a16="http://schemas.microsoft.com/office/drawing/2014/main" id="{BC06EDDB-6FAC-4945-8E41-D8BCF8F32C9A}"/>
              </a:ext>
            </a:extLst>
          </p:cNvPr>
          <p:cNvSpPr>
            <a:spLocks noGrp="1"/>
          </p:cNvSpPr>
          <p:nvPr>
            <p:ph type="body" sz="quarter" idx="16" hasCustomPrompt="1"/>
          </p:nvPr>
        </p:nvSpPr>
        <p:spPr>
          <a:xfrm>
            <a:off x="8432802" y="1718388"/>
            <a:ext cx="3039172" cy="345600"/>
          </a:xfrm>
        </p:spPr>
        <p:txBody>
          <a:bodyPr lIns="0" tIns="0" rIns="0" bIns="0" anchor="ctr" anchorCtr="0">
            <a:normAutofit/>
          </a:bodyPr>
          <a:lstStyle>
            <a:lvl1pPr marL="257032" marR="0" indent="-257032" algn="l" defTabSz="342709" rtl="0" eaLnBrk="1" fontAlgn="auto" latinLnBrk="0" hangingPunct="1">
              <a:lnSpc>
                <a:spcPts val="1799"/>
              </a:lnSpc>
              <a:spcBef>
                <a:spcPts val="0"/>
              </a:spcBef>
              <a:spcAft>
                <a:spcPts val="300"/>
              </a:spcAft>
              <a:buClr>
                <a:schemeClr val="accent5"/>
              </a:buClr>
              <a:buSzTx/>
              <a:buFont typeface="Arial"/>
              <a:buNone/>
              <a:tabLst/>
              <a:defRPr sz="1893" baseline="0">
                <a:solidFill>
                  <a:srgbClr val="B2B2B2"/>
                </a:solidFill>
                <a:latin typeface="Roboto Regular" charset="0"/>
              </a:defRPr>
            </a:lvl1pPr>
          </a:lstStyle>
          <a:p>
            <a:pPr marL="257032" marR="0" lvl="0" indent="-257032" algn="l" defTabSz="342709" rtl="0" eaLnBrk="1" fontAlgn="auto" latinLnBrk="0" hangingPunct="1">
              <a:lnSpc>
                <a:spcPts val="1799"/>
              </a:lnSpc>
              <a:spcBef>
                <a:spcPts val="0"/>
              </a:spcBef>
              <a:spcAft>
                <a:spcPts val="300"/>
              </a:spcAft>
              <a:buClr>
                <a:schemeClr val="accent5"/>
              </a:buClr>
              <a:buSzTx/>
              <a:buFont typeface="Arial"/>
              <a:buNone/>
              <a:tabLst/>
              <a:defRPr/>
            </a:pPr>
            <a:r>
              <a:rPr lang="en-US"/>
              <a:t>Click to edit Iris title</a:t>
            </a:r>
          </a:p>
        </p:txBody>
      </p:sp>
      <p:sp>
        <p:nvSpPr>
          <p:cNvPr id="11" name="Text Placeholder 10">
            <a:extLst>
              <a:ext uri="{FF2B5EF4-FFF2-40B4-BE49-F238E27FC236}">
                <a16:creationId xmlns:a16="http://schemas.microsoft.com/office/drawing/2014/main" id="{6907EC9A-D4D7-D148-BB47-C6E014C4AC02}"/>
              </a:ext>
            </a:extLst>
          </p:cNvPr>
          <p:cNvSpPr>
            <a:spLocks noGrp="1"/>
          </p:cNvSpPr>
          <p:nvPr>
            <p:ph type="body" sz="quarter" idx="17" hasCustomPrompt="1"/>
          </p:nvPr>
        </p:nvSpPr>
        <p:spPr>
          <a:xfrm>
            <a:off x="8432802" y="2400299"/>
            <a:ext cx="3038884" cy="3771901"/>
          </a:xfrm>
        </p:spPr>
        <p:txBody>
          <a:bodyPr/>
          <a:lstStyle/>
          <a:p>
            <a:pPr lvl="0"/>
            <a:r>
              <a:rPr lang="en-US"/>
              <a:t>Click to edit Iris data</a:t>
            </a:r>
          </a:p>
        </p:txBody>
      </p:sp>
    </p:spTree>
    <p:extLst>
      <p:ext uri="{BB962C8B-B14F-4D97-AF65-F5344CB8AC3E}">
        <p14:creationId xmlns:p14="http://schemas.microsoft.com/office/powerpoint/2010/main" val="40989269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png"/><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image" Target="../media/image63.png"/><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theme" Target="../theme/theme10.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image" Target="../media/image3.png"/><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image" Target="../media/image2.png"/><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image" Target="../media/image1.png"/><Relationship Id="rId8" Type="http://schemas.openxmlformats.org/officeDocument/2006/relationships/slideLayout" Target="../slideLayouts/slideLayout23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slideLayout" Target="../slideLayouts/slideLayout276.xml"/><Relationship Id="rId39" Type="http://schemas.openxmlformats.org/officeDocument/2006/relationships/image" Target="../media/image1.png"/><Relationship Id="rId21" Type="http://schemas.openxmlformats.org/officeDocument/2006/relationships/slideLayout" Target="../slideLayouts/slideLayout271.xml"/><Relationship Id="rId34" Type="http://schemas.openxmlformats.org/officeDocument/2006/relationships/slideLayout" Target="../slideLayouts/slideLayout284.xml"/><Relationship Id="rId42" Type="http://schemas.openxmlformats.org/officeDocument/2006/relationships/image" Target="../media/image63.png"/><Relationship Id="rId7" Type="http://schemas.openxmlformats.org/officeDocument/2006/relationships/slideLayout" Target="../slideLayouts/slideLayout257.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29" Type="http://schemas.openxmlformats.org/officeDocument/2006/relationships/slideLayout" Target="../slideLayouts/slideLayout279.xml"/><Relationship Id="rId41" Type="http://schemas.openxmlformats.org/officeDocument/2006/relationships/image" Target="../media/image3.png"/><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32" Type="http://schemas.openxmlformats.org/officeDocument/2006/relationships/slideLayout" Target="../slideLayouts/slideLayout282.xml"/><Relationship Id="rId37" Type="http://schemas.openxmlformats.org/officeDocument/2006/relationships/slideLayout" Target="../slideLayouts/slideLayout287.xml"/><Relationship Id="rId40" Type="http://schemas.openxmlformats.org/officeDocument/2006/relationships/image" Target="../media/image2.png"/><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28" Type="http://schemas.openxmlformats.org/officeDocument/2006/relationships/slideLayout" Target="../slideLayouts/slideLayout278.xml"/><Relationship Id="rId36" Type="http://schemas.openxmlformats.org/officeDocument/2006/relationships/slideLayout" Target="../slideLayouts/slideLayout286.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31" Type="http://schemas.openxmlformats.org/officeDocument/2006/relationships/slideLayout" Target="../slideLayouts/slideLayout281.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slideLayout" Target="../slideLayouts/slideLayout277.xml"/><Relationship Id="rId30" Type="http://schemas.openxmlformats.org/officeDocument/2006/relationships/slideLayout" Target="../slideLayouts/slideLayout280.xml"/><Relationship Id="rId35" Type="http://schemas.openxmlformats.org/officeDocument/2006/relationships/slideLayout" Target="../slideLayouts/slideLayout285.xml"/><Relationship Id="rId43" Type="http://schemas.openxmlformats.org/officeDocument/2006/relationships/image" Target="../media/image116.png"/><Relationship Id="rId8" Type="http://schemas.openxmlformats.org/officeDocument/2006/relationships/slideLayout" Target="../slideLayouts/slideLayout258.xml"/><Relationship Id="rId3" Type="http://schemas.openxmlformats.org/officeDocument/2006/relationships/slideLayout" Target="../slideLayouts/slideLayout253.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slideLayout" Target="../slideLayouts/slideLayout275.xml"/><Relationship Id="rId33" Type="http://schemas.openxmlformats.org/officeDocument/2006/relationships/slideLayout" Target="../slideLayouts/slideLayout283.xml"/><Relationship Id="rId38"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33" Type="http://schemas.openxmlformats.org/officeDocument/2006/relationships/image" Target="../media/image63.png"/><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theme" Target="../theme/theme12.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32" Type="http://schemas.openxmlformats.org/officeDocument/2006/relationships/image" Target="../media/image3.png"/><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slideLayout" Target="../slideLayouts/slideLayout315.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31" Type="http://schemas.openxmlformats.org/officeDocument/2006/relationships/image" Target="../media/image2.png"/><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 Id="rId30" Type="http://schemas.openxmlformats.org/officeDocument/2006/relationships/image" Target="../media/image1.png"/><Relationship Id="rId8" Type="http://schemas.openxmlformats.org/officeDocument/2006/relationships/slideLayout" Target="../slideLayouts/slideLayout29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image" Target="../media/image3.png"/><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image" Target="../media/image1.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image" Target="../media/image63.png"/><Relationship Id="rId8"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image" Target="../media/image63.png"/><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image" Target="../media/image3.png"/><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image" Target="../media/image2.png"/><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image" Target="../media/image108.png"/><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image" Target="../media/image2.png"/><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image" Target="../media/image108.png"/><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heme" Target="../theme/theme4.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image" Target="../media/image63.png"/><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image" Target="../media/image63.png"/><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theme" Target="../theme/theme5.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image" Target="../media/image3.png"/><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image" Target="../media/image2.png"/><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image" Target="../media/image1.png"/><Relationship Id="rId8" Type="http://schemas.openxmlformats.org/officeDocument/2006/relationships/slideLayout" Target="../slideLayouts/slideLayout10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theme" Target="../theme/theme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image" Target="../media/image116.png"/><Relationship Id="rId21" Type="http://schemas.openxmlformats.org/officeDocument/2006/relationships/slideLayout" Target="../slideLayouts/slideLayout161.xml"/><Relationship Id="rId34" Type="http://schemas.openxmlformats.org/officeDocument/2006/relationships/theme" Target="../theme/theme7.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image" Target="../media/image63.png"/><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image" Target="../media/image3.png"/><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image" Target="../media/image2.png"/><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image" Target="../media/image1.png"/><Relationship Id="rId8" Type="http://schemas.openxmlformats.org/officeDocument/2006/relationships/slideLayout" Target="../slideLayouts/slideLayout148.xml"/><Relationship Id="rId3" Type="http://schemas.openxmlformats.org/officeDocument/2006/relationships/slideLayout" Target="../slideLayouts/slideLayout1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heme" Target="../theme/theme8.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9" Type="http://schemas.openxmlformats.org/officeDocument/2006/relationships/image" Target="../media/image1.png"/><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42" Type="http://schemas.openxmlformats.org/officeDocument/2006/relationships/image" Target="../media/image63.png"/><Relationship Id="rId7" Type="http://schemas.openxmlformats.org/officeDocument/2006/relationships/slideLayout" Target="../slideLayouts/slideLayout19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slideLayout" Target="../slideLayouts/slideLayout214.xml"/><Relationship Id="rId41" Type="http://schemas.openxmlformats.org/officeDocument/2006/relationships/image" Target="../media/image3.png"/><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37" Type="http://schemas.openxmlformats.org/officeDocument/2006/relationships/slideLayout" Target="../slideLayouts/slideLayout222.xml"/><Relationship Id="rId40" Type="http://schemas.openxmlformats.org/officeDocument/2006/relationships/image" Target="../media/image2.png"/><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slideLayout" Target="../slideLayouts/slideLayout221.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8" Type="http://schemas.openxmlformats.org/officeDocument/2006/relationships/slideLayout" Target="../slideLayouts/slideLayout193.xml"/><Relationship Id="rId3" Type="http://schemas.openxmlformats.org/officeDocument/2006/relationships/slideLayout" Target="../slideLayouts/slideLayout188.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38"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B6D53476-A8E5-653B-2140-D32A16AF4B93}"/>
              </a:ext>
            </a:extLst>
          </p:cNvPr>
          <p:cNvPicPr>
            <a:picLocks noChangeAspect="1"/>
          </p:cNvPicPr>
          <p:nvPr/>
        </p:nvPicPr>
        <p:blipFill rotWithShape="1">
          <a:blip r:embed="rId29">
            <a:extLst>
              <a:ext uri="{28A0092B-C50C-407E-A947-70E740481C1C}">
                <a14:useLocalDpi xmlns:a14="http://schemas.microsoft.com/office/drawing/2010/main" val="0"/>
              </a:ext>
            </a:extLst>
          </a:blip>
          <a:srcRect l="19022"/>
          <a:stretch/>
        </p:blipFill>
        <p:spPr>
          <a:xfrm>
            <a:off x="-19878" y="-73746"/>
            <a:ext cx="709114" cy="7005491"/>
          </a:xfrm>
          <a:prstGeom prst="rect">
            <a:avLst/>
          </a:prstGeom>
        </p:spPr>
      </p:pic>
      <p:sp>
        <p:nvSpPr>
          <p:cNvPr id="6" name="CuadroTexto 5">
            <a:extLst>
              <a:ext uri="{FF2B5EF4-FFF2-40B4-BE49-F238E27FC236}">
                <a16:creationId xmlns:a16="http://schemas.microsoft.com/office/drawing/2014/main" id="{AFAF7F92-2389-5C9A-839E-301559765461}"/>
              </a:ext>
            </a:extLst>
          </p:cNvPr>
          <p:cNvSpPr txBox="1"/>
          <p:nvPr/>
        </p:nvSpPr>
        <p:spPr>
          <a:xfrm>
            <a:off x="68589"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sp>
        <p:nvSpPr>
          <p:cNvPr id="7" name="Picture Placeholder 3">
            <a:extLst>
              <a:ext uri="{FF2B5EF4-FFF2-40B4-BE49-F238E27FC236}">
                <a16:creationId xmlns:a16="http://schemas.microsoft.com/office/drawing/2014/main" id="{19734DB7-EA5E-D8DF-6275-78BD2F587F13}"/>
              </a:ext>
            </a:extLst>
          </p:cNvPr>
          <p:cNvSpPr txBox="1">
            <a:spLocks/>
          </p:cNvSpPr>
          <p:nvPr/>
        </p:nvSpPr>
        <p:spPr>
          <a:xfrm>
            <a:off x="74715" y="256186"/>
            <a:ext cx="450715" cy="420241"/>
          </a:xfrm>
          <a:prstGeom prst="rect">
            <a:avLst/>
          </a:prstGeom>
          <a:solidFill>
            <a:srgbClr val="FFFFFF"/>
          </a:solidFill>
        </p:spPr>
        <p:txBody>
          <a:bodyPr anchor="ctr"/>
          <a:lstStyle>
            <a:lvl1pPr marL="0" indent="0" algn="ctr"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800"/>
              <a:t>Logo here</a:t>
            </a:r>
            <a:endParaRPr lang="es-CO" sz="800"/>
          </a:p>
        </p:txBody>
      </p:sp>
      <p:pic>
        <p:nvPicPr>
          <p:cNvPr id="9" name="Imagen 8">
            <a:extLst>
              <a:ext uri="{FF2B5EF4-FFF2-40B4-BE49-F238E27FC236}">
                <a16:creationId xmlns:a16="http://schemas.microsoft.com/office/drawing/2014/main" id="{C590FE9F-EB9E-6E16-B66B-0976D5D4C57D}"/>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14641" y="5536094"/>
            <a:ext cx="228820" cy="749685"/>
          </a:xfrm>
          <a:prstGeom prst="rect">
            <a:avLst/>
          </a:prstGeom>
        </p:spPr>
      </p:pic>
      <p:pic>
        <p:nvPicPr>
          <p:cNvPr id="10" name="Imagen 9">
            <a:extLst>
              <a:ext uri="{FF2B5EF4-FFF2-40B4-BE49-F238E27FC236}">
                <a16:creationId xmlns:a16="http://schemas.microsoft.com/office/drawing/2014/main" id="{85B112F1-920C-4561-5A0F-8DEF4BA3E0F7}"/>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rot="16200000">
            <a:off x="69748" y="6452047"/>
            <a:ext cx="403481" cy="546652"/>
          </a:xfrm>
          <a:prstGeom prst="rect">
            <a:avLst/>
          </a:prstGeom>
        </p:spPr>
      </p:pic>
      <p:pic>
        <p:nvPicPr>
          <p:cNvPr id="2" name="Imagen 1">
            <a:extLst>
              <a:ext uri="{FF2B5EF4-FFF2-40B4-BE49-F238E27FC236}">
                <a16:creationId xmlns:a16="http://schemas.microsoft.com/office/drawing/2014/main" id="{954647C5-C5F8-13EE-5366-7C0A0219C2EE}"/>
              </a:ext>
            </a:extLst>
          </p:cNvPr>
          <p:cNvPicPr>
            <a:picLocks noChangeAspect="1"/>
          </p:cNvPicPr>
          <p:nvPr userDrawn="1"/>
        </p:nvPicPr>
        <p:blipFill>
          <a:blip r:embed="rId32" cstate="print">
            <a:duotone>
              <a:schemeClr val="accent4">
                <a:shade val="45000"/>
                <a:satMod val="135000"/>
              </a:schemeClr>
              <a:prstClr val="white"/>
            </a:duotone>
            <a:extLst>
              <a:ext uri="{28A0092B-C50C-407E-A947-70E740481C1C}">
                <a14:useLocalDpi xmlns:a14="http://schemas.microsoft.com/office/drawing/2010/main" val="0"/>
              </a:ext>
            </a:extLst>
          </a:blip>
          <a:srcRect l="3225" r="3225"/>
          <a:stretch/>
        </p:blipFill>
        <p:spPr>
          <a:xfrm>
            <a:off x="5776331" y="-1"/>
            <a:ext cx="6415669" cy="6858000"/>
          </a:xfrm>
          <a:prstGeom prst="rect">
            <a:avLst/>
          </a:prstGeom>
        </p:spPr>
      </p:pic>
      <p:pic>
        <p:nvPicPr>
          <p:cNvPr id="3" name="Imagen 2">
            <a:extLst>
              <a:ext uri="{FF2B5EF4-FFF2-40B4-BE49-F238E27FC236}">
                <a16:creationId xmlns:a16="http://schemas.microsoft.com/office/drawing/2014/main" id="{265EBFA1-252C-9E6A-4D38-9314AD7C1363}"/>
              </a:ext>
            </a:extLst>
          </p:cNvPr>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1838" y="-10197"/>
            <a:ext cx="12192000" cy="6858000"/>
          </a:xfrm>
          <a:prstGeom prst="rect">
            <a:avLst/>
          </a:prstGeom>
        </p:spPr>
      </p:pic>
      <p:sp>
        <p:nvSpPr>
          <p:cNvPr id="4" name="Marcador de fecha 3">
            <a:extLst>
              <a:ext uri="{FF2B5EF4-FFF2-40B4-BE49-F238E27FC236}">
                <a16:creationId xmlns:a16="http://schemas.microsoft.com/office/drawing/2014/main" id="{550AE13D-29F3-6E52-A9F5-DA3E4818C574}"/>
              </a:ext>
            </a:extLst>
          </p:cNvPr>
          <p:cNvSpPr txBox="1">
            <a:spLocks/>
          </p:cNvSpPr>
          <p:nvPr userDrawn="1"/>
        </p:nvSpPr>
        <p:spPr>
          <a:xfrm>
            <a:off x="982663" y="2445254"/>
            <a:ext cx="5147293"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6600" b="1" i="0" kern="1200">
                <a:solidFill>
                  <a:srgbClr val="6200EE"/>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i="0">
              <a:solidFill>
                <a:schemeClr val="bg1"/>
              </a:solidFill>
              <a:latin typeface="Poppins Medium" pitchFamily="2" charset="77"/>
              <a:cs typeface="Poppins Medium" pitchFamily="2" charset="77"/>
            </a:endParaRPr>
          </a:p>
        </p:txBody>
      </p:sp>
      <p:sp>
        <p:nvSpPr>
          <p:cNvPr id="8" name="Marcador de fecha 3">
            <a:extLst>
              <a:ext uri="{FF2B5EF4-FFF2-40B4-BE49-F238E27FC236}">
                <a16:creationId xmlns:a16="http://schemas.microsoft.com/office/drawing/2014/main" id="{45D9D180-1A42-2398-4D8A-A4836FF19C63}"/>
              </a:ext>
            </a:extLst>
          </p:cNvPr>
          <p:cNvSpPr txBox="1">
            <a:spLocks/>
          </p:cNvSpPr>
          <p:nvPr userDrawn="1"/>
        </p:nvSpPr>
        <p:spPr>
          <a:xfrm>
            <a:off x="982663" y="3722308"/>
            <a:ext cx="3236717" cy="365125"/>
          </a:xfrm>
          <a:prstGeom prst="rect">
            <a:avLst/>
          </a:prstGeom>
        </p:spPr>
        <p:txBody>
          <a:bodyPr/>
          <a:lstStyle>
            <a:defPPr>
              <a:defRPr lang="es-ES"/>
            </a:defPPr>
            <a:lvl1pPr marL="0" indent="0" algn="l" defTabSz="914400" rtl="0" eaLnBrk="1" latinLnBrk="0" hangingPunct="1">
              <a:buFont typeface="Arial" panose="020B0604020202020204" pitchFamily="34" charset="0"/>
              <a:buNone/>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0">
              <a:solidFill>
                <a:srgbClr val="D5B9FF"/>
              </a:solidFill>
            </a:endParaRPr>
          </a:p>
        </p:txBody>
      </p:sp>
      <p:sp>
        <p:nvSpPr>
          <p:cNvPr id="11" name="CuadroTexto 10">
            <a:extLst>
              <a:ext uri="{FF2B5EF4-FFF2-40B4-BE49-F238E27FC236}">
                <a16:creationId xmlns:a16="http://schemas.microsoft.com/office/drawing/2014/main" id="{8ADE3532-8E2C-EAAC-030B-53A88DA3563E}"/>
              </a:ext>
            </a:extLst>
          </p:cNvPr>
          <p:cNvSpPr txBox="1"/>
          <p:nvPr userDrawn="1"/>
        </p:nvSpPr>
        <p:spPr>
          <a:xfrm>
            <a:off x="666284" y="6136719"/>
            <a:ext cx="5780049"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O">
              <a:solidFill>
                <a:schemeClr val="bg1"/>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900" i="1" err="1">
                <a:solidFill>
                  <a:schemeClr val="bg1"/>
                </a:solidFill>
                <a:effectLst/>
                <a:latin typeface="+mj-lt"/>
              </a:rPr>
              <a:t>Confidential</a:t>
            </a:r>
            <a:r>
              <a:rPr lang="es-CO" sz="900" i="1">
                <a:solidFill>
                  <a:schemeClr val="bg1"/>
                </a:solidFill>
                <a:effectLst/>
                <a:latin typeface="+mj-lt"/>
              </a:rPr>
              <a:t> and </a:t>
            </a:r>
            <a:r>
              <a:rPr lang="es-CO" sz="900" i="1" err="1">
                <a:solidFill>
                  <a:schemeClr val="bg1"/>
                </a:solidFill>
                <a:effectLst/>
                <a:latin typeface="+mj-lt"/>
              </a:rPr>
              <a:t>proprietary</a:t>
            </a:r>
            <a:r>
              <a:rPr lang="es-CO" sz="900" i="1">
                <a:solidFill>
                  <a:schemeClr val="bg1"/>
                </a:solidFill>
                <a:effectLst/>
                <a:latin typeface="+mj-lt"/>
              </a:rPr>
              <a:t>. </a:t>
            </a:r>
            <a:r>
              <a:rPr lang="es-CO" sz="900" i="1" err="1">
                <a:solidFill>
                  <a:schemeClr val="bg1"/>
                </a:solidFill>
                <a:effectLst/>
                <a:latin typeface="+mj-lt"/>
              </a:rPr>
              <a:t>Not</a:t>
            </a:r>
            <a:r>
              <a:rPr lang="es-CO" sz="900" i="1">
                <a:solidFill>
                  <a:schemeClr val="bg1"/>
                </a:solidFill>
                <a:effectLst/>
                <a:latin typeface="+mj-lt"/>
              </a:rPr>
              <a:t> </a:t>
            </a:r>
            <a:r>
              <a:rPr lang="es-CO" sz="900" i="1" err="1">
                <a:solidFill>
                  <a:schemeClr val="bg1"/>
                </a:solidFill>
                <a:effectLst/>
                <a:latin typeface="+mj-lt"/>
              </a:rPr>
              <a:t>for</a:t>
            </a:r>
            <a:r>
              <a:rPr lang="es-CO" sz="900" i="1">
                <a:solidFill>
                  <a:schemeClr val="bg1"/>
                </a:solidFill>
                <a:effectLst/>
                <a:latin typeface="+mj-lt"/>
              </a:rPr>
              <a:t> </a:t>
            </a:r>
            <a:r>
              <a:rPr lang="es-CO" sz="900" i="1" err="1">
                <a:solidFill>
                  <a:schemeClr val="bg1"/>
                </a:solidFill>
                <a:effectLst/>
                <a:latin typeface="+mj-lt"/>
              </a:rPr>
              <a:t>distribution</a:t>
            </a:r>
            <a:r>
              <a:rPr lang="es-CO" sz="900" i="1">
                <a:solidFill>
                  <a:schemeClr val="bg1"/>
                </a:solidFill>
                <a:effectLst/>
                <a:latin typeface="+mj-lt"/>
              </a:rPr>
              <a:t> </a:t>
            </a:r>
            <a:r>
              <a:rPr lang="es-CO" sz="900" i="1" err="1">
                <a:solidFill>
                  <a:schemeClr val="bg1"/>
                </a:solidFill>
                <a:effectLst/>
                <a:latin typeface="+mj-lt"/>
              </a:rPr>
              <a:t>without</a:t>
            </a:r>
            <a:r>
              <a:rPr lang="es-CO" sz="900" i="1">
                <a:solidFill>
                  <a:schemeClr val="bg1"/>
                </a:solidFill>
                <a:effectLst/>
                <a:latin typeface="+mj-lt"/>
              </a:rPr>
              <a:t> IOTA </a:t>
            </a:r>
            <a:r>
              <a:rPr lang="es-CO" sz="900" i="1" err="1">
                <a:solidFill>
                  <a:schemeClr val="bg1"/>
                </a:solidFill>
                <a:effectLst/>
                <a:latin typeface="+mj-lt"/>
              </a:rPr>
              <a:t>Impact's</a:t>
            </a:r>
            <a:r>
              <a:rPr lang="es-CO" sz="900" i="1">
                <a:solidFill>
                  <a:schemeClr val="bg1"/>
                </a:solidFill>
                <a:effectLst/>
                <a:latin typeface="+mj-lt"/>
              </a:rPr>
              <a:t> </a:t>
            </a:r>
            <a:r>
              <a:rPr lang="es-CO" sz="900" i="1" err="1">
                <a:solidFill>
                  <a:schemeClr val="bg1"/>
                </a:solidFill>
                <a:effectLst/>
                <a:latin typeface="+mj-lt"/>
              </a:rPr>
              <a:t>permission</a:t>
            </a:r>
            <a:r>
              <a:rPr lang="es-CO" sz="900" i="1">
                <a:solidFill>
                  <a:schemeClr val="bg1"/>
                </a:solidFill>
                <a:effectLst/>
                <a:latin typeface="+mj-lt"/>
              </a:rPr>
              <a:t>.</a:t>
            </a:r>
            <a:endParaRPr lang="es-CO" sz="900">
              <a:solidFill>
                <a:schemeClr val="bg1"/>
              </a:solidFill>
              <a:effectLst/>
              <a:latin typeface="+mj-lt"/>
            </a:endParaRPr>
          </a:p>
          <a:p>
            <a:pPr algn="l"/>
            <a:endParaRPr lang="es-CO">
              <a:solidFill>
                <a:schemeClr val="bg1"/>
              </a:solidFill>
            </a:endParaRPr>
          </a:p>
        </p:txBody>
      </p:sp>
      <p:pic>
        <p:nvPicPr>
          <p:cNvPr id="12" name="Imagen 11">
            <a:extLst>
              <a:ext uri="{FF2B5EF4-FFF2-40B4-BE49-F238E27FC236}">
                <a16:creationId xmlns:a16="http://schemas.microsoft.com/office/drawing/2014/main" id="{7AEBE580-635B-3240-C8BE-E8ECF0198277}"/>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70065" y="1189508"/>
            <a:ext cx="1149011" cy="1556725"/>
          </a:xfrm>
          <a:prstGeom prst="rect">
            <a:avLst/>
          </a:prstGeom>
        </p:spPr>
      </p:pic>
    </p:spTree>
    <p:extLst>
      <p:ext uri="{BB962C8B-B14F-4D97-AF65-F5344CB8AC3E}">
        <p14:creationId xmlns:p14="http://schemas.microsoft.com/office/powerpoint/2010/main" val="1868186488"/>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Lst>
  <p:txStyles>
    <p:titleStyle>
      <a:lvl1pPr algn="l" defTabSz="914400" rtl="0" eaLnBrk="1" latinLnBrk="0" hangingPunct="1">
        <a:lnSpc>
          <a:spcPct val="100000"/>
        </a:lnSpc>
        <a:spcBef>
          <a:spcPct val="0"/>
        </a:spcBef>
        <a:buNone/>
        <a:defRPr sz="2200" b="0" i="0" kern="1200">
          <a:solidFill>
            <a:schemeClr val="accent4"/>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0">
            <a:extLst>
              <a:ext uri="{28A0092B-C50C-407E-A947-70E740481C1C}">
                <a14:useLocalDpi xmlns:a14="http://schemas.microsoft.com/office/drawing/2010/main" val="0"/>
              </a:ext>
            </a:extLst>
          </a:blip>
          <a:srcRect l="19022"/>
          <a:stretch/>
        </p:blipFill>
        <p:spPr>
          <a:xfrm>
            <a:off x="-5628" y="-73746"/>
            <a:ext cx="709114" cy="700549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33"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2444695514"/>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 id="2147483924" r:id="rId27"/>
    <p:sldLayoutId id="2147483925" r:id="rId28"/>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9">
            <a:extLst>
              <a:ext uri="{28A0092B-C50C-407E-A947-70E740481C1C}">
                <a14:useLocalDpi xmlns:a14="http://schemas.microsoft.com/office/drawing/2010/main" val="0"/>
              </a:ext>
            </a:extLst>
          </a:blip>
          <a:srcRect l="19022" t="1053" b="1053"/>
          <a:stretch/>
        </p:blipFill>
        <p:spPr>
          <a:xfrm>
            <a:off x="-5628" y="-1"/>
            <a:ext cx="709114" cy="685800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rot="16200000">
            <a:off x="89626" y="6443501"/>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42">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pic>
        <p:nvPicPr>
          <p:cNvPr id="4" name="Imagen 3">
            <a:extLst>
              <a:ext uri="{FF2B5EF4-FFF2-40B4-BE49-F238E27FC236}">
                <a16:creationId xmlns:a16="http://schemas.microsoft.com/office/drawing/2014/main" id="{B57A638A-EED9-E532-C7BF-836615882434}"/>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rot="16200000">
            <a:off x="-31724" y="472704"/>
            <a:ext cx="761306" cy="346404"/>
          </a:xfrm>
          <a:prstGeom prst="rect">
            <a:avLst/>
          </a:prstGeom>
        </p:spPr>
      </p:pic>
    </p:spTree>
    <p:extLst>
      <p:ext uri="{BB962C8B-B14F-4D97-AF65-F5344CB8AC3E}">
        <p14:creationId xmlns:p14="http://schemas.microsoft.com/office/powerpoint/2010/main" val="151931406"/>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1" r:id="rId33"/>
    <p:sldLayoutId id="2147483962" r:id="rId34"/>
    <p:sldLayoutId id="2147483963" r:id="rId35"/>
    <p:sldLayoutId id="2147483964" r:id="rId36"/>
    <p:sldLayoutId id="2147483965" r:id="rId37"/>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0">
            <a:extLst>
              <a:ext uri="{28A0092B-C50C-407E-A947-70E740481C1C}">
                <a14:useLocalDpi xmlns:a14="http://schemas.microsoft.com/office/drawing/2010/main" val="0"/>
              </a:ext>
            </a:extLst>
          </a:blip>
          <a:srcRect l="19022"/>
          <a:stretch/>
        </p:blipFill>
        <p:spPr>
          <a:xfrm>
            <a:off x="-5628" y="-73746"/>
            <a:ext cx="709114" cy="700549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33"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1384386422"/>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 id="2147483991" r:id="rId25"/>
    <p:sldLayoutId id="2147483992" r:id="rId26"/>
    <p:sldLayoutId id="2147483993" r:id="rId27"/>
    <p:sldLayoutId id="2147483994" r:id="rId28"/>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2">
            <a:extLst>
              <a:ext uri="{28A0092B-C50C-407E-A947-70E740481C1C}">
                <a14:useLocalDpi xmlns:a14="http://schemas.microsoft.com/office/drawing/2010/main" val="0"/>
              </a:ext>
            </a:extLst>
          </a:blip>
          <a:srcRect l="19022"/>
          <a:stretch/>
        </p:blipFill>
        <p:spPr>
          <a:xfrm>
            <a:off x="-5628" y="-73746"/>
            <a:ext cx="709114" cy="700549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35"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376615782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995" r:id="rId30"/>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96A29DA4-01A2-5872-D529-E89D5A4875A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694184" cy="6858000"/>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26"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27411883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2" r:id="rId19"/>
    <p:sldLayoutId id="2147483743" r:id="rId20"/>
    <p:sldLayoutId id="2147483744" r:id="rId21"/>
  </p:sldLayoutIdLst>
  <p:hf sldNum="0" hdr="0" ftr="0"/>
  <p:txStyles>
    <p:titleStyle>
      <a:lvl1pPr marL="0" algn="l" defTabSz="914400" rtl="0" eaLnBrk="1" latinLnBrk="0" hangingPunct="1">
        <a:lnSpc>
          <a:spcPct val="100000"/>
        </a:lnSpc>
        <a:spcBef>
          <a:spcPct val="0"/>
        </a:spcBef>
        <a:buNone/>
        <a:defRPr lang="en-US" sz="2400" b="0" i="0" kern="1200" dirty="0">
          <a:solidFill>
            <a:schemeClr val="accent2">
              <a:lumMod val="50000"/>
            </a:schemeClr>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96A29DA4-01A2-5872-D529-E89D5A4875A0}"/>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0" y="0"/>
            <a:ext cx="694184" cy="6858000"/>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28"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2011229502"/>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Lst>
  <p:hf sldNum="0" hdr="0" ftr="0"/>
  <p:txStyles>
    <p:titleStyle>
      <a:lvl1pPr marL="0" algn="l" defTabSz="914400" rtl="0" eaLnBrk="1" latinLnBrk="0" hangingPunct="1">
        <a:lnSpc>
          <a:spcPct val="100000"/>
        </a:lnSpc>
        <a:spcBef>
          <a:spcPct val="0"/>
        </a:spcBef>
        <a:buNone/>
        <a:defRPr lang="en-US" sz="2400" b="0" i="0" kern="1200" dirty="0">
          <a:solidFill>
            <a:schemeClr val="accent2">
              <a:lumMod val="50000"/>
            </a:schemeClr>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0">
            <a:extLst>
              <a:ext uri="{28A0092B-C50C-407E-A947-70E740481C1C}">
                <a14:useLocalDpi xmlns:a14="http://schemas.microsoft.com/office/drawing/2010/main" val="0"/>
              </a:ext>
            </a:extLst>
          </a:blip>
          <a:srcRect l="19022"/>
          <a:stretch/>
        </p:blipFill>
        <p:spPr>
          <a:xfrm>
            <a:off x="-5628" y="-73746"/>
            <a:ext cx="709114" cy="700549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16200000">
            <a:off x="89626" y="6452047"/>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33" cstate="print">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332433059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9C196ABC-5C74-4B28-80D0-9C01B47C5F1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0795AFC2-FE24-0F32-0B8F-56050EBBAEF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2E1C9608-DA0F-75A9-86C5-64CBD8C87E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393B4C-25A0-4FA8-90F4-33628FEB86BA}" type="datetimeFigureOut">
              <a:rPr lang="es-CO" smtClean="0"/>
              <a:t>27/11/2024</a:t>
            </a:fld>
            <a:endParaRPr lang="es-CO"/>
          </a:p>
        </p:txBody>
      </p:sp>
      <p:sp>
        <p:nvSpPr>
          <p:cNvPr id="5" name="Marcador de pie de página 4">
            <a:extLst>
              <a:ext uri="{FF2B5EF4-FFF2-40B4-BE49-F238E27FC236}">
                <a16:creationId xmlns:a16="http://schemas.microsoft.com/office/drawing/2014/main" id="{1E05D170-4A1C-1121-8DB3-C0FCA0416AC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O"/>
          </a:p>
        </p:txBody>
      </p:sp>
      <p:sp>
        <p:nvSpPr>
          <p:cNvPr id="6" name="Marcador de número de diapositiva 5">
            <a:extLst>
              <a:ext uri="{FF2B5EF4-FFF2-40B4-BE49-F238E27FC236}">
                <a16:creationId xmlns:a16="http://schemas.microsoft.com/office/drawing/2014/main" id="{E29D08A3-4753-4487-F225-A68CCEC586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B451D2-8377-4F3E-BFA3-D23C4C860D00}" type="slidenum">
              <a:rPr lang="es-CO" smtClean="0"/>
              <a:t>‹#›</a:t>
            </a:fld>
            <a:endParaRPr lang="es-CO"/>
          </a:p>
        </p:txBody>
      </p:sp>
    </p:spTree>
    <p:extLst>
      <p:ext uri="{BB962C8B-B14F-4D97-AF65-F5344CB8AC3E}">
        <p14:creationId xmlns:p14="http://schemas.microsoft.com/office/powerpoint/2010/main" val="556029357"/>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5">
            <a:extLst>
              <a:ext uri="{28A0092B-C50C-407E-A947-70E740481C1C}">
                <a14:useLocalDpi xmlns:a14="http://schemas.microsoft.com/office/drawing/2010/main" val="0"/>
              </a:ext>
            </a:extLst>
          </a:blip>
          <a:srcRect l="19022" t="1053" b="1053"/>
          <a:stretch/>
        </p:blipFill>
        <p:spPr>
          <a:xfrm>
            <a:off x="-5628" y="-1"/>
            <a:ext cx="709114" cy="685800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rot="16200000">
            <a:off x="89626" y="6443501"/>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38">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pic>
        <p:nvPicPr>
          <p:cNvPr id="4" name="Imagen 3">
            <a:extLst>
              <a:ext uri="{FF2B5EF4-FFF2-40B4-BE49-F238E27FC236}">
                <a16:creationId xmlns:a16="http://schemas.microsoft.com/office/drawing/2014/main" id="{B57A638A-EED9-E532-C7BF-836615882434}"/>
              </a:ext>
            </a:extLst>
          </p:cNvPr>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rot="16200000">
            <a:off x="-31724" y="472704"/>
            <a:ext cx="761306" cy="346404"/>
          </a:xfrm>
          <a:prstGeom prst="rect">
            <a:avLst/>
          </a:prstGeom>
        </p:spPr>
      </p:pic>
    </p:spTree>
    <p:extLst>
      <p:ext uri="{BB962C8B-B14F-4D97-AF65-F5344CB8AC3E}">
        <p14:creationId xmlns:p14="http://schemas.microsoft.com/office/powerpoint/2010/main" val="2289305755"/>
      </p:ext>
    </p:extLst>
  </p:cSld>
  <p:clrMap bg1="lt1" tx1="dk1" bg2="lt2" tx2="dk2" accent1="accent1" accent2="accent2" accent3="accent3" accent4="accent4" accent5="accent5" accent6="accent6" hlink="hlink" folHlink="folHlink"/>
  <p:sldLayoutIdLst>
    <p:sldLayoutId id="2147483811"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2349FA2-50FD-2C16-9CC7-E427380632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BE6FC216-5789-A7F6-F300-50CD30CF11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CD12E33F-3D0C-F5D1-4415-DD900D17636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F521351-F782-4D51-AFB8-2B056516C2AA}" type="datetimeFigureOut">
              <a:rPr lang="es-CO" smtClean="0"/>
              <a:t>27/11/2024</a:t>
            </a:fld>
            <a:endParaRPr lang="es-CO"/>
          </a:p>
        </p:txBody>
      </p:sp>
      <p:sp>
        <p:nvSpPr>
          <p:cNvPr id="5" name="Marcador de pie de página 4">
            <a:extLst>
              <a:ext uri="{FF2B5EF4-FFF2-40B4-BE49-F238E27FC236}">
                <a16:creationId xmlns:a16="http://schemas.microsoft.com/office/drawing/2014/main" id="{C09BEF20-EEFF-AF77-F10D-56A9A25029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CO"/>
          </a:p>
        </p:txBody>
      </p:sp>
      <p:sp>
        <p:nvSpPr>
          <p:cNvPr id="6" name="Marcador de número de diapositiva 5">
            <a:extLst>
              <a:ext uri="{FF2B5EF4-FFF2-40B4-BE49-F238E27FC236}">
                <a16:creationId xmlns:a16="http://schemas.microsoft.com/office/drawing/2014/main" id="{698E736E-5495-9C96-7F6C-05AD9736EE1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FFDDCF4-3F6A-4B87-B61F-1FF7C3F9BAB8}" type="slidenum">
              <a:rPr lang="es-CO" smtClean="0"/>
              <a:t>‹#›</a:t>
            </a:fld>
            <a:endParaRPr lang="es-CO"/>
          </a:p>
        </p:txBody>
      </p:sp>
    </p:spTree>
    <p:extLst>
      <p:ext uri="{BB962C8B-B14F-4D97-AF65-F5344CB8AC3E}">
        <p14:creationId xmlns:p14="http://schemas.microsoft.com/office/powerpoint/2010/main" val="4148381487"/>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1C33EE28-B846-B066-52DB-8BF1AF2CDEE8}"/>
              </a:ext>
            </a:extLst>
          </p:cNvPr>
          <p:cNvPicPr>
            <a:picLocks noChangeAspect="1"/>
          </p:cNvPicPr>
          <p:nvPr userDrawn="1"/>
        </p:nvPicPr>
        <p:blipFill rotWithShape="1">
          <a:blip r:embed="rId39">
            <a:extLst>
              <a:ext uri="{28A0092B-C50C-407E-A947-70E740481C1C}">
                <a14:useLocalDpi xmlns:a14="http://schemas.microsoft.com/office/drawing/2010/main" val="0"/>
              </a:ext>
            </a:extLst>
          </a:blip>
          <a:srcRect l="19022" t="1053" b="1053"/>
          <a:stretch/>
        </p:blipFill>
        <p:spPr>
          <a:xfrm>
            <a:off x="-5628" y="-1"/>
            <a:ext cx="709114" cy="6858001"/>
          </a:xfrm>
          <a:prstGeom prst="rect">
            <a:avLst/>
          </a:prstGeom>
        </p:spPr>
      </p:pic>
      <p:sp>
        <p:nvSpPr>
          <p:cNvPr id="32" name="Title Placeholder 31">
            <a:extLst>
              <a:ext uri="{FF2B5EF4-FFF2-40B4-BE49-F238E27FC236}">
                <a16:creationId xmlns:a16="http://schemas.microsoft.com/office/drawing/2014/main" id="{1B8FC68B-EA32-27FE-9BE3-CCC32898434C}"/>
              </a:ext>
            </a:extLst>
          </p:cNvPr>
          <p:cNvSpPr>
            <a:spLocks noGrp="1"/>
          </p:cNvSpPr>
          <p:nvPr>
            <p:ph type="title"/>
          </p:nvPr>
        </p:nvSpPr>
        <p:spPr>
          <a:xfrm>
            <a:off x="1112742" y="146747"/>
            <a:ext cx="10550013" cy="798836"/>
          </a:xfrm>
          <a:prstGeom prst="rect">
            <a:avLst/>
          </a:prstGeom>
        </p:spPr>
        <p:txBody>
          <a:bodyPr vert="horz" lIns="91440" tIns="45720" rIns="91440" bIns="45720" rtlCol="0" anchor="ctr">
            <a:normAutofit/>
          </a:bodyPr>
          <a:lstStyle/>
          <a:p>
            <a:r>
              <a:rPr lang="en-US"/>
              <a:t>Click to edit Master title style</a:t>
            </a:r>
          </a:p>
        </p:txBody>
      </p:sp>
      <p:sp>
        <p:nvSpPr>
          <p:cNvPr id="5" name="CuadroTexto 4">
            <a:extLst>
              <a:ext uri="{FF2B5EF4-FFF2-40B4-BE49-F238E27FC236}">
                <a16:creationId xmlns:a16="http://schemas.microsoft.com/office/drawing/2014/main" id="{66DCE04E-FB8B-3B68-E5F2-240EBC7C4ED4}"/>
              </a:ext>
            </a:extLst>
          </p:cNvPr>
          <p:cNvSpPr txBox="1"/>
          <p:nvPr userDrawn="1"/>
        </p:nvSpPr>
        <p:spPr>
          <a:xfrm>
            <a:off x="88467" y="6377303"/>
            <a:ext cx="476225" cy="215444"/>
          </a:xfrm>
          <a:prstGeom prst="rect">
            <a:avLst/>
          </a:prstGeom>
          <a:noFill/>
        </p:spPr>
        <p:txBody>
          <a:bodyPr wrap="square" rtlCol="0">
            <a:spAutoFit/>
          </a:bodyPr>
          <a:lstStyle/>
          <a:p>
            <a:pPr algn="ctr"/>
            <a:fld id="{FCB3D6B4-27BA-497C-95E2-6025F3A9E3F0}" type="slidenum">
              <a:rPr lang="en-US" sz="800" smtClean="0">
                <a:solidFill>
                  <a:srgbClr val="BBC1C8"/>
                </a:solidFill>
                <a:latin typeface="Poppins" panose="00000500000000000000" pitchFamily="2" charset="0"/>
              </a:rPr>
              <a:pPr algn="ctr"/>
              <a:t>‹#›</a:t>
            </a:fld>
            <a:endParaRPr lang="en-US" sz="800">
              <a:solidFill>
                <a:srgbClr val="BBC1C8"/>
              </a:solidFill>
              <a:latin typeface="Poppins" panose="00000500000000000000" pitchFamily="2" charset="0"/>
            </a:endParaRPr>
          </a:p>
        </p:txBody>
      </p:sp>
      <p:pic>
        <p:nvPicPr>
          <p:cNvPr id="11" name="Imagen 10">
            <a:extLst>
              <a:ext uri="{FF2B5EF4-FFF2-40B4-BE49-F238E27FC236}">
                <a16:creationId xmlns:a16="http://schemas.microsoft.com/office/drawing/2014/main" id="{950540AE-9C3E-EC29-0324-9C276ABFA1CB}"/>
              </a:ext>
            </a:extLst>
          </p:cNvPr>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234519" y="5536094"/>
            <a:ext cx="228820" cy="749685"/>
          </a:xfrm>
          <a:prstGeom prst="rect">
            <a:avLst/>
          </a:prstGeom>
        </p:spPr>
      </p:pic>
      <p:pic>
        <p:nvPicPr>
          <p:cNvPr id="13" name="Imagen 12">
            <a:extLst>
              <a:ext uri="{FF2B5EF4-FFF2-40B4-BE49-F238E27FC236}">
                <a16:creationId xmlns:a16="http://schemas.microsoft.com/office/drawing/2014/main" id="{137A0A6F-340F-F9CA-221D-A5B3C6237EB1}"/>
              </a:ext>
            </a:extLst>
          </p:cNvPr>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rot="16200000">
            <a:off x="89626" y="6443501"/>
            <a:ext cx="403481" cy="546652"/>
          </a:xfrm>
          <a:prstGeom prst="rect">
            <a:avLst/>
          </a:prstGeom>
        </p:spPr>
      </p:pic>
      <p:pic>
        <p:nvPicPr>
          <p:cNvPr id="7" name="Imagen 6">
            <a:extLst>
              <a:ext uri="{FF2B5EF4-FFF2-40B4-BE49-F238E27FC236}">
                <a16:creationId xmlns:a16="http://schemas.microsoft.com/office/drawing/2014/main" id="{8084F9FB-4FAF-CC69-F121-B90BF889365C}"/>
              </a:ext>
            </a:extLst>
          </p:cNvPr>
          <p:cNvPicPr>
            <a:picLocks noChangeAspect="1"/>
          </p:cNvPicPr>
          <p:nvPr userDrawn="1"/>
        </p:nvPicPr>
        <p:blipFill rotWithShape="1">
          <a:blip r:embed="rId42">
            <a:alphaModFix amt="70000"/>
            <a:extLst>
              <a:ext uri="{28A0092B-C50C-407E-A947-70E740481C1C}">
                <a14:useLocalDpi xmlns:a14="http://schemas.microsoft.com/office/drawing/2010/main" val="0"/>
              </a:ext>
            </a:extLst>
          </a:blip>
          <a:srcRect r="36808"/>
          <a:stretch/>
        </p:blipFill>
        <p:spPr>
          <a:xfrm>
            <a:off x="10587428" y="-1"/>
            <a:ext cx="1604572" cy="2657857"/>
          </a:xfrm>
          <a:prstGeom prst="rect">
            <a:avLst/>
          </a:prstGeom>
        </p:spPr>
      </p:pic>
    </p:spTree>
    <p:extLst>
      <p:ext uri="{BB962C8B-B14F-4D97-AF65-F5344CB8AC3E}">
        <p14:creationId xmlns:p14="http://schemas.microsoft.com/office/powerpoint/2010/main" val="2408921284"/>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8" r:id="rId30"/>
    <p:sldLayoutId id="2147483889" r:id="rId31"/>
    <p:sldLayoutId id="2147483890" r:id="rId32"/>
    <p:sldLayoutId id="2147483892" r:id="rId33"/>
    <p:sldLayoutId id="2147483893" r:id="rId34"/>
    <p:sldLayoutId id="2147483894" r:id="rId35"/>
    <p:sldLayoutId id="2147483895" r:id="rId36"/>
    <p:sldLayoutId id="2147483896" r:id="rId37"/>
  </p:sldLayoutIdLst>
  <p:hf sldNum="0" hdr="0" ftr="0"/>
  <p:txStyles>
    <p:title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900" i="1" kern="1200">
          <a:solidFill>
            <a:schemeClr val="bg2">
              <a:lumMod val="75000"/>
            </a:schemeClr>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0.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26.pn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24.xml"/><Relationship Id="rId5" Type="http://schemas.openxmlformats.org/officeDocument/2006/relationships/image" Target="../media/image126.png"/><Relationship Id="rId4" Type="http://schemas.openxmlformats.org/officeDocument/2006/relationships/image" Target="../media/image145.png"/></Relationships>
</file>

<file path=ppt/slides/_rels/slide12.xml.rels><?xml version="1.0" encoding="UTF-8" standalone="yes"?>
<Relationships xmlns="http://schemas.openxmlformats.org/package/2006/relationships"><Relationship Id="rId3" Type="http://schemas.openxmlformats.org/officeDocument/2006/relationships/image" Target="../media/image146.png"/><Relationship Id="rId2" Type="http://schemas.microsoft.com/office/2018/10/relationships/comments" Target="../comments/modernComment_7FFFFD05_7CD432C8.xml"/><Relationship Id="rId1" Type="http://schemas.openxmlformats.org/officeDocument/2006/relationships/slideLayout" Target="../slideLayouts/slideLayout29.xml"/><Relationship Id="rId5" Type="http://schemas.openxmlformats.org/officeDocument/2006/relationships/image" Target="../media/image126.png"/><Relationship Id="rId4" Type="http://schemas.openxmlformats.org/officeDocument/2006/relationships/image" Target="../media/image147.svg"/></Relationships>
</file>

<file path=ppt/slides/_rels/slide13.xml.rels><?xml version="1.0" encoding="UTF-8" standalone="yes"?>
<Relationships xmlns="http://schemas.openxmlformats.org/package/2006/relationships"><Relationship Id="rId3" Type="http://schemas.openxmlformats.org/officeDocument/2006/relationships/image" Target="../media/image126.png"/><Relationship Id="rId2" Type="http://schemas.microsoft.com/office/2018/10/relationships/comments" Target="../comments/modernComment_10AB_E03A1B52.xml"/><Relationship Id="rId1" Type="http://schemas.openxmlformats.org/officeDocument/2006/relationships/slideLayout" Target="../slideLayouts/slideLayout29.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80.xml"/></Relationships>
</file>

<file path=ppt/slides/_rels/slide1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chart" Target="../charts/chart4.xml"/><Relationship Id="rId1" Type="http://schemas.openxmlformats.org/officeDocument/2006/relationships/slideLayout" Target="../slideLayouts/slideLayout80.xml"/></Relationships>
</file>

<file path=ppt/slides/_rels/slide1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chart" Target="../charts/chart5.xml"/><Relationship Id="rId1" Type="http://schemas.openxmlformats.org/officeDocument/2006/relationships/slideLayout" Target="../slideLayouts/slideLayout80.xml"/></Relationships>
</file>

<file path=ppt/slides/_rels/slide17.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16.xml"/></Relationships>
</file>

<file path=ppt/slides/_rels/slide18.xml.rels><?xml version="1.0" encoding="UTF-8" standalone="yes"?>
<Relationships xmlns="http://schemas.openxmlformats.org/package/2006/relationships"><Relationship Id="rId8" Type="http://schemas.openxmlformats.org/officeDocument/2006/relationships/image" Target="../media/image154.jpeg"/><Relationship Id="rId3" Type="http://schemas.openxmlformats.org/officeDocument/2006/relationships/image" Target="../media/image150.png"/><Relationship Id="rId7" Type="http://schemas.openxmlformats.org/officeDocument/2006/relationships/image" Target="../media/image153.png"/><Relationship Id="rId12" Type="http://schemas.openxmlformats.org/officeDocument/2006/relationships/image" Target="../media/image126.png"/><Relationship Id="rId2" Type="http://schemas.openxmlformats.org/officeDocument/2006/relationships/image" Target="../media/image149.png"/><Relationship Id="rId1" Type="http://schemas.openxmlformats.org/officeDocument/2006/relationships/slideLayout" Target="../slideLayouts/slideLayout103.xml"/><Relationship Id="rId6" Type="http://schemas.openxmlformats.org/officeDocument/2006/relationships/image" Target="../media/image152.png"/><Relationship Id="rId11" Type="http://schemas.openxmlformats.org/officeDocument/2006/relationships/image" Target="../media/image157.png"/><Relationship Id="rId5" Type="http://schemas.openxmlformats.org/officeDocument/2006/relationships/image" Target="../media/image120.png"/><Relationship Id="rId10" Type="http://schemas.openxmlformats.org/officeDocument/2006/relationships/image" Target="../media/image156.jpeg"/><Relationship Id="rId4" Type="http://schemas.openxmlformats.org/officeDocument/2006/relationships/image" Target="../media/image151.png"/><Relationship Id="rId9" Type="http://schemas.openxmlformats.org/officeDocument/2006/relationships/image" Target="../media/image155.png"/></Relationships>
</file>

<file path=ppt/slides/_rels/slide1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8.png"/><Relationship Id="rId1" Type="http://schemas.openxmlformats.org/officeDocument/2006/relationships/slideLayout" Target="../slideLayouts/slideLayout103.xml"/><Relationship Id="rId4" Type="http://schemas.openxmlformats.org/officeDocument/2006/relationships/image" Target="../media/image126.png"/></Relationships>
</file>

<file path=ppt/slides/_rels/slide2.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89.xml"/></Relationships>
</file>

<file path=ppt/slides/_rels/slide21.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Layout" Target="../slideLayouts/slideLayout252.xml"/></Relationships>
</file>

<file path=ppt/slides/_rels/slide24.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127.xml"/><Relationship Id="rId6" Type="http://schemas.openxmlformats.org/officeDocument/2006/relationships/image" Target="../media/image126.png"/><Relationship Id="rId5" Type="http://schemas.openxmlformats.org/officeDocument/2006/relationships/image" Target="../media/image164.png"/><Relationship Id="rId4" Type="http://schemas.openxmlformats.org/officeDocument/2006/relationships/image" Target="../media/image163.png"/></Relationships>
</file>

<file path=ppt/slides/_rels/slide25.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image" Target="../media/image165.png"/><Relationship Id="rId1" Type="http://schemas.openxmlformats.org/officeDocument/2006/relationships/slideLayout" Target="../slideLayouts/slideLayout103.xml"/><Relationship Id="rId6" Type="http://schemas.openxmlformats.org/officeDocument/2006/relationships/image" Target="../media/image169.jpeg"/><Relationship Id="rId5" Type="http://schemas.openxmlformats.org/officeDocument/2006/relationships/image" Target="../media/image168.png"/><Relationship Id="rId10" Type="http://schemas.openxmlformats.org/officeDocument/2006/relationships/image" Target="../media/image126.png"/><Relationship Id="rId4" Type="http://schemas.openxmlformats.org/officeDocument/2006/relationships/image" Target="../media/image167.png"/><Relationship Id="rId9" Type="http://schemas.openxmlformats.org/officeDocument/2006/relationships/image" Target="../media/image171.png"/></Relationships>
</file>

<file path=ppt/slides/_rels/slide2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72.jpeg"/><Relationship Id="rId1" Type="http://schemas.openxmlformats.org/officeDocument/2006/relationships/slideLayout" Target="../slideLayouts/slideLayout102.xml"/><Relationship Id="rId4" Type="http://schemas.openxmlformats.org/officeDocument/2006/relationships/image" Target="../media/image126.png"/></Relationships>
</file>

<file path=ppt/slides/_rels/slide27.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131.png"/><Relationship Id="rId7"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103.xml"/><Relationship Id="rId6" Type="http://schemas.openxmlformats.org/officeDocument/2006/relationships/image" Target="../media/image174.png"/><Relationship Id="rId11" Type="http://schemas.openxmlformats.org/officeDocument/2006/relationships/image" Target="../media/image126.png"/><Relationship Id="rId5" Type="http://schemas.openxmlformats.org/officeDocument/2006/relationships/image" Target="../media/image171.png"/><Relationship Id="rId10" Type="http://schemas.openxmlformats.org/officeDocument/2006/relationships/image" Target="../media/image177.png"/><Relationship Id="rId4" Type="http://schemas.openxmlformats.org/officeDocument/2006/relationships/image" Target="../media/image173.png"/><Relationship Id="rId9" Type="http://schemas.openxmlformats.org/officeDocument/2006/relationships/image" Target="../media/image176.png"/></Relationships>
</file>

<file path=ppt/slides/_rels/slide28.xml.rels><?xml version="1.0" encoding="UTF-8" standalone="yes"?>
<Relationships xmlns="http://schemas.openxmlformats.org/package/2006/relationships"><Relationship Id="rId3" Type="http://schemas.openxmlformats.org/officeDocument/2006/relationships/image" Target="../media/image178.png"/><Relationship Id="rId2" Type="http://schemas.microsoft.com/office/2018/10/relationships/comments" Target="../comments/modernComment_10D5_8378388.xml"/><Relationship Id="rId1" Type="http://schemas.openxmlformats.org/officeDocument/2006/relationships/slideLayout" Target="../slideLayouts/slideLayout103.xml"/><Relationship Id="rId4" Type="http://schemas.openxmlformats.org/officeDocument/2006/relationships/image" Target="../media/image126.png"/></Relationships>
</file>

<file path=ppt/slides/_rels/slide29.xml.rels><?xml version="1.0" encoding="UTF-8" standalone="yes"?>
<Relationships xmlns="http://schemas.openxmlformats.org/package/2006/relationships"><Relationship Id="rId13" Type="http://schemas.openxmlformats.org/officeDocument/2006/relationships/image" Target="../media/image189.png"/><Relationship Id="rId18" Type="http://schemas.openxmlformats.org/officeDocument/2006/relationships/image" Target="../media/image192.png"/><Relationship Id="rId26" Type="http://schemas.openxmlformats.org/officeDocument/2006/relationships/image" Target="../media/image198.png"/><Relationship Id="rId39" Type="http://schemas.openxmlformats.org/officeDocument/2006/relationships/image" Target="../media/image210.png"/><Relationship Id="rId21" Type="http://schemas.openxmlformats.org/officeDocument/2006/relationships/image" Target="../media/image194.png"/><Relationship Id="rId34" Type="http://schemas.openxmlformats.org/officeDocument/2006/relationships/image" Target="../media/image206.png"/><Relationship Id="rId42" Type="http://schemas.microsoft.com/office/2007/relationships/hdphoto" Target="../media/hdphoto14.wdp"/><Relationship Id="rId47" Type="http://schemas.openxmlformats.org/officeDocument/2006/relationships/image" Target="../media/image216.png"/><Relationship Id="rId50" Type="http://schemas.openxmlformats.org/officeDocument/2006/relationships/image" Target="../media/image219.png"/><Relationship Id="rId7" Type="http://schemas.openxmlformats.org/officeDocument/2006/relationships/image" Target="../media/image184.png"/><Relationship Id="rId2" Type="http://schemas.openxmlformats.org/officeDocument/2006/relationships/image" Target="../media/image179.png"/><Relationship Id="rId16" Type="http://schemas.openxmlformats.org/officeDocument/2006/relationships/image" Target="../media/image191.png"/><Relationship Id="rId29" Type="http://schemas.openxmlformats.org/officeDocument/2006/relationships/image" Target="../media/image201.jpeg"/><Relationship Id="rId11" Type="http://schemas.openxmlformats.org/officeDocument/2006/relationships/image" Target="../media/image187.png"/><Relationship Id="rId24" Type="http://schemas.openxmlformats.org/officeDocument/2006/relationships/image" Target="../media/image196.png"/><Relationship Id="rId32" Type="http://schemas.openxmlformats.org/officeDocument/2006/relationships/image" Target="../media/image204.png"/><Relationship Id="rId37" Type="http://schemas.openxmlformats.org/officeDocument/2006/relationships/image" Target="../media/image209.png"/><Relationship Id="rId40" Type="http://schemas.microsoft.com/office/2007/relationships/hdphoto" Target="../media/hdphoto13.wdp"/><Relationship Id="rId45" Type="http://schemas.openxmlformats.org/officeDocument/2006/relationships/image" Target="../media/image214.png"/><Relationship Id="rId5" Type="http://schemas.openxmlformats.org/officeDocument/2006/relationships/image" Target="../media/image182.jpeg"/><Relationship Id="rId15" Type="http://schemas.microsoft.com/office/2007/relationships/hdphoto" Target="../media/hdphoto8.wdp"/><Relationship Id="rId23" Type="http://schemas.openxmlformats.org/officeDocument/2006/relationships/image" Target="../media/image195.png"/><Relationship Id="rId28" Type="http://schemas.openxmlformats.org/officeDocument/2006/relationships/image" Target="../media/image200.png"/><Relationship Id="rId36" Type="http://schemas.openxmlformats.org/officeDocument/2006/relationships/image" Target="../media/image208.png"/><Relationship Id="rId49" Type="http://schemas.openxmlformats.org/officeDocument/2006/relationships/image" Target="../media/image218.png"/><Relationship Id="rId10" Type="http://schemas.openxmlformats.org/officeDocument/2006/relationships/image" Target="../media/image186.png"/><Relationship Id="rId19" Type="http://schemas.openxmlformats.org/officeDocument/2006/relationships/image" Target="../media/image193.png"/><Relationship Id="rId31" Type="http://schemas.openxmlformats.org/officeDocument/2006/relationships/image" Target="../media/image203.png"/><Relationship Id="rId44" Type="http://schemas.openxmlformats.org/officeDocument/2006/relationships/image" Target="../media/image213.png"/><Relationship Id="rId4" Type="http://schemas.openxmlformats.org/officeDocument/2006/relationships/image" Target="../media/image181.png"/><Relationship Id="rId9" Type="http://schemas.microsoft.com/office/2007/relationships/hdphoto" Target="../media/hdphoto7.wdp"/><Relationship Id="rId14" Type="http://schemas.openxmlformats.org/officeDocument/2006/relationships/image" Target="../media/image190.png"/><Relationship Id="rId22" Type="http://schemas.microsoft.com/office/2007/relationships/hdphoto" Target="../media/hdphoto11.wdp"/><Relationship Id="rId27" Type="http://schemas.openxmlformats.org/officeDocument/2006/relationships/image" Target="../media/image199.png"/><Relationship Id="rId30" Type="http://schemas.openxmlformats.org/officeDocument/2006/relationships/image" Target="../media/image202.png"/><Relationship Id="rId35" Type="http://schemas.openxmlformats.org/officeDocument/2006/relationships/image" Target="../media/image207.png"/><Relationship Id="rId43" Type="http://schemas.openxmlformats.org/officeDocument/2006/relationships/image" Target="../media/image212.png"/><Relationship Id="rId48" Type="http://schemas.openxmlformats.org/officeDocument/2006/relationships/image" Target="../media/image217.png"/><Relationship Id="rId8" Type="http://schemas.openxmlformats.org/officeDocument/2006/relationships/image" Target="../media/image185.png"/><Relationship Id="rId51" Type="http://schemas.openxmlformats.org/officeDocument/2006/relationships/image" Target="../media/image126.png"/><Relationship Id="rId3" Type="http://schemas.openxmlformats.org/officeDocument/2006/relationships/image" Target="../media/image180.png"/><Relationship Id="rId12" Type="http://schemas.openxmlformats.org/officeDocument/2006/relationships/image" Target="../media/image188.png"/><Relationship Id="rId17" Type="http://schemas.microsoft.com/office/2007/relationships/hdphoto" Target="../media/hdphoto9.wdp"/><Relationship Id="rId25" Type="http://schemas.openxmlformats.org/officeDocument/2006/relationships/image" Target="../media/image197.png"/><Relationship Id="rId33" Type="http://schemas.openxmlformats.org/officeDocument/2006/relationships/image" Target="../media/image205.png"/><Relationship Id="rId38" Type="http://schemas.microsoft.com/office/2007/relationships/hdphoto" Target="../media/hdphoto12.wdp"/><Relationship Id="rId46" Type="http://schemas.openxmlformats.org/officeDocument/2006/relationships/image" Target="../media/image215.png"/><Relationship Id="rId20" Type="http://schemas.microsoft.com/office/2007/relationships/hdphoto" Target="../media/hdphoto10.wdp"/><Relationship Id="rId41" Type="http://schemas.openxmlformats.org/officeDocument/2006/relationships/image" Target="../media/image211.png"/><Relationship Id="rId1" Type="http://schemas.openxmlformats.org/officeDocument/2006/relationships/slideLayout" Target="../slideLayouts/slideLayout103.xml"/><Relationship Id="rId6" Type="http://schemas.openxmlformats.org/officeDocument/2006/relationships/image" Target="../media/image183.png"/></Relationships>
</file>

<file path=ppt/slides/_rels/slide3.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220.xml"/></Relationships>
</file>

<file path=ppt/slides/_rels/slide30.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image" Target="../media/image220.png"/><Relationship Id="rId1" Type="http://schemas.openxmlformats.org/officeDocument/2006/relationships/slideLayout" Target="../slideLayouts/slideLayout131.xml"/><Relationship Id="rId4" Type="http://schemas.openxmlformats.org/officeDocument/2006/relationships/image" Target="../media/image222.svg"/></Relationships>
</file>

<file path=ppt/slides/_rels/slide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2.png"/><Relationship Id="rId7" Type="http://schemas.openxmlformats.org/officeDocument/2006/relationships/image" Target="../media/image132.png"/><Relationship Id="rId2" Type="http://schemas.openxmlformats.org/officeDocument/2006/relationships/notesSlide" Target="../notesSlides/notesSlide1.xml"/><Relationship Id="rId1" Type="http://schemas.openxmlformats.org/officeDocument/2006/relationships/slideLayout" Target="../slideLayouts/slideLayout215.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5.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185.xml"/><Relationship Id="rId4" Type="http://schemas.openxmlformats.org/officeDocument/2006/relationships/image" Target="../media/image136.png"/></Relationships>
</file>

<file path=ppt/slides/_rels/slide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24.xml"/><Relationship Id="rId5" Type="http://schemas.openxmlformats.org/officeDocument/2006/relationships/image" Target="../media/image126.png"/><Relationship Id="rId4" Type="http://schemas.openxmlformats.org/officeDocument/2006/relationships/image" Target="../media/image139.png"/></Relationships>
</file>

<file path=ppt/slides/_rels/slide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26.png"/><Relationship Id="rId1" Type="http://schemas.openxmlformats.org/officeDocument/2006/relationships/slideLayout" Target="../slideLayouts/slideLayout29.xml"/><Relationship Id="rId5" Type="http://schemas.openxmlformats.org/officeDocument/2006/relationships/image" Target="../media/image142.png"/><Relationship Id="rId4" Type="http://schemas.openxmlformats.org/officeDocument/2006/relationships/image" Target="../media/image141.png"/></Relationships>
</file>

<file path=ppt/slides/_rels/slide9.xml.rels><?xml version="1.0" encoding="UTF-8" standalone="yes"?>
<Relationships xmlns="http://schemas.openxmlformats.org/package/2006/relationships"><Relationship Id="rId3" Type="http://schemas.openxmlformats.org/officeDocument/2006/relationships/image" Target="../media/image126.png"/><Relationship Id="rId2" Type="http://schemas.microsoft.com/office/2018/10/relationships/comments" Target="../comments/modernComment_7FFFFD09_46A71C9D.xml"/><Relationship Id="rId1" Type="http://schemas.openxmlformats.org/officeDocument/2006/relationships/slideLayout" Target="../slideLayouts/slideLayout29.xml"/><Relationship Id="rId4" Type="http://schemas.openxmlformats.org/officeDocument/2006/relationships/image" Target="../media/image1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13388BA6-3A31-4192-30A7-BEF3F5D19F7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4806" y="5487983"/>
            <a:ext cx="2282285" cy="746760"/>
          </a:xfrm>
          <a:prstGeom prst="rect">
            <a:avLst/>
          </a:prstGeom>
        </p:spPr>
      </p:pic>
      <p:sp>
        <p:nvSpPr>
          <p:cNvPr id="6" name="object 5">
            <a:extLst>
              <a:ext uri="{FF2B5EF4-FFF2-40B4-BE49-F238E27FC236}">
                <a16:creationId xmlns:a16="http://schemas.microsoft.com/office/drawing/2014/main" id="{566C83A1-1DA7-0147-E818-43AD8CE482F8}"/>
              </a:ext>
            </a:extLst>
          </p:cNvPr>
          <p:cNvSpPr/>
          <p:nvPr/>
        </p:nvSpPr>
        <p:spPr>
          <a:xfrm>
            <a:off x="7302208" y="6111769"/>
            <a:ext cx="861907" cy="746760"/>
          </a:xfrm>
          <a:custGeom>
            <a:avLst/>
            <a:gdLst/>
            <a:ahLst/>
            <a:cxnLst/>
            <a:rect l="l" t="t" r="r" b="b"/>
            <a:pathLst>
              <a:path w="646429" h="560070">
                <a:moveTo>
                  <a:pt x="323145" y="0"/>
                </a:moveTo>
                <a:lnTo>
                  <a:pt x="0" y="559700"/>
                </a:lnTo>
                <a:lnTo>
                  <a:pt x="646291" y="559700"/>
                </a:lnTo>
                <a:lnTo>
                  <a:pt x="323145" y="0"/>
                </a:lnTo>
                <a:close/>
              </a:path>
            </a:pathLst>
          </a:custGeom>
          <a:solidFill>
            <a:srgbClr val="8D80FF">
              <a:alpha val="88998"/>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7" name="object 6">
            <a:extLst>
              <a:ext uri="{FF2B5EF4-FFF2-40B4-BE49-F238E27FC236}">
                <a16:creationId xmlns:a16="http://schemas.microsoft.com/office/drawing/2014/main" id="{214190DB-BD37-5073-63B1-9B50D4F0762E}"/>
              </a:ext>
            </a:extLst>
          </p:cNvPr>
          <p:cNvSpPr/>
          <p:nvPr/>
        </p:nvSpPr>
        <p:spPr>
          <a:xfrm>
            <a:off x="7411546" y="6111769"/>
            <a:ext cx="861907" cy="746760"/>
          </a:xfrm>
          <a:custGeom>
            <a:avLst/>
            <a:gdLst/>
            <a:ahLst/>
            <a:cxnLst/>
            <a:rect l="l" t="t" r="r" b="b"/>
            <a:pathLst>
              <a:path w="646429" h="560070">
                <a:moveTo>
                  <a:pt x="323138" y="0"/>
                </a:moveTo>
                <a:lnTo>
                  <a:pt x="0" y="559701"/>
                </a:lnTo>
                <a:lnTo>
                  <a:pt x="164007" y="559701"/>
                </a:lnTo>
                <a:lnTo>
                  <a:pt x="323138" y="284086"/>
                </a:lnTo>
                <a:lnTo>
                  <a:pt x="482269" y="559701"/>
                </a:lnTo>
                <a:lnTo>
                  <a:pt x="646277" y="559701"/>
                </a:lnTo>
                <a:lnTo>
                  <a:pt x="323138" y="0"/>
                </a:lnTo>
                <a:close/>
              </a:path>
            </a:pathLst>
          </a:custGeom>
          <a:solidFill>
            <a:srgbClr val="8D80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 name="Título 3">
            <a:extLst>
              <a:ext uri="{FF2B5EF4-FFF2-40B4-BE49-F238E27FC236}">
                <a16:creationId xmlns:a16="http://schemas.microsoft.com/office/drawing/2014/main" id="{89EA1768-1450-0ECD-E158-18E5CFA36FFD}"/>
              </a:ext>
            </a:extLst>
          </p:cNvPr>
          <p:cNvSpPr txBox="1">
            <a:spLocks/>
          </p:cNvSpPr>
          <p:nvPr/>
        </p:nvSpPr>
        <p:spPr>
          <a:xfrm>
            <a:off x="793549" y="3868462"/>
            <a:ext cx="6010023" cy="989901"/>
          </a:xfrm>
          <a:prstGeom prst="rect">
            <a:avLst/>
          </a:prstGeom>
        </p:spPr>
        <p:txBody>
          <a:bodyPr lIns="91440" tIns="45720" rIns="91440" bIns="45720" anchor="b">
            <a:noAutofit/>
          </a:bodyPr>
          <a:lstStyle>
            <a:lvl1pPr algn="l" defTabSz="914400" rtl="0" eaLnBrk="1" latinLnBrk="0" hangingPunct="1">
              <a:lnSpc>
                <a:spcPct val="100000"/>
              </a:lnSpc>
              <a:spcBef>
                <a:spcPct val="0"/>
              </a:spcBef>
              <a:buNone/>
              <a:defRPr sz="2200" b="0" i="0" kern="1200">
                <a:solidFill>
                  <a:schemeClr val="accent4"/>
                </a:solidFill>
                <a:latin typeface="+mj-lt"/>
                <a:ea typeface="+mj-ea"/>
                <a:cs typeface="+mj-cs"/>
              </a:defRPr>
            </a:lvl1pPr>
          </a:lstStyle>
          <a:p>
            <a:r>
              <a:rPr lang="en-US" sz="3600">
                <a:solidFill>
                  <a:schemeClr val="bg1"/>
                </a:solidFill>
                <a:latin typeface="Poppins SemiBold" panose="00000700000000000000" pitchFamily="2" charset="0"/>
                <a:cs typeface="Poppins SemiBold" panose="00000700000000000000" pitchFamily="2" charset="0"/>
              </a:rPr>
              <a:t>Campaign Assessment &amp; Retailer Market Approach</a:t>
            </a:r>
            <a:br>
              <a:rPr lang="en-US" sz="3600">
                <a:solidFill>
                  <a:schemeClr val="bg1"/>
                </a:solidFill>
                <a:latin typeface="Poppins SemiBold" panose="00000700000000000000" pitchFamily="2" charset="0"/>
                <a:cs typeface="Poppins SemiBold" panose="00000700000000000000" pitchFamily="2" charset="0"/>
              </a:rPr>
            </a:br>
            <a:br>
              <a:rPr lang="en-US" sz="3600">
                <a:solidFill>
                  <a:schemeClr val="bg1"/>
                </a:solidFill>
                <a:latin typeface="Poppins SemiBold" panose="00000700000000000000" pitchFamily="2" charset="0"/>
                <a:cs typeface="Poppins SemiBold" panose="00000700000000000000" pitchFamily="2" charset="0"/>
              </a:rPr>
            </a:br>
            <a:endParaRPr lang="en-US" sz="2000">
              <a:solidFill>
                <a:schemeClr val="bg1"/>
              </a:solidFill>
              <a:latin typeface="Poppins SemiBold" panose="00000700000000000000" pitchFamily="2" charset="0"/>
              <a:cs typeface="Poppins SemiBold" panose="00000700000000000000" pitchFamily="2" charset="0"/>
            </a:endParaRPr>
          </a:p>
        </p:txBody>
      </p:sp>
      <p:pic>
        <p:nvPicPr>
          <p:cNvPr id="1026" name="Picture 2" descr="Belcorp | Brands of the World™ | Download vector logos and ...">
            <a:extLst>
              <a:ext uri="{FF2B5EF4-FFF2-40B4-BE49-F238E27FC236}">
                <a16:creationId xmlns:a16="http://schemas.microsoft.com/office/drawing/2014/main" id="{DC7B06E9-8824-5CE6-BB41-2B693FBBBA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7199" y="3929675"/>
            <a:ext cx="1857375" cy="1857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67661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A4FF2CD-4135-5157-92C6-D6E6921512C8}"/>
              </a:ext>
            </a:extLst>
          </p:cNvPr>
          <p:cNvSpPr/>
          <p:nvPr/>
        </p:nvSpPr>
        <p:spPr>
          <a:xfrm>
            <a:off x="1632857" y="968829"/>
            <a:ext cx="9252857" cy="5617028"/>
          </a:xfrm>
          <a:prstGeom prst="round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8" name="Título 2">
            <a:extLst>
              <a:ext uri="{FF2B5EF4-FFF2-40B4-BE49-F238E27FC236}">
                <a16:creationId xmlns:a16="http://schemas.microsoft.com/office/drawing/2014/main" id="{5A85ABF9-B390-6F35-7C6E-9101991E1B7E}"/>
              </a:ext>
            </a:extLst>
          </p:cNvPr>
          <p:cNvSpPr txBox="1">
            <a:spLocks/>
          </p:cNvSpPr>
          <p:nvPr/>
        </p:nvSpPr>
        <p:spPr>
          <a:xfrm>
            <a:off x="1157701" y="394105"/>
            <a:ext cx="7993358" cy="79883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a:solidFill>
                  <a:srgbClr val="472C9B"/>
                </a:solidFill>
                <a:latin typeface="Poppins"/>
                <a:cs typeface="Poppins Medium" pitchFamily="2" charset="77"/>
              </a:rPr>
              <a:t>Example of campaign performance after execution</a:t>
            </a:r>
            <a:endParaRPr kumimoji="0" lang="en-US" sz="2000" b="0" i="0" u="none" strike="noStrike" kern="1200" cap="none" spc="0" normalizeH="0" baseline="0" noProof="0">
              <a:ln>
                <a:noFill/>
              </a:ln>
              <a:solidFill>
                <a:srgbClr val="472C9B"/>
              </a:solidFill>
              <a:effectLst/>
              <a:uLnTx/>
              <a:uFillTx/>
              <a:latin typeface="Poppins"/>
              <a:ea typeface="+mj-ea"/>
              <a:cs typeface="Poppins Medium" pitchFamily="2" charset="77"/>
            </a:endParaRPr>
          </a:p>
        </p:txBody>
      </p:sp>
      <p:pic>
        <p:nvPicPr>
          <p:cNvPr id="29" name="Picture 2" descr="Belcorp | Brands of the World™ | Download vector logos and ...">
            <a:extLst>
              <a:ext uri="{FF2B5EF4-FFF2-40B4-BE49-F238E27FC236}">
                <a16:creationId xmlns:a16="http://schemas.microsoft.com/office/drawing/2014/main" id="{DB8868D8-92E7-8523-D0E0-00A108D83F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n 2">
            <a:extLst>
              <a:ext uri="{FF2B5EF4-FFF2-40B4-BE49-F238E27FC236}">
                <a16:creationId xmlns:a16="http://schemas.microsoft.com/office/drawing/2014/main" id="{B6103BF5-91BA-345C-6E3C-71ED8C092554}"/>
              </a:ext>
            </a:extLst>
          </p:cNvPr>
          <p:cNvPicPr>
            <a:picLocks noChangeAspect="1"/>
          </p:cNvPicPr>
          <p:nvPr/>
        </p:nvPicPr>
        <p:blipFill>
          <a:blip r:embed="rId3"/>
          <a:srcRect r="5389"/>
          <a:stretch/>
        </p:blipFill>
        <p:spPr>
          <a:xfrm>
            <a:off x="2262606" y="1373908"/>
            <a:ext cx="7993358" cy="4806869"/>
          </a:xfrm>
          <a:prstGeom prst="rect">
            <a:avLst/>
          </a:prstGeom>
        </p:spPr>
      </p:pic>
    </p:spTree>
    <p:extLst>
      <p:ext uri="{BB962C8B-B14F-4D97-AF65-F5344CB8AC3E}">
        <p14:creationId xmlns:p14="http://schemas.microsoft.com/office/powerpoint/2010/main" val="1364226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ángulo 36">
            <a:extLst>
              <a:ext uri="{FF2B5EF4-FFF2-40B4-BE49-F238E27FC236}">
                <a16:creationId xmlns:a16="http://schemas.microsoft.com/office/drawing/2014/main" id="{F37B525E-211D-CBD1-07E9-94EE30AA6A83}"/>
              </a:ext>
            </a:extLst>
          </p:cNvPr>
          <p:cNvSpPr/>
          <p:nvPr/>
        </p:nvSpPr>
        <p:spPr>
          <a:xfrm>
            <a:off x="704193" y="2208574"/>
            <a:ext cx="7147035" cy="4675381"/>
          </a:xfrm>
          <a:prstGeom prst="rect">
            <a:avLst/>
          </a:prstGeom>
          <a:solidFill>
            <a:srgbClr val="8C7F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4" name="object 7">
            <a:extLst>
              <a:ext uri="{FF2B5EF4-FFF2-40B4-BE49-F238E27FC236}">
                <a16:creationId xmlns:a16="http://schemas.microsoft.com/office/drawing/2014/main" id="{2E924692-48BC-74CB-F9CC-4BA04122D620}"/>
              </a:ext>
            </a:extLst>
          </p:cNvPr>
          <p:cNvSpPr txBox="1">
            <a:spLocks noGrp="1"/>
          </p:cNvSpPr>
          <p:nvPr>
            <p:ph type="title"/>
          </p:nvPr>
        </p:nvSpPr>
        <p:spPr>
          <a:xfrm>
            <a:off x="1006332" y="261262"/>
            <a:ext cx="10550013" cy="503209"/>
          </a:xfrm>
          <a:prstGeom prst="rect">
            <a:avLst/>
          </a:prstGeom>
        </p:spPr>
        <p:txBody>
          <a:bodyPr vert="horz" wrap="square" lIns="0" tIns="71622" rIns="0" bIns="0" rtlCol="0">
            <a:spAutoFit/>
          </a:bodyPr>
          <a:lstStyle/>
          <a:p>
            <a:r>
              <a:rPr lang="en-US" sz="2800" kern="100">
                <a:latin typeface="Calibri"/>
                <a:ea typeface="Calibri"/>
                <a:cs typeface="Times New Roman"/>
              </a:rPr>
              <a:t> Methodology</a:t>
            </a:r>
            <a:endParaRPr lang="en-US" sz="2800" b="1" kern="100">
              <a:solidFill>
                <a:srgbClr val="442E98"/>
              </a:solidFill>
              <a:effectLst/>
              <a:latin typeface="Calibri"/>
              <a:ea typeface="Calibri"/>
              <a:cs typeface="Times New Roman"/>
            </a:endParaRPr>
          </a:p>
        </p:txBody>
      </p:sp>
      <p:sp>
        <p:nvSpPr>
          <p:cNvPr id="8" name="object 22">
            <a:extLst>
              <a:ext uri="{FF2B5EF4-FFF2-40B4-BE49-F238E27FC236}">
                <a16:creationId xmlns:a16="http://schemas.microsoft.com/office/drawing/2014/main" id="{C325521A-027C-4E0F-7A5B-6C80B9C1A570}"/>
              </a:ext>
            </a:extLst>
          </p:cNvPr>
          <p:cNvSpPr txBox="1"/>
          <p:nvPr/>
        </p:nvSpPr>
        <p:spPr>
          <a:xfrm>
            <a:off x="1019479" y="1433845"/>
            <a:ext cx="333375" cy="74877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lang="es-MX" sz="4800" b="1" i="0" u="none" strike="noStrike" kern="1200" cap="none" spc="-30" normalizeH="0" baseline="0" noProof="0">
                <a:ln>
                  <a:noFill/>
                </a:ln>
                <a:solidFill>
                  <a:schemeClr val="accent3"/>
                </a:solidFill>
                <a:effectLst/>
                <a:uLnTx/>
                <a:uFillTx/>
                <a:latin typeface="Poppins"/>
                <a:ea typeface="+mn-ea"/>
                <a:cs typeface="Poppins"/>
              </a:rPr>
              <a:t>2</a:t>
            </a:r>
            <a:endParaRPr kumimoji="0" sz="4800" b="0" i="0" u="none" strike="noStrike" kern="1200" cap="none" spc="0" normalizeH="0" baseline="0" noProof="0">
              <a:ln>
                <a:noFill/>
              </a:ln>
              <a:solidFill>
                <a:schemeClr val="accent3"/>
              </a:solidFill>
              <a:effectLst/>
              <a:uLnTx/>
              <a:uFillTx/>
              <a:latin typeface="Poppins"/>
              <a:ea typeface="+mn-ea"/>
              <a:cs typeface="Poppins"/>
            </a:endParaRPr>
          </a:p>
        </p:txBody>
      </p:sp>
      <p:sp>
        <p:nvSpPr>
          <p:cNvPr id="19" name="Rectángulo 18">
            <a:extLst>
              <a:ext uri="{FF2B5EF4-FFF2-40B4-BE49-F238E27FC236}">
                <a16:creationId xmlns:a16="http://schemas.microsoft.com/office/drawing/2014/main" id="{7E38FB2E-208E-C6DB-EE8A-FCF99ABEEF17}"/>
              </a:ext>
            </a:extLst>
          </p:cNvPr>
          <p:cNvSpPr/>
          <p:nvPr/>
        </p:nvSpPr>
        <p:spPr>
          <a:xfrm rot="10800000">
            <a:off x="1506216" y="1964417"/>
            <a:ext cx="2458328" cy="65812"/>
          </a:xfrm>
          <a:prstGeom prst="rect">
            <a:avLst/>
          </a:prstGeom>
          <a:solidFill>
            <a:srgbClr val="8C7F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49" name="Imagen 48">
            <a:extLst>
              <a:ext uri="{FF2B5EF4-FFF2-40B4-BE49-F238E27FC236}">
                <a16:creationId xmlns:a16="http://schemas.microsoft.com/office/drawing/2014/main" id="{4FEC9B1A-D8EA-8C92-4F05-87BD3F5D7C9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97052" y="1622995"/>
            <a:ext cx="435851" cy="410288"/>
          </a:xfrm>
          <a:prstGeom prst="rect">
            <a:avLst/>
          </a:prstGeom>
        </p:spPr>
      </p:pic>
      <p:sp>
        <p:nvSpPr>
          <p:cNvPr id="11" name="CuadroTexto 10">
            <a:extLst>
              <a:ext uri="{FF2B5EF4-FFF2-40B4-BE49-F238E27FC236}">
                <a16:creationId xmlns:a16="http://schemas.microsoft.com/office/drawing/2014/main" id="{06D368A2-32B4-4656-5C66-6B8C1E22D22B}"/>
              </a:ext>
            </a:extLst>
          </p:cNvPr>
          <p:cNvSpPr txBox="1"/>
          <p:nvPr/>
        </p:nvSpPr>
        <p:spPr>
          <a:xfrm>
            <a:off x="1237163" y="2390261"/>
            <a:ext cx="6238631" cy="470898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400" b="1" kern="100" dirty="0">
                <a:solidFill>
                  <a:schemeClr val="bg1"/>
                </a:solidFill>
                <a:latin typeface="Poppins"/>
                <a:ea typeface="Calibri" panose="020F0502020204030204" pitchFamily="34" charset="0"/>
                <a:cs typeface="Times New Roman" panose="02020603050405020304" pitchFamily="18" charset="0"/>
              </a:rPr>
              <a:t>Marketing spend and strategy optimization</a:t>
            </a:r>
            <a:r>
              <a:rPr kumimoji="0" lang="en-US" sz="1400" b="1" i="0" u="none" strike="noStrike" kern="100" cap="none" spc="0" normalizeH="0" baseline="0" noProof="0" dirty="0">
                <a:ln>
                  <a:noFill/>
                </a:ln>
                <a:solidFill>
                  <a:schemeClr val="bg1"/>
                </a:solidFill>
                <a:effectLst/>
                <a:uLnTx/>
                <a:uFillTx/>
                <a:latin typeface="Poppins"/>
                <a:ea typeface="Calibri" panose="020F0502020204030204" pitchFamily="34" charset="0"/>
                <a:cs typeface="Times New Roman" panose="02020603050405020304" pitchFamily="18"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00" dirty="0">
                <a:solidFill>
                  <a:schemeClr val="bg1"/>
                </a:solidFill>
                <a:latin typeface="Poppins"/>
                <a:ea typeface="Calibri" panose="020F0502020204030204" pitchFamily="34" charset="0"/>
                <a:cs typeface="Times New Roman" panose="02020603050405020304" pitchFamily="18" charset="0"/>
              </a:rPr>
              <a:t>Understanding of which marketing channels, campaigns  and touchpoints are most effective in driving sales </a:t>
            </a:r>
            <a:endParaRPr kumimoji="0" lang="en-US" sz="1200" b="0" i="0" u="none" strike="noStrike" kern="100" cap="none" spc="0" normalizeH="0" baseline="0" noProof="0" dirty="0">
              <a:ln>
                <a:noFill/>
              </a:ln>
              <a:solidFill>
                <a:schemeClr val="bg1"/>
              </a:solidFill>
              <a:effectLst/>
              <a:uLnTx/>
              <a:uFillTx/>
              <a:latin typeface="Poppins"/>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sz="1200" kern="100" dirty="0">
                <a:solidFill>
                  <a:schemeClr val="bg1"/>
                </a:solidFill>
                <a:latin typeface="Poppins"/>
                <a:ea typeface="Calibri" panose="020F0502020204030204" pitchFamily="34" charset="0"/>
                <a:cs typeface="Times New Roman" panose="02020603050405020304" pitchFamily="18" charset="0"/>
              </a:rPr>
              <a:t>Reallocation of marketing budget towards high performing channels and campaigns</a:t>
            </a:r>
          </a:p>
          <a:p>
            <a:pPr marL="742950" lvl="1" indent="-285750">
              <a:buFont typeface="Arial" panose="020B0604020202020204" pitchFamily="34" charset="0"/>
              <a:buChar char="•"/>
            </a:pPr>
            <a:r>
              <a:rPr kumimoji="0" lang="en-US" sz="1200" b="0" i="0" u="none" strike="noStrike" kern="100" cap="none" spc="0" normalizeH="0" baseline="0" noProof="0" dirty="0">
                <a:ln>
                  <a:noFill/>
                </a:ln>
                <a:solidFill>
                  <a:schemeClr val="bg1"/>
                </a:solidFill>
                <a:effectLst/>
                <a:uLnTx/>
                <a:uFillTx/>
                <a:latin typeface="Poppins"/>
                <a:ea typeface="Calibri" panose="020F0502020204030204" pitchFamily="34" charset="0"/>
                <a:cs typeface="Times New Roman" panose="02020603050405020304" pitchFamily="18" charset="0"/>
              </a:rPr>
              <a:t>Ensures elevated ROI and more efficient resource utilization </a:t>
            </a:r>
          </a:p>
          <a:p>
            <a:pPr marR="0" lvl="0" algn="l" defTabSz="914400" rtl="0" eaLnBrk="1" fontAlgn="auto" latinLnBrk="0" hangingPunct="1">
              <a:lnSpc>
                <a:spcPct val="100000"/>
              </a:lnSpc>
              <a:spcBef>
                <a:spcPts val="0"/>
              </a:spcBef>
              <a:spcAft>
                <a:spcPts val="0"/>
              </a:spcAft>
              <a:buClrTx/>
              <a:buSzTx/>
              <a:tabLst/>
              <a:defRPr/>
            </a:pPr>
            <a:endParaRPr lang="en-US" sz="1400" b="1" kern="100" dirty="0">
              <a:solidFill>
                <a:schemeClr val="bg1"/>
              </a:solidFill>
              <a:latin typeface="Poppins"/>
              <a:ea typeface="Calibri" panose="020F0502020204030204" pitchFamily="34" charset="0"/>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tabLst/>
              <a:defRPr/>
            </a:pPr>
            <a:r>
              <a:rPr lang="en-US" sz="1400" b="1" kern="100" dirty="0">
                <a:solidFill>
                  <a:schemeClr val="bg1"/>
                </a:solidFill>
                <a:latin typeface="Poppins"/>
                <a:ea typeface="Calibri" panose="020F0502020204030204" pitchFamily="34" charset="0"/>
                <a:cs typeface="Times New Roman" panose="02020603050405020304" pitchFamily="18" charset="0"/>
              </a:rPr>
              <a:t>Data driven insights for decision mak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00" dirty="0">
                <a:solidFill>
                  <a:schemeClr val="bg1"/>
                </a:solidFill>
                <a:latin typeface="Poppins"/>
                <a:ea typeface="Calibri" panose="020F0502020204030204" pitchFamily="34" charset="0"/>
                <a:cs typeface="Times New Roman" panose="02020603050405020304" pitchFamily="18" charset="0"/>
              </a:rPr>
              <a:t>Provides actionable data-driven insights into customer behavior and purchasing journey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00" dirty="0">
                <a:solidFill>
                  <a:schemeClr val="bg1"/>
                </a:solidFill>
                <a:latin typeface="Poppins"/>
                <a:ea typeface="Calibri" panose="020F0502020204030204" pitchFamily="34" charset="0"/>
                <a:cs typeface="Times New Roman" panose="02020603050405020304" pitchFamily="18" charset="0"/>
              </a:rPr>
              <a:t>Allows to optimize the timing and content of future marketing campaigns and initiativ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00" dirty="0">
                <a:solidFill>
                  <a:schemeClr val="bg1"/>
                </a:solidFill>
                <a:latin typeface="Poppins"/>
                <a:ea typeface="Calibri" panose="020F0502020204030204" pitchFamily="34" charset="0"/>
                <a:cs typeface="Times New Roman" panose="02020603050405020304" pitchFamily="18" charset="0"/>
              </a:rPr>
              <a:t>Permits the adjustment of marketing strategies in real – time based on performance metrics</a:t>
            </a:r>
          </a:p>
          <a:p>
            <a:pPr marL="742950" lvl="1" indent="-285750">
              <a:buFont typeface="Arial" panose="020B0604020202020204" pitchFamily="34" charset="0"/>
              <a:buChar char="•"/>
            </a:pPr>
            <a:endParaRPr lang="en-US" sz="1200" kern="100" dirty="0">
              <a:solidFill>
                <a:schemeClr val="bg1"/>
              </a:solidFill>
              <a:latin typeface="Poppins"/>
              <a:ea typeface="Calibri" panose="020F0502020204030204" pitchFamily="34" charset="0"/>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tabLst/>
              <a:defRPr/>
            </a:pPr>
            <a:r>
              <a:rPr lang="en-US" sz="1400" b="1" kern="100" dirty="0">
                <a:solidFill>
                  <a:schemeClr val="bg1"/>
                </a:solidFill>
                <a:latin typeface="Poppins"/>
                <a:ea typeface="Calibri" panose="020F0502020204030204" pitchFamily="34" charset="0"/>
                <a:cs typeface="Times New Roman" panose="02020603050405020304" pitchFamily="18" charset="0"/>
              </a:rPr>
              <a:t>Improved sales forecasting and campaign effective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00" dirty="0">
                <a:solidFill>
                  <a:schemeClr val="bg1"/>
                </a:solidFill>
                <a:latin typeface="Poppins"/>
                <a:ea typeface="Calibri" panose="020F0502020204030204" pitchFamily="34" charset="0"/>
                <a:cs typeface="Times New Roman" panose="02020603050405020304" pitchFamily="18" charset="0"/>
              </a:rPr>
              <a:t>Understanding of the direct impact of each marketing initiative on sales performance and forecast sales outcomes with accura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00" cap="none" spc="0" normalizeH="0" baseline="0" noProof="0" dirty="0">
                <a:ln>
                  <a:noFill/>
                </a:ln>
                <a:solidFill>
                  <a:schemeClr val="bg1"/>
                </a:solidFill>
                <a:effectLst/>
                <a:uLnTx/>
                <a:uFillTx/>
                <a:latin typeface="Poppins"/>
                <a:ea typeface="Calibri" panose="020F0502020204030204" pitchFamily="34" charset="0"/>
                <a:cs typeface="Times New Roman" panose="02020603050405020304" pitchFamily="18" charset="0"/>
              </a:rPr>
              <a:t>Determines potential lifts of specific marketing campaigns to fine tune promotional activities and seasonality strategies to maximize sales during peak peri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00" cap="none" spc="0" normalizeH="0" baseline="0" noProof="0" dirty="0">
              <a:ln>
                <a:noFill/>
              </a:ln>
              <a:solidFill>
                <a:schemeClr val="bg1"/>
              </a:solidFill>
              <a:effectLst/>
              <a:uLnTx/>
              <a:uFillTx/>
              <a:latin typeface="Poppins"/>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00" cap="none" spc="0" normalizeH="0" baseline="0" noProof="0" dirty="0">
              <a:ln>
                <a:noFill/>
              </a:ln>
              <a:solidFill>
                <a:schemeClr val="bg1"/>
              </a:solidFill>
              <a:effectLst/>
              <a:uLnTx/>
              <a:uFillTx/>
              <a:latin typeface="Poppins"/>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Poppins"/>
              <a:ea typeface="+mn-ea"/>
              <a:cs typeface="+mn-cs"/>
            </a:endParaRPr>
          </a:p>
        </p:txBody>
      </p:sp>
      <p:sp>
        <p:nvSpPr>
          <p:cNvPr id="31" name="Flecha: pentágono 30">
            <a:extLst>
              <a:ext uri="{FF2B5EF4-FFF2-40B4-BE49-F238E27FC236}">
                <a16:creationId xmlns:a16="http://schemas.microsoft.com/office/drawing/2014/main" id="{9A21B61C-0624-D687-A6E9-B0DFB3F40FF4}"/>
              </a:ext>
            </a:extLst>
          </p:cNvPr>
          <p:cNvSpPr/>
          <p:nvPr/>
        </p:nvSpPr>
        <p:spPr>
          <a:xfrm>
            <a:off x="1006332" y="939762"/>
            <a:ext cx="6269043" cy="442920"/>
          </a:xfrm>
          <a:prstGeom prst="homePlat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500" b="1">
                <a:solidFill>
                  <a:srgbClr val="FFFFFF"/>
                </a:solidFill>
                <a:latin typeface="Poppins"/>
              </a:rPr>
              <a:t>Evaluating Phase</a:t>
            </a:r>
            <a:endParaRPr kumimoji="0" lang="en-US" sz="1500" b="1" i="0" u="none" strike="noStrike" kern="1200" cap="none" spc="0" normalizeH="0" baseline="0">
              <a:ln>
                <a:noFill/>
              </a:ln>
              <a:solidFill>
                <a:srgbClr val="FFFFFF"/>
              </a:solidFill>
              <a:effectLst/>
              <a:uLnTx/>
              <a:uFillTx/>
              <a:latin typeface="Poppins"/>
              <a:ea typeface="+mn-ea"/>
              <a:cs typeface="+mn-cs"/>
            </a:endParaRPr>
          </a:p>
        </p:txBody>
      </p:sp>
      <p:pic>
        <p:nvPicPr>
          <p:cNvPr id="41" name="Imagen 40">
            <a:extLst>
              <a:ext uri="{FF2B5EF4-FFF2-40B4-BE49-F238E27FC236}">
                <a16:creationId xmlns:a16="http://schemas.microsoft.com/office/drawing/2014/main" id="{D3DECCBD-6F20-5F6E-6E15-D36618BD2A4D}"/>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981863" y="2397527"/>
            <a:ext cx="284183" cy="302084"/>
          </a:xfrm>
          <a:prstGeom prst="rect">
            <a:avLst/>
          </a:prstGeom>
        </p:spPr>
      </p:pic>
      <p:pic>
        <p:nvPicPr>
          <p:cNvPr id="23" name="Imagen 22">
            <a:extLst>
              <a:ext uri="{FF2B5EF4-FFF2-40B4-BE49-F238E27FC236}">
                <a16:creationId xmlns:a16="http://schemas.microsoft.com/office/drawing/2014/main" id="{CC0D0119-D873-AD82-BA45-2AF60F648C5B}"/>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978085" y="3744643"/>
            <a:ext cx="284183" cy="302084"/>
          </a:xfrm>
          <a:prstGeom prst="rect">
            <a:avLst/>
          </a:prstGeom>
        </p:spPr>
      </p:pic>
      <p:pic>
        <p:nvPicPr>
          <p:cNvPr id="24" name="Imagen 23">
            <a:extLst>
              <a:ext uri="{FF2B5EF4-FFF2-40B4-BE49-F238E27FC236}">
                <a16:creationId xmlns:a16="http://schemas.microsoft.com/office/drawing/2014/main" id="{AA772E51-8E9E-2C5D-C325-949E194F13C4}"/>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922612" y="5245803"/>
            <a:ext cx="284183" cy="302084"/>
          </a:xfrm>
          <a:prstGeom prst="rect">
            <a:avLst/>
          </a:prstGeom>
        </p:spPr>
      </p:pic>
      <p:sp>
        <p:nvSpPr>
          <p:cNvPr id="9" name="CuadroTexto 8">
            <a:extLst>
              <a:ext uri="{FF2B5EF4-FFF2-40B4-BE49-F238E27FC236}">
                <a16:creationId xmlns:a16="http://schemas.microsoft.com/office/drawing/2014/main" id="{03064850-D255-1084-B1CD-C646A7D6E41E}"/>
              </a:ext>
            </a:extLst>
          </p:cNvPr>
          <p:cNvSpPr txBox="1"/>
          <p:nvPr/>
        </p:nvSpPr>
        <p:spPr>
          <a:xfrm>
            <a:off x="1410216" y="1569129"/>
            <a:ext cx="3089890" cy="369332"/>
          </a:xfrm>
          <a:prstGeom prst="rect">
            <a:avLst/>
          </a:prstGeom>
          <a:noFill/>
        </p:spPr>
        <p:txBody>
          <a:bodyPr wrap="square" lIns="91440" tIns="45720" rIns="91440" bIns="45720" rtlCol="0" anchor="t">
            <a:spAutoFit/>
          </a:bodyPr>
          <a:lstStyle/>
          <a:p>
            <a:pPr>
              <a:defRPr/>
            </a:pPr>
            <a:r>
              <a:rPr lang="en-US" kern="100">
                <a:solidFill>
                  <a:schemeClr val="accent3"/>
                </a:solidFill>
                <a:latin typeface="Poppins Medium"/>
                <a:cs typeface="Poppins Medium"/>
              </a:rPr>
              <a:t>Sales Attribution Model</a:t>
            </a:r>
          </a:p>
        </p:txBody>
      </p:sp>
      <p:pic>
        <p:nvPicPr>
          <p:cNvPr id="6" name="Picture 5" descr="A person using a tablet&#10;&#10;Description automatically generated">
            <a:extLst>
              <a:ext uri="{FF2B5EF4-FFF2-40B4-BE49-F238E27FC236}">
                <a16:creationId xmlns:a16="http://schemas.microsoft.com/office/drawing/2014/main" id="{6FA225E5-7ABE-3CD0-ED5D-B1AD75661410}"/>
              </a:ext>
            </a:extLst>
          </p:cNvPr>
          <p:cNvPicPr>
            <a:picLocks noChangeAspect="1"/>
          </p:cNvPicPr>
          <p:nvPr/>
        </p:nvPicPr>
        <p:blipFill>
          <a:blip r:embed="rId4">
            <a:extLst>
              <a:ext uri="{28A0092B-C50C-407E-A947-70E740481C1C}">
                <a14:useLocalDpi xmlns:a14="http://schemas.microsoft.com/office/drawing/2010/main" val="0"/>
              </a:ext>
            </a:extLst>
          </a:blip>
          <a:srcRect b="2460"/>
          <a:stretch/>
        </p:blipFill>
        <p:spPr>
          <a:xfrm>
            <a:off x="7501792" y="-1"/>
            <a:ext cx="4690208" cy="6858001"/>
          </a:xfrm>
          <a:prstGeom prst="rect">
            <a:avLst/>
          </a:prstGeom>
        </p:spPr>
      </p:pic>
      <p:pic>
        <p:nvPicPr>
          <p:cNvPr id="10" name="Picture 2" descr="Belcorp | Brands of the World™ | Download vector logos and ...">
            <a:extLst>
              <a:ext uri="{FF2B5EF4-FFF2-40B4-BE49-F238E27FC236}">
                <a16:creationId xmlns:a16="http://schemas.microsoft.com/office/drawing/2014/main" id="{416E0272-293F-495F-7CC6-67125B0B29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4831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F7301A55-B6D8-5907-1BE6-08B1D48EFC77}"/>
              </a:ext>
            </a:extLst>
          </p:cNvPr>
          <p:cNvSpPr txBox="1">
            <a:spLocks/>
          </p:cNvSpPr>
          <p:nvPr/>
        </p:nvSpPr>
        <p:spPr>
          <a:xfrm>
            <a:off x="971835" y="340656"/>
            <a:ext cx="8215708" cy="382156"/>
          </a:xfrm>
          <a:prstGeom prst="rect">
            <a:avLst/>
          </a:prstGeom>
        </p:spPr>
        <p:txBody>
          <a:bodyPr vert="horz" wrap="square" lIns="0" tIns="73660" rIns="0" bIns="0" rtlCol="0" anchor="ctr">
            <a:sp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12700" marR="5080" lvl="0" indent="0" algn="l" defTabSz="914400" rtl="0" eaLnBrk="1" fontAlgn="auto" latinLnBrk="0" hangingPunct="1">
              <a:lnSpc>
                <a:spcPts val="2400"/>
              </a:lnSpc>
              <a:spcBef>
                <a:spcPts val="580"/>
              </a:spcBef>
              <a:spcAft>
                <a:spcPts val="0"/>
              </a:spcAft>
              <a:buClrTx/>
              <a:buSzTx/>
              <a:buFontTx/>
              <a:buNone/>
              <a:tabLst/>
              <a:defRPr/>
            </a:pPr>
            <a:r>
              <a:rPr lang="en-US" sz="2000">
                <a:solidFill>
                  <a:srgbClr val="472C9B"/>
                </a:solidFill>
                <a:cs typeface="Poppins Medium"/>
              </a:rPr>
              <a:t>Example MMM: </a:t>
            </a:r>
            <a:r>
              <a:rPr kumimoji="0" lang="en-US" sz="2000" b="0" i="0" u="none" strike="noStrike" kern="1200" cap="none" spc="0" normalizeH="0" baseline="0" noProof="0">
                <a:ln>
                  <a:noFill/>
                </a:ln>
                <a:solidFill>
                  <a:srgbClr val="472C9B"/>
                </a:solidFill>
                <a:effectLst/>
                <a:uLnTx/>
                <a:uFillTx/>
                <a:latin typeface="Poppins"/>
                <a:ea typeface="+mj-ea"/>
                <a:cs typeface="Poppins Medium"/>
              </a:rPr>
              <a:t>Scope of Research for Campaign </a:t>
            </a:r>
            <a:r>
              <a:rPr lang="en-US" sz="2000">
                <a:solidFill>
                  <a:srgbClr val="472C9B"/>
                </a:solidFill>
                <a:cs typeface="Poppins Medium"/>
              </a:rPr>
              <a:t>Assessment</a:t>
            </a:r>
            <a:endParaRPr kumimoji="0" lang="en-US" sz="2000" b="0" i="0" u="none" strike="noStrike" kern="1200" cap="none" spc="0" normalizeH="0" baseline="0" noProof="0">
              <a:ln>
                <a:noFill/>
              </a:ln>
              <a:solidFill>
                <a:srgbClr val="472C9B"/>
              </a:solidFill>
              <a:effectLst/>
              <a:uLnTx/>
              <a:uFillTx/>
              <a:latin typeface="Poppins"/>
              <a:ea typeface="+mj-ea"/>
              <a:cs typeface="Poppins Medium" pitchFamily="2" charset="77"/>
            </a:endParaRPr>
          </a:p>
        </p:txBody>
      </p:sp>
      <p:pic>
        <p:nvPicPr>
          <p:cNvPr id="8" name="Gráfico 7">
            <a:extLst>
              <a:ext uri="{FF2B5EF4-FFF2-40B4-BE49-F238E27FC236}">
                <a16:creationId xmlns:a16="http://schemas.microsoft.com/office/drawing/2014/main" id="{8DEF2A25-8DC7-DDBD-01A2-714BB576A6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200000">
            <a:off x="5948761" y="1251789"/>
            <a:ext cx="542925" cy="457200"/>
          </a:xfrm>
          <a:prstGeom prst="rect">
            <a:avLst/>
          </a:prstGeom>
        </p:spPr>
      </p:pic>
      <p:sp>
        <p:nvSpPr>
          <p:cNvPr id="9" name="Rectángulo 8">
            <a:extLst>
              <a:ext uri="{FF2B5EF4-FFF2-40B4-BE49-F238E27FC236}">
                <a16:creationId xmlns:a16="http://schemas.microsoft.com/office/drawing/2014/main" id="{9CC64E8D-A08B-5F05-8CC6-FBA1B8FEB3BE}"/>
              </a:ext>
            </a:extLst>
          </p:cNvPr>
          <p:cNvSpPr/>
          <p:nvPr/>
        </p:nvSpPr>
        <p:spPr>
          <a:xfrm>
            <a:off x="4450295" y="1061444"/>
            <a:ext cx="3434968" cy="467758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5327B"/>
              </a:solidFill>
              <a:effectLst/>
              <a:uLnTx/>
              <a:uFillTx/>
              <a:latin typeface="Poppins Light"/>
              <a:ea typeface="+mn-ea"/>
              <a:cs typeface="+mn-cs"/>
            </a:endParaRPr>
          </a:p>
        </p:txBody>
      </p:sp>
      <p:sp>
        <p:nvSpPr>
          <p:cNvPr id="10" name="Rectángulo: esquinas redondeadas 9">
            <a:extLst>
              <a:ext uri="{FF2B5EF4-FFF2-40B4-BE49-F238E27FC236}">
                <a16:creationId xmlns:a16="http://schemas.microsoft.com/office/drawing/2014/main" id="{06FB6AA5-8146-85CC-6C54-7B670E9584B4}"/>
              </a:ext>
            </a:extLst>
          </p:cNvPr>
          <p:cNvSpPr/>
          <p:nvPr/>
        </p:nvSpPr>
        <p:spPr>
          <a:xfrm>
            <a:off x="4548269" y="1204419"/>
            <a:ext cx="3360539" cy="476681"/>
          </a:xfrm>
          <a:prstGeom prst="roundRect">
            <a:avLst>
              <a:gd name="adj" fmla="val 3970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5" normalizeH="0" baseline="0" noProof="0" dirty="0">
                <a:ln>
                  <a:noFill/>
                </a:ln>
                <a:solidFill>
                  <a:srgbClr val="35327B"/>
                </a:solidFill>
                <a:effectLst/>
                <a:uLnTx/>
                <a:uFillTx/>
                <a:latin typeface="Poppins"/>
                <a:ea typeface="+mn-ea"/>
                <a:cs typeface="Poppins"/>
              </a:rPr>
              <a:t>2. Competitor campaign strategy research</a:t>
            </a:r>
          </a:p>
        </p:txBody>
      </p:sp>
      <p:sp>
        <p:nvSpPr>
          <p:cNvPr id="11" name="CuadroTexto 10">
            <a:extLst>
              <a:ext uri="{FF2B5EF4-FFF2-40B4-BE49-F238E27FC236}">
                <a16:creationId xmlns:a16="http://schemas.microsoft.com/office/drawing/2014/main" id="{DB411EA1-D1E9-2147-00DB-5B8B76F23679}"/>
              </a:ext>
            </a:extLst>
          </p:cNvPr>
          <p:cNvSpPr txBox="1"/>
          <p:nvPr/>
        </p:nvSpPr>
        <p:spPr>
          <a:xfrm>
            <a:off x="4615824" y="1875606"/>
            <a:ext cx="3236799" cy="2296013"/>
          </a:xfrm>
          <a:prstGeom prst="rect">
            <a:avLst/>
          </a:prstGeom>
          <a:noFill/>
          <a:ln>
            <a:noFill/>
          </a:ln>
        </p:spPr>
        <p:txBody>
          <a:bodyPr wrap="square" rtlCol="0">
            <a:spAutoFit/>
          </a:bodyPr>
          <a:lstStyle>
            <a:defPPr>
              <a:defRPr lang="es-ES"/>
            </a:defPPr>
            <a:lvl1pPr marL="171450" indent="-171450">
              <a:lnSpc>
                <a:spcPct val="120000"/>
              </a:lnSpc>
              <a:buClr>
                <a:schemeClr val="accent4"/>
              </a:buClr>
              <a:buFont typeface="Wingdings" panose="05000000000000000000" pitchFamily="2" charset="2"/>
              <a:buChar char="§"/>
              <a:defRPr sz="1200">
                <a:latin typeface="+mj-lt"/>
                <a:ea typeface="+mn-lt"/>
                <a:cs typeface="+mn-lt"/>
              </a:defRPr>
            </a:lvl1pPr>
          </a:lstStyle>
          <a:p>
            <a:pPr marL="171450" marR="0" lvl="0" indent="-171450" algn="l" defTabSz="914400" rtl="0" eaLnBrk="1" fontAlgn="auto" latinLnBrk="0" hangingPunct="1">
              <a:lnSpc>
                <a:spcPct val="120000"/>
              </a:lnSpc>
              <a:spcBef>
                <a:spcPts val="0"/>
              </a:spcBef>
              <a:spcAft>
                <a:spcPts val="0"/>
              </a:spcAft>
              <a:buClr>
                <a:srgbClr val="442E8E"/>
              </a:buClr>
              <a:buSzTx/>
              <a:buFont typeface="Wingdings" panose="05000000000000000000" pitchFamily="2" charset="2"/>
              <a:buChar char="§"/>
              <a:tabLst/>
              <a:defRPr/>
            </a:pPr>
            <a:r>
              <a:rPr kumimoji="0" lang="en-US" sz="1200" b="1" i="0" u="none" strike="noStrike" kern="1200" cap="none" spc="0" normalizeH="0" baseline="0" noProof="0">
                <a:ln>
                  <a:noFill/>
                </a:ln>
                <a:solidFill>
                  <a:srgbClr val="35327B"/>
                </a:solidFill>
                <a:effectLst/>
                <a:uLnTx/>
                <a:uFillTx/>
                <a:latin typeface="Poppins"/>
                <a:cs typeface="Poppins Light"/>
              </a:rPr>
              <a:t>Competitors are active in digital marketing.</a:t>
            </a:r>
          </a:p>
          <a:p>
            <a:pPr marL="171450" marR="0" lvl="0" indent="-171450" algn="l" defTabSz="914400" rtl="0" eaLnBrk="1" fontAlgn="auto" latinLnBrk="0" hangingPunct="1">
              <a:lnSpc>
                <a:spcPct val="120000"/>
              </a:lnSpc>
              <a:spcBef>
                <a:spcPts val="0"/>
              </a:spcBef>
              <a:spcAft>
                <a:spcPts val="0"/>
              </a:spcAft>
              <a:buClr>
                <a:srgbClr val="442E8E"/>
              </a:buClr>
              <a:buSzTx/>
              <a:buFont typeface="Wingdings" panose="05000000000000000000" pitchFamily="2" charset="2"/>
              <a:buChar char="§"/>
              <a:tabLst/>
              <a:defRPr/>
            </a:pPr>
            <a:endParaRPr kumimoji="0" lang="en-US" sz="1200" b="1" i="0" u="none" strike="noStrike" kern="1200" cap="none" spc="0" normalizeH="0" baseline="0" noProof="0">
              <a:ln>
                <a:noFill/>
              </a:ln>
              <a:solidFill>
                <a:srgbClr val="8E7FFE">
                  <a:lumMod val="50000"/>
                </a:srgbClr>
              </a:solidFill>
              <a:effectLst/>
              <a:uLnTx/>
              <a:uFillTx/>
              <a:latin typeface="Poppins"/>
              <a:cs typeface="Poppins Light"/>
            </a:endParaRPr>
          </a:p>
          <a:p>
            <a:pPr marL="171450" marR="0" lvl="0" indent="-171450" algn="l" defTabSz="914400" rtl="0" eaLnBrk="1" fontAlgn="auto" latinLnBrk="0" hangingPunct="1">
              <a:lnSpc>
                <a:spcPct val="120000"/>
              </a:lnSpc>
              <a:spcBef>
                <a:spcPts val="0"/>
              </a:spcBef>
              <a:spcAft>
                <a:spcPts val="0"/>
              </a:spcAft>
              <a:buClr>
                <a:srgbClr val="442E8E"/>
              </a:buClr>
              <a:buSzTx/>
              <a:buFont typeface="Wingdings" panose="05000000000000000000" pitchFamily="2" charset="2"/>
              <a:buChar char="§"/>
              <a:tabLst/>
              <a:defRPr/>
            </a:pPr>
            <a:r>
              <a:rPr kumimoji="0" lang="en-US" sz="1200" b="1" i="0" u="none" strike="noStrike" kern="1200" cap="none" spc="0" normalizeH="0" baseline="0" noProof="0">
                <a:ln>
                  <a:noFill/>
                </a:ln>
                <a:solidFill>
                  <a:srgbClr val="35327B"/>
                </a:solidFill>
                <a:effectLst/>
                <a:uLnTx/>
                <a:uFillTx/>
                <a:latin typeface="Poppins"/>
                <a:cs typeface="Poppins Light"/>
              </a:rPr>
              <a:t>Competitors that own cosmetic brands leverage those to cross-sell accessories. </a:t>
            </a:r>
          </a:p>
          <a:p>
            <a:pPr marL="171450" marR="0" lvl="0" indent="-171450" algn="l" defTabSz="914400" rtl="0" eaLnBrk="1" fontAlgn="auto" latinLnBrk="0" hangingPunct="1">
              <a:lnSpc>
                <a:spcPct val="120000"/>
              </a:lnSpc>
              <a:spcBef>
                <a:spcPts val="0"/>
              </a:spcBef>
              <a:spcAft>
                <a:spcPts val="0"/>
              </a:spcAft>
              <a:buClr>
                <a:srgbClr val="442E8E"/>
              </a:buClr>
              <a:buSzTx/>
              <a:buFont typeface="Wingdings" panose="05000000000000000000" pitchFamily="2" charset="2"/>
              <a:buChar char="§"/>
              <a:tabLst/>
              <a:defRPr/>
            </a:pPr>
            <a:endParaRPr kumimoji="0" lang="en-US" sz="1200" b="1" i="0" u="none" strike="noStrike" kern="1200" cap="none" spc="0" normalizeH="0" baseline="0" noProof="0">
              <a:ln>
                <a:noFill/>
              </a:ln>
              <a:solidFill>
                <a:srgbClr val="8E7FFE">
                  <a:lumMod val="50000"/>
                </a:srgbClr>
              </a:solidFill>
              <a:effectLst/>
              <a:uLnTx/>
              <a:uFillTx/>
              <a:latin typeface="Poppins"/>
              <a:cs typeface="Poppins Light"/>
            </a:endParaRPr>
          </a:p>
          <a:p>
            <a:pPr marL="171450" marR="0" lvl="0" indent="-171450" algn="l" defTabSz="914400" rtl="0" eaLnBrk="1" fontAlgn="auto" latinLnBrk="0" hangingPunct="1">
              <a:lnSpc>
                <a:spcPct val="120000"/>
              </a:lnSpc>
              <a:spcBef>
                <a:spcPts val="0"/>
              </a:spcBef>
              <a:spcAft>
                <a:spcPts val="0"/>
              </a:spcAft>
              <a:buClr>
                <a:srgbClr val="442E8E"/>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Poppins"/>
                <a:cs typeface="Poppins Light"/>
              </a:rPr>
              <a:t>We see examples where </a:t>
            </a:r>
            <a:r>
              <a:rPr kumimoji="0" lang="en-US" sz="1200" b="1" i="0" u="none" strike="noStrike" kern="1200" cap="none" spc="0" normalizeH="0" baseline="0" noProof="0">
                <a:ln>
                  <a:noFill/>
                </a:ln>
                <a:solidFill>
                  <a:srgbClr val="35327B"/>
                </a:solidFill>
                <a:effectLst/>
                <a:uLnTx/>
                <a:uFillTx/>
                <a:latin typeface="Poppins"/>
                <a:cs typeface="Poppins Light"/>
              </a:rPr>
              <a:t>competitors are aiming to differentiate accessories.</a:t>
            </a:r>
            <a:endParaRPr kumimoji="0" lang="en-US" sz="1200" b="0" i="0" u="none" strike="noStrike" kern="1200" cap="none" spc="0" normalizeH="0" baseline="0" noProof="0">
              <a:ln>
                <a:noFill/>
              </a:ln>
              <a:solidFill>
                <a:srgbClr val="35327B"/>
              </a:solidFill>
              <a:effectLst/>
              <a:uLnTx/>
              <a:uFillTx/>
              <a:latin typeface="Poppins"/>
              <a:cs typeface="Poppins Light"/>
            </a:endParaRPr>
          </a:p>
        </p:txBody>
      </p:sp>
      <p:sp>
        <p:nvSpPr>
          <p:cNvPr id="12" name="Rectángulo 11">
            <a:extLst>
              <a:ext uri="{FF2B5EF4-FFF2-40B4-BE49-F238E27FC236}">
                <a16:creationId xmlns:a16="http://schemas.microsoft.com/office/drawing/2014/main" id="{AAC80291-2D4A-28AE-D923-E406F92B6D14}"/>
              </a:ext>
            </a:extLst>
          </p:cNvPr>
          <p:cNvSpPr/>
          <p:nvPr/>
        </p:nvSpPr>
        <p:spPr>
          <a:xfrm>
            <a:off x="904411" y="1061444"/>
            <a:ext cx="3434968" cy="467758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3" name="Rectángulo: esquinas redondeadas 12">
            <a:extLst>
              <a:ext uri="{FF2B5EF4-FFF2-40B4-BE49-F238E27FC236}">
                <a16:creationId xmlns:a16="http://schemas.microsoft.com/office/drawing/2014/main" id="{F921B205-67DA-46DF-004B-32D56DE7303C}"/>
              </a:ext>
            </a:extLst>
          </p:cNvPr>
          <p:cNvSpPr/>
          <p:nvPr/>
        </p:nvSpPr>
        <p:spPr>
          <a:xfrm>
            <a:off x="904411" y="1204805"/>
            <a:ext cx="3360539" cy="476681"/>
          </a:xfrm>
          <a:prstGeom prst="roundRect">
            <a:avLst>
              <a:gd name="adj" fmla="val 3970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5" normalizeH="0" baseline="0" noProof="0">
                <a:ln>
                  <a:noFill/>
                </a:ln>
                <a:solidFill>
                  <a:srgbClr val="35327B"/>
                </a:solidFill>
                <a:effectLst/>
                <a:uLnTx/>
                <a:uFillTx/>
                <a:latin typeface="Poppins"/>
                <a:ea typeface="+mn-ea"/>
                <a:cs typeface="Poppins"/>
              </a:rPr>
              <a:t>1. Quick market research of competitor marketing spend</a:t>
            </a:r>
          </a:p>
        </p:txBody>
      </p:sp>
      <p:sp>
        <p:nvSpPr>
          <p:cNvPr id="14" name="CuadroTexto 13">
            <a:extLst>
              <a:ext uri="{FF2B5EF4-FFF2-40B4-BE49-F238E27FC236}">
                <a16:creationId xmlns:a16="http://schemas.microsoft.com/office/drawing/2014/main" id="{41A907B3-653C-23EA-3BF5-EADC8DFCBA78}"/>
              </a:ext>
            </a:extLst>
          </p:cNvPr>
          <p:cNvSpPr txBox="1"/>
          <p:nvPr/>
        </p:nvSpPr>
        <p:spPr>
          <a:xfrm>
            <a:off x="891320" y="1875606"/>
            <a:ext cx="3360538" cy="1852815"/>
          </a:xfrm>
          <a:prstGeom prst="rect">
            <a:avLst/>
          </a:prstGeom>
          <a:noFill/>
        </p:spPr>
        <p:txBody>
          <a:bodyPr wrap="square" lIns="91440" tIns="45720" rIns="91440" bIns="45720" rtlCol="0" anchor="t">
            <a:spAutoFit/>
          </a:bodyPr>
          <a:lstStyle>
            <a:defPPr>
              <a:defRPr lang="es-ES"/>
            </a:defPPr>
            <a:lvl1pPr indent="0">
              <a:lnSpc>
                <a:spcPct val="120000"/>
              </a:lnSpc>
              <a:buClr>
                <a:schemeClr val="accent4"/>
              </a:buClr>
              <a:buFont typeface="Wingdings" panose="05000000000000000000" pitchFamily="2" charset="2"/>
              <a:buNone/>
              <a:defRPr sz="1400" b="1">
                <a:solidFill>
                  <a:schemeClr val="accent3">
                    <a:lumMod val="50000"/>
                  </a:schemeClr>
                </a:solidFill>
                <a:latin typeface="+mj-lt"/>
                <a:ea typeface="+mn-lt"/>
                <a:cs typeface="+mn-lt"/>
              </a:defRPr>
            </a:lvl1pPr>
          </a:lstStyle>
          <a:p>
            <a:pPr marL="285750" marR="0" lvl="0" indent="-285750" algn="l" defTabSz="914400" rtl="0" eaLnBrk="1" fontAlgn="auto" latinLnBrk="0" hangingPunct="1">
              <a:lnSpc>
                <a:spcPct val="120000"/>
              </a:lnSpc>
              <a:spcBef>
                <a:spcPts val="0"/>
              </a:spcBef>
              <a:spcAft>
                <a:spcPts val="0"/>
              </a:spcAft>
              <a:buClr>
                <a:srgbClr val="442E8E"/>
              </a:buClr>
              <a:buSzTx/>
              <a:buFont typeface="Arial" panose="020B0604020202020204" pitchFamily="34" charset="0"/>
              <a:buChar char="•"/>
              <a:tabLst/>
              <a:defRPr/>
            </a:pPr>
            <a:r>
              <a:rPr kumimoji="0" lang="en-US" sz="1200" b="0" i="0" u="none" strike="noStrike" kern="1200" cap="none" spc="0" normalizeH="0" baseline="0" noProof="0">
                <a:ln>
                  <a:noFill/>
                </a:ln>
                <a:solidFill>
                  <a:srgbClr val="545354"/>
                </a:solidFill>
                <a:effectLst/>
                <a:uLnTx/>
                <a:uFillTx/>
                <a:latin typeface="Poppins"/>
                <a:cs typeface="Poppins Light"/>
              </a:rPr>
              <a:t>Direct competitors like </a:t>
            </a:r>
            <a:r>
              <a:rPr kumimoji="0" lang="en-US" sz="1200" b="0" i="0" u="none" strike="noStrike" kern="1200" cap="none" spc="0" normalizeH="0" baseline="0" noProof="0" err="1">
                <a:ln>
                  <a:noFill/>
                </a:ln>
                <a:solidFill>
                  <a:srgbClr val="545354"/>
                </a:solidFill>
                <a:effectLst/>
                <a:uLnTx/>
                <a:uFillTx/>
                <a:latin typeface="Poppins"/>
                <a:cs typeface="Poppins Light"/>
              </a:rPr>
              <a:t>e.l.f</a:t>
            </a:r>
            <a:r>
              <a:rPr kumimoji="0" lang="en-US" sz="1200" b="0" i="0" u="none" strike="noStrike" kern="1200" cap="none" spc="0" normalizeH="0" baseline="0" noProof="0">
                <a:ln>
                  <a:noFill/>
                </a:ln>
                <a:solidFill>
                  <a:srgbClr val="545354"/>
                </a:solidFill>
                <a:effectLst/>
                <a:uLnTx/>
                <a:uFillTx/>
                <a:latin typeface="Poppins"/>
                <a:cs typeface="Poppins Light"/>
              </a:rPr>
              <a:t>. invest </a:t>
            </a:r>
            <a:r>
              <a:rPr kumimoji="0" lang="en-US" sz="1200" b="1" i="0" u="none" strike="noStrike" kern="1200" cap="none" spc="0" normalizeH="0" baseline="0" noProof="0">
                <a:ln>
                  <a:noFill/>
                </a:ln>
                <a:solidFill>
                  <a:srgbClr val="35327B"/>
                </a:solidFill>
                <a:effectLst/>
                <a:uLnTx/>
                <a:uFillTx/>
                <a:latin typeface="Poppins"/>
                <a:cs typeface="Poppins Light"/>
              </a:rPr>
              <a:t>22%  of net sales in digital marketing </a:t>
            </a:r>
            <a:r>
              <a:rPr kumimoji="0" lang="en-US" sz="1200" b="0" i="0" u="none" strike="noStrike" kern="1200" cap="none" spc="0" normalizeH="0" baseline="0" noProof="0">
                <a:ln>
                  <a:noFill/>
                </a:ln>
                <a:solidFill>
                  <a:srgbClr val="545354"/>
                </a:solidFill>
                <a:effectLst/>
                <a:uLnTx/>
                <a:uFillTx/>
                <a:latin typeface="Poppins"/>
                <a:cs typeface="Poppins Light"/>
              </a:rPr>
              <a:t>equivalent to </a:t>
            </a:r>
            <a:r>
              <a:rPr kumimoji="0" lang="en-US" sz="1200" b="1" i="0" u="none" strike="noStrike" kern="1200" cap="none" spc="0" normalizeH="0" baseline="0" noProof="0">
                <a:ln>
                  <a:noFill/>
                </a:ln>
                <a:solidFill>
                  <a:srgbClr val="35327B"/>
                </a:solidFill>
                <a:effectLst/>
                <a:uLnTx/>
                <a:uFillTx/>
                <a:latin typeface="Poppins"/>
                <a:cs typeface="Poppins Light"/>
              </a:rPr>
              <a:t>$126 million</a:t>
            </a:r>
            <a:r>
              <a:rPr kumimoji="0" lang="en-US" sz="1200" b="1" i="0" u="none" strike="noStrike" kern="1200" cap="none" spc="0" normalizeH="0" baseline="0" noProof="0">
                <a:ln>
                  <a:noFill/>
                </a:ln>
                <a:solidFill>
                  <a:srgbClr val="8E7FFE">
                    <a:lumMod val="50000"/>
                  </a:srgbClr>
                </a:solidFill>
                <a:effectLst/>
                <a:uLnTx/>
                <a:uFillTx/>
                <a:latin typeface="Poppins"/>
                <a:cs typeface="Poppins Light"/>
              </a:rPr>
              <a:t> </a:t>
            </a:r>
            <a:r>
              <a:rPr kumimoji="0" lang="en-US" sz="1200" b="0" i="0" u="none" strike="noStrike" kern="1200" cap="none" spc="0" normalizeH="0" baseline="0" noProof="0">
                <a:ln>
                  <a:noFill/>
                </a:ln>
                <a:solidFill>
                  <a:srgbClr val="545354"/>
                </a:solidFill>
                <a:effectLst/>
                <a:uLnTx/>
                <a:uFillTx/>
                <a:latin typeface="Poppins"/>
                <a:cs typeface="Poppins Light"/>
              </a:rPr>
              <a:t>on marketing efforts by 2023. </a:t>
            </a:r>
          </a:p>
          <a:p>
            <a:pPr marL="285750" marR="0" lvl="0" indent="-285750" algn="l" defTabSz="914400" rtl="0" eaLnBrk="1" fontAlgn="auto" latinLnBrk="0" hangingPunct="1">
              <a:lnSpc>
                <a:spcPct val="120000"/>
              </a:lnSpc>
              <a:spcBef>
                <a:spcPts val="0"/>
              </a:spcBef>
              <a:spcAft>
                <a:spcPts val="0"/>
              </a:spcAft>
              <a:buClr>
                <a:srgbClr val="442E8E"/>
              </a:buClr>
              <a:buSzTx/>
              <a:buFont typeface="Arial" panose="020B0604020202020204" pitchFamily="34" charset="0"/>
              <a:buChar char="•"/>
              <a:tabLst/>
              <a:defRPr/>
            </a:pPr>
            <a:endParaRPr kumimoji="0" lang="en-US" sz="1200" b="0" i="0" u="none" strike="noStrike" kern="1200" cap="none" spc="0" normalizeH="0" baseline="0" noProof="0">
              <a:ln>
                <a:noFill/>
              </a:ln>
              <a:solidFill>
                <a:srgbClr val="545354"/>
              </a:solidFill>
              <a:effectLst/>
              <a:uLnTx/>
              <a:uFillTx/>
              <a:latin typeface="Poppins"/>
              <a:cs typeface="Poppins Light"/>
            </a:endParaRPr>
          </a:p>
          <a:p>
            <a:pPr marL="285750" indent="-285750">
              <a:buClr>
                <a:srgbClr val="442E8E"/>
              </a:buClr>
              <a:buFont typeface="Arial" panose="020B0604020202020204" pitchFamily="34" charset="0"/>
              <a:buChar char="•"/>
              <a:defRPr/>
            </a:pPr>
            <a:r>
              <a:rPr kumimoji="0" lang="en-US" sz="1200" b="0" i="0" u="none" strike="noStrike" kern="1200" cap="none" spc="0" normalizeH="0" baseline="0" noProof="0">
                <a:ln>
                  <a:noFill/>
                </a:ln>
                <a:solidFill>
                  <a:srgbClr val="545354"/>
                </a:solidFill>
                <a:effectLst/>
                <a:uLnTx/>
                <a:uFillTx/>
                <a:latin typeface="Poppins"/>
                <a:cs typeface="Poppins Light"/>
              </a:rPr>
              <a:t>Other players like MAC (part of L’Oréal), spend +40% </a:t>
            </a:r>
            <a:r>
              <a:rPr lang="en-US" sz="1200" b="0">
                <a:solidFill>
                  <a:srgbClr val="545354"/>
                </a:solidFill>
                <a:latin typeface="Poppins"/>
                <a:cs typeface="Poppins Light"/>
              </a:rPr>
              <a:t> </a:t>
            </a:r>
            <a:r>
              <a:rPr kumimoji="0" lang="en-US" sz="1200" b="0" i="0" u="none" strike="noStrike" kern="1200" cap="none" spc="0" normalizeH="0" baseline="0" noProof="0">
                <a:ln>
                  <a:noFill/>
                </a:ln>
                <a:solidFill>
                  <a:srgbClr val="545354"/>
                </a:solidFill>
                <a:effectLst/>
                <a:uLnTx/>
                <a:uFillTx/>
                <a:latin typeface="Poppins"/>
                <a:cs typeface="Poppins Light"/>
              </a:rPr>
              <a:t>of their net sales in advertisement. </a:t>
            </a:r>
          </a:p>
        </p:txBody>
      </p:sp>
      <p:sp>
        <p:nvSpPr>
          <p:cNvPr id="15" name="Rectángulo 14">
            <a:extLst>
              <a:ext uri="{FF2B5EF4-FFF2-40B4-BE49-F238E27FC236}">
                <a16:creationId xmlns:a16="http://schemas.microsoft.com/office/drawing/2014/main" id="{02FB037B-2026-DC8C-F1BA-E8DCCD406C32}"/>
              </a:ext>
            </a:extLst>
          </p:cNvPr>
          <p:cNvSpPr/>
          <p:nvPr/>
        </p:nvSpPr>
        <p:spPr>
          <a:xfrm>
            <a:off x="8243734" y="1052198"/>
            <a:ext cx="3434968" cy="467758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6" name="Rectángulo: esquinas redondeadas 15">
            <a:extLst>
              <a:ext uri="{FF2B5EF4-FFF2-40B4-BE49-F238E27FC236}">
                <a16:creationId xmlns:a16="http://schemas.microsoft.com/office/drawing/2014/main" id="{7DA506A1-2A2F-4969-B62E-227CE03F4132}"/>
              </a:ext>
            </a:extLst>
          </p:cNvPr>
          <p:cNvSpPr/>
          <p:nvPr/>
        </p:nvSpPr>
        <p:spPr>
          <a:xfrm>
            <a:off x="8227787" y="1084673"/>
            <a:ext cx="3360539" cy="476681"/>
          </a:xfrm>
          <a:prstGeom prst="roundRect">
            <a:avLst>
              <a:gd name="adj" fmla="val 3970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5" normalizeH="0" baseline="0" noProof="0">
                <a:ln>
                  <a:noFill/>
                </a:ln>
                <a:solidFill>
                  <a:srgbClr val="35327B"/>
                </a:solidFill>
                <a:effectLst/>
                <a:uLnTx/>
                <a:uFillTx/>
                <a:latin typeface="Poppins"/>
                <a:ea typeface="+mn-ea"/>
                <a:cs typeface="Poppins"/>
              </a:rPr>
              <a:t>3. ROI estimate based on the MMM</a:t>
            </a:r>
          </a:p>
        </p:txBody>
      </p:sp>
      <p:sp>
        <p:nvSpPr>
          <p:cNvPr id="17" name="CuadroTexto 16">
            <a:extLst>
              <a:ext uri="{FF2B5EF4-FFF2-40B4-BE49-F238E27FC236}">
                <a16:creationId xmlns:a16="http://schemas.microsoft.com/office/drawing/2014/main" id="{BD1E64EF-F53A-65AE-0171-C7C450910815}"/>
              </a:ext>
            </a:extLst>
          </p:cNvPr>
          <p:cNvSpPr txBox="1"/>
          <p:nvPr/>
        </p:nvSpPr>
        <p:spPr>
          <a:xfrm>
            <a:off x="8504232" y="1875606"/>
            <a:ext cx="2913973" cy="1631216"/>
          </a:xfrm>
          <a:prstGeom prst="rect">
            <a:avLst/>
          </a:prstGeom>
          <a:noFill/>
        </p:spPr>
        <p:txBody>
          <a:bodyPr wrap="square" rtlCol="0">
            <a:spAutoFit/>
          </a:bodyPr>
          <a:lstStyle>
            <a:defPPr>
              <a:defRPr lang="es-ES"/>
            </a:defPPr>
            <a:lvl1pPr marL="171450" indent="-171450">
              <a:lnSpc>
                <a:spcPct val="120000"/>
              </a:lnSpc>
              <a:buClr>
                <a:schemeClr val="accent4"/>
              </a:buClr>
              <a:buFont typeface="Wingdings" panose="05000000000000000000" pitchFamily="2" charset="2"/>
              <a:buChar char="§"/>
              <a:defRPr sz="1200">
                <a:latin typeface="+mj-lt"/>
                <a:ea typeface="+mn-lt"/>
                <a:cs typeface="+mn-lt"/>
              </a:defRPr>
            </a:lvl1pPr>
          </a:lstStyle>
          <a:p>
            <a:pPr marL="0" marR="0" lvl="0" indent="0" algn="l" defTabSz="914400" rtl="0" eaLnBrk="1" fontAlgn="auto" latinLnBrk="0" hangingPunct="1">
              <a:lnSpc>
                <a:spcPct val="120000"/>
              </a:lnSpc>
              <a:spcBef>
                <a:spcPts val="0"/>
              </a:spcBef>
              <a:spcAft>
                <a:spcPts val="0"/>
              </a:spcAft>
              <a:buClr>
                <a:srgbClr val="442E8E"/>
              </a:buClr>
              <a:buSzTx/>
              <a:buFont typeface="Wingdings" panose="05000000000000000000" pitchFamily="2" charset="2"/>
              <a:buNone/>
              <a:tabLst/>
              <a:defRPr/>
            </a:pPr>
            <a:r>
              <a:rPr kumimoji="0" lang="en-US" sz="1200" b="0" i="0" u="none" strike="noStrike" kern="1200" cap="none" spc="0" normalizeH="0" baseline="0" noProof="0">
                <a:ln>
                  <a:noFill/>
                </a:ln>
                <a:solidFill>
                  <a:srgbClr val="545354"/>
                </a:solidFill>
                <a:effectLst/>
                <a:uLnTx/>
                <a:uFillTx/>
                <a:latin typeface="Poppins"/>
                <a:cs typeface="Poppins Light"/>
              </a:rPr>
              <a:t>After analyzing the 2022-23 </a:t>
            </a:r>
            <a:r>
              <a:rPr lang="en-US">
                <a:solidFill>
                  <a:srgbClr val="545354"/>
                </a:solidFill>
                <a:latin typeface="Poppins"/>
                <a:cs typeface="Poppins Light"/>
              </a:rPr>
              <a:t>XXX</a:t>
            </a:r>
            <a:r>
              <a:rPr kumimoji="0" lang="en-US" sz="1200" b="0" i="0" u="none" strike="noStrike" kern="1200" cap="none" spc="0" normalizeH="0" baseline="0" noProof="0">
                <a:ln>
                  <a:noFill/>
                </a:ln>
                <a:solidFill>
                  <a:srgbClr val="545354"/>
                </a:solidFill>
                <a:effectLst/>
                <a:uLnTx/>
                <a:uFillTx/>
                <a:latin typeface="Poppins"/>
                <a:cs typeface="Poppins Light"/>
              </a:rPr>
              <a:t> campaign we observed:</a:t>
            </a:r>
          </a:p>
          <a:p>
            <a:pPr marL="171450" marR="0" lvl="0" indent="-171450" algn="l" defTabSz="914400" rtl="0" eaLnBrk="1" fontAlgn="auto" latinLnBrk="0" hangingPunct="1">
              <a:lnSpc>
                <a:spcPct val="120000"/>
              </a:lnSpc>
              <a:spcBef>
                <a:spcPts val="0"/>
              </a:spcBef>
              <a:spcAft>
                <a:spcPts val="0"/>
              </a:spcAft>
              <a:buClr>
                <a:srgbClr val="442E8E"/>
              </a:buClr>
              <a:buSzTx/>
              <a:buFont typeface="Wingdings" panose="05000000000000000000" pitchFamily="2" charset="2"/>
              <a:buChar char="§"/>
              <a:tabLst/>
              <a:defRPr/>
            </a:pPr>
            <a:endParaRPr kumimoji="0" lang="en-US" sz="1200" b="0" i="0" u="none" strike="noStrike" kern="1200" cap="none" spc="0" normalizeH="0" baseline="0" noProof="0">
              <a:ln>
                <a:noFill/>
              </a:ln>
              <a:solidFill>
                <a:srgbClr val="545354"/>
              </a:solidFill>
              <a:effectLst/>
              <a:uLnTx/>
              <a:uFillTx/>
              <a:latin typeface="Poppins"/>
              <a:cs typeface="Poppins Light"/>
            </a:endParaRPr>
          </a:p>
          <a:p>
            <a:pPr marL="171450" marR="0" lvl="0" indent="-171450" algn="l" defTabSz="914400" rtl="0" eaLnBrk="1" fontAlgn="auto" latinLnBrk="0" hangingPunct="1">
              <a:lnSpc>
                <a:spcPct val="120000"/>
              </a:lnSpc>
              <a:spcBef>
                <a:spcPts val="0"/>
              </a:spcBef>
              <a:spcAft>
                <a:spcPts val="0"/>
              </a:spcAft>
              <a:buClr>
                <a:srgbClr val="442E8E"/>
              </a:buClr>
              <a:buSzTx/>
              <a:buFont typeface="Wingdings" panose="05000000000000000000" pitchFamily="2" charset="2"/>
              <a:buChar char="§"/>
              <a:tabLst/>
              <a:defRPr/>
            </a:pPr>
            <a:r>
              <a:rPr kumimoji="0" lang="en-US" sz="1200" b="0" i="0" u="none" strike="noStrike" kern="1200" cap="none" spc="0" normalizeH="0" baseline="0" noProof="0">
                <a:ln>
                  <a:noFill/>
                </a:ln>
                <a:solidFill>
                  <a:srgbClr val="545354"/>
                </a:solidFill>
                <a:effectLst/>
                <a:uLnTx/>
                <a:uFillTx/>
                <a:latin typeface="Poppins"/>
                <a:cs typeface="Poppins Light"/>
              </a:rPr>
              <a:t>For the most part, ROI is positive for a significant number of campaigns, saturation levels are very low as well.</a:t>
            </a:r>
          </a:p>
        </p:txBody>
      </p:sp>
      <p:sp>
        <p:nvSpPr>
          <p:cNvPr id="18" name="Rectángulo 17">
            <a:extLst>
              <a:ext uri="{FF2B5EF4-FFF2-40B4-BE49-F238E27FC236}">
                <a16:creationId xmlns:a16="http://schemas.microsoft.com/office/drawing/2014/main" id="{91C04A14-309F-D609-C4FD-CC840AF22A2B}"/>
              </a:ext>
            </a:extLst>
          </p:cNvPr>
          <p:cNvSpPr/>
          <p:nvPr/>
        </p:nvSpPr>
        <p:spPr>
          <a:xfrm>
            <a:off x="8052382" y="909615"/>
            <a:ext cx="3799870" cy="5016998"/>
          </a:xfrm>
          <a:prstGeom prst="rect">
            <a:avLst/>
          </a:prstGeom>
          <a:noFill/>
          <a:ln w="19050">
            <a:solidFill>
              <a:schemeClr val="accent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9" name="Rectángulo: esquinas redondeadas 18">
            <a:extLst>
              <a:ext uri="{FF2B5EF4-FFF2-40B4-BE49-F238E27FC236}">
                <a16:creationId xmlns:a16="http://schemas.microsoft.com/office/drawing/2014/main" id="{DD81526F-9F04-9F3A-449E-B72FE33CF85B}"/>
              </a:ext>
            </a:extLst>
          </p:cNvPr>
          <p:cNvSpPr/>
          <p:nvPr/>
        </p:nvSpPr>
        <p:spPr>
          <a:xfrm>
            <a:off x="2960142" y="6255304"/>
            <a:ext cx="2923541" cy="439409"/>
          </a:xfrm>
          <a:prstGeom prst="roundRect">
            <a:avLst>
              <a:gd name="adj" fmla="val 39707"/>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a:ea typeface="+mn-ea"/>
                <a:cs typeface="+mn-cs"/>
              </a:rPr>
              <a:t>Competitor Benchmark will be included in Phase 1  </a:t>
            </a:r>
            <a:endParaRPr kumimoji="0" lang="es-CO" sz="1200" b="1" i="0" u="none" strike="noStrike" kern="1200" cap="none" spc="0" normalizeH="0" baseline="0" noProof="0" dirty="0">
              <a:ln>
                <a:noFill/>
              </a:ln>
              <a:solidFill>
                <a:srgbClr val="FFFFFF"/>
              </a:solidFill>
              <a:effectLst/>
              <a:uLnTx/>
              <a:uFillTx/>
              <a:latin typeface="Poppins"/>
              <a:ea typeface="+mn-ea"/>
              <a:cs typeface="+mn-cs"/>
            </a:endParaRPr>
          </a:p>
        </p:txBody>
      </p:sp>
      <p:sp>
        <p:nvSpPr>
          <p:cNvPr id="20" name="Isosceles Triangle 1">
            <a:extLst>
              <a:ext uri="{FF2B5EF4-FFF2-40B4-BE49-F238E27FC236}">
                <a16:creationId xmlns:a16="http://schemas.microsoft.com/office/drawing/2014/main" id="{F741648A-AC11-925E-CC50-66BDC97B40A7}"/>
              </a:ext>
            </a:extLst>
          </p:cNvPr>
          <p:cNvSpPr/>
          <p:nvPr/>
        </p:nvSpPr>
        <p:spPr>
          <a:xfrm>
            <a:off x="4022861" y="6084007"/>
            <a:ext cx="798103" cy="107415"/>
          </a:xfrm>
          <a:prstGeom prst="triangl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a:ea typeface="+mn-ea"/>
              <a:cs typeface="+mn-cs"/>
            </a:endParaRPr>
          </a:p>
        </p:txBody>
      </p:sp>
      <p:sp>
        <p:nvSpPr>
          <p:cNvPr id="21" name="Rectángulo: esquinas redondeadas 20">
            <a:extLst>
              <a:ext uri="{FF2B5EF4-FFF2-40B4-BE49-F238E27FC236}">
                <a16:creationId xmlns:a16="http://schemas.microsoft.com/office/drawing/2014/main" id="{D0031411-C568-B98C-570A-D13D05FA5B73}"/>
              </a:ext>
            </a:extLst>
          </p:cNvPr>
          <p:cNvSpPr/>
          <p:nvPr/>
        </p:nvSpPr>
        <p:spPr>
          <a:xfrm>
            <a:off x="8425206" y="6255305"/>
            <a:ext cx="2923541" cy="260004"/>
          </a:xfrm>
          <a:prstGeom prst="roundRect">
            <a:avLst>
              <a:gd name="adj" fmla="val 39707"/>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err="1">
                <a:solidFill>
                  <a:srgbClr val="FFFFFF"/>
                </a:solidFill>
                <a:latin typeface="Poppins"/>
              </a:rPr>
              <a:t>Belcorp</a:t>
            </a:r>
            <a:r>
              <a:rPr lang="en-US" sz="1200" b="1" dirty="0">
                <a:solidFill>
                  <a:srgbClr val="FFFFFF"/>
                </a:solidFill>
                <a:latin typeface="Poppins"/>
              </a:rPr>
              <a:t> Focus</a:t>
            </a:r>
            <a:endParaRPr kumimoji="0" lang="es-CO" sz="1200" b="1" i="0" u="none" strike="noStrike" kern="1200" cap="none" spc="0" normalizeH="0" baseline="0" noProof="0" dirty="0">
              <a:ln>
                <a:noFill/>
              </a:ln>
              <a:solidFill>
                <a:srgbClr val="FFFFFF"/>
              </a:solidFill>
              <a:effectLst/>
              <a:uLnTx/>
              <a:uFillTx/>
              <a:latin typeface="Poppins"/>
              <a:ea typeface="+mn-ea"/>
              <a:cs typeface="+mn-cs"/>
            </a:endParaRPr>
          </a:p>
        </p:txBody>
      </p:sp>
      <p:sp>
        <p:nvSpPr>
          <p:cNvPr id="22" name="Isosceles Triangle 1">
            <a:extLst>
              <a:ext uri="{FF2B5EF4-FFF2-40B4-BE49-F238E27FC236}">
                <a16:creationId xmlns:a16="http://schemas.microsoft.com/office/drawing/2014/main" id="{D707A400-043F-A951-F586-9219A3C08B96}"/>
              </a:ext>
            </a:extLst>
          </p:cNvPr>
          <p:cNvSpPr/>
          <p:nvPr/>
        </p:nvSpPr>
        <p:spPr>
          <a:xfrm>
            <a:off x="9487925" y="6084007"/>
            <a:ext cx="798103" cy="107415"/>
          </a:xfrm>
          <a:prstGeom prst="triangl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a:ea typeface="+mn-ea"/>
              <a:cs typeface="+mn-cs"/>
            </a:endParaRPr>
          </a:p>
        </p:txBody>
      </p:sp>
      <p:pic>
        <p:nvPicPr>
          <p:cNvPr id="23" name="Picture 2" descr="Belcorp | Brands of the World™ | Download vector logos and ...">
            <a:extLst>
              <a:ext uri="{FF2B5EF4-FFF2-40B4-BE49-F238E27FC236}">
                <a16:creationId xmlns:a16="http://schemas.microsoft.com/office/drawing/2014/main" id="{BD47E436-DD87-3CE2-5701-F73D87E296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CE3D59B4-ED14-9C45-BBB8-0450C4D0B1B2}"/>
              </a:ext>
            </a:extLst>
          </p:cNvPr>
          <p:cNvSpPr/>
          <p:nvPr/>
        </p:nvSpPr>
        <p:spPr>
          <a:xfrm>
            <a:off x="3809271" y="1908265"/>
            <a:ext cx="532931" cy="2035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
        <p:nvSpPr>
          <p:cNvPr id="3" name="Rectángulo 2">
            <a:extLst>
              <a:ext uri="{FF2B5EF4-FFF2-40B4-BE49-F238E27FC236}">
                <a16:creationId xmlns:a16="http://schemas.microsoft.com/office/drawing/2014/main" id="{1F5F36AD-2FEE-7442-8FCA-ACBC6711D36C}"/>
              </a:ext>
            </a:extLst>
          </p:cNvPr>
          <p:cNvSpPr/>
          <p:nvPr/>
        </p:nvSpPr>
        <p:spPr>
          <a:xfrm>
            <a:off x="2305123" y="2363478"/>
            <a:ext cx="372763" cy="23820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
        <p:nvSpPr>
          <p:cNvPr id="5" name="Rectángulo 4">
            <a:extLst>
              <a:ext uri="{FF2B5EF4-FFF2-40B4-BE49-F238E27FC236}">
                <a16:creationId xmlns:a16="http://schemas.microsoft.com/office/drawing/2014/main" id="{F03BEF09-B81C-20D9-D816-76F690DBE6EE}"/>
              </a:ext>
            </a:extLst>
          </p:cNvPr>
          <p:cNvSpPr/>
          <p:nvPr/>
        </p:nvSpPr>
        <p:spPr>
          <a:xfrm>
            <a:off x="10742867" y="1906275"/>
            <a:ext cx="372763" cy="23820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
        <p:nvSpPr>
          <p:cNvPr id="26" name="Rectángulo 25">
            <a:extLst>
              <a:ext uri="{FF2B5EF4-FFF2-40B4-BE49-F238E27FC236}">
                <a16:creationId xmlns:a16="http://schemas.microsoft.com/office/drawing/2014/main" id="{4A38996D-A62B-DB0F-16CF-2A3F4DD325D2}"/>
              </a:ext>
            </a:extLst>
          </p:cNvPr>
          <p:cNvSpPr/>
          <p:nvPr/>
        </p:nvSpPr>
        <p:spPr>
          <a:xfrm>
            <a:off x="2394771" y="3192713"/>
            <a:ext cx="507233" cy="2830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Tree>
    <p:extLst>
      <p:ext uri="{BB962C8B-B14F-4D97-AF65-F5344CB8AC3E}">
        <p14:creationId xmlns:p14="http://schemas.microsoft.com/office/powerpoint/2010/main" val="2094281416"/>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1">
            <a:extLst>
              <a:ext uri="{FF2B5EF4-FFF2-40B4-BE49-F238E27FC236}">
                <a16:creationId xmlns:a16="http://schemas.microsoft.com/office/drawing/2014/main" id="{EBE7066F-DF8E-B608-AD94-A1926DF907ED}"/>
              </a:ext>
            </a:extLst>
          </p:cNvPr>
          <p:cNvSpPr/>
          <p:nvPr/>
        </p:nvSpPr>
        <p:spPr>
          <a:xfrm>
            <a:off x="816428" y="1375833"/>
            <a:ext cx="11248571" cy="306815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25" name="Título 2">
            <a:extLst>
              <a:ext uri="{FF2B5EF4-FFF2-40B4-BE49-F238E27FC236}">
                <a16:creationId xmlns:a16="http://schemas.microsoft.com/office/drawing/2014/main" id="{B56F2F79-A794-B1D3-6DE8-14A93DDEA729}"/>
              </a:ext>
            </a:extLst>
          </p:cNvPr>
          <p:cNvSpPr>
            <a:spLocks noGrp="1"/>
          </p:cNvSpPr>
          <p:nvPr>
            <p:ph type="title"/>
          </p:nvPr>
        </p:nvSpPr>
        <p:spPr>
          <a:xfrm>
            <a:off x="1172094" y="78619"/>
            <a:ext cx="7993358" cy="798836"/>
          </a:xfrm>
        </p:spPr>
        <p:txBody>
          <a:bodyPr>
            <a:normAutofit/>
          </a:bodyPr>
          <a:lstStyle/>
          <a:p>
            <a:r>
              <a:rPr lang="en-US" sz="2000">
                <a:solidFill>
                  <a:srgbClr val="472C9B"/>
                </a:solidFill>
                <a:cs typeface="Poppins Medium" pitchFamily="2" charset="77"/>
              </a:rPr>
              <a:t>Example MMM: Summary of campaign performance – with contribution margin</a:t>
            </a:r>
          </a:p>
        </p:txBody>
      </p:sp>
      <p:sp>
        <p:nvSpPr>
          <p:cNvPr id="26" name="Rectangle 4">
            <a:extLst>
              <a:ext uri="{FF2B5EF4-FFF2-40B4-BE49-F238E27FC236}">
                <a16:creationId xmlns:a16="http://schemas.microsoft.com/office/drawing/2014/main" id="{84A9D802-195C-5B6E-8F95-4CCE7283025E}"/>
              </a:ext>
            </a:extLst>
          </p:cNvPr>
          <p:cNvSpPr/>
          <p:nvPr/>
        </p:nvSpPr>
        <p:spPr>
          <a:xfrm>
            <a:off x="9464523" y="96157"/>
            <a:ext cx="229809" cy="16933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27" name="TextBox 6">
            <a:extLst>
              <a:ext uri="{FF2B5EF4-FFF2-40B4-BE49-F238E27FC236}">
                <a16:creationId xmlns:a16="http://schemas.microsoft.com/office/drawing/2014/main" id="{B14B476E-C283-F885-B13A-FC1EB613D087}"/>
              </a:ext>
            </a:extLst>
          </p:cNvPr>
          <p:cNvSpPr txBox="1"/>
          <p:nvPr/>
        </p:nvSpPr>
        <p:spPr>
          <a:xfrm>
            <a:off x="9851571" y="44752"/>
            <a:ext cx="214690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354"/>
                </a:solidFill>
                <a:effectLst/>
                <a:uLnTx/>
                <a:uFillTx/>
                <a:latin typeface="Poppins Light"/>
                <a:ea typeface="+mn-ea"/>
                <a:cs typeface="Poppins Light"/>
              </a:rPr>
              <a:t>Return &gt; 1</a:t>
            </a:r>
            <a:endParaRPr kumimoji="0" lang="en-US" sz="12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 name="Rectangle 7">
            <a:extLst>
              <a:ext uri="{FF2B5EF4-FFF2-40B4-BE49-F238E27FC236}">
                <a16:creationId xmlns:a16="http://schemas.microsoft.com/office/drawing/2014/main" id="{2D4D029C-7757-1684-1DEA-97F29191480A}"/>
              </a:ext>
            </a:extLst>
          </p:cNvPr>
          <p:cNvSpPr/>
          <p:nvPr/>
        </p:nvSpPr>
        <p:spPr>
          <a:xfrm>
            <a:off x="9464523" y="303636"/>
            <a:ext cx="229809" cy="16933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29" name="TextBox 10">
            <a:extLst>
              <a:ext uri="{FF2B5EF4-FFF2-40B4-BE49-F238E27FC236}">
                <a16:creationId xmlns:a16="http://schemas.microsoft.com/office/drawing/2014/main" id="{5D76143C-63AF-E234-5F8B-DB5A37E2116A}"/>
              </a:ext>
            </a:extLst>
          </p:cNvPr>
          <p:cNvSpPr txBox="1"/>
          <p:nvPr/>
        </p:nvSpPr>
        <p:spPr>
          <a:xfrm>
            <a:off x="9851571" y="252231"/>
            <a:ext cx="214690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354"/>
                </a:solidFill>
                <a:effectLst/>
                <a:uLnTx/>
                <a:uFillTx/>
                <a:latin typeface="Poppins Light"/>
                <a:ea typeface="+mn-ea"/>
                <a:cs typeface="Poppins Light"/>
              </a:rPr>
              <a:t>High Return and Low Lift</a:t>
            </a:r>
            <a:endParaRPr kumimoji="0" lang="en-US" sz="12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 name="Rectangle 13">
            <a:extLst>
              <a:ext uri="{FF2B5EF4-FFF2-40B4-BE49-F238E27FC236}">
                <a16:creationId xmlns:a16="http://schemas.microsoft.com/office/drawing/2014/main" id="{5ECE863E-9A8B-8311-0BF3-B93FEC55A496}"/>
              </a:ext>
            </a:extLst>
          </p:cNvPr>
          <p:cNvSpPr/>
          <p:nvPr/>
        </p:nvSpPr>
        <p:spPr>
          <a:xfrm>
            <a:off x="977014" y="1404699"/>
            <a:ext cx="229809" cy="12262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31" name="Rectangle 14">
            <a:extLst>
              <a:ext uri="{FF2B5EF4-FFF2-40B4-BE49-F238E27FC236}">
                <a16:creationId xmlns:a16="http://schemas.microsoft.com/office/drawing/2014/main" id="{CBDEC5A9-CD62-DCF6-F14F-0941E905496D}"/>
              </a:ext>
            </a:extLst>
          </p:cNvPr>
          <p:cNvSpPr/>
          <p:nvPr/>
        </p:nvSpPr>
        <p:spPr>
          <a:xfrm>
            <a:off x="9464522" y="516615"/>
            <a:ext cx="229809" cy="169333"/>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32" name="TextBox 15">
            <a:extLst>
              <a:ext uri="{FF2B5EF4-FFF2-40B4-BE49-F238E27FC236}">
                <a16:creationId xmlns:a16="http://schemas.microsoft.com/office/drawing/2014/main" id="{2CA7AD29-7479-8C00-7C7F-6A72DA579092}"/>
              </a:ext>
            </a:extLst>
          </p:cNvPr>
          <p:cNvSpPr txBox="1"/>
          <p:nvPr/>
        </p:nvSpPr>
        <p:spPr>
          <a:xfrm>
            <a:off x="9851570" y="465210"/>
            <a:ext cx="245992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354"/>
                </a:solidFill>
                <a:effectLst/>
                <a:uLnTx/>
                <a:uFillTx/>
                <a:latin typeface="Poppins Light"/>
                <a:ea typeface="+mn-ea"/>
                <a:cs typeface="Poppins Light"/>
              </a:rPr>
              <a:t>High Return and High Lift</a:t>
            </a:r>
          </a:p>
        </p:txBody>
      </p:sp>
      <p:sp>
        <p:nvSpPr>
          <p:cNvPr id="33" name="Rectangle 17">
            <a:extLst>
              <a:ext uri="{FF2B5EF4-FFF2-40B4-BE49-F238E27FC236}">
                <a16:creationId xmlns:a16="http://schemas.microsoft.com/office/drawing/2014/main" id="{B9213BA6-EEDA-EFA8-1226-9DE5DAAD63EC}"/>
              </a:ext>
            </a:extLst>
          </p:cNvPr>
          <p:cNvSpPr/>
          <p:nvPr/>
        </p:nvSpPr>
        <p:spPr>
          <a:xfrm>
            <a:off x="977013" y="1878999"/>
            <a:ext cx="229809" cy="12262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39" name="Picture 2" descr="Belcorp | Brands of the World™ | Download vector logos and ...">
            <a:extLst>
              <a:ext uri="{FF2B5EF4-FFF2-40B4-BE49-F238E27FC236}">
                <a16:creationId xmlns:a16="http://schemas.microsoft.com/office/drawing/2014/main" id="{297ABE39-5707-32A3-B0B1-F4E926122E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4" name="Gráfico 1">
            <a:extLst>
              <a:ext uri="{FF2B5EF4-FFF2-40B4-BE49-F238E27FC236}">
                <a16:creationId xmlns:a16="http://schemas.microsoft.com/office/drawing/2014/main" id="{C6172577-13DE-4B4D-A353-AE8E87EC181F}"/>
              </a:ext>
            </a:extLst>
          </p:cNvPr>
          <p:cNvGraphicFramePr>
            <a:graphicFrameLocks/>
          </p:cNvGraphicFramePr>
          <p:nvPr>
            <p:extLst>
              <p:ext uri="{D42A27DB-BD31-4B8C-83A1-F6EECF244321}">
                <p14:modId xmlns:p14="http://schemas.microsoft.com/office/powerpoint/2010/main" val="3879229112"/>
              </p:ext>
            </p:extLst>
          </p:nvPr>
        </p:nvGraphicFramePr>
        <p:xfrm>
          <a:off x="1172094" y="850874"/>
          <a:ext cx="4299322" cy="545950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5" name="Gráfico 2">
            <a:extLst>
              <a:ext uri="{FF2B5EF4-FFF2-40B4-BE49-F238E27FC236}">
                <a16:creationId xmlns:a16="http://schemas.microsoft.com/office/drawing/2014/main" id="{635F1148-10EF-4065-A52A-8CB7F000DB0F}"/>
              </a:ext>
            </a:extLst>
          </p:cNvPr>
          <p:cNvGraphicFramePr>
            <a:graphicFrameLocks/>
          </p:cNvGraphicFramePr>
          <p:nvPr>
            <p:extLst>
              <p:ext uri="{D42A27DB-BD31-4B8C-83A1-F6EECF244321}">
                <p14:modId xmlns:p14="http://schemas.microsoft.com/office/powerpoint/2010/main" val="3025385334"/>
              </p:ext>
            </p:extLst>
          </p:nvPr>
        </p:nvGraphicFramePr>
        <p:xfrm>
          <a:off x="5498869" y="850874"/>
          <a:ext cx="2904752" cy="545950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6" name="Gráfico 3">
            <a:extLst>
              <a:ext uri="{FF2B5EF4-FFF2-40B4-BE49-F238E27FC236}">
                <a16:creationId xmlns:a16="http://schemas.microsoft.com/office/drawing/2014/main" id="{D78694B5-8914-47E6-8959-E341233012BB}"/>
              </a:ext>
            </a:extLst>
          </p:cNvPr>
          <p:cNvGraphicFramePr>
            <a:graphicFrameLocks/>
          </p:cNvGraphicFramePr>
          <p:nvPr>
            <p:extLst>
              <p:ext uri="{D42A27DB-BD31-4B8C-83A1-F6EECF244321}">
                <p14:modId xmlns:p14="http://schemas.microsoft.com/office/powerpoint/2010/main" val="2485040711"/>
              </p:ext>
            </p:extLst>
          </p:nvPr>
        </p:nvGraphicFramePr>
        <p:xfrm>
          <a:off x="8396150" y="858344"/>
          <a:ext cx="2876178" cy="5459506"/>
        </p:xfrm>
        <a:graphic>
          <a:graphicData uri="http://schemas.openxmlformats.org/drawingml/2006/chart">
            <c:chart xmlns:c="http://schemas.openxmlformats.org/drawingml/2006/chart" xmlns:r="http://schemas.openxmlformats.org/officeDocument/2006/relationships" r:id="rId6"/>
          </a:graphicData>
        </a:graphic>
      </p:graphicFrame>
      <p:sp>
        <p:nvSpPr>
          <p:cNvPr id="77" name="Rectangle 13">
            <a:extLst>
              <a:ext uri="{FF2B5EF4-FFF2-40B4-BE49-F238E27FC236}">
                <a16:creationId xmlns:a16="http://schemas.microsoft.com/office/drawing/2014/main" id="{D515B44A-FB5C-C3A1-1A63-8E6210CB1014}"/>
              </a:ext>
            </a:extLst>
          </p:cNvPr>
          <p:cNvSpPr/>
          <p:nvPr/>
        </p:nvSpPr>
        <p:spPr>
          <a:xfrm>
            <a:off x="977013" y="1643845"/>
            <a:ext cx="229809" cy="12262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78" name="Rectangle 13">
            <a:extLst>
              <a:ext uri="{FF2B5EF4-FFF2-40B4-BE49-F238E27FC236}">
                <a16:creationId xmlns:a16="http://schemas.microsoft.com/office/drawing/2014/main" id="{22EE2874-8521-AFB6-86BA-BCA5C392FA96}"/>
              </a:ext>
            </a:extLst>
          </p:cNvPr>
          <p:cNvSpPr/>
          <p:nvPr/>
        </p:nvSpPr>
        <p:spPr>
          <a:xfrm>
            <a:off x="977013" y="2118145"/>
            <a:ext cx="229809" cy="12262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Tree>
    <p:extLst>
      <p:ext uri="{BB962C8B-B14F-4D97-AF65-F5344CB8AC3E}">
        <p14:creationId xmlns:p14="http://schemas.microsoft.com/office/powerpoint/2010/main" val="3761904466"/>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CB5F1C7-6A27-CB6E-27C1-561CA5C41712}"/>
              </a:ext>
            </a:extLst>
          </p:cNvPr>
          <p:cNvSpPr>
            <a:spLocks noGrp="1"/>
          </p:cNvSpPr>
          <p:nvPr>
            <p:ph type="title"/>
          </p:nvPr>
        </p:nvSpPr>
        <p:spPr>
          <a:xfrm>
            <a:off x="875942" y="241821"/>
            <a:ext cx="11470640" cy="798836"/>
          </a:xfrm>
        </p:spPr>
        <p:txBody>
          <a:bodyPr>
            <a:normAutofit/>
          </a:bodyPr>
          <a:lstStyle/>
          <a:p>
            <a:r>
              <a:rPr lang="en-US" sz="1600">
                <a:solidFill>
                  <a:srgbClr val="472C9B"/>
                </a:solidFill>
                <a:cs typeface="Poppins Medium" pitchFamily="2" charset="77"/>
              </a:rPr>
              <a:t>Variables included in the sales attribution model 2%</a:t>
            </a:r>
            <a:endParaRPr lang="en-US" sz="2000">
              <a:solidFill>
                <a:srgbClr val="472C9B"/>
              </a:solidFill>
              <a:cs typeface="Poppins Medium" pitchFamily="2" charset="77"/>
            </a:endParaRPr>
          </a:p>
        </p:txBody>
      </p:sp>
      <p:graphicFrame>
        <p:nvGraphicFramePr>
          <p:cNvPr id="4" name="Tabla 3">
            <a:extLst>
              <a:ext uri="{FF2B5EF4-FFF2-40B4-BE49-F238E27FC236}">
                <a16:creationId xmlns:a16="http://schemas.microsoft.com/office/drawing/2014/main" id="{5D4B91C8-4E34-2061-D1DC-3065247E82F4}"/>
              </a:ext>
            </a:extLst>
          </p:cNvPr>
          <p:cNvGraphicFramePr>
            <a:graphicFrameLocks noGrp="1"/>
          </p:cNvGraphicFramePr>
          <p:nvPr>
            <p:extLst>
              <p:ext uri="{D42A27DB-BD31-4B8C-83A1-F6EECF244321}">
                <p14:modId xmlns:p14="http://schemas.microsoft.com/office/powerpoint/2010/main" val="3113577347"/>
              </p:ext>
            </p:extLst>
          </p:nvPr>
        </p:nvGraphicFramePr>
        <p:xfrm>
          <a:off x="887781" y="920610"/>
          <a:ext cx="10631429" cy="5581996"/>
        </p:xfrm>
        <a:graphic>
          <a:graphicData uri="http://schemas.openxmlformats.org/drawingml/2006/table">
            <a:tbl>
              <a:tblPr>
                <a:tableStyleId>{21E4AEA4-8DFA-4A89-87EB-49C32662AFE0}</a:tableStyleId>
              </a:tblPr>
              <a:tblGrid>
                <a:gridCol w="969085">
                  <a:extLst>
                    <a:ext uri="{9D8B030D-6E8A-4147-A177-3AD203B41FA5}">
                      <a16:colId xmlns:a16="http://schemas.microsoft.com/office/drawing/2014/main" val="3677754253"/>
                    </a:ext>
                  </a:extLst>
                </a:gridCol>
                <a:gridCol w="2401937">
                  <a:extLst>
                    <a:ext uri="{9D8B030D-6E8A-4147-A177-3AD203B41FA5}">
                      <a16:colId xmlns:a16="http://schemas.microsoft.com/office/drawing/2014/main" val="560768534"/>
                    </a:ext>
                  </a:extLst>
                </a:gridCol>
                <a:gridCol w="5413953">
                  <a:extLst>
                    <a:ext uri="{9D8B030D-6E8A-4147-A177-3AD203B41FA5}">
                      <a16:colId xmlns:a16="http://schemas.microsoft.com/office/drawing/2014/main" val="938228097"/>
                    </a:ext>
                  </a:extLst>
                </a:gridCol>
                <a:gridCol w="923227">
                  <a:extLst>
                    <a:ext uri="{9D8B030D-6E8A-4147-A177-3AD203B41FA5}">
                      <a16:colId xmlns:a16="http://schemas.microsoft.com/office/drawing/2014/main" val="4219998640"/>
                    </a:ext>
                  </a:extLst>
                </a:gridCol>
                <a:gridCol w="923227">
                  <a:extLst>
                    <a:ext uri="{9D8B030D-6E8A-4147-A177-3AD203B41FA5}">
                      <a16:colId xmlns:a16="http://schemas.microsoft.com/office/drawing/2014/main" val="4217544904"/>
                    </a:ext>
                  </a:extLst>
                </a:gridCol>
              </a:tblGrid>
              <a:tr h="417536">
                <a:tc>
                  <a:txBody>
                    <a:bodyPr/>
                    <a:lstStyle/>
                    <a:p>
                      <a:pPr algn="ctr" fontAlgn="ctr"/>
                      <a:r>
                        <a:rPr lang="es-CO" sz="1200" b="1" i="0" u="none" strike="noStrike" noProof="0" err="1">
                          <a:solidFill>
                            <a:schemeClr val="accent6"/>
                          </a:solidFill>
                          <a:effectLst/>
                          <a:latin typeface="+mj-lt"/>
                        </a:rPr>
                        <a:t>N°</a:t>
                      </a:r>
                      <a:endParaRPr lang="en-US" sz="1200" b="1" i="0" u="none" strike="noStrike" noProof="0">
                        <a:solidFill>
                          <a:schemeClr val="accent6"/>
                        </a:solidFill>
                        <a:effectLst/>
                        <a:latin typeface="+mj-lt"/>
                      </a:endParaRPr>
                    </a:p>
                  </a:txBody>
                  <a:tcPr marL="5766" marR="5766" marT="5766" marB="0" anchor="ctr">
                    <a:solidFill>
                      <a:srgbClr val="C0B5D5"/>
                    </a:solidFill>
                  </a:tcPr>
                </a:tc>
                <a:tc>
                  <a:txBody>
                    <a:bodyPr/>
                    <a:lstStyle/>
                    <a:p>
                      <a:pPr algn="ctr" fontAlgn="ctr"/>
                      <a:r>
                        <a:rPr lang="en-US" sz="1200" b="1" u="none" strike="noStrike" noProof="0">
                          <a:solidFill>
                            <a:schemeClr val="accent6"/>
                          </a:solidFill>
                          <a:effectLst/>
                          <a:latin typeface="+mj-lt"/>
                        </a:rPr>
                        <a:t>Category</a:t>
                      </a:r>
                      <a:endParaRPr lang="en-US" sz="1200" b="1" i="0" u="none" strike="noStrike" noProof="0">
                        <a:solidFill>
                          <a:schemeClr val="accent6"/>
                        </a:solidFill>
                        <a:effectLst/>
                        <a:latin typeface="+mj-lt"/>
                      </a:endParaRPr>
                    </a:p>
                  </a:txBody>
                  <a:tcPr marL="5766" marR="5766" marT="5766" marB="0" anchor="ctr">
                    <a:solidFill>
                      <a:srgbClr val="C0B5D5"/>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1" u="none" strike="noStrike" kern="1200" noProof="0">
                          <a:solidFill>
                            <a:schemeClr val="accent6"/>
                          </a:solidFill>
                          <a:effectLst/>
                          <a:latin typeface="+mj-lt"/>
                          <a:ea typeface="+mn-ea"/>
                          <a:cs typeface="+mn-cs"/>
                        </a:rPr>
                        <a:t>Group of variables considered for the model</a:t>
                      </a:r>
                      <a:endParaRPr lang="en-US" sz="1200" b="1" i="0" u="none" strike="noStrike" kern="1200" noProof="0">
                        <a:solidFill>
                          <a:schemeClr val="accent6"/>
                        </a:solidFill>
                        <a:effectLst/>
                        <a:latin typeface="+mj-lt"/>
                        <a:ea typeface="+mn-ea"/>
                        <a:cs typeface="+mn-cs"/>
                      </a:endParaRPr>
                    </a:p>
                  </a:txBody>
                  <a:tcPr marL="5766" marR="5766" marT="5766" marB="0" anchor="ctr">
                    <a:solidFill>
                      <a:srgbClr val="C0B5D5"/>
                    </a:solidFill>
                  </a:tcPr>
                </a:tc>
                <a:tc gridSpan="2">
                  <a:txBody>
                    <a:bodyPr/>
                    <a:lstStyle/>
                    <a:p>
                      <a:pPr algn="ctr" rtl="0" fontAlgn="ctr"/>
                      <a:r>
                        <a:rPr lang="en-US" sz="1200" b="1" i="0" u="none" strike="noStrike" noProof="0">
                          <a:solidFill>
                            <a:schemeClr val="accent6"/>
                          </a:solidFill>
                          <a:effectLst/>
                          <a:latin typeface="+mj-lt"/>
                        </a:rPr>
                        <a:t>Explanatory power</a:t>
                      </a:r>
                    </a:p>
                  </a:txBody>
                  <a:tcPr marL="5766" marR="5766" marT="5766" marB="0" anchor="ctr">
                    <a:solidFill>
                      <a:srgbClr val="C0B5D5"/>
                    </a:solidFill>
                  </a:tcPr>
                </a:tc>
                <a:tc hMerge="1">
                  <a:txBody>
                    <a:bodyPr/>
                    <a:lstStyle/>
                    <a:p>
                      <a:pPr algn="ctr" rtl="0" fontAlgn="ctr"/>
                      <a:endParaRPr lang="en-US" sz="1200" b="1" i="0" u="none" strike="noStrike" noProof="0">
                        <a:solidFill>
                          <a:schemeClr val="accent6"/>
                        </a:solidFill>
                        <a:effectLst/>
                        <a:latin typeface="+mj-lt"/>
                      </a:endParaRPr>
                    </a:p>
                  </a:txBody>
                  <a:tcPr marL="5766" marR="5766" marT="5766" marB="0" anchor="ctr"/>
                </a:tc>
                <a:extLst>
                  <a:ext uri="{0D108BD9-81ED-4DB2-BD59-A6C34878D82A}">
                    <a16:rowId xmlns:a16="http://schemas.microsoft.com/office/drawing/2014/main" val="2618634658"/>
                  </a:ext>
                </a:extLst>
              </a:tr>
              <a:tr h="258223">
                <a:tc>
                  <a:txBody>
                    <a:bodyPr/>
                    <a:lstStyle/>
                    <a:p>
                      <a:pPr algn="ctr" fontAlgn="ctr"/>
                      <a:r>
                        <a:rPr lang="es-CO" sz="1200" b="1" i="0" u="none" strike="noStrike" noProof="0">
                          <a:solidFill>
                            <a:schemeClr val="accent6"/>
                          </a:solidFill>
                          <a:effectLst/>
                          <a:latin typeface="+mj-lt"/>
                        </a:rPr>
                        <a:t>1</a:t>
                      </a:r>
                      <a:endParaRPr lang="en-US" sz="1200" b="1" i="0" u="none" strike="noStrike" noProof="0">
                        <a:solidFill>
                          <a:schemeClr val="accent6"/>
                        </a:solidFill>
                        <a:effectLst/>
                        <a:latin typeface="+mj-lt"/>
                      </a:endParaRPr>
                    </a:p>
                  </a:txBody>
                  <a:tcPr marL="5766" marR="5766" marT="5766" marB="0" anchor="ctr">
                    <a:solidFill>
                      <a:schemeClr val="bg1"/>
                    </a:solidFill>
                  </a:tcPr>
                </a:tc>
                <a:tc>
                  <a:txBody>
                    <a:bodyPr/>
                    <a:lstStyle/>
                    <a:p>
                      <a:pPr algn="ctr" fontAlgn="ctr"/>
                      <a:r>
                        <a:rPr lang="en-US" sz="1200" b="1" i="0" u="none" strike="noStrike">
                          <a:solidFill>
                            <a:srgbClr val="000000"/>
                          </a:solidFill>
                          <a:effectLst/>
                          <a:latin typeface="+mj-lt"/>
                        </a:rPr>
                        <a:t>PPI Prices</a:t>
                      </a:r>
                    </a:p>
                  </a:txBody>
                  <a:tcPr marL="95250" marR="6350" marT="6350" marB="0" anchor="ctr">
                    <a:solidFill>
                      <a:schemeClr val="bg1"/>
                    </a:solidFill>
                  </a:tcPr>
                </a:tc>
                <a:tc>
                  <a:txBody>
                    <a:bodyPr/>
                    <a:lstStyle/>
                    <a:p>
                      <a:pPr algn="ctr" fontAlgn="b"/>
                      <a:r>
                        <a:rPr lang="en-US" sz="1200" b="0" i="0" u="none" strike="noStrike">
                          <a:solidFill>
                            <a:srgbClr val="000000"/>
                          </a:solidFill>
                          <a:effectLst/>
                          <a:latin typeface="+mj-lt"/>
                        </a:rPr>
                        <a:t>PPI Prices</a:t>
                      </a:r>
                    </a:p>
                  </a:txBody>
                  <a:tcPr marL="6350" marR="6350" marT="6350" marB="0" anchor="ctr">
                    <a:solidFill>
                      <a:schemeClr val="bg1"/>
                    </a:solidFill>
                  </a:tcPr>
                </a:tc>
                <a:tc>
                  <a:txBody>
                    <a:bodyPr/>
                    <a:lstStyle/>
                    <a:p>
                      <a:pPr algn="ctr" fontAlgn="ctr"/>
                      <a:r>
                        <a:rPr lang="en-US" sz="1200" b="0" i="0" u="none" strike="noStrike">
                          <a:solidFill>
                            <a:srgbClr val="000000"/>
                          </a:solidFill>
                          <a:effectLst/>
                          <a:latin typeface="+mj-lt"/>
                        </a:rPr>
                        <a:t>0%</a:t>
                      </a:r>
                    </a:p>
                  </a:txBody>
                  <a:tcPr marL="6350" marR="6350" marT="6350" marB="0" anchor="ctr">
                    <a:solidFill>
                      <a:schemeClr val="bg1"/>
                    </a:solidFill>
                  </a:tcPr>
                </a:tc>
                <a:tc>
                  <a:txBody>
                    <a:bodyPr/>
                    <a:lstStyle/>
                    <a:p>
                      <a:pPr algn="ctr" fontAlgn="ctr"/>
                      <a:r>
                        <a:rPr lang="en-US" sz="1200" b="1" i="0" u="none" strike="noStrike">
                          <a:solidFill>
                            <a:srgbClr val="000000"/>
                          </a:solidFill>
                          <a:effectLst/>
                          <a:latin typeface="+mj-lt"/>
                        </a:rPr>
                        <a:t>0%</a:t>
                      </a:r>
                    </a:p>
                  </a:txBody>
                  <a:tcPr marL="6350" marR="6350" marT="6350" marB="0" anchor="ctr">
                    <a:solidFill>
                      <a:schemeClr val="bg1"/>
                    </a:solidFill>
                  </a:tcPr>
                </a:tc>
                <a:extLst>
                  <a:ext uri="{0D108BD9-81ED-4DB2-BD59-A6C34878D82A}">
                    <a16:rowId xmlns:a16="http://schemas.microsoft.com/office/drawing/2014/main" val="350501401"/>
                  </a:ext>
                </a:extLst>
              </a:tr>
              <a:tr h="258223">
                <a:tc rowSpan="6">
                  <a:txBody>
                    <a:bodyPr/>
                    <a:lstStyle/>
                    <a:p>
                      <a:pPr algn="ctr" fontAlgn="ctr"/>
                      <a:r>
                        <a:rPr lang="es-CO" sz="1200" b="1" i="0" u="none" strike="noStrike" noProof="0">
                          <a:solidFill>
                            <a:schemeClr val="accent6"/>
                          </a:solidFill>
                          <a:effectLst/>
                          <a:latin typeface="+mj-lt"/>
                        </a:rPr>
                        <a:t>2</a:t>
                      </a:r>
                      <a:endParaRPr lang="en-US" sz="1200" b="1" i="0" u="none" strike="noStrike" noProof="0">
                        <a:solidFill>
                          <a:schemeClr val="accent6"/>
                        </a:solidFill>
                        <a:effectLst/>
                        <a:latin typeface="+mj-lt"/>
                      </a:endParaRPr>
                    </a:p>
                  </a:txBody>
                  <a:tcPr marL="5766" marR="5766" marT="5766" marB="0" anchor="ctr"/>
                </a:tc>
                <a:tc rowSpan="6">
                  <a:txBody>
                    <a:bodyPr/>
                    <a:lstStyle/>
                    <a:p>
                      <a:pPr algn="ctr" fontAlgn="ctr"/>
                      <a:r>
                        <a:rPr lang="en-US" sz="1200" b="1" i="0" u="none" strike="noStrike">
                          <a:solidFill>
                            <a:srgbClr val="000000"/>
                          </a:solidFill>
                          <a:effectLst/>
                          <a:latin typeface="+mj-lt"/>
                        </a:rPr>
                        <a:t>Product fundamentals</a:t>
                      </a:r>
                    </a:p>
                  </a:txBody>
                  <a:tcPr marL="6350" marR="6350" marT="6350" marB="0" anchor="ctr"/>
                </a:tc>
                <a:tc>
                  <a:txBody>
                    <a:bodyPr/>
                    <a:lstStyle/>
                    <a:p>
                      <a:pPr algn="ctr" fontAlgn="b"/>
                      <a:r>
                        <a:rPr lang="en-US" sz="1200" b="0" i="0" u="none" strike="noStrike">
                          <a:solidFill>
                            <a:srgbClr val="000000"/>
                          </a:solidFill>
                          <a:effectLst/>
                          <a:latin typeface="+mj-lt"/>
                        </a:rPr>
                        <a:t>Competitor Prices</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rowSpan="6">
                  <a:txBody>
                    <a:bodyPr/>
                    <a:lstStyle/>
                    <a:p>
                      <a:pPr algn="ctr" fontAlgn="ctr"/>
                      <a:r>
                        <a:rPr lang="en-US" sz="1200" b="1" i="0" u="none" strike="noStrike">
                          <a:solidFill>
                            <a:srgbClr val="000000"/>
                          </a:solidFill>
                          <a:effectLst/>
                          <a:latin typeface="+mj-lt"/>
                        </a:rPr>
                        <a:t>93.5%</a:t>
                      </a:r>
                    </a:p>
                  </a:txBody>
                  <a:tcPr marL="6350" marR="6350" marT="6350" marB="0" anchor="ctr"/>
                </a:tc>
                <a:extLst>
                  <a:ext uri="{0D108BD9-81ED-4DB2-BD59-A6C34878D82A}">
                    <a16:rowId xmlns:a16="http://schemas.microsoft.com/office/drawing/2014/main" val="2488843420"/>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CAC </a:t>
                      </a:r>
                      <a:r>
                        <a:rPr lang="en-US" sz="1200" b="0" i="0" u="none" strike="noStrike" err="1">
                          <a:solidFill>
                            <a:srgbClr val="000000"/>
                          </a:solidFill>
                          <a:effectLst/>
                          <a:latin typeface="+mj-lt"/>
                        </a:rPr>
                        <a:t>Compet</a:t>
                      </a:r>
                      <a:r>
                        <a:rPr lang="en-US" sz="1200" b="0" i="0" u="none" strike="noStrike">
                          <a:solidFill>
                            <a:srgbClr val="000000"/>
                          </a:solidFill>
                          <a:effectLst/>
                          <a:latin typeface="+mj-lt"/>
                        </a:rPr>
                        <a:t> Sales Nielsen</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3592433681"/>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Consumer Confidence Index</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594165582"/>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dirty="0">
                          <a:solidFill>
                            <a:srgbClr val="000000"/>
                          </a:solidFill>
                          <a:effectLst/>
                          <a:latin typeface="+mj-lt"/>
                        </a:rPr>
                        <a:t>Christmas</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2787498863"/>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dirty="0">
                          <a:solidFill>
                            <a:srgbClr val="000000"/>
                          </a:solidFill>
                          <a:effectLst/>
                          <a:latin typeface="+mj-lt"/>
                        </a:rPr>
                        <a:t>Cyber Monday</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988803463"/>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Other Holidays</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3131653322"/>
                  </a:ext>
                </a:extLst>
              </a:tr>
              <a:tr h="258223">
                <a:tc rowSpan="6">
                  <a:txBody>
                    <a:bodyPr/>
                    <a:lstStyle/>
                    <a:p>
                      <a:pPr algn="ctr" fontAlgn="ctr"/>
                      <a:r>
                        <a:rPr lang="es-CO" sz="1200" b="1" i="0" u="none" strike="noStrike" noProof="0">
                          <a:solidFill>
                            <a:schemeClr val="accent6"/>
                          </a:solidFill>
                          <a:effectLst/>
                          <a:latin typeface="+mj-lt"/>
                        </a:rPr>
                        <a:t>3</a:t>
                      </a:r>
                      <a:endParaRPr lang="en-US" sz="1200" b="1" i="0" u="none" strike="noStrike" noProof="0">
                        <a:solidFill>
                          <a:schemeClr val="accent6"/>
                        </a:solidFill>
                        <a:effectLst/>
                        <a:latin typeface="+mj-lt"/>
                      </a:endParaRPr>
                    </a:p>
                  </a:txBody>
                  <a:tcPr marL="5766" marR="5766" marT="5766" marB="0" anchor="ctr">
                    <a:solidFill>
                      <a:schemeClr val="bg1"/>
                    </a:solidFill>
                  </a:tcPr>
                </a:tc>
                <a:tc rowSpan="6">
                  <a:txBody>
                    <a:bodyPr/>
                    <a:lstStyle/>
                    <a:p>
                      <a:pPr algn="ctr" fontAlgn="ctr"/>
                      <a:r>
                        <a:rPr lang="en-US" sz="1200" b="1" i="0" u="none" strike="noStrike">
                          <a:solidFill>
                            <a:srgbClr val="000000"/>
                          </a:solidFill>
                          <a:effectLst/>
                          <a:latin typeface="+mj-lt"/>
                        </a:rPr>
                        <a:t>National Marketing Spend</a:t>
                      </a:r>
                    </a:p>
                  </a:txBody>
                  <a:tcPr marL="6350" marR="6350" marT="6350" marB="0" anchor="ctr">
                    <a:solidFill>
                      <a:schemeClr val="bg1"/>
                    </a:solidFill>
                  </a:tcPr>
                </a:tc>
                <a:tc>
                  <a:txBody>
                    <a:bodyPr/>
                    <a:lstStyle/>
                    <a:p>
                      <a:pPr algn="ctr" fontAlgn="b"/>
                      <a:r>
                        <a:rPr lang="en-US" sz="1200" b="0" i="0" u="none" strike="noStrike">
                          <a:solidFill>
                            <a:srgbClr val="000000"/>
                          </a:solidFill>
                          <a:effectLst/>
                          <a:latin typeface="+mj-lt"/>
                        </a:rPr>
                        <a:t>Campaign 1</a:t>
                      </a:r>
                    </a:p>
                  </a:txBody>
                  <a:tcPr marL="6350" marR="6350" marT="6350" marB="0" anchor="ctr">
                    <a:solidFill>
                      <a:schemeClr val="bg1"/>
                    </a:solidFill>
                  </a:tcPr>
                </a:tc>
                <a:tc>
                  <a:txBody>
                    <a:bodyPr/>
                    <a:lstStyle/>
                    <a:p>
                      <a:pPr algn="ctr" fontAlgn="ctr"/>
                      <a:r>
                        <a:rPr lang="en-US" sz="1200" b="0" i="0" u="none" strike="noStrike">
                          <a:solidFill>
                            <a:srgbClr val="000000"/>
                          </a:solidFill>
                          <a:effectLst/>
                          <a:latin typeface="+mj-lt"/>
                        </a:rPr>
                        <a:t>0.9%</a:t>
                      </a:r>
                    </a:p>
                  </a:txBody>
                  <a:tcPr marL="6350" marR="6350" marT="6350" marB="0" anchor="ctr">
                    <a:solidFill>
                      <a:schemeClr val="bg1"/>
                    </a:solidFill>
                  </a:tcPr>
                </a:tc>
                <a:tc rowSpan="6">
                  <a:txBody>
                    <a:bodyPr/>
                    <a:lstStyle/>
                    <a:p>
                      <a:pPr algn="ctr" fontAlgn="ctr"/>
                      <a:r>
                        <a:rPr lang="en-US" sz="1200" b="1" i="0" u="none" strike="noStrike">
                          <a:solidFill>
                            <a:srgbClr val="000000"/>
                          </a:solidFill>
                          <a:effectLst/>
                          <a:latin typeface="+mj-lt"/>
                        </a:rPr>
                        <a:t>1.9%</a:t>
                      </a:r>
                    </a:p>
                  </a:txBody>
                  <a:tcPr marL="6350" marR="6350" marT="6350" marB="0" anchor="ctr">
                    <a:solidFill>
                      <a:schemeClr val="bg1"/>
                    </a:solidFill>
                  </a:tcPr>
                </a:tc>
                <a:extLst>
                  <a:ext uri="{0D108BD9-81ED-4DB2-BD59-A6C34878D82A}">
                    <a16:rowId xmlns:a16="http://schemas.microsoft.com/office/drawing/2014/main" val="445719318"/>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Campaign 2</a:t>
                      </a:r>
                    </a:p>
                  </a:txBody>
                  <a:tcPr marL="6350" marR="6350" marT="6350" marB="0" anchor="ctr">
                    <a:solidFill>
                      <a:schemeClr val="bg1"/>
                    </a:solidFill>
                  </a:tcPr>
                </a:tc>
                <a:tc>
                  <a:txBody>
                    <a:bodyPr/>
                    <a:lstStyle/>
                    <a:p>
                      <a:pPr algn="ctr" fontAlgn="ctr"/>
                      <a:r>
                        <a:rPr lang="en-US" sz="1200" b="0" i="0" u="none" strike="noStrike">
                          <a:solidFill>
                            <a:srgbClr val="000000"/>
                          </a:solidFill>
                          <a:effectLst/>
                          <a:latin typeface="+mj-lt"/>
                        </a:rPr>
                        <a:t>0%</a:t>
                      </a:r>
                    </a:p>
                  </a:txBody>
                  <a:tcPr marL="6350" marR="6350" marT="6350" marB="0" anchor="ctr">
                    <a:solidFill>
                      <a:schemeClr val="bg1"/>
                    </a:solidFill>
                  </a:tcPr>
                </a:tc>
                <a:tc vMerge="1">
                  <a:txBody>
                    <a:bodyPr/>
                    <a:lstStyle/>
                    <a:p>
                      <a:endParaRPr lang="en-US"/>
                    </a:p>
                  </a:txBody>
                  <a:tcPr/>
                </a:tc>
                <a:extLst>
                  <a:ext uri="{0D108BD9-81ED-4DB2-BD59-A6C34878D82A}">
                    <a16:rowId xmlns:a16="http://schemas.microsoft.com/office/drawing/2014/main" val="2638230099"/>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Campaign 3</a:t>
                      </a:r>
                    </a:p>
                  </a:txBody>
                  <a:tcPr marL="6350" marR="6350" marT="6350" marB="0" anchor="ctr">
                    <a:solidFill>
                      <a:schemeClr val="bg1"/>
                    </a:solidFill>
                  </a:tcPr>
                </a:tc>
                <a:tc>
                  <a:txBody>
                    <a:bodyPr/>
                    <a:lstStyle/>
                    <a:p>
                      <a:pPr algn="ctr" fontAlgn="ctr"/>
                      <a:r>
                        <a:rPr lang="en-US" sz="1200" b="0" i="0" u="none" strike="noStrike">
                          <a:solidFill>
                            <a:srgbClr val="000000"/>
                          </a:solidFill>
                          <a:effectLst/>
                          <a:latin typeface="+mj-lt"/>
                        </a:rPr>
                        <a:t>1.1%</a:t>
                      </a:r>
                    </a:p>
                  </a:txBody>
                  <a:tcPr marL="6350" marR="6350" marT="6350" marB="0" anchor="ctr">
                    <a:solidFill>
                      <a:schemeClr val="bg1"/>
                    </a:solidFill>
                  </a:tcPr>
                </a:tc>
                <a:tc vMerge="1">
                  <a:txBody>
                    <a:bodyPr/>
                    <a:lstStyle/>
                    <a:p>
                      <a:endParaRPr lang="en-US"/>
                    </a:p>
                  </a:txBody>
                  <a:tcPr/>
                </a:tc>
                <a:extLst>
                  <a:ext uri="{0D108BD9-81ED-4DB2-BD59-A6C34878D82A}">
                    <a16:rowId xmlns:a16="http://schemas.microsoft.com/office/drawing/2014/main" val="1321212576"/>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PR (Mailers + Events)</a:t>
                      </a:r>
                    </a:p>
                  </a:txBody>
                  <a:tcPr marL="6350" marR="6350" marT="6350" marB="0" anchor="ctr">
                    <a:solidFill>
                      <a:schemeClr val="bg1"/>
                    </a:solidFill>
                  </a:tcPr>
                </a:tc>
                <a:tc>
                  <a:txBody>
                    <a:bodyPr/>
                    <a:lstStyle/>
                    <a:p>
                      <a:pPr algn="ctr" fontAlgn="ctr"/>
                      <a:r>
                        <a:rPr lang="en-US" sz="1200" b="0" i="0" u="none" strike="noStrike">
                          <a:solidFill>
                            <a:srgbClr val="000000"/>
                          </a:solidFill>
                          <a:effectLst/>
                          <a:latin typeface="+mj-lt"/>
                        </a:rPr>
                        <a:t>0%</a:t>
                      </a:r>
                    </a:p>
                  </a:txBody>
                  <a:tcPr marL="6350" marR="6350" marT="6350" marB="0" anchor="ctr">
                    <a:solidFill>
                      <a:schemeClr val="bg1"/>
                    </a:solidFill>
                  </a:tcPr>
                </a:tc>
                <a:tc vMerge="1">
                  <a:txBody>
                    <a:bodyPr/>
                    <a:lstStyle/>
                    <a:p>
                      <a:endParaRPr lang="en-US"/>
                    </a:p>
                  </a:txBody>
                  <a:tcPr/>
                </a:tc>
                <a:extLst>
                  <a:ext uri="{0D108BD9-81ED-4DB2-BD59-A6C34878D82A}">
                    <a16:rowId xmlns:a16="http://schemas.microsoft.com/office/drawing/2014/main" val="1734334812"/>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Influencer</a:t>
                      </a:r>
                    </a:p>
                  </a:txBody>
                  <a:tcPr marL="6350" marR="6350" marT="6350" marB="0" anchor="ctr">
                    <a:solidFill>
                      <a:schemeClr val="bg1"/>
                    </a:solidFill>
                  </a:tcPr>
                </a:tc>
                <a:tc>
                  <a:txBody>
                    <a:bodyPr/>
                    <a:lstStyle/>
                    <a:p>
                      <a:pPr algn="ctr" fontAlgn="ctr"/>
                      <a:r>
                        <a:rPr lang="en-US" sz="1200" b="0" i="0" u="none" strike="noStrike">
                          <a:solidFill>
                            <a:srgbClr val="000000"/>
                          </a:solidFill>
                          <a:effectLst/>
                          <a:latin typeface="+mj-lt"/>
                        </a:rPr>
                        <a:t>0%</a:t>
                      </a:r>
                    </a:p>
                  </a:txBody>
                  <a:tcPr marL="6350" marR="6350" marT="6350" marB="0" anchor="ctr">
                    <a:solidFill>
                      <a:schemeClr val="bg1"/>
                    </a:solidFill>
                  </a:tcPr>
                </a:tc>
                <a:tc vMerge="1">
                  <a:txBody>
                    <a:bodyPr/>
                    <a:lstStyle/>
                    <a:p>
                      <a:endParaRPr lang="en-US"/>
                    </a:p>
                  </a:txBody>
                  <a:tcPr/>
                </a:tc>
                <a:extLst>
                  <a:ext uri="{0D108BD9-81ED-4DB2-BD59-A6C34878D82A}">
                    <a16:rowId xmlns:a16="http://schemas.microsoft.com/office/drawing/2014/main" val="3881121413"/>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Amazon Spend (Sponsored Ads + DSP)</a:t>
                      </a:r>
                    </a:p>
                  </a:txBody>
                  <a:tcPr marL="6350" marR="6350" marT="6350" marB="0" anchor="ctr">
                    <a:solidFill>
                      <a:schemeClr val="bg1"/>
                    </a:solidFill>
                  </a:tcPr>
                </a:tc>
                <a:tc>
                  <a:txBody>
                    <a:bodyPr/>
                    <a:lstStyle/>
                    <a:p>
                      <a:pPr algn="ctr" fontAlgn="ctr"/>
                      <a:r>
                        <a:rPr lang="en-US" sz="1200" b="0" i="0" u="none" strike="noStrike">
                          <a:solidFill>
                            <a:srgbClr val="000000"/>
                          </a:solidFill>
                          <a:effectLst/>
                          <a:latin typeface="+mj-lt"/>
                        </a:rPr>
                        <a:t>0%</a:t>
                      </a:r>
                    </a:p>
                  </a:txBody>
                  <a:tcPr marL="6350" marR="6350" marT="6350" marB="0" anchor="ctr">
                    <a:solidFill>
                      <a:schemeClr val="bg1"/>
                    </a:solidFill>
                  </a:tcPr>
                </a:tc>
                <a:tc vMerge="1">
                  <a:txBody>
                    <a:bodyPr/>
                    <a:lstStyle/>
                    <a:p>
                      <a:endParaRPr lang="en-US"/>
                    </a:p>
                  </a:txBody>
                  <a:tcPr/>
                </a:tc>
                <a:extLst>
                  <a:ext uri="{0D108BD9-81ED-4DB2-BD59-A6C34878D82A}">
                    <a16:rowId xmlns:a16="http://schemas.microsoft.com/office/drawing/2014/main" val="2350529118"/>
                  </a:ext>
                </a:extLst>
              </a:tr>
              <a:tr h="258223">
                <a:tc rowSpan="6">
                  <a:txBody>
                    <a:bodyPr/>
                    <a:lstStyle/>
                    <a:p>
                      <a:pPr algn="ctr" fontAlgn="ctr"/>
                      <a:r>
                        <a:rPr lang="es-CO" sz="1200" b="1" i="0" u="none" strike="noStrike" noProof="0">
                          <a:solidFill>
                            <a:schemeClr val="accent6"/>
                          </a:solidFill>
                          <a:effectLst/>
                          <a:latin typeface="+mj-lt"/>
                        </a:rPr>
                        <a:t>4</a:t>
                      </a:r>
                      <a:endParaRPr lang="en-US" sz="1200" b="1" i="0" u="none" strike="noStrike" noProof="0">
                        <a:solidFill>
                          <a:schemeClr val="accent6"/>
                        </a:solidFill>
                        <a:effectLst/>
                        <a:latin typeface="+mj-lt"/>
                      </a:endParaRPr>
                    </a:p>
                  </a:txBody>
                  <a:tcPr marL="5766" marR="5766" marT="5766" marB="0" anchor="ctr"/>
                </a:tc>
                <a:tc rowSpan="6">
                  <a:txBody>
                    <a:bodyPr/>
                    <a:lstStyle/>
                    <a:p>
                      <a:pPr algn="ctr" fontAlgn="ctr"/>
                      <a:r>
                        <a:rPr lang="en-US" sz="1200" b="1" i="0" u="none" strike="noStrike">
                          <a:solidFill>
                            <a:srgbClr val="000000"/>
                          </a:solidFill>
                          <a:effectLst/>
                          <a:latin typeface="+mj-lt"/>
                        </a:rPr>
                        <a:t>Trade Spend</a:t>
                      </a:r>
                    </a:p>
                  </a:txBody>
                  <a:tcPr marL="6350" marR="6350" marT="6350" marB="0" anchor="ctr"/>
                </a:tc>
                <a:tc>
                  <a:txBody>
                    <a:bodyPr/>
                    <a:lstStyle/>
                    <a:p>
                      <a:pPr algn="ctr" fontAlgn="b"/>
                      <a:r>
                        <a:rPr lang="en-US" sz="1200" b="0" i="0" u="none" strike="noStrike">
                          <a:solidFill>
                            <a:srgbClr val="000000"/>
                          </a:solidFill>
                          <a:effectLst/>
                          <a:latin typeface="+mj-lt"/>
                        </a:rPr>
                        <a:t>XXX Sponsored Ad Spend</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rowSpan="6">
                  <a:txBody>
                    <a:bodyPr/>
                    <a:lstStyle/>
                    <a:p>
                      <a:pPr algn="ctr" fontAlgn="ctr"/>
                      <a:r>
                        <a:rPr lang="en-US" sz="1200" b="1" i="0" u="none" strike="noStrike">
                          <a:solidFill>
                            <a:srgbClr val="000000"/>
                          </a:solidFill>
                          <a:effectLst/>
                          <a:latin typeface="+mj-lt"/>
                        </a:rPr>
                        <a:t>4.6%</a:t>
                      </a:r>
                    </a:p>
                  </a:txBody>
                  <a:tcPr marL="6350" marR="6350" marT="6350" marB="0" anchor="ctr"/>
                </a:tc>
                <a:extLst>
                  <a:ext uri="{0D108BD9-81ED-4DB2-BD59-A6C34878D82A}">
                    <a16:rowId xmlns:a16="http://schemas.microsoft.com/office/drawing/2014/main" val="1423285458"/>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XXX Roundel Spend</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1661449473"/>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Spend $X Get $Y</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447872052"/>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X% Off</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4041240318"/>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Event/Holiday</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188808506"/>
                  </a:ext>
                </a:extLst>
              </a:tr>
              <a:tr h="258223">
                <a:tc vMerge="1">
                  <a:txBody>
                    <a:bodyPr/>
                    <a:lstStyle/>
                    <a:p>
                      <a:pPr algn="ctr" fontAlgn="ctr"/>
                      <a:endParaRPr lang="en-US" sz="1200" b="1" i="0" u="none" strike="noStrike" noProof="0">
                        <a:solidFill>
                          <a:schemeClr val="accent6"/>
                        </a:solidFill>
                        <a:effectLst/>
                        <a:latin typeface="+mj-lt"/>
                      </a:endParaRPr>
                    </a:p>
                  </a:txBody>
                  <a:tcPr marL="5766" marR="5766" marT="5766" marB="0" anchor="ctr"/>
                </a:tc>
                <a:tc vMerge="1">
                  <a:txBody>
                    <a:bodyPr/>
                    <a:lstStyle/>
                    <a:p>
                      <a:endParaRPr lang="en-US"/>
                    </a:p>
                  </a:txBody>
                  <a:tcPr/>
                </a:tc>
                <a:tc>
                  <a:txBody>
                    <a:bodyPr/>
                    <a:lstStyle/>
                    <a:p>
                      <a:pPr algn="ctr" fontAlgn="b"/>
                      <a:r>
                        <a:rPr lang="en-US" sz="1200" b="0" i="0" u="none" strike="noStrike">
                          <a:solidFill>
                            <a:srgbClr val="000000"/>
                          </a:solidFill>
                          <a:effectLst/>
                          <a:latin typeface="+mj-lt"/>
                        </a:rPr>
                        <a:t>Buy X Get $Y  </a:t>
                      </a:r>
                    </a:p>
                  </a:txBody>
                  <a:tcPr marL="6350" marR="6350" marT="6350" marB="0" anchor="ctr"/>
                </a:tc>
                <a:tc>
                  <a:txBody>
                    <a:bodyPr/>
                    <a:lstStyle/>
                    <a:p>
                      <a:pPr algn="ctr" fontAlgn="ctr"/>
                      <a:r>
                        <a:rPr lang="en-US" sz="1200" b="0" i="0" u="none" strike="noStrike">
                          <a:solidFill>
                            <a:srgbClr val="000000"/>
                          </a:solidFill>
                          <a:effectLst/>
                          <a:latin typeface="+mj-lt"/>
                        </a:rPr>
                        <a:t>%</a:t>
                      </a:r>
                    </a:p>
                  </a:txBody>
                  <a:tcPr marL="6350" marR="6350" marT="6350" marB="0" anchor="ctr"/>
                </a:tc>
                <a:tc vMerge="1">
                  <a:txBody>
                    <a:bodyPr/>
                    <a:lstStyle/>
                    <a:p>
                      <a:endParaRPr lang="en-US"/>
                    </a:p>
                  </a:txBody>
                  <a:tcPr/>
                </a:tc>
                <a:extLst>
                  <a:ext uri="{0D108BD9-81ED-4DB2-BD59-A6C34878D82A}">
                    <a16:rowId xmlns:a16="http://schemas.microsoft.com/office/drawing/2014/main" val="1275892865"/>
                  </a:ext>
                </a:extLst>
              </a:tr>
              <a:tr h="258223">
                <a:tc>
                  <a:txBody>
                    <a:bodyPr/>
                    <a:lstStyle/>
                    <a:p>
                      <a:pPr algn="ctr" fontAlgn="ctr"/>
                      <a:r>
                        <a:rPr lang="es-CO" sz="1200" b="1" i="0" u="none" strike="noStrike" noProof="0">
                          <a:solidFill>
                            <a:schemeClr val="accent6"/>
                          </a:solidFill>
                          <a:effectLst/>
                          <a:latin typeface="+mj-lt"/>
                        </a:rPr>
                        <a:t>5</a:t>
                      </a:r>
                      <a:endParaRPr lang="en-US" sz="1200" b="1" i="0" u="none" strike="noStrike" noProof="0">
                        <a:solidFill>
                          <a:schemeClr val="accent6"/>
                        </a:solidFill>
                        <a:effectLst/>
                        <a:latin typeface="+mj-lt"/>
                      </a:endParaRPr>
                    </a:p>
                  </a:txBody>
                  <a:tcPr marL="5766" marR="5766" marT="5766" marB="0" anchor="ctr">
                    <a:solidFill>
                      <a:schemeClr val="bg1"/>
                    </a:solidFill>
                  </a:tcPr>
                </a:tc>
                <a:tc>
                  <a:txBody>
                    <a:bodyPr/>
                    <a:lstStyle/>
                    <a:p>
                      <a:pPr algn="ctr" fontAlgn="ctr"/>
                      <a:r>
                        <a:rPr lang="en-US" sz="1200" b="1" i="0" u="none" strike="noStrike">
                          <a:solidFill>
                            <a:srgbClr val="000000"/>
                          </a:solidFill>
                          <a:effectLst/>
                          <a:latin typeface="+mj-lt"/>
                        </a:rPr>
                        <a:t>Logistics</a:t>
                      </a:r>
                    </a:p>
                  </a:txBody>
                  <a:tcPr marL="6350" marR="6350" marT="6350" marB="0" anchor="ctr">
                    <a:solidFill>
                      <a:schemeClr val="bg1"/>
                    </a:solidFill>
                  </a:tcPr>
                </a:tc>
                <a:tc>
                  <a:txBody>
                    <a:bodyPr/>
                    <a:lstStyle/>
                    <a:p>
                      <a:pPr algn="ctr" fontAlgn="b"/>
                      <a:r>
                        <a:rPr lang="en-US" sz="1200" b="0" i="0" u="none" strike="noStrike">
                          <a:solidFill>
                            <a:srgbClr val="000000"/>
                          </a:solidFill>
                          <a:effectLst/>
                          <a:latin typeface="+mj-lt"/>
                        </a:rPr>
                        <a:t># </a:t>
                      </a:r>
                      <a:r>
                        <a:rPr lang="en-US" sz="1200" b="0" i="0" u="none" strike="noStrike" err="1">
                          <a:solidFill>
                            <a:srgbClr val="000000"/>
                          </a:solidFill>
                          <a:effectLst/>
                          <a:latin typeface="+mj-lt"/>
                        </a:rPr>
                        <a:t>doorss</a:t>
                      </a:r>
                      <a:endParaRPr lang="en-US" sz="1200" b="0" i="0" u="none" strike="noStrike">
                        <a:solidFill>
                          <a:srgbClr val="000000"/>
                        </a:solidFill>
                        <a:effectLst/>
                        <a:latin typeface="+mj-lt"/>
                      </a:endParaRPr>
                    </a:p>
                  </a:txBody>
                  <a:tcPr marL="6350" marR="6350" marT="6350" marB="0" anchor="ctr">
                    <a:solidFill>
                      <a:schemeClr val="bg1"/>
                    </a:solidFill>
                  </a:tcPr>
                </a:tc>
                <a:tc>
                  <a:txBody>
                    <a:bodyPr/>
                    <a:lstStyle/>
                    <a:p>
                      <a:pPr algn="ctr" fontAlgn="ctr"/>
                      <a:r>
                        <a:rPr lang="en-US" sz="1200" b="0" i="0" u="none" strike="noStrike">
                          <a:solidFill>
                            <a:srgbClr val="000000"/>
                          </a:solidFill>
                          <a:effectLst/>
                          <a:latin typeface="+mj-lt"/>
                        </a:rPr>
                        <a:t>%</a:t>
                      </a:r>
                    </a:p>
                  </a:txBody>
                  <a:tcPr marL="6350" marR="6350" marT="6350" marB="0" anchor="ctr">
                    <a:solidFill>
                      <a:schemeClr val="bg1"/>
                    </a:solidFill>
                  </a:tcPr>
                </a:tc>
                <a:tc>
                  <a:txBody>
                    <a:bodyPr/>
                    <a:lstStyle/>
                    <a:p>
                      <a:pPr algn="ctr" fontAlgn="ctr"/>
                      <a:r>
                        <a:rPr lang="en-US" sz="1200" b="1" i="0" u="none" strike="noStrike" dirty="0">
                          <a:solidFill>
                            <a:srgbClr val="000000"/>
                          </a:solidFill>
                          <a:effectLst/>
                          <a:latin typeface="+mj-lt"/>
                        </a:rPr>
                        <a:t>0%</a:t>
                      </a:r>
                    </a:p>
                  </a:txBody>
                  <a:tcPr marL="6350" marR="6350" marT="6350" marB="0" anchor="ctr">
                    <a:solidFill>
                      <a:schemeClr val="bg1"/>
                    </a:solidFill>
                  </a:tcPr>
                </a:tc>
                <a:extLst>
                  <a:ext uri="{0D108BD9-81ED-4DB2-BD59-A6C34878D82A}">
                    <a16:rowId xmlns:a16="http://schemas.microsoft.com/office/drawing/2014/main" val="1374462417"/>
                  </a:ext>
                </a:extLst>
              </a:tr>
            </a:tbl>
          </a:graphicData>
        </a:graphic>
      </p:graphicFrame>
      <p:sp>
        <p:nvSpPr>
          <p:cNvPr id="6" name="Título 2">
            <a:extLst>
              <a:ext uri="{FF2B5EF4-FFF2-40B4-BE49-F238E27FC236}">
                <a16:creationId xmlns:a16="http://schemas.microsoft.com/office/drawing/2014/main" id="{0802199B-22B8-F47C-7CB4-E735BC60C26F}"/>
              </a:ext>
            </a:extLst>
          </p:cNvPr>
          <p:cNvSpPr txBox="1">
            <a:spLocks/>
          </p:cNvSpPr>
          <p:nvPr/>
        </p:nvSpPr>
        <p:spPr>
          <a:xfrm>
            <a:off x="887781" y="-66937"/>
            <a:ext cx="7993358" cy="798836"/>
          </a:xfrm>
          <a:prstGeom prst="rect">
            <a:avLst/>
          </a:prstGeom>
        </p:spPr>
        <p:txBody>
          <a:bodyPr vert="horz" lIns="91440" tIns="45720" rIns="91440" bIns="45720" rtlCol="0" anchor="ctr">
            <a:norm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sz="2000">
                <a:solidFill>
                  <a:srgbClr val="472C9B"/>
                </a:solidFill>
                <a:cs typeface="Poppins Medium" pitchFamily="2" charset="77"/>
              </a:rPr>
              <a:t>Example MMM: By Retailer Campaign Performance - </a:t>
            </a:r>
          </a:p>
        </p:txBody>
      </p:sp>
      <p:sp>
        <p:nvSpPr>
          <p:cNvPr id="7" name="Rectángulo 6">
            <a:extLst>
              <a:ext uri="{FF2B5EF4-FFF2-40B4-BE49-F238E27FC236}">
                <a16:creationId xmlns:a16="http://schemas.microsoft.com/office/drawing/2014/main" id="{3B763A9E-46B3-EEE9-30A9-688EA915EC41}"/>
              </a:ext>
            </a:extLst>
          </p:cNvPr>
          <p:cNvSpPr/>
          <p:nvPr/>
        </p:nvSpPr>
        <p:spPr>
          <a:xfrm>
            <a:off x="6379022" y="1422943"/>
            <a:ext cx="495963" cy="934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
        <p:nvSpPr>
          <p:cNvPr id="8" name="Rectángulo 7">
            <a:extLst>
              <a:ext uri="{FF2B5EF4-FFF2-40B4-BE49-F238E27FC236}">
                <a16:creationId xmlns:a16="http://schemas.microsoft.com/office/drawing/2014/main" id="{3C053300-EC30-A1AD-7616-883A2CC4C805}"/>
              </a:ext>
            </a:extLst>
          </p:cNvPr>
          <p:cNvSpPr/>
          <p:nvPr/>
        </p:nvSpPr>
        <p:spPr>
          <a:xfrm>
            <a:off x="2460167" y="1349415"/>
            <a:ext cx="495963" cy="188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pic>
        <p:nvPicPr>
          <p:cNvPr id="9" name="Picture 2" descr="Belcorp | Brands of the World™ | Download vector logos and ...">
            <a:extLst>
              <a:ext uri="{FF2B5EF4-FFF2-40B4-BE49-F238E27FC236}">
                <a16:creationId xmlns:a16="http://schemas.microsoft.com/office/drawing/2014/main" id="{DBCD0DBF-6097-131E-C23B-DC7C5ACAB2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
        <p:nvSpPr>
          <p:cNvPr id="10" name="Rectángulo 9">
            <a:extLst>
              <a:ext uri="{FF2B5EF4-FFF2-40B4-BE49-F238E27FC236}">
                <a16:creationId xmlns:a16="http://schemas.microsoft.com/office/drawing/2014/main" id="{F7D1CF34-414F-1BD7-4C03-E97839C3161C}"/>
              </a:ext>
            </a:extLst>
          </p:cNvPr>
          <p:cNvSpPr/>
          <p:nvPr/>
        </p:nvSpPr>
        <p:spPr>
          <a:xfrm>
            <a:off x="6335480" y="1382069"/>
            <a:ext cx="495963" cy="188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
        <p:nvSpPr>
          <p:cNvPr id="11" name="Rectángulo 10">
            <a:extLst>
              <a:ext uri="{FF2B5EF4-FFF2-40B4-BE49-F238E27FC236}">
                <a16:creationId xmlns:a16="http://schemas.microsoft.com/office/drawing/2014/main" id="{90EAADC4-DF09-1C30-E4CE-B5224C7C7DDB}"/>
              </a:ext>
            </a:extLst>
          </p:cNvPr>
          <p:cNvSpPr/>
          <p:nvPr/>
        </p:nvSpPr>
        <p:spPr>
          <a:xfrm>
            <a:off x="10738404" y="2230609"/>
            <a:ext cx="621843" cy="22527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
        <p:nvSpPr>
          <p:cNvPr id="12" name="Rectángulo 11">
            <a:extLst>
              <a:ext uri="{FF2B5EF4-FFF2-40B4-BE49-F238E27FC236}">
                <a16:creationId xmlns:a16="http://schemas.microsoft.com/office/drawing/2014/main" id="{422A1CA4-BE18-8ADC-505D-93CF6EA78D78}"/>
              </a:ext>
            </a:extLst>
          </p:cNvPr>
          <p:cNvSpPr/>
          <p:nvPr/>
        </p:nvSpPr>
        <p:spPr>
          <a:xfrm>
            <a:off x="10758892" y="5254594"/>
            <a:ext cx="599434" cy="28129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
        <p:nvSpPr>
          <p:cNvPr id="15" name="Rectángulo 14">
            <a:extLst>
              <a:ext uri="{FF2B5EF4-FFF2-40B4-BE49-F238E27FC236}">
                <a16:creationId xmlns:a16="http://schemas.microsoft.com/office/drawing/2014/main" id="{EA2A9C2A-6486-CDDC-6F97-94923A9A11C8}"/>
              </a:ext>
            </a:extLst>
          </p:cNvPr>
          <p:cNvSpPr/>
          <p:nvPr/>
        </p:nvSpPr>
        <p:spPr>
          <a:xfrm>
            <a:off x="10722381" y="3777334"/>
            <a:ext cx="364110" cy="236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
        <p:nvSpPr>
          <p:cNvPr id="16" name="Rectángulo 15">
            <a:extLst>
              <a:ext uri="{FF2B5EF4-FFF2-40B4-BE49-F238E27FC236}">
                <a16:creationId xmlns:a16="http://schemas.microsoft.com/office/drawing/2014/main" id="{167AB56B-FFB9-8504-CBC7-2248E8ADDF09}"/>
              </a:ext>
            </a:extLst>
          </p:cNvPr>
          <p:cNvSpPr/>
          <p:nvPr/>
        </p:nvSpPr>
        <p:spPr>
          <a:xfrm>
            <a:off x="9895009" y="3200400"/>
            <a:ext cx="405539" cy="14260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Tree>
    <p:extLst>
      <p:ext uri="{BB962C8B-B14F-4D97-AF65-F5344CB8AC3E}">
        <p14:creationId xmlns:p14="http://schemas.microsoft.com/office/powerpoint/2010/main" val="3514316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8">
            <a:extLst>
              <a:ext uri="{FF2B5EF4-FFF2-40B4-BE49-F238E27FC236}">
                <a16:creationId xmlns:a16="http://schemas.microsoft.com/office/drawing/2014/main" id="{DFD704BC-D63E-0B68-2BF7-99DE6F3BD6DB}"/>
              </a:ext>
            </a:extLst>
          </p:cNvPr>
          <p:cNvSpPr/>
          <p:nvPr/>
        </p:nvSpPr>
        <p:spPr>
          <a:xfrm>
            <a:off x="3318255" y="961620"/>
            <a:ext cx="5687568" cy="4900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71B53"/>
                </a:solidFill>
                <a:effectLst/>
                <a:uLnTx/>
                <a:uFillTx/>
                <a:latin typeface="Poppins"/>
                <a:ea typeface="+mn-ea"/>
                <a:cs typeface="Poppins Light"/>
              </a:rPr>
              <a:t>Total sales vs. MMM prediction</a:t>
            </a:r>
          </a:p>
        </p:txBody>
      </p:sp>
      <p:graphicFrame>
        <p:nvGraphicFramePr>
          <p:cNvPr id="7" name="Chart 4">
            <a:extLst>
              <a:ext uri="{FF2B5EF4-FFF2-40B4-BE49-F238E27FC236}">
                <a16:creationId xmlns:a16="http://schemas.microsoft.com/office/drawing/2014/main" id="{D65B8C20-C688-4BCE-9198-616F3949598E}"/>
              </a:ext>
            </a:extLst>
          </p:cNvPr>
          <p:cNvGraphicFramePr>
            <a:graphicFrameLocks/>
          </p:cNvGraphicFramePr>
          <p:nvPr>
            <p:extLst>
              <p:ext uri="{D42A27DB-BD31-4B8C-83A1-F6EECF244321}">
                <p14:modId xmlns:p14="http://schemas.microsoft.com/office/powerpoint/2010/main" val="1338012295"/>
              </p:ext>
            </p:extLst>
          </p:nvPr>
        </p:nvGraphicFramePr>
        <p:xfrm>
          <a:off x="1021403" y="1681359"/>
          <a:ext cx="10445170" cy="4526347"/>
        </p:xfrm>
        <a:graphic>
          <a:graphicData uri="http://schemas.openxmlformats.org/drawingml/2006/chart">
            <c:chart xmlns:c="http://schemas.openxmlformats.org/drawingml/2006/chart" xmlns:r="http://schemas.openxmlformats.org/officeDocument/2006/relationships" r:id="rId2"/>
          </a:graphicData>
        </a:graphic>
      </p:graphicFrame>
      <p:sp>
        <p:nvSpPr>
          <p:cNvPr id="8" name="Título 1">
            <a:extLst>
              <a:ext uri="{FF2B5EF4-FFF2-40B4-BE49-F238E27FC236}">
                <a16:creationId xmlns:a16="http://schemas.microsoft.com/office/drawing/2014/main" id="{6D41945C-8ECD-64CE-29BF-65B3D55C74E8}"/>
              </a:ext>
            </a:extLst>
          </p:cNvPr>
          <p:cNvSpPr txBox="1">
            <a:spLocks/>
          </p:cNvSpPr>
          <p:nvPr/>
        </p:nvSpPr>
        <p:spPr>
          <a:xfrm>
            <a:off x="875942" y="241821"/>
            <a:ext cx="11470640" cy="798836"/>
          </a:xfrm>
          <a:prstGeom prst="rect">
            <a:avLst/>
          </a:prstGeom>
        </p:spPr>
        <p:txBody>
          <a:bodyPr vert="horz" lIns="91440" tIns="45720" rIns="91440" bIns="45720" rtlCol="0" anchor="ctr">
            <a:normAutofit/>
          </a:bodyPr>
          <a:lstStyle>
            <a:lvl1pPr marL="0" algn="l" defTabSz="914400" rtl="0" eaLnBrk="1" latinLnBrk="0" hangingPunct="1">
              <a:lnSpc>
                <a:spcPct val="100000"/>
              </a:lnSpc>
              <a:spcBef>
                <a:spcPct val="0"/>
              </a:spcBef>
              <a:buNone/>
              <a:defRPr lang="en-US" sz="2400" b="0" i="0" kern="1200" dirty="0">
                <a:solidFill>
                  <a:schemeClr val="accent2">
                    <a:lumMod val="50000"/>
                  </a:schemeClr>
                </a:solidFill>
                <a:latin typeface="Poppins"/>
                <a:ea typeface="+mj-ea"/>
                <a:cs typeface="+mj-cs"/>
              </a:defRPr>
            </a:lvl1pPr>
          </a:lstStyle>
          <a:p>
            <a:r>
              <a:rPr lang="en-US" sz="1600">
                <a:solidFill>
                  <a:srgbClr val="472C9B"/>
                </a:solidFill>
                <a:cs typeface="Poppins Medium" pitchFamily="2" charset="77"/>
              </a:rPr>
              <a:t>Prediction vs. Real Sales Value</a:t>
            </a:r>
            <a:endParaRPr lang="en-US" sz="2000">
              <a:solidFill>
                <a:srgbClr val="472C9B"/>
              </a:solidFill>
              <a:cs typeface="Poppins Medium" pitchFamily="2" charset="77"/>
            </a:endParaRPr>
          </a:p>
        </p:txBody>
      </p:sp>
      <p:sp>
        <p:nvSpPr>
          <p:cNvPr id="9" name="Título 2">
            <a:extLst>
              <a:ext uri="{FF2B5EF4-FFF2-40B4-BE49-F238E27FC236}">
                <a16:creationId xmlns:a16="http://schemas.microsoft.com/office/drawing/2014/main" id="{F973940B-A230-FE86-DB99-936FBDB588AD}"/>
              </a:ext>
            </a:extLst>
          </p:cNvPr>
          <p:cNvSpPr txBox="1">
            <a:spLocks/>
          </p:cNvSpPr>
          <p:nvPr/>
        </p:nvSpPr>
        <p:spPr>
          <a:xfrm>
            <a:off x="887781" y="-66937"/>
            <a:ext cx="7993358" cy="798836"/>
          </a:xfrm>
          <a:prstGeom prst="rect">
            <a:avLst/>
          </a:prstGeom>
        </p:spPr>
        <p:txBody>
          <a:bodyPr vert="horz" lIns="91440" tIns="45720" rIns="91440" bIns="45720" rtlCol="0" anchor="ctr">
            <a:norm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sz="2000">
                <a:solidFill>
                  <a:srgbClr val="472C9B"/>
                </a:solidFill>
                <a:cs typeface="Poppins Medium" pitchFamily="2" charset="77"/>
              </a:rPr>
              <a:t>Example MMM: By Retailer Campaign Performance - </a:t>
            </a:r>
          </a:p>
        </p:txBody>
      </p:sp>
      <p:pic>
        <p:nvPicPr>
          <p:cNvPr id="12" name="Picture 2" descr="Belcorp | Brands of the World™ | Download vector logos and ...">
            <a:extLst>
              <a:ext uri="{FF2B5EF4-FFF2-40B4-BE49-F238E27FC236}">
                <a16:creationId xmlns:a16="http://schemas.microsoft.com/office/drawing/2014/main" id="{6E66B8B3-CBAE-7F5D-5D87-23DCFE375F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0D198516-345B-24C8-8A69-AC9B3C9DCD29}"/>
              </a:ext>
            </a:extLst>
          </p:cNvPr>
          <p:cNvSpPr/>
          <p:nvPr/>
        </p:nvSpPr>
        <p:spPr>
          <a:xfrm>
            <a:off x="1031813" y="1539989"/>
            <a:ext cx="601045" cy="36089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s-MX"/>
              <a:t>v</a:t>
            </a:r>
            <a:endParaRPr lang="es-CO"/>
          </a:p>
        </p:txBody>
      </p:sp>
      <p:sp>
        <p:nvSpPr>
          <p:cNvPr id="5" name="Rectángulo 4">
            <a:extLst>
              <a:ext uri="{FF2B5EF4-FFF2-40B4-BE49-F238E27FC236}">
                <a16:creationId xmlns:a16="http://schemas.microsoft.com/office/drawing/2014/main" id="{25B9E304-46BD-E512-A387-35049898CDC2}"/>
              </a:ext>
            </a:extLst>
          </p:cNvPr>
          <p:cNvSpPr/>
          <p:nvPr/>
        </p:nvSpPr>
        <p:spPr>
          <a:xfrm>
            <a:off x="5214257" y="6023102"/>
            <a:ext cx="1655113" cy="33415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0" name="Rectángulo 9">
            <a:extLst>
              <a:ext uri="{FF2B5EF4-FFF2-40B4-BE49-F238E27FC236}">
                <a16:creationId xmlns:a16="http://schemas.microsoft.com/office/drawing/2014/main" id="{1A0F2AC8-611E-31E5-F20C-6994865F27E8}"/>
              </a:ext>
            </a:extLst>
          </p:cNvPr>
          <p:cNvSpPr/>
          <p:nvPr/>
        </p:nvSpPr>
        <p:spPr>
          <a:xfrm>
            <a:off x="7326077" y="6121072"/>
            <a:ext cx="1655113" cy="33415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274111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id="{167083E4-EC2D-4BCD-9D45-689B934F3D9B}"/>
              </a:ext>
            </a:extLst>
          </p:cNvPr>
          <p:cNvSpPr/>
          <p:nvPr/>
        </p:nvSpPr>
        <p:spPr>
          <a:xfrm>
            <a:off x="9916160" y="5852161"/>
            <a:ext cx="243840" cy="17272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7" name="Rectangle 8">
            <a:extLst>
              <a:ext uri="{FF2B5EF4-FFF2-40B4-BE49-F238E27FC236}">
                <a16:creationId xmlns:a16="http://schemas.microsoft.com/office/drawing/2014/main" id="{C15E7ADA-0A0F-19A3-2880-8DC98A1A5DDC}"/>
              </a:ext>
            </a:extLst>
          </p:cNvPr>
          <p:cNvSpPr/>
          <p:nvPr/>
        </p:nvSpPr>
        <p:spPr>
          <a:xfrm>
            <a:off x="3374016" y="1511507"/>
            <a:ext cx="5687568" cy="4900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71B53"/>
                </a:solidFill>
                <a:effectLst/>
                <a:uLnTx/>
                <a:uFillTx/>
                <a:latin typeface="Poppins"/>
                <a:ea typeface="+mn-ea"/>
                <a:cs typeface="Poppins Light"/>
              </a:rPr>
              <a:t>Total sales vs. disaggregated variables</a:t>
            </a:r>
          </a:p>
        </p:txBody>
      </p:sp>
      <p:graphicFrame>
        <p:nvGraphicFramePr>
          <p:cNvPr id="8" name="Chart 2">
            <a:extLst>
              <a:ext uri="{FF2B5EF4-FFF2-40B4-BE49-F238E27FC236}">
                <a16:creationId xmlns:a16="http://schemas.microsoft.com/office/drawing/2014/main" id="{EC237774-C95D-8692-A939-A801348128B6}"/>
              </a:ext>
            </a:extLst>
          </p:cNvPr>
          <p:cNvGraphicFramePr>
            <a:graphicFrameLocks/>
          </p:cNvGraphicFramePr>
          <p:nvPr>
            <p:extLst>
              <p:ext uri="{D42A27DB-BD31-4B8C-83A1-F6EECF244321}">
                <p14:modId xmlns:p14="http://schemas.microsoft.com/office/powerpoint/2010/main" val="3156393209"/>
              </p:ext>
            </p:extLst>
          </p:nvPr>
        </p:nvGraphicFramePr>
        <p:xfrm>
          <a:off x="1184217" y="1632132"/>
          <a:ext cx="10334421" cy="4306389"/>
        </p:xfrm>
        <a:graphic>
          <a:graphicData uri="http://schemas.openxmlformats.org/drawingml/2006/chart">
            <c:chart xmlns:c="http://schemas.openxmlformats.org/drawingml/2006/chart" xmlns:r="http://schemas.openxmlformats.org/officeDocument/2006/relationships" r:id="rId2"/>
          </a:graphicData>
        </a:graphic>
      </p:graphicFrame>
      <p:sp>
        <p:nvSpPr>
          <p:cNvPr id="5" name="Título 1">
            <a:extLst>
              <a:ext uri="{FF2B5EF4-FFF2-40B4-BE49-F238E27FC236}">
                <a16:creationId xmlns:a16="http://schemas.microsoft.com/office/drawing/2014/main" id="{3B4F0BB7-13F8-550E-86F5-545862BE00F2}"/>
              </a:ext>
            </a:extLst>
          </p:cNvPr>
          <p:cNvSpPr txBox="1">
            <a:spLocks/>
          </p:cNvSpPr>
          <p:nvPr/>
        </p:nvSpPr>
        <p:spPr>
          <a:xfrm>
            <a:off x="875942" y="241821"/>
            <a:ext cx="11470640" cy="798836"/>
          </a:xfrm>
          <a:prstGeom prst="rect">
            <a:avLst/>
          </a:prstGeom>
        </p:spPr>
        <p:txBody>
          <a:bodyPr vert="horz" lIns="91440" tIns="45720" rIns="91440" bIns="45720" rtlCol="0" anchor="ctr">
            <a:normAutofit/>
          </a:bodyPr>
          <a:lstStyle>
            <a:lvl1pPr marL="0" algn="l" defTabSz="914400" rtl="0" eaLnBrk="1" latinLnBrk="0" hangingPunct="1">
              <a:lnSpc>
                <a:spcPct val="100000"/>
              </a:lnSpc>
              <a:spcBef>
                <a:spcPct val="0"/>
              </a:spcBef>
              <a:buNone/>
              <a:defRPr lang="en-US" sz="2400" b="0" i="0" kern="1200" dirty="0">
                <a:solidFill>
                  <a:schemeClr val="accent2">
                    <a:lumMod val="50000"/>
                  </a:schemeClr>
                </a:solidFill>
                <a:latin typeface="Poppins"/>
                <a:ea typeface="+mj-ea"/>
                <a:cs typeface="+mj-cs"/>
              </a:defRPr>
            </a:lvl1pPr>
          </a:lstStyle>
          <a:p>
            <a:r>
              <a:rPr lang="en-US" sz="1600">
                <a:solidFill>
                  <a:srgbClr val="472C9B"/>
                </a:solidFill>
                <a:cs typeface="Poppins Medium" pitchFamily="2" charset="77"/>
              </a:rPr>
              <a:t>Breakdown of predicted sales by category type</a:t>
            </a:r>
            <a:endParaRPr lang="en-US" sz="2000">
              <a:solidFill>
                <a:srgbClr val="472C9B"/>
              </a:solidFill>
              <a:cs typeface="Poppins Medium" pitchFamily="2" charset="77"/>
            </a:endParaRPr>
          </a:p>
        </p:txBody>
      </p:sp>
      <p:sp>
        <p:nvSpPr>
          <p:cNvPr id="10" name="Título 2">
            <a:extLst>
              <a:ext uri="{FF2B5EF4-FFF2-40B4-BE49-F238E27FC236}">
                <a16:creationId xmlns:a16="http://schemas.microsoft.com/office/drawing/2014/main" id="{9D53A966-58E9-BB23-E8D7-589C70F22D80}"/>
              </a:ext>
            </a:extLst>
          </p:cNvPr>
          <p:cNvSpPr txBox="1">
            <a:spLocks/>
          </p:cNvSpPr>
          <p:nvPr/>
        </p:nvSpPr>
        <p:spPr>
          <a:xfrm>
            <a:off x="887781" y="-66937"/>
            <a:ext cx="7993358" cy="798836"/>
          </a:xfrm>
          <a:prstGeom prst="rect">
            <a:avLst/>
          </a:prstGeom>
        </p:spPr>
        <p:txBody>
          <a:bodyPr vert="horz" lIns="91440" tIns="45720" rIns="91440" bIns="45720" rtlCol="0" anchor="ctr">
            <a:norm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sz="2000">
                <a:solidFill>
                  <a:srgbClr val="472C9B"/>
                </a:solidFill>
                <a:cs typeface="Poppins Medium" pitchFamily="2" charset="77"/>
              </a:rPr>
              <a:t>Example MMM: By Retailer Campaign Performance - </a:t>
            </a:r>
          </a:p>
        </p:txBody>
      </p:sp>
      <p:sp>
        <p:nvSpPr>
          <p:cNvPr id="13" name="Rectángulo 12">
            <a:extLst>
              <a:ext uri="{FF2B5EF4-FFF2-40B4-BE49-F238E27FC236}">
                <a16:creationId xmlns:a16="http://schemas.microsoft.com/office/drawing/2014/main" id="{6D0CCA56-4400-CBC1-05F4-20D72B180243}"/>
              </a:ext>
            </a:extLst>
          </p:cNvPr>
          <p:cNvSpPr/>
          <p:nvPr/>
        </p:nvSpPr>
        <p:spPr>
          <a:xfrm>
            <a:off x="5932708" y="5896964"/>
            <a:ext cx="495963" cy="934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pic>
        <p:nvPicPr>
          <p:cNvPr id="14" name="Picture 2" descr="Belcorp | Brands of the World™ | Download vector logos and ...">
            <a:extLst>
              <a:ext uri="{FF2B5EF4-FFF2-40B4-BE49-F238E27FC236}">
                <a16:creationId xmlns:a16="http://schemas.microsoft.com/office/drawing/2014/main" id="{2DD88B4C-B531-7B33-FAE5-E1D8E2A671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a:extLst>
              <a:ext uri="{FF2B5EF4-FFF2-40B4-BE49-F238E27FC236}">
                <a16:creationId xmlns:a16="http://schemas.microsoft.com/office/drawing/2014/main" id="{EEC849E3-46FD-A543-9981-F0E0868D1052}"/>
              </a:ext>
            </a:extLst>
          </p:cNvPr>
          <p:cNvSpPr/>
          <p:nvPr/>
        </p:nvSpPr>
        <p:spPr>
          <a:xfrm>
            <a:off x="9100452" y="5896960"/>
            <a:ext cx="495963" cy="934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s-CO"/>
          </a:p>
        </p:txBody>
      </p:sp>
      <p:sp>
        <p:nvSpPr>
          <p:cNvPr id="2" name="Rectángulo 1">
            <a:extLst>
              <a:ext uri="{FF2B5EF4-FFF2-40B4-BE49-F238E27FC236}">
                <a16:creationId xmlns:a16="http://schemas.microsoft.com/office/drawing/2014/main" id="{11D460C5-A7B4-A2CD-B12C-91B0EEBEB3C3}"/>
              </a:ext>
            </a:extLst>
          </p:cNvPr>
          <p:cNvSpPr/>
          <p:nvPr/>
        </p:nvSpPr>
        <p:spPr>
          <a:xfrm>
            <a:off x="1184217" y="1539989"/>
            <a:ext cx="601045" cy="36089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s-MX"/>
              <a:t>v</a:t>
            </a:r>
            <a:endParaRPr lang="es-CO"/>
          </a:p>
        </p:txBody>
      </p:sp>
      <p:sp>
        <p:nvSpPr>
          <p:cNvPr id="6" name="Rectángulo 5">
            <a:extLst>
              <a:ext uri="{FF2B5EF4-FFF2-40B4-BE49-F238E27FC236}">
                <a16:creationId xmlns:a16="http://schemas.microsoft.com/office/drawing/2014/main" id="{D876051D-1266-9DA0-908E-046F64CB644A}"/>
              </a:ext>
            </a:extLst>
          </p:cNvPr>
          <p:cNvSpPr/>
          <p:nvPr/>
        </p:nvSpPr>
        <p:spPr>
          <a:xfrm>
            <a:off x="2362191" y="5805382"/>
            <a:ext cx="1655113" cy="33415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36108942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DC049EC5-6206-2BBD-8B6B-E2D1E8DA3048}"/>
              </a:ext>
            </a:extLst>
          </p:cNvPr>
          <p:cNvPicPr>
            <a:picLocks noChangeAspect="1"/>
          </p:cNvPicPr>
          <p:nvPr/>
        </p:nvPicPr>
        <p:blipFill rotWithShape="1">
          <a:blip r:embed="rId2">
            <a:extLst>
              <a:ext uri="{28A0092B-C50C-407E-A947-70E740481C1C}">
                <a14:useLocalDpi xmlns:a14="http://schemas.microsoft.com/office/drawing/2010/main" val="0"/>
              </a:ext>
            </a:extLst>
          </a:blip>
          <a:srcRect l="2078" t="-1" b="15434"/>
          <a:stretch/>
        </p:blipFill>
        <p:spPr>
          <a:xfrm>
            <a:off x="0" y="0"/>
            <a:ext cx="12192000" cy="6884460"/>
          </a:xfrm>
          <a:prstGeom prst="rect">
            <a:avLst/>
          </a:prstGeom>
        </p:spPr>
      </p:pic>
      <p:sp>
        <p:nvSpPr>
          <p:cNvPr id="8" name="object 7">
            <a:extLst>
              <a:ext uri="{FF2B5EF4-FFF2-40B4-BE49-F238E27FC236}">
                <a16:creationId xmlns:a16="http://schemas.microsoft.com/office/drawing/2014/main" id="{C584C288-0DAF-DBF9-736C-B479DC8FCC51}"/>
              </a:ext>
            </a:extLst>
          </p:cNvPr>
          <p:cNvSpPr/>
          <p:nvPr/>
        </p:nvSpPr>
        <p:spPr>
          <a:xfrm>
            <a:off x="0" y="-1"/>
            <a:ext cx="1676400" cy="1137073"/>
          </a:xfrm>
          <a:custGeom>
            <a:avLst/>
            <a:gdLst/>
            <a:ahLst/>
            <a:cxnLst/>
            <a:rect l="l" t="t" r="r" b="b"/>
            <a:pathLst>
              <a:path w="1257300" h="852805">
                <a:moveTo>
                  <a:pt x="1257058" y="0"/>
                </a:moveTo>
                <a:lnTo>
                  <a:pt x="0" y="0"/>
                </a:lnTo>
                <a:lnTo>
                  <a:pt x="0" y="852424"/>
                </a:lnTo>
                <a:lnTo>
                  <a:pt x="1257058" y="0"/>
                </a:lnTo>
                <a:close/>
              </a:path>
            </a:pathLst>
          </a:custGeom>
          <a:solidFill>
            <a:srgbClr val="472C9B"/>
          </a:solidFill>
        </p:spPr>
        <p:txBody>
          <a:bodyPr wrap="square" lIns="0" tIns="0" rIns="0" bIns="0" rtlCol="0"/>
          <a:lstStyle/>
          <a:p>
            <a:endParaRPr/>
          </a:p>
        </p:txBody>
      </p:sp>
      <p:sp>
        <p:nvSpPr>
          <p:cNvPr id="3" name="object 5">
            <a:extLst>
              <a:ext uri="{FF2B5EF4-FFF2-40B4-BE49-F238E27FC236}">
                <a16:creationId xmlns:a16="http://schemas.microsoft.com/office/drawing/2014/main" id="{8B2F4228-A736-B03F-C354-2606DA4F31E8}"/>
              </a:ext>
            </a:extLst>
          </p:cNvPr>
          <p:cNvSpPr/>
          <p:nvPr/>
        </p:nvSpPr>
        <p:spPr>
          <a:xfrm>
            <a:off x="4925182" y="4513793"/>
            <a:ext cx="7382933" cy="2370667"/>
          </a:xfrm>
          <a:custGeom>
            <a:avLst/>
            <a:gdLst/>
            <a:ahLst/>
            <a:cxnLst/>
            <a:rect l="l" t="t" r="r" b="b"/>
            <a:pathLst>
              <a:path w="5537200" h="1778000">
                <a:moveTo>
                  <a:pt x="5537200" y="0"/>
                </a:moveTo>
                <a:lnTo>
                  <a:pt x="877849" y="0"/>
                </a:lnTo>
                <a:lnTo>
                  <a:pt x="0" y="1778000"/>
                </a:lnTo>
                <a:lnTo>
                  <a:pt x="5537200" y="1778000"/>
                </a:lnTo>
                <a:lnTo>
                  <a:pt x="5537200" y="0"/>
                </a:lnTo>
                <a:close/>
              </a:path>
            </a:pathLst>
          </a:custGeom>
          <a:solidFill>
            <a:srgbClr val="4F37A2">
              <a:alpha val="63000"/>
            </a:srgbClr>
          </a:solidFill>
        </p:spPr>
        <p:txBody>
          <a:bodyPr wrap="square" lIns="0" tIns="0" rIns="0" bIns="0" rtlCol="0"/>
          <a:lstStyle/>
          <a:p>
            <a:endParaRPr sz="2400"/>
          </a:p>
        </p:txBody>
      </p:sp>
      <p:sp>
        <p:nvSpPr>
          <p:cNvPr id="4" name="object 6">
            <a:extLst>
              <a:ext uri="{FF2B5EF4-FFF2-40B4-BE49-F238E27FC236}">
                <a16:creationId xmlns:a16="http://schemas.microsoft.com/office/drawing/2014/main" id="{08DD85F6-56C9-4CF0-B93A-A7B6F16C246A}"/>
              </a:ext>
            </a:extLst>
          </p:cNvPr>
          <p:cNvSpPr txBox="1"/>
          <p:nvPr/>
        </p:nvSpPr>
        <p:spPr>
          <a:xfrm>
            <a:off x="8123284" y="4929141"/>
            <a:ext cx="3160743" cy="1932153"/>
          </a:xfrm>
          <a:prstGeom prst="rect">
            <a:avLst/>
          </a:prstGeom>
        </p:spPr>
        <p:txBody>
          <a:bodyPr vert="horz" wrap="square" lIns="0" tIns="84667" rIns="0" bIns="0" rtlCol="0" anchor="t">
            <a:spAutoFit/>
          </a:bodyPr>
          <a:lstStyle/>
          <a:p>
            <a:pPr algn="r"/>
            <a:r>
              <a:rPr lang="es-CO" sz="4000" b="1" err="1">
                <a:solidFill>
                  <a:schemeClr val="bg1"/>
                </a:solidFill>
                <a:latin typeface="Poppins" pitchFamily="2" charset="77"/>
                <a:cs typeface="Poppins" pitchFamily="2" charset="77"/>
              </a:rPr>
              <a:t>Team</a:t>
            </a:r>
            <a:r>
              <a:rPr lang="es-CO" sz="4000" b="1">
                <a:solidFill>
                  <a:schemeClr val="bg1"/>
                </a:solidFill>
                <a:latin typeface="Poppins" pitchFamily="2" charset="77"/>
                <a:cs typeface="Poppins" pitchFamily="2" charset="77"/>
              </a:rPr>
              <a:t> &amp; Timeline</a:t>
            </a:r>
          </a:p>
          <a:p>
            <a:endParaRPr lang="es-CO" sz="4000" b="1">
              <a:solidFill>
                <a:schemeClr val="bg1"/>
              </a:solidFill>
              <a:latin typeface="Poppins" pitchFamily="2" charset="77"/>
              <a:cs typeface="Poppins" pitchFamily="2" charset="77"/>
            </a:endParaRPr>
          </a:p>
        </p:txBody>
      </p:sp>
      <p:sp>
        <p:nvSpPr>
          <p:cNvPr id="5" name="object 8">
            <a:extLst>
              <a:ext uri="{FF2B5EF4-FFF2-40B4-BE49-F238E27FC236}">
                <a16:creationId xmlns:a16="http://schemas.microsoft.com/office/drawing/2014/main" id="{717A8C19-03E4-B81F-45D9-982050A6DF55}"/>
              </a:ext>
            </a:extLst>
          </p:cNvPr>
          <p:cNvSpPr/>
          <p:nvPr/>
        </p:nvSpPr>
        <p:spPr>
          <a:xfrm>
            <a:off x="6810921" y="488709"/>
            <a:ext cx="2097193" cy="2545080"/>
          </a:xfrm>
          <a:custGeom>
            <a:avLst/>
            <a:gdLst/>
            <a:ahLst/>
            <a:cxnLst/>
            <a:rect l="l" t="t" r="r" b="b"/>
            <a:pathLst>
              <a:path w="1572895" h="1908810">
                <a:moveTo>
                  <a:pt x="1103426" y="0"/>
                </a:moveTo>
                <a:lnTo>
                  <a:pt x="1102944" y="838"/>
                </a:lnTo>
                <a:lnTo>
                  <a:pt x="1102461" y="0"/>
                </a:lnTo>
                <a:lnTo>
                  <a:pt x="880846" y="383844"/>
                </a:lnTo>
                <a:lnTo>
                  <a:pt x="881354" y="384721"/>
                </a:lnTo>
                <a:lnTo>
                  <a:pt x="223240" y="1524609"/>
                </a:lnTo>
                <a:lnTo>
                  <a:pt x="221576" y="1524609"/>
                </a:lnTo>
                <a:lnTo>
                  <a:pt x="0" y="1908403"/>
                </a:lnTo>
                <a:lnTo>
                  <a:pt x="1572895" y="1908403"/>
                </a:lnTo>
                <a:lnTo>
                  <a:pt x="1351318" y="1524609"/>
                </a:lnTo>
                <a:lnTo>
                  <a:pt x="666407" y="1524609"/>
                </a:lnTo>
                <a:lnTo>
                  <a:pt x="1102944" y="768502"/>
                </a:lnTo>
                <a:lnTo>
                  <a:pt x="1142365" y="836777"/>
                </a:lnTo>
                <a:lnTo>
                  <a:pt x="1363954" y="452996"/>
                </a:lnTo>
                <a:lnTo>
                  <a:pt x="1324533" y="384721"/>
                </a:lnTo>
                <a:lnTo>
                  <a:pt x="1325041" y="383844"/>
                </a:lnTo>
                <a:lnTo>
                  <a:pt x="1103426" y="0"/>
                </a:lnTo>
                <a:close/>
              </a:path>
            </a:pathLst>
          </a:custGeom>
          <a:solidFill>
            <a:srgbClr val="8D80FF"/>
          </a:solidFill>
        </p:spPr>
        <p:txBody>
          <a:bodyPr wrap="square" lIns="0" tIns="0" rIns="0" bIns="0" rtlCol="0"/>
          <a:lstStyle/>
          <a:p>
            <a:endParaRPr sz="2400"/>
          </a:p>
        </p:txBody>
      </p:sp>
      <p:sp>
        <p:nvSpPr>
          <p:cNvPr id="6" name="object 9">
            <a:extLst>
              <a:ext uri="{FF2B5EF4-FFF2-40B4-BE49-F238E27FC236}">
                <a16:creationId xmlns:a16="http://schemas.microsoft.com/office/drawing/2014/main" id="{468B99D6-1EDA-9B6B-1005-C8807999B6A1}"/>
              </a:ext>
            </a:extLst>
          </p:cNvPr>
          <p:cNvSpPr txBox="1">
            <a:spLocks/>
          </p:cNvSpPr>
          <p:nvPr/>
        </p:nvSpPr>
        <p:spPr>
          <a:xfrm>
            <a:off x="8804550" y="1081096"/>
            <a:ext cx="3193861" cy="2492135"/>
          </a:xfrm>
          <a:prstGeom prst="rect">
            <a:avLst/>
          </a:prstGeom>
          <a:noFill/>
        </p:spPr>
        <p:txBody>
          <a:bodyPr spcFirstLastPara="1" vert="horz" wrap="square" lIns="0" tIns="16933" rIns="0" bIns="0" rtlCol="0" anchor="ctr" anchorCtr="0">
            <a:sp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16933">
              <a:spcBef>
                <a:spcPts val="133"/>
              </a:spcBef>
            </a:pPr>
            <a:r>
              <a:rPr lang="es-CO" sz="16000" b="1" spc="-33">
                <a:solidFill>
                  <a:schemeClr val="bg1"/>
                </a:solidFill>
                <a:latin typeface="Poppins" pitchFamily="2" charset="77"/>
                <a:cs typeface="Poppins" pitchFamily="2" charset="77"/>
              </a:rPr>
              <a:t>03</a:t>
            </a:r>
          </a:p>
        </p:txBody>
      </p:sp>
    </p:spTree>
    <p:extLst>
      <p:ext uri="{BB962C8B-B14F-4D97-AF65-F5344CB8AC3E}">
        <p14:creationId xmlns:p14="http://schemas.microsoft.com/office/powerpoint/2010/main" val="1463221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ABFCE18-7194-8DA9-E0E5-0A1E71D73771}"/>
              </a:ext>
            </a:extLst>
          </p:cNvPr>
          <p:cNvSpPr/>
          <p:nvPr/>
        </p:nvSpPr>
        <p:spPr>
          <a:xfrm>
            <a:off x="3138346" y="0"/>
            <a:ext cx="2874295" cy="6858000"/>
          </a:xfrm>
          <a:prstGeom prst="rect">
            <a:avLst/>
          </a:prstGeom>
          <a:solidFill>
            <a:srgbClr val="482C9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ángulo 22">
            <a:extLst>
              <a:ext uri="{FF2B5EF4-FFF2-40B4-BE49-F238E27FC236}">
                <a16:creationId xmlns:a16="http://schemas.microsoft.com/office/drawing/2014/main" id="{E3D36364-5F75-42F9-4A4B-B0235C0FF109}"/>
              </a:ext>
            </a:extLst>
          </p:cNvPr>
          <p:cNvSpPr/>
          <p:nvPr/>
        </p:nvSpPr>
        <p:spPr>
          <a:xfrm>
            <a:off x="6012641" y="0"/>
            <a:ext cx="2874295" cy="6858000"/>
          </a:xfrm>
          <a:prstGeom prst="rect">
            <a:avLst/>
          </a:prstGeom>
          <a:solidFill>
            <a:srgbClr val="8D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solidFill>
                <a:srgbClr val="8D80FF"/>
              </a:solidFill>
            </a:endParaRPr>
          </a:p>
        </p:txBody>
      </p:sp>
      <p:sp>
        <p:nvSpPr>
          <p:cNvPr id="4" name="CuadroTexto 3">
            <a:extLst>
              <a:ext uri="{FF2B5EF4-FFF2-40B4-BE49-F238E27FC236}">
                <a16:creationId xmlns:a16="http://schemas.microsoft.com/office/drawing/2014/main" id="{F3B073DB-91FC-C8B3-5BD6-63F5C32D7A3B}"/>
              </a:ext>
            </a:extLst>
          </p:cNvPr>
          <p:cNvSpPr txBox="1"/>
          <p:nvPr/>
        </p:nvSpPr>
        <p:spPr>
          <a:xfrm>
            <a:off x="1044649" y="2194332"/>
            <a:ext cx="1789612" cy="923330"/>
          </a:xfrm>
          <a:prstGeom prst="rect">
            <a:avLst/>
          </a:prstGeom>
          <a:noFill/>
        </p:spPr>
        <p:txBody>
          <a:bodyPr wrap="square" rtlCol="0">
            <a:spAutoFit/>
          </a:bodyPr>
          <a:lstStyle/>
          <a:p>
            <a:r>
              <a:rPr lang="es-CO" sz="1800" b="1">
                <a:solidFill>
                  <a:srgbClr val="482C9B"/>
                </a:solidFill>
                <a:latin typeface="Poppins" pitchFamily="2" charset="77"/>
                <a:cs typeface="Poppins" pitchFamily="2" charset="77"/>
              </a:rPr>
              <a:t>Sounding Board</a:t>
            </a:r>
          </a:p>
          <a:p>
            <a:endParaRPr lang="es-CO"/>
          </a:p>
        </p:txBody>
      </p:sp>
      <p:pic>
        <p:nvPicPr>
          <p:cNvPr id="6" name="Imagen 5">
            <a:extLst>
              <a:ext uri="{FF2B5EF4-FFF2-40B4-BE49-F238E27FC236}">
                <a16:creationId xmlns:a16="http://schemas.microsoft.com/office/drawing/2014/main" id="{1AE57B5B-E9D5-E5EC-2F8C-E22079CDBAF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40004" y="1852198"/>
            <a:ext cx="240975" cy="292341"/>
          </a:xfrm>
          <a:prstGeom prst="rect">
            <a:avLst/>
          </a:prstGeom>
        </p:spPr>
      </p:pic>
      <p:sp>
        <p:nvSpPr>
          <p:cNvPr id="7" name="CuadroTexto 6">
            <a:extLst>
              <a:ext uri="{FF2B5EF4-FFF2-40B4-BE49-F238E27FC236}">
                <a16:creationId xmlns:a16="http://schemas.microsoft.com/office/drawing/2014/main" id="{CA546E7C-0485-8FE9-1E98-9782CBE41128}"/>
              </a:ext>
            </a:extLst>
          </p:cNvPr>
          <p:cNvSpPr txBox="1"/>
          <p:nvPr/>
        </p:nvSpPr>
        <p:spPr>
          <a:xfrm>
            <a:off x="1049802" y="3910161"/>
            <a:ext cx="1937096" cy="658621"/>
          </a:xfrm>
          <a:prstGeom prst="rect">
            <a:avLst/>
          </a:prstGeom>
          <a:noFill/>
        </p:spPr>
        <p:txBody>
          <a:bodyPr wrap="square" rtlCol="0">
            <a:spAutoFit/>
          </a:bodyPr>
          <a:lstStyle/>
          <a:p>
            <a:r>
              <a:rPr lang="es-CO" sz="1800" b="1">
                <a:solidFill>
                  <a:srgbClr val="482C9B"/>
                </a:solidFill>
                <a:latin typeface="+mj-lt"/>
              </a:rPr>
              <a:t>Project Management</a:t>
            </a:r>
          </a:p>
        </p:txBody>
      </p:sp>
      <p:sp>
        <p:nvSpPr>
          <p:cNvPr id="8" name="CuadroTexto 7">
            <a:extLst>
              <a:ext uri="{FF2B5EF4-FFF2-40B4-BE49-F238E27FC236}">
                <a16:creationId xmlns:a16="http://schemas.microsoft.com/office/drawing/2014/main" id="{B2188E32-E410-9EA1-79B9-75969119A5E8}"/>
              </a:ext>
            </a:extLst>
          </p:cNvPr>
          <p:cNvSpPr txBox="1"/>
          <p:nvPr/>
        </p:nvSpPr>
        <p:spPr>
          <a:xfrm>
            <a:off x="1083716" y="5748701"/>
            <a:ext cx="1309546" cy="646331"/>
          </a:xfrm>
          <a:prstGeom prst="rect">
            <a:avLst/>
          </a:prstGeom>
          <a:noFill/>
        </p:spPr>
        <p:txBody>
          <a:bodyPr wrap="square" rtlCol="0">
            <a:spAutoFit/>
          </a:bodyPr>
          <a:lstStyle/>
          <a:p>
            <a:r>
              <a:rPr lang="es-CO" sz="1800" b="1">
                <a:solidFill>
                  <a:srgbClr val="482C9B"/>
                </a:solidFill>
                <a:latin typeface="+mj-lt"/>
              </a:rPr>
              <a:t>Project </a:t>
            </a:r>
            <a:r>
              <a:rPr lang="es-CO" sz="1800" b="1" err="1">
                <a:solidFill>
                  <a:srgbClr val="482C9B"/>
                </a:solidFill>
                <a:latin typeface="+mj-lt"/>
              </a:rPr>
              <a:t>Team</a:t>
            </a:r>
            <a:endParaRPr lang="es-CO" sz="1800" b="1">
              <a:solidFill>
                <a:srgbClr val="482C9B"/>
              </a:solidFill>
              <a:latin typeface="+mj-lt"/>
            </a:endParaRPr>
          </a:p>
        </p:txBody>
      </p:sp>
      <p:pic>
        <p:nvPicPr>
          <p:cNvPr id="9" name="Imagen 8">
            <a:extLst>
              <a:ext uri="{FF2B5EF4-FFF2-40B4-BE49-F238E27FC236}">
                <a16:creationId xmlns:a16="http://schemas.microsoft.com/office/drawing/2014/main" id="{12FD59AB-DF6F-B8CC-043A-A14BB6B4638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4592" y="3717475"/>
            <a:ext cx="251798" cy="305470"/>
          </a:xfrm>
          <a:prstGeom prst="rect">
            <a:avLst/>
          </a:prstGeom>
        </p:spPr>
      </p:pic>
      <p:pic>
        <p:nvPicPr>
          <p:cNvPr id="10" name="Imagen 9">
            <a:extLst>
              <a:ext uri="{FF2B5EF4-FFF2-40B4-BE49-F238E27FC236}">
                <a16:creationId xmlns:a16="http://schemas.microsoft.com/office/drawing/2014/main" id="{ED2AB20D-8873-AF5C-249F-E0C791D897D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14214" y="5751680"/>
            <a:ext cx="292554" cy="354914"/>
          </a:xfrm>
          <a:prstGeom prst="rect">
            <a:avLst/>
          </a:prstGeom>
        </p:spPr>
      </p:pic>
      <p:sp>
        <p:nvSpPr>
          <p:cNvPr id="21" name="CuadroTexto 5">
            <a:extLst>
              <a:ext uri="{FF2B5EF4-FFF2-40B4-BE49-F238E27FC236}">
                <a16:creationId xmlns:a16="http://schemas.microsoft.com/office/drawing/2014/main" id="{A7CAE01B-E12F-6B46-F90B-173B54A416D9}"/>
              </a:ext>
            </a:extLst>
          </p:cNvPr>
          <p:cNvSpPr txBox="1">
            <a:spLocks noChangeArrowheads="1"/>
          </p:cNvSpPr>
          <p:nvPr/>
        </p:nvSpPr>
        <p:spPr bwMode="auto">
          <a:xfrm>
            <a:off x="9178031" y="1455816"/>
            <a:ext cx="2480463" cy="12463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lvl1pPr marL="180975" indent="-180975"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285750" indent="-285750" eaLnBrk="1" hangingPunct="1">
              <a:spcBef>
                <a:spcPts val="600"/>
              </a:spcBef>
              <a:buClr>
                <a:srgbClr val="9683FF"/>
              </a:buClr>
              <a:buSzPct val="120000"/>
              <a:buFont typeface="Wingdings" panose="05000000000000000000" pitchFamily="2" charset="2"/>
              <a:buChar char="§"/>
              <a:defRPr/>
            </a:pPr>
            <a:r>
              <a:rPr lang="en-US" sz="1200">
                <a:solidFill>
                  <a:schemeClr val="bg1">
                    <a:lumMod val="50000"/>
                  </a:schemeClr>
                </a:solidFill>
                <a:latin typeface="+mn-lt"/>
                <a:ea typeface="Lato"/>
                <a:cs typeface="Poppins ExtraLight"/>
              </a:rPr>
              <a:t>Project Management</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chemeClr val="bg1">
                    <a:lumMod val="50000"/>
                  </a:schemeClr>
                </a:solidFill>
                <a:latin typeface="+mn-lt"/>
                <a:ea typeface="Lato"/>
                <a:cs typeface="Poppins ExtraLight"/>
              </a:rPr>
              <a:t>Decision - making</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chemeClr val="bg1">
                    <a:lumMod val="50000"/>
                  </a:schemeClr>
                </a:solidFill>
                <a:latin typeface="+mn-lt"/>
                <a:ea typeface="Lato"/>
                <a:cs typeface="Poppins ExtraLight"/>
              </a:rPr>
              <a:t>Barrier solution</a:t>
            </a:r>
          </a:p>
          <a:p>
            <a:pPr marL="285750" indent="-285750" eaLnBrk="1" hangingPunct="1">
              <a:spcBef>
                <a:spcPts val="600"/>
              </a:spcBef>
              <a:buClr>
                <a:srgbClr val="9683FF"/>
              </a:buClr>
              <a:buSzPct val="120000"/>
              <a:buFont typeface="Wingdings" panose="05000000000000000000" pitchFamily="2" charset="2"/>
              <a:buChar char="§"/>
              <a:defRPr/>
            </a:pPr>
            <a:r>
              <a:rPr lang="en-US" sz="1200">
                <a:solidFill>
                  <a:schemeClr val="bg1">
                    <a:lumMod val="50000"/>
                  </a:schemeClr>
                </a:solidFill>
                <a:latin typeface="+mn-lt"/>
                <a:ea typeface="Lato"/>
                <a:cs typeface="Poppins ExtraLight"/>
              </a:rPr>
              <a:t>Expertise in tools and best practices</a:t>
            </a:r>
          </a:p>
        </p:txBody>
      </p:sp>
      <p:pic>
        <p:nvPicPr>
          <p:cNvPr id="24" name="Imagen 23">
            <a:extLst>
              <a:ext uri="{FF2B5EF4-FFF2-40B4-BE49-F238E27FC236}">
                <a16:creationId xmlns:a16="http://schemas.microsoft.com/office/drawing/2014/main" id="{E9A45FF4-E555-2970-710F-3F77D79056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67044" y="227259"/>
            <a:ext cx="1751115" cy="572962"/>
          </a:xfrm>
          <a:prstGeom prst="rect">
            <a:avLst/>
          </a:prstGeom>
        </p:spPr>
      </p:pic>
      <p:sp>
        <p:nvSpPr>
          <p:cNvPr id="25" name="Triángulo isósceles 4">
            <a:extLst>
              <a:ext uri="{FF2B5EF4-FFF2-40B4-BE49-F238E27FC236}">
                <a16:creationId xmlns:a16="http://schemas.microsoft.com/office/drawing/2014/main" id="{69864C17-768B-116B-FE64-FE8E8EB1D150}"/>
              </a:ext>
            </a:extLst>
          </p:cNvPr>
          <p:cNvSpPr>
            <a:spLocks noChangeArrowheads="1"/>
          </p:cNvSpPr>
          <p:nvPr/>
        </p:nvSpPr>
        <p:spPr bwMode="auto">
          <a:xfrm rot="5400000">
            <a:off x="8465829" y="2166740"/>
            <a:ext cx="955827" cy="113614"/>
          </a:xfrm>
          <a:prstGeom prst="triangle">
            <a:avLst>
              <a:gd name="adj" fmla="val 50000"/>
            </a:avLst>
          </a:prstGeom>
          <a:solidFill>
            <a:schemeClr val="tx2"/>
          </a:solidFill>
          <a:ln w="9525">
            <a:noFill/>
            <a:miter lim="800000"/>
            <a:headEnd/>
            <a:tailEnd/>
          </a:ln>
          <a:effectLst/>
        </p:spPr>
        <p:txBody>
          <a:bodyPr lIns="91340" tIns="45671" rIns="91340" bIns="45671" anchor="ctr"/>
          <a:lstStyle/>
          <a:p>
            <a:pPr algn="ctr">
              <a:defRPr/>
            </a:pPr>
            <a:endParaRPr lang="es-CO" sz="1200">
              <a:solidFill>
                <a:srgbClr val="304258"/>
              </a:solidFill>
            </a:endParaRPr>
          </a:p>
        </p:txBody>
      </p:sp>
      <p:cxnSp>
        <p:nvCxnSpPr>
          <p:cNvPr id="26" name="Straight Connector 32">
            <a:extLst>
              <a:ext uri="{FF2B5EF4-FFF2-40B4-BE49-F238E27FC236}">
                <a16:creationId xmlns:a16="http://schemas.microsoft.com/office/drawing/2014/main" id="{364F68A7-05B8-C2E3-925A-BE883C3F10F4}"/>
              </a:ext>
            </a:extLst>
          </p:cNvPr>
          <p:cNvCxnSpPr>
            <a:cxnSpLocks/>
          </p:cNvCxnSpPr>
          <p:nvPr/>
        </p:nvCxnSpPr>
        <p:spPr>
          <a:xfrm flipV="1">
            <a:off x="785324" y="3065890"/>
            <a:ext cx="11375352" cy="1085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32">
            <a:extLst>
              <a:ext uri="{FF2B5EF4-FFF2-40B4-BE49-F238E27FC236}">
                <a16:creationId xmlns:a16="http://schemas.microsoft.com/office/drawing/2014/main" id="{4A313BD5-C2F3-B4FB-8A9A-2E31761BAFCD}"/>
              </a:ext>
            </a:extLst>
          </p:cNvPr>
          <p:cNvCxnSpPr>
            <a:cxnSpLocks/>
          </p:cNvCxnSpPr>
          <p:nvPr/>
        </p:nvCxnSpPr>
        <p:spPr>
          <a:xfrm flipV="1">
            <a:off x="816648" y="4941135"/>
            <a:ext cx="11375352" cy="1085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32">
            <a:extLst>
              <a:ext uri="{FF2B5EF4-FFF2-40B4-BE49-F238E27FC236}">
                <a16:creationId xmlns:a16="http://schemas.microsoft.com/office/drawing/2014/main" id="{360D8FDE-2CF7-CF71-DB77-4A7FEEB1A2BF}"/>
              </a:ext>
            </a:extLst>
          </p:cNvPr>
          <p:cNvCxnSpPr>
            <a:cxnSpLocks/>
          </p:cNvCxnSpPr>
          <p:nvPr/>
        </p:nvCxnSpPr>
        <p:spPr>
          <a:xfrm flipV="1">
            <a:off x="785324" y="909481"/>
            <a:ext cx="11375352" cy="1085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9" name="Triángulo isósceles 4">
            <a:extLst>
              <a:ext uri="{FF2B5EF4-FFF2-40B4-BE49-F238E27FC236}">
                <a16:creationId xmlns:a16="http://schemas.microsoft.com/office/drawing/2014/main" id="{E875CE8F-F167-49EF-C84A-6C042D61127F}"/>
              </a:ext>
            </a:extLst>
          </p:cNvPr>
          <p:cNvSpPr>
            <a:spLocks noChangeArrowheads="1"/>
          </p:cNvSpPr>
          <p:nvPr/>
        </p:nvSpPr>
        <p:spPr bwMode="auto">
          <a:xfrm rot="5400000">
            <a:off x="8459661" y="4034057"/>
            <a:ext cx="955827" cy="113614"/>
          </a:xfrm>
          <a:prstGeom prst="triangle">
            <a:avLst>
              <a:gd name="adj" fmla="val 50000"/>
            </a:avLst>
          </a:prstGeom>
          <a:solidFill>
            <a:schemeClr val="tx2"/>
          </a:solidFill>
          <a:ln w="9525">
            <a:noFill/>
            <a:miter lim="800000"/>
            <a:headEnd/>
            <a:tailEnd/>
          </a:ln>
          <a:effectLst/>
        </p:spPr>
        <p:txBody>
          <a:bodyPr lIns="91340" tIns="45671" rIns="91340" bIns="45671" anchor="ctr"/>
          <a:lstStyle/>
          <a:p>
            <a:pPr algn="ctr">
              <a:defRPr/>
            </a:pPr>
            <a:endParaRPr lang="es-CO" sz="1200">
              <a:solidFill>
                <a:srgbClr val="304258"/>
              </a:solidFill>
            </a:endParaRPr>
          </a:p>
        </p:txBody>
      </p:sp>
      <p:sp>
        <p:nvSpPr>
          <p:cNvPr id="30" name="Triángulo isósceles 4">
            <a:extLst>
              <a:ext uri="{FF2B5EF4-FFF2-40B4-BE49-F238E27FC236}">
                <a16:creationId xmlns:a16="http://schemas.microsoft.com/office/drawing/2014/main" id="{3D8FBE08-29A9-3B6C-AA86-93200B2ED18E}"/>
              </a:ext>
            </a:extLst>
          </p:cNvPr>
          <p:cNvSpPr>
            <a:spLocks noChangeArrowheads="1"/>
          </p:cNvSpPr>
          <p:nvPr/>
        </p:nvSpPr>
        <p:spPr bwMode="auto">
          <a:xfrm rot="5400000">
            <a:off x="8459660" y="5742466"/>
            <a:ext cx="955827" cy="113614"/>
          </a:xfrm>
          <a:prstGeom prst="triangle">
            <a:avLst>
              <a:gd name="adj" fmla="val 50000"/>
            </a:avLst>
          </a:prstGeom>
          <a:solidFill>
            <a:schemeClr val="tx2"/>
          </a:solidFill>
          <a:ln w="9525">
            <a:noFill/>
            <a:miter lim="800000"/>
            <a:headEnd/>
            <a:tailEnd/>
          </a:ln>
          <a:effectLst/>
        </p:spPr>
        <p:txBody>
          <a:bodyPr lIns="91340" tIns="45671" rIns="91340" bIns="45671" anchor="ctr"/>
          <a:lstStyle/>
          <a:p>
            <a:pPr algn="ctr">
              <a:defRPr/>
            </a:pPr>
            <a:endParaRPr lang="es-CO" sz="1200">
              <a:solidFill>
                <a:srgbClr val="304258"/>
              </a:solidFill>
            </a:endParaRPr>
          </a:p>
        </p:txBody>
      </p:sp>
      <p:sp>
        <p:nvSpPr>
          <p:cNvPr id="31" name="CuadroTexto 30">
            <a:extLst>
              <a:ext uri="{FF2B5EF4-FFF2-40B4-BE49-F238E27FC236}">
                <a16:creationId xmlns:a16="http://schemas.microsoft.com/office/drawing/2014/main" id="{10233F63-C0F8-4E9A-457E-68B4869D211C}"/>
              </a:ext>
            </a:extLst>
          </p:cNvPr>
          <p:cNvSpPr txBox="1"/>
          <p:nvPr/>
        </p:nvSpPr>
        <p:spPr>
          <a:xfrm>
            <a:off x="3558054" y="3249909"/>
            <a:ext cx="2311178" cy="1354217"/>
          </a:xfrm>
          <a:prstGeom prst="rect">
            <a:avLst/>
          </a:prstGeom>
          <a:noFill/>
        </p:spPr>
        <p:txBody>
          <a:bodyPr wrap="square" rtlCol="0">
            <a:spAutoFit/>
          </a:bodyPr>
          <a:lstStyle/>
          <a:p>
            <a:pPr eaLnBrk="1" hangingPunct="1">
              <a:spcBef>
                <a:spcPts val="600"/>
              </a:spcBef>
              <a:buClr>
                <a:srgbClr val="9683FF"/>
              </a:buClr>
              <a:buSzPct val="120000"/>
              <a:defRPr/>
            </a:pPr>
            <a:r>
              <a:rPr lang="en-US" sz="1200" dirty="0">
                <a:solidFill>
                  <a:schemeClr val="bg1"/>
                </a:solidFill>
                <a:ea typeface="Lato"/>
                <a:cs typeface="Poppins ExtraLight" panose="00000300000000000000" pitchFamily="2" charset="0"/>
              </a:rPr>
              <a:t>Project manager with expertise in analytics &amp; MMM - TBD</a:t>
            </a:r>
            <a:endParaRPr lang="en-US" sz="1200" dirty="0">
              <a:solidFill>
                <a:schemeClr val="bg1"/>
              </a:solidFill>
              <a:latin typeface="+mn-lt"/>
              <a:ea typeface="Lato"/>
              <a:cs typeface="Poppins ExtraLight" panose="000003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endParaRPr lang="en-US" sz="1200" dirty="0">
              <a:solidFill>
                <a:schemeClr val="bg1"/>
              </a:solidFill>
              <a:latin typeface="+mn-lt"/>
              <a:ea typeface="Lato"/>
              <a:cs typeface="Poppins ExtraLight" panose="00000300000000000000" pitchFamily="2" charset="0"/>
            </a:endParaRPr>
          </a:p>
          <a:p>
            <a:pPr marL="285750" indent="-285750" eaLnBrk="1" hangingPunct="1">
              <a:spcBef>
                <a:spcPts val="600"/>
              </a:spcBef>
              <a:buClr>
                <a:srgbClr val="9683FF"/>
              </a:buClr>
              <a:buSzPct val="120000"/>
              <a:buFont typeface="Wingdings" panose="05000000000000000000" pitchFamily="2" charset="2"/>
              <a:buChar char="§"/>
              <a:defRPr/>
            </a:pPr>
            <a:r>
              <a:rPr lang="en-US" sz="1200" dirty="0">
                <a:solidFill>
                  <a:schemeClr val="bg1"/>
                </a:solidFill>
                <a:ea typeface="Lato"/>
                <a:cs typeface="Poppins ExtraLight" panose="00000300000000000000" pitchFamily="2" charset="0"/>
              </a:rPr>
              <a:t>Account Manager </a:t>
            </a:r>
            <a:r>
              <a:rPr lang="en-US" sz="1200" dirty="0">
                <a:solidFill>
                  <a:schemeClr val="bg1"/>
                </a:solidFill>
                <a:latin typeface="+mn-lt"/>
                <a:ea typeface="Lato"/>
                <a:cs typeface="Poppins ExtraLight" panose="00000300000000000000" pitchFamily="2" charset="0"/>
              </a:rPr>
              <a:t> IOTA – Ana Durán</a:t>
            </a:r>
          </a:p>
        </p:txBody>
      </p:sp>
      <p:sp>
        <p:nvSpPr>
          <p:cNvPr id="32" name="CuadroTexto 31">
            <a:extLst>
              <a:ext uri="{FF2B5EF4-FFF2-40B4-BE49-F238E27FC236}">
                <a16:creationId xmlns:a16="http://schemas.microsoft.com/office/drawing/2014/main" id="{0C201B35-BE25-74E4-9F5D-693AA05744F7}"/>
              </a:ext>
            </a:extLst>
          </p:cNvPr>
          <p:cNvSpPr txBox="1"/>
          <p:nvPr/>
        </p:nvSpPr>
        <p:spPr>
          <a:xfrm>
            <a:off x="3210445" y="5613180"/>
            <a:ext cx="2641219" cy="276999"/>
          </a:xfrm>
          <a:prstGeom prst="rect">
            <a:avLst/>
          </a:prstGeom>
          <a:noFill/>
        </p:spPr>
        <p:txBody>
          <a:bodyPr wrap="square" lIns="91440" tIns="45720" rIns="91440" bIns="45720" rtlCol="0" anchor="t">
            <a:spAutoFit/>
          </a:bodyPr>
          <a:lstStyle/>
          <a:p>
            <a:pPr algn="ctr"/>
            <a:r>
              <a:rPr lang="en-US" sz="1200" dirty="0">
                <a:solidFill>
                  <a:schemeClr val="bg1"/>
                </a:solidFill>
                <a:ea typeface="Lato"/>
                <a:cs typeface="Poppins ExtraLight"/>
              </a:rPr>
              <a:t>1 data analyst</a:t>
            </a:r>
          </a:p>
        </p:txBody>
      </p:sp>
      <p:sp>
        <p:nvSpPr>
          <p:cNvPr id="34" name="CuadroTexto 5">
            <a:extLst>
              <a:ext uri="{FF2B5EF4-FFF2-40B4-BE49-F238E27FC236}">
                <a16:creationId xmlns:a16="http://schemas.microsoft.com/office/drawing/2014/main" id="{A7FC88CD-1F7E-ACAC-C3A0-9A824C13DFAD}"/>
              </a:ext>
            </a:extLst>
          </p:cNvPr>
          <p:cNvSpPr txBox="1">
            <a:spLocks noChangeArrowheads="1"/>
          </p:cNvSpPr>
          <p:nvPr/>
        </p:nvSpPr>
        <p:spPr bwMode="auto">
          <a:xfrm>
            <a:off x="9181649" y="3511512"/>
            <a:ext cx="2795956" cy="11556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eaLnBrk="0" hangingPunct="0">
              <a:lnSpc>
                <a:spcPct val="90000"/>
              </a:lnSpc>
              <a:spcBef>
                <a:spcPts val="200"/>
              </a:spcBef>
              <a:buClr>
                <a:schemeClr val="accent1"/>
              </a:buClr>
              <a:buFont typeface="Arial" panose="020B0604020202020204" pitchFamily="34" charset="0"/>
              <a:buChar char="•"/>
              <a:defRPr sz="1300" i="1">
                <a:solidFill>
                  <a:srgbClr val="000000"/>
                </a:solidFill>
                <a:latin typeface="Arial" charset="0"/>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a:spcBef>
                <a:spcPts val="600"/>
              </a:spcBef>
              <a:buClr>
                <a:srgbClr val="9683FF"/>
              </a:buClr>
              <a:buSzPct val="120000"/>
              <a:buFont typeface="Wingdings" panose="05000000000000000000" pitchFamily="2" charset="2"/>
              <a:buChar char="§"/>
              <a:defRPr/>
            </a:pPr>
            <a:r>
              <a:rPr lang="en-US" sz="1200" i="0">
                <a:solidFill>
                  <a:schemeClr val="bg1">
                    <a:lumMod val="50000"/>
                  </a:schemeClr>
                </a:solidFill>
                <a:latin typeface="+mn-lt"/>
                <a:ea typeface="Lato"/>
                <a:cs typeface="Poppins ExtraLight"/>
              </a:rPr>
              <a:t>Expertise</a:t>
            </a:r>
            <a:endParaRPr lang="en-US" sz="1200" i="0">
              <a:solidFill>
                <a:schemeClr val="bg1">
                  <a:lumMod val="50000"/>
                </a:schemeClr>
              </a:solidFill>
              <a:latin typeface="+mn-lt"/>
              <a:ea typeface="Lato"/>
              <a:cs typeface="Poppins ExtraLight" panose="00000300000000000000" pitchFamily="2" charset="0"/>
            </a:endParaRPr>
          </a:p>
          <a:p>
            <a:pPr eaLnBrk="1" hangingPunct="1">
              <a:spcBef>
                <a:spcPts val="600"/>
              </a:spcBef>
              <a:buClr>
                <a:srgbClr val="9683FF"/>
              </a:buClr>
              <a:buSzPct val="120000"/>
              <a:buFont typeface="Wingdings" panose="05000000000000000000" pitchFamily="2" charset="2"/>
              <a:buChar char="§"/>
              <a:defRPr/>
            </a:pPr>
            <a:r>
              <a:rPr lang="en-US" sz="1200" i="0">
                <a:solidFill>
                  <a:schemeClr val="bg1">
                    <a:lumMod val="50000"/>
                  </a:schemeClr>
                </a:solidFill>
                <a:latin typeface="+mn-lt"/>
                <a:ea typeface="Lato"/>
                <a:cs typeface="Poppins ExtraLight"/>
              </a:rPr>
              <a:t>Agile work management</a:t>
            </a:r>
          </a:p>
          <a:p>
            <a:pPr eaLnBrk="1" hangingPunct="1">
              <a:spcBef>
                <a:spcPts val="600"/>
              </a:spcBef>
              <a:buClr>
                <a:srgbClr val="9683FF"/>
              </a:buClr>
              <a:buSzPct val="120000"/>
              <a:buFont typeface="Wingdings" panose="05000000000000000000" pitchFamily="2" charset="2"/>
              <a:buChar char="§"/>
              <a:defRPr/>
            </a:pPr>
            <a:r>
              <a:rPr lang="en-US" sz="1200" i="0">
                <a:solidFill>
                  <a:schemeClr val="bg1">
                    <a:lumMod val="50000"/>
                  </a:schemeClr>
                </a:solidFill>
                <a:latin typeface="+mn-lt"/>
                <a:ea typeface="Lato"/>
                <a:cs typeface="Poppins ExtraLight"/>
              </a:rPr>
              <a:t>Hypothesis validation</a:t>
            </a:r>
          </a:p>
          <a:p>
            <a:pPr eaLnBrk="1" hangingPunct="1">
              <a:spcBef>
                <a:spcPts val="600"/>
              </a:spcBef>
              <a:buClr>
                <a:srgbClr val="9683FF"/>
              </a:buClr>
              <a:buSzPct val="120000"/>
              <a:buFont typeface="Wingdings" panose="05000000000000000000" pitchFamily="2" charset="2"/>
              <a:buChar char="§"/>
              <a:defRPr/>
            </a:pPr>
            <a:r>
              <a:rPr lang="en-US" sz="1200" i="0">
                <a:solidFill>
                  <a:schemeClr val="bg1">
                    <a:lumMod val="50000"/>
                  </a:schemeClr>
                </a:solidFill>
                <a:latin typeface="+mn-lt"/>
                <a:ea typeface="Lato"/>
                <a:cs typeface="Poppins ExtraLight"/>
              </a:rPr>
              <a:t>Recommendations and quality control</a:t>
            </a:r>
          </a:p>
        </p:txBody>
      </p:sp>
      <p:sp>
        <p:nvSpPr>
          <p:cNvPr id="35" name="CuadroTexto 42">
            <a:extLst>
              <a:ext uri="{FF2B5EF4-FFF2-40B4-BE49-F238E27FC236}">
                <a16:creationId xmlns:a16="http://schemas.microsoft.com/office/drawing/2014/main" id="{66061F05-43AC-459D-B35D-6529A51078D3}"/>
              </a:ext>
            </a:extLst>
          </p:cNvPr>
          <p:cNvSpPr txBox="1">
            <a:spLocks noChangeArrowheads="1"/>
          </p:cNvSpPr>
          <p:nvPr/>
        </p:nvSpPr>
        <p:spPr bwMode="auto">
          <a:xfrm>
            <a:off x="9181649" y="5158232"/>
            <a:ext cx="2795956" cy="13218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40" tIns="45671" rIns="91340" bIns="45671" anchor="ctr">
            <a:spAutoFit/>
          </a:bodyPr>
          <a:lstStyle>
            <a:defPPr>
              <a:defRPr lang="es-CO"/>
            </a:defPPr>
            <a:lvl1pPr marL="285750" indent="-285750">
              <a:lnSpc>
                <a:spcPct val="90000"/>
              </a:lnSpc>
              <a:spcBef>
                <a:spcPts val="600"/>
              </a:spcBef>
              <a:buClr>
                <a:srgbClr val="9683FF"/>
              </a:buClr>
              <a:buSzPct val="120000"/>
              <a:buFont typeface="Wingdings" panose="05000000000000000000" pitchFamily="2" charset="2"/>
              <a:buChar char="§"/>
              <a:defRPr sz="1200" i="0">
                <a:solidFill>
                  <a:srgbClr val="171917"/>
                </a:solidFill>
                <a:ea typeface="Lato"/>
                <a:cs typeface="Poppins ExtraLight" panose="00000300000000000000" pitchFamily="2"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r>
              <a:rPr lang="en-US">
                <a:solidFill>
                  <a:schemeClr val="bg1">
                    <a:lumMod val="50000"/>
                  </a:schemeClr>
                </a:solidFill>
              </a:rPr>
              <a:t>Data Collection</a:t>
            </a:r>
          </a:p>
          <a:p>
            <a:r>
              <a:rPr lang="en-US">
                <a:solidFill>
                  <a:schemeClr val="bg1">
                    <a:lumMod val="50000"/>
                  </a:schemeClr>
                </a:solidFill>
              </a:rPr>
              <a:t>Structuring and development  of analysis and modeling</a:t>
            </a:r>
          </a:p>
          <a:p>
            <a:r>
              <a:rPr lang="en-US">
                <a:solidFill>
                  <a:schemeClr val="bg1">
                    <a:lumMod val="50000"/>
                  </a:schemeClr>
                </a:solidFill>
              </a:rPr>
              <a:t>Technical analysis and development</a:t>
            </a:r>
          </a:p>
          <a:p>
            <a:r>
              <a:rPr lang="en-US">
                <a:solidFill>
                  <a:schemeClr val="bg1">
                    <a:lumMod val="50000"/>
                  </a:schemeClr>
                </a:solidFill>
              </a:rPr>
              <a:t>Logistics</a:t>
            </a:r>
          </a:p>
        </p:txBody>
      </p:sp>
      <p:sp>
        <p:nvSpPr>
          <p:cNvPr id="36" name="CuadroTexto 7">
            <a:extLst>
              <a:ext uri="{FF2B5EF4-FFF2-40B4-BE49-F238E27FC236}">
                <a16:creationId xmlns:a16="http://schemas.microsoft.com/office/drawing/2014/main" id="{45B25FE0-ED00-C4D7-617E-C76F86AB89C3}"/>
              </a:ext>
            </a:extLst>
          </p:cNvPr>
          <p:cNvSpPr txBox="1">
            <a:spLocks noChangeArrowheads="1"/>
          </p:cNvSpPr>
          <p:nvPr/>
        </p:nvSpPr>
        <p:spPr bwMode="auto">
          <a:xfrm>
            <a:off x="6209615" y="1692646"/>
            <a:ext cx="2598853" cy="446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3234" tIns="0" rIns="103234" bIns="0" numCol="2" anchor="ctr">
            <a:spAutoFit/>
          </a:bodyPr>
          <a:lstStyle>
            <a:defPPr>
              <a:defRPr lang="es-CO"/>
            </a:defPPr>
            <a:lvl1pPr marL="171450" indent="-171450">
              <a:lnSpc>
                <a:spcPct val="90000"/>
              </a:lnSpc>
              <a:spcAft>
                <a:spcPts val="400"/>
              </a:spcAft>
              <a:buFont typeface="Arial" panose="020B0604020202020204" pitchFamily="34" charset="0"/>
              <a:buChar char="•"/>
              <a:defRPr sz="1200">
                <a:solidFill>
                  <a:srgbClr val="4D4D4D"/>
                </a:solidFill>
                <a:latin typeface="+mj-lt"/>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marL="285750" indent="-285750">
              <a:lnSpc>
                <a:spcPct val="100000"/>
              </a:lnSpc>
              <a:spcBef>
                <a:spcPts val="600"/>
              </a:spcBef>
              <a:spcAft>
                <a:spcPts val="0"/>
              </a:spcAft>
              <a:buClr>
                <a:srgbClr val="9683FF"/>
              </a:buClr>
              <a:buSzPct val="120000"/>
              <a:buFont typeface="Wingdings" panose="05000000000000000000" pitchFamily="2" charset="2"/>
              <a:buChar char="§"/>
              <a:defRPr/>
            </a:pPr>
            <a:r>
              <a:rPr lang="es-CO">
                <a:solidFill>
                  <a:schemeClr val="bg1"/>
                </a:solidFill>
                <a:latin typeface="+mn-lt"/>
                <a:ea typeface="Lato"/>
                <a:cs typeface="Poppins ExtraLight" panose="00000300000000000000" pitchFamily="2" charset="0"/>
              </a:rPr>
              <a:t>TBD</a:t>
            </a:r>
          </a:p>
          <a:p>
            <a:pPr marL="0" indent="0">
              <a:lnSpc>
                <a:spcPct val="100000"/>
              </a:lnSpc>
              <a:spcBef>
                <a:spcPts val="600"/>
              </a:spcBef>
              <a:spcAft>
                <a:spcPts val="0"/>
              </a:spcAft>
              <a:buClr>
                <a:srgbClr val="9683FF"/>
              </a:buClr>
              <a:buSzPct val="120000"/>
              <a:buNone/>
              <a:defRPr/>
            </a:pPr>
            <a:endParaRPr lang="es-CO">
              <a:solidFill>
                <a:schemeClr val="bg1"/>
              </a:solidFill>
              <a:latin typeface="+mn-lt"/>
              <a:ea typeface="Lato"/>
              <a:cs typeface="Poppins ExtraLight" panose="00000300000000000000" pitchFamily="2" charset="0"/>
            </a:endParaRPr>
          </a:p>
        </p:txBody>
      </p:sp>
      <p:sp>
        <p:nvSpPr>
          <p:cNvPr id="37" name="CuadroTexto 7">
            <a:extLst>
              <a:ext uri="{FF2B5EF4-FFF2-40B4-BE49-F238E27FC236}">
                <a16:creationId xmlns:a16="http://schemas.microsoft.com/office/drawing/2014/main" id="{B2C6E35B-0EB4-DD9A-E5C1-E4D9874154C4}"/>
              </a:ext>
            </a:extLst>
          </p:cNvPr>
          <p:cNvSpPr txBox="1">
            <a:spLocks noChangeArrowheads="1"/>
          </p:cNvSpPr>
          <p:nvPr/>
        </p:nvSpPr>
        <p:spPr bwMode="auto">
          <a:xfrm>
            <a:off x="6179882" y="3681204"/>
            <a:ext cx="2309350" cy="9694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3234" tIns="0" rIns="103234" bIns="0" anchor="ctr">
            <a:spAutoFit/>
          </a:bodyPr>
          <a:lstStyle>
            <a:defPPr>
              <a:defRPr lang="es-CO"/>
            </a:defPPr>
            <a:lvl1pPr marL="171450" indent="-171450">
              <a:lnSpc>
                <a:spcPct val="90000"/>
              </a:lnSpc>
              <a:spcAft>
                <a:spcPts val="400"/>
              </a:spcAft>
              <a:buFont typeface="Arial" panose="020B0604020202020204" pitchFamily="34" charset="0"/>
              <a:buChar char="•"/>
              <a:defRPr sz="1200">
                <a:solidFill>
                  <a:srgbClr val="4D4D4D"/>
                </a:solidFill>
                <a:latin typeface="+mj-lt"/>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marL="285750" indent="-285750">
              <a:lnSpc>
                <a:spcPct val="100000"/>
              </a:lnSpc>
              <a:spcBef>
                <a:spcPts val="600"/>
              </a:spcBef>
              <a:spcAft>
                <a:spcPts val="0"/>
              </a:spcAft>
              <a:buClr>
                <a:srgbClr val="9683FF"/>
              </a:buClr>
              <a:buSzPct val="120000"/>
              <a:buFont typeface="Wingdings" panose="05000000000000000000" pitchFamily="2" charset="2"/>
              <a:buChar char="§"/>
              <a:defRPr/>
            </a:pPr>
            <a:r>
              <a:rPr lang="en-US">
                <a:solidFill>
                  <a:schemeClr val="bg1"/>
                </a:solidFill>
                <a:latin typeface="+mn-lt"/>
                <a:ea typeface="Lato"/>
                <a:cs typeface="Poppins ExtraLight" panose="00000300000000000000" pitchFamily="2" charset="0"/>
              </a:rPr>
              <a:t>Angie Olivo</a:t>
            </a:r>
          </a:p>
          <a:p>
            <a:pPr marL="285750" indent="-285750">
              <a:lnSpc>
                <a:spcPct val="100000"/>
              </a:lnSpc>
              <a:spcBef>
                <a:spcPts val="600"/>
              </a:spcBef>
              <a:spcAft>
                <a:spcPts val="0"/>
              </a:spcAft>
              <a:buClr>
                <a:srgbClr val="9683FF"/>
              </a:buClr>
              <a:buSzPct val="120000"/>
              <a:buFont typeface="Wingdings" panose="05000000000000000000" pitchFamily="2" charset="2"/>
              <a:buChar char="§"/>
              <a:defRPr/>
            </a:pPr>
            <a:r>
              <a:rPr lang="en-US">
                <a:solidFill>
                  <a:schemeClr val="bg1"/>
                </a:solidFill>
                <a:latin typeface="+mn-lt"/>
                <a:ea typeface="Lato"/>
                <a:cs typeface="Poppins ExtraLight" panose="00000300000000000000" pitchFamily="2" charset="0"/>
              </a:rPr>
              <a:t>TBD team </a:t>
            </a:r>
            <a:r>
              <a:rPr lang="en-US" err="1">
                <a:solidFill>
                  <a:schemeClr val="bg1"/>
                </a:solidFill>
                <a:latin typeface="+mn-lt"/>
                <a:ea typeface="Lato"/>
                <a:cs typeface="Poppins ExtraLight" panose="00000300000000000000" pitchFamily="2" charset="0"/>
              </a:rPr>
              <a:t>Belcorp</a:t>
            </a:r>
            <a:r>
              <a:rPr lang="en-US">
                <a:solidFill>
                  <a:schemeClr val="bg1"/>
                </a:solidFill>
                <a:latin typeface="+mn-lt"/>
                <a:ea typeface="Lato"/>
                <a:cs typeface="Poppins ExtraLight" panose="00000300000000000000" pitchFamily="2" charset="0"/>
              </a:rPr>
              <a:t> </a:t>
            </a:r>
          </a:p>
          <a:p>
            <a:pPr marL="285750" indent="-285750">
              <a:lnSpc>
                <a:spcPct val="100000"/>
              </a:lnSpc>
              <a:spcBef>
                <a:spcPts val="600"/>
              </a:spcBef>
              <a:spcAft>
                <a:spcPts val="0"/>
              </a:spcAft>
              <a:buClr>
                <a:srgbClr val="9683FF"/>
              </a:buClr>
              <a:buSzPct val="120000"/>
              <a:buFont typeface="Wingdings" panose="05000000000000000000" pitchFamily="2" charset="2"/>
              <a:buChar char="§"/>
              <a:defRPr/>
            </a:pPr>
            <a:r>
              <a:rPr lang="en-US">
                <a:solidFill>
                  <a:schemeClr val="bg1"/>
                </a:solidFill>
                <a:latin typeface="+mn-lt"/>
                <a:ea typeface="Lato"/>
                <a:cs typeface="Poppins ExtraLight" panose="00000300000000000000" pitchFamily="2" charset="0"/>
              </a:rPr>
              <a:t> </a:t>
            </a:r>
          </a:p>
          <a:p>
            <a:pPr marL="285750" indent="-285750">
              <a:lnSpc>
                <a:spcPct val="100000"/>
              </a:lnSpc>
              <a:spcBef>
                <a:spcPts val="600"/>
              </a:spcBef>
              <a:spcAft>
                <a:spcPts val="0"/>
              </a:spcAft>
              <a:buClr>
                <a:srgbClr val="9683FF"/>
              </a:buClr>
              <a:buSzPct val="120000"/>
              <a:buFont typeface="Wingdings" panose="05000000000000000000" pitchFamily="2" charset="2"/>
              <a:buChar char="§"/>
              <a:defRPr/>
            </a:pPr>
            <a:endParaRPr lang="en-US">
              <a:solidFill>
                <a:schemeClr val="bg1"/>
              </a:solidFill>
              <a:latin typeface="+mn-lt"/>
              <a:ea typeface="Lato"/>
              <a:cs typeface="Poppins ExtraLight" panose="00000300000000000000" pitchFamily="2" charset="0"/>
            </a:endParaRPr>
          </a:p>
        </p:txBody>
      </p:sp>
      <p:sp>
        <p:nvSpPr>
          <p:cNvPr id="38" name="CuadroTexto 7">
            <a:extLst>
              <a:ext uri="{FF2B5EF4-FFF2-40B4-BE49-F238E27FC236}">
                <a16:creationId xmlns:a16="http://schemas.microsoft.com/office/drawing/2014/main" id="{7537C1F2-EE06-FC1D-F1FA-F38082EA05AD}"/>
              </a:ext>
            </a:extLst>
          </p:cNvPr>
          <p:cNvSpPr txBox="1">
            <a:spLocks noChangeArrowheads="1"/>
          </p:cNvSpPr>
          <p:nvPr/>
        </p:nvSpPr>
        <p:spPr bwMode="auto">
          <a:xfrm>
            <a:off x="6210968" y="5551833"/>
            <a:ext cx="2309350" cy="446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3234" tIns="0" rIns="103234" bIns="0" anchor="ctr">
            <a:spAutoFit/>
          </a:bodyPr>
          <a:lstStyle>
            <a:defPPr>
              <a:defRPr lang="es-CO"/>
            </a:defPPr>
            <a:lvl1pPr marL="171450" indent="-171450">
              <a:lnSpc>
                <a:spcPct val="90000"/>
              </a:lnSpc>
              <a:spcAft>
                <a:spcPts val="400"/>
              </a:spcAft>
              <a:buFont typeface="Arial" panose="020B0604020202020204" pitchFamily="34" charset="0"/>
              <a:buChar char="•"/>
              <a:defRPr sz="1200">
                <a:solidFill>
                  <a:srgbClr val="4D4D4D"/>
                </a:solidFill>
                <a:latin typeface="+mj-lt"/>
                <a:ea typeface="ＭＳ Ｐゴシック" charset="0"/>
                <a:cs typeface="Arial"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marL="285750" indent="-285750">
              <a:lnSpc>
                <a:spcPct val="100000"/>
              </a:lnSpc>
              <a:spcBef>
                <a:spcPts val="600"/>
              </a:spcBef>
              <a:spcAft>
                <a:spcPts val="0"/>
              </a:spcAft>
              <a:buClr>
                <a:srgbClr val="9683FF"/>
              </a:buClr>
              <a:buSzPct val="120000"/>
              <a:buFont typeface="Wingdings" panose="05000000000000000000" pitchFamily="2" charset="2"/>
              <a:buChar char="§"/>
              <a:defRPr/>
            </a:pPr>
            <a:r>
              <a:rPr lang="en-US">
                <a:solidFill>
                  <a:schemeClr val="bg1"/>
                </a:solidFill>
                <a:latin typeface="+mn-lt"/>
                <a:ea typeface="Lato"/>
                <a:cs typeface="Poppins ExtraLight" panose="00000300000000000000" pitchFamily="2" charset="0"/>
              </a:rPr>
              <a:t>TBD – internal team</a:t>
            </a:r>
          </a:p>
          <a:p>
            <a:pPr marL="285750" indent="-285750">
              <a:lnSpc>
                <a:spcPct val="100000"/>
              </a:lnSpc>
              <a:spcBef>
                <a:spcPts val="600"/>
              </a:spcBef>
              <a:spcAft>
                <a:spcPts val="0"/>
              </a:spcAft>
              <a:buClr>
                <a:srgbClr val="9683FF"/>
              </a:buClr>
              <a:buSzPct val="120000"/>
              <a:buFont typeface="Wingdings" panose="05000000000000000000" pitchFamily="2" charset="2"/>
              <a:buChar char="§"/>
              <a:defRPr/>
            </a:pPr>
            <a:endParaRPr lang="en-US">
              <a:solidFill>
                <a:schemeClr val="bg1"/>
              </a:solidFill>
              <a:latin typeface="+mn-lt"/>
              <a:ea typeface="Lato"/>
              <a:cs typeface="Poppins ExtraLight" panose="00000300000000000000" pitchFamily="2" charset="0"/>
            </a:endParaRPr>
          </a:p>
        </p:txBody>
      </p:sp>
      <p:pic>
        <p:nvPicPr>
          <p:cNvPr id="42" name="Imagen 41">
            <a:extLst>
              <a:ext uri="{FF2B5EF4-FFF2-40B4-BE49-F238E27FC236}">
                <a16:creationId xmlns:a16="http://schemas.microsoft.com/office/drawing/2014/main" id="{8A32DD14-61F9-88E4-2142-66EAEB8BAE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0590" y="5154451"/>
            <a:ext cx="465408" cy="612661"/>
          </a:xfrm>
          <a:prstGeom prst="rect">
            <a:avLst/>
          </a:prstGeom>
        </p:spPr>
      </p:pic>
      <p:pic>
        <p:nvPicPr>
          <p:cNvPr id="44" name="Imagen 43">
            <a:extLst>
              <a:ext uri="{FF2B5EF4-FFF2-40B4-BE49-F238E27FC236}">
                <a16:creationId xmlns:a16="http://schemas.microsoft.com/office/drawing/2014/main" id="{17974EB7-087B-5DA9-5C6B-0782A68B69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2831" y="1463789"/>
            <a:ext cx="460927" cy="683060"/>
          </a:xfrm>
          <a:prstGeom prst="rect">
            <a:avLst/>
          </a:prstGeom>
        </p:spPr>
      </p:pic>
      <p:pic>
        <p:nvPicPr>
          <p:cNvPr id="46" name="Imagen 45">
            <a:extLst>
              <a:ext uri="{FF2B5EF4-FFF2-40B4-BE49-F238E27FC236}">
                <a16:creationId xmlns:a16="http://schemas.microsoft.com/office/drawing/2014/main" id="{FDB5A080-6B63-3F9F-0FF7-F1398D393CD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632" t="4233" r="25358" b="24757"/>
          <a:stretch/>
        </p:blipFill>
        <p:spPr>
          <a:xfrm>
            <a:off x="3272036" y="4245458"/>
            <a:ext cx="584009" cy="569356"/>
          </a:xfrm>
          <a:prstGeom prst="ellipse">
            <a:avLst/>
          </a:prstGeom>
        </p:spPr>
      </p:pic>
      <p:pic>
        <p:nvPicPr>
          <p:cNvPr id="2" name="Imagen 1" descr="Forma, Icono, Círculo&#10;&#10;Descripción generada automáticamente">
            <a:extLst>
              <a:ext uri="{FF2B5EF4-FFF2-40B4-BE49-F238E27FC236}">
                <a16:creationId xmlns:a16="http://schemas.microsoft.com/office/drawing/2014/main" id="{57E6A3A4-C8D9-C2A0-E052-9D01D701AAA3}"/>
              </a:ext>
            </a:extLst>
          </p:cNvPr>
          <p:cNvPicPr>
            <a:picLocks noChangeAspect="1"/>
          </p:cNvPicPr>
          <p:nvPr/>
        </p:nvPicPr>
        <p:blipFill>
          <a:blip r:embed="rId9"/>
          <a:stretch>
            <a:fillRect/>
          </a:stretch>
        </p:blipFill>
        <p:spPr>
          <a:xfrm>
            <a:off x="1088567" y="3372140"/>
            <a:ext cx="549135" cy="530579"/>
          </a:xfrm>
          <a:prstGeom prst="rect">
            <a:avLst/>
          </a:prstGeom>
        </p:spPr>
      </p:pic>
      <p:pic>
        <p:nvPicPr>
          <p:cNvPr id="3" name="Imagen 13">
            <a:extLst>
              <a:ext uri="{FF2B5EF4-FFF2-40B4-BE49-F238E27FC236}">
                <a16:creationId xmlns:a16="http://schemas.microsoft.com/office/drawing/2014/main" id="{4A556E9C-89B2-526E-6489-3CAC4335BA1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0482" t="13891" r="29079" b="52684"/>
          <a:stretch/>
        </p:blipFill>
        <p:spPr>
          <a:xfrm>
            <a:off x="3782787" y="1076702"/>
            <a:ext cx="677133" cy="673101"/>
          </a:xfrm>
          <a:prstGeom prst="ellipse">
            <a:avLst/>
          </a:prstGeom>
        </p:spPr>
      </p:pic>
      <p:pic>
        <p:nvPicPr>
          <p:cNvPr id="12" name="Imagen 12">
            <a:extLst>
              <a:ext uri="{FF2B5EF4-FFF2-40B4-BE49-F238E27FC236}">
                <a16:creationId xmlns:a16="http://schemas.microsoft.com/office/drawing/2014/main" id="{BC412852-40B6-6041-9A36-96917A07E77A}"/>
              </a:ext>
            </a:extLst>
          </p:cNvPr>
          <p:cNvPicPr>
            <a:picLocks noChangeAspect="1"/>
          </p:cNvPicPr>
          <p:nvPr/>
        </p:nvPicPr>
        <p:blipFill>
          <a:blip r:embed="rId11"/>
          <a:stretch>
            <a:fillRect/>
          </a:stretch>
        </p:blipFill>
        <p:spPr>
          <a:xfrm>
            <a:off x="4868944" y="1046785"/>
            <a:ext cx="670739" cy="670739"/>
          </a:xfrm>
          <a:prstGeom prst="rect">
            <a:avLst/>
          </a:prstGeom>
        </p:spPr>
      </p:pic>
      <p:sp>
        <p:nvSpPr>
          <p:cNvPr id="39" name="CuadroTexto 16">
            <a:extLst>
              <a:ext uri="{FF2B5EF4-FFF2-40B4-BE49-F238E27FC236}">
                <a16:creationId xmlns:a16="http://schemas.microsoft.com/office/drawing/2014/main" id="{88F36EEF-8D9A-D8AE-790E-F8066429EF2B}"/>
              </a:ext>
            </a:extLst>
          </p:cNvPr>
          <p:cNvSpPr txBox="1"/>
          <p:nvPr/>
        </p:nvSpPr>
        <p:spPr>
          <a:xfrm>
            <a:off x="3326452" y="1790321"/>
            <a:ext cx="2545388" cy="276999"/>
          </a:xfrm>
          <a:prstGeom prst="rect">
            <a:avLst/>
          </a:prstGeom>
          <a:noFill/>
        </p:spPr>
        <p:txBody>
          <a:bodyPr wrap="square" rtlCol="0">
            <a:spAutoFit/>
          </a:bodyPr>
          <a:lstStyle/>
          <a:p>
            <a:pPr algn="ctr"/>
            <a:r>
              <a:rPr lang="en-US" sz="1200" dirty="0">
                <a:solidFill>
                  <a:schemeClr val="bg1"/>
                </a:solidFill>
                <a:latin typeface="+mn-lt"/>
                <a:ea typeface="Lato"/>
                <a:cs typeface="Poppins ExtraLight"/>
              </a:rPr>
              <a:t>Andrés Satizabal,  Jordi </a:t>
            </a:r>
            <a:r>
              <a:rPr lang="en-US" sz="1200" dirty="0" err="1">
                <a:solidFill>
                  <a:schemeClr val="bg1"/>
                </a:solidFill>
                <a:latin typeface="+mn-lt"/>
                <a:ea typeface="Lato"/>
                <a:cs typeface="Poppins ExtraLight"/>
              </a:rPr>
              <a:t>Monso</a:t>
            </a:r>
            <a:endParaRPr lang="en-US" sz="1200" dirty="0">
              <a:solidFill>
                <a:schemeClr val="bg1"/>
              </a:solidFill>
              <a:latin typeface="+mn-lt"/>
              <a:ea typeface="Lato"/>
              <a:cs typeface="Poppins ExtraLight"/>
            </a:endParaRPr>
          </a:p>
        </p:txBody>
      </p:sp>
      <p:sp>
        <p:nvSpPr>
          <p:cNvPr id="41" name="CuadroTexto 17">
            <a:extLst>
              <a:ext uri="{FF2B5EF4-FFF2-40B4-BE49-F238E27FC236}">
                <a16:creationId xmlns:a16="http://schemas.microsoft.com/office/drawing/2014/main" id="{6091EFAF-D31B-D91F-11C5-7423C2765D5B}"/>
              </a:ext>
            </a:extLst>
          </p:cNvPr>
          <p:cNvSpPr txBox="1"/>
          <p:nvPr/>
        </p:nvSpPr>
        <p:spPr>
          <a:xfrm>
            <a:off x="3376602" y="2343801"/>
            <a:ext cx="2493195" cy="461665"/>
          </a:xfrm>
          <a:prstGeom prst="rect">
            <a:avLst/>
          </a:prstGeom>
          <a:noFill/>
        </p:spPr>
        <p:txBody>
          <a:bodyPr wrap="square" rtlCol="0">
            <a:spAutoFit/>
          </a:bodyPr>
          <a:lstStyle/>
          <a:p>
            <a:pPr algn="ctr"/>
            <a:r>
              <a:rPr lang="en-US" sz="1200" dirty="0">
                <a:solidFill>
                  <a:schemeClr val="bg1"/>
                </a:solidFill>
                <a:latin typeface="+mn-lt"/>
                <a:ea typeface="Lato"/>
                <a:cs typeface="Poppins ExtraLight"/>
              </a:rPr>
              <a:t>Ex McKinsey </a:t>
            </a:r>
            <a:r>
              <a:rPr lang="en-US" sz="1200" dirty="0">
                <a:solidFill>
                  <a:schemeClr val="bg1"/>
                </a:solidFill>
                <a:ea typeface="Lato"/>
                <a:cs typeface="Poppins ExtraLight"/>
              </a:rPr>
              <a:t>&amp; partners</a:t>
            </a:r>
            <a:r>
              <a:rPr lang="en-US" sz="1200" dirty="0">
                <a:solidFill>
                  <a:schemeClr val="bg1"/>
                </a:solidFill>
                <a:latin typeface="+mn-lt"/>
                <a:ea typeface="Lato"/>
                <a:cs typeface="Poppins ExtraLight"/>
              </a:rPr>
              <a:t> at IOTA Impact</a:t>
            </a:r>
            <a:endParaRPr lang="en-US" sz="1200" dirty="0">
              <a:solidFill>
                <a:schemeClr val="bg1"/>
              </a:solidFill>
              <a:latin typeface="+mn-lt"/>
              <a:ea typeface="Lato"/>
              <a:cs typeface="Poppins ExtraLight" panose="00000300000000000000" pitchFamily="2" charset="0"/>
            </a:endParaRPr>
          </a:p>
        </p:txBody>
      </p:sp>
      <p:sp>
        <p:nvSpPr>
          <p:cNvPr id="47" name="Título 3">
            <a:extLst>
              <a:ext uri="{FF2B5EF4-FFF2-40B4-BE49-F238E27FC236}">
                <a16:creationId xmlns:a16="http://schemas.microsoft.com/office/drawing/2014/main" id="{8ED7D941-4B1B-A810-4BB4-AA9C585414D6}"/>
              </a:ext>
            </a:extLst>
          </p:cNvPr>
          <p:cNvSpPr>
            <a:spLocks noGrp="1"/>
          </p:cNvSpPr>
          <p:nvPr>
            <p:ph type="title"/>
          </p:nvPr>
        </p:nvSpPr>
        <p:spPr>
          <a:xfrm>
            <a:off x="859971" y="162297"/>
            <a:ext cx="7157884" cy="798836"/>
          </a:xfrm>
        </p:spPr>
        <p:txBody>
          <a:bodyPr>
            <a:normAutofit/>
          </a:bodyPr>
          <a:lstStyle/>
          <a:p>
            <a:r>
              <a:rPr lang="es-MX" sz="2000" dirty="0">
                <a:latin typeface="Poppins Medium" panose="00000600000000000000" pitchFamily="2" charset="0"/>
                <a:cs typeface="Poppins Medium" panose="00000600000000000000" pitchFamily="2" charset="0"/>
              </a:rPr>
              <a:t>T</a:t>
            </a:r>
            <a:r>
              <a:rPr lang="es-CO" sz="2000" dirty="0" err="1">
                <a:latin typeface="Poppins Medium" panose="00000600000000000000" pitchFamily="2" charset="0"/>
                <a:cs typeface="Poppins Medium" panose="00000600000000000000" pitchFamily="2" charset="0"/>
              </a:rPr>
              <a:t>eam</a:t>
            </a:r>
            <a:endParaRPr lang="es-CO" sz="2000" dirty="0">
              <a:latin typeface="Poppins Medium" panose="00000600000000000000" pitchFamily="2" charset="0"/>
              <a:cs typeface="Poppins Medium" panose="00000600000000000000" pitchFamily="2" charset="0"/>
            </a:endParaRPr>
          </a:p>
        </p:txBody>
      </p:sp>
      <p:pic>
        <p:nvPicPr>
          <p:cNvPr id="11" name="Picture 2" descr="Belcorp | Brands of the World™ | Download vector logos and ...">
            <a:extLst>
              <a:ext uri="{FF2B5EF4-FFF2-40B4-BE49-F238E27FC236}">
                <a16:creationId xmlns:a16="http://schemas.microsoft.com/office/drawing/2014/main" id="{9F1914DB-3FDE-5F5F-CFD8-8E56B8AA955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Belcorp | Brands of the World™ | Download vector logos and ...">
            <a:extLst>
              <a:ext uri="{FF2B5EF4-FFF2-40B4-BE49-F238E27FC236}">
                <a16:creationId xmlns:a16="http://schemas.microsoft.com/office/drawing/2014/main" id="{0BF4A8BB-59C6-3945-7E52-58CBE2993D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76259" y="92727"/>
            <a:ext cx="947057" cy="7356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1504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3">
            <a:extLst>
              <a:ext uri="{FF2B5EF4-FFF2-40B4-BE49-F238E27FC236}">
                <a16:creationId xmlns:a16="http://schemas.microsoft.com/office/drawing/2014/main" id="{F356FAD2-A810-E16B-5FF4-B48AB71E4214}"/>
              </a:ext>
            </a:extLst>
          </p:cNvPr>
          <p:cNvSpPr>
            <a:spLocks noGrp="1"/>
          </p:cNvSpPr>
          <p:nvPr>
            <p:ph type="title"/>
          </p:nvPr>
        </p:nvSpPr>
        <p:spPr>
          <a:xfrm>
            <a:off x="859971" y="162297"/>
            <a:ext cx="7157884" cy="798836"/>
          </a:xfrm>
        </p:spPr>
        <p:txBody>
          <a:bodyPr>
            <a:normAutofit/>
          </a:bodyPr>
          <a:lstStyle/>
          <a:p>
            <a:r>
              <a:rPr lang="es-CO" sz="2000" dirty="0">
                <a:latin typeface="Poppins Medium" panose="00000600000000000000" pitchFamily="2" charset="0"/>
                <a:cs typeface="Poppins Medium" panose="00000600000000000000" pitchFamily="2" charset="0"/>
              </a:rPr>
              <a:t>Directores de Proyecto</a:t>
            </a:r>
          </a:p>
        </p:txBody>
      </p:sp>
      <p:sp>
        <p:nvSpPr>
          <p:cNvPr id="4" name="Freeform 23">
            <a:extLst>
              <a:ext uri="{FF2B5EF4-FFF2-40B4-BE49-F238E27FC236}">
                <a16:creationId xmlns:a16="http://schemas.microsoft.com/office/drawing/2014/main" id="{ED8964C2-0094-75A6-CEC6-E55BBDDF8B34}"/>
              </a:ext>
            </a:extLst>
          </p:cNvPr>
          <p:cNvSpPr/>
          <p:nvPr/>
        </p:nvSpPr>
        <p:spPr>
          <a:xfrm>
            <a:off x="3623075" y="998334"/>
            <a:ext cx="1237189" cy="1265304"/>
          </a:xfrm>
          <a:custGeom>
            <a:avLst/>
            <a:gdLst/>
            <a:ahLst/>
            <a:cxnLst/>
            <a:rect l="l" t="t" r="r" b="b"/>
            <a:pathLst>
              <a:path w="1409873" h="1409873">
                <a:moveTo>
                  <a:pt x="0" y="0"/>
                </a:moveTo>
                <a:lnTo>
                  <a:pt x="1409873" y="0"/>
                </a:lnTo>
                <a:lnTo>
                  <a:pt x="1409873" y="1409873"/>
                </a:lnTo>
                <a:lnTo>
                  <a:pt x="0" y="1409873"/>
                </a:lnTo>
                <a:lnTo>
                  <a:pt x="0" y="0"/>
                </a:lnTo>
                <a:close/>
              </a:path>
            </a:pathLst>
          </a:custGeom>
          <a:blipFill>
            <a:blip r:embed="rId2"/>
            <a:stretch>
              <a:fillRect/>
            </a:stretch>
          </a:blipFill>
          <a:ln cap="sq">
            <a:noFill/>
            <a:prstDash val="solid"/>
            <a:miter/>
          </a:ln>
        </p:spPr>
        <p:txBody>
          <a:bodyPr/>
          <a:lstStyle/>
          <a:p>
            <a:endParaRPr lang="es-CO" sz="1200"/>
          </a:p>
        </p:txBody>
      </p:sp>
      <p:sp>
        <p:nvSpPr>
          <p:cNvPr id="6" name="TextBox 28">
            <a:extLst>
              <a:ext uri="{FF2B5EF4-FFF2-40B4-BE49-F238E27FC236}">
                <a16:creationId xmlns:a16="http://schemas.microsoft.com/office/drawing/2014/main" id="{C513686B-45C4-0222-FBC8-74715668B7FE}"/>
              </a:ext>
            </a:extLst>
          </p:cNvPr>
          <p:cNvSpPr txBox="1"/>
          <p:nvPr/>
        </p:nvSpPr>
        <p:spPr>
          <a:xfrm>
            <a:off x="2332917" y="2396918"/>
            <a:ext cx="3817506" cy="3970189"/>
          </a:xfrm>
          <a:prstGeom prst="rect">
            <a:avLst/>
          </a:prstGeom>
        </p:spPr>
        <p:txBody>
          <a:bodyPr wrap="square" lIns="0" tIns="0" rIns="0" bIns="0" rtlCol="0" anchor="t">
            <a:spAutoFit/>
          </a:bodyPr>
          <a:lstStyle/>
          <a:p>
            <a:pPr algn="ctr"/>
            <a:r>
              <a:rPr lang="es-CO" sz="2400" spc="-45" dirty="0">
                <a:solidFill>
                  <a:srgbClr val="6650B6"/>
                </a:solidFill>
                <a:latin typeface="Poppins Bold"/>
              </a:rPr>
              <a:t>Andrés Satizabal</a:t>
            </a:r>
          </a:p>
          <a:p>
            <a:pPr algn="ctr">
              <a:lnSpc>
                <a:spcPts val="792"/>
              </a:lnSpc>
            </a:pPr>
            <a:r>
              <a:rPr lang="es-CO" sz="1100" spc="-30" dirty="0">
                <a:solidFill>
                  <a:srgbClr val="6650B6"/>
                </a:solidFill>
                <a:latin typeface="Poppins Bold"/>
              </a:rPr>
              <a:t>CEO &amp; Fundador IOTA </a:t>
            </a:r>
            <a:r>
              <a:rPr lang="es-CO" sz="1100" spc="-30" dirty="0" err="1">
                <a:solidFill>
                  <a:srgbClr val="6650B6"/>
                </a:solidFill>
                <a:latin typeface="Poppins Bold"/>
              </a:rPr>
              <a:t>Impact</a:t>
            </a:r>
            <a:endParaRPr lang="es-CO" sz="1100" spc="-30" dirty="0">
              <a:solidFill>
                <a:srgbClr val="6650B6"/>
              </a:solidFill>
              <a:latin typeface="Poppins Bold"/>
            </a:endParaRPr>
          </a:p>
          <a:p>
            <a:pPr algn="ctr">
              <a:lnSpc>
                <a:spcPts val="924"/>
              </a:lnSpc>
            </a:pPr>
            <a:endParaRPr lang="es-CO" sz="1100" spc="-30" dirty="0">
              <a:solidFill>
                <a:srgbClr val="6650B6"/>
              </a:solidFill>
              <a:latin typeface="Poppins Bold"/>
            </a:endParaRPr>
          </a:p>
          <a:p>
            <a:r>
              <a:rPr lang="en-US" sz="1200" spc="-35" dirty="0">
                <a:solidFill>
                  <a:srgbClr val="6650B6"/>
                </a:solidFill>
                <a:latin typeface="Poppins"/>
              </a:rPr>
              <a:t>With over 23 years of experience in market research, analysis, and consulting, he has led projects with KOF since 2022.</a:t>
            </a:r>
          </a:p>
          <a:p>
            <a:endParaRPr lang="en-US" sz="1200" spc="-35" dirty="0">
              <a:solidFill>
                <a:srgbClr val="6650B6"/>
              </a:solidFill>
              <a:latin typeface="Poppins"/>
            </a:endParaRPr>
          </a:p>
          <a:p>
            <a:r>
              <a:rPr lang="en-US" sz="1200" spc="-35" dirty="0">
                <a:solidFill>
                  <a:srgbClr val="6650B6"/>
                </a:solidFill>
                <a:latin typeface="Poppins"/>
              </a:rPr>
              <a:t>He has overseen more than 780 market research projects and over 50 global management consulting projects, as well as more than 30 decision tree analyses, including 15 at McKinsey &amp; Company (New York Office) and </a:t>
            </a:r>
            <a:r>
              <a:rPr lang="en-US" sz="1200" spc="-35" dirty="0" err="1">
                <a:solidFill>
                  <a:srgbClr val="6650B6"/>
                </a:solidFill>
                <a:latin typeface="Poppins"/>
              </a:rPr>
              <a:t>Advantis</a:t>
            </a:r>
            <a:r>
              <a:rPr lang="en-US" sz="1200" spc="-35" dirty="0">
                <a:solidFill>
                  <a:srgbClr val="6650B6"/>
                </a:solidFill>
                <a:latin typeface="Poppins"/>
              </a:rPr>
              <a:t> </a:t>
            </a:r>
            <a:r>
              <a:rPr lang="en-US" sz="1200" spc="-35" dirty="0" err="1">
                <a:solidFill>
                  <a:srgbClr val="6650B6"/>
                </a:solidFill>
                <a:latin typeface="Poppins"/>
              </a:rPr>
              <a:t>Consultoría</a:t>
            </a:r>
            <a:r>
              <a:rPr lang="en-US" sz="1200" spc="-35" dirty="0">
                <a:solidFill>
                  <a:srgbClr val="6650B6"/>
                </a:solidFill>
                <a:latin typeface="Poppins"/>
              </a:rPr>
              <a:t> </a:t>
            </a:r>
            <a:r>
              <a:rPr lang="en-US" sz="1200" spc="-35" dirty="0" err="1">
                <a:solidFill>
                  <a:srgbClr val="6650B6"/>
                </a:solidFill>
                <a:latin typeface="Poppins"/>
              </a:rPr>
              <a:t>Gerencial</a:t>
            </a:r>
            <a:r>
              <a:rPr lang="en-US" sz="1200" spc="-35" dirty="0">
                <a:solidFill>
                  <a:srgbClr val="6650B6"/>
                </a:solidFill>
                <a:latin typeface="Poppins"/>
              </a:rPr>
              <a:t> (OVAL </a:t>
            </a:r>
            <a:r>
              <a:rPr lang="en-US" sz="1200" spc="-35" dirty="0" err="1">
                <a:solidFill>
                  <a:srgbClr val="6650B6"/>
                </a:solidFill>
                <a:latin typeface="Poppins"/>
              </a:rPr>
              <a:t>Consultores</a:t>
            </a:r>
            <a:r>
              <a:rPr lang="en-US" sz="1200" spc="-35" dirty="0">
                <a:solidFill>
                  <a:srgbClr val="6650B6"/>
                </a:solidFill>
                <a:latin typeface="Poppins"/>
              </a:rPr>
              <a:t>).</a:t>
            </a:r>
          </a:p>
          <a:p>
            <a:endParaRPr lang="en-US" sz="1200" spc="-35" dirty="0">
              <a:solidFill>
                <a:srgbClr val="6650B6"/>
              </a:solidFill>
              <a:latin typeface="Poppins"/>
            </a:endParaRPr>
          </a:p>
          <a:p>
            <a:r>
              <a:rPr lang="en-US" sz="1200" spc="-35" dirty="0">
                <a:solidFill>
                  <a:srgbClr val="6650B6"/>
                </a:solidFill>
                <a:latin typeface="Poppins"/>
              </a:rPr>
              <a:t>A graduate of the Stern School of Business at NYU, he also has advanced analytics expertise from Georgia Tech and has been an invited lecturer on Artificial Intelligence trends.</a:t>
            </a:r>
          </a:p>
          <a:p>
            <a:pPr algn="ctr">
              <a:lnSpc>
                <a:spcPts val="924"/>
              </a:lnSpc>
            </a:pPr>
            <a:endParaRPr lang="es-CO" sz="1600" spc="-35" dirty="0">
              <a:solidFill>
                <a:srgbClr val="6650B6"/>
              </a:solidFill>
              <a:latin typeface="Poppins"/>
            </a:endParaRPr>
          </a:p>
          <a:p>
            <a:pPr algn="ctr">
              <a:lnSpc>
                <a:spcPts val="924"/>
              </a:lnSpc>
            </a:pPr>
            <a:endParaRPr lang="es-CO" sz="1600" spc="-35" dirty="0">
              <a:solidFill>
                <a:srgbClr val="6650B6"/>
              </a:solidFill>
              <a:latin typeface="Poppins"/>
            </a:endParaRPr>
          </a:p>
          <a:p>
            <a:pPr algn="ctr">
              <a:lnSpc>
                <a:spcPts val="924"/>
              </a:lnSpc>
            </a:pPr>
            <a:endParaRPr lang="es-CO" sz="1600" spc="-35" dirty="0">
              <a:solidFill>
                <a:srgbClr val="6650B6"/>
              </a:solidFill>
              <a:latin typeface="Poppins"/>
            </a:endParaRPr>
          </a:p>
          <a:p>
            <a:pPr algn="ctr">
              <a:lnSpc>
                <a:spcPts val="924"/>
              </a:lnSpc>
            </a:pPr>
            <a:endParaRPr lang="es-CO" sz="1600" spc="-35" dirty="0">
              <a:solidFill>
                <a:srgbClr val="6650B6"/>
              </a:solidFill>
              <a:latin typeface="Poppins"/>
            </a:endParaRPr>
          </a:p>
          <a:p>
            <a:pPr algn="ctr">
              <a:lnSpc>
                <a:spcPts val="924"/>
              </a:lnSpc>
            </a:pPr>
            <a:endParaRPr lang="es-CO" b="1" spc="-35" dirty="0">
              <a:solidFill>
                <a:srgbClr val="6650B6"/>
              </a:solidFill>
              <a:latin typeface="Poppins Bold"/>
            </a:endParaRPr>
          </a:p>
        </p:txBody>
      </p:sp>
      <p:sp>
        <p:nvSpPr>
          <p:cNvPr id="5" name="TextBox 28">
            <a:extLst>
              <a:ext uri="{FF2B5EF4-FFF2-40B4-BE49-F238E27FC236}">
                <a16:creationId xmlns:a16="http://schemas.microsoft.com/office/drawing/2014/main" id="{7A836095-9EFF-1C14-FB08-230FD667BF73}"/>
              </a:ext>
            </a:extLst>
          </p:cNvPr>
          <p:cNvSpPr txBox="1"/>
          <p:nvPr/>
        </p:nvSpPr>
        <p:spPr>
          <a:xfrm>
            <a:off x="7323480" y="2396918"/>
            <a:ext cx="3817506" cy="3465436"/>
          </a:xfrm>
          <a:prstGeom prst="rect">
            <a:avLst/>
          </a:prstGeom>
        </p:spPr>
        <p:txBody>
          <a:bodyPr wrap="square" lIns="0" tIns="0" rIns="0" bIns="0" rtlCol="0" anchor="t">
            <a:spAutoFit/>
          </a:bodyPr>
          <a:lstStyle/>
          <a:p>
            <a:pPr algn="ctr"/>
            <a:r>
              <a:rPr lang="es-CO" sz="2400" spc="-45" dirty="0">
                <a:solidFill>
                  <a:srgbClr val="6650B6"/>
                </a:solidFill>
                <a:latin typeface="Poppins Bold"/>
              </a:rPr>
              <a:t>Jordi Monso</a:t>
            </a:r>
          </a:p>
          <a:p>
            <a:pPr algn="ctr">
              <a:lnSpc>
                <a:spcPts val="792"/>
              </a:lnSpc>
            </a:pPr>
            <a:r>
              <a:rPr lang="es-CO" sz="1100" spc="-30" dirty="0">
                <a:solidFill>
                  <a:srgbClr val="6650B6"/>
                </a:solidFill>
                <a:latin typeface="Poppins Bold"/>
              </a:rPr>
              <a:t>Socio &amp; Asesor en IOTA </a:t>
            </a:r>
            <a:r>
              <a:rPr lang="es-CO" sz="1100" spc="-30" dirty="0" err="1">
                <a:solidFill>
                  <a:srgbClr val="6650B6"/>
                </a:solidFill>
                <a:latin typeface="Poppins Bold"/>
              </a:rPr>
              <a:t>Impact</a:t>
            </a:r>
            <a:endParaRPr lang="es-CO" sz="1100" spc="-30" dirty="0">
              <a:solidFill>
                <a:srgbClr val="6650B6"/>
              </a:solidFill>
              <a:latin typeface="Poppins Bold"/>
            </a:endParaRPr>
          </a:p>
          <a:p>
            <a:pPr algn="ctr">
              <a:lnSpc>
                <a:spcPts val="792"/>
              </a:lnSpc>
            </a:pPr>
            <a:endParaRPr lang="es-CO" sz="1100" spc="-30" dirty="0">
              <a:solidFill>
                <a:srgbClr val="6650B6"/>
              </a:solidFill>
              <a:latin typeface="Poppins Bold"/>
            </a:endParaRPr>
          </a:p>
          <a:p>
            <a:r>
              <a:rPr lang="en-US" sz="1200" spc="-35" dirty="0">
                <a:solidFill>
                  <a:srgbClr val="6650B6"/>
                </a:solidFill>
                <a:latin typeface="Poppins"/>
              </a:rPr>
              <a:t>An expert in growth and strategy, with a focus on technology and analytics.</a:t>
            </a:r>
          </a:p>
          <a:p>
            <a:endParaRPr lang="en-US" sz="1200" spc="-35" dirty="0">
              <a:solidFill>
                <a:srgbClr val="6650B6"/>
              </a:solidFill>
              <a:latin typeface="Poppins"/>
            </a:endParaRPr>
          </a:p>
          <a:p>
            <a:r>
              <a:rPr lang="en-US" sz="1200" spc="-35" dirty="0">
                <a:solidFill>
                  <a:srgbClr val="6650B6"/>
                </a:solidFill>
                <a:latin typeface="Poppins"/>
              </a:rPr>
              <a:t>He currently leads the Innovation and Artificial Intelligence division at IOTA Impact.</a:t>
            </a:r>
          </a:p>
          <a:p>
            <a:endParaRPr lang="en-US" sz="1200" spc="-35" dirty="0">
              <a:solidFill>
                <a:srgbClr val="6650B6"/>
              </a:solidFill>
              <a:latin typeface="Poppins"/>
            </a:endParaRPr>
          </a:p>
          <a:p>
            <a:r>
              <a:rPr lang="en-US" sz="1200" spc="-35" dirty="0">
                <a:solidFill>
                  <a:srgbClr val="6650B6"/>
                </a:solidFill>
                <a:latin typeface="Poppins"/>
              </a:rPr>
              <a:t>He has over 21 years of experience in consulting and analytics, which he developed at McKinsey &amp; Company (New York), where he eventually became a partner at the firm.</a:t>
            </a:r>
          </a:p>
          <a:p>
            <a:endParaRPr lang="en-US" sz="1200" spc="-35" dirty="0">
              <a:solidFill>
                <a:srgbClr val="6650B6"/>
              </a:solidFill>
              <a:latin typeface="Poppins"/>
            </a:endParaRPr>
          </a:p>
          <a:p>
            <a:r>
              <a:rPr lang="en-US" sz="1200" spc="-35" dirty="0">
                <a:solidFill>
                  <a:srgbClr val="6650B6"/>
                </a:solidFill>
                <a:latin typeface="Poppins"/>
              </a:rPr>
              <a:t>Jordi holds an MS from the University of Catalonia and an MBA from New York University.</a:t>
            </a:r>
          </a:p>
          <a:p>
            <a:pPr>
              <a:lnSpc>
                <a:spcPts val="924"/>
              </a:lnSpc>
            </a:pPr>
            <a:endParaRPr lang="es-CO" sz="1400" spc="-35" dirty="0">
              <a:solidFill>
                <a:srgbClr val="6650B6"/>
              </a:solidFill>
              <a:latin typeface="Poppins"/>
            </a:endParaRPr>
          </a:p>
          <a:p>
            <a:pPr>
              <a:lnSpc>
                <a:spcPts val="924"/>
              </a:lnSpc>
            </a:pPr>
            <a:endParaRPr lang="es-CO" sz="1400" spc="-35" dirty="0">
              <a:solidFill>
                <a:srgbClr val="6650B6"/>
              </a:solidFill>
              <a:latin typeface="Poppins"/>
            </a:endParaRPr>
          </a:p>
          <a:p>
            <a:pPr>
              <a:lnSpc>
                <a:spcPts val="924"/>
              </a:lnSpc>
            </a:pPr>
            <a:endParaRPr lang="es-CO" sz="1400" spc="-35" dirty="0">
              <a:solidFill>
                <a:srgbClr val="6650B6"/>
              </a:solidFill>
              <a:latin typeface="Poppins"/>
            </a:endParaRPr>
          </a:p>
          <a:p>
            <a:pPr>
              <a:lnSpc>
                <a:spcPts val="924"/>
              </a:lnSpc>
            </a:pPr>
            <a:endParaRPr lang="es-CO" sz="1600" b="1" spc="-35" dirty="0">
              <a:solidFill>
                <a:srgbClr val="6650B6"/>
              </a:solidFill>
              <a:latin typeface="Poppins Bold"/>
            </a:endParaRPr>
          </a:p>
        </p:txBody>
      </p:sp>
      <p:pic>
        <p:nvPicPr>
          <p:cNvPr id="10" name="Imagen 9">
            <a:extLst>
              <a:ext uri="{FF2B5EF4-FFF2-40B4-BE49-F238E27FC236}">
                <a16:creationId xmlns:a16="http://schemas.microsoft.com/office/drawing/2014/main" id="{69110AD7-88B0-D97D-342E-8338D76A811A}"/>
              </a:ext>
            </a:extLst>
          </p:cNvPr>
          <p:cNvPicPr>
            <a:picLocks noChangeAspect="1"/>
          </p:cNvPicPr>
          <p:nvPr/>
        </p:nvPicPr>
        <p:blipFill>
          <a:blip r:embed="rId3"/>
          <a:stretch>
            <a:fillRect/>
          </a:stretch>
        </p:blipFill>
        <p:spPr>
          <a:xfrm>
            <a:off x="8439460" y="1046768"/>
            <a:ext cx="1302505" cy="1302505"/>
          </a:xfrm>
          <a:prstGeom prst="rect">
            <a:avLst/>
          </a:prstGeom>
        </p:spPr>
      </p:pic>
      <p:pic>
        <p:nvPicPr>
          <p:cNvPr id="2" name="Picture 2" descr="Belcorp | Brands of the World™ | Download vector logos and ...">
            <a:extLst>
              <a:ext uri="{FF2B5EF4-FFF2-40B4-BE49-F238E27FC236}">
                <a16:creationId xmlns:a16="http://schemas.microsoft.com/office/drawing/2014/main" id="{165250B7-76D4-0B44-3691-D2787D931C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31245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A1C91E4D-A927-263A-8677-2AE4226F53B3}"/>
              </a:ext>
            </a:extLst>
          </p:cNvPr>
          <p:cNvSpPr txBox="1">
            <a:spLocks/>
          </p:cNvSpPr>
          <p:nvPr/>
        </p:nvSpPr>
        <p:spPr>
          <a:xfrm>
            <a:off x="1788806" y="2095499"/>
            <a:ext cx="2766691" cy="989223"/>
          </a:xfrm>
          <a:prstGeom prst="rect">
            <a:avLst/>
          </a:prstGeom>
        </p:spPr>
        <p:txBody>
          <a:bodyPr vert="horz" lIns="91440" tIns="45720" rIns="91440" bIns="45720" rtlCol="0" anchor="ct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sz="3200" spc="-150">
                <a:solidFill>
                  <a:schemeClr val="bg1"/>
                </a:solidFill>
                <a:cs typeface="Poppins"/>
              </a:rPr>
              <a:t>Table of </a:t>
            </a:r>
            <a:r>
              <a:rPr lang="en-US" sz="3200" spc="-150">
                <a:solidFill>
                  <a:srgbClr val="8D80FF"/>
                </a:solidFill>
                <a:cs typeface="Poppins"/>
              </a:rPr>
              <a:t>Contents</a:t>
            </a:r>
            <a:endParaRPr lang="en-US" sz="3200" spc="-150">
              <a:cs typeface="Poppins"/>
            </a:endParaRPr>
          </a:p>
        </p:txBody>
      </p:sp>
      <p:sp>
        <p:nvSpPr>
          <p:cNvPr id="2" name="Título 1">
            <a:extLst>
              <a:ext uri="{FF2B5EF4-FFF2-40B4-BE49-F238E27FC236}">
                <a16:creationId xmlns:a16="http://schemas.microsoft.com/office/drawing/2014/main" id="{A86DA8EC-1903-128F-E14B-040B8E6207E1}"/>
              </a:ext>
            </a:extLst>
          </p:cNvPr>
          <p:cNvSpPr txBox="1">
            <a:spLocks/>
          </p:cNvSpPr>
          <p:nvPr/>
        </p:nvSpPr>
        <p:spPr>
          <a:xfrm>
            <a:off x="2557725" y="3978408"/>
            <a:ext cx="6379787" cy="9892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150000"/>
              </a:lnSpc>
            </a:pPr>
            <a:r>
              <a:rPr lang="en-US" sz="1800">
                <a:solidFill>
                  <a:schemeClr val="bg1"/>
                </a:solidFill>
                <a:cs typeface="Poppins"/>
              </a:rPr>
              <a:t>The Challenge</a:t>
            </a:r>
          </a:p>
          <a:p>
            <a:pPr algn="just">
              <a:lnSpc>
                <a:spcPct val="150000"/>
              </a:lnSpc>
            </a:pPr>
            <a:r>
              <a:rPr lang="en-US" sz="1800">
                <a:solidFill>
                  <a:schemeClr val="bg1"/>
                </a:solidFill>
                <a:ea typeface="+mj-lt"/>
                <a:cs typeface="Poppins"/>
              </a:rPr>
              <a:t>Methodology</a:t>
            </a:r>
            <a:endParaRPr lang="en-US" sz="1800">
              <a:solidFill>
                <a:schemeClr val="bg1"/>
              </a:solidFill>
              <a:ea typeface="+mj-lt"/>
              <a:cs typeface="+mj-lt"/>
            </a:endParaRPr>
          </a:p>
          <a:p>
            <a:pPr algn="just">
              <a:lnSpc>
                <a:spcPct val="150000"/>
              </a:lnSpc>
            </a:pPr>
            <a:r>
              <a:rPr lang="en-US" sz="1800">
                <a:solidFill>
                  <a:schemeClr val="bg1"/>
                </a:solidFill>
                <a:ea typeface="+mj-lt"/>
                <a:cs typeface="+mj-lt"/>
              </a:rPr>
              <a:t>Team &amp; Timeline</a:t>
            </a:r>
          </a:p>
          <a:p>
            <a:pPr algn="just">
              <a:lnSpc>
                <a:spcPct val="150000"/>
              </a:lnSpc>
            </a:pPr>
            <a:r>
              <a:rPr lang="en-US" sz="1800">
                <a:solidFill>
                  <a:schemeClr val="bg1"/>
                </a:solidFill>
                <a:ea typeface="+mj-lt"/>
                <a:cs typeface="+mj-lt"/>
              </a:rPr>
              <a:t>Investment</a:t>
            </a:r>
          </a:p>
          <a:p>
            <a:pPr algn="just">
              <a:lnSpc>
                <a:spcPct val="150000"/>
              </a:lnSpc>
            </a:pPr>
            <a:r>
              <a:rPr lang="en-US" sz="1800">
                <a:solidFill>
                  <a:schemeClr val="bg1"/>
                </a:solidFill>
                <a:ea typeface="+mj-lt"/>
                <a:cs typeface="+mj-lt"/>
              </a:rPr>
              <a:t>IOTA Impact</a:t>
            </a:r>
            <a:endParaRPr lang="en-US">
              <a:solidFill>
                <a:schemeClr val="bg1"/>
              </a:solidFill>
              <a:ea typeface="+mj-lt"/>
              <a:cs typeface="+mj-lt"/>
            </a:endParaRPr>
          </a:p>
          <a:p>
            <a:pPr algn="just"/>
            <a:endParaRPr lang="en-US" sz="1800">
              <a:solidFill>
                <a:schemeClr val="bg2">
                  <a:lumMod val="25000"/>
                </a:schemeClr>
              </a:solidFill>
              <a:latin typeface="Poppins"/>
              <a:cs typeface="Poppins"/>
            </a:endParaRPr>
          </a:p>
          <a:p>
            <a:pPr algn="just"/>
            <a:endParaRPr lang="en-US" sz="1200">
              <a:solidFill>
                <a:schemeClr val="bg2">
                  <a:lumMod val="25000"/>
                </a:schemeClr>
              </a:solidFill>
              <a:latin typeface="Poppins"/>
              <a:cs typeface="Poppins"/>
            </a:endParaRPr>
          </a:p>
        </p:txBody>
      </p:sp>
      <p:sp>
        <p:nvSpPr>
          <p:cNvPr id="3" name="Google Shape;289;p35">
            <a:extLst>
              <a:ext uri="{FF2B5EF4-FFF2-40B4-BE49-F238E27FC236}">
                <a16:creationId xmlns:a16="http://schemas.microsoft.com/office/drawing/2014/main" id="{447110E1-A7FF-F484-811C-77653870F499}"/>
              </a:ext>
            </a:extLst>
          </p:cNvPr>
          <p:cNvSpPr txBox="1">
            <a:spLocks noGrp="1"/>
          </p:cNvSpPr>
          <p:nvPr/>
        </p:nvSpPr>
        <p:spPr>
          <a:xfrm>
            <a:off x="1859308" y="3278110"/>
            <a:ext cx="699770" cy="346010"/>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lvl1pPr lvl="0" algn="r" defTabSz="685800" rtl="0" eaLnBrk="1" latinLnBrk="0" hangingPunct="1">
              <a:lnSpc>
                <a:spcPct val="115000"/>
              </a:lnSpc>
              <a:spcBef>
                <a:spcPts val="0"/>
              </a:spcBef>
              <a:spcAft>
                <a:spcPts val="0"/>
              </a:spcAft>
              <a:buSzPts val="3000"/>
              <a:buNone/>
              <a:defRPr sz="3100" b="0" i="0" kern="1200">
                <a:solidFill>
                  <a:schemeClr val="lt1"/>
                </a:solidFill>
                <a:latin typeface="+mj-lt"/>
                <a:ea typeface="+mj-ea"/>
                <a:cs typeface="+mj-cs"/>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pPr marL="0" lvl="0" indent="0" algn="r" rtl="0">
              <a:spcBef>
                <a:spcPts val="0"/>
              </a:spcBef>
              <a:spcAft>
                <a:spcPts val="0"/>
              </a:spcAft>
              <a:buNone/>
            </a:pPr>
            <a:r>
              <a:rPr lang="en" sz="1800" b="1">
                <a:solidFill>
                  <a:schemeClr val="bg1"/>
                </a:solidFill>
              </a:rPr>
              <a:t>01</a:t>
            </a:r>
            <a:endParaRPr sz="1800" b="1">
              <a:solidFill>
                <a:schemeClr val="bg1"/>
              </a:solidFill>
            </a:endParaRPr>
          </a:p>
        </p:txBody>
      </p:sp>
      <p:sp>
        <p:nvSpPr>
          <p:cNvPr id="7" name="object 6">
            <a:extLst>
              <a:ext uri="{FF2B5EF4-FFF2-40B4-BE49-F238E27FC236}">
                <a16:creationId xmlns:a16="http://schemas.microsoft.com/office/drawing/2014/main" id="{B3C95BAB-4F03-E41F-4809-DA83293F88EE}"/>
              </a:ext>
            </a:extLst>
          </p:cNvPr>
          <p:cNvSpPr/>
          <p:nvPr/>
        </p:nvSpPr>
        <p:spPr>
          <a:xfrm rot="5400000">
            <a:off x="798778" y="2025545"/>
            <a:ext cx="1134992" cy="983362"/>
          </a:xfrm>
          <a:custGeom>
            <a:avLst/>
            <a:gdLst/>
            <a:ahLst/>
            <a:cxnLst/>
            <a:rect l="l" t="t" r="r" b="b"/>
            <a:pathLst>
              <a:path w="646429" h="560070">
                <a:moveTo>
                  <a:pt x="323138" y="0"/>
                </a:moveTo>
                <a:lnTo>
                  <a:pt x="0" y="559701"/>
                </a:lnTo>
                <a:lnTo>
                  <a:pt x="164007" y="559701"/>
                </a:lnTo>
                <a:lnTo>
                  <a:pt x="323138" y="284086"/>
                </a:lnTo>
                <a:lnTo>
                  <a:pt x="482269" y="559701"/>
                </a:lnTo>
                <a:lnTo>
                  <a:pt x="646277" y="559701"/>
                </a:lnTo>
                <a:lnTo>
                  <a:pt x="323138" y="0"/>
                </a:lnTo>
                <a:close/>
              </a:path>
            </a:pathLst>
          </a:custGeom>
          <a:solidFill>
            <a:srgbClr val="8D80FF">
              <a:alpha val="20000"/>
            </a:srgbClr>
          </a:solidFill>
        </p:spPr>
        <p:txBody>
          <a:bodyPr wrap="square" lIns="0" tIns="0" rIns="0" bIns="0" rtlCol="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a:p>
        </p:txBody>
      </p:sp>
      <p:sp>
        <p:nvSpPr>
          <p:cNvPr id="8" name="Google Shape;289;p35">
            <a:extLst>
              <a:ext uri="{FF2B5EF4-FFF2-40B4-BE49-F238E27FC236}">
                <a16:creationId xmlns:a16="http://schemas.microsoft.com/office/drawing/2014/main" id="{55EAF3A6-4C2D-0933-CC80-2496AB8A0B1F}"/>
              </a:ext>
            </a:extLst>
          </p:cNvPr>
          <p:cNvSpPr txBox="1">
            <a:spLocks noGrp="1"/>
          </p:cNvSpPr>
          <p:nvPr/>
        </p:nvSpPr>
        <p:spPr>
          <a:xfrm>
            <a:off x="1859308" y="3689859"/>
            <a:ext cx="699770" cy="346010"/>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lvl1pPr lvl="0" algn="r" defTabSz="685800" rtl="0" eaLnBrk="1" latinLnBrk="0" hangingPunct="1">
              <a:lnSpc>
                <a:spcPct val="115000"/>
              </a:lnSpc>
              <a:spcBef>
                <a:spcPts val="0"/>
              </a:spcBef>
              <a:spcAft>
                <a:spcPts val="0"/>
              </a:spcAft>
              <a:buSzPts val="3000"/>
              <a:buNone/>
              <a:defRPr sz="3100" b="0" i="0" kern="1200">
                <a:solidFill>
                  <a:schemeClr val="lt1"/>
                </a:solidFill>
                <a:latin typeface="+mj-lt"/>
                <a:ea typeface="+mj-ea"/>
                <a:cs typeface="+mj-cs"/>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pPr marL="0" lvl="0" indent="0" algn="r" rtl="0">
              <a:spcBef>
                <a:spcPts val="0"/>
              </a:spcBef>
              <a:spcAft>
                <a:spcPts val="0"/>
              </a:spcAft>
              <a:buNone/>
            </a:pPr>
            <a:r>
              <a:rPr lang="en" sz="1800" b="1">
                <a:solidFill>
                  <a:schemeClr val="bg1"/>
                </a:solidFill>
              </a:rPr>
              <a:t>02</a:t>
            </a:r>
            <a:endParaRPr sz="1800" b="1">
              <a:solidFill>
                <a:schemeClr val="bg1"/>
              </a:solidFill>
            </a:endParaRPr>
          </a:p>
        </p:txBody>
      </p:sp>
      <p:sp>
        <p:nvSpPr>
          <p:cNvPr id="9" name="Google Shape;289;p35">
            <a:extLst>
              <a:ext uri="{FF2B5EF4-FFF2-40B4-BE49-F238E27FC236}">
                <a16:creationId xmlns:a16="http://schemas.microsoft.com/office/drawing/2014/main" id="{964FE2A1-94A2-97B2-3E7A-BF2B68329027}"/>
              </a:ext>
            </a:extLst>
          </p:cNvPr>
          <p:cNvSpPr txBox="1">
            <a:spLocks noGrp="1"/>
          </p:cNvSpPr>
          <p:nvPr/>
        </p:nvSpPr>
        <p:spPr>
          <a:xfrm>
            <a:off x="1857955" y="4101608"/>
            <a:ext cx="699770" cy="346010"/>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lvl1pPr lvl="0" algn="r" defTabSz="685800" rtl="0" eaLnBrk="1" latinLnBrk="0" hangingPunct="1">
              <a:lnSpc>
                <a:spcPct val="115000"/>
              </a:lnSpc>
              <a:spcBef>
                <a:spcPts val="0"/>
              </a:spcBef>
              <a:spcAft>
                <a:spcPts val="0"/>
              </a:spcAft>
              <a:buSzPts val="3000"/>
              <a:buNone/>
              <a:defRPr sz="3100" b="0" i="0" kern="1200">
                <a:solidFill>
                  <a:schemeClr val="lt1"/>
                </a:solidFill>
                <a:latin typeface="+mj-lt"/>
                <a:ea typeface="+mj-ea"/>
                <a:cs typeface="+mj-cs"/>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pPr marL="0" lvl="0" indent="0" algn="r" rtl="0">
              <a:spcBef>
                <a:spcPts val="0"/>
              </a:spcBef>
              <a:spcAft>
                <a:spcPts val="0"/>
              </a:spcAft>
              <a:buNone/>
            </a:pPr>
            <a:r>
              <a:rPr lang="en" sz="1800" b="1">
                <a:solidFill>
                  <a:schemeClr val="bg1"/>
                </a:solidFill>
              </a:rPr>
              <a:t>03</a:t>
            </a:r>
            <a:endParaRPr sz="1800" b="1">
              <a:solidFill>
                <a:schemeClr val="bg1"/>
              </a:solidFill>
            </a:endParaRPr>
          </a:p>
        </p:txBody>
      </p:sp>
      <p:pic>
        <p:nvPicPr>
          <p:cNvPr id="16" name="Imagen 15">
            <a:extLst>
              <a:ext uri="{FF2B5EF4-FFF2-40B4-BE49-F238E27FC236}">
                <a16:creationId xmlns:a16="http://schemas.microsoft.com/office/drawing/2014/main" id="{62205220-76E6-DC10-B05D-CCDC303319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4000" y="1590"/>
            <a:ext cx="6858000" cy="6858000"/>
          </a:xfrm>
          <a:prstGeom prst="rect">
            <a:avLst/>
          </a:prstGeom>
        </p:spPr>
      </p:pic>
      <p:sp>
        <p:nvSpPr>
          <p:cNvPr id="4" name="Google Shape;289;p35">
            <a:extLst>
              <a:ext uri="{FF2B5EF4-FFF2-40B4-BE49-F238E27FC236}">
                <a16:creationId xmlns:a16="http://schemas.microsoft.com/office/drawing/2014/main" id="{7D33EECE-991E-89C5-F9CE-E6F60F530918}"/>
              </a:ext>
            </a:extLst>
          </p:cNvPr>
          <p:cNvSpPr txBox="1">
            <a:spLocks noGrp="1"/>
          </p:cNvSpPr>
          <p:nvPr/>
        </p:nvSpPr>
        <p:spPr>
          <a:xfrm>
            <a:off x="1857951" y="4526158"/>
            <a:ext cx="699770" cy="346010"/>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lvl1pPr lvl="0" algn="r" defTabSz="685800" rtl="0" eaLnBrk="1" latinLnBrk="0" hangingPunct="1">
              <a:lnSpc>
                <a:spcPct val="115000"/>
              </a:lnSpc>
              <a:spcBef>
                <a:spcPts val="0"/>
              </a:spcBef>
              <a:spcAft>
                <a:spcPts val="0"/>
              </a:spcAft>
              <a:buSzPts val="3000"/>
              <a:buNone/>
              <a:defRPr sz="3100" b="0" i="0" kern="1200">
                <a:solidFill>
                  <a:schemeClr val="lt1"/>
                </a:solidFill>
                <a:latin typeface="+mj-lt"/>
                <a:ea typeface="+mj-ea"/>
                <a:cs typeface="+mj-cs"/>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pPr marL="0" lvl="0" indent="0" algn="r" rtl="0">
              <a:spcBef>
                <a:spcPts val="0"/>
              </a:spcBef>
              <a:spcAft>
                <a:spcPts val="0"/>
              </a:spcAft>
              <a:buNone/>
            </a:pPr>
            <a:r>
              <a:rPr lang="en" sz="1800" b="1">
                <a:solidFill>
                  <a:schemeClr val="bg1"/>
                </a:solidFill>
              </a:rPr>
              <a:t>04</a:t>
            </a:r>
            <a:endParaRPr sz="1800" b="1">
              <a:solidFill>
                <a:schemeClr val="bg1"/>
              </a:solidFill>
            </a:endParaRPr>
          </a:p>
        </p:txBody>
      </p:sp>
      <p:sp>
        <p:nvSpPr>
          <p:cNvPr id="5" name="Google Shape;289;p35">
            <a:extLst>
              <a:ext uri="{FF2B5EF4-FFF2-40B4-BE49-F238E27FC236}">
                <a16:creationId xmlns:a16="http://schemas.microsoft.com/office/drawing/2014/main" id="{13856768-0570-75D1-21EA-17051E2B327B}"/>
              </a:ext>
            </a:extLst>
          </p:cNvPr>
          <p:cNvSpPr txBox="1">
            <a:spLocks noGrp="1"/>
          </p:cNvSpPr>
          <p:nvPr/>
        </p:nvSpPr>
        <p:spPr>
          <a:xfrm>
            <a:off x="1857947" y="4950708"/>
            <a:ext cx="699770" cy="346010"/>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lvl1pPr lvl="0" algn="r" defTabSz="685800" rtl="0" eaLnBrk="1" latinLnBrk="0" hangingPunct="1">
              <a:lnSpc>
                <a:spcPct val="115000"/>
              </a:lnSpc>
              <a:spcBef>
                <a:spcPts val="0"/>
              </a:spcBef>
              <a:spcAft>
                <a:spcPts val="0"/>
              </a:spcAft>
              <a:buSzPts val="3000"/>
              <a:buNone/>
              <a:defRPr sz="3100" b="0" i="0" kern="1200">
                <a:solidFill>
                  <a:schemeClr val="lt1"/>
                </a:solidFill>
                <a:latin typeface="+mj-lt"/>
                <a:ea typeface="+mj-ea"/>
                <a:cs typeface="+mj-cs"/>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pPr marL="0" lvl="0" indent="0" algn="r" rtl="0">
              <a:spcBef>
                <a:spcPts val="0"/>
              </a:spcBef>
              <a:spcAft>
                <a:spcPts val="0"/>
              </a:spcAft>
              <a:buNone/>
            </a:pPr>
            <a:r>
              <a:rPr lang="en" sz="1800" b="1">
                <a:solidFill>
                  <a:schemeClr val="bg1"/>
                </a:solidFill>
              </a:rPr>
              <a:t>05</a:t>
            </a:r>
            <a:endParaRPr sz="1800" b="1">
              <a:solidFill>
                <a:schemeClr val="bg1"/>
              </a:solidFill>
            </a:endParaRPr>
          </a:p>
        </p:txBody>
      </p:sp>
    </p:spTree>
    <p:extLst>
      <p:ext uri="{BB962C8B-B14F-4D97-AF65-F5344CB8AC3E}">
        <p14:creationId xmlns:p14="http://schemas.microsoft.com/office/powerpoint/2010/main" val="13565600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TextBox 163">
            <a:extLst>
              <a:ext uri="{FF2B5EF4-FFF2-40B4-BE49-F238E27FC236}">
                <a16:creationId xmlns:a16="http://schemas.microsoft.com/office/drawing/2014/main" id="{0306ED7E-7297-F54B-9EA4-1279F55C80B7}"/>
              </a:ext>
            </a:extLst>
          </p:cNvPr>
          <p:cNvSpPr txBox="1"/>
          <p:nvPr/>
        </p:nvSpPr>
        <p:spPr>
          <a:xfrm>
            <a:off x="1296923" y="1401506"/>
            <a:ext cx="526106" cy="553998"/>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FFFFFF"/>
                </a:solidFill>
                <a:effectLst/>
                <a:uLnTx/>
                <a:uFillTx/>
                <a:latin typeface="Poppins" pitchFamily="2" charset="77"/>
                <a:ea typeface="League Spartan" charset="0"/>
                <a:cs typeface="Poppins" pitchFamily="2" charset="77"/>
              </a:rPr>
              <a:t>3.</a:t>
            </a:r>
          </a:p>
        </p:txBody>
      </p:sp>
      <p:sp>
        <p:nvSpPr>
          <p:cNvPr id="3" name="Título 3">
            <a:extLst>
              <a:ext uri="{FF2B5EF4-FFF2-40B4-BE49-F238E27FC236}">
                <a16:creationId xmlns:a16="http://schemas.microsoft.com/office/drawing/2014/main" id="{F356FAD2-A810-E16B-5FF4-B48AB71E4214}"/>
              </a:ext>
            </a:extLst>
          </p:cNvPr>
          <p:cNvSpPr>
            <a:spLocks noGrp="1"/>
          </p:cNvSpPr>
          <p:nvPr>
            <p:ph type="title"/>
          </p:nvPr>
        </p:nvSpPr>
        <p:spPr>
          <a:xfrm>
            <a:off x="859971" y="238499"/>
            <a:ext cx="10758288" cy="798836"/>
          </a:xfrm>
        </p:spPr>
        <p:txBody>
          <a:bodyPr>
            <a:normAutofit/>
          </a:bodyPr>
          <a:lstStyle/>
          <a:p>
            <a:r>
              <a:rPr lang="en-US" sz="2000">
                <a:solidFill>
                  <a:srgbClr val="472C9B"/>
                </a:solidFill>
                <a:latin typeface="Poppins Medium"/>
                <a:cs typeface="Poppins Medium"/>
              </a:rPr>
              <a:t>Proposed Timeline for the Planning Exercise:</a:t>
            </a:r>
          </a:p>
        </p:txBody>
      </p:sp>
      <p:sp>
        <p:nvSpPr>
          <p:cNvPr id="2" name="Rectángulo 1">
            <a:extLst>
              <a:ext uri="{FF2B5EF4-FFF2-40B4-BE49-F238E27FC236}">
                <a16:creationId xmlns:a16="http://schemas.microsoft.com/office/drawing/2014/main" id="{272BE860-34DE-F4BE-3D4C-41380D40D630}"/>
              </a:ext>
            </a:extLst>
          </p:cNvPr>
          <p:cNvSpPr/>
          <p:nvPr/>
        </p:nvSpPr>
        <p:spPr>
          <a:xfrm>
            <a:off x="718457" y="6583680"/>
            <a:ext cx="11473543" cy="274320"/>
          </a:xfrm>
          <a:prstGeom prst="rect">
            <a:avLst/>
          </a:prstGeom>
          <a:solidFill>
            <a:srgbClr val="482C9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graphicFrame>
        <p:nvGraphicFramePr>
          <p:cNvPr id="10" name="Tabla 9">
            <a:extLst>
              <a:ext uri="{FF2B5EF4-FFF2-40B4-BE49-F238E27FC236}">
                <a16:creationId xmlns:a16="http://schemas.microsoft.com/office/drawing/2014/main" id="{CD559B65-00A4-8C68-2D1C-DBB7C8E57DD5}"/>
              </a:ext>
            </a:extLst>
          </p:cNvPr>
          <p:cNvGraphicFramePr>
            <a:graphicFrameLocks noGrp="1"/>
          </p:cNvGraphicFramePr>
          <p:nvPr>
            <p:extLst>
              <p:ext uri="{D42A27DB-BD31-4B8C-83A1-F6EECF244321}">
                <p14:modId xmlns:p14="http://schemas.microsoft.com/office/powerpoint/2010/main" val="1265432273"/>
              </p:ext>
            </p:extLst>
          </p:nvPr>
        </p:nvGraphicFramePr>
        <p:xfrm>
          <a:off x="838189" y="1037335"/>
          <a:ext cx="11147344" cy="5133104"/>
        </p:xfrm>
        <a:graphic>
          <a:graphicData uri="http://schemas.openxmlformats.org/drawingml/2006/table">
            <a:tbl>
              <a:tblPr/>
              <a:tblGrid>
                <a:gridCol w="1252556">
                  <a:extLst>
                    <a:ext uri="{9D8B030D-6E8A-4147-A177-3AD203B41FA5}">
                      <a16:colId xmlns:a16="http://schemas.microsoft.com/office/drawing/2014/main" val="684619042"/>
                    </a:ext>
                  </a:extLst>
                </a:gridCol>
                <a:gridCol w="2744491">
                  <a:extLst>
                    <a:ext uri="{9D8B030D-6E8A-4147-A177-3AD203B41FA5}">
                      <a16:colId xmlns:a16="http://schemas.microsoft.com/office/drawing/2014/main" val="1189658366"/>
                    </a:ext>
                  </a:extLst>
                </a:gridCol>
                <a:gridCol w="119687">
                  <a:extLst>
                    <a:ext uri="{9D8B030D-6E8A-4147-A177-3AD203B41FA5}">
                      <a16:colId xmlns:a16="http://schemas.microsoft.com/office/drawing/2014/main" val="164650767"/>
                    </a:ext>
                  </a:extLst>
                </a:gridCol>
                <a:gridCol w="225446">
                  <a:extLst>
                    <a:ext uri="{9D8B030D-6E8A-4147-A177-3AD203B41FA5}">
                      <a16:colId xmlns:a16="http://schemas.microsoft.com/office/drawing/2014/main" val="2988738142"/>
                    </a:ext>
                  </a:extLst>
                </a:gridCol>
                <a:gridCol w="225446">
                  <a:extLst>
                    <a:ext uri="{9D8B030D-6E8A-4147-A177-3AD203B41FA5}">
                      <a16:colId xmlns:a16="http://schemas.microsoft.com/office/drawing/2014/main" val="3158326121"/>
                    </a:ext>
                  </a:extLst>
                </a:gridCol>
                <a:gridCol w="225446">
                  <a:extLst>
                    <a:ext uri="{9D8B030D-6E8A-4147-A177-3AD203B41FA5}">
                      <a16:colId xmlns:a16="http://schemas.microsoft.com/office/drawing/2014/main" val="1325712635"/>
                    </a:ext>
                  </a:extLst>
                </a:gridCol>
                <a:gridCol w="225446">
                  <a:extLst>
                    <a:ext uri="{9D8B030D-6E8A-4147-A177-3AD203B41FA5}">
                      <a16:colId xmlns:a16="http://schemas.microsoft.com/office/drawing/2014/main" val="1475259061"/>
                    </a:ext>
                  </a:extLst>
                </a:gridCol>
                <a:gridCol w="119687">
                  <a:extLst>
                    <a:ext uri="{9D8B030D-6E8A-4147-A177-3AD203B41FA5}">
                      <a16:colId xmlns:a16="http://schemas.microsoft.com/office/drawing/2014/main" val="3149210033"/>
                    </a:ext>
                  </a:extLst>
                </a:gridCol>
                <a:gridCol w="225446">
                  <a:extLst>
                    <a:ext uri="{9D8B030D-6E8A-4147-A177-3AD203B41FA5}">
                      <a16:colId xmlns:a16="http://schemas.microsoft.com/office/drawing/2014/main" val="662101407"/>
                    </a:ext>
                  </a:extLst>
                </a:gridCol>
                <a:gridCol w="225446">
                  <a:extLst>
                    <a:ext uri="{9D8B030D-6E8A-4147-A177-3AD203B41FA5}">
                      <a16:colId xmlns:a16="http://schemas.microsoft.com/office/drawing/2014/main" val="1559453374"/>
                    </a:ext>
                  </a:extLst>
                </a:gridCol>
                <a:gridCol w="225446">
                  <a:extLst>
                    <a:ext uri="{9D8B030D-6E8A-4147-A177-3AD203B41FA5}">
                      <a16:colId xmlns:a16="http://schemas.microsoft.com/office/drawing/2014/main" val="159177088"/>
                    </a:ext>
                  </a:extLst>
                </a:gridCol>
                <a:gridCol w="225446">
                  <a:extLst>
                    <a:ext uri="{9D8B030D-6E8A-4147-A177-3AD203B41FA5}">
                      <a16:colId xmlns:a16="http://schemas.microsoft.com/office/drawing/2014/main" val="2128473189"/>
                    </a:ext>
                  </a:extLst>
                </a:gridCol>
                <a:gridCol w="119687">
                  <a:extLst>
                    <a:ext uri="{9D8B030D-6E8A-4147-A177-3AD203B41FA5}">
                      <a16:colId xmlns:a16="http://schemas.microsoft.com/office/drawing/2014/main" val="1479602119"/>
                    </a:ext>
                  </a:extLst>
                </a:gridCol>
                <a:gridCol w="225446">
                  <a:extLst>
                    <a:ext uri="{9D8B030D-6E8A-4147-A177-3AD203B41FA5}">
                      <a16:colId xmlns:a16="http://schemas.microsoft.com/office/drawing/2014/main" val="4120431543"/>
                    </a:ext>
                  </a:extLst>
                </a:gridCol>
                <a:gridCol w="225446">
                  <a:extLst>
                    <a:ext uri="{9D8B030D-6E8A-4147-A177-3AD203B41FA5}">
                      <a16:colId xmlns:a16="http://schemas.microsoft.com/office/drawing/2014/main" val="587423829"/>
                    </a:ext>
                  </a:extLst>
                </a:gridCol>
                <a:gridCol w="225446">
                  <a:extLst>
                    <a:ext uri="{9D8B030D-6E8A-4147-A177-3AD203B41FA5}">
                      <a16:colId xmlns:a16="http://schemas.microsoft.com/office/drawing/2014/main" val="2108109391"/>
                    </a:ext>
                  </a:extLst>
                </a:gridCol>
                <a:gridCol w="225446">
                  <a:extLst>
                    <a:ext uri="{9D8B030D-6E8A-4147-A177-3AD203B41FA5}">
                      <a16:colId xmlns:a16="http://schemas.microsoft.com/office/drawing/2014/main" val="1478283200"/>
                    </a:ext>
                  </a:extLst>
                </a:gridCol>
                <a:gridCol w="119687">
                  <a:extLst>
                    <a:ext uri="{9D8B030D-6E8A-4147-A177-3AD203B41FA5}">
                      <a16:colId xmlns:a16="http://schemas.microsoft.com/office/drawing/2014/main" val="835047302"/>
                    </a:ext>
                  </a:extLst>
                </a:gridCol>
                <a:gridCol w="225446">
                  <a:extLst>
                    <a:ext uri="{9D8B030D-6E8A-4147-A177-3AD203B41FA5}">
                      <a16:colId xmlns:a16="http://schemas.microsoft.com/office/drawing/2014/main" val="656803996"/>
                    </a:ext>
                  </a:extLst>
                </a:gridCol>
                <a:gridCol w="225446">
                  <a:extLst>
                    <a:ext uri="{9D8B030D-6E8A-4147-A177-3AD203B41FA5}">
                      <a16:colId xmlns:a16="http://schemas.microsoft.com/office/drawing/2014/main" val="3106708885"/>
                    </a:ext>
                  </a:extLst>
                </a:gridCol>
                <a:gridCol w="225446">
                  <a:extLst>
                    <a:ext uri="{9D8B030D-6E8A-4147-A177-3AD203B41FA5}">
                      <a16:colId xmlns:a16="http://schemas.microsoft.com/office/drawing/2014/main" val="969727382"/>
                    </a:ext>
                  </a:extLst>
                </a:gridCol>
                <a:gridCol w="225446">
                  <a:extLst>
                    <a:ext uri="{9D8B030D-6E8A-4147-A177-3AD203B41FA5}">
                      <a16:colId xmlns:a16="http://schemas.microsoft.com/office/drawing/2014/main" val="4029942971"/>
                    </a:ext>
                  </a:extLst>
                </a:gridCol>
                <a:gridCol w="119687">
                  <a:extLst>
                    <a:ext uri="{9D8B030D-6E8A-4147-A177-3AD203B41FA5}">
                      <a16:colId xmlns:a16="http://schemas.microsoft.com/office/drawing/2014/main" val="2756135429"/>
                    </a:ext>
                  </a:extLst>
                </a:gridCol>
                <a:gridCol w="225446">
                  <a:extLst>
                    <a:ext uri="{9D8B030D-6E8A-4147-A177-3AD203B41FA5}">
                      <a16:colId xmlns:a16="http://schemas.microsoft.com/office/drawing/2014/main" val="3280345450"/>
                    </a:ext>
                  </a:extLst>
                </a:gridCol>
                <a:gridCol w="225446">
                  <a:extLst>
                    <a:ext uri="{9D8B030D-6E8A-4147-A177-3AD203B41FA5}">
                      <a16:colId xmlns:a16="http://schemas.microsoft.com/office/drawing/2014/main" val="1008089383"/>
                    </a:ext>
                  </a:extLst>
                </a:gridCol>
                <a:gridCol w="225446">
                  <a:extLst>
                    <a:ext uri="{9D8B030D-6E8A-4147-A177-3AD203B41FA5}">
                      <a16:colId xmlns:a16="http://schemas.microsoft.com/office/drawing/2014/main" val="2421867938"/>
                    </a:ext>
                  </a:extLst>
                </a:gridCol>
                <a:gridCol w="225446">
                  <a:extLst>
                    <a:ext uri="{9D8B030D-6E8A-4147-A177-3AD203B41FA5}">
                      <a16:colId xmlns:a16="http://schemas.microsoft.com/office/drawing/2014/main" val="2097741877"/>
                    </a:ext>
                  </a:extLst>
                </a:gridCol>
                <a:gridCol w="119687">
                  <a:extLst>
                    <a:ext uri="{9D8B030D-6E8A-4147-A177-3AD203B41FA5}">
                      <a16:colId xmlns:a16="http://schemas.microsoft.com/office/drawing/2014/main" val="2239689871"/>
                    </a:ext>
                  </a:extLst>
                </a:gridCol>
                <a:gridCol w="225446">
                  <a:extLst>
                    <a:ext uri="{9D8B030D-6E8A-4147-A177-3AD203B41FA5}">
                      <a16:colId xmlns:a16="http://schemas.microsoft.com/office/drawing/2014/main" val="295402399"/>
                    </a:ext>
                  </a:extLst>
                </a:gridCol>
                <a:gridCol w="225446">
                  <a:extLst>
                    <a:ext uri="{9D8B030D-6E8A-4147-A177-3AD203B41FA5}">
                      <a16:colId xmlns:a16="http://schemas.microsoft.com/office/drawing/2014/main" val="1477780422"/>
                    </a:ext>
                  </a:extLst>
                </a:gridCol>
                <a:gridCol w="225446">
                  <a:extLst>
                    <a:ext uri="{9D8B030D-6E8A-4147-A177-3AD203B41FA5}">
                      <a16:colId xmlns:a16="http://schemas.microsoft.com/office/drawing/2014/main" val="380510890"/>
                    </a:ext>
                  </a:extLst>
                </a:gridCol>
                <a:gridCol w="225446">
                  <a:extLst>
                    <a:ext uri="{9D8B030D-6E8A-4147-A177-3AD203B41FA5}">
                      <a16:colId xmlns:a16="http://schemas.microsoft.com/office/drawing/2014/main" val="1448843042"/>
                    </a:ext>
                  </a:extLst>
                </a:gridCol>
                <a:gridCol w="119687">
                  <a:extLst>
                    <a:ext uri="{9D8B030D-6E8A-4147-A177-3AD203B41FA5}">
                      <a16:colId xmlns:a16="http://schemas.microsoft.com/office/drawing/2014/main" val="2652409074"/>
                    </a:ext>
                  </a:extLst>
                </a:gridCol>
                <a:gridCol w="225446">
                  <a:extLst>
                    <a:ext uri="{9D8B030D-6E8A-4147-A177-3AD203B41FA5}">
                      <a16:colId xmlns:a16="http://schemas.microsoft.com/office/drawing/2014/main" val="2292961162"/>
                    </a:ext>
                  </a:extLst>
                </a:gridCol>
                <a:gridCol w="225446">
                  <a:extLst>
                    <a:ext uri="{9D8B030D-6E8A-4147-A177-3AD203B41FA5}">
                      <a16:colId xmlns:a16="http://schemas.microsoft.com/office/drawing/2014/main" val="3133502691"/>
                    </a:ext>
                  </a:extLst>
                </a:gridCol>
                <a:gridCol w="225446">
                  <a:extLst>
                    <a:ext uri="{9D8B030D-6E8A-4147-A177-3AD203B41FA5}">
                      <a16:colId xmlns:a16="http://schemas.microsoft.com/office/drawing/2014/main" val="2715887563"/>
                    </a:ext>
                  </a:extLst>
                </a:gridCol>
                <a:gridCol w="225446">
                  <a:extLst>
                    <a:ext uri="{9D8B030D-6E8A-4147-A177-3AD203B41FA5}">
                      <a16:colId xmlns:a16="http://schemas.microsoft.com/office/drawing/2014/main" val="2297068079"/>
                    </a:ext>
                  </a:extLst>
                </a:gridCol>
              </a:tblGrid>
              <a:tr h="227779">
                <a:tc rowSpan="2">
                  <a:txBody>
                    <a:bodyPr/>
                    <a:lstStyle/>
                    <a:p>
                      <a:pPr algn="ctr" fontAlgn="ctr"/>
                      <a:r>
                        <a:rPr lang="en-US" sz="1000" b="1" i="0" u="none" strike="noStrike" noProof="0" dirty="0">
                          <a:solidFill>
                            <a:srgbClr val="FFFFFF"/>
                          </a:solidFill>
                          <a:effectLst/>
                          <a:latin typeface="Poppins"/>
                        </a:rPr>
                        <a:t>Stage</a:t>
                      </a:r>
                    </a:p>
                  </a:txBody>
                  <a:tcPr marL="2388" marR="2388" marT="2388"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8329A"/>
                    </a:solidFill>
                  </a:tcPr>
                </a:tc>
                <a:tc rowSpan="2">
                  <a:txBody>
                    <a:bodyPr/>
                    <a:lstStyle/>
                    <a:p>
                      <a:pPr algn="ctr" fontAlgn="ctr"/>
                      <a:r>
                        <a:rPr lang="en-US" sz="1000" b="1" i="0" u="none" strike="noStrike" noProof="0" dirty="0">
                          <a:solidFill>
                            <a:srgbClr val="FFFFFF"/>
                          </a:solidFill>
                          <a:effectLst/>
                          <a:latin typeface="Poppins"/>
                        </a:rPr>
                        <a:t>Activity</a:t>
                      </a:r>
                    </a:p>
                  </a:txBody>
                  <a:tcPr marL="2388" marR="2388" marT="2388"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8329A"/>
                    </a:solidFill>
                  </a:tcPr>
                </a:tc>
                <a:tc gridSpan="5">
                  <a:txBody>
                    <a:bodyPr/>
                    <a:lstStyle/>
                    <a:p>
                      <a:pPr algn="ctr" fontAlgn="ctr"/>
                      <a:r>
                        <a:rPr lang="en-US" sz="1000" b="1" i="0" u="none" strike="noStrike" noProof="0" dirty="0">
                          <a:solidFill>
                            <a:srgbClr val="FFFFFF"/>
                          </a:solidFill>
                          <a:effectLst/>
                          <a:latin typeface="Poppins"/>
                        </a:rPr>
                        <a:t>Week 0</a:t>
                      </a:r>
                    </a:p>
                  </a:txBody>
                  <a:tcPr marL="2388" marR="2388" marT="2388" marB="0" anchor="ctr">
                    <a:lnL>
                      <a:noFill/>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48329A"/>
                    </a:solidFill>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tc gridSpan="5">
                  <a:txBody>
                    <a:bodyPr/>
                    <a:lstStyle/>
                    <a:p>
                      <a:pPr algn="ctr" fontAlgn="ctr"/>
                      <a:r>
                        <a:rPr lang="en-US" sz="1000" b="1" i="0" u="none" strike="noStrike" noProof="0" dirty="0">
                          <a:solidFill>
                            <a:srgbClr val="FFFFFF"/>
                          </a:solidFill>
                          <a:effectLst/>
                          <a:latin typeface="Poppins"/>
                        </a:rPr>
                        <a:t>Week 1</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48329A"/>
                    </a:solidFill>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tc gridSpan="5">
                  <a:txBody>
                    <a:bodyPr/>
                    <a:lstStyle/>
                    <a:p>
                      <a:pPr algn="ctr" fontAlgn="ctr"/>
                      <a:r>
                        <a:rPr lang="en-US" sz="1000" b="1" i="0" u="none" strike="noStrike" noProof="0" dirty="0">
                          <a:solidFill>
                            <a:srgbClr val="FFFFFF"/>
                          </a:solidFill>
                          <a:effectLst/>
                          <a:latin typeface="Poppins"/>
                        </a:rPr>
                        <a:t>Week 2</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48329A"/>
                    </a:solidFill>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tc gridSpan="5">
                  <a:txBody>
                    <a:bodyPr/>
                    <a:lstStyle/>
                    <a:p>
                      <a:pPr algn="ctr" fontAlgn="ctr"/>
                      <a:r>
                        <a:rPr lang="en-US" sz="1000" b="1" i="0" u="none" strike="noStrike" noProof="0" dirty="0">
                          <a:solidFill>
                            <a:srgbClr val="FFFFFF"/>
                          </a:solidFill>
                          <a:effectLst/>
                          <a:latin typeface="Poppins"/>
                        </a:rPr>
                        <a:t>Week 3</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48329A"/>
                    </a:solidFill>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tc gridSpan="5">
                  <a:txBody>
                    <a:bodyPr/>
                    <a:lstStyle/>
                    <a:p>
                      <a:pPr algn="ctr" fontAlgn="ctr"/>
                      <a:r>
                        <a:rPr lang="en-US" sz="1000" b="1" i="0" u="none" strike="noStrike" noProof="0" dirty="0">
                          <a:solidFill>
                            <a:srgbClr val="FFFFFF"/>
                          </a:solidFill>
                          <a:effectLst/>
                          <a:latin typeface="Poppins"/>
                        </a:rPr>
                        <a:t>Week 4</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48329A"/>
                    </a:solidFill>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tc gridSpan="5">
                  <a:txBody>
                    <a:bodyPr/>
                    <a:lstStyle/>
                    <a:p>
                      <a:pPr algn="ctr" fontAlgn="ctr"/>
                      <a:r>
                        <a:rPr lang="en-US" sz="1000" b="1" i="0" u="none" strike="noStrike" noProof="0" dirty="0">
                          <a:solidFill>
                            <a:srgbClr val="FFFFFF"/>
                          </a:solidFill>
                          <a:effectLst/>
                          <a:latin typeface="Poppins"/>
                        </a:rPr>
                        <a:t>Week 5</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48329A"/>
                    </a:solidFill>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tc gridSpan="5">
                  <a:txBody>
                    <a:bodyPr/>
                    <a:lstStyle/>
                    <a:p>
                      <a:pPr algn="ctr" fontAlgn="ctr"/>
                      <a:r>
                        <a:rPr lang="en-US" sz="1000" b="1" i="0" u="none" strike="noStrike" noProof="0" dirty="0">
                          <a:solidFill>
                            <a:srgbClr val="FFFFFF"/>
                          </a:solidFill>
                          <a:effectLst/>
                          <a:latin typeface="Poppins"/>
                        </a:rPr>
                        <a:t>Week 6</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48329A"/>
                    </a:solidFill>
                  </a:tcPr>
                </a:tc>
                <a:tc hMerge="1">
                  <a:txBody>
                    <a:bodyPr/>
                    <a:lstStyle/>
                    <a:p>
                      <a:endParaRPr lang="es-CO"/>
                    </a:p>
                  </a:txBody>
                  <a:tcPr>
                    <a:lnL w="6350" cap="flat" cmpd="sng" algn="ctr">
                      <a:solidFill>
                        <a:srgbClr val="BFBFBF"/>
                      </a:solidFill>
                      <a:prstDash val="solid"/>
                      <a:round/>
                      <a:headEnd type="none" w="med" len="med"/>
                      <a:tailEnd type="none" w="med" len="med"/>
                    </a:lnL>
                  </a:tcPr>
                </a:tc>
                <a:tc hMerge="1">
                  <a:txBody>
                    <a:bodyPr/>
                    <a:lstStyle/>
                    <a:p>
                      <a:endParaRPr lang="es-CO"/>
                    </a:p>
                  </a:txBody>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val="595066867"/>
                  </a:ext>
                </a:extLst>
              </a:tr>
              <a:tr h="178970">
                <a:tc vMerge="1">
                  <a:txBody>
                    <a:bodyPr/>
                    <a:lstStyle/>
                    <a:p>
                      <a:endParaRPr lang="es-CO"/>
                    </a:p>
                  </a:txBody>
                  <a:tcPr/>
                </a:tc>
                <a:tc vMerge="1">
                  <a:txBody>
                    <a:bodyPr/>
                    <a:lstStyle/>
                    <a:p>
                      <a:endParaRPr lang="es-CO"/>
                    </a:p>
                  </a:txBody>
                  <a:tcPr/>
                </a:tc>
                <a:tc>
                  <a:txBody>
                    <a:bodyPr/>
                    <a:lstStyle/>
                    <a:p>
                      <a:pPr algn="ctr" fontAlgn="ctr"/>
                      <a:r>
                        <a:rPr lang="en-US" sz="1000" b="1" i="0" u="none" strike="noStrike" noProof="0" dirty="0">
                          <a:solidFill>
                            <a:srgbClr val="000000"/>
                          </a:solidFill>
                          <a:effectLst/>
                          <a:latin typeface="Poppins"/>
                        </a:rPr>
                        <a:t>M</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W</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F</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M</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W</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F</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M</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W</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F</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M</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W</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F</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M</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W</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F</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M</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W</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F</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M</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W</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T</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000" b="1" i="0" u="none" strike="noStrike" noProof="0" dirty="0">
                          <a:solidFill>
                            <a:srgbClr val="000000"/>
                          </a:solidFill>
                          <a:effectLst/>
                          <a:latin typeface="Poppins"/>
                        </a:rPr>
                        <a:t>F</a:t>
                      </a: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481942802"/>
                  </a:ext>
                </a:extLst>
              </a:tr>
              <a:tr h="309130">
                <a:tc rowSpan="5">
                  <a:txBody>
                    <a:bodyPr/>
                    <a:lstStyle/>
                    <a:p>
                      <a:pPr algn="ctr" fontAlgn="ctr"/>
                      <a:r>
                        <a:rPr lang="en-US" sz="1000" b="0" i="0" u="none" strike="noStrike" noProof="0" dirty="0">
                          <a:solidFill>
                            <a:srgbClr val="404040"/>
                          </a:solidFill>
                          <a:effectLst/>
                          <a:latin typeface="Poppins"/>
                        </a:rPr>
                        <a:t>Outside In perspective of the market</a:t>
                      </a:r>
                    </a:p>
                  </a:txBody>
                  <a:tcPr marL="2388" marR="2388" marT="23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0" algn="l">
                        <a:buNone/>
                      </a:pPr>
                      <a:r>
                        <a:rPr lang="en-US" sz="1000" b="0" i="0" u="none" strike="noStrike" noProof="0">
                          <a:solidFill>
                            <a:srgbClr val="404040"/>
                          </a:solidFill>
                          <a:effectLst/>
                          <a:latin typeface="Poppins"/>
                        </a:rPr>
                        <a:t>Gather third party data (Nielsen, Amazon, etc) </a:t>
                      </a:r>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697297615"/>
                  </a:ext>
                </a:extLst>
              </a:tr>
              <a:tr h="309129">
                <a:tc vMerge="1">
                  <a:txBody>
                    <a:bodyPr/>
                    <a:lstStyle/>
                    <a:p>
                      <a:endParaRPr lang="en-US"/>
                    </a:p>
                  </a:txBody>
                  <a:tcPr marL="2387" marR="2387" marT="2387" marB="0" anchor="ctr">
                    <a:lnL w="12700">
                      <a:solidFill>
                        <a:srgbClr val="000000"/>
                      </a:solidFill>
                    </a:lnL>
                    <a:lnR w="6350">
                      <a:solidFill>
                        <a:srgbClr val="000000"/>
                      </a:solidFill>
                    </a:lnR>
                    <a:lnT w="12700">
                      <a:solidFill>
                        <a:srgbClr val="000000"/>
                      </a:solidFill>
                    </a:lnT>
                    <a:lnB w="12700">
                      <a:solidFill>
                        <a:srgbClr val="000000"/>
                      </a:solidFill>
                    </a:lnB>
                    <a:noFill/>
                  </a:tcPr>
                </a:tc>
                <a:tc>
                  <a:txBody>
                    <a:bodyPr/>
                    <a:lstStyle/>
                    <a:p>
                      <a:pPr lvl="0" algn="l">
                        <a:buNone/>
                      </a:pPr>
                      <a:r>
                        <a:rPr lang="en-US" sz="1000" b="0" i="0" u="none" strike="noStrike" noProof="0" dirty="0">
                          <a:solidFill>
                            <a:srgbClr val="404040"/>
                          </a:solidFill>
                          <a:effectLst/>
                          <a:latin typeface="Poppins"/>
                        </a:rPr>
                        <a:t>Develop seasonality curves of sales based on competitor historical sales</a:t>
                      </a:r>
                      <a:endParaRPr lang="en-US" noProof="0" dirty="0"/>
                    </a:p>
                  </a:txBody>
                  <a:tcPr marL="2387" marR="2387" marT="2387" marB="0" anchor="ctr">
                    <a:lnL w="6350">
                      <a:solidFill>
                        <a:srgbClr val="000000"/>
                      </a:solidFill>
                    </a:lnL>
                    <a:lnR w="190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rgbClr val="FFFFFF"/>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190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l">
                        <a:buNone/>
                      </a:pPr>
                      <a:endParaRPr lang="en-US" sz="1000" b="0"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l">
                        <a:buNone/>
                      </a:pPr>
                      <a:endParaRPr lang="en-US" sz="1000" b="0"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l">
                        <a:buNone/>
                      </a:pPr>
                      <a:endParaRPr lang="en-US" sz="1000" b="0"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l">
                        <a:buNone/>
                      </a:pPr>
                      <a:endParaRPr lang="en-US" sz="1000" b="0" i="0" u="none" strike="noStrike" noProof="0" dirty="0">
                        <a:solidFill>
                          <a:srgbClr val="000000"/>
                        </a:solidFill>
                        <a:effectLst/>
                        <a:latin typeface="Poppins"/>
                      </a:endParaRPr>
                    </a:p>
                  </a:txBody>
                  <a:tcPr marL="2387" marR="2387" marT="2387" marB="0" anchor="ctr">
                    <a:lnL w="6350">
                      <a:solidFill>
                        <a:srgbClr val="BFBFBF"/>
                      </a:solidFill>
                    </a:lnL>
                    <a:lnR w="190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190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190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190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19050">
                      <a:solidFill>
                        <a:srgbClr val="BFBFBF"/>
                      </a:solidFill>
                    </a:lnR>
                    <a:lnT w="6350" cap="flat" cmpd="sng" algn="ctr">
                      <a:solidFill>
                        <a:srgbClr val="BFBFBF"/>
                      </a:solidFill>
                      <a:prstDash val="solid"/>
                      <a:round/>
                      <a:headEnd type="none" w="med" len="med"/>
                      <a:tailEnd type="none" w="med" len="med"/>
                    </a:lnT>
                    <a:lnB w="6350">
                      <a:solidFill>
                        <a:srgbClr val="BFBFBF"/>
                      </a:solidFill>
                    </a:lnB>
                    <a:solidFill>
                      <a:schemeClr val="accent6">
                        <a:lumMod val="20000"/>
                        <a:lumOff val="80000"/>
                      </a:schemeClr>
                    </a:solid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190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190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190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190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190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190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190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cap="flat" cmpd="sng" algn="ctr">
                      <a:solidFill>
                        <a:srgbClr val="BFBFBF"/>
                      </a:solidFill>
                      <a:prstDash val="solid"/>
                      <a:round/>
                      <a:headEnd type="none" w="med" len="med"/>
                      <a:tailEnd type="none" w="med" len="med"/>
                    </a:lnL>
                    <a:lnR w="6350">
                      <a:solidFill>
                        <a:srgbClr val="BFBFBF"/>
                      </a:solid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63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tc>
                  <a:txBody>
                    <a:bodyPr/>
                    <a:lstStyle/>
                    <a:p>
                      <a:pPr lvl="0" algn="ctr">
                        <a:buNone/>
                      </a:pPr>
                      <a:endParaRPr lang="en-US" sz="1000" b="1" i="0" u="none" strike="noStrike" noProof="0" dirty="0">
                        <a:solidFill>
                          <a:srgbClr val="000000"/>
                        </a:solidFill>
                        <a:effectLst/>
                        <a:latin typeface="Poppins"/>
                      </a:endParaRPr>
                    </a:p>
                  </a:txBody>
                  <a:tcPr marL="2387" marR="2387" marT="2387" marB="0" anchor="ctr">
                    <a:lnL w="6350">
                      <a:solidFill>
                        <a:srgbClr val="BFBFBF"/>
                      </a:solidFill>
                    </a:lnL>
                    <a:lnR w="19050">
                      <a:solidFill>
                        <a:srgbClr val="BFBFBF"/>
                      </a:solidFill>
                    </a:lnR>
                    <a:lnT w="6350" cap="flat" cmpd="sng" algn="ctr">
                      <a:solidFill>
                        <a:srgbClr val="BFBFBF"/>
                      </a:solidFill>
                      <a:prstDash val="solid"/>
                      <a:round/>
                      <a:headEnd type="none" w="med" len="med"/>
                      <a:tailEnd type="none" w="med" len="med"/>
                    </a:lnT>
                    <a:lnB w="6350">
                      <a:solidFill>
                        <a:srgbClr val="BFBFBF"/>
                      </a:solidFill>
                    </a:lnB>
                    <a:noFill/>
                  </a:tcPr>
                </a:tc>
                <a:extLst>
                  <a:ext uri="{0D108BD9-81ED-4DB2-BD59-A6C34878D82A}">
                    <a16:rowId xmlns:a16="http://schemas.microsoft.com/office/drawing/2014/main" val="2063778845"/>
                  </a:ext>
                </a:extLst>
              </a:tr>
              <a:tr h="309130">
                <a:tc vMerge="1">
                  <a:txBody>
                    <a:bodyPr/>
                    <a:lstStyle/>
                    <a:p>
                      <a:endParaRPr lang="es-CO"/>
                    </a:p>
                  </a:txBody>
                  <a:tcPr/>
                </a:tc>
                <a:tc>
                  <a:txBody>
                    <a:bodyPr/>
                    <a:lstStyle/>
                    <a:p>
                      <a:pPr algn="l" fontAlgn="ctr"/>
                      <a:r>
                        <a:rPr lang="en-US" sz="1000" b="0" i="0" u="none" strike="noStrike" noProof="0" dirty="0">
                          <a:solidFill>
                            <a:srgbClr val="404040"/>
                          </a:solidFill>
                          <a:effectLst/>
                          <a:latin typeface="Poppins"/>
                        </a:rPr>
                        <a:t>Breakdown curves by retailer/ geographic area/ doors </a:t>
                      </a:r>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91167885"/>
                  </a:ext>
                </a:extLst>
              </a:tr>
              <a:tr h="309130">
                <a:tc vMerge="1">
                  <a:txBody>
                    <a:bodyPr/>
                    <a:lstStyle/>
                    <a:p>
                      <a:endParaRPr lang="es-CO"/>
                    </a:p>
                  </a:txBody>
                  <a:tcPr/>
                </a:tc>
                <a:tc>
                  <a:txBody>
                    <a:bodyPr/>
                    <a:lstStyle/>
                    <a:p>
                      <a:pPr algn="l" fontAlgn="ctr"/>
                      <a:r>
                        <a:rPr lang="en-US" sz="1000" b="0" i="0" u="none" strike="noStrike" noProof="0" dirty="0">
                          <a:solidFill>
                            <a:srgbClr val="404040"/>
                          </a:solidFill>
                          <a:effectLst/>
                          <a:latin typeface="Poppins"/>
                        </a:rPr>
                        <a:t>Normalize for marketing and trade campaigns</a:t>
                      </a:r>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a:noFill/>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283504356"/>
                  </a:ext>
                </a:extLst>
              </a:tr>
              <a:tr h="309130">
                <a:tc vMerge="1">
                  <a:txBody>
                    <a:bodyPr/>
                    <a:lstStyle/>
                    <a:p>
                      <a:endParaRPr lang="es-CO"/>
                    </a:p>
                  </a:txBody>
                  <a:tcPr>
                    <a:lnT w="12700" cap="flat" cmpd="sng" algn="ctr">
                      <a:solidFill>
                        <a:srgbClr val="000000"/>
                      </a:solidFill>
                      <a:prstDash val="solid"/>
                      <a:round/>
                      <a:headEnd type="none" w="med" len="med"/>
                      <a:tailEnd type="none" w="med" len="med"/>
                    </a:lnT>
                  </a:tcPr>
                </a:tc>
                <a:tc>
                  <a:txBody>
                    <a:bodyPr/>
                    <a:lstStyle/>
                    <a:p>
                      <a:pPr algn="l" fontAlgn="ctr"/>
                      <a:r>
                        <a:rPr lang="en-US" sz="1000" b="0" i="0" u="none" strike="noStrike" noProof="0" dirty="0">
                          <a:solidFill>
                            <a:srgbClr val="404040"/>
                          </a:solidFill>
                          <a:effectLst/>
                          <a:latin typeface="Poppins"/>
                        </a:rPr>
                        <a:t>Develop an outside in sales planning curve </a:t>
                      </a:r>
                    </a:p>
                  </a:txBody>
                  <a:tcPr marL="2388" marR="2388" marT="2388" marB="0" anchor="ctr">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8804124"/>
                  </a:ext>
                </a:extLst>
              </a:tr>
              <a:tr h="309130">
                <a:tc rowSpan="2">
                  <a:txBody>
                    <a:bodyPr/>
                    <a:lstStyle/>
                    <a:p>
                      <a:pPr algn="ctr" fontAlgn="ctr"/>
                      <a:r>
                        <a:rPr lang="en-US" sz="1000" b="0" i="0" u="none" strike="noStrike" noProof="0" dirty="0">
                          <a:solidFill>
                            <a:srgbClr val="404040"/>
                          </a:solidFill>
                          <a:effectLst/>
                          <a:latin typeface="Poppins"/>
                        </a:rPr>
                        <a:t>Inside out perspective </a:t>
                      </a:r>
                    </a:p>
                  </a:txBody>
                  <a:tcPr marL="2388" marR="2388" marT="2388"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1000" b="0" i="0" u="none" strike="noStrike" noProof="0" dirty="0">
                          <a:solidFill>
                            <a:srgbClr val="404040"/>
                          </a:solidFill>
                          <a:effectLst/>
                          <a:latin typeface="Poppins"/>
                        </a:rPr>
                        <a:t>Collection of internal plan – Schedule of doors by retailer, marketing budget, campaign schedule</a:t>
                      </a:r>
                    </a:p>
                  </a:txBody>
                  <a:tcPr marL="2388" marR="2388" marT="2388" marB="0" anchor="ctr">
                    <a:lnL w="12700" cap="flat" cmpd="sng" algn="ctr">
                      <a:solidFill>
                        <a:schemeClr val="tx1"/>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556047832"/>
                  </a:ext>
                </a:extLst>
              </a:tr>
              <a:tr h="309130">
                <a:tc vMerge="1">
                  <a:txBody>
                    <a:bodyPr/>
                    <a:lstStyle/>
                    <a:p>
                      <a:endParaRPr lang="es-CO"/>
                    </a:p>
                  </a:txBody>
                  <a:tcPr/>
                </a:tc>
                <a:tc>
                  <a:txBody>
                    <a:bodyPr/>
                    <a:lstStyle/>
                    <a:p>
                      <a:pPr algn="l" fontAlgn="ctr"/>
                      <a:r>
                        <a:rPr lang="en-US" sz="1000" b="0" i="0" u="none" strike="noStrike" noProof="0" dirty="0">
                          <a:solidFill>
                            <a:srgbClr val="404040"/>
                          </a:solidFill>
                          <a:effectLst/>
                          <a:latin typeface="Poppins"/>
                        </a:rPr>
                        <a:t>Develop a master calendar of main milestones for the planning phase</a:t>
                      </a:r>
                    </a:p>
                  </a:txBody>
                  <a:tcPr marL="2388" marR="2388" marT="2388" marB="0" anchor="ctr">
                    <a:lnL w="12700" cap="flat" cmpd="sng" algn="ctr">
                      <a:solidFill>
                        <a:schemeClr val="tx1"/>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8245223"/>
                  </a:ext>
                </a:extLst>
              </a:tr>
              <a:tr h="309130">
                <a:tc rowSpan="3">
                  <a:txBody>
                    <a:bodyPr/>
                    <a:lstStyle/>
                    <a:p>
                      <a:pPr algn="ctr" fontAlgn="ctr"/>
                      <a:r>
                        <a:rPr lang="en-US" sz="1000" b="0" i="0" u="none" strike="noStrike" noProof="0" dirty="0">
                          <a:solidFill>
                            <a:srgbClr val="404040"/>
                          </a:solidFill>
                          <a:effectLst/>
                          <a:latin typeface="Poppins"/>
                        </a:rPr>
                        <a:t>Month over Month Revenue plan</a:t>
                      </a:r>
                    </a:p>
                  </a:txBody>
                  <a:tcPr marL="2388" marR="2388" marT="23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1000" b="0" i="0" u="none" strike="noStrike" noProof="0" dirty="0">
                          <a:solidFill>
                            <a:srgbClr val="404040"/>
                          </a:solidFill>
                          <a:effectLst/>
                          <a:latin typeface="Poppins"/>
                        </a:rPr>
                        <a:t>Marry outside in sales planning curves with inside out planning phase milestone calendar</a:t>
                      </a:r>
                      <a:endParaRPr lang="en-US" noProof="0" dirty="0"/>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D0D0D0"/>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078095006"/>
                  </a:ext>
                </a:extLst>
              </a:tr>
              <a:tr h="309130">
                <a:tc vMerge="1">
                  <a:txBody>
                    <a:bodyPr/>
                    <a:lstStyle/>
                    <a:p>
                      <a:endParaRPr lang="es-CO"/>
                    </a:p>
                  </a:txBody>
                  <a:tcPr/>
                </a:tc>
                <a:tc>
                  <a:txBody>
                    <a:bodyPr/>
                    <a:lstStyle/>
                    <a:p>
                      <a:pPr algn="l" fontAlgn="ctr"/>
                      <a:r>
                        <a:rPr lang="en-US" sz="1000" b="0" i="0" u="none" strike="noStrike" noProof="0" dirty="0">
                          <a:solidFill>
                            <a:srgbClr val="404040"/>
                          </a:solidFill>
                          <a:effectLst/>
                          <a:latin typeface="Poppins"/>
                        </a:rPr>
                        <a:t>1st iteration of sales forecast for 2025</a:t>
                      </a:r>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D0D0D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463786829"/>
                  </a:ext>
                </a:extLst>
              </a:tr>
              <a:tr h="309130">
                <a:tc vMerge="1">
                  <a:txBody>
                    <a:bodyPr/>
                    <a:lstStyle/>
                    <a:p>
                      <a:endParaRPr lang="es-CO"/>
                    </a:p>
                  </a:txBody>
                  <a:tcPr/>
                </a:tc>
                <a:tc>
                  <a:txBody>
                    <a:bodyPr/>
                    <a:lstStyle/>
                    <a:p>
                      <a:pPr algn="l" fontAlgn="ctr"/>
                      <a:r>
                        <a:rPr lang="en-US" sz="1000" b="0" i="0" u="none" strike="noStrike" noProof="0" dirty="0">
                          <a:solidFill>
                            <a:srgbClr val="404040"/>
                          </a:solidFill>
                          <a:effectLst/>
                          <a:latin typeface="Poppins"/>
                        </a:rPr>
                        <a:t>Campaign Assessment and iteration</a:t>
                      </a:r>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5520105"/>
                  </a:ext>
                </a:extLst>
              </a:tr>
              <a:tr h="309130">
                <a:tc rowSpan="2">
                  <a:txBody>
                    <a:bodyPr/>
                    <a:lstStyle/>
                    <a:p>
                      <a:pPr lvl="0" algn="ctr">
                        <a:buNone/>
                      </a:pPr>
                      <a:r>
                        <a:rPr lang="en-US" sz="1000" b="0" i="0" u="none" strike="noStrike" noProof="0" dirty="0">
                          <a:solidFill>
                            <a:srgbClr val="404040"/>
                          </a:solidFill>
                          <a:effectLst/>
                          <a:latin typeface="Poppins"/>
                        </a:rPr>
                        <a:t>Iteration and improvement</a:t>
                      </a:r>
                      <a:endParaRPr lang="en-US" noProof="0" dirty="0"/>
                    </a:p>
                  </a:txBody>
                  <a:tcPr marL="2388" marR="2388" marT="23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1000" b="0" i="0" u="none" strike="noStrike" noProof="0">
                          <a:solidFill>
                            <a:srgbClr val="404040"/>
                          </a:solidFill>
                          <a:effectLst/>
                          <a:latin typeface="Poppins"/>
                        </a:rPr>
                        <a:t>Share initial insights with Belcorp Leadership team</a:t>
                      </a:r>
                      <a:endParaRPr lang="en-US" noProof="0"/>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501839624"/>
                  </a:ext>
                </a:extLst>
              </a:tr>
              <a:tr h="406750">
                <a:tc vMerge="1">
                  <a:txBody>
                    <a:bodyPr/>
                    <a:lstStyle/>
                    <a:p>
                      <a:endParaRPr lang="es-CO"/>
                    </a:p>
                  </a:txBody>
                  <a:tcPr/>
                </a:tc>
                <a:tc>
                  <a:txBody>
                    <a:bodyPr/>
                    <a:lstStyle/>
                    <a:p>
                      <a:pPr algn="l" fontAlgn="ctr"/>
                      <a:r>
                        <a:rPr lang="en-US" sz="1000" b="0" i="0" u="none" strike="noStrike" noProof="0" dirty="0">
                          <a:solidFill>
                            <a:srgbClr val="404040"/>
                          </a:solidFill>
                          <a:effectLst/>
                          <a:latin typeface="Poppins"/>
                        </a:rPr>
                        <a:t>Iterate and present</a:t>
                      </a:r>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739363209"/>
                  </a:ext>
                </a:extLst>
              </a:tr>
              <a:tr h="309130">
                <a:tc rowSpan="2">
                  <a:txBody>
                    <a:bodyPr/>
                    <a:lstStyle/>
                    <a:p>
                      <a:pPr algn="ctr" fontAlgn="ctr"/>
                      <a:r>
                        <a:rPr lang="en-US" sz="1000" b="0" i="0" u="none" strike="noStrike" noProof="0">
                          <a:solidFill>
                            <a:srgbClr val="000000"/>
                          </a:solidFill>
                          <a:effectLst/>
                          <a:latin typeface="Poppins"/>
                        </a:rPr>
                        <a:t>Weekly iteration with Belcorp</a:t>
                      </a:r>
                    </a:p>
                  </a:txBody>
                  <a:tcPr marL="2388" marR="2388" marT="23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1000" b="0" i="0" u="none" strike="noStrike" noProof="0" dirty="0">
                          <a:solidFill>
                            <a:srgbClr val="404040"/>
                          </a:solidFill>
                          <a:effectLst/>
                          <a:latin typeface="Poppins"/>
                        </a:rPr>
                        <a:t>Weekly check-in´s</a:t>
                      </a:r>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C0E6F5"/>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C0E6F5"/>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C0E6F5"/>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C0E6F5"/>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C0E6F5"/>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C0E6F5"/>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247088675"/>
                  </a:ext>
                </a:extLst>
              </a:tr>
              <a:tr h="309130">
                <a:tc vMerge="1">
                  <a:txBody>
                    <a:bodyPr/>
                    <a:lstStyle/>
                    <a:p>
                      <a:endParaRPr lang="es-CO"/>
                    </a:p>
                  </a:txBody>
                  <a:tcPr/>
                </a:tc>
                <a:tc>
                  <a:txBody>
                    <a:bodyPr/>
                    <a:lstStyle/>
                    <a:p>
                      <a:pPr algn="l" fontAlgn="ctr"/>
                      <a:r>
                        <a:rPr lang="en-US" sz="1000" b="0" i="0" u="none" strike="noStrike" noProof="0" dirty="0">
                          <a:solidFill>
                            <a:srgbClr val="404040"/>
                          </a:solidFill>
                          <a:effectLst/>
                          <a:latin typeface="Poppins"/>
                        </a:rPr>
                        <a:t>Steerco </a:t>
                      </a:r>
                    </a:p>
                  </a:txBody>
                  <a:tcPr marL="2388" marR="2388" marT="2388" marB="0" anchor="ctr">
                    <a:lnL w="6350" cap="flat" cmpd="sng" algn="ctr">
                      <a:solidFill>
                        <a:srgbClr val="000000"/>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E6F5"/>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E6F5"/>
                    </a:solid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190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endParaRPr lang="en-US" sz="1000" b="0"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endParaRPr lang="en-US" sz="1000" b="1" i="0" u="none" strike="noStrike" noProof="0" dirty="0">
                        <a:solidFill>
                          <a:srgbClr val="000000"/>
                        </a:solidFill>
                        <a:effectLst/>
                        <a:latin typeface="Poppins"/>
                      </a:endParaRPr>
                    </a:p>
                  </a:txBody>
                  <a:tcPr marL="2388" marR="2388" marT="2388" marB="0" anchor="ctr">
                    <a:lnL w="6350" cap="flat" cmpd="sng" algn="ctr">
                      <a:solidFill>
                        <a:srgbClr val="BFBFBF"/>
                      </a:solidFill>
                      <a:prstDash val="solid"/>
                      <a:round/>
                      <a:headEnd type="none" w="med" len="med"/>
                      <a:tailEnd type="none" w="med" len="med"/>
                    </a:lnL>
                    <a:lnR w="190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E6F5"/>
                    </a:solidFill>
                  </a:tcPr>
                </a:tc>
                <a:extLst>
                  <a:ext uri="{0D108BD9-81ED-4DB2-BD59-A6C34878D82A}">
                    <a16:rowId xmlns:a16="http://schemas.microsoft.com/office/drawing/2014/main" val="3437095971"/>
                  </a:ext>
                </a:extLst>
              </a:tr>
            </a:tbl>
          </a:graphicData>
        </a:graphic>
      </p:graphicFrame>
      <p:cxnSp>
        <p:nvCxnSpPr>
          <p:cNvPr id="12" name="Conector recto 11">
            <a:extLst>
              <a:ext uri="{FF2B5EF4-FFF2-40B4-BE49-F238E27FC236}">
                <a16:creationId xmlns:a16="http://schemas.microsoft.com/office/drawing/2014/main" id="{0DA6EBFF-1F49-56D7-CC18-8D6FE76D9836}"/>
              </a:ext>
            </a:extLst>
          </p:cNvPr>
          <p:cNvCxnSpPr>
            <a:cxnSpLocks/>
          </p:cNvCxnSpPr>
          <p:nvPr/>
        </p:nvCxnSpPr>
        <p:spPr>
          <a:xfrm>
            <a:off x="11985533" y="1037335"/>
            <a:ext cx="0" cy="51331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B42A5143-FEC4-A51E-B12F-1E3ED80A8DAD}"/>
              </a:ext>
            </a:extLst>
          </p:cNvPr>
          <p:cNvCxnSpPr>
            <a:cxnSpLocks/>
          </p:cNvCxnSpPr>
          <p:nvPr/>
        </p:nvCxnSpPr>
        <p:spPr>
          <a:xfrm>
            <a:off x="2090428" y="1037335"/>
            <a:ext cx="0" cy="51331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429AC7FE-E93F-40F8-F28D-25A4253FEE63}"/>
              </a:ext>
            </a:extLst>
          </p:cNvPr>
          <p:cNvCxnSpPr>
            <a:cxnSpLocks/>
          </p:cNvCxnSpPr>
          <p:nvPr/>
        </p:nvCxnSpPr>
        <p:spPr>
          <a:xfrm>
            <a:off x="7903395" y="1059103"/>
            <a:ext cx="0" cy="513310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Picture 2" descr="Belcorp | Brands of the World™ | Download vector logos and ...">
            <a:extLst>
              <a:ext uri="{FF2B5EF4-FFF2-40B4-BE49-F238E27FC236}">
                <a16:creationId xmlns:a16="http://schemas.microsoft.com/office/drawing/2014/main" id="{4879AF0C-698D-6480-5582-5837B94914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11028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11">
            <a:extLst>
              <a:ext uri="{FF2B5EF4-FFF2-40B4-BE49-F238E27FC236}">
                <a16:creationId xmlns:a16="http://schemas.microsoft.com/office/drawing/2014/main" id="{1F1E9166-97E0-C0CF-D976-105F520256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8269" y="0"/>
            <a:ext cx="12212865" cy="6978779"/>
          </a:xfrm>
          <a:prstGeom prst="rect">
            <a:avLst/>
          </a:prstGeom>
        </p:spPr>
      </p:pic>
      <p:sp>
        <p:nvSpPr>
          <p:cNvPr id="8" name="object 7">
            <a:extLst>
              <a:ext uri="{FF2B5EF4-FFF2-40B4-BE49-F238E27FC236}">
                <a16:creationId xmlns:a16="http://schemas.microsoft.com/office/drawing/2014/main" id="{C584C288-0DAF-DBF9-736C-B479DC8FCC51}"/>
              </a:ext>
            </a:extLst>
          </p:cNvPr>
          <p:cNvSpPr/>
          <p:nvPr/>
        </p:nvSpPr>
        <p:spPr>
          <a:xfrm>
            <a:off x="0" y="-1"/>
            <a:ext cx="1676400" cy="1137073"/>
          </a:xfrm>
          <a:custGeom>
            <a:avLst/>
            <a:gdLst/>
            <a:ahLst/>
            <a:cxnLst/>
            <a:rect l="l" t="t" r="r" b="b"/>
            <a:pathLst>
              <a:path w="1257300" h="852805">
                <a:moveTo>
                  <a:pt x="1257058" y="0"/>
                </a:moveTo>
                <a:lnTo>
                  <a:pt x="0" y="0"/>
                </a:lnTo>
                <a:lnTo>
                  <a:pt x="0" y="852424"/>
                </a:lnTo>
                <a:lnTo>
                  <a:pt x="1257058" y="0"/>
                </a:lnTo>
                <a:close/>
              </a:path>
            </a:pathLst>
          </a:custGeom>
          <a:solidFill>
            <a:srgbClr val="472C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 name="object 5">
            <a:extLst>
              <a:ext uri="{FF2B5EF4-FFF2-40B4-BE49-F238E27FC236}">
                <a16:creationId xmlns:a16="http://schemas.microsoft.com/office/drawing/2014/main" id="{8B2F4228-A736-B03F-C354-2606DA4F31E8}"/>
              </a:ext>
            </a:extLst>
          </p:cNvPr>
          <p:cNvSpPr/>
          <p:nvPr/>
        </p:nvSpPr>
        <p:spPr>
          <a:xfrm>
            <a:off x="4925182" y="4513793"/>
            <a:ext cx="7382933" cy="2464986"/>
          </a:xfrm>
          <a:custGeom>
            <a:avLst/>
            <a:gdLst/>
            <a:ahLst/>
            <a:cxnLst/>
            <a:rect l="l" t="t" r="r" b="b"/>
            <a:pathLst>
              <a:path w="5537200" h="1778000">
                <a:moveTo>
                  <a:pt x="5537200" y="0"/>
                </a:moveTo>
                <a:lnTo>
                  <a:pt x="877849" y="0"/>
                </a:lnTo>
                <a:lnTo>
                  <a:pt x="0" y="1778000"/>
                </a:lnTo>
                <a:lnTo>
                  <a:pt x="5537200" y="1778000"/>
                </a:lnTo>
                <a:lnTo>
                  <a:pt x="5537200" y="0"/>
                </a:lnTo>
                <a:close/>
              </a:path>
            </a:pathLst>
          </a:custGeom>
          <a:solidFill>
            <a:srgbClr val="4F37A2">
              <a:alpha val="63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4" name="object 6">
            <a:extLst>
              <a:ext uri="{FF2B5EF4-FFF2-40B4-BE49-F238E27FC236}">
                <a16:creationId xmlns:a16="http://schemas.microsoft.com/office/drawing/2014/main" id="{08DD85F6-56C9-4CF0-B93A-A7B6F16C246A}"/>
              </a:ext>
            </a:extLst>
          </p:cNvPr>
          <p:cNvSpPr txBox="1"/>
          <p:nvPr/>
        </p:nvSpPr>
        <p:spPr>
          <a:xfrm>
            <a:off x="8377162" y="4830558"/>
            <a:ext cx="5469108" cy="701047"/>
          </a:xfrm>
          <a:prstGeom prst="rect">
            <a:avLst/>
          </a:prstGeom>
        </p:spPr>
        <p:txBody>
          <a:bodyPr vert="horz" wrap="square" lIns="0" tIns="84667"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1">
                <a:solidFill>
                  <a:srgbClr val="FFFFFF"/>
                </a:solidFill>
                <a:latin typeface="Poppins"/>
                <a:cs typeface="Poppins"/>
              </a:rPr>
              <a:t>Investment</a:t>
            </a:r>
            <a:endParaRPr kumimoji="0" lang="en-US" sz="4000" b="1" i="0" u="none" strike="noStrike" kern="1200" cap="none" spc="0" normalizeH="0" baseline="0">
              <a:ln>
                <a:noFill/>
              </a:ln>
              <a:solidFill>
                <a:srgbClr val="FFFFFF"/>
              </a:solidFill>
              <a:effectLst/>
              <a:uLnTx/>
              <a:uFillTx/>
              <a:latin typeface="Poppins" pitchFamily="2" charset="77"/>
              <a:ea typeface="+mn-ea"/>
              <a:cs typeface="Poppins" pitchFamily="2" charset="77"/>
            </a:endParaRPr>
          </a:p>
        </p:txBody>
      </p:sp>
      <p:sp>
        <p:nvSpPr>
          <p:cNvPr id="5" name="object 8">
            <a:extLst>
              <a:ext uri="{FF2B5EF4-FFF2-40B4-BE49-F238E27FC236}">
                <a16:creationId xmlns:a16="http://schemas.microsoft.com/office/drawing/2014/main" id="{717A8C19-03E4-B81F-45D9-982050A6DF55}"/>
              </a:ext>
            </a:extLst>
          </p:cNvPr>
          <p:cNvSpPr/>
          <p:nvPr/>
        </p:nvSpPr>
        <p:spPr>
          <a:xfrm>
            <a:off x="6810921" y="488709"/>
            <a:ext cx="2097193" cy="2545080"/>
          </a:xfrm>
          <a:custGeom>
            <a:avLst/>
            <a:gdLst/>
            <a:ahLst/>
            <a:cxnLst/>
            <a:rect l="l" t="t" r="r" b="b"/>
            <a:pathLst>
              <a:path w="1572895" h="1908810">
                <a:moveTo>
                  <a:pt x="1103426" y="0"/>
                </a:moveTo>
                <a:lnTo>
                  <a:pt x="1102944" y="838"/>
                </a:lnTo>
                <a:lnTo>
                  <a:pt x="1102461" y="0"/>
                </a:lnTo>
                <a:lnTo>
                  <a:pt x="880846" y="383844"/>
                </a:lnTo>
                <a:lnTo>
                  <a:pt x="881354" y="384721"/>
                </a:lnTo>
                <a:lnTo>
                  <a:pt x="223240" y="1524609"/>
                </a:lnTo>
                <a:lnTo>
                  <a:pt x="221576" y="1524609"/>
                </a:lnTo>
                <a:lnTo>
                  <a:pt x="0" y="1908403"/>
                </a:lnTo>
                <a:lnTo>
                  <a:pt x="1572895" y="1908403"/>
                </a:lnTo>
                <a:lnTo>
                  <a:pt x="1351318" y="1524609"/>
                </a:lnTo>
                <a:lnTo>
                  <a:pt x="666407" y="1524609"/>
                </a:lnTo>
                <a:lnTo>
                  <a:pt x="1102944" y="768502"/>
                </a:lnTo>
                <a:lnTo>
                  <a:pt x="1142365" y="836777"/>
                </a:lnTo>
                <a:lnTo>
                  <a:pt x="1363954" y="452996"/>
                </a:lnTo>
                <a:lnTo>
                  <a:pt x="1324533" y="384721"/>
                </a:lnTo>
                <a:lnTo>
                  <a:pt x="1325041" y="383844"/>
                </a:lnTo>
                <a:lnTo>
                  <a:pt x="1103426" y="0"/>
                </a:lnTo>
                <a:close/>
              </a:path>
            </a:pathLst>
          </a:custGeom>
          <a:solidFill>
            <a:srgbClr val="8D80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6" name="object 9">
            <a:extLst>
              <a:ext uri="{FF2B5EF4-FFF2-40B4-BE49-F238E27FC236}">
                <a16:creationId xmlns:a16="http://schemas.microsoft.com/office/drawing/2014/main" id="{468B99D6-1EDA-9B6B-1005-C8807999B6A1}"/>
              </a:ext>
            </a:extLst>
          </p:cNvPr>
          <p:cNvSpPr txBox="1">
            <a:spLocks/>
          </p:cNvSpPr>
          <p:nvPr/>
        </p:nvSpPr>
        <p:spPr>
          <a:xfrm>
            <a:off x="8804550" y="1081096"/>
            <a:ext cx="3193861" cy="2492135"/>
          </a:xfrm>
          <a:prstGeom prst="rect">
            <a:avLst/>
          </a:prstGeom>
          <a:noFill/>
        </p:spPr>
        <p:txBody>
          <a:bodyPr spcFirstLastPara="1" vert="horz" wrap="square" lIns="0" tIns="16933" rIns="0" bIns="0" rtlCol="0" anchor="ctr" anchorCtr="0">
            <a:sp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16933" marR="0" lvl="0" indent="0" algn="l" defTabSz="914400" rtl="0" eaLnBrk="1" fontAlgn="auto" latinLnBrk="0" hangingPunct="1">
              <a:lnSpc>
                <a:spcPct val="100000"/>
              </a:lnSpc>
              <a:spcBef>
                <a:spcPts val="133"/>
              </a:spcBef>
              <a:spcAft>
                <a:spcPts val="0"/>
              </a:spcAft>
              <a:buClrTx/>
              <a:buSzTx/>
              <a:buFontTx/>
              <a:buNone/>
              <a:tabLst/>
              <a:defRPr/>
            </a:pPr>
            <a:r>
              <a:rPr kumimoji="0" lang="es-CO" sz="16000" b="1" i="0" u="none" strike="noStrike" kern="1200" cap="none" spc="-33" normalizeH="0" baseline="0" noProof="0">
                <a:ln>
                  <a:noFill/>
                </a:ln>
                <a:solidFill>
                  <a:srgbClr val="FFFFFF"/>
                </a:solidFill>
                <a:effectLst/>
                <a:uLnTx/>
                <a:uFillTx/>
                <a:latin typeface="Poppins" pitchFamily="2" charset="77"/>
                <a:ea typeface="+mj-ea"/>
                <a:cs typeface="Poppins" pitchFamily="2" charset="77"/>
              </a:rPr>
              <a:t>04</a:t>
            </a:r>
          </a:p>
        </p:txBody>
      </p:sp>
    </p:spTree>
    <p:extLst>
      <p:ext uri="{BB962C8B-B14F-4D97-AF65-F5344CB8AC3E}">
        <p14:creationId xmlns:p14="http://schemas.microsoft.com/office/powerpoint/2010/main" val="34564539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7">
            <a:extLst>
              <a:ext uri="{FF2B5EF4-FFF2-40B4-BE49-F238E27FC236}">
                <a16:creationId xmlns:a16="http://schemas.microsoft.com/office/drawing/2014/main" id="{B5341A6B-3C62-0AB2-E4A9-0C55C4753E2B}"/>
              </a:ext>
            </a:extLst>
          </p:cNvPr>
          <p:cNvSpPr/>
          <p:nvPr/>
        </p:nvSpPr>
        <p:spPr>
          <a:xfrm>
            <a:off x="737699" y="2470187"/>
            <a:ext cx="8027360" cy="563761"/>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7" name="Rectangle 17">
            <a:extLst>
              <a:ext uri="{FF2B5EF4-FFF2-40B4-BE49-F238E27FC236}">
                <a16:creationId xmlns:a16="http://schemas.microsoft.com/office/drawing/2014/main" id="{BDDB3F5B-F69E-2C23-54F0-C322943E88FF}"/>
              </a:ext>
            </a:extLst>
          </p:cNvPr>
          <p:cNvSpPr/>
          <p:nvPr/>
        </p:nvSpPr>
        <p:spPr>
          <a:xfrm>
            <a:off x="775252" y="4926120"/>
            <a:ext cx="11356573" cy="720000"/>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36" name="Rectangle 17">
            <a:extLst>
              <a:ext uri="{FF2B5EF4-FFF2-40B4-BE49-F238E27FC236}">
                <a16:creationId xmlns:a16="http://schemas.microsoft.com/office/drawing/2014/main" id="{7DFBE638-7A79-AAF7-0B39-0E23C5059720}"/>
              </a:ext>
            </a:extLst>
          </p:cNvPr>
          <p:cNvSpPr/>
          <p:nvPr/>
        </p:nvSpPr>
        <p:spPr>
          <a:xfrm>
            <a:off x="748023" y="3911592"/>
            <a:ext cx="8051669" cy="548240"/>
          </a:xfrm>
          <a:prstGeom prst="rect">
            <a:avLst/>
          </a:prstGeom>
          <a:solidFill>
            <a:schemeClr val="accent4">
              <a:lumMod val="20000"/>
              <a:lumOff val="8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lumMod val="50000"/>
                </a:schemeClr>
              </a:solidFill>
              <a:latin typeface="+mj-lt"/>
              <a:cs typeface="Poppins"/>
            </a:endParaRPr>
          </a:p>
          <a:p>
            <a:pPr algn="ctr"/>
            <a:endParaRPr lang="en-US" sz="1600" dirty="0">
              <a:latin typeface="+mj-lt"/>
            </a:endParaRPr>
          </a:p>
        </p:txBody>
      </p:sp>
      <p:sp>
        <p:nvSpPr>
          <p:cNvPr id="13" name="TextBox 2">
            <a:extLst>
              <a:ext uri="{FF2B5EF4-FFF2-40B4-BE49-F238E27FC236}">
                <a16:creationId xmlns:a16="http://schemas.microsoft.com/office/drawing/2014/main" id="{A411EAE9-BD22-B5CA-226C-9817CAC6195B}"/>
              </a:ext>
            </a:extLst>
          </p:cNvPr>
          <p:cNvSpPr txBox="1"/>
          <p:nvPr/>
        </p:nvSpPr>
        <p:spPr>
          <a:xfrm>
            <a:off x="3244384" y="916422"/>
            <a:ext cx="1812503" cy="338554"/>
          </a:xfrm>
          <a:prstGeom prst="rect">
            <a:avLst/>
          </a:prstGeom>
          <a:noFill/>
        </p:spPr>
        <p:txBody>
          <a:bodyPr wrap="square" rtlCol="0">
            <a:spAutoFit/>
          </a:bodyPr>
          <a:lstStyle>
            <a:defPPr>
              <a:defRPr lang="en-US"/>
            </a:defPPr>
            <a:lvl1pPr algn="ctr">
              <a:lnSpc>
                <a:spcPct val="100000"/>
              </a:lnSpc>
              <a:defRPr b="1">
                <a:solidFill>
                  <a:schemeClr val="tx1">
                    <a:lumMod val="85000"/>
                    <a:lumOff val="15000"/>
                  </a:schemeClr>
                </a:solidFill>
                <a:latin typeface="+mj-lt"/>
                <a:cs typeface="Segoe UI" panose="020B0502040204020203" pitchFamily="34" charset="0"/>
              </a:defRPr>
            </a:lvl1pPr>
          </a:lstStyle>
          <a:p>
            <a:r>
              <a:rPr lang="en-US" sz="1600" dirty="0">
                <a:solidFill>
                  <a:srgbClr val="482C9B"/>
                </a:solidFill>
                <a:latin typeface="+mn-lt"/>
                <a:cs typeface="Arial"/>
              </a:rPr>
              <a:t>Duration</a:t>
            </a:r>
          </a:p>
        </p:txBody>
      </p:sp>
      <p:sp>
        <p:nvSpPr>
          <p:cNvPr id="9" name="Rectangle: Rounded Corners 2">
            <a:extLst>
              <a:ext uri="{FF2B5EF4-FFF2-40B4-BE49-F238E27FC236}">
                <a16:creationId xmlns:a16="http://schemas.microsoft.com/office/drawing/2014/main" id="{B80CB5AE-3261-2A4C-4638-E955F287089B}"/>
              </a:ext>
            </a:extLst>
          </p:cNvPr>
          <p:cNvSpPr/>
          <p:nvPr/>
        </p:nvSpPr>
        <p:spPr>
          <a:xfrm>
            <a:off x="854779" y="1457874"/>
            <a:ext cx="3069234" cy="627507"/>
          </a:xfrm>
          <a:prstGeom prst="roundRect">
            <a:avLst>
              <a:gd name="adj" fmla="val 3292"/>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482C9B"/>
                </a:solidFill>
                <a:cs typeface="Arial"/>
              </a:rPr>
              <a:t>Deep understanding of existing data</a:t>
            </a:r>
          </a:p>
        </p:txBody>
      </p:sp>
      <p:sp>
        <p:nvSpPr>
          <p:cNvPr id="11" name="Rectangle: Rounded Corners 2">
            <a:extLst>
              <a:ext uri="{FF2B5EF4-FFF2-40B4-BE49-F238E27FC236}">
                <a16:creationId xmlns:a16="http://schemas.microsoft.com/office/drawing/2014/main" id="{03DD5214-5A42-45CF-D9B0-DF726EB93DAA}"/>
              </a:ext>
            </a:extLst>
          </p:cNvPr>
          <p:cNvSpPr/>
          <p:nvPr/>
        </p:nvSpPr>
        <p:spPr>
          <a:xfrm>
            <a:off x="742604" y="4926120"/>
            <a:ext cx="2712474" cy="720000"/>
          </a:xfrm>
          <a:prstGeom prst="roundRect">
            <a:avLst>
              <a:gd name="adj" fmla="val 3292"/>
            </a:avLst>
          </a:prstGeom>
          <a:solidFill>
            <a:schemeClr val="accent5"/>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mj-lt"/>
              </a:rPr>
              <a:t>Total </a:t>
            </a:r>
          </a:p>
        </p:txBody>
      </p:sp>
      <p:sp>
        <p:nvSpPr>
          <p:cNvPr id="18" name="CuadroTexto 66">
            <a:extLst>
              <a:ext uri="{FF2B5EF4-FFF2-40B4-BE49-F238E27FC236}">
                <a16:creationId xmlns:a16="http://schemas.microsoft.com/office/drawing/2014/main" id="{D76B2FBA-DEF5-F9F5-3929-995BE00C52F9}"/>
              </a:ext>
            </a:extLst>
          </p:cNvPr>
          <p:cNvSpPr txBox="1"/>
          <p:nvPr/>
        </p:nvSpPr>
        <p:spPr>
          <a:xfrm>
            <a:off x="4042166" y="1617055"/>
            <a:ext cx="1472625" cy="276999"/>
          </a:xfrm>
          <a:prstGeom prst="rect">
            <a:avLst/>
          </a:prstGeom>
          <a:noFill/>
        </p:spPr>
        <p:txBody>
          <a:bodyPr wrap="square">
            <a:spAutoFit/>
          </a:bodyPr>
          <a:lstStyle/>
          <a:p>
            <a:pPr marR="0" lvl="0" defTabSz="914400" rtl="0" eaLnBrk="1" fontAlgn="auto" latinLnBrk="0" hangingPunct="1">
              <a:lnSpc>
                <a:spcPct val="100000"/>
              </a:lnSpc>
              <a:spcBef>
                <a:spcPts val="0"/>
              </a:spcBef>
              <a:spcAft>
                <a:spcPts val="0"/>
              </a:spcAft>
              <a:buClrTx/>
              <a:buSzTx/>
              <a:tabLst/>
              <a:defRPr/>
            </a:pPr>
            <a:r>
              <a:rPr lang="en-US" sz="1200" dirty="0">
                <a:solidFill>
                  <a:schemeClr val="tx1">
                    <a:lumMod val="50000"/>
                  </a:schemeClr>
                </a:solidFill>
                <a:latin typeface="+mj-lt"/>
                <a:cs typeface="Poppins"/>
              </a:rPr>
              <a:t> </a:t>
            </a:r>
            <a:r>
              <a:rPr lang="en-US" sz="1100" dirty="0">
                <a:solidFill>
                  <a:srgbClr val="482C9B"/>
                </a:solidFill>
                <a:cs typeface="Arial"/>
              </a:rPr>
              <a:t>2 weeks</a:t>
            </a:r>
          </a:p>
        </p:txBody>
      </p:sp>
      <p:sp>
        <p:nvSpPr>
          <p:cNvPr id="20" name="CuadroTexto 69">
            <a:extLst>
              <a:ext uri="{FF2B5EF4-FFF2-40B4-BE49-F238E27FC236}">
                <a16:creationId xmlns:a16="http://schemas.microsoft.com/office/drawing/2014/main" id="{4DBDE84E-A08E-4D17-B129-CAA3934D5F55}"/>
              </a:ext>
            </a:extLst>
          </p:cNvPr>
          <p:cNvSpPr txBox="1"/>
          <p:nvPr/>
        </p:nvSpPr>
        <p:spPr>
          <a:xfrm>
            <a:off x="4047057" y="2585852"/>
            <a:ext cx="1916935" cy="261610"/>
          </a:xfrm>
          <a:prstGeom prst="rect">
            <a:avLst/>
          </a:prstGeom>
          <a:noFill/>
        </p:spPr>
        <p:txBody>
          <a:bodyPr wrap="square">
            <a:spAutoFit/>
          </a:bodyPr>
          <a:lstStyle/>
          <a:p>
            <a:pPr marR="0" lvl="0" defTabSz="914400" rtl="0" eaLnBrk="1" fontAlgn="auto" latinLnBrk="0" hangingPunct="1">
              <a:lnSpc>
                <a:spcPct val="100000"/>
              </a:lnSpc>
              <a:spcBef>
                <a:spcPts val="0"/>
              </a:spcBef>
              <a:spcAft>
                <a:spcPts val="0"/>
              </a:spcAft>
              <a:buClrTx/>
              <a:buSzTx/>
              <a:tabLst/>
              <a:defRPr/>
            </a:pPr>
            <a:r>
              <a:rPr lang="en-US" sz="1100" dirty="0">
                <a:solidFill>
                  <a:srgbClr val="482C9B"/>
                </a:solidFill>
                <a:cs typeface="Arial"/>
              </a:rPr>
              <a:t>6 weeks</a:t>
            </a:r>
          </a:p>
        </p:txBody>
      </p:sp>
      <p:sp>
        <p:nvSpPr>
          <p:cNvPr id="23" name="CuadroTexto 73">
            <a:extLst>
              <a:ext uri="{FF2B5EF4-FFF2-40B4-BE49-F238E27FC236}">
                <a16:creationId xmlns:a16="http://schemas.microsoft.com/office/drawing/2014/main" id="{79E67321-9120-AE8A-E83F-7CAE524F9384}"/>
              </a:ext>
            </a:extLst>
          </p:cNvPr>
          <p:cNvSpPr txBox="1"/>
          <p:nvPr/>
        </p:nvSpPr>
        <p:spPr>
          <a:xfrm>
            <a:off x="5375427" y="5091398"/>
            <a:ext cx="2486918" cy="400110"/>
          </a:xfrm>
          <a:prstGeom prst="rect">
            <a:avLst/>
          </a:prstGeom>
          <a:noFill/>
        </p:spPr>
        <p:txBody>
          <a:bodyPr wrap="square" lIns="91440" tIns="45720" rIns="91440" bIns="45720" anchor="t">
            <a:spAutoFit/>
          </a:bodyPr>
          <a:lstStyle/>
          <a:p>
            <a:pPr algn="ctr">
              <a:defRPr/>
            </a:pPr>
            <a:r>
              <a:rPr lang="en-US" sz="2000" b="1" dirty="0">
                <a:solidFill>
                  <a:schemeClr val="tx1">
                    <a:lumMod val="50000"/>
                  </a:schemeClr>
                </a:solidFill>
                <a:latin typeface="+mj-lt"/>
                <a:cs typeface="Poppins"/>
              </a:rPr>
              <a:t> U$110k </a:t>
            </a:r>
            <a:endParaRPr lang="en-US" sz="2000" dirty="0">
              <a:solidFill>
                <a:schemeClr val="tx1">
                  <a:lumMod val="50000"/>
                </a:schemeClr>
              </a:solidFill>
              <a:latin typeface="+mj-lt"/>
              <a:cs typeface="Poppins"/>
            </a:endParaRPr>
          </a:p>
        </p:txBody>
      </p:sp>
      <p:sp>
        <p:nvSpPr>
          <p:cNvPr id="31" name="Rectangle: Rounded Corners 2">
            <a:extLst>
              <a:ext uri="{FF2B5EF4-FFF2-40B4-BE49-F238E27FC236}">
                <a16:creationId xmlns:a16="http://schemas.microsoft.com/office/drawing/2014/main" id="{7241BB3B-273F-20F9-09D9-C6DC6508A00F}"/>
              </a:ext>
            </a:extLst>
          </p:cNvPr>
          <p:cNvSpPr/>
          <p:nvPr/>
        </p:nvSpPr>
        <p:spPr>
          <a:xfrm>
            <a:off x="886639" y="1915826"/>
            <a:ext cx="3069235" cy="487279"/>
          </a:xfrm>
          <a:prstGeom prst="roundRect">
            <a:avLst>
              <a:gd name="adj" fmla="val 3292"/>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482C9B"/>
                </a:solidFill>
                <a:cs typeface="Arial"/>
              </a:rPr>
              <a:t>Research market data,  retailer information &amp; Competitive Assessment</a:t>
            </a:r>
          </a:p>
        </p:txBody>
      </p:sp>
      <p:sp>
        <p:nvSpPr>
          <p:cNvPr id="35" name="CuadroTexto 66">
            <a:extLst>
              <a:ext uri="{FF2B5EF4-FFF2-40B4-BE49-F238E27FC236}">
                <a16:creationId xmlns:a16="http://schemas.microsoft.com/office/drawing/2014/main" id="{A5F411B1-9FD7-292A-FE8C-529F98831DDE}"/>
              </a:ext>
            </a:extLst>
          </p:cNvPr>
          <p:cNvSpPr txBox="1"/>
          <p:nvPr/>
        </p:nvSpPr>
        <p:spPr>
          <a:xfrm>
            <a:off x="4078999" y="2008291"/>
            <a:ext cx="1520456" cy="276999"/>
          </a:xfrm>
          <a:prstGeom prst="rect">
            <a:avLst/>
          </a:prstGeom>
          <a:noFill/>
        </p:spPr>
        <p:txBody>
          <a:bodyPr wrap="square">
            <a:spAutoFit/>
          </a:bodyPr>
          <a:lstStyle/>
          <a:p>
            <a:pPr marR="0" lvl="0" defTabSz="914400" rtl="0" eaLnBrk="1" fontAlgn="auto" latinLnBrk="0" hangingPunct="1">
              <a:lnSpc>
                <a:spcPct val="100000"/>
              </a:lnSpc>
              <a:spcBef>
                <a:spcPts val="0"/>
              </a:spcBef>
              <a:spcAft>
                <a:spcPts val="0"/>
              </a:spcAft>
              <a:buClrTx/>
              <a:buSzTx/>
              <a:tabLst/>
              <a:defRPr/>
            </a:pPr>
            <a:r>
              <a:rPr lang="en-US" sz="1100" dirty="0">
                <a:solidFill>
                  <a:srgbClr val="482C9B"/>
                </a:solidFill>
                <a:cs typeface="Arial"/>
              </a:rPr>
              <a:t>4</a:t>
            </a:r>
            <a:r>
              <a:rPr lang="en-US" sz="1200" dirty="0">
                <a:solidFill>
                  <a:schemeClr val="tx1">
                    <a:lumMod val="50000"/>
                  </a:schemeClr>
                </a:solidFill>
                <a:latin typeface="+mj-lt"/>
                <a:cs typeface="Poppins"/>
              </a:rPr>
              <a:t> </a:t>
            </a:r>
            <a:r>
              <a:rPr lang="en-US" sz="1100" dirty="0">
                <a:solidFill>
                  <a:srgbClr val="482C9B"/>
                </a:solidFill>
                <a:cs typeface="Arial"/>
              </a:rPr>
              <a:t>weeks</a:t>
            </a:r>
          </a:p>
        </p:txBody>
      </p:sp>
      <p:sp>
        <p:nvSpPr>
          <p:cNvPr id="10" name="Rectangle: Rounded Corners 2">
            <a:extLst>
              <a:ext uri="{FF2B5EF4-FFF2-40B4-BE49-F238E27FC236}">
                <a16:creationId xmlns:a16="http://schemas.microsoft.com/office/drawing/2014/main" id="{58AF39E7-A62B-0673-D005-1F356EEB2F97}"/>
              </a:ext>
            </a:extLst>
          </p:cNvPr>
          <p:cNvSpPr/>
          <p:nvPr/>
        </p:nvSpPr>
        <p:spPr>
          <a:xfrm>
            <a:off x="854931" y="3356973"/>
            <a:ext cx="3170435" cy="506216"/>
          </a:xfrm>
          <a:prstGeom prst="roundRect">
            <a:avLst>
              <a:gd name="adj" fmla="val 3292"/>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482C9B"/>
                </a:solidFill>
                <a:cs typeface="Arial"/>
              </a:rPr>
              <a:t>Analysis, results and recommendations</a:t>
            </a:r>
          </a:p>
        </p:txBody>
      </p:sp>
      <p:sp>
        <p:nvSpPr>
          <p:cNvPr id="19" name="CuadroTexto 66">
            <a:extLst>
              <a:ext uri="{FF2B5EF4-FFF2-40B4-BE49-F238E27FC236}">
                <a16:creationId xmlns:a16="http://schemas.microsoft.com/office/drawing/2014/main" id="{60906735-7150-0CDB-C57E-468F28D8E2E1}"/>
              </a:ext>
            </a:extLst>
          </p:cNvPr>
          <p:cNvSpPr txBox="1"/>
          <p:nvPr/>
        </p:nvSpPr>
        <p:spPr>
          <a:xfrm>
            <a:off x="4078999" y="3472274"/>
            <a:ext cx="1520456" cy="261610"/>
          </a:xfrm>
          <a:prstGeom prst="rect">
            <a:avLst/>
          </a:prstGeom>
          <a:noFill/>
        </p:spPr>
        <p:txBody>
          <a:bodyPr wrap="square">
            <a:spAutoFit/>
          </a:bodyPr>
          <a:lstStyle/>
          <a:p>
            <a:pPr>
              <a:defRPr/>
            </a:pPr>
            <a:r>
              <a:rPr lang="en-US" sz="1100" dirty="0">
                <a:solidFill>
                  <a:srgbClr val="482C9B"/>
                </a:solidFill>
                <a:cs typeface="Arial"/>
              </a:rPr>
              <a:t>2 weeks</a:t>
            </a:r>
          </a:p>
        </p:txBody>
      </p:sp>
      <p:sp>
        <p:nvSpPr>
          <p:cNvPr id="6" name="Rectangle: Rounded Corners 2">
            <a:extLst>
              <a:ext uri="{FF2B5EF4-FFF2-40B4-BE49-F238E27FC236}">
                <a16:creationId xmlns:a16="http://schemas.microsoft.com/office/drawing/2014/main" id="{A4EBCD7C-7614-E711-33B1-B17F5270666E}"/>
              </a:ext>
            </a:extLst>
          </p:cNvPr>
          <p:cNvSpPr/>
          <p:nvPr/>
        </p:nvSpPr>
        <p:spPr>
          <a:xfrm>
            <a:off x="726757" y="3052914"/>
            <a:ext cx="3186486" cy="499988"/>
          </a:xfrm>
          <a:prstGeom prst="roundRect">
            <a:avLst>
              <a:gd name="adj" fmla="val 3292"/>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482C9B"/>
                </a:solidFill>
                <a:cs typeface="Arial"/>
              </a:rPr>
              <a:t>Data collection </a:t>
            </a:r>
          </a:p>
        </p:txBody>
      </p:sp>
      <p:sp>
        <p:nvSpPr>
          <p:cNvPr id="21" name="CuadroTexto 66">
            <a:extLst>
              <a:ext uri="{FF2B5EF4-FFF2-40B4-BE49-F238E27FC236}">
                <a16:creationId xmlns:a16="http://schemas.microsoft.com/office/drawing/2014/main" id="{4C8B8071-DE07-DA40-647C-28A474890CC9}"/>
              </a:ext>
            </a:extLst>
          </p:cNvPr>
          <p:cNvSpPr txBox="1"/>
          <p:nvPr/>
        </p:nvSpPr>
        <p:spPr>
          <a:xfrm>
            <a:off x="4057227" y="3107344"/>
            <a:ext cx="1520456" cy="261610"/>
          </a:xfrm>
          <a:prstGeom prst="rect">
            <a:avLst/>
          </a:prstGeom>
          <a:noFill/>
        </p:spPr>
        <p:txBody>
          <a:bodyPr wrap="square">
            <a:spAutoFit/>
          </a:bodyPr>
          <a:lstStyle/>
          <a:p>
            <a:pPr marR="0" lvl="0" defTabSz="914400" rtl="0" eaLnBrk="1" fontAlgn="auto" latinLnBrk="0" hangingPunct="1">
              <a:lnSpc>
                <a:spcPct val="100000"/>
              </a:lnSpc>
              <a:spcBef>
                <a:spcPts val="0"/>
              </a:spcBef>
              <a:spcAft>
                <a:spcPts val="0"/>
              </a:spcAft>
              <a:buClrTx/>
              <a:buSzTx/>
              <a:tabLst/>
              <a:defRPr/>
            </a:pPr>
            <a:r>
              <a:rPr lang="en-US" sz="1100" dirty="0">
                <a:solidFill>
                  <a:srgbClr val="482C9B"/>
                </a:solidFill>
                <a:cs typeface="Arial"/>
              </a:rPr>
              <a:t>4 weeks</a:t>
            </a:r>
          </a:p>
        </p:txBody>
      </p:sp>
      <p:cxnSp>
        <p:nvCxnSpPr>
          <p:cNvPr id="12" name="Straight Connector 32">
            <a:extLst>
              <a:ext uri="{FF2B5EF4-FFF2-40B4-BE49-F238E27FC236}">
                <a16:creationId xmlns:a16="http://schemas.microsoft.com/office/drawing/2014/main" id="{6B35B75E-F96B-01AC-E241-A79AD77C1A7E}"/>
              </a:ext>
            </a:extLst>
          </p:cNvPr>
          <p:cNvCxnSpPr>
            <a:cxnSpLocks/>
          </p:cNvCxnSpPr>
          <p:nvPr/>
        </p:nvCxnSpPr>
        <p:spPr>
          <a:xfrm flipV="1">
            <a:off x="4912902" y="1126259"/>
            <a:ext cx="0" cy="4468998"/>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sp>
        <p:nvSpPr>
          <p:cNvPr id="27" name="Title 1">
            <a:extLst>
              <a:ext uri="{FF2B5EF4-FFF2-40B4-BE49-F238E27FC236}">
                <a16:creationId xmlns:a16="http://schemas.microsoft.com/office/drawing/2014/main" id="{93A4A2F6-59FA-562F-B141-9B23E55546E1}"/>
              </a:ext>
            </a:extLst>
          </p:cNvPr>
          <p:cNvSpPr txBox="1">
            <a:spLocks/>
          </p:cNvSpPr>
          <p:nvPr/>
        </p:nvSpPr>
        <p:spPr>
          <a:xfrm>
            <a:off x="1054408" y="294909"/>
            <a:ext cx="11732506" cy="472656"/>
          </a:xfrm>
          <a:prstGeom prst="rect">
            <a:avLst/>
          </a:prstGeom>
        </p:spPr>
        <p:txBody>
          <a:bodyPr vert="horz" lIns="91440" tIns="45720" rIns="91440" bIns="45720" rtlCol="0" anchor="ctr">
            <a:norm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r>
              <a:rPr lang="en-US" sz="2000" dirty="0">
                <a:solidFill>
                  <a:srgbClr val="472C9B"/>
                </a:solidFill>
                <a:latin typeface="Poppins Medium" pitchFamily="2" charset="77"/>
                <a:cs typeface="Poppins Medium" pitchFamily="2" charset="77"/>
              </a:rPr>
              <a:t>Investment: </a:t>
            </a:r>
          </a:p>
        </p:txBody>
      </p:sp>
      <p:sp>
        <p:nvSpPr>
          <p:cNvPr id="28" name="CuadroTexto 27">
            <a:extLst>
              <a:ext uri="{FF2B5EF4-FFF2-40B4-BE49-F238E27FC236}">
                <a16:creationId xmlns:a16="http://schemas.microsoft.com/office/drawing/2014/main" id="{8DA3E561-07AE-AE0F-BC6C-F53BD72FA138}"/>
              </a:ext>
            </a:extLst>
          </p:cNvPr>
          <p:cNvSpPr txBox="1"/>
          <p:nvPr/>
        </p:nvSpPr>
        <p:spPr>
          <a:xfrm>
            <a:off x="1054408" y="6121213"/>
            <a:ext cx="10988539" cy="830997"/>
          </a:xfrm>
          <a:prstGeom prst="rect">
            <a:avLst/>
          </a:prstGeom>
          <a:noFill/>
        </p:spPr>
        <p:txBody>
          <a:bodyPr wrap="square" lIns="91440" tIns="45720" rIns="91440" bIns="45720" rtlCol="0" anchor="t">
            <a:spAutoFit/>
          </a:bodyPr>
          <a:lstStyle/>
          <a:p>
            <a:pPr lvl="0">
              <a:lnSpc>
                <a:spcPct val="100000"/>
              </a:lnSpc>
            </a:pPr>
            <a:endParaRPr lang="en-US" sz="1200" b="0" i="0" u="none" strike="noStrike" kern="1200" cap="none" spc="0" normalizeH="0" baseline="0" noProof="0" dirty="0">
              <a:ln>
                <a:noFill/>
              </a:ln>
              <a:solidFill>
                <a:srgbClr val="482C9B"/>
              </a:solidFill>
              <a:effectLst/>
              <a:uLnTx/>
              <a:uFillTx/>
              <a:latin typeface="Poppins"/>
              <a:cs typeface="Poppins"/>
            </a:endParaRPr>
          </a:p>
          <a:p>
            <a:pPr marL="171450" lvl="0" indent="-171450">
              <a:lnSpc>
                <a:spcPct val="100000"/>
              </a:lnSpc>
              <a:buFontTx/>
              <a:buChar char="-"/>
            </a:pPr>
            <a:r>
              <a:rPr lang="en-US" sz="1200" dirty="0">
                <a:solidFill>
                  <a:srgbClr val="482C9B"/>
                </a:solidFill>
                <a:cs typeface="Arial"/>
              </a:rPr>
              <a:t>Proposal valid until November 15, 2024</a:t>
            </a:r>
          </a:p>
          <a:p>
            <a:pPr marL="171450" lvl="0" indent="-171450">
              <a:lnSpc>
                <a:spcPct val="100000"/>
              </a:lnSpc>
              <a:buFontTx/>
              <a:buChar char="-"/>
            </a:pPr>
            <a:r>
              <a:rPr lang="en-US" sz="1200" dirty="0">
                <a:solidFill>
                  <a:srgbClr val="482C9B"/>
                </a:solidFill>
                <a:cs typeface="Arial"/>
              </a:rPr>
              <a:t>Prices don´t include taxes</a:t>
            </a:r>
          </a:p>
          <a:p>
            <a:endParaRPr lang="en-US" sz="1200" dirty="0">
              <a:solidFill>
                <a:srgbClr val="482C9B"/>
              </a:solidFill>
            </a:endParaRPr>
          </a:p>
        </p:txBody>
      </p:sp>
      <p:sp>
        <p:nvSpPr>
          <p:cNvPr id="2" name="TextBox 2">
            <a:extLst>
              <a:ext uri="{FF2B5EF4-FFF2-40B4-BE49-F238E27FC236}">
                <a16:creationId xmlns:a16="http://schemas.microsoft.com/office/drawing/2014/main" id="{12DEABF5-6AF0-3DAD-B3C4-ABBDEFBD6718}"/>
              </a:ext>
            </a:extLst>
          </p:cNvPr>
          <p:cNvSpPr txBox="1"/>
          <p:nvPr/>
        </p:nvSpPr>
        <p:spPr>
          <a:xfrm>
            <a:off x="1161681" y="2612293"/>
            <a:ext cx="2293394" cy="338554"/>
          </a:xfrm>
          <a:prstGeom prst="rect">
            <a:avLst/>
          </a:prstGeom>
          <a:noFill/>
        </p:spPr>
        <p:txBody>
          <a:bodyPr wrap="square" rtlCol="0">
            <a:spAutoFit/>
          </a:bodyPr>
          <a:lstStyle>
            <a:defPPr>
              <a:defRPr lang="en-US"/>
            </a:defPPr>
            <a:lvl1pPr algn="ctr">
              <a:lnSpc>
                <a:spcPct val="100000"/>
              </a:lnSpc>
              <a:defRPr b="1">
                <a:solidFill>
                  <a:schemeClr val="tx1">
                    <a:lumMod val="85000"/>
                    <a:lumOff val="15000"/>
                  </a:schemeClr>
                </a:solidFill>
                <a:latin typeface="+mj-lt"/>
                <a:cs typeface="Segoe UI" panose="020B0502040204020203" pitchFamily="34" charset="0"/>
              </a:defRPr>
            </a:lvl1pPr>
          </a:lstStyle>
          <a:p>
            <a:r>
              <a:rPr lang="en-US" sz="1600" dirty="0">
                <a:solidFill>
                  <a:srgbClr val="482C9B"/>
                </a:solidFill>
                <a:latin typeface="+mn-lt"/>
                <a:cs typeface="Arial"/>
              </a:rPr>
              <a:t>Total Planning Phase</a:t>
            </a:r>
          </a:p>
        </p:txBody>
      </p:sp>
      <p:sp>
        <p:nvSpPr>
          <p:cNvPr id="8" name="TextBox 2">
            <a:extLst>
              <a:ext uri="{FF2B5EF4-FFF2-40B4-BE49-F238E27FC236}">
                <a16:creationId xmlns:a16="http://schemas.microsoft.com/office/drawing/2014/main" id="{4B7CDCB5-98B1-539D-7515-734F340CE8C9}"/>
              </a:ext>
            </a:extLst>
          </p:cNvPr>
          <p:cNvSpPr txBox="1"/>
          <p:nvPr/>
        </p:nvSpPr>
        <p:spPr>
          <a:xfrm>
            <a:off x="1086640" y="4016435"/>
            <a:ext cx="2497885" cy="338554"/>
          </a:xfrm>
          <a:prstGeom prst="rect">
            <a:avLst/>
          </a:prstGeom>
          <a:noFill/>
        </p:spPr>
        <p:txBody>
          <a:bodyPr wrap="square" rtlCol="0">
            <a:spAutoFit/>
          </a:bodyPr>
          <a:lstStyle>
            <a:defPPr>
              <a:defRPr lang="en-US"/>
            </a:defPPr>
            <a:lvl1pPr algn="ctr">
              <a:lnSpc>
                <a:spcPct val="100000"/>
              </a:lnSpc>
              <a:defRPr b="1">
                <a:solidFill>
                  <a:schemeClr val="tx1">
                    <a:lumMod val="85000"/>
                    <a:lumOff val="15000"/>
                  </a:schemeClr>
                </a:solidFill>
                <a:latin typeface="+mj-lt"/>
                <a:cs typeface="Segoe UI" panose="020B0502040204020203" pitchFamily="34" charset="0"/>
              </a:defRPr>
            </a:lvl1pPr>
          </a:lstStyle>
          <a:p>
            <a:r>
              <a:rPr lang="en-US" sz="1600" dirty="0">
                <a:solidFill>
                  <a:srgbClr val="482C9B"/>
                </a:solidFill>
                <a:latin typeface="+mn-lt"/>
                <a:cs typeface="Arial"/>
              </a:rPr>
              <a:t>Total Evaluation Phase</a:t>
            </a:r>
          </a:p>
        </p:txBody>
      </p:sp>
      <p:cxnSp>
        <p:nvCxnSpPr>
          <p:cNvPr id="25" name="Straight Connector 32">
            <a:extLst>
              <a:ext uri="{FF2B5EF4-FFF2-40B4-BE49-F238E27FC236}">
                <a16:creationId xmlns:a16="http://schemas.microsoft.com/office/drawing/2014/main" id="{23BA95B6-1538-3002-D85C-A76E7D8E2268}"/>
              </a:ext>
            </a:extLst>
          </p:cNvPr>
          <p:cNvCxnSpPr>
            <a:cxnSpLocks/>
          </p:cNvCxnSpPr>
          <p:nvPr/>
        </p:nvCxnSpPr>
        <p:spPr>
          <a:xfrm flipH="1" flipV="1">
            <a:off x="8766445" y="1126255"/>
            <a:ext cx="1387" cy="4469002"/>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sp>
        <p:nvSpPr>
          <p:cNvPr id="34" name="TextBox 2">
            <a:extLst>
              <a:ext uri="{FF2B5EF4-FFF2-40B4-BE49-F238E27FC236}">
                <a16:creationId xmlns:a16="http://schemas.microsoft.com/office/drawing/2014/main" id="{6EF10056-267B-8A0F-25A0-FCCA12CFEEB9}"/>
              </a:ext>
            </a:extLst>
          </p:cNvPr>
          <p:cNvSpPr txBox="1"/>
          <p:nvPr/>
        </p:nvSpPr>
        <p:spPr>
          <a:xfrm>
            <a:off x="5533415" y="971264"/>
            <a:ext cx="1812503" cy="338554"/>
          </a:xfrm>
          <a:prstGeom prst="rect">
            <a:avLst/>
          </a:prstGeom>
          <a:noFill/>
        </p:spPr>
        <p:txBody>
          <a:bodyPr wrap="square" rtlCol="0">
            <a:spAutoFit/>
          </a:bodyPr>
          <a:lstStyle>
            <a:defPPr>
              <a:defRPr lang="en-US"/>
            </a:defPPr>
            <a:lvl1pPr algn="ctr">
              <a:lnSpc>
                <a:spcPct val="100000"/>
              </a:lnSpc>
              <a:defRPr b="1">
                <a:solidFill>
                  <a:schemeClr val="tx1">
                    <a:lumMod val="85000"/>
                    <a:lumOff val="15000"/>
                  </a:schemeClr>
                </a:solidFill>
                <a:latin typeface="+mj-lt"/>
                <a:cs typeface="Segoe UI" panose="020B0502040204020203" pitchFamily="34" charset="0"/>
              </a:defRPr>
            </a:lvl1pPr>
          </a:lstStyle>
          <a:p>
            <a:r>
              <a:rPr lang="en-US" sz="1600" dirty="0">
                <a:solidFill>
                  <a:srgbClr val="482C9B"/>
                </a:solidFill>
                <a:latin typeface="+mn-lt"/>
                <a:cs typeface="Arial"/>
              </a:rPr>
              <a:t>Option 1</a:t>
            </a:r>
          </a:p>
        </p:txBody>
      </p:sp>
      <p:sp>
        <p:nvSpPr>
          <p:cNvPr id="37" name="TextBox 2">
            <a:extLst>
              <a:ext uri="{FF2B5EF4-FFF2-40B4-BE49-F238E27FC236}">
                <a16:creationId xmlns:a16="http://schemas.microsoft.com/office/drawing/2014/main" id="{B821DB59-46FB-A6C7-842D-8EBCA88C9B77}"/>
              </a:ext>
            </a:extLst>
          </p:cNvPr>
          <p:cNvSpPr txBox="1"/>
          <p:nvPr/>
        </p:nvSpPr>
        <p:spPr>
          <a:xfrm>
            <a:off x="9562656" y="994052"/>
            <a:ext cx="1812503" cy="338554"/>
          </a:xfrm>
          <a:prstGeom prst="rect">
            <a:avLst/>
          </a:prstGeom>
          <a:noFill/>
        </p:spPr>
        <p:txBody>
          <a:bodyPr wrap="square" rtlCol="0">
            <a:spAutoFit/>
          </a:bodyPr>
          <a:lstStyle>
            <a:defPPr>
              <a:defRPr lang="en-US"/>
            </a:defPPr>
            <a:lvl1pPr algn="ctr">
              <a:lnSpc>
                <a:spcPct val="100000"/>
              </a:lnSpc>
              <a:defRPr b="1">
                <a:solidFill>
                  <a:schemeClr val="tx1">
                    <a:lumMod val="85000"/>
                    <a:lumOff val="15000"/>
                  </a:schemeClr>
                </a:solidFill>
                <a:latin typeface="+mj-lt"/>
                <a:cs typeface="Segoe UI" panose="020B0502040204020203" pitchFamily="34" charset="0"/>
              </a:defRPr>
            </a:lvl1pPr>
          </a:lstStyle>
          <a:p>
            <a:r>
              <a:rPr lang="en-US" sz="1600" dirty="0">
                <a:solidFill>
                  <a:srgbClr val="482C9B"/>
                </a:solidFill>
                <a:latin typeface="+mn-lt"/>
                <a:cs typeface="Arial"/>
              </a:rPr>
              <a:t>Option 2</a:t>
            </a:r>
          </a:p>
        </p:txBody>
      </p:sp>
      <p:sp>
        <p:nvSpPr>
          <p:cNvPr id="38" name="CuadroTexto 73">
            <a:extLst>
              <a:ext uri="{FF2B5EF4-FFF2-40B4-BE49-F238E27FC236}">
                <a16:creationId xmlns:a16="http://schemas.microsoft.com/office/drawing/2014/main" id="{F7E01F15-EC36-2840-0F30-7932935E4207}"/>
              </a:ext>
            </a:extLst>
          </p:cNvPr>
          <p:cNvSpPr txBox="1"/>
          <p:nvPr/>
        </p:nvSpPr>
        <p:spPr>
          <a:xfrm>
            <a:off x="5301345" y="2601403"/>
            <a:ext cx="2611658" cy="400110"/>
          </a:xfrm>
          <a:prstGeom prst="rect">
            <a:avLst/>
          </a:prstGeom>
          <a:noFill/>
        </p:spPr>
        <p:txBody>
          <a:bodyPr wrap="square" lIns="91440" tIns="45720" rIns="91440" bIns="45720" anchor="t">
            <a:spAutoFit/>
          </a:bodyPr>
          <a:lstStyle/>
          <a:p>
            <a:pPr algn="ctr">
              <a:defRPr/>
            </a:pPr>
            <a:r>
              <a:rPr lang="en-US" sz="2000" b="1" dirty="0">
                <a:solidFill>
                  <a:schemeClr val="tx1">
                    <a:lumMod val="50000"/>
                  </a:schemeClr>
                </a:solidFill>
                <a:latin typeface="+mj-lt"/>
                <a:cs typeface="Poppins"/>
              </a:rPr>
              <a:t> U$55k </a:t>
            </a:r>
            <a:endParaRPr lang="en-US" sz="2000" dirty="0">
              <a:solidFill>
                <a:schemeClr val="tx1">
                  <a:lumMod val="50000"/>
                </a:schemeClr>
              </a:solidFill>
              <a:latin typeface="+mj-lt"/>
              <a:cs typeface="Poppins"/>
            </a:endParaRPr>
          </a:p>
        </p:txBody>
      </p:sp>
      <p:sp>
        <p:nvSpPr>
          <p:cNvPr id="41" name="CuadroTexto 73">
            <a:extLst>
              <a:ext uri="{FF2B5EF4-FFF2-40B4-BE49-F238E27FC236}">
                <a16:creationId xmlns:a16="http://schemas.microsoft.com/office/drawing/2014/main" id="{7C5CC4C9-458E-B73F-33A0-2C1F8C85EF4A}"/>
              </a:ext>
            </a:extLst>
          </p:cNvPr>
          <p:cNvSpPr txBox="1"/>
          <p:nvPr/>
        </p:nvSpPr>
        <p:spPr>
          <a:xfrm>
            <a:off x="5371651" y="3980069"/>
            <a:ext cx="2486918" cy="400110"/>
          </a:xfrm>
          <a:prstGeom prst="rect">
            <a:avLst/>
          </a:prstGeom>
          <a:noFill/>
        </p:spPr>
        <p:txBody>
          <a:bodyPr wrap="square" lIns="91440" tIns="45720" rIns="91440" bIns="45720" anchor="t">
            <a:spAutoFit/>
          </a:bodyPr>
          <a:lstStyle/>
          <a:p>
            <a:pPr algn="ctr">
              <a:defRPr/>
            </a:pPr>
            <a:r>
              <a:rPr lang="en-US" sz="2000" b="1" dirty="0">
                <a:solidFill>
                  <a:schemeClr val="tx1">
                    <a:lumMod val="50000"/>
                  </a:schemeClr>
                </a:solidFill>
                <a:latin typeface="+mj-lt"/>
                <a:cs typeface="Poppins"/>
              </a:rPr>
              <a:t> U$55k </a:t>
            </a:r>
            <a:endParaRPr lang="en-US" sz="2000" dirty="0">
              <a:solidFill>
                <a:schemeClr val="tx1">
                  <a:lumMod val="50000"/>
                </a:schemeClr>
              </a:solidFill>
              <a:latin typeface="+mj-lt"/>
              <a:cs typeface="Poppins"/>
            </a:endParaRPr>
          </a:p>
        </p:txBody>
      </p:sp>
      <p:sp>
        <p:nvSpPr>
          <p:cNvPr id="44" name="CuadroTexto 73">
            <a:extLst>
              <a:ext uri="{FF2B5EF4-FFF2-40B4-BE49-F238E27FC236}">
                <a16:creationId xmlns:a16="http://schemas.microsoft.com/office/drawing/2014/main" id="{62B9CC32-2E63-1587-D185-D5347A2690E2}"/>
              </a:ext>
            </a:extLst>
          </p:cNvPr>
          <p:cNvSpPr txBox="1"/>
          <p:nvPr/>
        </p:nvSpPr>
        <p:spPr>
          <a:xfrm>
            <a:off x="9141885" y="5091394"/>
            <a:ext cx="2486918" cy="400110"/>
          </a:xfrm>
          <a:prstGeom prst="rect">
            <a:avLst/>
          </a:prstGeom>
          <a:noFill/>
        </p:spPr>
        <p:txBody>
          <a:bodyPr wrap="square" lIns="91440" tIns="45720" rIns="91440" bIns="45720" anchor="t">
            <a:spAutoFit/>
          </a:bodyPr>
          <a:lstStyle/>
          <a:p>
            <a:pPr algn="ctr">
              <a:defRPr/>
            </a:pPr>
            <a:r>
              <a:rPr lang="en-US" sz="2000" b="1" dirty="0">
                <a:solidFill>
                  <a:schemeClr val="tx1">
                    <a:lumMod val="50000"/>
                  </a:schemeClr>
                </a:solidFill>
                <a:latin typeface="+mj-lt"/>
                <a:cs typeface="Poppins"/>
              </a:rPr>
              <a:t> U$85k </a:t>
            </a:r>
            <a:endParaRPr lang="en-US" sz="2000" dirty="0">
              <a:solidFill>
                <a:schemeClr val="tx1">
                  <a:lumMod val="50000"/>
                </a:schemeClr>
              </a:solidFill>
              <a:latin typeface="+mj-lt"/>
              <a:cs typeface="Poppins"/>
            </a:endParaRPr>
          </a:p>
        </p:txBody>
      </p:sp>
      <p:sp>
        <p:nvSpPr>
          <p:cNvPr id="48" name="Rectangle: Rounded Corners 2">
            <a:extLst>
              <a:ext uri="{FF2B5EF4-FFF2-40B4-BE49-F238E27FC236}">
                <a16:creationId xmlns:a16="http://schemas.microsoft.com/office/drawing/2014/main" id="{24D9054E-4952-752A-434F-BB78F6A2E1FB}"/>
              </a:ext>
            </a:extLst>
          </p:cNvPr>
          <p:cNvSpPr/>
          <p:nvPr/>
        </p:nvSpPr>
        <p:spPr>
          <a:xfrm>
            <a:off x="5240150" y="1479664"/>
            <a:ext cx="3149465" cy="627507"/>
          </a:xfrm>
          <a:prstGeom prst="roundRect">
            <a:avLst>
              <a:gd name="adj" fmla="val 3292"/>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482C9B"/>
                </a:solidFill>
                <a:cs typeface="Arial"/>
              </a:rPr>
              <a:t>Planning Phase and Evaluation Phase are delivered  separately</a:t>
            </a:r>
          </a:p>
        </p:txBody>
      </p:sp>
      <p:sp>
        <p:nvSpPr>
          <p:cNvPr id="49" name="Rectangle: Rounded Corners 2">
            <a:extLst>
              <a:ext uri="{FF2B5EF4-FFF2-40B4-BE49-F238E27FC236}">
                <a16:creationId xmlns:a16="http://schemas.microsoft.com/office/drawing/2014/main" id="{6151B884-5FAD-1074-CB71-8D623943F153}"/>
              </a:ext>
            </a:extLst>
          </p:cNvPr>
          <p:cNvSpPr/>
          <p:nvPr/>
        </p:nvSpPr>
        <p:spPr>
          <a:xfrm>
            <a:off x="9141885" y="1436120"/>
            <a:ext cx="2712474" cy="627507"/>
          </a:xfrm>
          <a:prstGeom prst="roundRect">
            <a:avLst>
              <a:gd name="adj" fmla="val 3292"/>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482C9B"/>
                </a:solidFill>
                <a:cs typeface="Arial"/>
              </a:rPr>
              <a:t>Planning Phase and Evaluation Phase are delivered as a package </a:t>
            </a:r>
          </a:p>
        </p:txBody>
      </p:sp>
      <p:sp>
        <p:nvSpPr>
          <p:cNvPr id="50" name="CuadroTexto 69">
            <a:extLst>
              <a:ext uri="{FF2B5EF4-FFF2-40B4-BE49-F238E27FC236}">
                <a16:creationId xmlns:a16="http://schemas.microsoft.com/office/drawing/2014/main" id="{B840A035-0A37-B982-5BB0-3CCCB93A4277}"/>
              </a:ext>
            </a:extLst>
          </p:cNvPr>
          <p:cNvSpPr txBox="1"/>
          <p:nvPr/>
        </p:nvSpPr>
        <p:spPr>
          <a:xfrm>
            <a:off x="4047053" y="4044536"/>
            <a:ext cx="1916935" cy="261610"/>
          </a:xfrm>
          <a:prstGeom prst="rect">
            <a:avLst/>
          </a:prstGeom>
          <a:noFill/>
        </p:spPr>
        <p:txBody>
          <a:bodyPr wrap="square">
            <a:spAutoFit/>
          </a:bodyPr>
          <a:lstStyle/>
          <a:p>
            <a:pPr marR="0" lvl="0" defTabSz="914400" rtl="0" eaLnBrk="1" fontAlgn="auto" latinLnBrk="0" hangingPunct="1">
              <a:lnSpc>
                <a:spcPct val="100000"/>
              </a:lnSpc>
              <a:spcBef>
                <a:spcPts val="0"/>
              </a:spcBef>
              <a:spcAft>
                <a:spcPts val="0"/>
              </a:spcAft>
              <a:buClrTx/>
              <a:buSzTx/>
              <a:tabLst/>
              <a:defRPr/>
            </a:pPr>
            <a:r>
              <a:rPr lang="en-US" sz="1100" dirty="0">
                <a:solidFill>
                  <a:srgbClr val="482C9B"/>
                </a:solidFill>
                <a:cs typeface="Arial"/>
              </a:rPr>
              <a:t>6 weeks</a:t>
            </a:r>
          </a:p>
        </p:txBody>
      </p:sp>
      <p:sp>
        <p:nvSpPr>
          <p:cNvPr id="51" name="CuadroTexto 69">
            <a:extLst>
              <a:ext uri="{FF2B5EF4-FFF2-40B4-BE49-F238E27FC236}">
                <a16:creationId xmlns:a16="http://schemas.microsoft.com/office/drawing/2014/main" id="{24CB775F-235D-106D-0D74-0AE64829B08A}"/>
              </a:ext>
            </a:extLst>
          </p:cNvPr>
          <p:cNvSpPr txBox="1"/>
          <p:nvPr/>
        </p:nvSpPr>
        <p:spPr>
          <a:xfrm>
            <a:off x="4047049" y="5122224"/>
            <a:ext cx="1916935" cy="261610"/>
          </a:xfrm>
          <a:prstGeom prst="rect">
            <a:avLst/>
          </a:prstGeom>
          <a:noFill/>
        </p:spPr>
        <p:txBody>
          <a:bodyPr wrap="square">
            <a:spAutoFit/>
          </a:bodyPr>
          <a:lstStyle/>
          <a:p>
            <a:pPr marR="0" lvl="0" defTabSz="914400" rtl="0" eaLnBrk="1" fontAlgn="auto" latinLnBrk="0" hangingPunct="1">
              <a:lnSpc>
                <a:spcPct val="100000"/>
              </a:lnSpc>
              <a:spcBef>
                <a:spcPts val="0"/>
              </a:spcBef>
              <a:spcAft>
                <a:spcPts val="0"/>
              </a:spcAft>
              <a:buClrTx/>
              <a:buSzTx/>
              <a:tabLst/>
              <a:defRPr/>
            </a:pPr>
            <a:r>
              <a:rPr lang="en-US" sz="1100" dirty="0">
                <a:solidFill>
                  <a:srgbClr val="482C9B"/>
                </a:solidFill>
                <a:cs typeface="Arial"/>
              </a:rPr>
              <a:t>12 weeks</a:t>
            </a:r>
          </a:p>
        </p:txBody>
      </p:sp>
      <p:pic>
        <p:nvPicPr>
          <p:cNvPr id="52" name="Picture 2" descr="Belcorp | Brands of the World™ | Download vector logos and ...">
            <a:extLst>
              <a:ext uri="{FF2B5EF4-FFF2-40B4-BE49-F238E27FC236}">
                <a16:creationId xmlns:a16="http://schemas.microsoft.com/office/drawing/2014/main" id="{17EF5ABC-11D6-F5CC-990C-19B9DAC9ED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67519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9D9823C9-7E50-602F-6F1D-9F872A80B3E9}"/>
              </a:ext>
            </a:extLst>
          </p:cNvPr>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t="8149" b="8149"/>
          <a:stretch/>
        </p:blipFill>
        <p:spPr>
          <a:xfrm>
            <a:off x="0" y="8467"/>
            <a:ext cx="12308115" cy="6858001"/>
          </a:xfrm>
          <a:prstGeom prst="rect">
            <a:avLst/>
          </a:prstGeom>
        </p:spPr>
      </p:pic>
      <p:sp>
        <p:nvSpPr>
          <p:cNvPr id="5" name="object 5">
            <a:extLst>
              <a:ext uri="{FF2B5EF4-FFF2-40B4-BE49-F238E27FC236}">
                <a16:creationId xmlns:a16="http://schemas.microsoft.com/office/drawing/2014/main" id="{591E5BB4-8175-5F99-6D06-7F103030AE3A}"/>
              </a:ext>
            </a:extLst>
          </p:cNvPr>
          <p:cNvSpPr/>
          <p:nvPr/>
        </p:nvSpPr>
        <p:spPr>
          <a:xfrm>
            <a:off x="4905375" y="4513793"/>
            <a:ext cx="7402740" cy="2370667"/>
          </a:xfrm>
          <a:custGeom>
            <a:avLst/>
            <a:gdLst/>
            <a:ahLst/>
            <a:cxnLst/>
            <a:rect l="l" t="t" r="r" b="b"/>
            <a:pathLst>
              <a:path w="5537200" h="1778000">
                <a:moveTo>
                  <a:pt x="5537200" y="0"/>
                </a:moveTo>
                <a:lnTo>
                  <a:pt x="877849" y="0"/>
                </a:lnTo>
                <a:lnTo>
                  <a:pt x="0" y="1778000"/>
                </a:lnTo>
                <a:lnTo>
                  <a:pt x="5537200" y="1778000"/>
                </a:lnTo>
                <a:lnTo>
                  <a:pt x="5537200" y="0"/>
                </a:lnTo>
                <a:close/>
              </a:path>
            </a:pathLst>
          </a:custGeom>
          <a:solidFill>
            <a:srgbClr val="4F37A2">
              <a:alpha val="63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6" name="object 7">
            <a:extLst>
              <a:ext uri="{FF2B5EF4-FFF2-40B4-BE49-F238E27FC236}">
                <a16:creationId xmlns:a16="http://schemas.microsoft.com/office/drawing/2014/main" id="{AD2DD8B4-6A1E-29C4-36B5-8A906713F80E}"/>
              </a:ext>
            </a:extLst>
          </p:cNvPr>
          <p:cNvSpPr/>
          <p:nvPr/>
        </p:nvSpPr>
        <p:spPr>
          <a:xfrm>
            <a:off x="0" y="-1"/>
            <a:ext cx="1676400" cy="1137073"/>
          </a:xfrm>
          <a:custGeom>
            <a:avLst/>
            <a:gdLst/>
            <a:ahLst/>
            <a:cxnLst/>
            <a:rect l="l" t="t" r="r" b="b"/>
            <a:pathLst>
              <a:path w="1257300" h="852805">
                <a:moveTo>
                  <a:pt x="1257058" y="0"/>
                </a:moveTo>
                <a:lnTo>
                  <a:pt x="0" y="0"/>
                </a:lnTo>
                <a:lnTo>
                  <a:pt x="0" y="852424"/>
                </a:lnTo>
                <a:lnTo>
                  <a:pt x="1257058" y="0"/>
                </a:lnTo>
                <a:close/>
              </a:path>
            </a:pathLst>
          </a:custGeom>
          <a:solidFill>
            <a:srgbClr val="472C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7" name="object 8">
            <a:extLst>
              <a:ext uri="{FF2B5EF4-FFF2-40B4-BE49-F238E27FC236}">
                <a16:creationId xmlns:a16="http://schemas.microsoft.com/office/drawing/2014/main" id="{939BBB3F-B3AE-3CF0-2F98-E934E009EBB2}"/>
              </a:ext>
            </a:extLst>
          </p:cNvPr>
          <p:cNvSpPr/>
          <p:nvPr/>
        </p:nvSpPr>
        <p:spPr>
          <a:xfrm>
            <a:off x="6810921" y="488709"/>
            <a:ext cx="2097193" cy="2545080"/>
          </a:xfrm>
          <a:custGeom>
            <a:avLst/>
            <a:gdLst/>
            <a:ahLst/>
            <a:cxnLst/>
            <a:rect l="l" t="t" r="r" b="b"/>
            <a:pathLst>
              <a:path w="1572895" h="1908810">
                <a:moveTo>
                  <a:pt x="1103426" y="0"/>
                </a:moveTo>
                <a:lnTo>
                  <a:pt x="1102944" y="838"/>
                </a:lnTo>
                <a:lnTo>
                  <a:pt x="1102461" y="0"/>
                </a:lnTo>
                <a:lnTo>
                  <a:pt x="880846" y="383844"/>
                </a:lnTo>
                <a:lnTo>
                  <a:pt x="881354" y="384721"/>
                </a:lnTo>
                <a:lnTo>
                  <a:pt x="223240" y="1524609"/>
                </a:lnTo>
                <a:lnTo>
                  <a:pt x="221576" y="1524609"/>
                </a:lnTo>
                <a:lnTo>
                  <a:pt x="0" y="1908403"/>
                </a:lnTo>
                <a:lnTo>
                  <a:pt x="1572895" y="1908403"/>
                </a:lnTo>
                <a:lnTo>
                  <a:pt x="1351318" y="1524609"/>
                </a:lnTo>
                <a:lnTo>
                  <a:pt x="666407" y="1524609"/>
                </a:lnTo>
                <a:lnTo>
                  <a:pt x="1102944" y="768502"/>
                </a:lnTo>
                <a:lnTo>
                  <a:pt x="1142365" y="836777"/>
                </a:lnTo>
                <a:lnTo>
                  <a:pt x="1363954" y="452996"/>
                </a:lnTo>
                <a:lnTo>
                  <a:pt x="1324533" y="384721"/>
                </a:lnTo>
                <a:lnTo>
                  <a:pt x="1325041" y="383844"/>
                </a:lnTo>
                <a:lnTo>
                  <a:pt x="1103426" y="0"/>
                </a:lnTo>
                <a:close/>
              </a:path>
            </a:pathLst>
          </a:custGeom>
          <a:solidFill>
            <a:srgbClr val="8D80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8" name="object 9">
            <a:extLst>
              <a:ext uri="{FF2B5EF4-FFF2-40B4-BE49-F238E27FC236}">
                <a16:creationId xmlns:a16="http://schemas.microsoft.com/office/drawing/2014/main" id="{2F0DF3AA-263A-209E-D635-1F6AFF611BB1}"/>
              </a:ext>
            </a:extLst>
          </p:cNvPr>
          <p:cNvSpPr txBox="1">
            <a:spLocks/>
          </p:cNvSpPr>
          <p:nvPr/>
        </p:nvSpPr>
        <p:spPr>
          <a:xfrm>
            <a:off x="8804550" y="1081096"/>
            <a:ext cx="3387450" cy="2492135"/>
          </a:xfrm>
          <a:prstGeom prst="rect">
            <a:avLst/>
          </a:prstGeom>
          <a:noFill/>
        </p:spPr>
        <p:txBody>
          <a:bodyPr spcFirstLastPara="1" vert="horz" wrap="square" lIns="0" tIns="16933" rIns="0" bIns="0" rtlCol="0" anchor="ctr" anchorCtr="0">
            <a:sp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16933" marR="0" lvl="0" indent="0" algn="l" defTabSz="914400" rtl="0" eaLnBrk="1" fontAlgn="auto" latinLnBrk="0" hangingPunct="1">
              <a:lnSpc>
                <a:spcPct val="100000"/>
              </a:lnSpc>
              <a:spcBef>
                <a:spcPts val="133"/>
              </a:spcBef>
              <a:spcAft>
                <a:spcPts val="0"/>
              </a:spcAft>
              <a:buClrTx/>
              <a:buSzTx/>
              <a:buFontTx/>
              <a:buNone/>
              <a:tabLst/>
              <a:defRPr/>
            </a:pPr>
            <a:r>
              <a:rPr kumimoji="0" lang="es-CO" sz="16000" b="1" i="0" u="none" strike="noStrike" kern="1200" cap="none" spc="-33" normalizeH="0" baseline="0" noProof="0">
                <a:ln>
                  <a:noFill/>
                </a:ln>
                <a:solidFill>
                  <a:srgbClr val="FFFFFF"/>
                </a:solidFill>
                <a:effectLst/>
                <a:uLnTx/>
                <a:uFillTx/>
                <a:latin typeface="Poppins" pitchFamily="2" charset="77"/>
                <a:ea typeface="+mj-ea"/>
                <a:cs typeface="Poppins" pitchFamily="2" charset="77"/>
              </a:rPr>
              <a:t>05</a:t>
            </a:r>
          </a:p>
        </p:txBody>
      </p:sp>
      <p:sp>
        <p:nvSpPr>
          <p:cNvPr id="2" name="Título 1">
            <a:extLst>
              <a:ext uri="{FF2B5EF4-FFF2-40B4-BE49-F238E27FC236}">
                <a16:creationId xmlns:a16="http://schemas.microsoft.com/office/drawing/2014/main" id="{16CB7956-01CE-460C-3A33-51BA961CDAA9}"/>
              </a:ext>
            </a:extLst>
          </p:cNvPr>
          <p:cNvSpPr>
            <a:spLocks noGrp="1"/>
          </p:cNvSpPr>
          <p:nvPr>
            <p:ph type="title"/>
          </p:nvPr>
        </p:nvSpPr>
        <p:spPr>
          <a:xfrm>
            <a:off x="7859517" y="4900290"/>
            <a:ext cx="4173633" cy="798836"/>
          </a:xfrm>
        </p:spPr>
        <p:txBody>
          <a:bodyPr/>
          <a:lstStyle/>
          <a:p>
            <a:r>
              <a:rPr lang="es-MX" sz="4000" b="1">
                <a:solidFill>
                  <a:srgbClr val="FFFFFF"/>
                </a:solidFill>
                <a:latin typeface="Poppins Bold"/>
                <a:ea typeface="+mn-ea"/>
                <a:cs typeface="Poppins Bold"/>
              </a:rPr>
              <a:t>I</a:t>
            </a:r>
            <a:r>
              <a:rPr lang="es-CO" sz="4000" b="1">
                <a:solidFill>
                  <a:srgbClr val="FFFFFF"/>
                </a:solidFill>
                <a:latin typeface="Poppins Bold"/>
                <a:ea typeface="+mn-ea"/>
                <a:cs typeface="Poppins Bold"/>
              </a:rPr>
              <a:t>OTA </a:t>
            </a:r>
            <a:r>
              <a:rPr lang="es-CO" sz="4000" b="1" err="1">
                <a:solidFill>
                  <a:srgbClr val="FFFFFF"/>
                </a:solidFill>
                <a:latin typeface="Poppins Bold"/>
                <a:ea typeface="+mn-ea"/>
                <a:cs typeface="Poppins Bold"/>
              </a:rPr>
              <a:t>Impact</a:t>
            </a:r>
            <a:endParaRPr lang="en-CA" sz="4000" b="1">
              <a:solidFill>
                <a:srgbClr val="FFFFFF"/>
              </a:solidFill>
              <a:latin typeface="Poppins Bold"/>
              <a:ea typeface="+mn-ea"/>
              <a:cs typeface="Poppins Bold"/>
            </a:endParaRPr>
          </a:p>
        </p:txBody>
      </p:sp>
    </p:spTree>
    <p:extLst>
      <p:ext uri="{BB962C8B-B14F-4D97-AF65-F5344CB8AC3E}">
        <p14:creationId xmlns:p14="http://schemas.microsoft.com/office/powerpoint/2010/main" val="4214235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E79E62D-26CF-7705-8486-F7B7D7486E09}"/>
              </a:ext>
            </a:extLst>
          </p:cNvPr>
          <p:cNvSpPr>
            <a:spLocks noGrp="1"/>
          </p:cNvSpPr>
          <p:nvPr>
            <p:ph type="title"/>
          </p:nvPr>
        </p:nvSpPr>
        <p:spPr>
          <a:xfrm>
            <a:off x="1249811" y="2223717"/>
            <a:ext cx="4285891" cy="989223"/>
          </a:xfrm>
        </p:spPr>
        <p:txBody>
          <a:bodyPr>
            <a:noAutofit/>
          </a:bodyPr>
          <a:lstStyle/>
          <a:p>
            <a:r>
              <a:rPr lang="es-CO" b="1" err="1">
                <a:cs typeface="Poppins"/>
              </a:rPr>
              <a:t>The</a:t>
            </a:r>
            <a:r>
              <a:rPr lang="es-CO" b="1">
                <a:cs typeface="Poppins"/>
              </a:rPr>
              <a:t> IOTA </a:t>
            </a:r>
            <a:r>
              <a:rPr lang="es-CO" sz="2000" b="1" err="1">
                <a:solidFill>
                  <a:schemeClr val="accent3"/>
                </a:solidFill>
                <a:cs typeface="Poppins"/>
              </a:rPr>
              <a:t>Difference</a:t>
            </a:r>
            <a:r>
              <a:rPr lang="es-CO" sz="1800">
                <a:solidFill>
                  <a:schemeClr val="accent3"/>
                </a:solidFill>
                <a:cs typeface="Poppins"/>
              </a:rPr>
              <a:t>.</a:t>
            </a:r>
          </a:p>
        </p:txBody>
      </p:sp>
      <p:sp>
        <p:nvSpPr>
          <p:cNvPr id="10" name="Título 1">
            <a:extLst>
              <a:ext uri="{FF2B5EF4-FFF2-40B4-BE49-F238E27FC236}">
                <a16:creationId xmlns:a16="http://schemas.microsoft.com/office/drawing/2014/main" id="{CBDFD6D3-BB2C-4B28-22FE-4328061C3E05}"/>
              </a:ext>
            </a:extLst>
          </p:cNvPr>
          <p:cNvSpPr txBox="1">
            <a:spLocks/>
          </p:cNvSpPr>
          <p:nvPr/>
        </p:nvSpPr>
        <p:spPr>
          <a:xfrm>
            <a:off x="1276392" y="3576963"/>
            <a:ext cx="4820729" cy="9892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45354">
                    <a:lumMod val="75000"/>
                  </a:srgbClr>
                </a:solidFill>
                <a:effectLst/>
                <a:uLnTx/>
                <a:uFillTx/>
                <a:latin typeface="Poppins"/>
                <a:ea typeface="+mj-ea"/>
                <a:cs typeface="Poppins"/>
              </a:rPr>
              <a:t>At IOTA Impact, we steer and execute. Our rapid, data-driven insights accelerate ROI. We're more than strategy – we're your partners for market success. </a:t>
            </a:r>
          </a:p>
          <a:p>
            <a:pPr marL="0" marR="0" lvl="0" indent="0" algn="just" defTabSz="914400"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545354">
                  <a:lumMod val="75000"/>
                </a:srgbClr>
              </a:solidFill>
              <a:effectLst/>
              <a:uLnTx/>
              <a:uFillTx/>
              <a:latin typeface="Poppins"/>
              <a:ea typeface="+mj-ea"/>
              <a:cs typeface="Poppins"/>
            </a:endParaRPr>
          </a:p>
          <a:p>
            <a:pPr marL="0" marR="0" lvl="0" indent="0" algn="just"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45354">
                    <a:lumMod val="75000"/>
                  </a:srgbClr>
                </a:solidFill>
                <a:effectLst/>
                <a:uLnTx/>
                <a:uFillTx/>
                <a:latin typeface="Poppins"/>
                <a:ea typeface="+mj-ea"/>
                <a:cs typeface="Poppins"/>
              </a:rPr>
              <a:t>As pioneers in automation and sustainability, we're your co-pilots for scalable success. That's the IOTA difference.</a:t>
            </a:r>
            <a:endParaRPr kumimoji="0" lang="es-CO" sz="1400" b="0" i="0" u="none" strike="noStrike" kern="1200" cap="none" spc="0" normalizeH="0" baseline="0" noProof="0">
              <a:ln>
                <a:noFill/>
              </a:ln>
              <a:solidFill>
                <a:srgbClr val="545354">
                  <a:lumMod val="75000"/>
                </a:srgbClr>
              </a:solidFill>
              <a:effectLst/>
              <a:uLnTx/>
              <a:uFillTx/>
              <a:latin typeface="Poppins"/>
              <a:ea typeface="+mj-ea"/>
              <a:cs typeface="Poppins"/>
            </a:endParaRPr>
          </a:p>
        </p:txBody>
      </p:sp>
      <p:pic>
        <p:nvPicPr>
          <p:cNvPr id="8" name="Imagen 7">
            <a:extLst>
              <a:ext uri="{FF2B5EF4-FFF2-40B4-BE49-F238E27FC236}">
                <a16:creationId xmlns:a16="http://schemas.microsoft.com/office/drawing/2014/main" id="{8F77494F-B043-2328-0A28-430999B4F4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09121" y="1790067"/>
            <a:ext cx="4285216" cy="1316268"/>
          </a:xfrm>
          <a:prstGeom prst="rect">
            <a:avLst/>
          </a:prstGeom>
        </p:spPr>
      </p:pic>
      <p:pic>
        <p:nvPicPr>
          <p:cNvPr id="12" name="Imagen 11">
            <a:extLst>
              <a:ext uri="{FF2B5EF4-FFF2-40B4-BE49-F238E27FC236}">
                <a16:creationId xmlns:a16="http://schemas.microsoft.com/office/drawing/2014/main" id="{F1B25813-4A68-86B4-2E47-E31C715B7E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9120" y="818644"/>
            <a:ext cx="4285215" cy="1316268"/>
          </a:xfrm>
          <a:prstGeom prst="rect">
            <a:avLst/>
          </a:prstGeom>
        </p:spPr>
      </p:pic>
      <p:pic>
        <p:nvPicPr>
          <p:cNvPr id="14" name="Imagen 13">
            <a:extLst>
              <a:ext uri="{FF2B5EF4-FFF2-40B4-BE49-F238E27FC236}">
                <a16:creationId xmlns:a16="http://schemas.microsoft.com/office/drawing/2014/main" id="{11C2046F-2960-0743-6EE7-8AAD634D6E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9123" y="2733498"/>
            <a:ext cx="4285214" cy="1316268"/>
          </a:xfrm>
          <a:prstGeom prst="rect">
            <a:avLst/>
          </a:prstGeom>
        </p:spPr>
      </p:pic>
      <p:pic>
        <p:nvPicPr>
          <p:cNvPr id="16" name="Imagen 15">
            <a:extLst>
              <a:ext uri="{FF2B5EF4-FFF2-40B4-BE49-F238E27FC236}">
                <a16:creationId xmlns:a16="http://schemas.microsoft.com/office/drawing/2014/main" id="{7A57323F-E95E-1CC0-5FB4-5DF720CF9E3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67072" y="4421691"/>
            <a:ext cx="4962775" cy="1699019"/>
          </a:xfrm>
          <a:prstGeom prst="rect">
            <a:avLst/>
          </a:prstGeom>
        </p:spPr>
      </p:pic>
      <p:sp>
        <p:nvSpPr>
          <p:cNvPr id="18" name="CuadroTexto 17">
            <a:extLst>
              <a:ext uri="{FF2B5EF4-FFF2-40B4-BE49-F238E27FC236}">
                <a16:creationId xmlns:a16="http://schemas.microsoft.com/office/drawing/2014/main" id="{DDEED012-49EE-F5EB-2DD2-23126693F84E}"/>
              </a:ext>
            </a:extLst>
          </p:cNvPr>
          <p:cNvSpPr txBox="1"/>
          <p:nvPr/>
        </p:nvSpPr>
        <p:spPr>
          <a:xfrm>
            <a:off x="8329435" y="4237025"/>
            <a:ext cx="213854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150" normalizeH="0" baseline="0" noProof="0">
                <a:ln>
                  <a:noFill/>
                </a:ln>
                <a:solidFill>
                  <a:srgbClr val="9583FF"/>
                </a:solidFill>
                <a:effectLst/>
                <a:uLnTx/>
                <a:uFillTx/>
                <a:latin typeface="Poppins" panose="00000500000000000000" pitchFamily="2" charset="0"/>
                <a:ea typeface="+mn-ea"/>
                <a:cs typeface="Poppins" panose="00000500000000000000" pitchFamily="2" charset="0"/>
              </a:rPr>
              <a:t>Global </a:t>
            </a:r>
            <a:r>
              <a:rPr kumimoji="0" lang="es-CO" sz="1800" b="1" i="0" u="none" strike="noStrike" kern="1200" cap="none" spc="-150" normalizeH="0" baseline="0" noProof="0" err="1">
                <a:ln>
                  <a:noFill/>
                </a:ln>
                <a:solidFill>
                  <a:srgbClr val="9583FF"/>
                </a:solidFill>
                <a:effectLst/>
                <a:uLnTx/>
                <a:uFillTx/>
                <a:latin typeface="Poppins" panose="00000500000000000000" pitchFamily="2" charset="0"/>
                <a:ea typeface="+mn-ea"/>
                <a:cs typeface="Poppins" panose="00000500000000000000" pitchFamily="2" charset="0"/>
              </a:rPr>
              <a:t>Partners</a:t>
            </a: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pic>
        <p:nvPicPr>
          <p:cNvPr id="3" name="Picture 2" descr="Belcorp | Brands of the World™ | Download vector logos and ...">
            <a:extLst>
              <a:ext uri="{FF2B5EF4-FFF2-40B4-BE49-F238E27FC236}">
                <a16:creationId xmlns:a16="http://schemas.microsoft.com/office/drawing/2014/main" id="{32D9DE67-7B89-37CD-2E0B-BC07B36EF14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4848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extBox 158">
            <a:extLst>
              <a:ext uri="{FF2B5EF4-FFF2-40B4-BE49-F238E27FC236}">
                <a16:creationId xmlns:a16="http://schemas.microsoft.com/office/drawing/2014/main" id="{0CAA0030-4B75-DF4E-997E-D84595D8D3E0}"/>
              </a:ext>
            </a:extLst>
          </p:cNvPr>
          <p:cNvSpPr txBox="1"/>
          <p:nvPr/>
        </p:nvSpPr>
        <p:spPr>
          <a:xfrm>
            <a:off x="1072718" y="1487122"/>
            <a:ext cx="437940" cy="553998"/>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FFFFFF"/>
                </a:solidFill>
                <a:effectLst/>
                <a:uLnTx/>
                <a:uFillTx/>
                <a:latin typeface="Poppins" pitchFamily="2" charset="77"/>
                <a:ea typeface="League Spartan" charset="0"/>
                <a:cs typeface="Poppins" pitchFamily="2" charset="77"/>
              </a:rPr>
              <a:t>1.</a:t>
            </a:r>
          </a:p>
        </p:txBody>
      </p:sp>
      <p:sp>
        <p:nvSpPr>
          <p:cNvPr id="53" name="Title 52">
            <a:extLst>
              <a:ext uri="{FF2B5EF4-FFF2-40B4-BE49-F238E27FC236}">
                <a16:creationId xmlns:a16="http://schemas.microsoft.com/office/drawing/2014/main" id="{DFBF3D69-8EDB-250D-D898-E7D2074E232F}"/>
              </a:ext>
            </a:extLst>
          </p:cNvPr>
          <p:cNvSpPr>
            <a:spLocks noGrp="1"/>
          </p:cNvSpPr>
          <p:nvPr>
            <p:ph type="title"/>
          </p:nvPr>
        </p:nvSpPr>
        <p:spPr>
          <a:xfrm>
            <a:off x="1112742" y="201131"/>
            <a:ext cx="10550013" cy="798836"/>
          </a:xfrm>
        </p:spPr>
        <p:txBody>
          <a:bodyPr>
            <a:normAutofit fontScale="90000"/>
          </a:bodyPr>
          <a:lstStyle/>
          <a:p>
            <a:r>
              <a:rPr lang="en-US">
                <a:solidFill>
                  <a:schemeClr val="accent4"/>
                </a:solidFill>
                <a:cs typeface="Poppins"/>
              </a:rPr>
              <a:t>Strategic Agility, Enhanced Growth</a:t>
            </a:r>
            <a:br>
              <a:rPr lang="en-US">
                <a:solidFill>
                  <a:schemeClr val="accent4"/>
                </a:solidFill>
                <a:cs typeface="Poppins"/>
              </a:rPr>
            </a:br>
            <a:r>
              <a:rPr lang="en-US" sz="2000">
                <a:solidFill>
                  <a:srgbClr val="8D80FF"/>
                </a:solidFill>
                <a:cs typeface="Poppins"/>
              </a:rPr>
              <a:t>Our expertise lies in analyzing data, but also in gathering it fast, empowering us to make informed decisions faster, driving superior results.</a:t>
            </a:r>
            <a:endParaRPr lang="en-US">
              <a:solidFill>
                <a:srgbClr val="8D80FF"/>
              </a:solidFill>
            </a:endParaRPr>
          </a:p>
        </p:txBody>
      </p:sp>
      <p:grpSp>
        <p:nvGrpSpPr>
          <p:cNvPr id="27" name="Grupo 26">
            <a:extLst>
              <a:ext uri="{FF2B5EF4-FFF2-40B4-BE49-F238E27FC236}">
                <a16:creationId xmlns:a16="http://schemas.microsoft.com/office/drawing/2014/main" id="{6669CA5E-38D5-3495-FE77-DC715E522724}"/>
              </a:ext>
            </a:extLst>
          </p:cNvPr>
          <p:cNvGrpSpPr/>
          <p:nvPr/>
        </p:nvGrpSpPr>
        <p:grpSpPr>
          <a:xfrm>
            <a:off x="1069856" y="1229413"/>
            <a:ext cx="2882954" cy="2964524"/>
            <a:chOff x="1069856" y="1112450"/>
            <a:chExt cx="2882954" cy="2964524"/>
          </a:xfrm>
        </p:grpSpPr>
        <p:sp>
          <p:nvSpPr>
            <p:cNvPr id="29" name="Título 1">
              <a:extLst>
                <a:ext uri="{FF2B5EF4-FFF2-40B4-BE49-F238E27FC236}">
                  <a16:creationId xmlns:a16="http://schemas.microsoft.com/office/drawing/2014/main" id="{76907E68-812D-7DCC-15AC-31463F99AB2A}"/>
                </a:ext>
              </a:extLst>
            </p:cNvPr>
            <p:cNvSpPr txBox="1">
              <a:spLocks/>
            </p:cNvSpPr>
            <p:nvPr/>
          </p:nvSpPr>
          <p:spPr>
            <a:xfrm>
              <a:off x="1210631" y="1203021"/>
              <a:ext cx="2742179" cy="287395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583FF"/>
                  </a:solidFill>
                  <a:effectLst/>
                  <a:uLnTx/>
                  <a:uFillTx/>
                  <a:latin typeface="Poppins"/>
                  <a:ea typeface="+mj-ea"/>
                  <a:cs typeface="Poppins"/>
                </a:rPr>
                <a:t>Customized Tech Ecosystem Enhancement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a:ln>
                  <a:noFill/>
                </a:ln>
                <a:solidFill>
                  <a:srgbClr val="9583FF"/>
                </a:solidFill>
                <a:effectLst/>
                <a:uLnTx/>
                <a:uFillTx/>
                <a:latin typeface="Poppins"/>
                <a:ea typeface="+mj-ea"/>
                <a:cs typeface="Poppin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45354"/>
                  </a:solidFill>
                  <a:effectLst/>
                  <a:uLnTx/>
                  <a:uFillTx/>
                  <a:latin typeface="Poppins"/>
                  <a:ea typeface="+mj-ea"/>
                  <a:cs typeface="Poppins"/>
                </a:rPr>
                <a:t>IOTA Impact's offerings are tailored to industry leaders providing strategic flexibility and responsiveness to dynamic market shifts.</a:t>
              </a:r>
              <a:endParaRPr kumimoji="0" lang="es-CO" sz="1400" b="0" i="0" u="none" strike="noStrike" kern="1200" cap="none" spc="0" normalizeH="0" baseline="0" noProof="0">
                <a:ln>
                  <a:noFill/>
                </a:ln>
                <a:solidFill>
                  <a:srgbClr val="545354"/>
                </a:solidFill>
                <a:effectLst/>
                <a:uLnTx/>
                <a:uFillTx/>
                <a:latin typeface="Poppins"/>
                <a:ea typeface="+mj-ea"/>
                <a:cs typeface="Poppins"/>
              </a:endParaRPr>
            </a:p>
          </p:txBody>
        </p:sp>
        <p:sp>
          <p:nvSpPr>
            <p:cNvPr id="30" name="Triángulo isósceles 18">
              <a:extLst>
                <a:ext uri="{FF2B5EF4-FFF2-40B4-BE49-F238E27FC236}">
                  <a16:creationId xmlns:a16="http://schemas.microsoft.com/office/drawing/2014/main" id="{CE3D3C11-8787-BBFC-D9D6-21A9C3FFBF96}"/>
                </a:ext>
              </a:extLst>
            </p:cNvPr>
            <p:cNvSpPr/>
            <p:nvPr/>
          </p:nvSpPr>
          <p:spPr>
            <a:xfrm rot="5400000">
              <a:off x="1058594" y="1908645"/>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FFFFFF"/>
                </a:solidFill>
                <a:effectLst/>
                <a:uLnTx/>
                <a:uFillTx/>
                <a:latin typeface="Poppins Light"/>
                <a:ea typeface="+mn-ea"/>
                <a:cs typeface="+mn-cs"/>
              </a:endParaRPr>
            </a:p>
          </p:txBody>
        </p:sp>
        <p:sp>
          <p:nvSpPr>
            <p:cNvPr id="2" name="Rectángulo 1">
              <a:extLst>
                <a:ext uri="{FF2B5EF4-FFF2-40B4-BE49-F238E27FC236}">
                  <a16:creationId xmlns:a16="http://schemas.microsoft.com/office/drawing/2014/main" id="{4DDF417E-070E-9C81-2F90-FFC529DA553C}"/>
                </a:ext>
              </a:extLst>
            </p:cNvPr>
            <p:cNvSpPr/>
            <p:nvPr/>
          </p:nvSpPr>
          <p:spPr>
            <a:xfrm>
              <a:off x="1291688" y="1647158"/>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3" name="Imagen 2">
              <a:extLst>
                <a:ext uri="{FF2B5EF4-FFF2-40B4-BE49-F238E27FC236}">
                  <a16:creationId xmlns:a16="http://schemas.microsoft.com/office/drawing/2014/main" id="{911BF305-B984-B6C4-9D3C-16F60C5967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9123" y="1112450"/>
              <a:ext cx="423070" cy="423070"/>
            </a:xfrm>
            <a:prstGeom prst="rect">
              <a:avLst/>
            </a:prstGeom>
          </p:spPr>
        </p:pic>
      </p:grpSp>
      <p:grpSp>
        <p:nvGrpSpPr>
          <p:cNvPr id="40" name="Grupo 39">
            <a:extLst>
              <a:ext uri="{FF2B5EF4-FFF2-40B4-BE49-F238E27FC236}">
                <a16:creationId xmlns:a16="http://schemas.microsoft.com/office/drawing/2014/main" id="{B9A5A0C5-EBEF-4B45-D9C4-EC8ECFD55D83}"/>
              </a:ext>
            </a:extLst>
          </p:cNvPr>
          <p:cNvGrpSpPr/>
          <p:nvPr/>
        </p:nvGrpSpPr>
        <p:grpSpPr>
          <a:xfrm>
            <a:off x="4203796" y="3902425"/>
            <a:ext cx="2893690" cy="2687982"/>
            <a:chOff x="4203796" y="3902425"/>
            <a:chExt cx="2893690" cy="2687982"/>
          </a:xfrm>
        </p:grpSpPr>
        <p:sp>
          <p:nvSpPr>
            <p:cNvPr id="45" name="Título 1">
              <a:extLst>
                <a:ext uri="{FF2B5EF4-FFF2-40B4-BE49-F238E27FC236}">
                  <a16:creationId xmlns:a16="http://schemas.microsoft.com/office/drawing/2014/main" id="{223BB3CA-9826-F559-47AA-948B902F70BA}"/>
                </a:ext>
              </a:extLst>
            </p:cNvPr>
            <p:cNvSpPr txBox="1">
              <a:spLocks/>
            </p:cNvSpPr>
            <p:nvPr/>
          </p:nvSpPr>
          <p:spPr>
            <a:xfrm>
              <a:off x="4344572" y="4719055"/>
              <a:ext cx="2752914" cy="187135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583FF"/>
                  </a:solidFill>
                  <a:effectLst/>
                  <a:uLnTx/>
                  <a:uFillTx/>
                  <a:latin typeface="Poppins"/>
                  <a:ea typeface="+mj-ea"/>
                  <a:cs typeface="Poppins"/>
                </a:rPr>
                <a:t>Innovation with Precision:</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a:ln>
                  <a:noFill/>
                </a:ln>
                <a:solidFill>
                  <a:srgbClr val="9583FF"/>
                </a:solidFill>
                <a:effectLst/>
                <a:uLnTx/>
                <a:uFillTx/>
                <a:latin typeface="Poppins"/>
                <a:ea typeface="+mj-ea"/>
                <a:cs typeface="Poppin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45354"/>
                  </a:solidFill>
                  <a:effectLst/>
                  <a:uLnTx/>
                  <a:uFillTx/>
                  <a:latin typeface="Poppins"/>
                  <a:ea typeface="+mj-ea"/>
                  <a:cs typeface="Poppins"/>
                </a:rPr>
                <a:t>By harnessing our expertise in emerging technologies and automated consulting, we offer innovative strategies that enhance market position</a:t>
              </a:r>
              <a:r>
                <a:rPr kumimoji="0" lang="en-US" sz="1400" b="0" i="0" u="none" strike="noStrike" kern="1200" cap="none" spc="0" normalizeH="0" baseline="0" noProof="0">
                  <a:ln>
                    <a:noFill/>
                  </a:ln>
                  <a:solidFill>
                    <a:srgbClr val="FFFFFF"/>
                  </a:solidFill>
                  <a:effectLst/>
                  <a:uLnTx/>
                  <a:uFillTx/>
                  <a:latin typeface="Poppins"/>
                  <a:ea typeface="+mj-ea"/>
                  <a:cs typeface="Poppins"/>
                </a:rPr>
                <a:t> through calculated, data-backed innovation.</a:t>
              </a:r>
              <a:endParaRPr kumimoji="0" lang="es-CO" sz="1400" b="0" i="0" u="none" strike="noStrike" kern="1200" cap="none" spc="0" normalizeH="0" baseline="0" noProof="0">
                <a:ln>
                  <a:noFill/>
                </a:ln>
                <a:solidFill>
                  <a:srgbClr val="FFFFFF"/>
                </a:solidFill>
                <a:effectLst/>
                <a:uLnTx/>
                <a:uFillTx/>
                <a:latin typeface="Poppins"/>
                <a:ea typeface="+mj-ea"/>
                <a:cs typeface="Poppins"/>
              </a:endParaRPr>
            </a:p>
          </p:txBody>
        </p:sp>
        <p:sp>
          <p:nvSpPr>
            <p:cNvPr id="46" name="Triángulo isósceles 37">
              <a:extLst>
                <a:ext uri="{FF2B5EF4-FFF2-40B4-BE49-F238E27FC236}">
                  <a16:creationId xmlns:a16="http://schemas.microsoft.com/office/drawing/2014/main" id="{B5B34F8E-231B-5700-EF75-0B93E093FC25}"/>
                </a:ext>
              </a:extLst>
            </p:cNvPr>
            <p:cNvSpPr/>
            <p:nvPr/>
          </p:nvSpPr>
          <p:spPr>
            <a:xfrm rot="5400000">
              <a:off x="4192534" y="4686391"/>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FFFFFF"/>
                </a:solidFill>
                <a:effectLst/>
                <a:uLnTx/>
                <a:uFillTx/>
                <a:latin typeface="Poppins Light"/>
                <a:ea typeface="+mn-ea"/>
                <a:cs typeface="+mn-cs"/>
              </a:endParaRPr>
            </a:p>
          </p:txBody>
        </p:sp>
        <p:sp>
          <p:nvSpPr>
            <p:cNvPr id="8" name="Rectángulo 7">
              <a:extLst>
                <a:ext uri="{FF2B5EF4-FFF2-40B4-BE49-F238E27FC236}">
                  <a16:creationId xmlns:a16="http://schemas.microsoft.com/office/drawing/2014/main" id="{379C3ABB-47CF-2922-E3F9-87C36DB907DF}"/>
                </a:ext>
              </a:extLst>
            </p:cNvPr>
            <p:cNvSpPr/>
            <p:nvPr/>
          </p:nvSpPr>
          <p:spPr>
            <a:xfrm>
              <a:off x="4420554" y="4508536"/>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9" name="Imagen 8">
              <a:extLst>
                <a:ext uri="{FF2B5EF4-FFF2-40B4-BE49-F238E27FC236}">
                  <a16:creationId xmlns:a16="http://schemas.microsoft.com/office/drawing/2014/main" id="{8386F760-C2B6-1934-DF1F-C7553BE7DE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0554" y="3902425"/>
              <a:ext cx="481865" cy="481865"/>
            </a:xfrm>
            <a:prstGeom prst="rect">
              <a:avLst/>
            </a:prstGeom>
          </p:spPr>
        </p:pic>
      </p:grpSp>
      <p:grpSp>
        <p:nvGrpSpPr>
          <p:cNvPr id="36" name="Grupo 35">
            <a:extLst>
              <a:ext uri="{FF2B5EF4-FFF2-40B4-BE49-F238E27FC236}">
                <a16:creationId xmlns:a16="http://schemas.microsoft.com/office/drawing/2014/main" id="{667714DA-DD00-2586-641A-8AF5FA1CC2EF}"/>
              </a:ext>
            </a:extLst>
          </p:cNvPr>
          <p:cNvGrpSpPr/>
          <p:nvPr/>
        </p:nvGrpSpPr>
        <p:grpSpPr>
          <a:xfrm>
            <a:off x="1042354" y="3880696"/>
            <a:ext cx="3164306" cy="2572203"/>
            <a:chOff x="1042354" y="3880696"/>
            <a:chExt cx="3164306" cy="2572203"/>
          </a:xfrm>
        </p:grpSpPr>
        <p:sp>
          <p:nvSpPr>
            <p:cNvPr id="41" name="Título 1">
              <a:extLst>
                <a:ext uri="{FF2B5EF4-FFF2-40B4-BE49-F238E27FC236}">
                  <a16:creationId xmlns:a16="http://schemas.microsoft.com/office/drawing/2014/main" id="{CF742A65-F92C-26C6-284C-11ED54A846DD}"/>
                </a:ext>
              </a:extLst>
            </p:cNvPr>
            <p:cNvSpPr txBox="1">
              <a:spLocks/>
            </p:cNvSpPr>
            <p:nvPr/>
          </p:nvSpPr>
          <p:spPr>
            <a:xfrm>
              <a:off x="1210632" y="4622197"/>
              <a:ext cx="2996028" cy="183070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583FF"/>
                  </a:solidFill>
                  <a:effectLst/>
                  <a:uLnTx/>
                  <a:uFillTx/>
                  <a:latin typeface="Poppins"/>
                  <a:ea typeface="+mj-ea"/>
                  <a:cs typeface="Poppins"/>
                </a:rPr>
                <a:t>Culturally Attuned</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583FF"/>
                  </a:solidFill>
                  <a:effectLst/>
                  <a:uLnTx/>
                  <a:uFillTx/>
                  <a:latin typeface="Poppins"/>
                  <a:ea typeface="+mj-ea"/>
                  <a:cs typeface="Poppins"/>
                </a:rPr>
                <a:t>Global Strategie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a:ln>
                  <a:noFill/>
                </a:ln>
                <a:solidFill>
                  <a:srgbClr val="9583FF"/>
                </a:solidFill>
                <a:effectLst/>
                <a:uLnTx/>
                <a:uFillTx/>
                <a:latin typeface="Poppins"/>
                <a:ea typeface="+mj-ea"/>
                <a:cs typeface="Poppin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45354"/>
                  </a:solidFill>
                  <a:effectLst/>
                  <a:uLnTx/>
                  <a:uFillTx/>
                  <a:latin typeface="Poppins"/>
                  <a:ea typeface="+mj-ea"/>
                  <a:cs typeface="Poppins"/>
                </a:rPr>
                <a:t>We assist clients in integrating local consumer insights with global tech trends, guaranteeing a resonant message across diverse markets.</a:t>
              </a:r>
              <a:endParaRPr kumimoji="0" lang="es-CO" sz="1400" b="0" i="0" u="none" strike="noStrike" kern="1200" cap="none" spc="0" normalizeH="0" baseline="0" noProof="0">
                <a:ln>
                  <a:noFill/>
                </a:ln>
                <a:solidFill>
                  <a:srgbClr val="545354"/>
                </a:solidFill>
                <a:effectLst/>
                <a:uLnTx/>
                <a:uFillTx/>
                <a:latin typeface="Poppins"/>
                <a:ea typeface="+mj-ea"/>
                <a:cs typeface="Poppins"/>
              </a:endParaRPr>
            </a:p>
          </p:txBody>
        </p:sp>
        <p:sp>
          <p:nvSpPr>
            <p:cNvPr id="42" name="Triángulo isósceles 34">
              <a:extLst>
                <a:ext uri="{FF2B5EF4-FFF2-40B4-BE49-F238E27FC236}">
                  <a16:creationId xmlns:a16="http://schemas.microsoft.com/office/drawing/2014/main" id="{1FB5F412-F232-AE05-5F2D-E624DB6D9687}"/>
                </a:ext>
              </a:extLst>
            </p:cNvPr>
            <p:cNvSpPr/>
            <p:nvPr/>
          </p:nvSpPr>
          <p:spPr>
            <a:xfrm rot="5400000">
              <a:off x="1031092" y="4686391"/>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FFFFFF"/>
                </a:solidFill>
                <a:effectLst/>
                <a:uLnTx/>
                <a:uFillTx/>
                <a:latin typeface="Poppins Light"/>
                <a:ea typeface="+mn-ea"/>
                <a:cs typeface="+mn-cs"/>
              </a:endParaRPr>
            </a:p>
          </p:txBody>
        </p:sp>
        <p:sp>
          <p:nvSpPr>
            <p:cNvPr id="7" name="Rectángulo 6">
              <a:extLst>
                <a:ext uri="{FF2B5EF4-FFF2-40B4-BE49-F238E27FC236}">
                  <a16:creationId xmlns:a16="http://schemas.microsoft.com/office/drawing/2014/main" id="{76E36A35-18F1-45E3-A98E-B64A3C397951}"/>
                </a:ext>
              </a:extLst>
            </p:cNvPr>
            <p:cNvSpPr/>
            <p:nvPr/>
          </p:nvSpPr>
          <p:spPr>
            <a:xfrm>
              <a:off x="1291687" y="4508536"/>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11" name="Imagen 10">
              <a:extLst>
                <a:ext uri="{FF2B5EF4-FFF2-40B4-BE49-F238E27FC236}">
                  <a16:creationId xmlns:a16="http://schemas.microsoft.com/office/drawing/2014/main" id="{12158815-6E48-7FC8-D5E4-E67CC7C6F9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9123" y="3880696"/>
              <a:ext cx="446077" cy="525323"/>
            </a:xfrm>
            <a:prstGeom prst="rect">
              <a:avLst/>
            </a:prstGeom>
          </p:spPr>
        </p:pic>
      </p:grpSp>
      <p:grpSp>
        <p:nvGrpSpPr>
          <p:cNvPr id="32" name="Grupo 31">
            <a:extLst>
              <a:ext uri="{FF2B5EF4-FFF2-40B4-BE49-F238E27FC236}">
                <a16:creationId xmlns:a16="http://schemas.microsoft.com/office/drawing/2014/main" id="{2B692B93-573B-79FC-3480-BAC4E6A3AB09}"/>
              </a:ext>
            </a:extLst>
          </p:cNvPr>
          <p:cNvGrpSpPr/>
          <p:nvPr/>
        </p:nvGrpSpPr>
        <p:grpSpPr>
          <a:xfrm>
            <a:off x="7732364" y="1232609"/>
            <a:ext cx="3249005" cy="2115488"/>
            <a:chOff x="7732364" y="1115646"/>
            <a:chExt cx="3249005" cy="2115488"/>
          </a:xfrm>
        </p:grpSpPr>
        <p:sp>
          <p:nvSpPr>
            <p:cNvPr id="37" name="Título 1">
              <a:extLst>
                <a:ext uri="{FF2B5EF4-FFF2-40B4-BE49-F238E27FC236}">
                  <a16:creationId xmlns:a16="http://schemas.microsoft.com/office/drawing/2014/main" id="{8B8AF7CF-1837-7065-59B9-09BE8BF8BA60}"/>
                </a:ext>
              </a:extLst>
            </p:cNvPr>
            <p:cNvSpPr txBox="1">
              <a:spLocks/>
            </p:cNvSpPr>
            <p:nvPr/>
          </p:nvSpPr>
          <p:spPr>
            <a:xfrm>
              <a:off x="7881257" y="2148159"/>
              <a:ext cx="3100112" cy="10829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583FF"/>
                  </a:solidFill>
                  <a:effectLst/>
                  <a:uLnTx/>
                  <a:uFillTx/>
                  <a:latin typeface="Poppins"/>
                  <a:ea typeface="+mj-ea"/>
                  <a:cs typeface="Poppins"/>
                </a:rPr>
                <a:t>Agile Market Intelligenc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a:ln>
                  <a:noFill/>
                </a:ln>
                <a:solidFill>
                  <a:srgbClr val="9583FF"/>
                </a:solidFill>
                <a:effectLst/>
                <a:uLnTx/>
                <a:uFillTx/>
                <a:latin typeface="Poppins"/>
                <a:ea typeface="+mj-ea"/>
                <a:cs typeface="Poppin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45354"/>
                  </a:solidFill>
                  <a:effectLst/>
                  <a:uLnTx/>
                  <a:uFillTx/>
                  <a:latin typeface="Poppins"/>
                  <a:ea typeface="+mj-ea"/>
                  <a:cs typeface="Poppins"/>
                </a:rPr>
                <a:t>Our agile market research methodologies empower swift data collection and decision-making, providing the competitive edge needed to excel without the burden of</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45354"/>
                  </a:solidFill>
                  <a:effectLst/>
                  <a:uLnTx/>
                  <a:uFillTx/>
                  <a:latin typeface="Poppins"/>
                  <a:ea typeface="+mj-ea"/>
                  <a:cs typeface="Poppins"/>
                </a:rPr>
                <a:t>excessive costs.</a:t>
              </a:r>
              <a:endParaRPr kumimoji="0" lang="es-CO" sz="1400" b="0" i="0" u="none" strike="noStrike" kern="1200" cap="none" spc="0" normalizeH="0" baseline="0" noProof="0">
                <a:ln>
                  <a:noFill/>
                </a:ln>
                <a:solidFill>
                  <a:srgbClr val="545354"/>
                </a:solidFill>
                <a:effectLst/>
                <a:uLnTx/>
                <a:uFillTx/>
                <a:latin typeface="Poppins"/>
                <a:ea typeface="+mj-ea"/>
                <a:cs typeface="Poppins"/>
              </a:endParaRPr>
            </a:p>
          </p:txBody>
        </p:sp>
        <p:sp>
          <p:nvSpPr>
            <p:cNvPr id="38" name="Triángulo isósceles 31">
              <a:extLst>
                <a:ext uri="{FF2B5EF4-FFF2-40B4-BE49-F238E27FC236}">
                  <a16:creationId xmlns:a16="http://schemas.microsoft.com/office/drawing/2014/main" id="{97D461A2-35A9-456F-000B-8E476FAA6B44}"/>
                </a:ext>
              </a:extLst>
            </p:cNvPr>
            <p:cNvSpPr/>
            <p:nvPr/>
          </p:nvSpPr>
          <p:spPr>
            <a:xfrm rot="5400000">
              <a:off x="7721102" y="1908645"/>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FFFFFF"/>
                </a:solidFill>
                <a:effectLst/>
                <a:uLnTx/>
                <a:uFillTx/>
                <a:latin typeface="Poppins Light"/>
                <a:ea typeface="+mn-ea"/>
                <a:cs typeface="+mn-cs"/>
              </a:endParaRPr>
            </a:p>
          </p:txBody>
        </p:sp>
        <p:sp>
          <p:nvSpPr>
            <p:cNvPr id="6" name="Rectángulo 5">
              <a:extLst>
                <a:ext uri="{FF2B5EF4-FFF2-40B4-BE49-F238E27FC236}">
                  <a16:creationId xmlns:a16="http://schemas.microsoft.com/office/drawing/2014/main" id="{E9768376-CFB7-FB0C-F516-D56FB8FE8CE6}"/>
                </a:ext>
              </a:extLst>
            </p:cNvPr>
            <p:cNvSpPr/>
            <p:nvPr/>
          </p:nvSpPr>
          <p:spPr>
            <a:xfrm>
              <a:off x="7943567" y="1624298"/>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14" name="Imagen 13">
              <a:extLst>
                <a:ext uri="{FF2B5EF4-FFF2-40B4-BE49-F238E27FC236}">
                  <a16:creationId xmlns:a16="http://schemas.microsoft.com/office/drawing/2014/main" id="{961D4303-2CD6-28B1-DFC6-00F7590B34B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30530" y="1115646"/>
              <a:ext cx="416679" cy="416679"/>
            </a:xfrm>
            <a:prstGeom prst="rect">
              <a:avLst/>
            </a:prstGeom>
          </p:spPr>
        </p:pic>
      </p:grpSp>
      <p:pic>
        <p:nvPicPr>
          <p:cNvPr id="17" name="Imagen 16">
            <a:extLst>
              <a:ext uri="{FF2B5EF4-FFF2-40B4-BE49-F238E27FC236}">
                <a16:creationId xmlns:a16="http://schemas.microsoft.com/office/drawing/2014/main" id="{29402DF2-EEE2-247C-1902-35E79363BC61}"/>
              </a:ext>
            </a:extLst>
          </p:cNvPr>
          <p:cNvPicPr>
            <a:picLocks noChangeAspect="1"/>
          </p:cNvPicPr>
          <p:nvPr/>
        </p:nvPicPr>
        <p:blipFill rotWithShape="1">
          <a:blip r:embed="rId6">
            <a:extLst>
              <a:ext uri="{28A0092B-C50C-407E-A947-70E740481C1C}">
                <a14:useLocalDpi xmlns:a14="http://schemas.microsoft.com/office/drawing/2010/main" val="0"/>
              </a:ext>
            </a:extLst>
          </a:blip>
          <a:srcRect l="5738" t="325" r="3800" b="12233"/>
          <a:stretch/>
        </p:blipFill>
        <p:spPr>
          <a:xfrm>
            <a:off x="7640556" y="3938739"/>
            <a:ext cx="4551444" cy="2930148"/>
          </a:xfrm>
          <a:prstGeom prst="flowChartManualInput">
            <a:avLst/>
          </a:prstGeom>
        </p:spPr>
      </p:pic>
      <p:sp>
        <p:nvSpPr>
          <p:cNvPr id="20" name="Entrada manual 19">
            <a:extLst>
              <a:ext uri="{FF2B5EF4-FFF2-40B4-BE49-F238E27FC236}">
                <a16:creationId xmlns:a16="http://schemas.microsoft.com/office/drawing/2014/main" id="{33BDCCDF-27CC-9373-D148-539F23C90A75}"/>
              </a:ext>
            </a:extLst>
          </p:cNvPr>
          <p:cNvSpPr/>
          <p:nvPr/>
        </p:nvSpPr>
        <p:spPr>
          <a:xfrm>
            <a:off x="7640555" y="3938739"/>
            <a:ext cx="4551444" cy="2930148"/>
          </a:xfrm>
          <a:prstGeom prst="flowChartManualInput">
            <a:avLst/>
          </a:prstGeom>
          <a:solidFill>
            <a:srgbClr val="442E98">
              <a:alpha val="56863"/>
            </a:srgbClr>
          </a:solidFill>
          <a:ln/>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22" name="Imagen 21">
            <a:extLst>
              <a:ext uri="{FF2B5EF4-FFF2-40B4-BE49-F238E27FC236}">
                <a16:creationId xmlns:a16="http://schemas.microsoft.com/office/drawing/2014/main" id="{F9FEE6EA-2F85-0CF0-E3F9-505194749511}"/>
              </a:ext>
            </a:extLst>
          </p:cNvPr>
          <p:cNvPicPr>
            <a:picLocks noChangeAspect="1"/>
          </p:cNvPicPr>
          <p:nvPr/>
        </p:nvPicPr>
        <p:blipFill>
          <a:blip r:embed="rId7">
            <a:alphaModFix/>
            <a:extLst>
              <a:ext uri="{BEBA8EAE-BF5A-486C-A8C5-ECC9F3942E4B}">
                <a14:imgProps xmlns:a14="http://schemas.microsoft.com/office/drawing/2010/main">
                  <a14:imgLayer r:embed="rId8">
                    <a14:imgEffect>
                      <a14:brightnessContrast bright="13000" contrast="40000"/>
                    </a14:imgEffect>
                  </a14:imgLayer>
                </a14:imgProps>
              </a:ext>
              <a:ext uri="{28A0092B-C50C-407E-A947-70E740481C1C}">
                <a14:useLocalDpi xmlns:a14="http://schemas.microsoft.com/office/drawing/2010/main" val="0"/>
              </a:ext>
            </a:extLst>
          </a:blip>
          <a:stretch>
            <a:fillRect/>
          </a:stretch>
        </p:blipFill>
        <p:spPr>
          <a:xfrm rot="3619796">
            <a:off x="11012212" y="3737036"/>
            <a:ext cx="1157511" cy="880513"/>
          </a:xfrm>
          <a:prstGeom prst="rect">
            <a:avLst/>
          </a:prstGeom>
        </p:spPr>
      </p:pic>
      <p:sp>
        <p:nvSpPr>
          <p:cNvPr id="25" name="Paralelogramo 24">
            <a:extLst>
              <a:ext uri="{FF2B5EF4-FFF2-40B4-BE49-F238E27FC236}">
                <a16:creationId xmlns:a16="http://schemas.microsoft.com/office/drawing/2014/main" id="{46421394-BE86-5207-B524-680E167D7464}"/>
              </a:ext>
            </a:extLst>
          </p:cNvPr>
          <p:cNvSpPr/>
          <p:nvPr/>
        </p:nvSpPr>
        <p:spPr>
          <a:xfrm rot="21185608">
            <a:off x="7927921" y="4333031"/>
            <a:ext cx="1628480" cy="102517"/>
          </a:xfrm>
          <a:prstGeom prst="parallelogram">
            <a:avLst/>
          </a:prstGeom>
          <a:solidFill>
            <a:srgbClr val="8D8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grpSp>
        <p:nvGrpSpPr>
          <p:cNvPr id="28" name="Grupo 27">
            <a:extLst>
              <a:ext uri="{FF2B5EF4-FFF2-40B4-BE49-F238E27FC236}">
                <a16:creationId xmlns:a16="http://schemas.microsoft.com/office/drawing/2014/main" id="{FB6C226C-12BD-363C-EA2F-E26B5AC634D8}"/>
              </a:ext>
            </a:extLst>
          </p:cNvPr>
          <p:cNvGrpSpPr/>
          <p:nvPr/>
        </p:nvGrpSpPr>
        <p:grpSpPr>
          <a:xfrm>
            <a:off x="4219670" y="1217910"/>
            <a:ext cx="3120931" cy="2424856"/>
            <a:chOff x="4219670" y="1100947"/>
            <a:chExt cx="3120931" cy="2424856"/>
          </a:xfrm>
        </p:grpSpPr>
        <p:sp>
          <p:nvSpPr>
            <p:cNvPr id="33" name="Título 1">
              <a:extLst>
                <a:ext uri="{FF2B5EF4-FFF2-40B4-BE49-F238E27FC236}">
                  <a16:creationId xmlns:a16="http://schemas.microsoft.com/office/drawing/2014/main" id="{D37FDC81-9CE2-C877-45C3-F41DA9F89B3B}"/>
                </a:ext>
              </a:extLst>
            </p:cNvPr>
            <p:cNvSpPr txBox="1">
              <a:spLocks/>
            </p:cNvSpPr>
            <p:nvPr/>
          </p:nvSpPr>
          <p:spPr>
            <a:xfrm>
              <a:off x="4344573" y="1987024"/>
              <a:ext cx="2996028" cy="153877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583FF"/>
                  </a:solidFill>
                  <a:effectLst/>
                  <a:uLnTx/>
                  <a:uFillTx/>
                  <a:latin typeface="Poppins"/>
                  <a:ea typeface="+mj-ea"/>
                  <a:cs typeface="Poppins"/>
                </a:rPr>
                <a:t>Data-Driven Tech Relevanc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a:ln>
                  <a:noFill/>
                </a:ln>
                <a:solidFill>
                  <a:srgbClr val="9583FF"/>
                </a:solidFill>
                <a:effectLst/>
                <a:uLnTx/>
                <a:uFillTx/>
                <a:latin typeface="Poppins"/>
                <a:ea typeface="+mj-ea"/>
                <a:cs typeface="Poppin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45354"/>
                  </a:solidFill>
                  <a:effectLst/>
                  <a:uLnTx/>
                  <a:uFillTx/>
                  <a:latin typeface="Poppins"/>
                  <a:ea typeface="+mj-ea"/>
                  <a:cs typeface="Poppins"/>
                </a:rPr>
                <a:t>We equip brands with actionable insights to stay pertinent and foster growth, regardless of the economic landscape, ensuring your team continues to lead in innovation and consumer connection.</a:t>
              </a:r>
              <a:endParaRPr kumimoji="0" lang="es-CO" sz="1400" b="0" i="0" u="none" strike="noStrike" kern="1200" cap="none" spc="0" normalizeH="0" baseline="0" noProof="0">
                <a:ln>
                  <a:noFill/>
                </a:ln>
                <a:solidFill>
                  <a:srgbClr val="545354"/>
                </a:solidFill>
                <a:effectLst/>
                <a:uLnTx/>
                <a:uFillTx/>
                <a:latin typeface="Poppins"/>
                <a:ea typeface="+mj-ea"/>
                <a:cs typeface="Poppins"/>
              </a:endParaRPr>
            </a:p>
          </p:txBody>
        </p:sp>
        <p:sp>
          <p:nvSpPr>
            <p:cNvPr id="34" name="Triángulo isósceles 28">
              <a:extLst>
                <a:ext uri="{FF2B5EF4-FFF2-40B4-BE49-F238E27FC236}">
                  <a16:creationId xmlns:a16="http://schemas.microsoft.com/office/drawing/2014/main" id="{C0D7260A-4980-2BBF-AEA6-41544B9DA45B}"/>
                </a:ext>
              </a:extLst>
            </p:cNvPr>
            <p:cNvSpPr/>
            <p:nvPr/>
          </p:nvSpPr>
          <p:spPr>
            <a:xfrm rot="5400000">
              <a:off x="4208408" y="1908645"/>
              <a:ext cx="163299" cy="140775"/>
            </a:xfrm>
            <a:prstGeom prst="triangle">
              <a:avLst/>
            </a:prstGeom>
            <a:solidFill>
              <a:srgbClr val="3BD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5" name="Imagen 4">
              <a:extLst>
                <a:ext uri="{FF2B5EF4-FFF2-40B4-BE49-F238E27FC236}">
                  <a16:creationId xmlns:a16="http://schemas.microsoft.com/office/drawing/2014/main" id="{C7A401D0-119C-E271-CEFD-33BEAAEC758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44904" y="1100947"/>
              <a:ext cx="384725" cy="446076"/>
            </a:xfrm>
            <a:prstGeom prst="rect">
              <a:avLst/>
            </a:prstGeom>
          </p:spPr>
        </p:pic>
        <p:sp>
          <p:nvSpPr>
            <p:cNvPr id="26" name="Rectángulo 25">
              <a:extLst>
                <a:ext uri="{FF2B5EF4-FFF2-40B4-BE49-F238E27FC236}">
                  <a16:creationId xmlns:a16="http://schemas.microsoft.com/office/drawing/2014/main" id="{EB4A0ED7-C46C-3CE7-147C-A32D3982E7D6}"/>
                </a:ext>
              </a:extLst>
            </p:cNvPr>
            <p:cNvSpPr/>
            <p:nvPr/>
          </p:nvSpPr>
          <p:spPr>
            <a:xfrm>
              <a:off x="4420554" y="1647157"/>
              <a:ext cx="1416957" cy="45719"/>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grpSp>
      <p:pic>
        <p:nvPicPr>
          <p:cNvPr id="4" name="Picture 2" descr="Belcorp | Brands of the World™ | Download vector logos and ...">
            <a:extLst>
              <a:ext uri="{FF2B5EF4-FFF2-40B4-BE49-F238E27FC236}">
                <a16:creationId xmlns:a16="http://schemas.microsoft.com/office/drawing/2014/main" id="{A8D1E4A7-399A-3318-CE5E-0F856B2496D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24963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62B36A-419D-DA7D-CA71-0B908A5C1D95}"/>
              </a:ext>
            </a:extLst>
          </p:cNvPr>
          <p:cNvPicPr>
            <a:picLocks noChangeAspect="1"/>
          </p:cNvPicPr>
          <p:nvPr/>
        </p:nvPicPr>
        <p:blipFill rotWithShape="1">
          <a:blip r:embed="rId2"/>
          <a:srcRect l="3487" t="42" r="66629"/>
          <a:stretch/>
        </p:blipFill>
        <p:spPr>
          <a:xfrm>
            <a:off x="8580569" y="-20233"/>
            <a:ext cx="3601678" cy="6889769"/>
          </a:xfrm>
          <a:prstGeom prst="rect">
            <a:avLst/>
          </a:prstGeom>
        </p:spPr>
      </p:pic>
      <p:sp>
        <p:nvSpPr>
          <p:cNvPr id="38" name="Rectángulo 37">
            <a:extLst>
              <a:ext uri="{FF2B5EF4-FFF2-40B4-BE49-F238E27FC236}">
                <a16:creationId xmlns:a16="http://schemas.microsoft.com/office/drawing/2014/main" id="{758C532B-234D-E7E4-166E-7069ABB5225A}"/>
              </a:ext>
            </a:extLst>
          </p:cNvPr>
          <p:cNvSpPr/>
          <p:nvPr/>
        </p:nvSpPr>
        <p:spPr>
          <a:xfrm>
            <a:off x="1112742" y="2102946"/>
            <a:ext cx="6669818" cy="1150914"/>
          </a:xfrm>
          <a:prstGeom prst="rect">
            <a:avLst/>
          </a:prstGeom>
          <a:solidFill>
            <a:srgbClr val="7A6AE4"/>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39" name="Rectángulo 38">
            <a:extLst>
              <a:ext uri="{FF2B5EF4-FFF2-40B4-BE49-F238E27FC236}">
                <a16:creationId xmlns:a16="http://schemas.microsoft.com/office/drawing/2014/main" id="{0A4174B1-86E8-3864-2188-23DF69226164}"/>
              </a:ext>
            </a:extLst>
          </p:cNvPr>
          <p:cNvSpPr/>
          <p:nvPr/>
        </p:nvSpPr>
        <p:spPr>
          <a:xfrm>
            <a:off x="1112742" y="3325274"/>
            <a:ext cx="6669818" cy="1150914"/>
          </a:xfrm>
          <a:prstGeom prst="rect">
            <a:avLst/>
          </a:prstGeom>
          <a:solidFill>
            <a:srgbClr val="6553C6"/>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40" name="Rectángulo 39">
            <a:extLst>
              <a:ext uri="{FF2B5EF4-FFF2-40B4-BE49-F238E27FC236}">
                <a16:creationId xmlns:a16="http://schemas.microsoft.com/office/drawing/2014/main" id="{12971C8B-3DD5-66AE-62F8-578DAD1BF848}"/>
              </a:ext>
            </a:extLst>
          </p:cNvPr>
          <p:cNvSpPr/>
          <p:nvPr/>
        </p:nvSpPr>
        <p:spPr>
          <a:xfrm>
            <a:off x="1112742" y="4558593"/>
            <a:ext cx="6669818" cy="1150914"/>
          </a:xfrm>
          <a:prstGeom prst="rect">
            <a:avLst/>
          </a:prstGeom>
          <a:solidFill>
            <a:srgbClr val="442E98"/>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5" name="Freeform 41">
            <a:extLst>
              <a:ext uri="{FF2B5EF4-FFF2-40B4-BE49-F238E27FC236}">
                <a16:creationId xmlns:a16="http://schemas.microsoft.com/office/drawing/2014/main" id="{0A6B6D49-9714-8243-94B5-B175300943ED}"/>
              </a:ext>
            </a:extLst>
          </p:cNvPr>
          <p:cNvSpPr>
            <a:spLocks noChangeArrowheads="1"/>
          </p:cNvSpPr>
          <p:nvPr/>
        </p:nvSpPr>
        <p:spPr bwMode="auto">
          <a:xfrm>
            <a:off x="6781576" y="2419700"/>
            <a:ext cx="749880" cy="615285"/>
          </a:xfrm>
          <a:custGeom>
            <a:avLst/>
            <a:gdLst>
              <a:gd name="T0" fmla="*/ 383 w 1204"/>
              <a:gd name="T1" fmla="*/ 930 h 986"/>
              <a:gd name="T2" fmla="*/ 492 w 1204"/>
              <a:gd name="T3" fmla="*/ 164 h 986"/>
              <a:gd name="T4" fmla="*/ 519 w 1204"/>
              <a:gd name="T5" fmla="*/ 110 h 986"/>
              <a:gd name="T6" fmla="*/ 355 w 1204"/>
              <a:gd name="T7" fmla="*/ 110 h 986"/>
              <a:gd name="T8" fmla="*/ 328 w 1204"/>
              <a:gd name="T9" fmla="*/ 957 h 986"/>
              <a:gd name="T10" fmla="*/ 355 w 1204"/>
              <a:gd name="T11" fmla="*/ 985 h 986"/>
              <a:gd name="T12" fmla="*/ 519 w 1204"/>
              <a:gd name="T13" fmla="*/ 985 h 986"/>
              <a:gd name="T14" fmla="*/ 547 w 1204"/>
              <a:gd name="T15" fmla="*/ 137 h 986"/>
              <a:gd name="T16" fmla="*/ 519 w 1204"/>
              <a:gd name="T17" fmla="*/ 110 h 986"/>
              <a:gd name="T18" fmla="*/ 711 w 1204"/>
              <a:gd name="T19" fmla="*/ 930 h 986"/>
              <a:gd name="T20" fmla="*/ 820 w 1204"/>
              <a:gd name="T21" fmla="*/ 492 h 986"/>
              <a:gd name="T22" fmla="*/ 848 w 1204"/>
              <a:gd name="T23" fmla="*/ 437 h 986"/>
              <a:gd name="T24" fmla="*/ 684 w 1204"/>
              <a:gd name="T25" fmla="*/ 437 h 986"/>
              <a:gd name="T26" fmla="*/ 656 w 1204"/>
              <a:gd name="T27" fmla="*/ 957 h 986"/>
              <a:gd name="T28" fmla="*/ 684 w 1204"/>
              <a:gd name="T29" fmla="*/ 985 h 986"/>
              <a:gd name="T30" fmla="*/ 848 w 1204"/>
              <a:gd name="T31" fmla="*/ 985 h 986"/>
              <a:gd name="T32" fmla="*/ 875 w 1204"/>
              <a:gd name="T33" fmla="*/ 465 h 986"/>
              <a:gd name="T34" fmla="*/ 848 w 1204"/>
              <a:gd name="T35" fmla="*/ 437 h 986"/>
              <a:gd name="T36" fmla="*/ 1039 w 1204"/>
              <a:gd name="T37" fmla="*/ 930 h 986"/>
              <a:gd name="T38" fmla="*/ 1148 w 1204"/>
              <a:gd name="T39" fmla="*/ 54 h 986"/>
              <a:gd name="T40" fmla="*/ 1176 w 1204"/>
              <a:gd name="T41" fmla="*/ 0 h 986"/>
              <a:gd name="T42" fmla="*/ 1011 w 1204"/>
              <a:gd name="T43" fmla="*/ 0 h 986"/>
              <a:gd name="T44" fmla="*/ 985 w 1204"/>
              <a:gd name="T45" fmla="*/ 957 h 986"/>
              <a:gd name="T46" fmla="*/ 1011 w 1204"/>
              <a:gd name="T47" fmla="*/ 985 h 986"/>
              <a:gd name="T48" fmla="*/ 1176 w 1204"/>
              <a:gd name="T49" fmla="*/ 985 h 986"/>
              <a:gd name="T50" fmla="*/ 1203 w 1204"/>
              <a:gd name="T51" fmla="*/ 28 h 986"/>
              <a:gd name="T52" fmla="*/ 1176 w 1204"/>
              <a:gd name="T53" fmla="*/ 0 h 986"/>
              <a:gd name="T54" fmla="*/ 55 w 1204"/>
              <a:gd name="T55" fmla="*/ 930 h 986"/>
              <a:gd name="T56" fmla="*/ 164 w 1204"/>
              <a:gd name="T57" fmla="*/ 656 h 986"/>
              <a:gd name="T58" fmla="*/ 191 w 1204"/>
              <a:gd name="T59" fmla="*/ 602 h 986"/>
              <a:gd name="T60" fmla="*/ 28 w 1204"/>
              <a:gd name="T61" fmla="*/ 602 h 986"/>
              <a:gd name="T62" fmla="*/ 0 w 1204"/>
              <a:gd name="T63" fmla="*/ 957 h 986"/>
              <a:gd name="T64" fmla="*/ 28 w 1204"/>
              <a:gd name="T65" fmla="*/ 985 h 986"/>
              <a:gd name="T66" fmla="*/ 191 w 1204"/>
              <a:gd name="T67" fmla="*/ 985 h 986"/>
              <a:gd name="T68" fmla="*/ 219 w 1204"/>
              <a:gd name="T69" fmla="*/ 629 h 986"/>
              <a:gd name="T70" fmla="*/ 191 w 1204"/>
              <a:gd name="T71" fmla="*/ 602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4" h="986">
                <a:moveTo>
                  <a:pt x="492" y="930"/>
                </a:moveTo>
                <a:lnTo>
                  <a:pt x="383" y="930"/>
                </a:lnTo>
                <a:lnTo>
                  <a:pt x="383" y="164"/>
                </a:lnTo>
                <a:lnTo>
                  <a:pt x="492" y="164"/>
                </a:lnTo>
                <a:lnTo>
                  <a:pt x="492" y="930"/>
                </a:lnTo>
                <a:close/>
                <a:moveTo>
                  <a:pt x="519" y="110"/>
                </a:moveTo>
                <a:lnTo>
                  <a:pt x="355" y="110"/>
                </a:lnTo>
                <a:lnTo>
                  <a:pt x="355" y="110"/>
                </a:lnTo>
                <a:cubicBezTo>
                  <a:pt x="340" y="110"/>
                  <a:pt x="328" y="122"/>
                  <a:pt x="328" y="137"/>
                </a:cubicBezTo>
                <a:lnTo>
                  <a:pt x="328" y="957"/>
                </a:lnTo>
                <a:lnTo>
                  <a:pt x="328" y="957"/>
                </a:lnTo>
                <a:cubicBezTo>
                  <a:pt x="328" y="972"/>
                  <a:pt x="340" y="985"/>
                  <a:pt x="355" y="985"/>
                </a:cubicBezTo>
                <a:lnTo>
                  <a:pt x="519" y="985"/>
                </a:lnTo>
                <a:lnTo>
                  <a:pt x="519" y="985"/>
                </a:lnTo>
                <a:cubicBezTo>
                  <a:pt x="534" y="985"/>
                  <a:pt x="547" y="972"/>
                  <a:pt x="547" y="957"/>
                </a:cubicBezTo>
                <a:lnTo>
                  <a:pt x="547" y="137"/>
                </a:lnTo>
                <a:lnTo>
                  <a:pt x="547" y="137"/>
                </a:lnTo>
                <a:cubicBezTo>
                  <a:pt x="547" y="122"/>
                  <a:pt x="534" y="110"/>
                  <a:pt x="519" y="110"/>
                </a:cubicBezTo>
                <a:close/>
                <a:moveTo>
                  <a:pt x="820" y="930"/>
                </a:moveTo>
                <a:lnTo>
                  <a:pt x="711" y="930"/>
                </a:lnTo>
                <a:lnTo>
                  <a:pt x="711" y="492"/>
                </a:lnTo>
                <a:lnTo>
                  <a:pt x="820" y="492"/>
                </a:lnTo>
                <a:lnTo>
                  <a:pt x="820" y="930"/>
                </a:lnTo>
                <a:close/>
                <a:moveTo>
                  <a:pt x="848" y="437"/>
                </a:moveTo>
                <a:lnTo>
                  <a:pt x="684" y="437"/>
                </a:lnTo>
                <a:lnTo>
                  <a:pt x="684" y="437"/>
                </a:lnTo>
                <a:cubicBezTo>
                  <a:pt x="669" y="437"/>
                  <a:pt x="656" y="450"/>
                  <a:pt x="656" y="465"/>
                </a:cubicBezTo>
                <a:lnTo>
                  <a:pt x="656" y="957"/>
                </a:lnTo>
                <a:lnTo>
                  <a:pt x="656" y="957"/>
                </a:lnTo>
                <a:cubicBezTo>
                  <a:pt x="656" y="972"/>
                  <a:pt x="669" y="985"/>
                  <a:pt x="684" y="985"/>
                </a:cubicBezTo>
                <a:lnTo>
                  <a:pt x="848" y="985"/>
                </a:lnTo>
                <a:lnTo>
                  <a:pt x="848" y="985"/>
                </a:lnTo>
                <a:cubicBezTo>
                  <a:pt x="863" y="985"/>
                  <a:pt x="875" y="972"/>
                  <a:pt x="875" y="957"/>
                </a:cubicBezTo>
                <a:lnTo>
                  <a:pt x="875" y="465"/>
                </a:lnTo>
                <a:lnTo>
                  <a:pt x="875" y="465"/>
                </a:lnTo>
                <a:cubicBezTo>
                  <a:pt x="875" y="450"/>
                  <a:pt x="863" y="437"/>
                  <a:pt x="848" y="437"/>
                </a:cubicBezTo>
                <a:close/>
                <a:moveTo>
                  <a:pt x="1148" y="930"/>
                </a:moveTo>
                <a:lnTo>
                  <a:pt x="1039" y="930"/>
                </a:lnTo>
                <a:lnTo>
                  <a:pt x="1039" y="54"/>
                </a:lnTo>
                <a:lnTo>
                  <a:pt x="1148" y="54"/>
                </a:lnTo>
                <a:lnTo>
                  <a:pt x="1148" y="930"/>
                </a:lnTo>
                <a:close/>
                <a:moveTo>
                  <a:pt x="1176" y="0"/>
                </a:moveTo>
                <a:lnTo>
                  <a:pt x="1011" y="0"/>
                </a:lnTo>
                <a:lnTo>
                  <a:pt x="1011" y="0"/>
                </a:lnTo>
                <a:cubicBezTo>
                  <a:pt x="997" y="0"/>
                  <a:pt x="985" y="12"/>
                  <a:pt x="985" y="28"/>
                </a:cubicBezTo>
                <a:lnTo>
                  <a:pt x="985" y="957"/>
                </a:lnTo>
                <a:lnTo>
                  <a:pt x="985" y="957"/>
                </a:lnTo>
                <a:cubicBezTo>
                  <a:pt x="985" y="972"/>
                  <a:pt x="997" y="985"/>
                  <a:pt x="1011" y="985"/>
                </a:cubicBezTo>
                <a:lnTo>
                  <a:pt x="1176" y="985"/>
                </a:lnTo>
                <a:lnTo>
                  <a:pt x="1176" y="985"/>
                </a:lnTo>
                <a:cubicBezTo>
                  <a:pt x="1191" y="985"/>
                  <a:pt x="1203" y="972"/>
                  <a:pt x="1203" y="957"/>
                </a:cubicBezTo>
                <a:lnTo>
                  <a:pt x="1203" y="28"/>
                </a:lnTo>
                <a:lnTo>
                  <a:pt x="1203" y="28"/>
                </a:lnTo>
                <a:cubicBezTo>
                  <a:pt x="1203" y="12"/>
                  <a:pt x="1191" y="0"/>
                  <a:pt x="1176" y="0"/>
                </a:cubicBezTo>
                <a:close/>
                <a:moveTo>
                  <a:pt x="164" y="930"/>
                </a:moveTo>
                <a:lnTo>
                  <a:pt x="55" y="930"/>
                </a:lnTo>
                <a:lnTo>
                  <a:pt x="55" y="656"/>
                </a:lnTo>
                <a:lnTo>
                  <a:pt x="164" y="656"/>
                </a:lnTo>
                <a:lnTo>
                  <a:pt x="164" y="930"/>
                </a:lnTo>
                <a:close/>
                <a:moveTo>
                  <a:pt x="191" y="602"/>
                </a:moveTo>
                <a:lnTo>
                  <a:pt x="28" y="602"/>
                </a:lnTo>
                <a:lnTo>
                  <a:pt x="28" y="602"/>
                </a:lnTo>
                <a:cubicBezTo>
                  <a:pt x="12" y="602"/>
                  <a:pt x="0" y="614"/>
                  <a:pt x="0" y="629"/>
                </a:cubicBezTo>
                <a:lnTo>
                  <a:pt x="0" y="957"/>
                </a:lnTo>
                <a:lnTo>
                  <a:pt x="0" y="957"/>
                </a:lnTo>
                <a:cubicBezTo>
                  <a:pt x="0" y="972"/>
                  <a:pt x="12" y="985"/>
                  <a:pt x="28" y="985"/>
                </a:cubicBezTo>
                <a:lnTo>
                  <a:pt x="191" y="985"/>
                </a:lnTo>
                <a:lnTo>
                  <a:pt x="191" y="985"/>
                </a:lnTo>
                <a:cubicBezTo>
                  <a:pt x="207" y="985"/>
                  <a:pt x="219" y="972"/>
                  <a:pt x="219" y="957"/>
                </a:cubicBezTo>
                <a:lnTo>
                  <a:pt x="219" y="629"/>
                </a:lnTo>
                <a:lnTo>
                  <a:pt x="219" y="629"/>
                </a:lnTo>
                <a:cubicBezTo>
                  <a:pt x="219" y="614"/>
                  <a:pt x="207" y="602"/>
                  <a:pt x="191" y="602"/>
                </a:cubicBezTo>
                <a:close/>
              </a:path>
            </a:pathLst>
          </a:custGeom>
          <a:solidFill>
            <a:schemeClr val="bg1"/>
          </a:solidFill>
          <a:ln>
            <a:noFill/>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srgbClr val="F2F3F2">
                  <a:lumMod val="25000"/>
                </a:srgbClr>
              </a:solidFill>
              <a:effectLst/>
              <a:uLnTx/>
              <a:uFillTx/>
              <a:latin typeface="Poppins"/>
              <a:ea typeface="+mn-ea"/>
              <a:cs typeface="+mn-cs"/>
            </a:endParaRPr>
          </a:p>
        </p:txBody>
      </p:sp>
      <p:sp>
        <p:nvSpPr>
          <p:cNvPr id="17" name="Freeform 114">
            <a:extLst>
              <a:ext uri="{FF2B5EF4-FFF2-40B4-BE49-F238E27FC236}">
                <a16:creationId xmlns:a16="http://schemas.microsoft.com/office/drawing/2014/main" id="{51305573-20F8-7C4A-A20C-59A8CC0F3A4F}"/>
              </a:ext>
            </a:extLst>
          </p:cNvPr>
          <p:cNvSpPr>
            <a:spLocks noChangeArrowheads="1"/>
          </p:cNvSpPr>
          <p:nvPr/>
        </p:nvSpPr>
        <p:spPr bwMode="auto">
          <a:xfrm>
            <a:off x="6781576" y="4803930"/>
            <a:ext cx="749880" cy="681209"/>
          </a:xfrm>
          <a:custGeom>
            <a:avLst/>
            <a:gdLst>
              <a:gd name="T0" fmla="*/ 957 w 1204"/>
              <a:gd name="T1" fmla="*/ 629 h 1094"/>
              <a:gd name="T2" fmla="*/ 874 w 1204"/>
              <a:gd name="T3" fmla="*/ 547 h 1094"/>
              <a:gd name="T4" fmla="*/ 957 w 1204"/>
              <a:gd name="T5" fmla="*/ 464 h 1094"/>
              <a:gd name="T6" fmla="*/ 1039 w 1204"/>
              <a:gd name="T7" fmla="*/ 547 h 1094"/>
              <a:gd name="T8" fmla="*/ 1175 w 1204"/>
              <a:gd name="T9" fmla="*/ 519 h 1094"/>
              <a:gd name="T10" fmla="*/ 1091 w 1204"/>
              <a:gd name="T11" fmla="*/ 519 h 1094"/>
              <a:gd name="T12" fmla="*/ 957 w 1204"/>
              <a:gd name="T13" fmla="*/ 410 h 1094"/>
              <a:gd name="T14" fmla="*/ 27 w 1204"/>
              <a:gd name="T15" fmla="*/ 519 h 1094"/>
              <a:gd name="T16" fmla="*/ 0 w 1204"/>
              <a:gd name="T17" fmla="*/ 547 h 1094"/>
              <a:gd name="T18" fmla="*/ 27 w 1204"/>
              <a:gd name="T19" fmla="*/ 574 h 1094"/>
              <a:gd name="T20" fmla="*/ 823 w 1204"/>
              <a:gd name="T21" fmla="*/ 574 h 1094"/>
              <a:gd name="T22" fmla="*/ 957 w 1204"/>
              <a:gd name="T23" fmla="*/ 683 h 1094"/>
              <a:gd name="T24" fmla="*/ 1175 w 1204"/>
              <a:gd name="T25" fmla="*/ 574 h 1094"/>
              <a:gd name="T26" fmla="*/ 1203 w 1204"/>
              <a:gd name="T27" fmla="*/ 547 h 1094"/>
              <a:gd name="T28" fmla="*/ 1175 w 1204"/>
              <a:gd name="T29" fmla="*/ 519 h 1094"/>
              <a:gd name="T30" fmla="*/ 519 w 1204"/>
              <a:gd name="T31" fmla="*/ 1039 h 1094"/>
              <a:gd name="T32" fmla="*/ 437 w 1204"/>
              <a:gd name="T33" fmla="*/ 957 h 1094"/>
              <a:gd name="T34" fmla="*/ 519 w 1204"/>
              <a:gd name="T35" fmla="*/ 875 h 1094"/>
              <a:gd name="T36" fmla="*/ 601 w 1204"/>
              <a:gd name="T37" fmla="*/ 957 h 1094"/>
              <a:gd name="T38" fmla="*/ 1175 w 1204"/>
              <a:gd name="T39" fmla="*/ 929 h 1094"/>
              <a:gd name="T40" fmla="*/ 653 w 1204"/>
              <a:gd name="T41" fmla="*/ 929 h 1094"/>
              <a:gd name="T42" fmla="*/ 519 w 1204"/>
              <a:gd name="T43" fmla="*/ 820 h 1094"/>
              <a:gd name="T44" fmla="*/ 27 w 1204"/>
              <a:gd name="T45" fmla="*/ 929 h 1094"/>
              <a:gd name="T46" fmla="*/ 0 w 1204"/>
              <a:gd name="T47" fmla="*/ 957 h 1094"/>
              <a:gd name="T48" fmla="*/ 27 w 1204"/>
              <a:gd name="T49" fmla="*/ 984 h 1094"/>
              <a:gd name="T50" fmla="*/ 385 w 1204"/>
              <a:gd name="T51" fmla="*/ 984 h 1094"/>
              <a:gd name="T52" fmla="*/ 519 w 1204"/>
              <a:gd name="T53" fmla="*/ 1093 h 1094"/>
              <a:gd name="T54" fmla="*/ 1175 w 1204"/>
              <a:gd name="T55" fmla="*/ 984 h 1094"/>
              <a:gd name="T56" fmla="*/ 1203 w 1204"/>
              <a:gd name="T57" fmla="*/ 957 h 1094"/>
              <a:gd name="T58" fmla="*/ 1175 w 1204"/>
              <a:gd name="T59" fmla="*/ 929 h 1094"/>
              <a:gd name="T60" fmla="*/ 300 w 1204"/>
              <a:gd name="T61" fmla="*/ 54 h 1094"/>
              <a:gd name="T62" fmla="*/ 383 w 1204"/>
              <a:gd name="T63" fmla="*/ 136 h 1094"/>
              <a:gd name="T64" fmla="*/ 300 w 1204"/>
              <a:gd name="T65" fmla="*/ 219 h 1094"/>
              <a:gd name="T66" fmla="*/ 218 w 1204"/>
              <a:gd name="T67" fmla="*/ 136 h 1094"/>
              <a:gd name="T68" fmla="*/ 27 w 1204"/>
              <a:gd name="T69" fmla="*/ 164 h 1094"/>
              <a:gd name="T70" fmla="*/ 166 w 1204"/>
              <a:gd name="T71" fmla="*/ 164 h 1094"/>
              <a:gd name="T72" fmla="*/ 300 w 1204"/>
              <a:gd name="T73" fmla="*/ 273 h 1094"/>
              <a:gd name="T74" fmla="*/ 1175 w 1204"/>
              <a:gd name="T75" fmla="*/ 164 h 1094"/>
              <a:gd name="T76" fmla="*/ 1203 w 1204"/>
              <a:gd name="T77" fmla="*/ 136 h 1094"/>
              <a:gd name="T78" fmla="*/ 1175 w 1204"/>
              <a:gd name="T79" fmla="*/ 109 h 1094"/>
              <a:gd name="T80" fmla="*/ 435 w 1204"/>
              <a:gd name="T81" fmla="*/ 109 h 1094"/>
              <a:gd name="T82" fmla="*/ 300 w 1204"/>
              <a:gd name="T83" fmla="*/ 0 h 1094"/>
              <a:gd name="T84" fmla="*/ 27 w 1204"/>
              <a:gd name="T85" fmla="*/ 109 h 1094"/>
              <a:gd name="T86" fmla="*/ 0 w 1204"/>
              <a:gd name="T87" fmla="*/ 136 h 1094"/>
              <a:gd name="T88" fmla="*/ 27 w 1204"/>
              <a:gd name="T89" fmla="*/ 16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4" h="1094">
                <a:moveTo>
                  <a:pt x="957" y="629"/>
                </a:moveTo>
                <a:lnTo>
                  <a:pt x="957" y="629"/>
                </a:lnTo>
                <a:cubicBezTo>
                  <a:pt x="912" y="629"/>
                  <a:pt x="874" y="592"/>
                  <a:pt x="874" y="547"/>
                </a:cubicBezTo>
                <a:lnTo>
                  <a:pt x="874" y="547"/>
                </a:lnTo>
                <a:cubicBezTo>
                  <a:pt x="874" y="501"/>
                  <a:pt x="912" y="464"/>
                  <a:pt x="957" y="464"/>
                </a:cubicBezTo>
                <a:lnTo>
                  <a:pt x="957" y="464"/>
                </a:lnTo>
                <a:cubicBezTo>
                  <a:pt x="1002" y="464"/>
                  <a:pt x="1039" y="501"/>
                  <a:pt x="1039" y="547"/>
                </a:cubicBezTo>
                <a:lnTo>
                  <a:pt x="1039" y="547"/>
                </a:lnTo>
                <a:cubicBezTo>
                  <a:pt x="1039" y="592"/>
                  <a:pt x="1002" y="629"/>
                  <a:pt x="957" y="629"/>
                </a:cubicBezTo>
                <a:close/>
                <a:moveTo>
                  <a:pt x="1175" y="519"/>
                </a:moveTo>
                <a:lnTo>
                  <a:pt x="1091" y="519"/>
                </a:lnTo>
                <a:lnTo>
                  <a:pt x="1091" y="519"/>
                </a:lnTo>
                <a:cubicBezTo>
                  <a:pt x="1078" y="457"/>
                  <a:pt x="1023" y="410"/>
                  <a:pt x="957" y="410"/>
                </a:cubicBezTo>
                <a:lnTo>
                  <a:pt x="957" y="410"/>
                </a:lnTo>
                <a:cubicBezTo>
                  <a:pt x="890" y="410"/>
                  <a:pt x="835" y="457"/>
                  <a:pt x="823" y="519"/>
                </a:cubicBezTo>
                <a:lnTo>
                  <a:pt x="27" y="519"/>
                </a:lnTo>
                <a:lnTo>
                  <a:pt x="27" y="519"/>
                </a:lnTo>
                <a:cubicBezTo>
                  <a:pt x="12" y="519"/>
                  <a:pt x="0" y="531"/>
                  <a:pt x="0" y="547"/>
                </a:cubicBezTo>
                <a:lnTo>
                  <a:pt x="0" y="547"/>
                </a:lnTo>
                <a:cubicBezTo>
                  <a:pt x="0" y="562"/>
                  <a:pt x="12" y="574"/>
                  <a:pt x="27" y="574"/>
                </a:cubicBezTo>
                <a:lnTo>
                  <a:pt x="823" y="574"/>
                </a:lnTo>
                <a:lnTo>
                  <a:pt x="823" y="574"/>
                </a:lnTo>
                <a:cubicBezTo>
                  <a:pt x="835" y="636"/>
                  <a:pt x="890" y="683"/>
                  <a:pt x="957" y="683"/>
                </a:cubicBezTo>
                <a:lnTo>
                  <a:pt x="957" y="683"/>
                </a:lnTo>
                <a:cubicBezTo>
                  <a:pt x="1023" y="683"/>
                  <a:pt x="1078" y="636"/>
                  <a:pt x="1091" y="574"/>
                </a:cubicBezTo>
                <a:lnTo>
                  <a:pt x="1175" y="574"/>
                </a:lnTo>
                <a:lnTo>
                  <a:pt x="1175" y="574"/>
                </a:lnTo>
                <a:cubicBezTo>
                  <a:pt x="1190" y="574"/>
                  <a:pt x="1203" y="562"/>
                  <a:pt x="1203" y="547"/>
                </a:cubicBezTo>
                <a:lnTo>
                  <a:pt x="1203" y="547"/>
                </a:lnTo>
                <a:cubicBezTo>
                  <a:pt x="1203" y="531"/>
                  <a:pt x="1190" y="519"/>
                  <a:pt x="1175" y="519"/>
                </a:cubicBezTo>
                <a:close/>
                <a:moveTo>
                  <a:pt x="519" y="1039"/>
                </a:moveTo>
                <a:lnTo>
                  <a:pt x="519" y="1039"/>
                </a:lnTo>
                <a:cubicBezTo>
                  <a:pt x="474" y="1039"/>
                  <a:pt x="437" y="1002"/>
                  <a:pt x="437" y="957"/>
                </a:cubicBezTo>
                <a:lnTo>
                  <a:pt x="437" y="957"/>
                </a:lnTo>
                <a:cubicBezTo>
                  <a:pt x="437" y="912"/>
                  <a:pt x="474" y="875"/>
                  <a:pt x="519" y="875"/>
                </a:cubicBezTo>
                <a:lnTo>
                  <a:pt x="519" y="875"/>
                </a:lnTo>
                <a:cubicBezTo>
                  <a:pt x="564" y="875"/>
                  <a:pt x="601" y="912"/>
                  <a:pt x="601" y="957"/>
                </a:cubicBezTo>
                <a:lnTo>
                  <a:pt x="601" y="957"/>
                </a:lnTo>
                <a:cubicBezTo>
                  <a:pt x="601" y="1002"/>
                  <a:pt x="564" y="1039"/>
                  <a:pt x="519" y="1039"/>
                </a:cubicBezTo>
                <a:close/>
                <a:moveTo>
                  <a:pt x="1175" y="929"/>
                </a:moveTo>
                <a:lnTo>
                  <a:pt x="653" y="929"/>
                </a:lnTo>
                <a:lnTo>
                  <a:pt x="653" y="929"/>
                </a:lnTo>
                <a:cubicBezTo>
                  <a:pt x="641" y="867"/>
                  <a:pt x="585" y="820"/>
                  <a:pt x="519" y="820"/>
                </a:cubicBezTo>
                <a:lnTo>
                  <a:pt x="519" y="820"/>
                </a:lnTo>
                <a:cubicBezTo>
                  <a:pt x="453" y="820"/>
                  <a:pt x="398" y="867"/>
                  <a:pt x="385" y="929"/>
                </a:cubicBezTo>
                <a:lnTo>
                  <a:pt x="27" y="929"/>
                </a:lnTo>
                <a:lnTo>
                  <a:pt x="27" y="929"/>
                </a:lnTo>
                <a:cubicBezTo>
                  <a:pt x="12" y="929"/>
                  <a:pt x="0" y="941"/>
                  <a:pt x="0" y="957"/>
                </a:cubicBezTo>
                <a:lnTo>
                  <a:pt x="0" y="957"/>
                </a:lnTo>
                <a:cubicBezTo>
                  <a:pt x="0" y="972"/>
                  <a:pt x="12" y="984"/>
                  <a:pt x="27" y="984"/>
                </a:cubicBezTo>
                <a:lnTo>
                  <a:pt x="385" y="984"/>
                </a:lnTo>
                <a:lnTo>
                  <a:pt x="385" y="984"/>
                </a:lnTo>
                <a:cubicBezTo>
                  <a:pt x="398" y="1047"/>
                  <a:pt x="453" y="1093"/>
                  <a:pt x="519" y="1093"/>
                </a:cubicBezTo>
                <a:lnTo>
                  <a:pt x="519" y="1093"/>
                </a:lnTo>
                <a:cubicBezTo>
                  <a:pt x="585" y="1093"/>
                  <a:pt x="641" y="1047"/>
                  <a:pt x="653" y="984"/>
                </a:cubicBezTo>
                <a:lnTo>
                  <a:pt x="1175" y="984"/>
                </a:lnTo>
                <a:lnTo>
                  <a:pt x="1175" y="984"/>
                </a:lnTo>
                <a:cubicBezTo>
                  <a:pt x="1190" y="984"/>
                  <a:pt x="1203" y="972"/>
                  <a:pt x="1203" y="957"/>
                </a:cubicBezTo>
                <a:lnTo>
                  <a:pt x="1203" y="957"/>
                </a:lnTo>
                <a:cubicBezTo>
                  <a:pt x="1203" y="941"/>
                  <a:pt x="1190" y="929"/>
                  <a:pt x="1175" y="929"/>
                </a:cubicBezTo>
                <a:close/>
                <a:moveTo>
                  <a:pt x="300" y="54"/>
                </a:moveTo>
                <a:lnTo>
                  <a:pt x="300" y="54"/>
                </a:lnTo>
                <a:cubicBezTo>
                  <a:pt x="346" y="54"/>
                  <a:pt x="383" y="91"/>
                  <a:pt x="383" y="136"/>
                </a:cubicBezTo>
                <a:lnTo>
                  <a:pt x="383" y="136"/>
                </a:lnTo>
                <a:cubicBezTo>
                  <a:pt x="383" y="181"/>
                  <a:pt x="346" y="219"/>
                  <a:pt x="300" y="219"/>
                </a:cubicBezTo>
                <a:lnTo>
                  <a:pt x="300" y="219"/>
                </a:lnTo>
                <a:cubicBezTo>
                  <a:pt x="255" y="219"/>
                  <a:pt x="218" y="181"/>
                  <a:pt x="218" y="136"/>
                </a:cubicBezTo>
                <a:lnTo>
                  <a:pt x="218" y="136"/>
                </a:lnTo>
                <a:cubicBezTo>
                  <a:pt x="218" y="91"/>
                  <a:pt x="255" y="54"/>
                  <a:pt x="300" y="54"/>
                </a:cubicBezTo>
                <a:close/>
                <a:moveTo>
                  <a:pt x="27" y="164"/>
                </a:moveTo>
                <a:lnTo>
                  <a:pt x="166" y="164"/>
                </a:lnTo>
                <a:lnTo>
                  <a:pt x="166" y="164"/>
                </a:lnTo>
                <a:cubicBezTo>
                  <a:pt x="179" y="226"/>
                  <a:pt x="234" y="273"/>
                  <a:pt x="300" y="273"/>
                </a:cubicBezTo>
                <a:lnTo>
                  <a:pt x="300" y="273"/>
                </a:lnTo>
                <a:cubicBezTo>
                  <a:pt x="367" y="273"/>
                  <a:pt x="422" y="226"/>
                  <a:pt x="435" y="164"/>
                </a:cubicBezTo>
                <a:lnTo>
                  <a:pt x="1175" y="164"/>
                </a:lnTo>
                <a:lnTo>
                  <a:pt x="1175" y="164"/>
                </a:lnTo>
                <a:cubicBezTo>
                  <a:pt x="1190" y="164"/>
                  <a:pt x="1203" y="152"/>
                  <a:pt x="1203" y="136"/>
                </a:cubicBezTo>
                <a:lnTo>
                  <a:pt x="1203" y="136"/>
                </a:lnTo>
                <a:cubicBezTo>
                  <a:pt x="1203" y="121"/>
                  <a:pt x="1190" y="109"/>
                  <a:pt x="1175" y="109"/>
                </a:cubicBezTo>
                <a:lnTo>
                  <a:pt x="435" y="109"/>
                </a:lnTo>
                <a:lnTo>
                  <a:pt x="435" y="109"/>
                </a:lnTo>
                <a:cubicBezTo>
                  <a:pt x="422" y="47"/>
                  <a:pt x="367" y="0"/>
                  <a:pt x="300" y="0"/>
                </a:cubicBezTo>
                <a:lnTo>
                  <a:pt x="300" y="0"/>
                </a:lnTo>
                <a:cubicBezTo>
                  <a:pt x="234" y="0"/>
                  <a:pt x="179" y="47"/>
                  <a:pt x="166" y="109"/>
                </a:cubicBezTo>
                <a:lnTo>
                  <a:pt x="27" y="109"/>
                </a:lnTo>
                <a:lnTo>
                  <a:pt x="27" y="109"/>
                </a:lnTo>
                <a:cubicBezTo>
                  <a:pt x="12" y="109"/>
                  <a:pt x="0" y="121"/>
                  <a:pt x="0" y="136"/>
                </a:cubicBezTo>
                <a:lnTo>
                  <a:pt x="0" y="136"/>
                </a:lnTo>
                <a:cubicBezTo>
                  <a:pt x="0" y="152"/>
                  <a:pt x="12" y="164"/>
                  <a:pt x="27" y="164"/>
                </a:cubicBezTo>
                <a:close/>
              </a:path>
            </a:pathLst>
          </a:custGeom>
          <a:solidFill>
            <a:schemeClr val="bg1"/>
          </a:solidFill>
          <a:ln>
            <a:noFill/>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srgbClr val="F2F3F2">
                  <a:lumMod val="25000"/>
                </a:srgbClr>
              </a:solidFill>
              <a:effectLst/>
              <a:uLnTx/>
              <a:uFillTx/>
              <a:latin typeface="Poppins"/>
              <a:ea typeface="+mn-ea"/>
              <a:cs typeface="+mn-cs"/>
            </a:endParaRPr>
          </a:p>
        </p:txBody>
      </p:sp>
      <p:sp>
        <p:nvSpPr>
          <p:cNvPr id="6" name="TextBox 5">
            <a:extLst>
              <a:ext uri="{FF2B5EF4-FFF2-40B4-BE49-F238E27FC236}">
                <a16:creationId xmlns:a16="http://schemas.microsoft.com/office/drawing/2014/main" id="{68056FEB-EEDB-1F49-8796-51B3014B42F1}"/>
              </a:ext>
            </a:extLst>
          </p:cNvPr>
          <p:cNvSpPr txBox="1"/>
          <p:nvPr/>
        </p:nvSpPr>
        <p:spPr>
          <a:xfrm>
            <a:off x="1263271" y="2495207"/>
            <a:ext cx="5374761" cy="54296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15" normalizeH="0" baseline="0" noProof="0">
                <a:ln>
                  <a:noFill/>
                </a:ln>
                <a:solidFill>
                  <a:srgbClr val="FFFFFF"/>
                </a:solidFill>
                <a:effectLst/>
                <a:uLnTx/>
                <a:uFillTx/>
                <a:latin typeface="Poppins"/>
                <a:ea typeface="Source Sans Pro"/>
                <a:cs typeface="Poppins"/>
              </a:rPr>
              <a:t>AI streamlines gathering and processing vast market data, enhancing speed and accuracy.</a:t>
            </a:r>
            <a:endParaRPr kumimoji="0" lang="en-US" sz="1400" b="0" i="0" u="none" strike="noStrike" kern="1200" cap="none" spc="0" normalizeH="0" baseline="0" noProof="0">
              <a:ln>
                <a:noFill/>
              </a:ln>
              <a:solidFill>
                <a:srgbClr val="FFFFFF"/>
              </a:solidFill>
              <a:effectLst/>
              <a:uLnTx/>
              <a:uFillTx/>
              <a:latin typeface="Poppins Light"/>
              <a:ea typeface="+mn-ea"/>
              <a:cs typeface="+mn-cs"/>
            </a:endParaRPr>
          </a:p>
        </p:txBody>
      </p:sp>
      <p:sp>
        <p:nvSpPr>
          <p:cNvPr id="7" name="TextBox 6">
            <a:extLst>
              <a:ext uri="{FF2B5EF4-FFF2-40B4-BE49-F238E27FC236}">
                <a16:creationId xmlns:a16="http://schemas.microsoft.com/office/drawing/2014/main" id="{96EAA62F-A1A6-F04F-9FDC-D4D02B483D96}"/>
              </a:ext>
            </a:extLst>
          </p:cNvPr>
          <p:cNvSpPr txBox="1"/>
          <p:nvPr/>
        </p:nvSpPr>
        <p:spPr>
          <a:xfrm>
            <a:off x="1237000" y="2194416"/>
            <a:ext cx="3517310" cy="368562"/>
          </a:xfrm>
          <a:prstGeom prst="rect">
            <a:avLst/>
          </a:prstGeom>
          <a:noFill/>
        </p:spPr>
        <p:txBody>
          <a:bodyPr wrap="square" lIns="91440" tIns="45720" rIns="91440" bIns="45720" rtlCol="0" anchor="b">
            <a:spAutoFit/>
          </a:bodyPr>
          <a:lstStyle/>
          <a:p>
            <a:pPr marL="0" marR="0" lvl="0" indent="0" algn="l" defTabSz="914400" rtl="0" eaLnBrk="1" fontAlgn="auto" latinLnBrk="0" hangingPunct="1">
              <a:lnSpc>
                <a:spcPts val="2160"/>
              </a:lnSpc>
              <a:spcBef>
                <a:spcPts val="0"/>
              </a:spcBef>
              <a:spcAft>
                <a:spcPts val="0"/>
              </a:spcAft>
              <a:buClrTx/>
              <a:buSzTx/>
              <a:buFontTx/>
              <a:buNone/>
              <a:tabLst/>
              <a:defRPr/>
            </a:pPr>
            <a:r>
              <a:rPr kumimoji="0" lang="en-US" sz="1800" b="1" i="0" u="none" strike="noStrike" kern="1200" cap="none" spc="-15" normalizeH="0" baseline="0" noProof="0">
                <a:ln>
                  <a:noFill/>
                </a:ln>
                <a:solidFill>
                  <a:srgbClr val="FFFFFF"/>
                </a:solidFill>
                <a:effectLst/>
                <a:uLnTx/>
                <a:uFillTx/>
                <a:latin typeface="Poppins"/>
                <a:ea typeface="Source Sans Pro"/>
                <a:cs typeface="+mn-cs"/>
              </a:rPr>
              <a:t>Automate Data Aggregation</a:t>
            </a:r>
            <a:endParaRPr kumimoji="0" lang="en-US" sz="1800" b="1" i="0" u="none" strike="noStrike" kern="1200" cap="none" spc="-15" normalizeH="0" baseline="0" noProof="0">
              <a:ln>
                <a:noFill/>
              </a:ln>
              <a:solidFill>
                <a:srgbClr val="FFFFFF"/>
              </a:solidFill>
              <a:effectLst/>
              <a:uLnTx/>
              <a:uFillTx/>
              <a:latin typeface="Poppins"/>
              <a:ea typeface="Source Sans Pro" panose="020B0503030403020204" pitchFamily="34" charset="0"/>
              <a:cs typeface="+mn-cs"/>
            </a:endParaRPr>
          </a:p>
        </p:txBody>
      </p:sp>
      <p:sp>
        <p:nvSpPr>
          <p:cNvPr id="11" name="TextBox 10">
            <a:extLst>
              <a:ext uri="{FF2B5EF4-FFF2-40B4-BE49-F238E27FC236}">
                <a16:creationId xmlns:a16="http://schemas.microsoft.com/office/drawing/2014/main" id="{03D85757-D386-C242-B68A-A2AD8335DA68}"/>
              </a:ext>
            </a:extLst>
          </p:cNvPr>
          <p:cNvSpPr txBox="1"/>
          <p:nvPr/>
        </p:nvSpPr>
        <p:spPr>
          <a:xfrm>
            <a:off x="1260165" y="4655021"/>
            <a:ext cx="2162451" cy="368562"/>
          </a:xfrm>
          <a:prstGeom prst="rect">
            <a:avLst/>
          </a:prstGeom>
          <a:noFill/>
        </p:spPr>
        <p:txBody>
          <a:bodyPr wrap="none" lIns="91440" tIns="45720" rIns="91440" bIns="45720" rtlCol="0" anchor="b">
            <a:spAutoFit/>
          </a:bodyPr>
          <a:lstStyle/>
          <a:p>
            <a:pPr marL="0" marR="0" lvl="0" indent="0" algn="l" defTabSz="914400" rtl="0" eaLnBrk="1" fontAlgn="auto" latinLnBrk="0" hangingPunct="1">
              <a:lnSpc>
                <a:spcPts val="2160"/>
              </a:lnSpc>
              <a:spcBef>
                <a:spcPts val="0"/>
              </a:spcBef>
              <a:spcAft>
                <a:spcPts val="0"/>
              </a:spcAft>
              <a:buClrTx/>
              <a:buSzTx/>
              <a:buFontTx/>
              <a:buNone/>
              <a:tabLst/>
              <a:defRPr/>
            </a:pPr>
            <a:r>
              <a:rPr kumimoji="0" lang="en-US" sz="1800" b="1" i="0" u="none" strike="noStrike" kern="1200" cap="none" spc="-15" normalizeH="0" baseline="0" noProof="0">
                <a:ln>
                  <a:noFill/>
                </a:ln>
                <a:solidFill>
                  <a:srgbClr val="FFFFFF"/>
                </a:solidFill>
                <a:effectLst/>
                <a:uLnTx/>
                <a:uFillTx/>
                <a:latin typeface="Poppins"/>
                <a:ea typeface="Source Sans Pro"/>
                <a:cs typeface="+mn-cs"/>
              </a:rPr>
              <a:t>Agile Adaptation</a:t>
            </a:r>
            <a:endParaRPr kumimoji="0" lang="en-US"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 name="Título 2">
            <a:extLst>
              <a:ext uri="{FF2B5EF4-FFF2-40B4-BE49-F238E27FC236}">
                <a16:creationId xmlns:a16="http://schemas.microsoft.com/office/drawing/2014/main" id="{1CC83EAD-9A6E-9997-ABDB-C853A0FAE066}"/>
              </a:ext>
            </a:extLst>
          </p:cNvPr>
          <p:cNvSpPr>
            <a:spLocks noGrp="1"/>
          </p:cNvSpPr>
          <p:nvPr>
            <p:ph type="title"/>
          </p:nvPr>
        </p:nvSpPr>
        <p:spPr>
          <a:xfrm>
            <a:off x="941681" y="278930"/>
            <a:ext cx="7117252" cy="806612"/>
          </a:xfrm>
        </p:spPr>
        <p:txBody>
          <a:bodyPr>
            <a:noAutofit/>
          </a:bodyPr>
          <a:lstStyle/>
          <a:p>
            <a:r>
              <a:rPr lang="en-GB">
                <a:solidFill>
                  <a:schemeClr val="accent4"/>
                </a:solidFill>
              </a:rPr>
              <a:t>Intentional AI Automation, Enhanced by Human Insight</a:t>
            </a:r>
            <a:endParaRPr lang="en-GB">
              <a:solidFill>
                <a:schemeClr val="accent4"/>
              </a:solidFill>
              <a:cs typeface="Poppins"/>
            </a:endParaRPr>
          </a:p>
        </p:txBody>
      </p:sp>
      <p:sp>
        <p:nvSpPr>
          <p:cNvPr id="29" name="TextBox 5">
            <a:extLst>
              <a:ext uri="{FF2B5EF4-FFF2-40B4-BE49-F238E27FC236}">
                <a16:creationId xmlns:a16="http://schemas.microsoft.com/office/drawing/2014/main" id="{27722D44-A246-875E-74FC-5548E9CEE1F3}"/>
              </a:ext>
            </a:extLst>
          </p:cNvPr>
          <p:cNvSpPr txBox="1"/>
          <p:nvPr/>
        </p:nvSpPr>
        <p:spPr>
          <a:xfrm>
            <a:off x="1263271" y="4970186"/>
            <a:ext cx="5374761" cy="54296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300" b="0" i="0" u="none" strike="noStrike" kern="1200" cap="none" spc="-15" normalizeH="0" baseline="0" noProof="0">
                <a:ln>
                  <a:noFill/>
                </a:ln>
                <a:solidFill>
                  <a:srgbClr val="FFFFFF"/>
                </a:solidFill>
                <a:effectLst/>
                <a:uLnTx/>
                <a:uFillTx/>
                <a:latin typeface="Poppins"/>
                <a:ea typeface="Source Sans Pro"/>
                <a:cs typeface="Poppins"/>
              </a:rPr>
              <a:t>Our process is designed for flexibility, allowing strategies to evolve with ongoing analysis and client feedback.</a:t>
            </a: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32" name="Freeform 185">
            <a:extLst>
              <a:ext uri="{FF2B5EF4-FFF2-40B4-BE49-F238E27FC236}">
                <a16:creationId xmlns:a16="http://schemas.microsoft.com/office/drawing/2014/main" id="{DD8666BC-FE12-0E98-94BD-8EFD2C7D1999}"/>
              </a:ext>
            </a:extLst>
          </p:cNvPr>
          <p:cNvSpPr>
            <a:spLocks noChangeArrowheads="1"/>
          </p:cNvSpPr>
          <p:nvPr/>
        </p:nvSpPr>
        <p:spPr bwMode="auto">
          <a:xfrm>
            <a:off x="1463767" y="3599471"/>
            <a:ext cx="641208" cy="641208"/>
          </a:xfrm>
          <a:custGeom>
            <a:avLst/>
            <a:gdLst>
              <a:gd name="T0" fmla="*/ 1001 w 1205"/>
              <a:gd name="T1" fmla="*/ 975 h 1204"/>
              <a:gd name="T2" fmla="*/ 843 w 1205"/>
              <a:gd name="T3" fmla="*/ 858 h 1204"/>
              <a:gd name="T4" fmla="*/ 752 w 1205"/>
              <a:gd name="T5" fmla="*/ 783 h 1204"/>
              <a:gd name="T6" fmla="*/ 761 w 1205"/>
              <a:gd name="T7" fmla="*/ 719 h 1204"/>
              <a:gd name="T8" fmla="*/ 787 w 1205"/>
              <a:gd name="T9" fmla="*/ 670 h 1204"/>
              <a:gd name="T10" fmla="*/ 848 w 1205"/>
              <a:gd name="T11" fmla="*/ 410 h 1204"/>
              <a:gd name="T12" fmla="*/ 686 w 1205"/>
              <a:gd name="T13" fmla="*/ 165 h 1204"/>
              <a:gd name="T14" fmla="*/ 638 w 1205"/>
              <a:gd name="T15" fmla="*/ 175 h 1204"/>
              <a:gd name="T16" fmla="*/ 574 w 1205"/>
              <a:gd name="T17" fmla="*/ 186 h 1204"/>
              <a:gd name="T18" fmla="*/ 383 w 1205"/>
              <a:gd name="T19" fmla="*/ 403 h 1204"/>
              <a:gd name="T20" fmla="*/ 453 w 1205"/>
              <a:gd name="T21" fmla="*/ 676 h 1204"/>
              <a:gd name="T22" fmla="*/ 474 w 1205"/>
              <a:gd name="T23" fmla="*/ 717 h 1204"/>
              <a:gd name="T24" fmla="*/ 414 w 1205"/>
              <a:gd name="T25" fmla="*/ 848 h 1204"/>
              <a:gd name="T26" fmla="*/ 206 w 1205"/>
              <a:gd name="T27" fmla="*/ 978 h 1204"/>
              <a:gd name="T28" fmla="*/ 56 w 1205"/>
              <a:gd name="T29" fmla="*/ 601 h 1204"/>
              <a:gd name="T30" fmla="*/ 602 w 1205"/>
              <a:gd name="T31" fmla="*/ 55 h 1204"/>
              <a:gd name="T32" fmla="*/ 1149 w 1205"/>
              <a:gd name="T33" fmla="*/ 601 h 1204"/>
              <a:gd name="T34" fmla="*/ 602 w 1205"/>
              <a:gd name="T35" fmla="*/ 1148 h 1204"/>
              <a:gd name="T36" fmla="*/ 246 w 1205"/>
              <a:gd name="T37" fmla="*/ 1016 h 1204"/>
              <a:gd name="T38" fmla="*/ 436 w 1205"/>
              <a:gd name="T39" fmla="*/ 898 h 1204"/>
              <a:gd name="T40" fmla="*/ 525 w 1205"/>
              <a:gd name="T41" fmla="*/ 695 h 1204"/>
              <a:gd name="T42" fmla="*/ 501 w 1205"/>
              <a:gd name="T43" fmla="*/ 650 h 1204"/>
              <a:gd name="T44" fmla="*/ 438 w 1205"/>
              <a:gd name="T45" fmla="*/ 403 h 1204"/>
              <a:gd name="T46" fmla="*/ 575 w 1205"/>
              <a:gd name="T47" fmla="*/ 240 h 1204"/>
              <a:gd name="T48" fmla="*/ 656 w 1205"/>
              <a:gd name="T49" fmla="*/ 226 h 1204"/>
              <a:gd name="T50" fmla="*/ 686 w 1205"/>
              <a:gd name="T51" fmla="*/ 219 h 1204"/>
              <a:gd name="T52" fmla="*/ 793 w 1205"/>
              <a:gd name="T53" fmla="*/ 410 h 1204"/>
              <a:gd name="T54" fmla="*/ 739 w 1205"/>
              <a:gd name="T55" fmla="*/ 643 h 1204"/>
              <a:gd name="T56" fmla="*/ 712 w 1205"/>
              <a:gd name="T57" fmla="*/ 694 h 1204"/>
              <a:gd name="T58" fmla="*/ 701 w 1205"/>
              <a:gd name="T59" fmla="*/ 800 h 1204"/>
              <a:gd name="T60" fmla="*/ 819 w 1205"/>
              <a:gd name="T61" fmla="*/ 908 h 1204"/>
              <a:gd name="T62" fmla="*/ 962 w 1205"/>
              <a:gd name="T63" fmla="*/ 1013 h 1204"/>
              <a:gd name="T64" fmla="*/ 602 w 1205"/>
              <a:gd name="T65" fmla="*/ 1148 h 1204"/>
              <a:gd name="T66" fmla="*/ 602 w 1205"/>
              <a:gd name="T67" fmla="*/ 0 h 1204"/>
              <a:gd name="T68" fmla="*/ 0 w 1205"/>
              <a:gd name="T69" fmla="*/ 601 h 1204"/>
              <a:gd name="T70" fmla="*/ 602 w 1205"/>
              <a:gd name="T71" fmla="*/ 1203 h 1204"/>
              <a:gd name="T72" fmla="*/ 1204 w 1205"/>
              <a:gd name="T73" fmla="*/ 601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5" h="1204">
                <a:moveTo>
                  <a:pt x="1001" y="975"/>
                </a:moveTo>
                <a:lnTo>
                  <a:pt x="1001" y="975"/>
                </a:lnTo>
                <a:cubicBezTo>
                  <a:pt x="969" y="944"/>
                  <a:pt x="906" y="888"/>
                  <a:pt x="843" y="858"/>
                </a:cubicBezTo>
                <a:lnTo>
                  <a:pt x="843" y="858"/>
                </a:lnTo>
                <a:cubicBezTo>
                  <a:pt x="791" y="834"/>
                  <a:pt x="761" y="809"/>
                  <a:pt x="752" y="783"/>
                </a:cubicBezTo>
                <a:lnTo>
                  <a:pt x="752" y="783"/>
                </a:lnTo>
                <a:cubicBezTo>
                  <a:pt x="746" y="764"/>
                  <a:pt x="748" y="743"/>
                  <a:pt x="761" y="719"/>
                </a:cubicBezTo>
                <a:lnTo>
                  <a:pt x="761" y="719"/>
                </a:lnTo>
                <a:cubicBezTo>
                  <a:pt x="770" y="700"/>
                  <a:pt x="779" y="684"/>
                  <a:pt x="787" y="670"/>
                </a:cubicBezTo>
                <a:lnTo>
                  <a:pt x="787" y="670"/>
                </a:lnTo>
                <a:cubicBezTo>
                  <a:pt x="821" y="609"/>
                  <a:pt x="848" y="565"/>
                  <a:pt x="848" y="410"/>
                </a:cubicBezTo>
                <a:lnTo>
                  <a:pt x="848" y="410"/>
                </a:lnTo>
                <a:cubicBezTo>
                  <a:pt x="848" y="176"/>
                  <a:pt x="713" y="165"/>
                  <a:pt x="686" y="165"/>
                </a:cubicBezTo>
                <a:lnTo>
                  <a:pt x="686" y="165"/>
                </a:lnTo>
                <a:cubicBezTo>
                  <a:pt x="665" y="165"/>
                  <a:pt x="650" y="170"/>
                  <a:pt x="638" y="175"/>
                </a:cubicBezTo>
                <a:lnTo>
                  <a:pt x="638" y="175"/>
                </a:lnTo>
                <a:cubicBezTo>
                  <a:pt x="623" y="180"/>
                  <a:pt x="608" y="185"/>
                  <a:pt x="574" y="186"/>
                </a:cubicBezTo>
                <a:lnTo>
                  <a:pt x="574" y="186"/>
                </a:lnTo>
                <a:cubicBezTo>
                  <a:pt x="512" y="186"/>
                  <a:pt x="383" y="189"/>
                  <a:pt x="383" y="403"/>
                </a:cubicBezTo>
                <a:lnTo>
                  <a:pt x="383" y="403"/>
                </a:lnTo>
                <a:cubicBezTo>
                  <a:pt x="383" y="553"/>
                  <a:pt x="422" y="621"/>
                  <a:pt x="453" y="676"/>
                </a:cubicBezTo>
                <a:lnTo>
                  <a:pt x="453" y="676"/>
                </a:lnTo>
                <a:cubicBezTo>
                  <a:pt x="461" y="690"/>
                  <a:pt x="468" y="704"/>
                  <a:pt x="474" y="717"/>
                </a:cubicBezTo>
                <a:lnTo>
                  <a:pt x="474" y="717"/>
                </a:lnTo>
                <a:cubicBezTo>
                  <a:pt x="501" y="777"/>
                  <a:pt x="481" y="818"/>
                  <a:pt x="414" y="848"/>
                </a:cubicBezTo>
                <a:lnTo>
                  <a:pt x="414" y="848"/>
                </a:lnTo>
                <a:cubicBezTo>
                  <a:pt x="329" y="885"/>
                  <a:pt x="290" y="904"/>
                  <a:pt x="206" y="978"/>
                </a:cubicBezTo>
                <a:lnTo>
                  <a:pt x="206" y="978"/>
                </a:lnTo>
                <a:cubicBezTo>
                  <a:pt x="113" y="879"/>
                  <a:pt x="56" y="747"/>
                  <a:pt x="56" y="601"/>
                </a:cubicBezTo>
                <a:lnTo>
                  <a:pt x="56" y="601"/>
                </a:lnTo>
                <a:cubicBezTo>
                  <a:pt x="56" y="300"/>
                  <a:pt x="300" y="55"/>
                  <a:pt x="602" y="55"/>
                </a:cubicBezTo>
                <a:lnTo>
                  <a:pt x="602" y="55"/>
                </a:lnTo>
                <a:cubicBezTo>
                  <a:pt x="904" y="55"/>
                  <a:pt x="1149" y="300"/>
                  <a:pt x="1149" y="601"/>
                </a:cubicBezTo>
                <a:lnTo>
                  <a:pt x="1149" y="601"/>
                </a:lnTo>
                <a:cubicBezTo>
                  <a:pt x="1149" y="746"/>
                  <a:pt x="1093" y="877"/>
                  <a:pt x="1001" y="975"/>
                </a:cubicBezTo>
                <a:close/>
                <a:moveTo>
                  <a:pt x="602" y="1148"/>
                </a:moveTo>
                <a:lnTo>
                  <a:pt x="602" y="1148"/>
                </a:lnTo>
                <a:cubicBezTo>
                  <a:pt x="466" y="1148"/>
                  <a:pt x="342" y="1098"/>
                  <a:pt x="246" y="1016"/>
                </a:cubicBezTo>
                <a:lnTo>
                  <a:pt x="246" y="1016"/>
                </a:lnTo>
                <a:cubicBezTo>
                  <a:pt x="320" y="951"/>
                  <a:pt x="355" y="933"/>
                  <a:pt x="436" y="898"/>
                </a:cubicBezTo>
                <a:lnTo>
                  <a:pt x="436" y="898"/>
                </a:lnTo>
                <a:cubicBezTo>
                  <a:pt x="531" y="856"/>
                  <a:pt x="562" y="782"/>
                  <a:pt x="525" y="695"/>
                </a:cubicBezTo>
                <a:lnTo>
                  <a:pt x="525" y="695"/>
                </a:lnTo>
                <a:cubicBezTo>
                  <a:pt x="518" y="679"/>
                  <a:pt x="509" y="665"/>
                  <a:pt x="501" y="650"/>
                </a:cubicBezTo>
                <a:lnTo>
                  <a:pt x="501" y="650"/>
                </a:lnTo>
                <a:cubicBezTo>
                  <a:pt x="472" y="598"/>
                  <a:pt x="438" y="539"/>
                  <a:pt x="438" y="403"/>
                </a:cubicBezTo>
                <a:lnTo>
                  <a:pt x="438" y="403"/>
                </a:lnTo>
                <a:cubicBezTo>
                  <a:pt x="438" y="243"/>
                  <a:pt x="514" y="241"/>
                  <a:pt x="575" y="240"/>
                </a:cubicBezTo>
                <a:lnTo>
                  <a:pt x="575" y="240"/>
                </a:lnTo>
                <a:cubicBezTo>
                  <a:pt x="618" y="239"/>
                  <a:pt x="639" y="232"/>
                  <a:pt x="656" y="226"/>
                </a:cubicBezTo>
                <a:lnTo>
                  <a:pt x="656" y="226"/>
                </a:lnTo>
                <a:cubicBezTo>
                  <a:pt x="667" y="222"/>
                  <a:pt x="674" y="219"/>
                  <a:pt x="686" y="219"/>
                </a:cubicBezTo>
                <a:lnTo>
                  <a:pt x="686" y="219"/>
                </a:lnTo>
                <a:cubicBezTo>
                  <a:pt x="737" y="219"/>
                  <a:pt x="793" y="270"/>
                  <a:pt x="793" y="410"/>
                </a:cubicBezTo>
                <a:lnTo>
                  <a:pt x="793" y="410"/>
                </a:lnTo>
                <a:cubicBezTo>
                  <a:pt x="793" y="552"/>
                  <a:pt x="772" y="586"/>
                  <a:pt x="739" y="643"/>
                </a:cubicBezTo>
                <a:lnTo>
                  <a:pt x="739" y="643"/>
                </a:lnTo>
                <a:cubicBezTo>
                  <a:pt x="731" y="658"/>
                  <a:pt x="721" y="674"/>
                  <a:pt x="712" y="694"/>
                </a:cubicBezTo>
                <a:lnTo>
                  <a:pt x="712" y="694"/>
                </a:lnTo>
                <a:cubicBezTo>
                  <a:pt x="693" y="732"/>
                  <a:pt x="689" y="768"/>
                  <a:pt x="701" y="800"/>
                </a:cubicBezTo>
                <a:lnTo>
                  <a:pt x="701" y="800"/>
                </a:lnTo>
                <a:cubicBezTo>
                  <a:pt x="715" y="842"/>
                  <a:pt x="752" y="876"/>
                  <a:pt x="819" y="908"/>
                </a:cubicBezTo>
                <a:lnTo>
                  <a:pt x="819" y="908"/>
                </a:lnTo>
                <a:cubicBezTo>
                  <a:pt x="874" y="933"/>
                  <a:pt x="930" y="983"/>
                  <a:pt x="962" y="1013"/>
                </a:cubicBezTo>
                <a:lnTo>
                  <a:pt x="962" y="1013"/>
                </a:lnTo>
                <a:cubicBezTo>
                  <a:pt x="865" y="1097"/>
                  <a:pt x="740" y="1148"/>
                  <a:pt x="602" y="1148"/>
                </a:cubicBezTo>
                <a:close/>
                <a:moveTo>
                  <a:pt x="602" y="0"/>
                </a:moveTo>
                <a:lnTo>
                  <a:pt x="602" y="0"/>
                </a:lnTo>
                <a:cubicBezTo>
                  <a:pt x="270" y="0"/>
                  <a:pt x="0" y="270"/>
                  <a:pt x="0" y="601"/>
                </a:cubicBezTo>
                <a:lnTo>
                  <a:pt x="0" y="601"/>
                </a:lnTo>
                <a:cubicBezTo>
                  <a:pt x="0" y="933"/>
                  <a:pt x="270" y="1203"/>
                  <a:pt x="602" y="1203"/>
                </a:cubicBezTo>
                <a:lnTo>
                  <a:pt x="602" y="1203"/>
                </a:lnTo>
                <a:cubicBezTo>
                  <a:pt x="934" y="1203"/>
                  <a:pt x="1204" y="933"/>
                  <a:pt x="1204" y="601"/>
                </a:cubicBezTo>
                <a:lnTo>
                  <a:pt x="1204" y="601"/>
                </a:lnTo>
                <a:cubicBezTo>
                  <a:pt x="1204" y="270"/>
                  <a:pt x="934" y="0"/>
                  <a:pt x="602" y="0"/>
                </a:cubicBezTo>
                <a:close/>
              </a:path>
            </a:pathLst>
          </a:custGeom>
          <a:solidFill>
            <a:schemeClr val="bg1"/>
          </a:solidFill>
          <a:ln>
            <a:noFill/>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srgbClr val="F2F3F2">
                  <a:lumMod val="25000"/>
                </a:srgbClr>
              </a:solidFill>
              <a:effectLst/>
              <a:uLnTx/>
              <a:uFillTx/>
              <a:latin typeface="Poppins"/>
              <a:ea typeface="+mn-ea"/>
              <a:cs typeface="+mn-cs"/>
            </a:endParaRPr>
          </a:p>
        </p:txBody>
      </p:sp>
      <p:sp>
        <p:nvSpPr>
          <p:cNvPr id="34" name="TextBox 7">
            <a:extLst>
              <a:ext uri="{FF2B5EF4-FFF2-40B4-BE49-F238E27FC236}">
                <a16:creationId xmlns:a16="http://schemas.microsoft.com/office/drawing/2014/main" id="{9ED4EBD0-5AF5-42F9-6A23-A54AEBEB0DA0}"/>
              </a:ext>
            </a:extLst>
          </p:cNvPr>
          <p:cNvSpPr txBox="1"/>
          <p:nvPr/>
        </p:nvSpPr>
        <p:spPr>
          <a:xfrm>
            <a:off x="2569261" y="3782927"/>
            <a:ext cx="5086217" cy="546560"/>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15" normalizeH="0" baseline="0" noProof="0">
                <a:ln>
                  <a:noFill/>
                </a:ln>
                <a:solidFill>
                  <a:srgbClr val="FFFFFF"/>
                </a:solidFill>
                <a:effectLst/>
                <a:uLnTx/>
                <a:uFillTx/>
                <a:latin typeface="Poppins"/>
                <a:ea typeface="+mn-lt"/>
                <a:cs typeface="Poppins"/>
              </a:rPr>
              <a:t>Early insights are shared with clients, fostering collaborative strategy refinement.</a:t>
            </a:r>
            <a:endParaRPr kumimoji="0" lang="en-US" sz="1400" b="0" i="0" u="none" strike="noStrike" kern="1200" cap="none" spc="0" normalizeH="0" baseline="0" noProof="0">
              <a:ln>
                <a:noFill/>
              </a:ln>
              <a:solidFill>
                <a:srgbClr val="FFFFFF"/>
              </a:solidFill>
              <a:effectLst/>
              <a:uLnTx/>
              <a:uFillTx/>
              <a:latin typeface="Poppins"/>
              <a:ea typeface="+mn-ea"/>
              <a:cs typeface="Poppins"/>
            </a:endParaRPr>
          </a:p>
        </p:txBody>
      </p:sp>
      <p:sp>
        <p:nvSpPr>
          <p:cNvPr id="35" name="TextBox 8">
            <a:extLst>
              <a:ext uri="{FF2B5EF4-FFF2-40B4-BE49-F238E27FC236}">
                <a16:creationId xmlns:a16="http://schemas.microsoft.com/office/drawing/2014/main" id="{AE893E23-AE24-640B-614F-03D167DC1F65}"/>
              </a:ext>
            </a:extLst>
          </p:cNvPr>
          <p:cNvSpPr txBox="1"/>
          <p:nvPr/>
        </p:nvSpPr>
        <p:spPr>
          <a:xfrm>
            <a:off x="2639937" y="3414032"/>
            <a:ext cx="5000622" cy="368562"/>
          </a:xfrm>
          <a:prstGeom prst="rect">
            <a:avLst/>
          </a:prstGeom>
          <a:noFill/>
        </p:spPr>
        <p:txBody>
          <a:bodyPr wrap="square" lIns="91440" tIns="45720" rIns="91440" bIns="45720" rtlCol="0" anchor="b">
            <a:spAutoFit/>
          </a:bodyPr>
          <a:lstStyle/>
          <a:p>
            <a:pPr marL="0" marR="0" lvl="0" indent="0" algn="r" defTabSz="914400" rtl="0" eaLnBrk="1" fontAlgn="auto" latinLnBrk="0" hangingPunct="1">
              <a:lnSpc>
                <a:spcPts val="2160"/>
              </a:lnSpc>
              <a:spcBef>
                <a:spcPts val="0"/>
              </a:spcBef>
              <a:spcAft>
                <a:spcPts val="0"/>
              </a:spcAft>
              <a:buClrTx/>
              <a:buSzTx/>
              <a:buFontTx/>
              <a:buNone/>
              <a:tabLst/>
              <a:defRPr/>
            </a:pPr>
            <a:r>
              <a:rPr kumimoji="0" lang="en-US" sz="1800" b="1" i="0" u="none" strike="noStrike" kern="1200" cap="none" spc="-15" normalizeH="0" baseline="0" noProof="0">
                <a:ln>
                  <a:noFill/>
                </a:ln>
                <a:solidFill>
                  <a:srgbClr val="FFFFFF"/>
                </a:solidFill>
                <a:effectLst/>
                <a:uLnTx/>
                <a:uFillTx/>
                <a:latin typeface="Poppins"/>
                <a:ea typeface="Source Sans Pro"/>
                <a:cs typeface="+mn-cs"/>
              </a:rPr>
              <a:t>Iterate Insights Development</a:t>
            </a:r>
            <a:endParaRPr kumimoji="0" lang="en-US" sz="1800" b="1" i="0" u="none" strike="noStrike" kern="1200" cap="none" spc="-15" normalizeH="0" baseline="0" noProof="0" err="1">
              <a:ln>
                <a:noFill/>
              </a:ln>
              <a:solidFill>
                <a:srgbClr val="FFFFFF"/>
              </a:solidFill>
              <a:effectLst/>
              <a:uLnTx/>
              <a:uFillTx/>
              <a:latin typeface="Poppins"/>
              <a:ea typeface="Source Sans Pro" panose="020B0503030403020204" pitchFamily="34" charset="0"/>
              <a:cs typeface="+mn-cs"/>
            </a:endParaRPr>
          </a:p>
        </p:txBody>
      </p:sp>
      <p:pic>
        <p:nvPicPr>
          <p:cNvPr id="9" name="Imagen 8">
            <a:extLst>
              <a:ext uri="{FF2B5EF4-FFF2-40B4-BE49-F238E27FC236}">
                <a16:creationId xmlns:a16="http://schemas.microsoft.com/office/drawing/2014/main" id="{006A7A77-57F7-CB40-62A1-22E7283CB4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11444024" y="-169383"/>
            <a:ext cx="786536" cy="920506"/>
          </a:xfrm>
          <a:prstGeom prst="rect">
            <a:avLst/>
          </a:prstGeom>
        </p:spPr>
      </p:pic>
      <p:sp>
        <p:nvSpPr>
          <p:cNvPr id="4" name="TextBox 3">
            <a:extLst>
              <a:ext uri="{FF2B5EF4-FFF2-40B4-BE49-F238E27FC236}">
                <a16:creationId xmlns:a16="http://schemas.microsoft.com/office/drawing/2014/main" id="{331D7B5C-7B92-CDA7-9178-A07878F24131}"/>
              </a:ext>
            </a:extLst>
          </p:cNvPr>
          <p:cNvSpPr txBox="1"/>
          <p:nvPr/>
        </p:nvSpPr>
        <p:spPr>
          <a:xfrm>
            <a:off x="1111046" y="1397819"/>
            <a:ext cx="711035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D0D0D"/>
                </a:solidFill>
                <a:effectLst/>
                <a:uLnTx/>
                <a:uFillTx/>
                <a:latin typeface="Poppins Light"/>
                <a:ea typeface="+mn-ea"/>
                <a:cs typeface="Poppins Light"/>
              </a:rPr>
              <a:t>At IOTA, we leverage AI to automate data collection and analysis, ensuring fast, accurate market insights. This intelligent foundation allows us to:</a:t>
            </a:r>
            <a:endParaRPr kumimoji="0" lang="en-US" sz="1400" b="0" i="0" u="none" strike="noStrike" kern="1200" cap="none" spc="0" normalizeH="0" baseline="0" noProof="0">
              <a:ln>
                <a:noFill/>
              </a:ln>
              <a:solidFill>
                <a:srgbClr val="545354"/>
              </a:solidFill>
              <a:effectLst/>
              <a:uLnTx/>
              <a:uFillTx/>
              <a:latin typeface="Poppins Light"/>
              <a:ea typeface="+mn-ea"/>
              <a:cs typeface="Poppins Light"/>
            </a:endParaRPr>
          </a:p>
        </p:txBody>
      </p:sp>
      <p:sp>
        <p:nvSpPr>
          <p:cNvPr id="13" name="Rectángulo 1">
            <a:extLst>
              <a:ext uri="{FF2B5EF4-FFF2-40B4-BE49-F238E27FC236}">
                <a16:creationId xmlns:a16="http://schemas.microsoft.com/office/drawing/2014/main" id="{ED55CB1C-03A3-CF56-1E80-3BED87943C7B}"/>
              </a:ext>
            </a:extLst>
          </p:cNvPr>
          <p:cNvSpPr/>
          <p:nvPr/>
        </p:nvSpPr>
        <p:spPr>
          <a:xfrm>
            <a:off x="8591918" y="-16387"/>
            <a:ext cx="3597255" cy="6878379"/>
          </a:xfrm>
          <a:prstGeom prst="rect">
            <a:avLst/>
          </a:prstGeom>
          <a:solidFill>
            <a:srgbClr val="442E8E">
              <a:alpha val="57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8" name="TextBox 14">
            <a:extLst>
              <a:ext uri="{FF2B5EF4-FFF2-40B4-BE49-F238E27FC236}">
                <a16:creationId xmlns:a16="http://schemas.microsoft.com/office/drawing/2014/main" id="{A6E8D091-2591-0E9A-DC38-ECD0022B0CFC}"/>
              </a:ext>
            </a:extLst>
          </p:cNvPr>
          <p:cNvSpPr txBox="1"/>
          <p:nvPr/>
        </p:nvSpPr>
        <p:spPr>
          <a:xfrm>
            <a:off x="8901128" y="757034"/>
            <a:ext cx="2936164" cy="353943"/>
          </a:xfrm>
          <a:prstGeom prst="rect">
            <a:avLst/>
          </a:prstGeom>
          <a:noFill/>
        </p:spPr>
        <p:txBody>
          <a:bodyPr wrap="squar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15" normalizeH="0" baseline="0" noProof="0">
                <a:ln>
                  <a:noFill/>
                </a:ln>
                <a:solidFill>
                  <a:srgbClr val="FFFFFF"/>
                </a:solidFill>
                <a:effectLst/>
                <a:uLnTx/>
                <a:uFillTx/>
                <a:latin typeface="Poppins"/>
                <a:ea typeface="+mn-ea"/>
                <a:cs typeface="Poppins"/>
              </a:rPr>
              <a:t>The Outcome</a:t>
            </a:r>
            <a:endParaRPr kumimoji="0" lang="en-US" sz="1700" b="1" i="0" u="none" strike="noStrike" kern="1200" cap="none" spc="-15" normalizeH="0" baseline="0" noProof="0">
              <a:ln>
                <a:noFill/>
              </a:ln>
              <a:solidFill>
                <a:srgbClr val="FFFFFF"/>
              </a:solidFill>
              <a:effectLst/>
              <a:uLnTx/>
              <a:uFillTx/>
              <a:latin typeface="Poppins"/>
              <a:ea typeface="+mn-ea"/>
              <a:cs typeface="Poppins" pitchFamily="2" charset="77"/>
            </a:endParaRPr>
          </a:p>
        </p:txBody>
      </p:sp>
      <p:sp>
        <p:nvSpPr>
          <p:cNvPr id="20" name="TextBox 15">
            <a:extLst>
              <a:ext uri="{FF2B5EF4-FFF2-40B4-BE49-F238E27FC236}">
                <a16:creationId xmlns:a16="http://schemas.microsoft.com/office/drawing/2014/main" id="{C4310C87-540A-39FD-71DF-B085858DF964}"/>
              </a:ext>
            </a:extLst>
          </p:cNvPr>
          <p:cNvSpPr txBox="1"/>
          <p:nvPr/>
        </p:nvSpPr>
        <p:spPr>
          <a:xfrm>
            <a:off x="8901128" y="1166146"/>
            <a:ext cx="3038511" cy="178587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 normalizeH="0" baseline="0" noProof="0">
                <a:ln>
                  <a:noFill/>
                </a:ln>
                <a:solidFill>
                  <a:srgbClr val="FFFFFF"/>
                </a:solidFill>
                <a:effectLst/>
                <a:uLnTx/>
                <a:uFillTx/>
                <a:latin typeface="Poppins"/>
                <a:ea typeface="+mn-ea"/>
                <a:cs typeface="Poppins"/>
              </a:rPr>
              <a:t>A strategic framework that combines the efficiency of AI with the depth of human expertise, supports dynamic strategy refinement and agile adoption, ensuring our clients are equipped to navigate the complexities of their markets with confidence.</a:t>
            </a:r>
          </a:p>
          <a:p>
            <a:pPr marL="0" marR="0" lvl="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a:pPr>
            <a:endParaRPr kumimoji="0" lang="en-US" sz="1200" b="0" i="0" u="none" strike="noStrike" kern="1200" cap="none" spc="-10" normalizeH="0" baseline="0" noProof="0">
              <a:ln>
                <a:noFill/>
              </a:ln>
              <a:solidFill>
                <a:srgbClr val="FFFFFF"/>
              </a:solidFill>
              <a:effectLst/>
              <a:uLnTx/>
              <a:uFillTx/>
              <a:latin typeface="Poppins"/>
              <a:ea typeface="+mn-ea"/>
              <a:cs typeface="Poppins"/>
            </a:endParaRPr>
          </a:p>
        </p:txBody>
      </p:sp>
      <p:pic>
        <p:nvPicPr>
          <p:cNvPr id="5" name="Picture 2" descr="Belcorp | Brands of the World™ | Download vector logos and ...">
            <a:extLst>
              <a:ext uri="{FF2B5EF4-FFF2-40B4-BE49-F238E27FC236}">
                <a16:creationId xmlns:a16="http://schemas.microsoft.com/office/drawing/2014/main" id="{8088220D-B3EC-9182-D0B6-1518CD4B3B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65129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a:extLst>
              <a:ext uri="{FF2B5EF4-FFF2-40B4-BE49-F238E27FC236}">
                <a16:creationId xmlns:a16="http://schemas.microsoft.com/office/drawing/2014/main" id="{2C63D523-E324-F220-A80F-22C4A0E8E355}"/>
              </a:ext>
            </a:extLst>
          </p:cNvPr>
          <p:cNvSpPr/>
          <p:nvPr/>
        </p:nvSpPr>
        <p:spPr>
          <a:xfrm>
            <a:off x="694481" y="3131543"/>
            <a:ext cx="11497519" cy="2524651"/>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59" name="TextBox 158">
            <a:extLst>
              <a:ext uri="{FF2B5EF4-FFF2-40B4-BE49-F238E27FC236}">
                <a16:creationId xmlns:a16="http://schemas.microsoft.com/office/drawing/2014/main" id="{0CAA0030-4B75-DF4E-997E-D84595D8D3E0}"/>
              </a:ext>
            </a:extLst>
          </p:cNvPr>
          <p:cNvSpPr txBox="1"/>
          <p:nvPr/>
        </p:nvSpPr>
        <p:spPr>
          <a:xfrm>
            <a:off x="1072718" y="1457245"/>
            <a:ext cx="437940" cy="553998"/>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FFFFFF"/>
                </a:solidFill>
                <a:effectLst/>
                <a:uLnTx/>
                <a:uFillTx/>
                <a:latin typeface="Poppins" pitchFamily="2" charset="77"/>
                <a:ea typeface="League Spartan" charset="0"/>
                <a:cs typeface="Poppins" pitchFamily="2" charset="77"/>
              </a:rPr>
              <a:t>1.</a:t>
            </a:r>
          </a:p>
        </p:txBody>
      </p:sp>
      <p:sp>
        <p:nvSpPr>
          <p:cNvPr id="164" name="TextBox 163">
            <a:extLst>
              <a:ext uri="{FF2B5EF4-FFF2-40B4-BE49-F238E27FC236}">
                <a16:creationId xmlns:a16="http://schemas.microsoft.com/office/drawing/2014/main" id="{0306ED7E-7297-F54B-9EA4-1279F55C80B7}"/>
              </a:ext>
            </a:extLst>
          </p:cNvPr>
          <p:cNvSpPr txBox="1"/>
          <p:nvPr/>
        </p:nvSpPr>
        <p:spPr>
          <a:xfrm>
            <a:off x="1296923" y="2530395"/>
            <a:ext cx="526106" cy="553998"/>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FFFFFF"/>
                </a:solidFill>
                <a:effectLst/>
                <a:uLnTx/>
                <a:uFillTx/>
                <a:latin typeface="Poppins" pitchFamily="2" charset="77"/>
                <a:ea typeface="League Spartan" charset="0"/>
                <a:cs typeface="Poppins" pitchFamily="2" charset="77"/>
              </a:rPr>
              <a:t>3.</a:t>
            </a:r>
          </a:p>
        </p:txBody>
      </p:sp>
      <p:sp>
        <p:nvSpPr>
          <p:cNvPr id="2" name="CuadroTexto 1">
            <a:extLst>
              <a:ext uri="{FF2B5EF4-FFF2-40B4-BE49-F238E27FC236}">
                <a16:creationId xmlns:a16="http://schemas.microsoft.com/office/drawing/2014/main" id="{4E977EEB-245A-3859-1B2E-D36DDDFA6DE1}"/>
              </a:ext>
            </a:extLst>
          </p:cNvPr>
          <p:cNvSpPr txBox="1"/>
          <p:nvPr/>
        </p:nvSpPr>
        <p:spPr>
          <a:xfrm>
            <a:off x="1592719" y="319811"/>
            <a:ext cx="5359079"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8E7DFD"/>
                </a:solidFill>
                <a:effectLst/>
                <a:uLnTx/>
                <a:uFillTx/>
                <a:latin typeface="Poppins"/>
                <a:ea typeface="+mn-ea"/>
                <a:cs typeface="Poppins"/>
              </a:rPr>
              <a:t>Full Spectrum Team Composition</a:t>
            </a:r>
          </a:p>
        </p:txBody>
      </p:sp>
      <p:sp>
        <p:nvSpPr>
          <p:cNvPr id="4" name="CuadroTexto 3">
            <a:extLst>
              <a:ext uri="{FF2B5EF4-FFF2-40B4-BE49-F238E27FC236}">
                <a16:creationId xmlns:a16="http://schemas.microsoft.com/office/drawing/2014/main" id="{D6623AAE-1116-0235-5120-ED8207B87BE7}"/>
              </a:ext>
            </a:extLst>
          </p:cNvPr>
          <p:cNvSpPr txBox="1"/>
          <p:nvPr/>
        </p:nvSpPr>
        <p:spPr>
          <a:xfrm>
            <a:off x="1712924" y="1329230"/>
            <a:ext cx="2944472" cy="160043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42E98"/>
                </a:solidFill>
                <a:effectLst/>
                <a:uLnTx/>
                <a:uFillTx/>
                <a:latin typeface="Poppins"/>
                <a:ea typeface="+mn-ea"/>
                <a:cs typeface="Poppins Light"/>
              </a:rPr>
              <a:t>Senior Consultants:</a:t>
            </a:r>
            <a:r>
              <a:rPr kumimoji="0" lang="en-US" sz="1400" b="1" i="0" u="none" strike="noStrike" kern="1200" cap="none" spc="0" normalizeH="0" baseline="0" noProof="0">
                <a:ln>
                  <a:noFill/>
                </a:ln>
                <a:solidFill>
                  <a:srgbClr val="442E98"/>
                </a:solidFill>
                <a:effectLst/>
                <a:uLnTx/>
                <a:uFillTx/>
                <a:latin typeface="Poppins Light"/>
                <a:ea typeface="+mn-ea"/>
                <a:cs typeface="Poppins Light"/>
              </a:rPr>
              <a:t> </a:t>
            </a:r>
            <a:r>
              <a:rPr kumimoji="0" lang="en-US" sz="1400" b="0" i="0" u="none" strike="noStrike" kern="1200" cap="none" spc="0" normalizeH="0" baseline="0" noProof="0">
                <a:ln>
                  <a:noFill/>
                </a:ln>
                <a:solidFill>
                  <a:srgbClr val="545354">
                    <a:lumMod val="75000"/>
                  </a:srgbClr>
                </a:solidFill>
                <a:effectLst/>
                <a:uLnTx/>
                <a:uFillTx/>
                <a:latin typeface="Poppins Light"/>
                <a:ea typeface="+mn-ea"/>
                <a:cs typeface="Poppins Light"/>
              </a:rPr>
              <a:t>Seasoned professionals with strategic vision and industry expertise to navigate complex market landscapes and drive Walmart’s business objectiv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545354"/>
              </a:solidFill>
              <a:effectLst/>
              <a:uLnTx/>
              <a:uFillTx/>
              <a:latin typeface="Poppins Light"/>
              <a:ea typeface="+mn-ea"/>
              <a:cs typeface="+mn-cs"/>
            </a:endParaRPr>
          </a:p>
        </p:txBody>
      </p:sp>
      <p:sp>
        <p:nvSpPr>
          <p:cNvPr id="5" name="CuadroTexto 4">
            <a:extLst>
              <a:ext uri="{FF2B5EF4-FFF2-40B4-BE49-F238E27FC236}">
                <a16:creationId xmlns:a16="http://schemas.microsoft.com/office/drawing/2014/main" id="{72B68A82-3A8C-3C53-423F-403577BA7D40}"/>
              </a:ext>
            </a:extLst>
          </p:cNvPr>
          <p:cNvSpPr txBox="1"/>
          <p:nvPr/>
        </p:nvSpPr>
        <p:spPr>
          <a:xfrm>
            <a:off x="5284788" y="1328738"/>
            <a:ext cx="3001963" cy="160043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42E98"/>
                </a:solidFill>
                <a:effectLst/>
                <a:uLnTx/>
                <a:uFillTx/>
                <a:latin typeface="Poppins"/>
                <a:ea typeface="+mn-ea"/>
                <a:cs typeface="Poppins Light"/>
              </a:rPr>
              <a:t>Market Research Specialists:</a:t>
            </a:r>
            <a:r>
              <a:rPr kumimoji="0" lang="en-US" sz="1400" b="1" i="0" u="none" strike="noStrike" kern="1200" cap="none" spc="0" normalizeH="0" baseline="0" noProof="0">
                <a:ln>
                  <a:noFill/>
                </a:ln>
                <a:solidFill>
                  <a:srgbClr val="442E98"/>
                </a:solidFill>
                <a:effectLst/>
                <a:uLnTx/>
                <a:uFillTx/>
                <a:latin typeface="Poppins Light"/>
                <a:ea typeface="+mn-ea"/>
                <a:cs typeface="Poppins Light"/>
              </a:rPr>
              <a:t> </a:t>
            </a:r>
            <a:r>
              <a:rPr kumimoji="0" lang="en-US" sz="1400" b="0" i="0" u="none" strike="noStrike" kern="1200" cap="none" spc="0" normalizeH="0" baseline="0" noProof="0">
                <a:ln>
                  <a:noFill/>
                </a:ln>
                <a:solidFill>
                  <a:srgbClr val="545354">
                    <a:lumMod val="75000"/>
                  </a:srgbClr>
                </a:solidFill>
                <a:effectLst/>
                <a:uLnTx/>
                <a:uFillTx/>
                <a:latin typeface="Poppins Light"/>
                <a:ea typeface="+mn-ea"/>
                <a:cs typeface="Poppins Light"/>
              </a:rPr>
              <a:t>Skilled researchers to deliver deep insights, using generative AI and other advanced tools to understand consumer behaviors and market shif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545354"/>
              </a:solidFill>
              <a:effectLst/>
              <a:uLnTx/>
              <a:uFillTx/>
              <a:latin typeface="Poppins Light"/>
              <a:ea typeface="+mn-ea"/>
              <a:cs typeface="+mn-cs"/>
            </a:endParaRPr>
          </a:p>
        </p:txBody>
      </p:sp>
      <p:sp>
        <p:nvSpPr>
          <p:cNvPr id="6" name="CuadroTexto 5">
            <a:extLst>
              <a:ext uri="{FF2B5EF4-FFF2-40B4-BE49-F238E27FC236}">
                <a16:creationId xmlns:a16="http://schemas.microsoft.com/office/drawing/2014/main" id="{C2CE408F-E606-9FB6-C182-668BFBD7DD2B}"/>
              </a:ext>
            </a:extLst>
          </p:cNvPr>
          <p:cNvSpPr txBox="1"/>
          <p:nvPr/>
        </p:nvSpPr>
        <p:spPr>
          <a:xfrm>
            <a:off x="8998209" y="1328738"/>
            <a:ext cx="3001963" cy="116955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42E98"/>
                </a:solidFill>
                <a:effectLst/>
                <a:uLnTx/>
                <a:uFillTx/>
                <a:latin typeface="Poppins"/>
                <a:ea typeface="+mn-ea"/>
                <a:cs typeface="Poppins Light"/>
              </a:rPr>
              <a:t>Data Analysts:</a:t>
            </a:r>
            <a:r>
              <a:rPr kumimoji="0" lang="en-US" sz="1400" b="1" i="0" u="none" strike="noStrike" kern="1200" cap="none" spc="0" normalizeH="0" baseline="0" noProof="0">
                <a:ln>
                  <a:noFill/>
                </a:ln>
                <a:solidFill>
                  <a:srgbClr val="442E98"/>
                </a:solidFill>
                <a:effectLst/>
                <a:uLnTx/>
                <a:uFillTx/>
                <a:latin typeface="Poppins Light"/>
                <a:ea typeface="+mn-ea"/>
                <a:cs typeface="Poppins Light"/>
              </a:rPr>
              <a:t> </a:t>
            </a:r>
            <a:r>
              <a:rPr kumimoji="0" lang="en-US" sz="1400" b="0" i="0" u="none" strike="noStrike" kern="1200" cap="none" spc="0" normalizeH="0" baseline="0" noProof="0">
                <a:ln>
                  <a:noFill/>
                </a:ln>
                <a:solidFill>
                  <a:srgbClr val="545354">
                    <a:lumMod val="75000"/>
                  </a:srgbClr>
                </a:solidFill>
                <a:effectLst/>
                <a:uLnTx/>
                <a:uFillTx/>
                <a:latin typeface="Poppins Light"/>
                <a:ea typeface="+mn-ea"/>
                <a:cs typeface="Poppins Light"/>
              </a:rPr>
              <a:t>Experts in data interpretation and analytics to transform large datasets into strategic assets, enabl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5354">
                    <a:lumMod val="75000"/>
                  </a:srgbClr>
                </a:solidFill>
                <a:effectLst/>
                <a:uLnTx/>
                <a:uFillTx/>
                <a:latin typeface="Poppins Light"/>
                <a:ea typeface="+mn-ea"/>
                <a:cs typeface="Poppins Light"/>
              </a:rPr>
              <a:t>data-driven decision-making.</a:t>
            </a:r>
          </a:p>
        </p:txBody>
      </p:sp>
      <p:sp>
        <p:nvSpPr>
          <p:cNvPr id="7" name="CuadroTexto 6">
            <a:extLst>
              <a:ext uri="{FF2B5EF4-FFF2-40B4-BE49-F238E27FC236}">
                <a16:creationId xmlns:a16="http://schemas.microsoft.com/office/drawing/2014/main" id="{F4F90FEB-A268-946A-871D-D1665DE27074}"/>
              </a:ext>
            </a:extLst>
          </p:cNvPr>
          <p:cNvSpPr txBox="1"/>
          <p:nvPr/>
        </p:nvSpPr>
        <p:spPr>
          <a:xfrm>
            <a:off x="1180617" y="3299973"/>
            <a:ext cx="297709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Poppins"/>
                <a:ea typeface="+mn-ea"/>
                <a:cs typeface="Poppins Light"/>
              </a:rPr>
              <a:t>Cost-Effective Solution:</a:t>
            </a:r>
            <a:endParaRPr kumimoji="0" lang="en-US"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8" name="CuadroTexto 7">
            <a:extLst>
              <a:ext uri="{FF2B5EF4-FFF2-40B4-BE49-F238E27FC236}">
                <a16:creationId xmlns:a16="http://schemas.microsoft.com/office/drawing/2014/main" id="{C10BE9B2-F002-DB9E-A302-2084DC2F9005}"/>
              </a:ext>
            </a:extLst>
          </p:cNvPr>
          <p:cNvSpPr txBox="1"/>
          <p:nvPr/>
        </p:nvSpPr>
        <p:spPr>
          <a:xfrm>
            <a:off x="1712913" y="3744913"/>
            <a:ext cx="3001963" cy="181588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oppins"/>
                <a:ea typeface="+mn-ea"/>
                <a:cs typeface="Poppins Light"/>
              </a:rPr>
              <a:t>Unmatched Financial Efficiency:</a:t>
            </a:r>
            <a:r>
              <a:rPr kumimoji="0" lang="en-US" sz="1400" b="1" i="0" u="none" strike="noStrike" kern="1200" cap="none" spc="0" normalizeH="0" baseline="0" noProof="0">
                <a:ln>
                  <a:noFill/>
                </a:ln>
                <a:solidFill>
                  <a:srgbClr val="FFFFFF"/>
                </a:solidFill>
                <a:effectLst/>
                <a:uLnTx/>
                <a:uFillTx/>
                <a:latin typeface="Poppins Light"/>
                <a:ea typeface="+mn-ea"/>
                <a:cs typeface="Poppins Light"/>
              </a:rPr>
              <a:t> </a:t>
            </a:r>
            <a:r>
              <a:rPr kumimoji="0" lang="en-US" sz="1400" b="0" i="0" u="none" strike="noStrike" kern="1200" cap="none" spc="0" normalizeH="0" baseline="0" noProof="0">
                <a:ln>
                  <a:noFill/>
                </a:ln>
                <a:solidFill>
                  <a:srgbClr val="FFFFFF"/>
                </a:solidFill>
                <a:effectLst/>
                <a:uLnTx/>
                <a:uFillTx/>
                <a:latin typeface="Poppins Light"/>
                <a:ea typeface="+mn-ea"/>
                <a:cs typeface="Poppins Light"/>
              </a:rPr>
              <a:t>Our solution offers the intellectual capital of a full team with varied expertise for the investment comparable to a single mid-level resource in the </a:t>
            </a:r>
            <a:r>
              <a:rPr lang="en-US" sz="1400">
                <a:solidFill>
                  <a:srgbClr val="FFFFFF"/>
                </a:solidFill>
                <a:latin typeface="Poppins Light"/>
                <a:cs typeface="Poppins Light"/>
              </a:rPr>
              <a:t>US</a:t>
            </a:r>
            <a:r>
              <a:rPr kumimoji="0" lang="en-US" sz="1400" b="0" i="0" u="none" strike="noStrike" kern="1200" cap="none" spc="0" normalizeH="0" baseline="0" noProof="0">
                <a:ln>
                  <a:noFill/>
                </a:ln>
                <a:solidFill>
                  <a:srgbClr val="FFFFFF"/>
                </a:solidFill>
                <a:effectLst/>
                <a:uLnTx/>
                <a:uFillTx/>
                <a:latin typeface="Poppins Light"/>
                <a:ea typeface="+mn-ea"/>
                <a:cs typeface="Poppins Light"/>
              </a:rPr>
              <a:t> mark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FFFFFF"/>
              </a:solidFill>
              <a:effectLst/>
              <a:uLnTx/>
              <a:uFillTx/>
              <a:latin typeface="Poppins Light"/>
              <a:ea typeface="+mn-ea"/>
              <a:cs typeface="+mn-cs"/>
            </a:endParaRPr>
          </a:p>
        </p:txBody>
      </p:sp>
      <p:sp>
        <p:nvSpPr>
          <p:cNvPr id="9" name="CuadroTexto 8">
            <a:extLst>
              <a:ext uri="{FF2B5EF4-FFF2-40B4-BE49-F238E27FC236}">
                <a16:creationId xmlns:a16="http://schemas.microsoft.com/office/drawing/2014/main" id="{A7181C5C-77DD-2D02-76C3-14F9F4DB3EDC}"/>
              </a:ext>
            </a:extLst>
          </p:cNvPr>
          <p:cNvSpPr txBox="1"/>
          <p:nvPr/>
        </p:nvSpPr>
        <p:spPr>
          <a:xfrm>
            <a:off x="5284788" y="3744913"/>
            <a:ext cx="3001963" cy="160043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oppins"/>
                <a:ea typeface="+mn-ea"/>
                <a:cs typeface="Poppins Light"/>
              </a:rPr>
              <a:t>Scalable Engagement Model:</a:t>
            </a:r>
            <a:r>
              <a:rPr kumimoji="0" lang="en-US" sz="1400" b="1" i="0" u="none" strike="noStrike" kern="1200" cap="none" spc="0" normalizeH="0" baseline="0" noProof="0">
                <a:ln>
                  <a:noFill/>
                </a:ln>
                <a:solidFill>
                  <a:srgbClr val="FFFFFF"/>
                </a:solidFill>
                <a:effectLst/>
                <a:uLnTx/>
                <a:uFillTx/>
                <a:latin typeface="Poppins Light"/>
                <a:ea typeface="+mn-ea"/>
                <a:cs typeface="Poppins Light"/>
              </a:rPr>
              <a:t> </a:t>
            </a:r>
            <a:r>
              <a:rPr kumimoji="0" lang="en-US" sz="1400" b="0" i="0" u="none" strike="noStrike" kern="1200" cap="none" spc="0" normalizeH="0" baseline="0" noProof="0">
                <a:ln>
                  <a:noFill/>
                </a:ln>
                <a:solidFill>
                  <a:srgbClr val="FFFFFF"/>
                </a:solidFill>
                <a:effectLst/>
                <a:uLnTx/>
                <a:uFillTx/>
                <a:latin typeface="Poppins Light"/>
                <a:ea typeface="+mn-ea"/>
                <a:cs typeface="Poppins Light"/>
              </a:rPr>
              <a:t>Tailored specific project scope and scale, ensuring the right level of expertise is applied where it adds the most strategic val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FFFFFF"/>
              </a:solidFill>
              <a:effectLst/>
              <a:uLnTx/>
              <a:uFillTx/>
              <a:latin typeface="Poppins Light"/>
              <a:ea typeface="+mn-ea"/>
              <a:cs typeface="+mn-cs"/>
            </a:endParaRPr>
          </a:p>
        </p:txBody>
      </p:sp>
      <p:sp>
        <p:nvSpPr>
          <p:cNvPr id="10" name="CuadroTexto 9">
            <a:extLst>
              <a:ext uri="{FF2B5EF4-FFF2-40B4-BE49-F238E27FC236}">
                <a16:creationId xmlns:a16="http://schemas.microsoft.com/office/drawing/2014/main" id="{1DBC18A4-D1E2-5312-FA56-B1AB4CC74D74}"/>
              </a:ext>
            </a:extLst>
          </p:cNvPr>
          <p:cNvSpPr txBox="1"/>
          <p:nvPr/>
        </p:nvSpPr>
        <p:spPr>
          <a:xfrm>
            <a:off x="8998209" y="3744913"/>
            <a:ext cx="3001963" cy="160043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Poppins"/>
                <a:ea typeface="+mn-ea"/>
                <a:cs typeface="Poppins Light"/>
              </a:rPr>
              <a:t>Value-Driven Results:</a:t>
            </a:r>
            <a:r>
              <a:rPr kumimoji="0" lang="en-US" sz="1400" b="1" i="0" u="none" strike="noStrike" kern="1200" cap="none" spc="0" normalizeH="0" baseline="0" noProof="0">
                <a:ln>
                  <a:noFill/>
                </a:ln>
                <a:solidFill>
                  <a:srgbClr val="FFFFFF"/>
                </a:solidFill>
                <a:effectLst/>
                <a:uLnTx/>
                <a:uFillTx/>
                <a:latin typeface="Poppins Light"/>
                <a:ea typeface="+mn-ea"/>
                <a:cs typeface="Poppins Light"/>
              </a:rPr>
              <a:t> </a:t>
            </a:r>
            <a:r>
              <a:rPr kumimoji="0" lang="en-US" sz="1400" b="0" i="0" u="none" strike="noStrike" kern="1200" cap="none" spc="0" normalizeH="0" baseline="0" noProof="0">
                <a:ln>
                  <a:noFill/>
                </a:ln>
                <a:solidFill>
                  <a:srgbClr val="FFFFFF"/>
                </a:solidFill>
                <a:effectLst/>
                <a:uLnTx/>
                <a:uFillTx/>
                <a:latin typeface="Poppins Light"/>
                <a:ea typeface="+mn-ea"/>
                <a:cs typeface="Poppins Light"/>
              </a:rPr>
              <a:t>Commitment to delivering not just staffing, but strategic outcomes that fuel growth, innovation, and competitive advantage for Walma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FFFFFF"/>
              </a:solidFill>
              <a:effectLst/>
              <a:uLnTx/>
              <a:uFillTx/>
              <a:latin typeface="Poppins Light"/>
              <a:ea typeface="+mn-ea"/>
              <a:cs typeface="+mn-cs"/>
            </a:endParaRPr>
          </a:p>
        </p:txBody>
      </p:sp>
      <p:sp>
        <p:nvSpPr>
          <p:cNvPr id="11" name="CuadroTexto 10">
            <a:extLst>
              <a:ext uri="{FF2B5EF4-FFF2-40B4-BE49-F238E27FC236}">
                <a16:creationId xmlns:a16="http://schemas.microsoft.com/office/drawing/2014/main" id="{DF78D6C0-34A9-E1A3-2CF0-8EE325BF3E08}"/>
              </a:ext>
            </a:extLst>
          </p:cNvPr>
          <p:cNvSpPr txBox="1"/>
          <p:nvPr/>
        </p:nvSpPr>
        <p:spPr>
          <a:xfrm>
            <a:off x="1714172" y="5906619"/>
            <a:ext cx="887458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5354">
                    <a:lumMod val="75000"/>
                  </a:srgbClr>
                </a:solidFill>
                <a:effectLst/>
                <a:uLnTx/>
                <a:uFillTx/>
                <a:latin typeface="Poppins Light"/>
                <a:ea typeface="+mn-ea"/>
                <a:cs typeface="Poppins Light"/>
              </a:rPr>
              <a:t>By choosing IOTA Impact, </a:t>
            </a:r>
            <a:r>
              <a:rPr lang="en-US" sz="1400" err="1">
                <a:solidFill>
                  <a:srgbClr val="545354">
                    <a:lumMod val="75000"/>
                  </a:srgbClr>
                </a:solidFill>
                <a:latin typeface="Poppins Light"/>
                <a:cs typeface="Poppins Light"/>
              </a:rPr>
              <a:t>Belcorp</a:t>
            </a:r>
            <a:r>
              <a:rPr kumimoji="0" lang="en-US" sz="1400" b="0" i="0" u="none" strike="noStrike" kern="1200" cap="none" spc="0" normalizeH="0" baseline="0" noProof="0">
                <a:ln>
                  <a:noFill/>
                </a:ln>
                <a:solidFill>
                  <a:srgbClr val="545354">
                    <a:lumMod val="75000"/>
                  </a:srgbClr>
                </a:solidFill>
                <a:effectLst/>
                <a:uLnTx/>
                <a:uFillTx/>
                <a:latin typeface="Poppins Light"/>
                <a:ea typeface="+mn-ea"/>
                <a:cs typeface="Poppins Light"/>
              </a:rPr>
              <a:t> secures a partnership that prioritizes both top-tier talent and cost-effectiveness, ensuring your investment is maximized for optimal retur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4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 name="Rectángulo 12">
            <a:extLst>
              <a:ext uri="{FF2B5EF4-FFF2-40B4-BE49-F238E27FC236}">
                <a16:creationId xmlns:a16="http://schemas.microsoft.com/office/drawing/2014/main" id="{2538C370-456E-C379-4B1F-149044FE3090}"/>
              </a:ext>
            </a:extLst>
          </p:cNvPr>
          <p:cNvSpPr/>
          <p:nvPr/>
        </p:nvSpPr>
        <p:spPr>
          <a:xfrm rot="16200000">
            <a:off x="1026751" y="1997229"/>
            <a:ext cx="1198634" cy="65812"/>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4" name="Rectángulo 13">
            <a:extLst>
              <a:ext uri="{FF2B5EF4-FFF2-40B4-BE49-F238E27FC236}">
                <a16:creationId xmlns:a16="http://schemas.microsoft.com/office/drawing/2014/main" id="{FBD1EAAA-3EBF-5559-B04F-5D56106ECE2A}"/>
              </a:ext>
            </a:extLst>
          </p:cNvPr>
          <p:cNvSpPr/>
          <p:nvPr/>
        </p:nvSpPr>
        <p:spPr>
          <a:xfrm rot="16200000">
            <a:off x="4508493" y="1997228"/>
            <a:ext cx="1198634" cy="65812"/>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5" name="Rectángulo 14">
            <a:extLst>
              <a:ext uri="{FF2B5EF4-FFF2-40B4-BE49-F238E27FC236}">
                <a16:creationId xmlns:a16="http://schemas.microsoft.com/office/drawing/2014/main" id="{4A79F1B9-D999-93D1-0F3C-7EB2F2B9A648}"/>
              </a:ext>
            </a:extLst>
          </p:cNvPr>
          <p:cNvSpPr/>
          <p:nvPr/>
        </p:nvSpPr>
        <p:spPr>
          <a:xfrm rot="16200000">
            <a:off x="8241700" y="1982055"/>
            <a:ext cx="1198634" cy="65812"/>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16" name="Imagen 15">
            <a:extLst>
              <a:ext uri="{FF2B5EF4-FFF2-40B4-BE49-F238E27FC236}">
                <a16:creationId xmlns:a16="http://schemas.microsoft.com/office/drawing/2014/main" id="{BFFD957D-D1C3-769F-CB3A-E40D1AD705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4737" y="1484213"/>
            <a:ext cx="395292" cy="404088"/>
          </a:xfrm>
          <a:prstGeom prst="rect">
            <a:avLst/>
          </a:prstGeom>
        </p:spPr>
      </p:pic>
      <p:pic>
        <p:nvPicPr>
          <p:cNvPr id="17" name="Imagen 16">
            <a:extLst>
              <a:ext uri="{FF2B5EF4-FFF2-40B4-BE49-F238E27FC236}">
                <a16:creationId xmlns:a16="http://schemas.microsoft.com/office/drawing/2014/main" id="{CDD95ACF-4D12-C66B-54AE-99D5E86ED0D9}"/>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834737" y="3881928"/>
            <a:ext cx="395292" cy="404088"/>
          </a:xfrm>
          <a:prstGeom prst="rect">
            <a:avLst/>
          </a:prstGeom>
        </p:spPr>
      </p:pic>
      <p:sp>
        <p:nvSpPr>
          <p:cNvPr id="18" name="Rectángulo 17">
            <a:extLst>
              <a:ext uri="{FF2B5EF4-FFF2-40B4-BE49-F238E27FC236}">
                <a16:creationId xmlns:a16="http://schemas.microsoft.com/office/drawing/2014/main" id="{6B9805D2-A2C2-6239-229B-15E64D4F2A6F}"/>
              </a:ext>
            </a:extLst>
          </p:cNvPr>
          <p:cNvSpPr/>
          <p:nvPr/>
        </p:nvSpPr>
        <p:spPr>
          <a:xfrm rot="16200000">
            <a:off x="987794" y="4448286"/>
            <a:ext cx="1198634" cy="658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19" name="Rectángulo 18">
            <a:extLst>
              <a:ext uri="{FF2B5EF4-FFF2-40B4-BE49-F238E27FC236}">
                <a16:creationId xmlns:a16="http://schemas.microsoft.com/office/drawing/2014/main" id="{0C4F1282-E6CB-A1F6-D5DA-A3EA0314C857}"/>
              </a:ext>
            </a:extLst>
          </p:cNvPr>
          <p:cNvSpPr/>
          <p:nvPr/>
        </p:nvSpPr>
        <p:spPr>
          <a:xfrm rot="16200000">
            <a:off x="4508493" y="4448286"/>
            <a:ext cx="1198634" cy="658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20" name="Rectángulo 19">
            <a:extLst>
              <a:ext uri="{FF2B5EF4-FFF2-40B4-BE49-F238E27FC236}">
                <a16:creationId xmlns:a16="http://schemas.microsoft.com/office/drawing/2014/main" id="{B39D3623-AAD0-5F51-16BB-49D2B85C9834}"/>
              </a:ext>
            </a:extLst>
          </p:cNvPr>
          <p:cNvSpPr/>
          <p:nvPr/>
        </p:nvSpPr>
        <p:spPr>
          <a:xfrm rot="16200000">
            <a:off x="8208794" y="4451669"/>
            <a:ext cx="1198634" cy="658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21" name="Imagen 11">
            <a:extLst>
              <a:ext uri="{FF2B5EF4-FFF2-40B4-BE49-F238E27FC236}">
                <a16:creationId xmlns:a16="http://schemas.microsoft.com/office/drawing/2014/main" id="{5EE60AAB-1425-E268-6979-8BB3848214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10947443" y="6129505"/>
            <a:ext cx="786536" cy="920506"/>
          </a:xfrm>
          <a:prstGeom prst="rect">
            <a:avLst/>
          </a:prstGeom>
        </p:spPr>
      </p:pic>
      <p:pic>
        <p:nvPicPr>
          <p:cNvPr id="22" name="Imagen 21">
            <a:extLst>
              <a:ext uri="{FF2B5EF4-FFF2-40B4-BE49-F238E27FC236}">
                <a16:creationId xmlns:a16="http://schemas.microsoft.com/office/drawing/2014/main" id="{30936DE4-2B2B-D7B1-F60C-249A52BF76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60043" y="2455369"/>
            <a:ext cx="371335" cy="344046"/>
          </a:xfrm>
          <a:prstGeom prst="rect">
            <a:avLst/>
          </a:prstGeom>
        </p:spPr>
      </p:pic>
      <p:pic>
        <p:nvPicPr>
          <p:cNvPr id="25" name="Imagen 24">
            <a:extLst>
              <a:ext uri="{FF2B5EF4-FFF2-40B4-BE49-F238E27FC236}">
                <a16:creationId xmlns:a16="http://schemas.microsoft.com/office/drawing/2014/main" id="{609139EE-BD0C-7591-5341-D55108B980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7113" y="2480749"/>
            <a:ext cx="371335" cy="430551"/>
          </a:xfrm>
          <a:prstGeom prst="rect">
            <a:avLst/>
          </a:prstGeom>
        </p:spPr>
      </p:pic>
      <p:pic>
        <p:nvPicPr>
          <p:cNvPr id="26" name="Imagen 25">
            <a:extLst>
              <a:ext uri="{FF2B5EF4-FFF2-40B4-BE49-F238E27FC236}">
                <a16:creationId xmlns:a16="http://schemas.microsoft.com/office/drawing/2014/main" id="{A23E7B9A-E0A0-5D90-4A09-061076D57F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91272" y="2477317"/>
            <a:ext cx="394556" cy="394556"/>
          </a:xfrm>
          <a:prstGeom prst="rect">
            <a:avLst/>
          </a:prstGeom>
        </p:spPr>
      </p:pic>
      <p:pic>
        <p:nvPicPr>
          <p:cNvPr id="28" name="Imagen 27">
            <a:extLst>
              <a:ext uri="{FF2B5EF4-FFF2-40B4-BE49-F238E27FC236}">
                <a16:creationId xmlns:a16="http://schemas.microsoft.com/office/drawing/2014/main" id="{C85CC295-9A48-75B7-BA8E-D260F49A01F2}"/>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629619" y="5126151"/>
            <a:ext cx="402619" cy="402619"/>
          </a:xfrm>
          <a:prstGeom prst="rect">
            <a:avLst/>
          </a:prstGeom>
        </p:spPr>
      </p:pic>
      <p:pic>
        <p:nvPicPr>
          <p:cNvPr id="29" name="Imagen 28">
            <a:extLst>
              <a:ext uri="{FF2B5EF4-FFF2-40B4-BE49-F238E27FC236}">
                <a16:creationId xmlns:a16="http://schemas.microsoft.com/office/drawing/2014/main" id="{436BC4CC-8A28-6CB7-E05B-8EE4ABD26FC3}"/>
              </a:ext>
            </a:extLst>
          </p:cNvPr>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159302" y="5111700"/>
            <a:ext cx="407732" cy="397507"/>
          </a:xfrm>
          <a:prstGeom prst="rect">
            <a:avLst/>
          </a:prstGeom>
        </p:spPr>
      </p:pic>
      <p:pic>
        <p:nvPicPr>
          <p:cNvPr id="30" name="Imagen 29">
            <a:extLst>
              <a:ext uri="{FF2B5EF4-FFF2-40B4-BE49-F238E27FC236}">
                <a16:creationId xmlns:a16="http://schemas.microsoft.com/office/drawing/2014/main" id="{1E0F93CA-7076-F37C-E69A-FDAB77D30134}"/>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1720618" y="5048072"/>
            <a:ext cx="359162" cy="392394"/>
          </a:xfrm>
          <a:prstGeom prst="rect">
            <a:avLst/>
          </a:prstGeom>
        </p:spPr>
      </p:pic>
      <p:pic>
        <p:nvPicPr>
          <p:cNvPr id="32" name="Imagen 31">
            <a:extLst>
              <a:ext uri="{FF2B5EF4-FFF2-40B4-BE49-F238E27FC236}">
                <a16:creationId xmlns:a16="http://schemas.microsoft.com/office/drawing/2014/main" id="{0213FF02-F1AA-9168-5521-19157E6302C9}"/>
              </a:ext>
            </a:extLst>
          </p:cNvPr>
          <p:cNvPicPr>
            <a:picLocks noChangeAspect="1"/>
          </p:cNvPicPr>
          <p:nvPr/>
        </p:nvPicPr>
        <p:blipFill rotWithShape="1">
          <a:blip r:embed="rId10">
            <a:extLst>
              <a:ext uri="{28A0092B-C50C-407E-A947-70E740481C1C}">
                <a14:useLocalDpi xmlns:a14="http://schemas.microsoft.com/office/drawing/2010/main" val="0"/>
              </a:ext>
            </a:extLst>
          </a:blip>
          <a:srcRect t="24674" r="1724"/>
          <a:stretch/>
        </p:blipFill>
        <p:spPr>
          <a:xfrm>
            <a:off x="8716954" y="0"/>
            <a:ext cx="3475046" cy="1574158"/>
          </a:xfrm>
          <a:prstGeom prst="rect">
            <a:avLst/>
          </a:prstGeom>
        </p:spPr>
      </p:pic>
      <p:pic>
        <p:nvPicPr>
          <p:cNvPr id="3" name="Picture 2" descr="Belcorp | Brands of the World™ | Download vector logos and ...">
            <a:extLst>
              <a:ext uri="{FF2B5EF4-FFF2-40B4-BE49-F238E27FC236}">
                <a16:creationId xmlns:a16="http://schemas.microsoft.com/office/drawing/2014/main" id="{8D6C557E-703C-05CD-B7F5-D80FD15D67E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1390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extBox 158">
            <a:extLst>
              <a:ext uri="{FF2B5EF4-FFF2-40B4-BE49-F238E27FC236}">
                <a16:creationId xmlns:a16="http://schemas.microsoft.com/office/drawing/2014/main" id="{0CAA0030-4B75-DF4E-997E-D84595D8D3E0}"/>
              </a:ext>
            </a:extLst>
          </p:cNvPr>
          <p:cNvSpPr txBox="1"/>
          <p:nvPr/>
        </p:nvSpPr>
        <p:spPr>
          <a:xfrm>
            <a:off x="1072718" y="1457245"/>
            <a:ext cx="437940" cy="553998"/>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FFFFFF"/>
                </a:solidFill>
                <a:effectLst/>
                <a:uLnTx/>
                <a:uFillTx/>
                <a:latin typeface="Poppins" pitchFamily="2" charset="77"/>
                <a:ea typeface="League Spartan" charset="0"/>
                <a:cs typeface="Poppins" pitchFamily="2" charset="77"/>
              </a:rPr>
              <a:t>1.</a:t>
            </a:r>
          </a:p>
        </p:txBody>
      </p:sp>
      <p:sp>
        <p:nvSpPr>
          <p:cNvPr id="164" name="TextBox 163">
            <a:extLst>
              <a:ext uri="{FF2B5EF4-FFF2-40B4-BE49-F238E27FC236}">
                <a16:creationId xmlns:a16="http://schemas.microsoft.com/office/drawing/2014/main" id="{0306ED7E-7297-F54B-9EA4-1279F55C80B7}"/>
              </a:ext>
            </a:extLst>
          </p:cNvPr>
          <p:cNvSpPr txBox="1"/>
          <p:nvPr/>
        </p:nvSpPr>
        <p:spPr>
          <a:xfrm>
            <a:off x="1296923" y="2530395"/>
            <a:ext cx="526106" cy="553998"/>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FFFFFF"/>
                </a:solidFill>
                <a:effectLst/>
                <a:uLnTx/>
                <a:uFillTx/>
                <a:latin typeface="Poppins" pitchFamily="2" charset="77"/>
                <a:ea typeface="League Spartan" charset="0"/>
                <a:cs typeface="Poppins" pitchFamily="2" charset="77"/>
              </a:rPr>
              <a:t>3.</a:t>
            </a:r>
          </a:p>
        </p:txBody>
      </p:sp>
      <p:sp>
        <p:nvSpPr>
          <p:cNvPr id="3" name="Título 1">
            <a:extLst>
              <a:ext uri="{FF2B5EF4-FFF2-40B4-BE49-F238E27FC236}">
                <a16:creationId xmlns:a16="http://schemas.microsoft.com/office/drawing/2014/main" id="{6A9B9D6D-E5C9-D698-6D03-04279947D858}"/>
              </a:ext>
            </a:extLst>
          </p:cNvPr>
          <p:cNvSpPr txBox="1">
            <a:spLocks/>
          </p:cNvSpPr>
          <p:nvPr/>
        </p:nvSpPr>
        <p:spPr>
          <a:xfrm>
            <a:off x="1285013" y="467226"/>
            <a:ext cx="6742046" cy="553018"/>
          </a:xfrm>
          <a:prstGeom prst="rect">
            <a:avLst/>
          </a:prstGeom>
        </p:spPr>
        <p:txBody>
          <a:bodyPr vert="horz" lIns="91440" tIns="45720" rIns="91440" bIns="45720" rtlCol="0" anchor="ct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2400" b="0" i="0" u="none" strike="noStrike" kern="1200" cap="none" spc="-150" normalizeH="0" baseline="0" noProof="0">
                <a:ln>
                  <a:noFill/>
                </a:ln>
                <a:solidFill>
                  <a:srgbClr val="5E3FD1"/>
                </a:solidFill>
                <a:effectLst/>
                <a:uLnTx/>
                <a:uFillTx/>
                <a:latin typeface="Poppins"/>
                <a:ea typeface="+mj-ea"/>
                <a:cs typeface="Poppins"/>
              </a:rPr>
              <a:t>Global </a:t>
            </a:r>
            <a:r>
              <a:rPr kumimoji="0" lang="es-CO" sz="2400" b="0" i="0" u="none" strike="noStrike" kern="1200" cap="none" spc="-150" normalizeH="0" baseline="0" noProof="0" err="1">
                <a:ln>
                  <a:noFill/>
                </a:ln>
                <a:solidFill>
                  <a:srgbClr val="5E3FD1"/>
                </a:solidFill>
                <a:effectLst/>
                <a:uLnTx/>
                <a:uFillTx/>
                <a:latin typeface="Poppins"/>
                <a:ea typeface="+mj-ea"/>
                <a:cs typeface="Poppins"/>
              </a:rPr>
              <a:t>Reach</a:t>
            </a:r>
            <a:r>
              <a:rPr kumimoji="0" lang="es-CO" sz="2400" b="0" i="0" u="none" strike="noStrike" kern="1200" cap="none" spc="-150" normalizeH="0" baseline="0" noProof="0">
                <a:ln>
                  <a:noFill/>
                </a:ln>
                <a:solidFill>
                  <a:srgbClr val="5E3FD1"/>
                </a:solidFill>
                <a:effectLst/>
                <a:uLnTx/>
                <a:uFillTx/>
                <a:latin typeface="Poppins"/>
                <a:ea typeface="+mj-ea"/>
                <a:cs typeface="Poppins"/>
              </a:rPr>
              <a:t>, Local </a:t>
            </a:r>
            <a:r>
              <a:rPr kumimoji="0" lang="es-CO" sz="2400" b="0" i="0" u="none" strike="noStrike" kern="1200" cap="none" spc="-150" normalizeH="0" baseline="0" noProof="0" err="1">
                <a:ln>
                  <a:noFill/>
                </a:ln>
                <a:solidFill>
                  <a:srgbClr val="5E3FD1"/>
                </a:solidFill>
                <a:effectLst/>
                <a:uLnTx/>
                <a:uFillTx/>
                <a:latin typeface="Poppins"/>
                <a:ea typeface="+mj-ea"/>
                <a:cs typeface="Poppins"/>
              </a:rPr>
              <a:t>Impact</a:t>
            </a:r>
            <a:r>
              <a:rPr kumimoji="0" lang="es-CO" sz="2400" b="0" i="0" u="none" strike="noStrike" kern="1200" cap="none" spc="-150" normalizeH="0" baseline="0" noProof="0">
                <a:ln>
                  <a:noFill/>
                </a:ln>
                <a:solidFill>
                  <a:srgbClr val="5E3FD1"/>
                </a:solidFill>
                <a:effectLst/>
                <a:uLnTx/>
                <a:uFillTx/>
                <a:latin typeface="Poppins"/>
                <a:ea typeface="+mj-ea"/>
                <a:cs typeface="Poppins"/>
              </a:rPr>
              <a:t> </a:t>
            </a:r>
            <a:endParaRPr kumimoji="0" lang="en-US" sz="2400" b="0" i="0" u="none" strike="noStrike" kern="1200" cap="none" spc="0" normalizeH="0" baseline="0" noProof="0">
              <a:ln>
                <a:noFill/>
              </a:ln>
              <a:solidFill>
                <a:srgbClr val="5E3FD1"/>
              </a:solidFill>
              <a:effectLst/>
              <a:uLnTx/>
              <a:uFillTx/>
              <a:latin typeface="Poppins"/>
              <a:ea typeface="+mj-ea"/>
              <a:cs typeface="Poppin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1800" b="0" i="0" u="none" strike="noStrike" kern="1200" cap="none" spc="-150" normalizeH="0" baseline="0" noProof="0" err="1">
                <a:ln>
                  <a:noFill/>
                </a:ln>
                <a:solidFill>
                  <a:srgbClr val="8D80FF"/>
                </a:solidFill>
                <a:effectLst/>
                <a:uLnTx/>
                <a:uFillTx/>
                <a:latin typeface="Poppins"/>
                <a:ea typeface="+mj-ea"/>
                <a:cs typeface="Poppins"/>
              </a:rPr>
              <a:t>Operating</a:t>
            </a:r>
            <a:r>
              <a:rPr kumimoji="0" lang="es-CO" sz="1800" b="0" i="0" u="none" strike="noStrike" kern="1200" cap="none" spc="-150" normalizeH="0" baseline="0" noProof="0">
                <a:ln>
                  <a:noFill/>
                </a:ln>
                <a:solidFill>
                  <a:srgbClr val="8D80FF"/>
                </a:solidFill>
                <a:effectLst/>
                <a:uLnTx/>
                <a:uFillTx/>
                <a:latin typeface="Poppins"/>
                <a:ea typeface="+mj-ea"/>
                <a:cs typeface="Poppins"/>
              </a:rPr>
              <a:t> </a:t>
            </a:r>
            <a:r>
              <a:rPr kumimoji="0" lang="es-CO" sz="1800" b="0" i="0" u="none" strike="noStrike" kern="1200" cap="none" spc="-150" normalizeH="0" baseline="0" noProof="0" err="1">
                <a:ln>
                  <a:noFill/>
                </a:ln>
                <a:solidFill>
                  <a:srgbClr val="8D80FF"/>
                </a:solidFill>
                <a:effectLst/>
                <a:uLnTx/>
                <a:uFillTx/>
                <a:latin typeface="Poppins"/>
                <a:ea typeface="+mj-ea"/>
                <a:cs typeface="Poppins"/>
              </a:rPr>
              <a:t>Across</a:t>
            </a:r>
            <a:r>
              <a:rPr kumimoji="0" lang="es-CO" sz="1800" b="0" i="0" u="none" strike="noStrike" kern="1200" cap="none" spc="-150" normalizeH="0" baseline="0" noProof="0">
                <a:ln>
                  <a:noFill/>
                </a:ln>
                <a:solidFill>
                  <a:srgbClr val="8D80FF"/>
                </a:solidFill>
                <a:effectLst/>
                <a:uLnTx/>
                <a:uFillTx/>
                <a:latin typeface="Poppins"/>
                <a:ea typeface="+mj-ea"/>
                <a:cs typeface="Poppins"/>
              </a:rPr>
              <a:t> Key Global </a:t>
            </a:r>
            <a:r>
              <a:rPr kumimoji="0" lang="es-CO" sz="1800" b="0" i="0" u="none" strike="noStrike" kern="1200" cap="none" spc="-150" normalizeH="0" baseline="0" noProof="0" err="1">
                <a:ln>
                  <a:noFill/>
                </a:ln>
                <a:solidFill>
                  <a:srgbClr val="8D80FF"/>
                </a:solidFill>
                <a:effectLst/>
                <a:uLnTx/>
                <a:uFillTx/>
                <a:latin typeface="Poppins"/>
                <a:ea typeface="+mj-ea"/>
                <a:cs typeface="Poppins"/>
              </a:rPr>
              <a:t>Markets</a:t>
            </a:r>
            <a:endParaRPr kumimoji="0" lang="en-US" sz="2400" b="0" i="0" u="none" strike="noStrike" kern="1200" cap="none" spc="0" normalizeH="0" baseline="0" noProof="0">
              <a:ln>
                <a:noFill/>
              </a:ln>
              <a:solidFill>
                <a:srgbClr val="5E3FD1"/>
              </a:solidFill>
              <a:effectLst/>
              <a:uLnTx/>
              <a:uFillTx/>
              <a:latin typeface="Poppins"/>
              <a:ea typeface="+mj-ea"/>
              <a:cs typeface="+mj-cs"/>
            </a:endParaRPr>
          </a:p>
        </p:txBody>
      </p:sp>
      <p:pic>
        <p:nvPicPr>
          <p:cNvPr id="2" name="Picture 1">
            <a:extLst>
              <a:ext uri="{FF2B5EF4-FFF2-40B4-BE49-F238E27FC236}">
                <a16:creationId xmlns:a16="http://schemas.microsoft.com/office/drawing/2014/main" id="{CEAB5746-B1A8-28CD-2D60-D1C3435AFCA5}"/>
              </a:ext>
            </a:extLst>
          </p:cNvPr>
          <p:cNvPicPr>
            <a:picLocks noChangeAspect="1"/>
          </p:cNvPicPr>
          <p:nvPr/>
        </p:nvPicPr>
        <p:blipFill>
          <a:blip r:embed="rId3">
            <a:biLevel thresh="25000"/>
          </a:blip>
          <a:stretch>
            <a:fillRect/>
          </a:stretch>
        </p:blipFill>
        <p:spPr>
          <a:xfrm>
            <a:off x="10789303" y="1020245"/>
            <a:ext cx="622802" cy="352584"/>
          </a:xfrm>
          <a:prstGeom prst="rect">
            <a:avLst/>
          </a:prstGeom>
        </p:spPr>
      </p:pic>
      <p:sp>
        <p:nvSpPr>
          <p:cNvPr id="7" name="Forma libre: forma 6">
            <a:extLst>
              <a:ext uri="{FF2B5EF4-FFF2-40B4-BE49-F238E27FC236}">
                <a16:creationId xmlns:a16="http://schemas.microsoft.com/office/drawing/2014/main" id="{B03C9864-8A86-3884-788D-14E00B286B38}"/>
              </a:ext>
            </a:extLst>
          </p:cNvPr>
          <p:cNvSpPr/>
          <p:nvPr/>
        </p:nvSpPr>
        <p:spPr>
          <a:xfrm>
            <a:off x="6507930" y="4954846"/>
            <a:ext cx="346970" cy="344308"/>
          </a:xfrm>
          <a:custGeom>
            <a:avLst/>
            <a:gdLst>
              <a:gd name="connsiteX0" fmla="*/ 128210 w 346970"/>
              <a:gd name="connsiteY0" fmla="*/ 331261 h 344308"/>
              <a:gd name="connsiteX1" fmla="*/ 143596 w 346970"/>
              <a:gd name="connsiteY1" fmla="*/ 323220 h 344308"/>
              <a:gd name="connsiteX2" fmla="*/ 158115 w 346970"/>
              <a:gd name="connsiteY2" fmla="*/ 342598 h 344308"/>
              <a:gd name="connsiteX3" fmla="*/ 192822 w 346970"/>
              <a:gd name="connsiteY3" fmla="*/ 341789 h 344308"/>
              <a:gd name="connsiteX4" fmla="*/ 210522 w 346970"/>
              <a:gd name="connsiteY4" fmla="*/ 324030 h 344308"/>
              <a:gd name="connsiteX5" fmla="*/ 210522 w 346970"/>
              <a:gd name="connsiteY5" fmla="*/ 144019 h 344308"/>
              <a:gd name="connsiteX6" fmla="*/ 237998 w 346970"/>
              <a:gd name="connsiteY6" fmla="*/ 133549 h 344308"/>
              <a:gd name="connsiteX7" fmla="*/ 237998 w 346970"/>
              <a:gd name="connsiteY7" fmla="*/ 39783 h 344308"/>
              <a:gd name="connsiteX8" fmla="*/ 263855 w 346970"/>
              <a:gd name="connsiteY8" fmla="*/ 36602 h 344308"/>
              <a:gd name="connsiteX9" fmla="*/ 294570 w 346970"/>
              <a:gd name="connsiteY9" fmla="*/ 27694 h 344308"/>
              <a:gd name="connsiteX10" fmla="*/ 309089 w 346970"/>
              <a:gd name="connsiteY10" fmla="*/ 38222 h 344308"/>
              <a:gd name="connsiteX11" fmla="*/ 328467 w 346970"/>
              <a:gd name="connsiteY11" fmla="*/ 26074 h 344308"/>
              <a:gd name="connsiteX12" fmla="*/ 346861 w 346970"/>
              <a:gd name="connsiteY12" fmla="*/ 22604 h 344308"/>
              <a:gd name="connsiteX13" fmla="*/ 344663 w 346970"/>
              <a:gd name="connsiteY13" fmla="*/ 16299 h 344308"/>
              <a:gd name="connsiteX14" fmla="*/ 287282 w 346970"/>
              <a:gd name="connsiteY14" fmla="*/ 20348 h 344308"/>
              <a:gd name="connsiteX15" fmla="*/ 244940 w 346970"/>
              <a:gd name="connsiteY15" fmla="*/ 23124 h 344308"/>
              <a:gd name="connsiteX16" fmla="*/ 184839 w 346970"/>
              <a:gd name="connsiteY16" fmla="*/ 23124 h 344308"/>
              <a:gd name="connsiteX17" fmla="*/ 175121 w 346970"/>
              <a:gd name="connsiteY17" fmla="*/ 13522 h 344308"/>
              <a:gd name="connsiteX18" fmla="*/ 80835 w 346970"/>
              <a:gd name="connsiteY18" fmla="*/ 13522 h 344308"/>
              <a:gd name="connsiteX19" fmla="*/ 56252 w 346970"/>
              <a:gd name="connsiteY19" fmla="*/ 6754 h 344308"/>
              <a:gd name="connsiteX20" fmla="*/ 30337 w 346970"/>
              <a:gd name="connsiteY20" fmla="*/ 5366 h 344308"/>
              <a:gd name="connsiteX21" fmla="*/ 18074 w 346970"/>
              <a:gd name="connsiteY21" fmla="*/ -129 h 344308"/>
              <a:gd name="connsiteX22" fmla="*/ 8472 w 346970"/>
              <a:gd name="connsiteY22" fmla="*/ 6754 h 344308"/>
              <a:gd name="connsiteX23" fmla="*/ -31 w 346970"/>
              <a:gd name="connsiteY23" fmla="*/ 8953 h 344308"/>
              <a:gd name="connsiteX24" fmla="*/ 15356 w 346970"/>
              <a:gd name="connsiteY24" fmla="*/ 44642 h 344308"/>
              <a:gd name="connsiteX25" fmla="*/ 42022 w 346970"/>
              <a:gd name="connsiteY25" fmla="*/ 100404 h 344308"/>
              <a:gd name="connsiteX26" fmla="*/ 69845 w 346970"/>
              <a:gd name="connsiteY26" fmla="*/ 157323 h 344308"/>
              <a:gd name="connsiteX27" fmla="*/ 71060 w 346970"/>
              <a:gd name="connsiteY27" fmla="*/ 203598 h 344308"/>
              <a:gd name="connsiteX28" fmla="*/ 80777 w 346970"/>
              <a:gd name="connsiteY28" fmla="*/ 246345 h 344308"/>
              <a:gd name="connsiteX29" fmla="*/ 99346 w 346970"/>
              <a:gd name="connsiteY29" fmla="*/ 312577 h 344308"/>
              <a:gd name="connsiteX30" fmla="*/ 116294 w 346970"/>
              <a:gd name="connsiteY30" fmla="*/ 334384 h 344308"/>
              <a:gd name="connsiteX31" fmla="*/ 128210 w 346970"/>
              <a:gd name="connsiteY31" fmla="*/ 331261 h 34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6970" h="344308">
                <a:moveTo>
                  <a:pt x="128210" y="331261"/>
                </a:moveTo>
                <a:cubicBezTo>
                  <a:pt x="128210" y="325476"/>
                  <a:pt x="137928" y="315122"/>
                  <a:pt x="143596" y="323220"/>
                </a:cubicBezTo>
                <a:cubicBezTo>
                  <a:pt x="149265" y="331319"/>
                  <a:pt x="146836" y="342598"/>
                  <a:pt x="158115" y="342598"/>
                </a:cubicBezTo>
                <a:cubicBezTo>
                  <a:pt x="169395" y="342598"/>
                  <a:pt x="189583" y="346647"/>
                  <a:pt x="192822" y="341789"/>
                </a:cubicBezTo>
                <a:cubicBezTo>
                  <a:pt x="196061" y="336929"/>
                  <a:pt x="210522" y="332881"/>
                  <a:pt x="210522" y="324030"/>
                </a:cubicBezTo>
                <a:lnTo>
                  <a:pt x="210522" y="144019"/>
                </a:lnTo>
                <a:cubicBezTo>
                  <a:pt x="210522" y="137540"/>
                  <a:pt x="237998" y="144019"/>
                  <a:pt x="237998" y="133549"/>
                </a:cubicBezTo>
                <a:lnTo>
                  <a:pt x="237998" y="39783"/>
                </a:lnTo>
                <a:cubicBezTo>
                  <a:pt x="246675" y="39193"/>
                  <a:pt x="255294" y="38129"/>
                  <a:pt x="263855" y="36602"/>
                </a:cubicBezTo>
                <a:cubicBezTo>
                  <a:pt x="269639" y="34983"/>
                  <a:pt x="289711" y="24455"/>
                  <a:pt x="294570" y="27694"/>
                </a:cubicBezTo>
                <a:cubicBezTo>
                  <a:pt x="299429" y="30933"/>
                  <a:pt x="306139" y="42213"/>
                  <a:pt x="309089" y="38222"/>
                </a:cubicBezTo>
                <a:cubicBezTo>
                  <a:pt x="312039" y="34231"/>
                  <a:pt x="320658" y="26074"/>
                  <a:pt x="328467" y="26074"/>
                </a:cubicBezTo>
                <a:cubicBezTo>
                  <a:pt x="334714" y="25461"/>
                  <a:pt x="340845" y="24304"/>
                  <a:pt x="346861" y="22604"/>
                </a:cubicBezTo>
                <a:cubicBezTo>
                  <a:pt x="345646" y="20712"/>
                  <a:pt x="344894" y="18549"/>
                  <a:pt x="344663" y="16299"/>
                </a:cubicBezTo>
                <a:cubicBezTo>
                  <a:pt x="344663" y="9473"/>
                  <a:pt x="295437" y="17629"/>
                  <a:pt x="287282" y="20348"/>
                </a:cubicBezTo>
                <a:cubicBezTo>
                  <a:pt x="279125" y="23066"/>
                  <a:pt x="253095" y="27173"/>
                  <a:pt x="244940" y="23124"/>
                </a:cubicBezTo>
                <a:cubicBezTo>
                  <a:pt x="236783" y="19075"/>
                  <a:pt x="184839" y="23124"/>
                  <a:pt x="184839" y="23124"/>
                </a:cubicBezTo>
                <a:lnTo>
                  <a:pt x="175121" y="13522"/>
                </a:lnTo>
                <a:lnTo>
                  <a:pt x="80835" y="13522"/>
                </a:lnTo>
                <a:cubicBezTo>
                  <a:pt x="72118" y="14025"/>
                  <a:pt x="63482" y="11648"/>
                  <a:pt x="56252" y="6754"/>
                </a:cubicBezTo>
                <a:cubicBezTo>
                  <a:pt x="48546" y="1502"/>
                  <a:pt x="38563" y="970"/>
                  <a:pt x="30337" y="5366"/>
                </a:cubicBezTo>
                <a:cubicBezTo>
                  <a:pt x="20793" y="9473"/>
                  <a:pt x="24900" y="-129"/>
                  <a:pt x="18074" y="-129"/>
                </a:cubicBezTo>
                <a:cubicBezTo>
                  <a:pt x="13823" y="143"/>
                  <a:pt x="10098" y="2815"/>
                  <a:pt x="8472" y="6754"/>
                </a:cubicBezTo>
                <a:lnTo>
                  <a:pt x="-31" y="8953"/>
                </a:lnTo>
                <a:cubicBezTo>
                  <a:pt x="-957" y="17282"/>
                  <a:pt x="6448" y="32611"/>
                  <a:pt x="15356" y="44642"/>
                </a:cubicBezTo>
                <a:cubicBezTo>
                  <a:pt x="26884" y="61845"/>
                  <a:pt x="35867" y="80627"/>
                  <a:pt x="42022" y="100404"/>
                </a:cubicBezTo>
                <a:cubicBezTo>
                  <a:pt x="47806" y="120187"/>
                  <a:pt x="65449" y="142399"/>
                  <a:pt x="69845" y="157323"/>
                </a:cubicBezTo>
                <a:cubicBezTo>
                  <a:pt x="74241" y="172247"/>
                  <a:pt x="66606" y="193707"/>
                  <a:pt x="71060" y="203598"/>
                </a:cubicBezTo>
                <a:cubicBezTo>
                  <a:pt x="75988" y="217412"/>
                  <a:pt x="79250" y="231763"/>
                  <a:pt x="80777" y="246345"/>
                </a:cubicBezTo>
                <a:cubicBezTo>
                  <a:pt x="83207" y="262947"/>
                  <a:pt x="84364" y="298058"/>
                  <a:pt x="99346" y="312577"/>
                </a:cubicBezTo>
                <a:cubicBezTo>
                  <a:pt x="105784" y="319200"/>
                  <a:pt x="111464" y="326512"/>
                  <a:pt x="116294" y="334384"/>
                </a:cubicBezTo>
                <a:cubicBezTo>
                  <a:pt x="123062" y="334847"/>
                  <a:pt x="128210" y="335657"/>
                  <a:pt x="128210" y="33126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8" name="Forma libre: forma 7">
            <a:extLst>
              <a:ext uri="{FF2B5EF4-FFF2-40B4-BE49-F238E27FC236}">
                <a16:creationId xmlns:a16="http://schemas.microsoft.com/office/drawing/2014/main" id="{7DD7362F-F7F8-11B2-BCCB-B1AE00F4DD5C}"/>
              </a:ext>
            </a:extLst>
          </p:cNvPr>
          <p:cNvSpPr/>
          <p:nvPr/>
        </p:nvSpPr>
        <p:spPr>
          <a:xfrm>
            <a:off x="6855248" y="4916495"/>
            <a:ext cx="214838" cy="190192"/>
          </a:xfrm>
          <a:custGeom>
            <a:avLst/>
            <a:gdLst>
              <a:gd name="connsiteX0" fmla="*/ 144385 w 214838"/>
              <a:gd name="connsiteY0" fmla="*/ 8721 h 190192"/>
              <a:gd name="connsiteX1" fmla="*/ 140337 w 214838"/>
              <a:gd name="connsiteY1" fmla="*/ -129 h 190192"/>
              <a:gd name="connsiteX2" fmla="*/ 117199 w 214838"/>
              <a:gd name="connsiteY2" fmla="*/ 623 h 190192"/>
              <a:gd name="connsiteX3" fmla="*/ 101870 w 214838"/>
              <a:gd name="connsiteY3" fmla="*/ 14390 h 190192"/>
              <a:gd name="connsiteX4" fmla="*/ 76824 w 214838"/>
              <a:gd name="connsiteY4" fmla="*/ 33768 h 190192"/>
              <a:gd name="connsiteX5" fmla="*/ 48538 w 214838"/>
              <a:gd name="connsiteY5" fmla="*/ 64425 h 190192"/>
              <a:gd name="connsiteX6" fmla="*/ 13831 w 214838"/>
              <a:gd name="connsiteY6" fmla="*/ 58641 h 190192"/>
              <a:gd name="connsiteX7" fmla="*/ -110 w 214838"/>
              <a:gd name="connsiteY7" fmla="*/ 60839 h 190192"/>
              <a:gd name="connsiteX8" fmla="*/ 15450 w 214838"/>
              <a:gd name="connsiteY8" fmla="*/ 76341 h 190192"/>
              <a:gd name="connsiteX9" fmla="*/ 30432 w 214838"/>
              <a:gd name="connsiteY9" fmla="*/ 109139 h 190192"/>
              <a:gd name="connsiteX10" fmla="*/ 57793 w 214838"/>
              <a:gd name="connsiteY10" fmla="*/ 128227 h 190192"/>
              <a:gd name="connsiteX11" fmla="*/ 68725 w 214838"/>
              <a:gd name="connsiteY11" fmla="*/ 148762 h 190192"/>
              <a:gd name="connsiteX12" fmla="*/ 87814 w 214838"/>
              <a:gd name="connsiteY12" fmla="*/ 167851 h 190192"/>
              <a:gd name="connsiteX13" fmla="*/ 107076 w 214838"/>
              <a:gd name="connsiteY13" fmla="*/ 179420 h 190192"/>
              <a:gd name="connsiteX14" fmla="*/ 133106 w 214838"/>
              <a:gd name="connsiteY14" fmla="*/ 184279 h 190192"/>
              <a:gd name="connsiteX15" fmla="*/ 164168 w 214838"/>
              <a:gd name="connsiteY15" fmla="*/ 190063 h 190192"/>
              <a:gd name="connsiteX16" fmla="*/ 191875 w 214838"/>
              <a:gd name="connsiteY16" fmla="*/ 162413 h 190192"/>
              <a:gd name="connsiteX17" fmla="*/ 199164 w 214838"/>
              <a:gd name="connsiteY17" fmla="*/ 135805 h 190192"/>
              <a:gd name="connsiteX18" fmla="*/ 213683 w 214838"/>
              <a:gd name="connsiteY18" fmla="*/ 115213 h 190192"/>
              <a:gd name="connsiteX19" fmla="*/ 205238 w 214838"/>
              <a:gd name="connsiteY19" fmla="*/ 94620 h 190192"/>
              <a:gd name="connsiteX20" fmla="*/ 212468 w 214838"/>
              <a:gd name="connsiteY20" fmla="*/ 70383 h 190192"/>
              <a:gd name="connsiteX21" fmla="*/ 211254 w 214838"/>
              <a:gd name="connsiteY21" fmla="*/ 27983 h 190192"/>
              <a:gd name="connsiteX22" fmla="*/ 179786 w 214838"/>
              <a:gd name="connsiteY22" fmla="*/ 17051 h 190192"/>
              <a:gd name="connsiteX23" fmla="*/ 144385 w 214838"/>
              <a:gd name="connsiteY23" fmla="*/ 8721 h 19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4838" h="190192">
                <a:moveTo>
                  <a:pt x="144385" y="8721"/>
                </a:moveTo>
                <a:lnTo>
                  <a:pt x="140337" y="-129"/>
                </a:lnTo>
                <a:lnTo>
                  <a:pt x="117199" y="623"/>
                </a:lnTo>
                <a:cubicBezTo>
                  <a:pt x="101870" y="4672"/>
                  <a:pt x="101870" y="9531"/>
                  <a:pt x="101870" y="14390"/>
                </a:cubicBezTo>
                <a:cubicBezTo>
                  <a:pt x="101870" y="19249"/>
                  <a:pt x="87293" y="30471"/>
                  <a:pt x="76824" y="33768"/>
                </a:cubicBezTo>
                <a:cubicBezTo>
                  <a:pt x="66353" y="37065"/>
                  <a:pt x="54958" y="61186"/>
                  <a:pt x="48538" y="64425"/>
                </a:cubicBezTo>
                <a:cubicBezTo>
                  <a:pt x="42117" y="67664"/>
                  <a:pt x="20310" y="59566"/>
                  <a:pt x="13831" y="58641"/>
                </a:cubicBezTo>
                <a:cubicBezTo>
                  <a:pt x="9088" y="58710"/>
                  <a:pt x="4402" y="59451"/>
                  <a:pt x="-110" y="60839"/>
                </a:cubicBezTo>
                <a:cubicBezTo>
                  <a:pt x="3881" y="67896"/>
                  <a:pt x="12327" y="76341"/>
                  <a:pt x="15450" y="76341"/>
                </a:cubicBezTo>
                <a:cubicBezTo>
                  <a:pt x="19500" y="76341"/>
                  <a:pt x="20888" y="105263"/>
                  <a:pt x="30432" y="109139"/>
                </a:cubicBezTo>
                <a:cubicBezTo>
                  <a:pt x="39977" y="113014"/>
                  <a:pt x="57793" y="122790"/>
                  <a:pt x="57793" y="128227"/>
                </a:cubicBezTo>
                <a:cubicBezTo>
                  <a:pt x="57793" y="133665"/>
                  <a:pt x="68725" y="140548"/>
                  <a:pt x="68725" y="148762"/>
                </a:cubicBezTo>
                <a:cubicBezTo>
                  <a:pt x="68725" y="156976"/>
                  <a:pt x="79484" y="168140"/>
                  <a:pt x="87814" y="167851"/>
                </a:cubicBezTo>
                <a:cubicBezTo>
                  <a:pt x="105167" y="167272"/>
                  <a:pt x="107076" y="174561"/>
                  <a:pt x="107076" y="179420"/>
                </a:cubicBezTo>
                <a:cubicBezTo>
                  <a:pt x="107076" y="184279"/>
                  <a:pt x="130214" y="179420"/>
                  <a:pt x="133106" y="184279"/>
                </a:cubicBezTo>
                <a:cubicBezTo>
                  <a:pt x="135998" y="189137"/>
                  <a:pt x="158673" y="186997"/>
                  <a:pt x="164168" y="190063"/>
                </a:cubicBezTo>
                <a:cubicBezTo>
                  <a:pt x="173886" y="181317"/>
                  <a:pt x="183084" y="172091"/>
                  <a:pt x="191875" y="162413"/>
                </a:cubicBezTo>
                <a:cubicBezTo>
                  <a:pt x="199164" y="152811"/>
                  <a:pt x="193091" y="139276"/>
                  <a:pt x="199164" y="135805"/>
                </a:cubicBezTo>
                <a:cubicBezTo>
                  <a:pt x="205238" y="132334"/>
                  <a:pt x="218542" y="116427"/>
                  <a:pt x="213683" y="115213"/>
                </a:cubicBezTo>
                <a:cubicBezTo>
                  <a:pt x="208824" y="113998"/>
                  <a:pt x="212468" y="101851"/>
                  <a:pt x="205238" y="94620"/>
                </a:cubicBezTo>
                <a:cubicBezTo>
                  <a:pt x="198007" y="87389"/>
                  <a:pt x="213683" y="83687"/>
                  <a:pt x="212468" y="70383"/>
                </a:cubicBezTo>
                <a:cubicBezTo>
                  <a:pt x="211254" y="57079"/>
                  <a:pt x="214898" y="30355"/>
                  <a:pt x="211254" y="27983"/>
                </a:cubicBezTo>
                <a:cubicBezTo>
                  <a:pt x="207609" y="25612"/>
                  <a:pt x="190661" y="24339"/>
                  <a:pt x="179786" y="17051"/>
                </a:cubicBezTo>
                <a:cubicBezTo>
                  <a:pt x="168911" y="9762"/>
                  <a:pt x="144385" y="8721"/>
                  <a:pt x="144385" y="872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9" name="Forma libre: forma 8">
            <a:extLst>
              <a:ext uri="{FF2B5EF4-FFF2-40B4-BE49-F238E27FC236}">
                <a16:creationId xmlns:a16="http://schemas.microsoft.com/office/drawing/2014/main" id="{346A01B5-67A8-121C-0716-ED18725497D0}"/>
              </a:ext>
            </a:extLst>
          </p:cNvPr>
          <p:cNvSpPr/>
          <p:nvPr/>
        </p:nvSpPr>
        <p:spPr>
          <a:xfrm>
            <a:off x="6718619" y="4977579"/>
            <a:ext cx="243467" cy="261296"/>
          </a:xfrm>
          <a:custGeom>
            <a:avLst/>
            <a:gdLst>
              <a:gd name="connsiteX0" fmla="*/ 224153 w 243467"/>
              <a:gd name="connsiteY0" fmla="*/ 106883 h 261296"/>
              <a:gd name="connsiteX1" fmla="*/ 205064 w 243467"/>
              <a:gd name="connsiteY1" fmla="*/ 87794 h 261296"/>
              <a:gd name="connsiteX2" fmla="*/ 194131 w 243467"/>
              <a:gd name="connsiteY2" fmla="*/ 67259 h 261296"/>
              <a:gd name="connsiteX3" fmla="*/ 166771 w 243467"/>
              <a:gd name="connsiteY3" fmla="*/ 48171 h 261296"/>
              <a:gd name="connsiteX4" fmla="*/ 151790 w 243467"/>
              <a:gd name="connsiteY4" fmla="*/ 15373 h 261296"/>
              <a:gd name="connsiteX5" fmla="*/ 136229 w 243467"/>
              <a:gd name="connsiteY5" fmla="*/ -129 h 261296"/>
              <a:gd name="connsiteX6" fmla="*/ 117835 w 243467"/>
              <a:gd name="connsiteY6" fmla="*/ 3342 h 261296"/>
              <a:gd name="connsiteX7" fmla="*/ 98457 w 243467"/>
              <a:gd name="connsiteY7" fmla="*/ 15489 h 261296"/>
              <a:gd name="connsiteX8" fmla="*/ 83938 w 243467"/>
              <a:gd name="connsiteY8" fmla="*/ 4961 h 261296"/>
              <a:gd name="connsiteX9" fmla="*/ 53223 w 243467"/>
              <a:gd name="connsiteY9" fmla="*/ 13869 h 261296"/>
              <a:gd name="connsiteX10" fmla="*/ 27367 w 243467"/>
              <a:gd name="connsiteY10" fmla="*/ 17051 h 261296"/>
              <a:gd name="connsiteX11" fmla="*/ 27367 w 243467"/>
              <a:gd name="connsiteY11" fmla="*/ 110816 h 261296"/>
              <a:gd name="connsiteX12" fmla="*/ -110 w 243467"/>
              <a:gd name="connsiteY12" fmla="*/ 121286 h 261296"/>
              <a:gd name="connsiteX13" fmla="*/ -110 w 243467"/>
              <a:gd name="connsiteY13" fmla="*/ 201632 h 261296"/>
              <a:gd name="connsiteX14" fmla="*/ 12848 w 243467"/>
              <a:gd name="connsiteY14" fmla="*/ 210135 h 261296"/>
              <a:gd name="connsiteX15" fmla="*/ 21755 w 243467"/>
              <a:gd name="connsiteY15" fmla="*/ 240850 h 261296"/>
              <a:gd name="connsiteX16" fmla="*/ 15971 w 243467"/>
              <a:gd name="connsiteY16" fmla="*/ 247271 h 261296"/>
              <a:gd name="connsiteX17" fmla="*/ 20830 w 243467"/>
              <a:gd name="connsiteY17" fmla="*/ 259418 h 261296"/>
              <a:gd name="connsiteX18" fmla="*/ 48248 w 243467"/>
              <a:gd name="connsiteY18" fmla="*/ 257799 h 261296"/>
              <a:gd name="connsiteX19" fmla="*/ 73295 w 243467"/>
              <a:gd name="connsiteY19" fmla="*/ 229513 h 261296"/>
              <a:gd name="connsiteX20" fmla="*/ 91863 w 243467"/>
              <a:gd name="connsiteY20" fmla="*/ 214994 h 261296"/>
              <a:gd name="connsiteX21" fmla="*/ 124198 w 243467"/>
              <a:gd name="connsiteY21" fmla="*/ 225464 h 261296"/>
              <a:gd name="connsiteX22" fmla="*/ 150054 w 243467"/>
              <a:gd name="connsiteY22" fmla="*/ 213374 h 261296"/>
              <a:gd name="connsiteX23" fmla="*/ 160524 w 243467"/>
              <a:gd name="connsiteY23" fmla="*/ 193187 h 261296"/>
              <a:gd name="connsiteX24" fmla="*/ 183662 w 243467"/>
              <a:gd name="connsiteY24" fmla="*/ 176180 h 261296"/>
              <a:gd name="connsiteX25" fmla="*/ 195231 w 243467"/>
              <a:gd name="connsiteY25" fmla="*/ 157670 h 261296"/>
              <a:gd name="connsiteX26" fmla="*/ 217038 w 243467"/>
              <a:gd name="connsiteY26" fmla="*/ 141474 h 261296"/>
              <a:gd name="connsiteX27" fmla="*/ 233986 w 243467"/>
              <a:gd name="connsiteY27" fmla="*/ 131756 h 261296"/>
              <a:gd name="connsiteX28" fmla="*/ 243357 w 243467"/>
              <a:gd name="connsiteY28" fmla="*/ 118567 h 261296"/>
              <a:gd name="connsiteX29" fmla="*/ 243357 w 243467"/>
              <a:gd name="connsiteY29" fmla="*/ 118567 h 261296"/>
              <a:gd name="connsiteX30" fmla="*/ 224153 w 243467"/>
              <a:gd name="connsiteY30" fmla="*/ 106883 h 26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3467" h="261296">
                <a:moveTo>
                  <a:pt x="224153" y="106883"/>
                </a:moveTo>
                <a:cubicBezTo>
                  <a:pt x="215823" y="107172"/>
                  <a:pt x="205064" y="96008"/>
                  <a:pt x="205064" y="87794"/>
                </a:cubicBezTo>
                <a:cubicBezTo>
                  <a:pt x="205064" y="79580"/>
                  <a:pt x="194131" y="72755"/>
                  <a:pt x="194131" y="67259"/>
                </a:cubicBezTo>
                <a:cubicBezTo>
                  <a:pt x="194131" y="61764"/>
                  <a:pt x="176373" y="52278"/>
                  <a:pt x="166771" y="48171"/>
                </a:cubicBezTo>
                <a:cubicBezTo>
                  <a:pt x="157169" y="44064"/>
                  <a:pt x="155838" y="15373"/>
                  <a:pt x="151790" y="15373"/>
                </a:cubicBezTo>
                <a:cubicBezTo>
                  <a:pt x="148666" y="15373"/>
                  <a:pt x="140221" y="6928"/>
                  <a:pt x="136229" y="-129"/>
                </a:cubicBezTo>
                <a:cubicBezTo>
                  <a:pt x="130213" y="1572"/>
                  <a:pt x="124082" y="2728"/>
                  <a:pt x="117835" y="3342"/>
                </a:cubicBezTo>
                <a:cubicBezTo>
                  <a:pt x="109795" y="3342"/>
                  <a:pt x="101696" y="11440"/>
                  <a:pt x="98457" y="15489"/>
                </a:cubicBezTo>
                <a:cubicBezTo>
                  <a:pt x="95218" y="19538"/>
                  <a:pt x="88797" y="8201"/>
                  <a:pt x="83938" y="4961"/>
                </a:cubicBezTo>
                <a:cubicBezTo>
                  <a:pt x="79079" y="1722"/>
                  <a:pt x="58892" y="12250"/>
                  <a:pt x="53223" y="13869"/>
                </a:cubicBezTo>
                <a:cubicBezTo>
                  <a:pt x="44662" y="15396"/>
                  <a:pt x="36043" y="16461"/>
                  <a:pt x="27367" y="17051"/>
                </a:cubicBezTo>
                <a:lnTo>
                  <a:pt x="27367" y="110816"/>
                </a:lnTo>
                <a:cubicBezTo>
                  <a:pt x="27367" y="121286"/>
                  <a:pt x="-110" y="114808"/>
                  <a:pt x="-110" y="121286"/>
                </a:cubicBezTo>
                <a:lnTo>
                  <a:pt x="-110" y="201632"/>
                </a:lnTo>
                <a:cubicBezTo>
                  <a:pt x="5675" y="203772"/>
                  <a:pt x="11459" y="206606"/>
                  <a:pt x="12848" y="210135"/>
                </a:cubicBezTo>
                <a:cubicBezTo>
                  <a:pt x="16087" y="218175"/>
                  <a:pt x="23375" y="235991"/>
                  <a:pt x="21755" y="240850"/>
                </a:cubicBezTo>
                <a:cubicBezTo>
                  <a:pt x="20136" y="245709"/>
                  <a:pt x="15971" y="242412"/>
                  <a:pt x="15971" y="247271"/>
                </a:cubicBezTo>
                <a:cubicBezTo>
                  <a:pt x="15971" y="252130"/>
                  <a:pt x="12732" y="259418"/>
                  <a:pt x="20830" y="259418"/>
                </a:cubicBezTo>
                <a:cubicBezTo>
                  <a:pt x="28928" y="259418"/>
                  <a:pt x="42637" y="264277"/>
                  <a:pt x="48248" y="257799"/>
                </a:cubicBezTo>
                <a:cubicBezTo>
                  <a:pt x="53859" y="251320"/>
                  <a:pt x="72485" y="236801"/>
                  <a:pt x="73295" y="229513"/>
                </a:cubicBezTo>
                <a:cubicBezTo>
                  <a:pt x="74105" y="222224"/>
                  <a:pt x="78154" y="206375"/>
                  <a:pt x="91863" y="214994"/>
                </a:cubicBezTo>
                <a:cubicBezTo>
                  <a:pt x="105572" y="223613"/>
                  <a:pt x="106440" y="225464"/>
                  <a:pt x="124198" y="225464"/>
                </a:cubicBezTo>
                <a:cubicBezTo>
                  <a:pt x="141956" y="225464"/>
                  <a:pt x="146815" y="224654"/>
                  <a:pt x="150054" y="213374"/>
                </a:cubicBezTo>
                <a:cubicBezTo>
                  <a:pt x="153294" y="202094"/>
                  <a:pt x="150054" y="193187"/>
                  <a:pt x="160524" y="193187"/>
                </a:cubicBezTo>
                <a:cubicBezTo>
                  <a:pt x="170994" y="193187"/>
                  <a:pt x="183662" y="183469"/>
                  <a:pt x="183662" y="176180"/>
                </a:cubicBezTo>
                <a:cubicBezTo>
                  <a:pt x="183662" y="168892"/>
                  <a:pt x="188521" y="157670"/>
                  <a:pt x="195231" y="157670"/>
                </a:cubicBezTo>
                <a:cubicBezTo>
                  <a:pt x="201941" y="157670"/>
                  <a:pt x="215360" y="149572"/>
                  <a:pt x="217038" y="141474"/>
                </a:cubicBezTo>
                <a:cubicBezTo>
                  <a:pt x="218715" y="133375"/>
                  <a:pt x="229937" y="136673"/>
                  <a:pt x="233986" y="131756"/>
                </a:cubicBezTo>
                <a:cubicBezTo>
                  <a:pt x="235953" y="129442"/>
                  <a:pt x="239771" y="123773"/>
                  <a:pt x="243357" y="118567"/>
                </a:cubicBezTo>
                <a:lnTo>
                  <a:pt x="243357" y="118567"/>
                </a:lnTo>
                <a:cubicBezTo>
                  <a:pt x="243415" y="113593"/>
                  <a:pt x="241622" y="106073"/>
                  <a:pt x="224153" y="10688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0" name="Forma libre: forma 9">
            <a:extLst>
              <a:ext uri="{FF2B5EF4-FFF2-40B4-BE49-F238E27FC236}">
                <a16:creationId xmlns:a16="http://schemas.microsoft.com/office/drawing/2014/main" id="{B465A927-145D-430E-9B3C-188958D05C68}"/>
              </a:ext>
            </a:extLst>
          </p:cNvPr>
          <p:cNvSpPr/>
          <p:nvPr/>
        </p:nvSpPr>
        <p:spPr>
          <a:xfrm>
            <a:off x="7005874" y="5205254"/>
            <a:ext cx="36673" cy="45234"/>
          </a:xfrm>
          <a:custGeom>
            <a:avLst/>
            <a:gdLst>
              <a:gd name="connsiteX0" fmla="*/ 18458 w 36673"/>
              <a:gd name="connsiteY0" fmla="*/ -129 h 45234"/>
              <a:gd name="connsiteX1" fmla="*/ -110 w 36673"/>
              <a:gd name="connsiteY1" fmla="*/ 19596 h 45234"/>
              <a:gd name="connsiteX2" fmla="*/ 16723 w 36673"/>
              <a:gd name="connsiteY2" fmla="*/ 44932 h 45234"/>
              <a:gd name="connsiteX3" fmla="*/ 31994 w 36673"/>
              <a:gd name="connsiteY3" fmla="*/ 38742 h 45234"/>
              <a:gd name="connsiteX4" fmla="*/ 36564 w 36673"/>
              <a:gd name="connsiteY4" fmla="*/ 31396 h 45234"/>
              <a:gd name="connsiteX5" fmla="*/ 34018 w 36673"/>
              <a:gd name="connsiteY5" fmla="*/ 7911 h 45234"/>
              <a:gd name="connsiteX6" fmla="*/ 18458 w 36673"/>
              <a:gd name="connsiteY6" fmla="*/ -129 h 4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673" h="45234">
                <a:moveTo>
                  <a:pt x="18458" y="-129"/>
                </a:moveTo>
                <a:cubicBezTo>
                  <a:pt x="11690" y="-129"/>
                  <a:pt x="-110" y="16183"/>
                  <a:pt x="-110" y="19596"/>
                </a:cubicBezTo>
                <a:cubicBezTo>
                  <a:pt x="-110" y="23009"/>
                  <a:pt x="8336" y="44353"/>
                  <a:pt x="16723" y="44932"/>
                </a:cubicBezTo>
                <a:cubicBezTo>
                  <a:pt x="25110" y="45510"/>
                  <a:pt x="31357" y="44932"/>
                  <a:pt x="31994" y="38742"/>
                </a:cubicBezTo>
                <a:cubicBezTo>
                  <a:pt x="32515" y="35792"/>
                  <a:pt x="34134" y="33160"/>
                  <a:pt x="36564" y="31396"/>
                </a:cubicBezTo>
                <a:cubicBezTo>
                  <a:pt x="35927" y="26075"/>
                  <a:pt x="34481" y="14737"/>
                  <a:pt x="34018" y="7911"/>
                </a:cubicBezTo>
                <a:cubicBezTo>
                  <a:pt x="28871" y="4614"/>
                  <a:pt x="22623" y="-129"/>
                  <a:pt x="18458" y="-129"/>
                </a:cubicBezTo>
                <a:close/>
              </a:path>
            </a:pathLst>
          </a:custGeom>
          <a:solidFill>
            <a:schemeClr val="tx1">
              <a:lumMod val="20000"/>
              <a:lumOff val="80000"/>
            </a:schemeClr>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1" name="Forma libre: forma 10">
            <a:extLst>
              <a:ext uri="{FF2B5EF4-FFF2-40B4-BE49-F238E27FC236}">
                <a16:creationId xmlns:a16="http://schemas.microsoft.com/office/drawing/2014/main" id="{CFABF358-4128-82AF-E3DF-E837329E2245}"/>
              </a:ext>
            </a:extLst>
          </p:cNvPr>
          <p:cNvSpPr/>
          <p:nvPr/>
        </p:nvSpPr>
        <p:spPr>
          <a:xfrm>
            <a:off x="6906845" y="5287681"/>
            <a:ext cx="61661" cy="61894"/>
          </a:xfrm>
          <a:custGeom>
            <a:avLst/>
            <a:gdLst>
              <a:gd name="connsiteX0" fmla="*/ 43505 w 61661"/>
              <a:gd name="connsiteY0" fmla="*/ 1781 h 61894"/>
              <a:gd name="connsiteX1" fmla="*/ 16029 w 61661"/>
              <a:gd name="connsiteY1" fmla="*/ 13350 h 61894"/>
              <a:gd name="connsiteX2" fmla="*/ -110 w 61661"/>
              <a:gd name="connsiteY2" fmla="*/ 37586 h 61894"/>
              <a:gd name="connsiteX3" fmla="*/ 16029 w 61661"/>
              <a:gd name="connsiteY3" fmla="*/ 60203 h 61894"/>
              <a:gd name="connsiteX4" fmla="*/ 27597 w 61661"/>
              <a:gd name="connsiteY4" fmla="*/ 61765 h 61894"/>
              <a:gd name="connsiteX5" fmla="*/ 34076 w 61661"/>
              <a:gd name="connsiteY5" fmla="*/ 47246 h 61894"/>
              <a:gd name="connsiteX6" fmla="*/ 51835 w 61661"/>
              <a:gd name="connsiteY6" fmla="*/ 42387 h 61894"/>
              <a:gd name="connsiteX7" fmla="*/ 61552 w 61661"/>
              <a:gd name="connsiteY7" fmla="*/ 23009 h 61894"/>
              <a:gd name="connsiteX8" fmla="*/ 43505 w 61661"/>
              <a:gd name="connsiteY8" fmla="*/ 1781 h 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661" h="61894">
                <a:moveTo>
                  <a:pt x="43505" y="1781"/>
                </a:moveTo>
                <a:cubicBezTo>
                  <a:pt x="40266" y="-4640"/>
                  <a:pt x="19268" y="6639"/>
                  <a:pt x="16029" y="13350"/>
                </a:cubicBezTo>
                <a:cubicBezTo>
                  <a:pt x="12790" y="20059"/>
                  <a:pt x="-110" y="37586"/>
                  <a:pt x="-110" y="37586"/>
                </a:cubicBezTo>
                <a:lnTo>
                  <a:pt x="16029" y="60203"/>
                </a:lnTo>
                <a:lnTo>
                  <a:pt x="27597" y="61765"/>
                </a:lnTo>
                <a:cubicBezTo>
                  <a:pt x="27597" y="61765"/>
                  <a:pt x="30837" y="53725"/>
                  <a:pt x="34076" y="47246"/>
                </a:cubicBezTo>
                <a:cubicBezTo>
                  <a:pt x="37316" y="40768"/>
                  <a:pt x="51835" y="48924"/>
                  <a:pt x="51835" y="42387"/>
                </a:cubicBezTo>
                <a:cubicBezTo>
                  <a:pt x="51835" y="35851"/>
                  <a:pt x="61552" y="29488"/>
                  <a:pt x="61552" y="23009"/>
                </a:cubicBezTo>
                <a:cubicBezTo>
                  <a:pt x="61552" y="16531"/>
                  <a:pt x="46744" y="8259"/>
                  <a:pt x="43505" y="1781"/>
                </a:cubicBezTo>
                <a:close/>
              </a:path>
            </a:pathLst>
          </a:custGeom>
          <a:solidFill>
            <a:schemeClr val="tx1">
              <a:lumMod val="20000"/>
              <a:lumOff val="80000"/>
            </a:schemeClr>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2" name="Forma libre: forma 11">
            <a:extLst>
              <a:ext uri="{FF2B5EF4-FFF2-40B4-BE49-F238E27FC236}">
                <a16:creationId xmlns:a16="http://schemas.microsoft.com/office/drawing/2014/main" id="{21D9967A-70F5-8A9A-3989-F31E580F180A}"/>
              </a:ext>
            </a:extLst>
          </p:cNvPr>
          <p:cNvSpPr/>
          <p:nvPr/>
        </p:nvSpPr>
        <p:spPr>
          <a:xfrm>
            <a:off x="6625027" y="5096507"/>
            <a:ext cx="438054" cy="383483"/>
          </a:xfrm>
          <a:custGeom>
            <a:avLst/>
            <a:gdLst>
              <a:gd name="connsiteX0" fmla="*/ 417584 w 438054"/>
              <a:gd name="connsiteY0" fmla="*/ 143325 h 383483"/>
              <a:gd name="connsiteX1" fmla="*/ 417237 w 438054"/>
              <a:gd name="connsiteY1" fmla="*/ 140433 h 383483"/>
              <a:gd name="connsiteX2" fmla="*/ 412668 w 438054"/>
              <a:gd name="connsiteY2" fmla="*/ 147779 h 383483"/>
              <a:gd name="connsiteX3" fmla="*/ 397397 w 438054"/>
              <a:gd name="connsiteY3" fmla="*/ 153968 h 383483"/>
              <a:gd name="connsiteX4" fmla="*/ 380564 w 438054"/>
              <a:gd name="connsiteY4" fmla="*/ 128632 h 383483"/>
              <a:gd name="connsiteX5" fmla="*/ 399131 w 438054"/>
              <a:gd name="connsiteY5" fmla="*/ 108907 h 383483"/>
              <a:gd name="connsiteX6" fmla="*/ 414692 w 438054"/>
              <a:gd name="connsiteY6" fmla="*/ 116948 h 383483"/>
              <a:gd name="connsiteX7" fmla="*/ 414692 w 438054"/>
              <a:gd name="connsiteY7" fmla="*/ 111857 h 383483"/>
              <a:gd name="connsiteX8" fmla="*/ 412262 w 438054"/>
              <a:gd name="connsiteY8" fmla="*/ 62112 h 383483"/>
              <a:gd name="connsiteX9" fmla="*/ 395256 w 438054"/>
              <a:gd name="connsiteY9" fmla="*/ 11208 h 383483"/>
              <a:gd name="connsiteX10" fmla="*/ 363153 w 438054"/>
              <a:gd name="connsiteY10" fmla="*/ 4614 h 383483"/>
              <a:gd name="connsiteX11" fmla="*/ 337238 w 438054"/>
              <a:gd name="connsiteY11" fmla="*/ -129 h 383483"/>
              <a:gd name="connsiteX12" fmla="*/ 327868 w 438054"/>
              <a:gd name="connsiteY12" fmla="*/ 13059 h 383483"/>
              <a:gd name="connsiteX13" fmla="*/ 310919 w 438054"/>
              <a:gd name="connsiteY13" fmla="*/ 22777 h 383483"/>
              <a:gd name="connsiteX14" fmla="*/ 289112 w 438054"/>
              <a:gd name="connsiteY14" fmla="*/ 38974 h 383483"/>
              <a:gd name="connsiteX15" fmla="*/ 277543 w 438054"/>
              <a:gd name="connsiteY15" fmla="*/ 57484 h 383483"/>
              <a:gd name="connsiteX16" fmla="*/ 254405 w 438054"/>
              <a:gd name="connsiteY16" fmla="*/ 74490 h 383483"/>
              <a:gd name="connsiteX17" fmla="*/ 243936 w 438054"/>
              <a:gd name="connsiteY17" fmla="*/ 94678 h 383483"/>
              <a:gd name="connsiteX18" fmla="*/ 218079 w 438054"/>
              <a:gd name="connsiteY18" fmla="*/ 106767 h 383483"/>
              <a:gd name="connsiteX19" fmla="*/ 185744 w 438054"/>
              <a:gd name="connsiteY19" fmla="*/ 96297 h 383483"/>
              <a:gd name="connsiteX20" fmla="*/ 167176 w 438054"/>
              <a:gd name="connsiteY20" fmla="*/ 110816 h 383483"/>
              <a:gd name="connsiteX21" fmla="*/ 142129 w 438054"/>
              <a:gd name="connsiteY21" fmla="*/ 139102 h 383483"/>
              <a:gd name="connsiteX22" fmla="*/ 114711 w 438054"/>
              <a:gd name="connsiteY22" fmla="*/ 140722 h 383483"/>
              <a:gd name="connsiteX23" fmla="*/ 109853 w 438054"/>
              <a:gd name="connsiteY23" fmla="*/ 128575 h 383483"/>
              <a:gd name="connsiteX24" fmla="*/ 115637 w 438054"/>
              <a:gd name="connsiteY24" fmla="*/ 122154 h 383483"/>
              <a:gd name="connsiteX25" fmla="*/ 106729 w 438054"/>
              <a:gd name="connsiteY25" fmla="*/ 91439 h 383483"/>
              <a:gd name="connsiteX26" fmla="*/ 93772 w 438054"/>
              <a:gd name="connsiteY26" fmla="*/ 82935 h 383483"/>
              <a:gd name="connsiteX27" fmla="*/ 93772 w 438054"/>
              <a:gd name="connsiteY27" fmla="*/ 182717 h 383483"/>
              <a:gd name="connsiteX28" fmla="*/ 76071 w 438054"/>
              <a:gd name="connsiteY28" fmla="*/ 200475 h 383483"/>
              <a:gd name="connsiteX29" fmla="*/ 41365 w 438054"/>
              <a:gd name="connsiteY29" fmla="*/ 201285 h 383483"/>
              <a:gd name="connsiteX30" fmla="*/ 26846 w 438054"/>
              <a:gd name="connsiteY30" fmla="*/ 181907 h 383483"/>
              <a:gd name="connsiteX31" fmla="*/ 11459 w 438054"/>
              <a:gd name="connsiteY31" fmla="*/ 189947 h 383483"/>
              <a:gd name="connsiteX32" fmla="*/ -110 w 438054"/>
              <a:gd name="connsiteY32" fmla="*/ 192782 h 383483"/>
              <a:gd name="connsiteX33" fmla="*/ 20483 w 438054"/>
              <a:gd name="connsiteY33" fmla="*/ 236396 h 383483"/>
              <a:gd name="connsiteX34" fmla="*/ 46744 w 438054"/>
              <a:gd name="connsiteY34" fmla="*/ 290539 h 383483"/>
              <a:gd name="connsiteX35" fmla="*/ 46744 w 438054"/>
              <a:gd name="connsiteY35" fmla="*/ 315932 h 383483"/>
              <a:gd name="connsiteX36" fmla="*/ 47149 w 438054"/>
              <a:gd name="connsiteY36" fmla="*/ 338202 h 383483"/>
              <a:gd name="connsiteX37" fmla="*/ 55999 w 438054"/>
              <a:gd name="connsiteY37" fmla="*/ 361340 h 383483"/>
              <a:gd name="connsiteX38" fmla="*/ 67568 w 438054"/>
              <a:gd name="connsiteY38" fmla="*/ 368223 h 383483"/>
              <a:gd name="connsiteX39" fmla="*/ 82087 w 438054"/>
              <a:gd name="connsiteY39" fmla="*/ 379792 h 383483"/>
              <a:gd name="connsiteX40" fmla="*/ 98457 w 438054"/>
              <a:gd name="connsiteY40" fmla="*/ 380139 h 383483"/>
              <a:gd name="connsiteX41" fmla="*/ 99845 w 438054"/>
              <a:gd name="connsiteY41" fmla="*/ 378520 h 383483"/>
              <a:gd name="connsiteX42" fmla="*/ 132180 w 438054"/>
              <a:gd name="connsiteY42" fmla="*/ 370074 h 383483"/>
              <a:gd name="connsiteX43" fmla="*/ 157227 w 438054"/>
              <a:gd name="connsiteY43" fmla="*/ 359952 h 383483"/>
              <a:gd name="connsiteX44" fmla="*/ 199222 w 438054"/>
              <a:gd name="connsiteY44" fmla="*/ 359605 h 383483"/>
              <a:gd name="connsiteX45" fmla="*/ 225425 w 438054"/>
              <a:gd name="connsiteY45" fmla="*/ 356365 h 383483"/>
              <a:gd name="connsiteX46" fmla="*/ 242778 w 438054"/>
              <a:gd name="connsiteY46" fmla="*/ 352721 h 383483"/>
              <a:gd name="connsiteX47" fmla="*/ 265396 w 438054"/>
              <a:gd name="connsiteY47" fmla="*/ 345028 h 383483"/>
              <a:gd name="connsiteX48" fmla="*/ 321505 w 438054"/>
              <a:gd name="connsiteY48" fmla="*/ 309511 h 383483"/>
              <a:gd name="connsiteX49" fmla="*/ 385886 w 438054"/>
              <a:gd name="connsiteY49" fmla="*/ 230091 h 383483"/>
              <a:gd name="connsiteX50" fmla="*/ 425046 w 438054"/>
              <a:gd name="connsiteY50" fmla="*/ 186534 h 383483"/>
              <a:gd name="connsiteX51" fmla="*/ 437945 w 438054"/>
              <a:gd name="connsiteY51" fmla="*/ 141532 h 383483"/>
              <a:gd name="connsiteX52" fmla="*/ 417584 w 438054"/>
              <a:gd name="connsiteY52" fmla="*/ 143325 h 383483"/>
              <a:gd name="connsiteX53" fmla="*/ 333363 w 438054"/>
              <a:gd name="connsiteY53" fmla="*/ 233562 h 383483"/>
              <a:gd name="connsiteX54" fmla="*/ 315605 w 438054"/>
              <a:gd name="connsiteY54" fmla="*/ 238421 h 383483"/>
              <a:gd name="connsiteX55" fmla="*/ 309126 w 438054"/>
              <a:gd name="connsiteY55" fmla="*/ 252940 h 383483"/>
              <a:gd name="connsiteX56" fmla="*/ 297557 w 438054"/>
              <a:gd name="connsiteY56" fmla="*/ 251378 h 383483"/>
              <a:gd name="connsiteX57" fmla="*/ 281419 w 438054"/>
              <a:gd name="connsiteY57" fmla="*/ 228761 h 383483"/>
              <a:gd name="connsiteX58" fmla="*/ 297557 w 438054"/>
              <a:gd name="connsiteY58" fmla="*/ 204524 h 383483"/>
              <a:gd name="connsiteX59" fmla="*/ 325033 w 438054"/>
              <a:gd name="connsiteY59" fmla="*/ 192955 h 383483"/>
              <a:gd name="connsiteX60" fmla="*/ 342791 w 438054"/>
              <a:gd name="connsiteY60" fmla="*/ 213953 h 383483"/>
              <a:gd name="connsiteX61" fmla="*/ 333363 w 438054"/>
              <a:gd name="connsiteY61" fmla="*/ 233330 h 38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38054" h="383483">
                <a:moveTo>
                  <a:pt x="417584" y="143325"/>
                </a:moveTo>
                <a:cubicBezTo>
                  <a:pt x="417584" y="143325"/>
                  <a:pt x="417584" y="142226"/>
                  <a:pt x="417237" y="140433"/>
                </a:cubicBezTo>
                <a:cubicBezTo>
                  <a:pt x="414808" y="142197"/>
                  <a:pt x="413188" y="144829"/>
                  <a:pt x="412668" y="147779"/>
                </a:cubicBezTo>
                <a:cubicBezTo>
                  <a:pt x="412031" y="153968"/>
                  <a:pt x="405900" y="154489"/>
                  <a:pt x="397397" y="153968"/>
                </a:cubicBezTo>
                <a:cubicBezTo>
                  <a:pt x="388893" y="153448"/>
                  <a:pt x="380564" y="131987"/>
                  <a:pt x="380564" y="128632"/>
                </a:cubicBezTo>
                <a:cubicBezTo>
                  <a:pt x="380564" y="125277"/>
                  <a:pt x="392133" y="108907"/>
                  <a:pt x="399131" y="108907"/>
                </a:cubicBezTo>
                <a:cubicBezTo>
                  <a:pt x="403470" y="108907"/>
                  <a:pt x="409717" y="113593"/>
                  <a:pt x="414692" y="116948"/>
                </a:cubicBezTo>
                <a:cubicBezTo>
                  <a:pt x="414576" y="115253"/>
                  <a:pt x="414576" y="113552"/>
                  <a:pt x="414692" y="111857"/>
                </a:cubicBezTo>
                <a:cubicBezTo>
                  <a:pt x="415270" y="108213"/>
                  <a:pt x="419551" y="66392"/>
                  <a:pt x="412262" y="62112"/>
                </a:cubicBezTo>
                <a:cubicBezTo>
                  <a:pt x="404974" y="57831"/>
                  <a:pt x="397743" y="15489"/>
                  <a:pt x="395256" y="11208"/>
                </a:cubicBezTo>
                <a:cubicBezTo>
                  <a:pt x="392769" y="6928"/>
                  <a:pt x="366334" y="9473"/>
                  <a:pt x="363153" y="4614"/>
                </a:cubicBezTo>
                <a:cubicBezTo>
                  <a:pt x="359971" y="-245"/>
                  <a:pt x="337701" y="4614"/>
                  <a:pt x="337238" y="-129"/>
                </a:cubicBezTo>
                <a:cubicBezTo>
                  <a:pt x="333710" y="5077"/>
                  <a:pt x="329834" y="10746"/>
                  <a:pt x="327868" y="13059"/>
                </a:cubicBezTo>
                <a:cubicBezTo>
                  <a:pt x="323818" y="17976"/>
                  <a:pt x="312481" y="14679"/>
                  <a:pt x="310919" y="22777"/>
                </a:cubicBezTo>
                <a:cubicBezTo>
                  <a:pt x="309357" y="30875"/>
                  <a:pt x="295533" y="38974"/>
                  <a:pt x="289112" y="38974"/>
                </a:cubicBezTo>
                <a:cubicBezTo>
                  <a:pt x="282691" y="38974"/>
                  <a:pt x="277543" y="50196"/>
                  <a:pt x="277543" y="57484"/>
                </a:cubicBezTo>
                <a:cubicBezTo>
                  <a:pt x="277543" y="64772"/>
                  <a:pt x="264644" y="74490"/>
                  <a:pt x="254405" y="74490"/>
                </a:cubicBezTo>
                <a:cubicBezTo>
                  <a:pt x="244167" y="74490"/>
                  <a:pt x="247174" y="83340"/>
                  <a:pt x="243936" y="94678"/>
                </a:cubicBezTo>
                <a:cubicBezTo>
                  <a:pt x="240696" y="106015"/>
                  <a:pt x="235837" y="106767"/>
                  <a:pt x="218079" y="106767"/>
                </a:cubicBezTo>
                <a:cubicBezTo>
                  <a:pt x="200321" y="106767"/>
                  <a:pt x="199511" y="105148"/>
                  <a:pt x="185744" y="96297"/>
                </a:cubicBezTo>
                <a:cubicBezTo>
                  <a:pt x="171977" y="87447"/>
                  <a:pt x="167986" y="103586"/>
                  <a:pt x="167176" y="110816"/>
                </a:cubicBezTo>
                <a:cubicBezTo>
                  <a:pt x="166366" y="118047"/>
                  <a:pt x="147798" y="132624"/>
                  <a:pt x="142129" y="139102"/>
                </a:cubicBezTo>
                <a:cubicBezTo>
                  <a:pt x="136461" y="145581"/>
                  <a:pt x="122752" y="140722"/>
                  <a:pt x="114711" y="140722"/>
                </a:cubicBezTo>
                <a:cubicBezTo>
                  <a:pt x="106671" y="140722"/>
                  <a:pt x="109853" y="133433"/>
                  <a:pt x="109853" y="128575"/>
                </a:cubicBezTo>
                <a:cubicBezTo>
                  <a:pt x="109853" y="123715"/>
                  <a:pt x="113901" y="126955"/>
                  <a:pt x="115637" y="122154"/>
                </a:cubicBezTo>
                <a:cubicBezTo>
                  <a:pt x="117372" y="117353"/>
                  <a:pt x="109853" y="99479"/>
                  <a:pt x="106729" y="91439"/>
                </a:cubicBezTo>
                <a:cubicBezTo>
                  <a:pt x="105340" y="87910"/>
                  <a:pt x="99730" y="85076"/>
                  <a:pt x="93772" y="82935"/>
                </a:cubicBezTo>
                <a:lnTo>
                  <a:pt x="93772" y="182717"/>
                </a:lnTo>
                <a:cubicBezTo>
                  <a:pt x="93772" y="191567"/>
                  <a:pt x="79253" y="195616"/>
                  <a:pt x="76071" y="200475"/>
                </a:cubicBezTo>
                <a:cubicBezTo>
                  <a:pt x="72890" y="205334"/>
                  <a:pt x="52587" y="201285"/>
                  <a:pt x="41365" y="201285"/>
                </a:cubicBezTo>
                <a:cubicBezTo>
                  <a:pt x="30143" y="201285"/>
                  <a:pt x="32515" y="189716"/>
                  <a:pt x="26846" y="181907"/>
                </a:cubicBezTo>
                <a:cubicBezTo>
                  <a:pt x="21177" y="174098"/>
                  <a:pt x="11459" y="184337"/>
                  <a:pt x="11459" y="189947"/>
                </a:cubicBezTo>
                <a:cubicBezTo>
                  <a:pt x="11459" y="194228"/>
                  <a:pt x="6427" y="193418"/>
                  <a:pt x="-110" y="192782"/>
                </a:cubicBezTo>
                <a:cubicBezTo>
                  <a:pt x="8573" y="206392"/>
                  <a:pt x="15491" y="221044"/>
                  <a:pt x="20483" y="236396"/>
                </a:cubicBezTo>
                <a:cubicBezTo>
                  <a:pt x="26962" y="257856"/>
                  <a:pt x="42695" y="277986"/>
                  <a:pt x="46744" y="290539"/>
                </a:cubicBezTo>
                <a:cubicBezTo>
                  <a:pt x="50793" y="303091"/>
                  <a:pt x="55247" y="314775"/>
                  <a:pt x="46744" y="315932"/>
                </a:cubicBezTo>
                <a:cubicBezTo>
                  <a:pt x="38241" y="317089"/>
                  <a:pt x="38241" y="324435"/>
                  <a:pt x="47149" y="338202"/>
                </a:cubicBezTo>
                <a:cubicBezTo>
                  <a:pt x="56057" y="351969"/>
                  <a:pt x="48364" y="360010"/>
                  <a:pt x="55999" y="361340"/>
                </a:cubicBezTo>
                <a:cubicBezTo>
                  <a:pt x="63635" y="362670"/>
                  <a:pt x="61263" y="367818"/>
                  <a:pt x="67568" y="368223"/>
                </a:cubicBezTo>
                <a:cubicBezTo>
                  <a:pt x="73873" y="368628"/>
                  <a:pt x="78096" y="374702"/>
                  <a:pt x="82087" y="379792"/>
                </a:cubicBezTo>
                <a:cubicBezTo>
                  <a:pt x="86506" y="384402"/>
                  <a:pt x="93830" y="384558"/>
                  <a:pt x="98457" y="380139"/>
                </a:cubicBezTo>
                <a:cubicBezTo>
                  <a:pt x="98978" y="379642"/>
                  <a:pt x="99440" y="379098"/>
                  <a:pt x="99845" y="378520"/>
                </a:cubicBezTo>
                <a:cubicBezTo>
                  <a:pt x="104299" y="372099"/>
                  <a:pt x="118008" y="370074"/>
                  <a:pt x="132180" y="370074"/>
                </a:cubicBezTo>
                <a:cubicBezTo>
                  <a:pt x="146352" y="370074"/>
                  <a:pt x="143460" y="364001"/>
                  <a:pt x="157227" y="359952"/>
                </a:cubicBezTo>
                <a:cubicBezTo>
                  <a:pt x="170878" y="355822"/>
                  <a:pt x="185455" y="355700"/>
                  <a:pt x="199222" y="359605"/>
                </a:cubicBezTo>
                <a:cubicBezTo>
                  <a:pt x="207956" y="362809"/>
                  <a:pt x="217732" y="361600"/>
                  <a:pt x="225425" y="356365"/>
                </a:cubicBezTo>
                <a:cubicBezTo>
                  <a:pt x="231210" y="352721"/>
                  <a:pt x="242027" y="362150"/>
                  <a:pt x="242778" y="352721"/>
                </a:cubicBezTo>
                <a:cubicBezTo>
                  <a:pt x="243530" y="343293"/>
                  <a:pt x="254868" y="345028"/>
                  <a:pt x="265396" y="345028"/>
                </a:cubicBezTo>
                <a:cubicBezTo>
                  <a:pt x="275924" y="345028"/>
                  <a:pt x="301317" y="328484"/>
                  <a:pt x="321505" y="309511"/>
                </a:cubicBezTo>
                <a:cubicBezTo>
                  <a:pt x="345568" y="285275"/>
                  <a:pt x="367143" y="258666"/>
                  <a:pt x="385886" y="230091"/>
                </a:cubicBezTo>
                <a:cubicBezTo>
                  <a:pt x="397454" y="211118"/>
                  <a:pt x="415791" y="194980"/>
                  <a:pt x="425046" y="186534"/>
                </a:cubicBezTo>
                <a:cubicBezTo>
                  <a:pt x="432045" y="180114"/>
                  <a:pt x="436036" y="157612"/>
                  <a:pt x="437945" y="141532"/>
                </a:cubicBezTo>
                <a:cubicBezTo>
                  <a:pt x="431120" y="141647"/>
                  <a:pt x="424294" y="142249"/>
                  <a:pt x="417584" y="143325"/>
                </a:cubicBezTo>
                <a:close/>
                <a:moveTo>
                  <a:pt x="333363" y="233562"/>
                </a:moveTo>
                <a:cubicBezTo>
                  <a:pt x="333363" y="240098"/>
                  <a:pt x="318844" y="232000"/>
                  <a:pt x="315605" y="238421"/>
                </a:cubicBezTo>
                <a:cubicBezTo>
                  <a:pt x="312365" y="244841"/>
                  <a:pt x="309126" y="252940"/>
                  <a:pt x="309126" y="252940"/>
                </a:cubicBezTo>
                <a:lnTo>
                  <a:pt x="297557" y="251378"/>
                </a:lnTo>
                <a:lnTo>
                  <a:pt x="281419" y="228761"/>
                </a:lnTo>
                <a:cubicBezTo>
                  <a:pt x="281419" y="228761"/>
                  <a:pt x="294318" y="211003"/>
                  <a:pt x="297557" y="204524"/>
                </a:cubicBezTo>
                <a:cubicBezTo>
                  <a:pt x="300796" y="198046"/>
                  <a:pt x="321794" y="186766"/>
                  <a:pt x="325033" y="192955"/>
                </a:cubicBezTo>
                <a:cubicBezTo>
                  <a:pt x="328272" y="199145"/>
                  <a:pt x="342791" y="207532"/>
                  <a:pt x="342791" y="213953"/>
                </a:cubicBezTo>
                <a:cubicBezTo>
                  <a:pt x="342791" y="220373"/>
                  <a:pt x="333363" y="226910"/>
                  <a:pt x="333363" y="23333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 name="Forma libre: forma 12">
            <a:extLst>
              <a:ext uri="{FF2B5EF4-FFF2-40B4-BE49-F238E27FC236}">
                <a16:creationId xmlns:a16="http://schemas.microsoft.com/office/drawing/2014/main" id="{EDB8A2EB-890F-EE01-A603-5CAFD994D410}"/>
              </a:ext>
            </a:extLst>
          </p:cNvPr>
          <p:cNvSpPr/>
          <p:nvPr/>
        </p:nvSpPr>
        <p:spPr>
          <a:xfrm>
            <a:off x="6507849" y="4644119"/>
            <a:ext cx="319690" cy="335716"/>
          </a:xfrm>
          <a:custGeom>
            <a:avLst/>
            <a:gdLst>
              <a:gd name="connsiteX0" fmla="*/ 18386 w 319690"/>
              <a:gd name="connsiteY0" fmla="*/ 310598 h 335716"/>
              <a:gd name="connsiteX1" fmla="*/ 30649 w 319690"/>
              <a:gd name="connsiteY1" fmla="*/ 316093 h 335716"/>
              <a:gd name="connsiteX2" fmla="*/ 56563 w 319690"/>
              <a:gd name="connsiteY2" fmla="*/ 317481 h 335716"/>
              <a:gd name="connsiteX3" fmla="*/ 81147 w 319690"/>
              <a:gd name="connsiteY3" fmla="*/ 324249 h 335716"/>
              <a:gd name="connsiteX4" fmla="*/ 175202 w 319690"/>
              <a:gd name="connsiteY4" fmla="*/ 324249 h 335716"/>
              <a:gd name="connsiteX5" fmla="*/ 184746 w 319690"/>
              <a:gd name="connsiteY5" fmla="*/ 333851 h 335716"/>
              <a:gd name="connsiteX6" fmla="*/ 244846 w 319690"/>
              <a:gd name="connsiteY6" fmla="*/ 333851 h 335716"/>
              <a:gd name="connsiteX7" fmla="*/ 287188 w 319690"/>
              <a:gd name="connsiteY7" fmla="*/ 331074 h 335716"/>
              <a:gd name="connsiteX8" fmla="*/ 294651 w 319690"/>
              <a:gd name="connsiteY8" fmla="*/ 329281 h 335716"/>
              <a:gd name="connsiteX9" fmla="*/ 263530 w 319690"/>
              <a:gd name="connsiteY9" fmla="*/ 286708 h 335716"/>
              <a:gd name="connsiteX10" fmla="*/ 266307 w 319690"/>
              <a:gd name="connsiteY10" fmla="*/ 195835 h 335716"/>
              <a:gd name="connsiteX11" fmla="*/ 306798 w 319690"/>
              <a:gd name="connsiteY11" fmla="*/ 197281 h 335716"/>
              <a:gd name="connsiteX12" fmla="*/ 313797 w 319690"/>
              <a:gd name="connsiteY12" fmla="*/ 190224 h 335716"/>
              <a:gd name="connsiteX13" fmla="*/ 319581 w 319690"/>
              <a:gd name="connsiteY13" fmla="*/ 135966 h 335716"/>
              <a:gd name="connsiteX14" fmla="*/ 312177 w 319690"/>
              <a:gd name="connsiteY14" fmla="*/ 135966 h 335716"/>
              <a:gd name="connsiteX15" fmla="*/ 287940 w 319690"/>
              <a:gd name="connsiteY15" fmla="*/ 138337 h 335716"/>
              <a:gd name="connsiteX16" fmla="*/ 273421 w 319690"/>
              <a:gd name="connsiteY16" fmla="*/ 145626 h 335716"/>
              <a:gd name="connsiteX17" fmla="*/ 273421 w 319690"/>
              <a:gd name="connsiteY17" fmla="*/ 123818 h 335716"/>
              <a:gd name="connsiteX18" fmla="*/ 260059 w 319690"/>
              <a:gd name="connsiteY18" fmla="*/ 102011 h 335716"/>
              <a:gd name="connsiteX19" fmla="*/ 263704 w 319690"/>
              <a:gd name="connsiteY19" fmla="*/ 63255 h 335716"/>
              <a:gd name="connsiteX20" fmla="*/ 258845 w 319690"/>
              <a:gd name="connsiteY20" fmla="*/ 41448 h 335716"/>
              <a:gd name="connsiteX21" fmla="*/ 240682 w 319690"/>
              <a:gd name="connsiteY21" fmla="*/ 37804 h 335716"/>
              <a:gd name="connsiteX22" fmla="*/ 227378 w 319690"/>
              <a:gd name="connsiteY22" fmla="*/ 32019 h 335716"/>
              <a:gd name="connsiteX23" fmla="*/ 205570 w 319690"/>
              <a:gd name="connsiteY23" fmla="*/ 32019 h 335716"/>
              <a:gd name="connsiteX24" fmla="*/ 194638 w 319690"/>
              <a:gd name="connsiteY24" fmla="*/ 56256 h 335716"/>
              <a:gd name="connsiteX25" fmla="*/ 163170 w 319690"/>
              <a:gd name="connsiteY25" fmla="*/ 61115 h 335716"/>
              <a:gd name="connsiteX26" fmla="*/ 140033 w 319690"/>
              <a:gd name="connsiteY26" fmla="*/ 44167 h 335716"/>
              <a:gd name="connsiteX27" fmla="*/ 129100 w 319690"/>
              <a:gd name="connsiteY27" fmla="*/ 23574 h 335716"/>
              <a:gd name="connsiteX28" fmla="*/ 124299 w 319690"/>
              <a:gd name="connsiteY28" fmla="*/ 437 h 335716"/>
              <a:gd name="connsiteX29" fmla="*/ 35797 w 319690"/>
              <a:gd name="connsiteY29" fmla="*/ 437 h 335716"/>
              <a:gd name="connsiteX30" fmla="*/ 20411 w 319690"/>
              <a:gd name="connsiteY30" fmla="*/ 8824 h 335716"/>
              <a:gd name="connsiteX31" fmla="*/ 44300 w 319690"/>
              <a:gd name="connsiteY31" fmla="*/ 65859 h 335716"/>
              <a:gd name="connsiteX32" fmla="*/ 39904 w 319690"/>
              <a:gd name="connsiteY32" fmla="*/ 94491 h 335716"/>
              <a:gd name="connsiteX33" fmla="*/ 56795 w 319690"/>
              <a:gd name="connsiteY33" fmla="*/ 151873 h 335716"/>
              <a:gd name="connsiteX34" fmla="*/ 37475 w 319690"/>
              <a:gd name="connsiteY34" fmla="*/ 191438 h 335716"/>
              <a:gd name="connsiteX35" fmla="*/ 17634 w 319690"/>
              <a:gd name="connsiteY35" fmla="*/ 243903 h 335716"/>
              <a:gd name="connsiteX36" fmla="*/ 3520 w 319690"/>
              <a:gd name="connsiteY36" fmla="*/ 282312 h 335716"/>
              <a:gd name="connsiteX37" fmla="*/ -66 w 319690"/>
              <a:gd name="connsiteY37" fmla="*/ 319043 h 335716"/>
              <a:gd name="connsiteX38" fmla="*/ -66 w 319690"/>
              <a:gd name="connsiteY38" fmla="*/ 320084 h 335716"/>
              <a:gd name="connsiteX39" fmla="*/ 8437 w 319690"/>
              <a:gd name="connsiteY39" fmla="*/ 317886 h 335716"/>
              <a:gd name="connsiteX40" fmla="*/ 18386 w 319690"/>
              <a:gd name="connsiteY40" fmla="*/ 310598 h 33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9690" h="335716">
                <a:moveTo>
                  <a:pt x="18386" y="310598"/>
                </a:moveTo>
                <a:cubicBezTo>
                  <a:pt x="25212" y="310598"/>
                  <a:pt x="21105" y="320200"/>
                  <a:pt x="30649" y="316093"/>
                </a:cubicBezTo>
                <a:cubicBezTo>
                  <a:pt x="38875" y="311697"/>
                  <a:pt x="48859" y="312229"/>
                  <a:pt x="56563" y="317481"/>
                </a:cubicBezTo>
                <a:cubicBezTo>
                  <a:pt x="63794" y="322375"/>
                  <a:pt x="72430" y="324752"/>
                  <a:pt x="81147" y="324249"/>
                </a:cubicBezTo>
                <a:lnTo>
                  <a:pt x="175202" y="324249"/>
                </a:lnTo>
                <a:lnTo>
                  <a:pt x="184746" y="333851"/>
                </a:lnTo>
                <a:cubicBezTo>
                  <a:pt x="184746" y="333851"/>
                  <a:pt x="236806" y="329744"/>
                  <a:pt x="244846" y="333851"/>
                </a:cubicBezTo>
                <a:cubicBezTo>
                  <a:pt x="252887" y="337958"/>
                  <a:pt x="278975" y="333851"/>
                  <a:pt x="287188" y="331074"/>
                </a:cubicBezTo>
                <a:cubicBezTo>
                  <a:pt x="289618" y="330351"/>
                  <a:pt x="292163" y="329755"/>
                  <a:pt x="294651" y="329281"/>
                </a:cubicBezTo>
                <a:lnTo>
                  <a:pt x="263530" y="286708"/>
                </a:lnTo>
                <a:lnTo>
                  <a:pt x="266307" y="195835"/>
                </a:lnTo>
                <a:lnTo>
                  <a:pt x="306798" y="197281"/>
                </a:lnTo>
                <a:lnTo>
                  <a:pt x="313797" y="190224"/>
                </a:lnTo>
                <a:lnTo>
                  <a:pt x="319581" y="135966"/>
                </a:lnTo>
                <a:cubicBezTo>
                  <a:pt x="317268" y="134826"/>
                  <a:pt x="314491" y="134826"/>
                  <a:pt x="312177" y="135966"/>
                </a:cubicBezTo>
                <a:cubicBezTo>
                  <a:pt x="304368" y="138522"/>
                  <a:pt x="296097" y="139332"/>
                  <a:pt x="287940" y="138337"/>
                </a:cubicBezTo>
                <a:cubicBezTo>
                  <a:pt x="279438" y="138337"/>
                  <a:pt x="278281" y="146841"/>
                  <a:pt x="273421" y="145626"/>
                </a:cubicBezTo>
                <a:cubicBezTo>
                  <a:pt x="268563" y="144411"/>
                  <a:pt x="272207" y="129834"/>
                  <a:pt x="273421" y="123818"/>
                </a:cubicBezTo>
                <a:cubicBezTo>
                  <a:pt x="274636" y="117803"/>
                  <a:pt x="266133" y="106870"/>
                  <a:pt x="260059" y="102011"/>
                </a:cubicBezTo>
                <a:cubicBezTo>
                  <a:pt x="253986" y="97152"/>
                  <a:pt x="267348" y="66900"/>
                  <a:pt x="263704" y="63255"/>
                </a:cubicBezTo>
                <a:cubicBezTo>
                  <a:pt x="260059" y="59611"/>
                  <a:pt x="258845" y="49951"/>
                  <a:pt x="258845" y="41448"/>
                </a:cubicBezTo>
                <a:cubicBezTo>
                  <a:pt x="258845" y="32945"/>
                  <a:pt x="253061" y="37804"/>
                  <a:pt x="240682" y="37804"/>
                </a:cubicBezTo>
                <a:cubicBezTo>
                  <a:pt x="228303" y="37804"/>
                  <a:pt x="227378" y="32019"/>
                  <a:pt x="227378" y="32019"/>
                </a:cubicBezTo>
                <a:cubicBezTo>
                  <a:pt x="227378" y="32019"/>
                  <a:pt x="212801" y="28375"/>
                  <a:pt x="205570" y="32019"/>
                </a:cubicBezTo>
                <a:cubicBezTo>
                  <a:pt x="198340" y="35664"/>
                  <a:pt x="199786" y="57471"/>
                  <a:pt x="194638" y="56256"/>
                </a:cubicBezTo>
                <a:cubicBezTo>
                  <a:pt x="189489" y="55042"/>
                  <a:pt x="175260" y="57471"/>
                  <a:pt x="163170" y="61115"/>
                </a:cubicBezTo>
                <a:cubicBezTo>
                  <a:pt x="151081" y="64759"/>
                  <a:pt x="146222" y="58628"/>
                  <a:pt x="140033" y="44167"/>
                </a:cubicBezTo>
                <a:cubicBezTo>
                  <a:pt x="133843" y="29706"/>
                  <a:pt x="126671" y="34449"/>
                  <a:pt x="129100" y="23574"/>
                </a:cubicBezTo>
                <a:cubicBezTo>
                  <a:pt x="130089" y="15546"/>
                  <a:pt x="128400" y="7413"/>
                  <a:pt x="124299" y="437"/>
                </a:cubicBezTo>
                <a:cubicBezTo>
                  <a:pt x="124299" y="437"/>
                  <a:pt x="44300" y="-836"/>
                  <a:pt x="35797" y="437"/>
                </a:cubicBezTo>
                <a:cubicBezTo>
                  <a:pt x="30198" y="2264"/>
                  <a:pt x="24981" y="5110"/>
                  <a:pt x="20411" y="8824"/>
                </a:cubicBezTo>
                <a:cubicBezTo>
                  <a:pt x="25328" y="27450"/>
                  <a:pt x="40830" y="58512"/>
                  <a:pt x="44300" y="65859"/>
                </a:cubicBezTo>
                <a:cubicBezTo>
                  <a:pt x="47771" y="73205"/>
                  <a:pt x="39904" y="80377"/>
                  <a:pt x="39904" y="94491"/>
                </a:cubicBezTo>
                <a:cubicBezTo>
                  <a:pt x="39904" y="108605"/>
                  <a:pt x="55175" y="134520"/>
                  <a:pt x="56795" y="151873"/>
                </a:cubicBezTo>
                <a:cubicBezTo>
                  <a:pt x="58414" y="169226"/>
                  <a:pt x="47135" y="180101"/>
                  <a:pt x="37475" y="191438"/>
                </a:cubicBezTo>
                <a:cubicBezTo>
                  <a:pt x="26004" y="206686"/>
                  <a:pt x="19127" y="224884"/>
                  <a:pt x="17634" y="243903"/>
                </a:cubicBezTo>
                <a:cubicBezTo>
                  <a:pt x="17634" y="259694"/>
                  <a:pt x="3173" y="275023"/>
                  <a:pt x="3520" y="282312"/>
                </a:cubicBezTo>
                <a:cubicBezTo>
                  <a:pt x="3318" y="294633"/>
                  <a:pt x="2120" y="306919"/>
                  <a:pt x="-66" y="319043"/>
                </a:cubicBezTo>
                <a:cubicBezTo>
                  <a:pt x="-124" y="319390"/>
                  <a:pt x="-124" y="319737"/>
                  <a:pt x="-66" y="320084"/>
                </a:cubicBezTo>
                <a:lnTo>
                  <a:pt x="8437" y="317886"/>
                </a:lnTo>
                <a:cubicBezTo>
                  <a:pt x="9987" y="313681"/>
                  <a:pt x="13909" y="310806"/>
                  <a:pt x="18386" y="310598"/>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 name="Forma libre: forma 13">
            <a:extLst>
              <a:ext uri="{FF2B5EF4-FFF2-40B4-BE49-F238E27FC236}">
                <a16:creationId xmlns:a16="http://schemas.microsoft.com/office/drawing/2014/main" id="{DE97DD09-8611-8D53-2612-9FDC52B118CE}"/>
              </a:ext>
            </a:extLst>
          </p:cNvPr>
          <p:cNvSpPr/>
          <p:nvPr/>
        </p:nvSpPr>
        <p:spPr>
          <a:xfrm>
            <a:off x="6771952" y="4707214"/>
            <a:ext cx="314152" cy="275010"/>
          </a:xfrm>
          <a:custGeom>
            <a:avLst/>
            <a:gdLst>
              <a:gd name="connsiteX0" fmla="*/ 241506 w 314152"/>
              <a:gd name="connsiteY0" fmla="*/ 11093 h 275010"/>
              <a:gd name="connsiteX1" fmla="*/ 221781 w 314152"/>
              <a:gd name="connsiteY1" fmla="*/ -129 h 275010"/>
              <a:gd name="connsiteX2" fmla="*/ 188868 w 314152"/>
              <a:gd name="connsiteY2" fmla="*/ 4788 h 275010"/>
              <a:gd name="connsiteX3" fmla="*/ 181637 w 314152"/>
              <a:gd name="connsiteY3" fmla="*/ 22951 h 275010"/>
              <a:gd name="connsiteX4" fmla="*/ 177993 w 314152"/>
              <a:gd name="connsiteY4" fmla="*/ 37470 h 275010"/>
              <a:gd name="connsiteX5" fmla="*/ 176779 w 314152"/>
              <a:gd name="connsiteY5" fmla="*/ 67780 h 275010"/>
              <a:gd name="connsiteX6" fmla="*/ 170994 w 314152"/>
              <a:gd name="connsiteY6" fmla="*/ 93174 h 275010"/>
              <a:gd name="connsiteX7" fmla="*/ 189157 w 314152"/>
              <a:gd name="connsiteY7" fmla="*/ 114981 h 275010"/>
              <a:gd name="connsiteX8" fmla="*/ 207320 w 314152"/>
              <a:gd name="connsiteY8" fmla="*/ 109197 h 275010"/>
              <a:gd name="connsiteX9" fmla="*/ 210964 w 314152"/>
              <a:gd name="connsiteY9" fmla="*/ 128575 h 275010"/>
              <a:gd name="connsiteX10" fmla="*/ 206105 w 314152"/>
              <a:gd name="connsiteY10" fmla="*/ 140664 h 275010"/>
              <a:gd name="connsiteX11" fmla="*/ 186728 w 314152"/>
              <a:gd name="connsiteY11" fmla="*/ 140664 h 275010"/>
              <a:gd name="connsiteX12" fmla="*/ 175853 w 314152"/>
              <a:gd name="connsiteY12" fmla="*/ 117526 h 275010"/>
              <a:gd name="connsiteX13" fmla="*/ 155260 w 314152"/>
              <a:gd name="connsiteY13" fmla="*/ 112667 h 275010"/>
              <a:gd name="connsiteX14" fmla="*/ 140741 w 314152"/>
              <a:gd name="connsiteY14" fmla="*/ 96876 h 275010"/>
              <a:gd name="connsiteX15" fmla="*/ 131024 w 314152"/>
              <a:gd name="connsiteY15" fmla="*/ 101735 h 275010"/>
              <a:gd name="connsiteX16" fmla="*/ 118934 w 314152"/>
              <a:gd name="connsiteY16" fmla="*/ 105379 h 275010"/>
              <a:gd name="connsiteX17" fmla="*/ 95797 w 314152"/>
              <a:gd name="connsiteY17" fmla="*/ 98090 h 275010"/>
              <a:gd name="connsiteX18" fmla="*/ 87293 w 314152"/>
              <a:gd name="connsiteY18" fmla="*/ 84786 h 275010"/>
              <a:gd name="connsiteX19" fmla="*/ 70345 w 314152"/>
              <a:gd name="connsiteY19" fmla="*/ 86001 h 275010"/>
              <a:gd name="connsiteX20" fmla="*/ 63057 w 314152"/>
              <a:gd name="connsiteY20" fmla="*/ 80216 h 275010"/>
              <a:gd name="connsiteX21" fmla="*/ 55942 w 314152"/>
              <a:gd name="connsiteY21" fmla="*/ 73218 h 275010"/>
              <a:gd name="connsiteX22" fmla="*/ 50157 w 314152"/>
              <a:gd name="connsiteY22" fmla="*/ 127475 h 275010"/>
              <a:gd name="connsiteX23" fmla="*/ 43158 w 314152"/>
              <a:gd name="connsiteY23" fmla="*/ 134532 h 275010"/>
              <a:gd name="connsiteX24" fmla="*/ 2667 w 314152"/>
              <a:gd name="connsiteY24" fmla="*/ 133086 h 275010"/>
              <a:gd name="connsiteX25" fmla="*/ -110 w 314152"/>
              <a:gd name="connsiteY25" fmla="*/ 223960 h 275010"/>
              <a:gd name="connsiteX26" fmla="*/ 31011 w 314152"/>
              <a:gd name="connsiteY26" fmla="*/ 266533 h 275010"/>
              <a:gd name="connsiteX27" fmla="*/ 80930 w 314152"/>
              <a:gd name="connsiteY27" fmla="*/ 264277 h 275010"/>
              <a:gd name="connsiteX28" fmla="*/ 83128 w 314152"/>
              <a:gd name="connsiteY28" fmla="*/ 270582 h 275010"/>
              <a:gd name="connsiteX29" fmla="*/ 97069 w 314152"/>
              <a:gd name="connsiteY29" fmla="*/ 268384 h 275010"/>
              <a:gd name="connsiteX30" fmla="*/ 131776 w 314152"/>
              <a:gd name="connsiteY30" fmla="*/ 274169 h 275010"/>
              <a:gd name="connsiteX31" fmla="*/ 160062 w 314152"/>
              <a:gd name="connsiteY31" fmla="*/ 243511 h 275010"/>
              <a:gd name="connsiteX32" fmla="*/ 185108 w 314152"/>
              <a:gd name="connsiteY32" fmla="*/ 224133 h 275010"/>
              <a:gd name="connsiteX33" fmla="*/ 200437 w 314152"/>
              <a:gd name="connsiteY33" fmla="*/ 210366 h 275010"/>
              <a:gd name="connsiteX34" fmla="*/ 223575 w 314152"/>
              <a:gd name="connsiteY34" fmla="*/ 209614 h 275010"/>
              <a:gd name="connsiteX35" fmla="*/ 225194 w 314152"/>
              <a:gd name="connsiteY35" fmla="*/ 209614 h 275010"/>
              <a:gd name="connsiteX36" fmla="*/ 219410 w 314152"/>
              <a:gd name="connsiteY36" fmla="*/ 189427 h 275010"/>
              <a:gd name="connsiteX37" fmla="*/ 295070 w 314152"/>
              <a:gd name="connsiteY37" fmla="*/ 162008 h 275010"/>
              <a:gd name="connsiteX38" fmla="*/ 290269 w 314152"/>
              <a:gd name="connsiteY38" fmla="*/ 150035 h 275010"/>
              <a:gd name="connsiteX39" fmla="*/ 294434 w 314152"/>
              <a:gd name="connsiteY39" fmla="*/ 123484 h 275010"/>
              <a:gd name="connsiteX40" fmla="*/ 305597 w 314152"/>
              <a:gd name="connsiteY40" fmla="*/ 116485 h 275010"/>
              <a:gd name="connsiteX41" fmla="*/ 304209 w 314152"/>
              <a:gd name="connsiteY41" fmla="*/ 71714 h 275010"/>
              <a:gd name="connsiteX42" fmla="*/ 314043 w 314152"/>
              <a:gd name="connsiteY42" fmla="*/ 65929 h 275010"/>
              <a:gd name="connsiteX43" fmla="*/ 301491 w 314152"/>
              <a:gd name="connsiteY43" fmla="*/ 36544 h 275010"/>
              <a:gd name="connsiteX44" fmla="*/ 266784 w 314152"/>
              <a:gd name="connsiteY44" fmla="*/ 21216 h 275010"/>
              <a:gd name="connsiteX45" fmla="*/ 241506 w 314152"/>
              <a:gd name="connsiteY45" fmla="*/ 11093 h 27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152" h="275010">
                <a:moveTo>
                  <a:pt x="241506" y="11093"/>
                </a:moveTo>
                <a:cubicBezTo>
                  <a:pt x="237862" y="11093"/>
                  <a:pt x="229185" y="5308"/>
                  <a:pt x="221781" y="-129"/>
                </a:cubicBezTo>
                <a:cubicBezTo>
                  <a:pt x="216518" y="5655"/>
                  <a:pt x="198007" y="4788"/>
                  <a:pt x="188868" y="4788"/>
                </a:cubicBezTo>
                <a:cubicBezTo>
                  <a:pt x="179728" y="4788"/>
                  <a:pt x="187711" y="18092"/>
                  <a:pt x="181637" y="22951"/>
                </a:cubicBezTo>
                <a:cubicBezTo>
                  <a:pt x="175564" y="27810"/>
                  <a:pt x="173135" y="35040"/>
                  <a:pt x="177993" y="37470"/>
                </a:cubicBezTo>
                <a:cubicBezTo>
                  <a:pt x="182852" y="39899"/>
                  <a:pt x="176779" y="60608"/>
                  <a:pt x="176779" y="67780"/>
                </a:cubicBezTo>
                <a:cubicBezTo>
                  <a:pt x="176779" y="74953"/>
                  <a:pt x="167061" y="90918"/>
                  <a:pt x="170994" y="93174"/>
                </a:cubicBezTo>
                <a:cubicBezTo>
                  <a:pt x="174927" y="95430"/>
                  <a:pt x="180712" y="112609"/>
                  <a:pt x="189157" y="114981"/>
                </a:cubicBezTo>
                <a:cubicBezTo>
                  <a:pt x="197603" y="117353"/>
                  <a:pt x="203734" y="109197"/>
                  <a:pt x="207320" y="109197"/>
                </a:cubicBezTo>
                <a:cubicBezTo>
                  <a:pt x="210906" y="109197"/>
                  <a:pt x="210964" y="120071"/>
                  <a:pt x="210964" y="128575"/>
                </a:cubicBezTo>
                <a:cubicBezTo>
                  <a:pt x="211254" y="133127"/>
                  <a:pt x="209460" y="137569"/>
                  <a:pt x="206105" y="140664"/>
                </a:cubicBezTo>
                <a:cubicBezTo>
                  <a:pt x="206105" y="140664"/>
                  <a:pt x="192801" y="145523"/>
                  <a:pt x="186728" y="140664"/>
                </a:cubicBezTo>
                <a:cubicBezTo>
                  <a:pt x="180712" y="134330"/>
                  <a:pt x="176894" y="126209"/>
                  <a:pt x="175853" y="117526"/>
                </a:cubicBezTo>
                <a:cubicBezTo>
                  <a:pt x="175853" y="112667"/>
                  <a:pt x="161334" y="112667"/>
                  <a:pt x="155260" y="112667"/>
                </a:cubicBezTo>
                <a:cubicBezTo>
                  <a:pt x="149187" y="112667"/>
                  <a:pt x="143113" y="101735"/>
                  <a:pt x="140741" y="96876"/>
                </a:cubicBezTo>
                <a:cubicBezTo>
                  <a:pt x="138370" y="92017"/>
                  <a:pt x="131024" y="98090"/>
                  <a:pt x="131024" y="101735"/>
                </a:cubicBezTo>
                <a:cubicBezTo>
                  <a:pt x="131024" y="105379"/>
                  <a:pt x="125239" y="105379"/>
                  <a:pt x="118934" y="105379"/>
                </a:cubicBezTo>
                <a:cubicBezTo>
                  <a:pt x="112629" y="105379"/>
                  <a:pt x="100771" y="95661"/>
                  <a:pt x="95797" y="98090"/>
                </a:cubicBezTo>
                <a:cubicBezTo>
                  <a:pt x="90822" y="100520"/>
                  <a:pt x="86079" y="89645"/>
                  <a:pt x="87293" y="84786"/>
                </a:cubicBezTo>
                <a:cubicBezTo>
                  <a:pt x="88508" y="79927"/>
                  <a:pt x="75146" y="83572"/>
                  <a:pt x="70345" y="86001"/>
                </a:cubicBezTo>
                <a:cubicBezTo>
                  <a:pt x="65544" y="88431"/>
                  <a:pt x="63057" y="80216"/>
                  <a:pt x="63057" y="80216"/>
                </a:cubicBezTo>
                <a:cubicBezTo>
                  <a:pt x="61321" y="77313"/>
                  <a:pt x="58892" y="74901"/>
                  <a:pt x="55942" y="73218"/>
                </a:cubicBezTo>
                <a:lnTo>
                  <a:pt x="50157" y="127475"/>
                </a:lnTo>
                <a:lnTo>
                  <a:pt x="43158" y="134532"/>
                </a:lnTo>
                <a:lnTo>
                  <a:pt x="2667" y="133086"/>
                </a:lnTo>
                <a:lnTo>
                  <a:pt x="-110" y="223960"/>
                </a:lnTo>
                <a:lnTo>
                  <a:pt x="31011" y="266533"/>
                </a:lnTo>
                <a:cubicBezTo>
                  <a:pt x="47265" y="263294"/>
                  <a:pt x="80930" y="258608"/>
                  <a:pt x="80930" y="264277"/>
                </a:cubicBezTo>
                <a:cubicBezTo>
                  <a:pt x="81162" y="266527"/>
                  <a:pt x="81914" y="268691"/>
                  <a:pt x="83128" y="270582"/>
                </a:cubicBezTo>
                <a:cubicBezTo>
                  <a:pt x="87641" y="269194"/>
                  <a:pt x="92326" y="268453"/>
                  <a:pt x="97069" y="268384"/>
                </a:cubicBezTo>
                <a:cubicBezTo>
                  <a:pt x="103548" y="269194"/>
                  <a:pt x="125297" y="277292"/>
                  <a:pt x="131776" y="274169"/>
                </a:cubicBezTo>
                <a:cubicBezTo>
                  <a:pt x="138254" y="271045"/>
                  <a:pt x="149534" y="246750"/>
                  <a:pt x="160062" y="243511"/>
                </a:cubicBezTo>
                <a:cubicBezTo>
                  <a:pt x="170589" y="240272"/>
                  <a:pt x="185108" y="228934"/>
                  <a:pt x="185108" y="224133"/>
                </a:cubicBezTo>
                <a:cubicBezTo>
                  <a:pt x="185108" y="219332"/>
                  <a:pt x="185108" y="214415"/>
                  <a:pt x="200437" y="210366"/>
                </a:cubicBezTo>
                <a:lnTo>
                  <a:pt x="223575" y="209614"/>
                </a:lnTo>
                <a:lnTo>
                  <a:pt x="225194" y="209614"/>
                </a:lnTo>
                <a:lnTo>
                  <a:pt x="219410" y="189427"/>
                </a:lnTo>
                <a:cubicBezTo>
                  <a:pt x="219410" y="189427"/>
                  <a:pt x="291021" y="162702"/>
                  <a:pt x="295070" y="162008"/>
                </a:cubicBezTo>
                <a:cubicBezTo>
                  <a:pt x="291946" y="155588"/>
                  <a:pt x="288707" y="150787"/>
                  <a:pt x="290269" y="150035"/>
                </a:cubicBezTo>
                <a:cubicBezTo>
                  <a:pt x="293046" y="148646"/>
                  <a:pt x="294434" y="129037"/>
                  <a:pt x="294434" y="123484"/>
                </a:cubicBezTo>
                <a:cubicBezTo>
                  <a:pt x="294434" y="117931"/>
                  <a:pt x="311209" y="122038"/>
                  <a:pt x="305597" y="116485"/>
                </a:cubicBezTo>
                <a:cubicBezTo>
                  <a:pt x="299987" y="110932"/>
                  <a:pt x="301491" y="78770"/>
                  <a:pt x="304209" y="71714"/>
                </a:cubicBezTo>
                <a:cubicBezTo>
                  <a:pt x="306928" y="64656"/>
                  <a:pt x="314043" y="71714"/>
                  <a:pt x="314043" y="65929"/>
                </a:cubicBezTo>
                <a:cubicBezTo>
                  <a:pt x="311613" y="55471"/>
                  <a:pt x="307391" y="45522"/>
                  <a:pt x="301491" y="36544"/>
                </a:cubicBezTo>
                <a:cubicBezTo>
                  <a:pt x="298367" y="32553"/>
                  <a:pt x="273494" y="22546"/>
                  <a:pt x="266784" y="21216"/>
                </a:cubicBezTo>
                <a:cubicBezTo>
                  <a:pt x="260074" y="19885"/>
                  <a:pt x="248505" y="11093"/>
                  <a:pt x="241506" y="1109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 name="Forma libre: forma 14">
            <a:extLst>
              <a:ext uri="{FF2B5EF4-FFF2-40B4-BE49-F238E27FC236}">
                <a16:creationId xmlns:a16="http://schemas.microsoft.com/office/drawing/2014/main" id="{B9C9980D-F4A2-D4BF-4AD9-6B117FDA5B04}"/>
              </a:ext>
            </a:extLst>
          </p:cNvPr>
          <p:cNvSpPr/>
          <p:nvPr/>
        </p:nvSpPr>
        <p:spPr>
          <a:xfrm>
            <a:off x="6958459" y="4510775"/>
            <a:ext cx="52627" cy="44304"/>
          </a:xfrm>
          <a:custGeom>
            <a:avLst/>
            <a:gdLst>
              <a:gd name="connsiteX0" fmla="*/ 43546 w 52627"/>
              <a:gd name="connsiteY0" fmla="*/ -129 h 44304"/>
              <a:gd name="connsiteX1" fmla="*/ 28449 w 52627"/>
              <a:gd name="connsiteY1" fmla="*/ 4846 h 44304"/>
              <a:gd name="connsiteX2" fmla="*/ 14797 w 52627"/>
              <a:gd name="connsiteY2" fmla="*/ 7217 h 44304"/>
              <a:gd name="connsiteX3" fmla="*/ 11442 w 52627"/>
              <a:gd name="connsiteY3" fmla="*/ 9763 h 44304"/>
              <a:gd name="connsiteX4" fmla="*/ 6005 w 52627"/>
              <a:gd name="connsiteY4" fmla="*/ 27116 h 44304"/>
              <a:gd name="connsiteX5" fmla="*/ -69 w 52627"/>
              <a:gd name="connsiteY5" fmla="*/ 34983 h 44304"/>
              <a:gd name="connsiteX6" fmla="*/ 5716 w 52627"/>
              <a:gd name="connsiteY6" fmla="*/ 42907 h 44304"/>
              <a:gd name="connsiteX7" fmla="*/ 14740 w 52627"/>
              <a:gd name="connsiteY7" fmla="*/ 43717 h 44304"/>
              <a:gd name="connsiteX8" fmla="*/ 28737 w 52627"/>
              <a:gd name="connsiteY8" fmla="*/ 35330 h 44304"/>
              <a:gd name="connsiteX9" fmla="*/ 52511 w 52627"/>
              <a:gd name="connsiteY9" fmla="*/ 29545 h 44304"/>
              <a:gd name="connsiteX10" fmla="*/ 48289 w 52627"/>
              <a:gd name="connsiteY10" fmla="*/ 11324 h 4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627" h="44304">
                <a:moveTo>
                  <a:pt x="43546" y="-129"/>
                </a:moveTo>
                <a:cubicBezTo>
                  <a:pt x="38398" y="1161"/>
                  <a:pt x="33365" y="2821"/>
                  <a:pt x="28449" y="4846"/>
                </a:cubicBezTo>
                <a:cubicBezTo>
                  <a:pt x="24341" y="7327"/>
                  <a:pt x="19482" y="8177"/>
                  <a:pt x="14797" y="7217"/>
                </a:cubicBezTo>
                <a:cubicBezTo>
                  <a:pt x="13930" y="8363"/>
                  <a:pt x="12772" y="9247"/>
                  <a:pt x="11442" y="9763"/>
                </a:cubicBezTo>
                <a:cubicBezTo>
                  <a:pt x="4790" y="12192"/>
                  <a:pt x="6005" y="27116"/>
                  <a:pt x="6005" y="27116"/>
                </a:cubicBezTo>
                <a:cubicBezTo>
                  <a:pt x="2187" y="27711"/>
                  <a:pt x="-474" y="31165"/>
                  <a:pt x="-69" y="34983"/>
                </a:cubicBezTo>
                <a:cubicBezTo>
                  <a:pt x="-127" y="38621"/>
                  <a:pt x="2245" y="41849"/>
                  <a:pt x="5716" y="42907"/>
                </a:cubicBezTo>
                <a:cubicBezTo>
                  <a:pt x="8724" y="42959"/>
                  <a:pt x="11732" y="43231"/>
                  <a:pt x="14740" y="43717"/>
                </a:cubicBezTo>
                <a:cubicBezTo>
                  <a:pt x="30126" y="46551"/>
                  <a:pt x="28737" y="35330"/>
                  <a:pt x="28737" y="35330"/>
                </a:cubicBezTo>
                <a:cubicBezTo>
                  <a:pt x="28737" y="35330"/>
                  <a:pt x="51123" y="36718"/>
                  <a:pt x="52511" y="29545"/>
                </a:cubicBezTo>
                <a:cubicBezTo>
                  <a:pt x="52627" y="23211"/>
                  <a:pt x="51181" y="16947"/>
                  <a:pt x="48289" y="1132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 name="Forma libre: forma 15">
            <a:extLst>
              <a:ext uri="{FF2B5EF4-FFF2-40B4-BE49-F238E27FC236}">
                <a16:creationId xmlns:a16="http://schemas.microsoft.com/office/drawing/2014/main" id="{D1EEAA1E-F890-C587-FE17-47AA4D35BF2B}"/>
              </a:ext>
            </a:extLst>
          </p:cNvPr>
          <p:cNvSpPr/>
          <p:nvPr/>
        </p:nvSpPr>
        <p:spPr>
          <a:xfrm>
            <a:off x="7287576" y="4147520"/>
            <a:ext cx="282062" cy="376906"/>
          </a:xfrm>
          <a:custGeom>
            <a:avLst/>
            <a:gdLst>
              <a:gd name="connsiteX0" fmla="*/ 65833 w 282062"/>
              <a:gd name="connsiteY0" fmla="*/ 68467 h 376906"/>
              <a:gd name="connsiteX1" fmla="*/ 83996 w 282062"/>
              <a:gd name="connsiteY1" fmla="*/ 84779 h 376906"/>
              <a:gd name="connsiteX2" fmla="*/ 139122 w 282062"/>
              <a:gd name="connsiteY2" fmla="*/ 104157 h 376906"/>
              <a:gd name="connsiteX3" fmla="*/ 176663 w 282062"/>
              <a:gd name="connsiteY3" fmla="*/ 112660 h 376906"/>
              <a:gd name="connsiteX4" fmla="*/ 186322 w 282062"/>
              <a:gd name="connsiteY4" fmla="*/ 118445 h 376906"/>
              <a:gd name="connsiteX5" fmla="*/ 113670 w 282062"/>
              <a:gd name="connsiteY5" fmla="*/ 191097 h 376906"/>
              <a:gd name="connsiteX6" fmla="*/ 83360 w 282062"/>
              <a:gd name="connsiteY6" fmla="*/ 196593 h 376906"/>
              <a:gd name="connsiteX7" fmla="*/ 47670 w 282062"/>
              <a:gd name="connsiteY7" fmla="*/ 215334 h 376906"/>
              <a:gd name="connsiteX8" fmla="*/ 25516 w 282062"/>
              <a:gd name="connsiteY8" fmla="*/ 218805 h 376906"/>
              <a:gd name="connsiteX9" fmla="*/ 12501 w 282062"/>
              <a:gd name="connsiteY9" fmla="*/ 237893 h 376906"/>
              <a:gd name="connsiteX10" fmla="*/ -110 w 282062"/>
              <a:gd name="connsiteY10" fmla="*/ 257444 h 376906"/>
              <a:gd name="connsiteX11" fmla="*/ 1279 w 282062"/>
              <a:gd name="connsiteY11" fmla="*/ 355317 h 376906"/>
              <a:gd name="connsiteX12" fmla="*/ 14814 w 282062"/>
              <a:gd name="connsiteY12" fmla="*/ 376777 h 376906"/>
              <a:gd name="connsiteX13" fmla="*/ 75493 w 282062"/>
              <a:gd name="connsiteY13" fmla="*/ 312686 h 376906"/>
              <a:gd name="connsiteX14" fmla="*/ 123157 w 282062"/>
              <a:gd name="connsiteY14" fmla="*/ 276360 h 376906"/>
              <a:gd name="connsiteX15" fmla="*/ 191008 w 282062"/>
              <a:gd name="connsiteY15" fmla="*/ 209723 h 376906"/>
              <a:gd name="connsiteX16" fmla="*/ 222475 w 282062"/>
              <a:gd name="connsiteY16" fmla="*/ 159225 h 376906"/>
              <a:gd name="connsiteX17" fmla="*/ 247117 w 282062"/>
              <a:gd name="connsiteY17" fmla="*/ 116825 h 376906"/>
              <a:gd name="connsiteX18" fmla="*/ 272569 w 282062"/>
              <a:gd name="connsiteY18" fmla="*/ 62741 h 376906"/>
              <a:gd name="connsiteX19" fmla="*/ 281881 w 282062"/>
              <a:gd name="connsiteY19" fmla="*/ 15077 h 376906"/>
              <a:gd name="connsiteX20" fmla="*/ 264123 w 282062"/>
              <a:gd name="connsiteY20" fmla="*/ 5764 h 376906"/>
              <a:gd name="connsiteX21" fmla="*/ 202693 w 282062"/>
              <a:gd name="connsiteY21" fmla="*/ 22308 h 376906"/>
              <a:gd name="connsiteX22" fmla="*/ 159078 w 282062"/>
              <a:gd name="connsiteY22" fmla="*/ 32430 h 376906"/>
              <a:gd name="connsiteX23" fmla="*/ 123562 w 282062"/>
              <a:gd name="connsiteY23" fmla="*/ 38909 h 376906"/>
              <a:gd name="connsiteX24" fmla="*/ 78328 w 282062"/>
              <a:gd name="connsiteY24" fmla="*/ 35265 h 376906"/>
              <a:gd name="connsiteX25" fmla="*/ 64329 w 282062"/>
              <a:gd name="connsiteY25" fmla="*/ 19647 h 376906"/>
              <a:gd name="connsiteX26" fmla="*/ 48827 w 282062"/>
              <a:gd name="connsiteY26" fmla="*/ 43305 h 376906"/>
              <a:gd name="connsiteX27" fmla="*/ 65833 w 282062"/>
              <a:gd name="connsiteY27" fmla="*/ 68467 h 37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2062" h="376906">
                <a:moveTo>
                  <a:pt x="65833" y="68467"/>
                </a:moveTo>
                <a:cubicBezTo>
                  <a:pt x="70634" y="70839"/>
                  <a:pt x="78501" y="83565"/>
                  <a:pt x="83996" y="84779"/>
                </a:cubicBezTo>
                <a:cubicBezTo>
                  <a:pt x="89491" y="85994"/>
                  <a:pt x="119744" y="96348"/>
                  <a:pt x="139122" y="104157"/>
                </a:cubicBezTo>
                <a:cubicBezTo>
                  <a:pt x="150922" y="109473"/>
                  <a:pt x="163706" y="112365"/>
                  <a:pt x="176663" y="112660"/>
                </a:cubicBezTo>
                <a:cubicBezTo>
                  <a:pt x="182447" y="112660"/>
                  <a:pt x="191818" y="114454"/>
                  <a:pt x="186322" y="118445"/>
                </a:cubicBezTo>
                <a:cubicBezTo>
                  <a:pt x="180828" y="122436"/>
                  <a:pt x="121537" y="182652"/>
                  <a:pt x="113670" y="191097"/>
                </a:cubicBezTo>
                <a:cubicBezTo>
                  <a:pt x="105804" y="199542"/>
                  <a:pt x="100944" y="196593"/>
                  <a:pt x="83360" y="196593"/>
                </a:cubicBezTo>
                <a:cubicBezTo>
                  <a:pt x="65775" y="196593"/>
                  <a:pt x="52471" y="215912"/>
                  <a:pt x="47670" y="215334"/>
                </a:cubicBezTo>
                <a:cubicBezTo>
                  <a:pt x="40208" y="215762"/>
                  <a:pt x="32746" y="216925"/>
                  <a:pt x="25516" y="218805"/>
                </a:cubicBezTo>
                <a:lnTo>
                  <a:pt x="12501" y="237893"/>
                </a:lnTo>
                <a:lnTo>
                  <a:pt x="-110" y="257444"/>
                </a:lnTo>
                <a:lnTo>
                  <a:pt x="1279" y="355317"/>
                </a:lnTo>
                <a:lnTo>
                  <a:pt x="14814" y="376777"/>
                </a:lnTo>
                <a:cubicBezTo>
                  <a:pt x="25516" y="362548"/>
                  <a:pt x="54264" y="335014"/>
                  <a:pt x="75493" y="312686"/>
                </a:cubicBezTo>
                <a:cubicBezTo>
                  <a:pt x="98631" y="288449"/>
                  <a:pt x="110200" y="282780"/>
                  <a:pt x="123157" y="276360"/>
                </a:cubicBezTo>
                <a:cubicBezTo>
                  <a:pt x="136114" y="269939"/>
                  <a:pt x="168796" y="237951"/>
                  <a:pt x="191008" y="209723"/>
                </a:cubicBezTo>
                <a:cubicBezTo>
                  <a:pt x="205006" y="191907"/>
                  <a:pt x="220451" y="172124"/>
                  <a:pt x="222475" y="159225"/>
                </a:cubicBezTo>
                <a:cubicBezTo>
                  <a:pt x="224500" y="146326"/>
                  <a:pt x="237457" y="129320"/>
                  <a:pt x="247117" y="116825"/>
                </a:cubicBezTo>
                <a:cubicBezTo>
                  <a:pt x="256777" y="104331"/>
                  <a:pt x="272973" y="72401"/>
                  <a:pt x="272569" y="62741"/>
                </a:cubicBezTo>
                <a:cubicBezTo>
                  <a:pt x="272164" y="53081"/>
                  <a:pt x="280667" y="32430"/>
                  <a:pt x="281881" y="15077"/>
                </a:cubicBezTo>
                <a:cubicBezTo>
                  <a:pt x="283096" y="-2276"/>
                  <a:pt x="268520" y="-3896"/>
                  <a:pt x="264123" y="5764"/>
                </a:cubicBezTo>
                <a:cubicBezTo>
                  <a:pt x="259727" y="15424"/>
                  <a:pt x="224963" y="21903"/>
                  <a:pt x="202693" y="22308"/>
                </a:cubicBezTo>
                <a:cubicBezTo>
                  <a:pt x="180422" y="22713"/>
                  <a:pt x="167176" y="24737"/>
                  <a:pt x="159078" y="32430"/>
                </a:cubicBezTo>
                <a:cubicBezTo>
                  <a:pt x="150980" y="40123"/>
                  <a:pt x="130850" y="30406"/>
                  <a:pt x="123562" y="38909"/>
                </a:cubicBezTo>
                <a:cubicBezTo>
                  <a:pt x="116273" y="47412"/>
                  <a:pt x="87641" y="54642"/>
                  <a:pt x="78328" y="35265"/>
                </a:cubicBezTo>
                <a:cubicBezTo>
                  <a:pt x="75378" y="28740"/>
                  <a:pt x="70518" y="23285"/>
                  <a:pt x="64329" y="19647"/>
                </a:cubicBezTo>
                <a:cubicBezTo>
                  <a:pt x="56520" y="27629"/>
                  <a:pt x="46976" y="39487"/>
                  <a:pt x="48827" y="43305"/>
                </a:cubicBezTo>
                <a:cubicBezTo>
                  <a:pt x="51256" y="48974"/>
                  <a:pt x="60974" y="65922"/>
                  <a:pt x="65833" y="68467"/>
                </a:cubicBezTo>
                <a:close/>
              </a:path>
            </a:pathLst>
          </a:custGeom>
          <a:solidFill>
            <a:schemeClr val="tx1">
              <a:lumMod val="20000"/>
              <a:lumOff val="80000"/>
            </a:schemeClr>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 name="Forma libre: forma 16">
            <a:extLst>
              <a:ext uri="{FF2B5EF4-FFF2-40B4-BE49-F238E27FC236}">
                <a16:creationId xmlns:a16="http://schemas.microsoft.com/office/drawing/2014/main" id="{052FCFBC-4800-6530-1706-C2D19003A6D8}"/>
              </a:ext>
            </a:extLst>
          </p:cNvPr>
          <p:cNvSpPr/>
          <p:nvPr/>
        </p:nvSpPr>
        <p:spPr>
          <a:xfrm>
            <a:off x="5828512" y="3450910"/>
            <a:ext cx="328040" cy="259589"/>
          </a:xfrm>
          <a:custGeom>
            <a:avLst/>
            <a:gdLst>
              <a:gd name="connsiteX0" fmla="*/ 120785 w 328040"/>
              <a:gd name="connsiteY0" fmla="*/ 259460 h 259589"/>
              <a:gd name="connsiteX1" fmla="*/ 120149 w 328040"/>
              <a:gd name="connsiteY1" fmla="*/ 222208 h 259589"/>
              <a:gd name="connsiteX2" fmla="*/ 163763 w 328040"/>
              <a:gd name="connsiteY2" fmla="*/ 193691 h 259589"/>
              <a:gd name="connsiteX3" fmla="*/ 181579 w 328040"/>
              <a:gd name="connsiteY3" fmla="*/ 188369 h 259589"/>
              <a:gd name="connsiteX4" fmla="*/ 205643 w 328040"/>
              <a:gd name="connsiteY4" fmla="*/ 183048 h 259589"/>
              <a:gd name="connsiteX5" fmla="*/ 219872 w 328040"/>
              <a:gd name="connsiteY5" fmla="*/ 167025 h 259589"/>
              <a:gd name="connsiteX6" fmla="*/ 240349 w 328040"/>
              <a:gd name="connsiteY6" fmla="*/ 159852 h 259589"/>
              <a:gd name="connsiteX7" fmla="*/ 252959 w 328040"/>
              <a:gd name="connsiteY7" fmla="*/ 151928 h 259589"/>
              <a:gd name="connsiteX8" fmla="*/ 256488 w 328040"/>
              <a:gd name="connsiteY8" fmla="*/ 135095 h 259589"/>
              <a:gd name="connsiteX9" fmla="*/ 265396 w 328040"/>
              <a:gd name="connsiteY9" fmla="*/ 127922 h 259589"/>
              <a:gd name="connsiteX10" fmla="*/ 281419 w 328040"/>
              <a:gd name="connsiteY10" fmla="*/ 118146 h 259589"/>
              <a:gd name="connsiteX11" fmla="*/ 321505 w 328040"/>
              <a:gd name="connsiteY11" fmla="*/ 116353 h 259589"/>
              <a:gd name="connsiteX12" fmla="*/ 327694 w 328040"/>
              <a:gd name="connsiteY12" fmla="*/ 105652 h 259589"/>
              <a:gd name="connsiteX13" fmla="*/ 317051 w 328040"/>
              <a:gd name="connsiteY13" fmla="*/ 86968 h 259589"/>
              <a:gd name="connsiteX14" fmla="*/ 315258 w 328040"/>
              <a:gd name="connsiteY14" fmla="*/ 62037 h 259589"/>
              <a:gd name="connsiteX15" fmla="*/ 307275 w 328040"/>
              <a:gd name="connsiteY15" fmla="*/ 33578 h 259589"/>
              <a:gd name="connsiteX16" fmla="*/ 302763 w 328040"/>
              <a:gd name="connsiteY16" fmla="*/ 25133 h 259589"/>
              <a:gd name="connsiteX17" fmla="*/ 271065 w 328040"/>
              <a:gd name="connsiteY17" fmla="*/ 17729 h 259589"/>
              <a:gd name="connsiteX18" fmla="*/ 224789 w 328040"/>
              <a:gd name="connsiteY18" fmla="*/ 12870 h 259589"/>
              <a:gd name="connsiteX19" fmla="*/ 199395 w 328040"/>
              <a:gd name="connsiteY19" fmla="*/ 1301 h 259589"/>
              <a:gd name="connsiteX20" fmla="*/ 169490 w 328040"/>
              <a:gd name="connsiteY20" fmla="*/ 57063 h 259589"/>
              <a:gd name="connsiteX21" fmla="*/ 127900 w 328040"/>
              <a:gd name="connsiteY21" fmla="*/ 76903 h 259589"/>
              <a:gd name="connsiteX22" fmla="*/ 107307 w 328040"/>
              <a:gd name="connsiteY22" fmla="*/ 100041 h 259589"/>
              <a:gd name="connsiteX23" fmla="*/ 91921 w 328040"/>
              <a:gd name="connsiteY23" fmla="*/ 125840 h 259589"/>
              <a:gd name="connsiteX24" fmla="*/ 91921 w 328040"/>
              <a:gd name="connsiteY24" fmla="*/ 167488 h 259589"/>
              <a:gd name="connsiteX25" fmla="*/ 59644 w 328040"/>
              <a:gd name="connsiteY25" fmla="*/ 212317 h 259589"/>
              <a:gd name="connsiteX26" fmla="*/ 19673 w 328040"/>
              <a:gd name="connsiteY26" fmla="*/ 239388 h 259589"/>
              <a:gd name="connsiteX27" fmla="*/ -110 w 328040"/>
              <a:gd name="connsiteY27" fmla="*/ 249048 h 259589"/>
              <a:gd name="connsiteX28" fmla="*/ 101465 w 328040"/>
              <a:gd name="connsiteY28" fmla="*/ 249048 h 259589"/>
              <a:gd name="connsiteX29" fmla="*/ 120785 w 328040"/>
              <a:gd name="connsiteY29" fmla="*/ 259460 h 259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8040" h="259589">
                <a:moveTo>
                  <a:pt x="120785" y="259460"/>
                </a:moveTo>
                <a:cubicBezTo>
                  <a:pt x="120322" y="241586"/>
                  <a:pt x="119686" y="223944"/>
                  <a:pt x="120149" y="222208"/>
                </a:cubicBezTo>
                <a:cubicBezTo>
                  <a:pt x="121016" y="218622"/>
                  <a:pt x="157516" y="197278"/>
                  <a:pt x="163763" y="193691"/>
                </a:cubicBezTo>
                <a:cubicBezTo>
                  <a:pt x="170010" y="190105"/>
                  <a:pt x="181579" y="195484"/>
                  <a:pt x="181579" y="188369"/>
                </a:cubicBezTo>
                <a:cubicBezTo>
                  <a:pt x="181579" y="181255"/>
                  <a:pt x="196735" y="184841"/>
                  <a:pt x="205643" y="183048"/>
                </a:cubicBezTo>
                <a:cubicBezTo>
                  <a:pt x="213747" y="182059"/>
                  <a:pt x="219844" y="175187"/>
                  <a:pt x="219872" y="167025"/>
                </a:cubicBezTo>
                <a:cubicBezTo>
                  <a:pt x="219872" y="158984"/>
                  <a:pt x="232367" y="160778"/>
                  <a:pt x="240349" y="159852"/>
                </a:cubicBezTo>
                <a:cubicBezTo>
                  <a:pt x="248332" y="158927"/>
                  <a:pt x="247464" y="151928"/>
                  <a:pt x="252959" y="151928"/>
                </a:cubicBezTo>
                <a:cubicBezTo>
                  <a:pt x="258454" y="151928"/>
                  <a:pt x="255620" y="143945"/>
                  <a:pt x="256488" y="135095"/>
                </a:cubicBezTo>
                <a:cubicBezTo>
                  <a:pt x="257355" y="126245"/>
                  <a:pt x="257413" y="127922"/>
                  <a:pt x="265396" y="127922"/>
                </a:cubicBezTo>
                <a:cubicBezTo>
                  <a:pt x="273378" y="127922"/>
                  <a:pt x="281419" y="123526"/>
                  <a:pt x="281419" y="118146"/>
                </a:cubicBezTo>
                <a:cubicBezTo>
                  <a:pt x="281419" y="112767"/>
                  <a:pt x="316125" y="116353"/>
                  <a:pt x="321505" y="116353"/>
                </a:cubicBezTo>
                <a:cubicBezTo>
                  <a:pt x="326884" y="116353"/>
                  <a:pt x="328620" y="110106"/>
                  <a:pt x="327694" y="105652"/>
                </a:cubicBezTo>
                <a:cubicBezTo>
                  <a:pt x="326769" y="101198"/>
                  <a:pt x="322372" y="87894"/>
                  <a:pt x="317051" y="86968"/>
                </a:cubicBezTo>
                <a:cubicBezTo>
                  <a:pt x="311729" y="86043"/>
                  <a:pt x="315258" y="72739"/>
                  <a:pt x="315258" y="62037"/>
                </a:cubicBezTo>
                <a:cubicBezTo>
                  <a:pt x="315888" y="51921"/>
                  <a:pt x="313077" y="41890"/>
                  <a:pt x="307275" y="33578"/>
                </a:cubicBezTo>
                <a:cubicBezTo>
                  <a:pt x="305470" y="30935"/>
                  <a:pt x="303961" y="28100"/>
                  <a:pt x="302763" y="25133"/>
                </a:cubicBezTo>
                <a:cubicBezTo>
                  <a:pt x="292987" y="25133"/>
                  <a:pt x="281245" y="18018"/>
                  <a:pt x="271065" y="17729"/>
                </a:cubicBezTo>
                <a:cubicBezTo>
                  <a:pt x="256893" y="17324"/>
                  <a:pt x="235143" y="24612"/>
                  <a:pt x="224789" y="12870"/>
                </a:cubicBezTo>
                <a:cubicBezTo>
                  <a:pt x="214435" y="1127"/>
                  <a:pt x="207031" y="-2459"/>
                  <a:pt x="199395" y="1301"/>
                </a:cubicBezTo>
                <a:cubicBezTo>
                  <a:pt x="191760" y="5061"/>
                  <a:pt x="177588" y="45378"/>
                  <a:pt x="169490" y="57063"/>
                </a:cubicBezTo>
                <a:cubicBezTo>
                  <a:pt x="161392" y="68747"/>
                  <a:pt x="138775" y="76903"/>
                  <a:pt x="127900" y="76903"/>
                </a:cubicBezTo>
                <a:cubicBezTo>
                  <a:pt x="117025" y="76903"/>
                  <a:pt x="115753" y="93447"/>
                  <a:pt x="107307" y="100041"/>
                </a:cubicBezTo>
                <a:cubicBezTo>
                  <a:pt x="98862" y="106636"/>
                  <a:pt x="102043" y="117857"/>
                  <a:pt x="91921" y="125840"/>
                </a:cubicBezTo>
                <a:cubicBezTo>
                  <a:pt x="81798" y="133822"/>
                  <a:pt x="86715" y="158637"/>
                  <a:pt x="91921" y="167488"/>
                </a:cubicBezTo>
                <a:cubicBezTo>
                  <a:pt x="97127" y="176338"/>
                  <a:pt x="73353" y="204277"/>
                  <a:pt x="59644" y="212317"/>
                </a:cubicBezTo>
                <a:cubicBezTo>
                  <a:pt x="45935" y="220357"/>
                  <a:pt x="41481" y="235744"/>
                  <a:pt x="19673" y="239388"/>
                </a:cubicBezTo>
                <a:cubicBezTo>
                  <a:pt x="12252" y="240533"/>
                  <a:pt x="5357" y="243900"/>
                  <a:pt x="-110" y="249048"/>
                </a:cubicBezTo>
                <a:lnTo>
                  <a:pt x="101465" y="249048"/>
                </a:lnTo>
                <a:cubicBezTo>
                  <a:pt x="122231" y="248990"/>
                  <a:pt x="117372" y="253733"/>
                  <a:pt x="120785" y="25946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 name="Forma libre: forma 17">
            <a:extLst>
              <a:ext uri="{FF2B5EF4-FFF2-40B4-BE49-F238E27FC236}">
                <a16:creationId xmlns:a16="http://schemas.microsoft.com/office/drawing/2014/main" id="{F76AA5B2-B33B-9386-DB4F-3802F6C59DC3}"/>
              </a:ext>
            </a:extLst>
          </p:cNvPr>
          <p:cNvSpPr/>
          <p:nvPr/>
        </p:nvSpPr>
        <p:spPr>
          <a:xfrm>
            <a:off x="6392363" y="3404469"/>
            <a:ext cx="113851" cy="218454"/>
          </a:xfrm>
          <a:custGeom>
            <a:avLst/>
            <a:gdLst>
              <a:gd name="connsiteX0" fmla="*/ 28133 w 113851"/>
              <a:gd name="connsiteY0" fmla="*/ 53122 h 218454"/>
              <a:gd name="connsiteX1" fmla="*/ 20092 w 113851"/>
              <a:gd name="connsiteY1" fmla="*/ 82044 h 218454"/>
              <a:gd name="connsiteX2" fmla="*/ 2334 w 113851"/>
              <a:gd name="connsiteY2" fmla="*/ 99860 h 218454"/>
              <a:gd name="connsiteX3" fmla="*/ 13903 w 113851"/>
              <a:gd name="connsiteY3" fmla="*/ 128782 h 218454"/>
              <a:gd name="connsiteX4" fmla="*/ 25183 w 113851"/>
              <a:gd name="connsiteY4" fmla="*/ 146541 h 218454"/>
              <a:gd name="connsiteX5" fmla="*/ 46238 w 113851"/>
              <a:gd name="connsiteY5" fmla="*/ 162737 h 218454"/>
              <a:gd name="connsiteX6" fmla="*/ 59137 w 113851"/>
              <a:gd name="connsiteY6" fmla="*/ 211210 h 218454"/>
              <a:gd name="connsiteX7" fmla="*/ 61567 w 113851"/>
              <a:gd name="connsiteY7" fmla="*/ 218325 h 218454"/>
              <a:gd name="connsiteX8" fmla="*/ 73136 w 113851"/>
              <a:gd name="connsiteY8" fmla="*/ 208318 h 218454"/>
              <a:gd name="connsiteX9" fmla="*/ 77937 w 113851"/>
              <a:gd name="connsiteY9" fmla="*/ 186511 h 218454"/>
              <a:gd name="connsiteX10" fmla="*/ 80424 w 113851"/>
              <a:gd name="connsiteY10" fmla="*/ 174421 h 218454"/>
              <a:gd name="connsiteX11" fmla="*/ 101364 w 113851"/>
              <a:gd name="connsiteY11" fmla="*/ 154639 h 218454"/>
              <a:gd name="connsiteX12" fmla="*/ 112933 w 113851"/>
              <a:gd name="connsiteY12" fmla="*/ 146136 h 218454"/>
              <a:gd name="connsiteX13" fmla="*/ 113742 w 113851"/>
              <a:gd name="connsiteY13" fmla="*/ 131906 h 218454"/>
              <a:gd name="connsiteX14" fmla="*/ 103215 w 113851"/>
              <a:gd name="connsiteY14" fmla="*/ 120337 h 218454"/>
              <a:gd name="connsiteX15" fmla="*/ 91935 w 113851"/>
              <a:gd name="connsiteY15" fmla="*/ 111082 h 218454"/>
              <a:gd name="connsiteX16" fmla="*/ 70533 w 113851"/>
              <a:gd name="connsiteY16" fmla="*/ 101827 h 218454"/>
              <a:gd name="connsiteX17" fmla="*/ 91935 w 113851"/>
              <a:gd name="connsiteY17" fmla="*/ 82854 h 218454"/>
              <a:gd name="connsiteX18" fmla="*/ 96111 w 113851"/>
              <a:gd name="connsiteY18" fmla="*/ 49576 h 218454"/>
              <a:gd name="connsiteX19" fmla="*/ 92687 w 113851"/>
              <a:gd name="connsiteY19" fmla="*/ 46007 h 218454"/>
              <a:gd name="connsiteX20" fmla="*/ 97604 w 113851"/>
              <a:gd name="connsiteY20" fmla="*/ 22233 h 218454"/>
              <a:gd name="connsiteX21" fmla="*/ 93902 w 113851"/>
              <a:gd name="connsiteY21" fmla="*/ 12515 h 218454"/>
              <a:gd name="connsiteX22" fmla="*/ 81003 w 113851"/>
              <a:gd name="connsiteY22" fmla="*/ 8061 h 218454"/>
              <a:gd name="connsiteX23" fmla="*/ 43462 w 113851"/>
              <a:gd name="connsiteY23" fmla="*/ 6037 h 218454"/>
              <a:gd name="connsiteX24" fmla="*/ 28769 w 113851"/>
              <a:gd name="connsiteY24" fmla="*/ 10260 h 218454"/>
              <a:gd name="connsiteX25" fmla="*/ 28133 w 113851"/>
              <a:gd name="connsiteY25" fmla="*/ 53122 h 21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851" h="218454">
                <a:moveTo>
                  <a:pt x="28133" y="53122"/>
                </a:moveTo>
                <a:cubicBezTo>
                  <a:pt x="34611" y="62840"/>
                  <a:pt x="26571" y="78978"/>
                  <a:pt x="20092" y="82044"/>
                </a:cubicBezTo>
                <a:cubicBezTo>
                  <a:pt x="13614" y="85110"/>
                  <a:pt x="8523" y="99860"/>
                  <a:pt x="2334" y="99860"/>
                </a:cubicBezTo>
                <a:cubicBezTo>
                  <a:pt x="-3855" y="99860"/>
                  <a:pt x="2334" y="124097"/>
                  <a:pt x="13903" y="128782"/>
                </a:cubicBezTo>
                <a:cubicBezTo>
                  <a:pt x="21382" y="131299"/>
                  <a:pt x="26085" y="138703"/>
                  <a:pt x="25183" y="146541"/>
                </a:cubicBezTo>
                <a:cubicBezTo>
                  <a:pt x="25183" y="151400"/>
                  <a:pt x="41379" y="156258"/>
                  <a:pt x="46238" y="162737"/>
                </a:cubicBezTo>
                <a:cubicBezTo>
                  <a:pt x="51097" y="169216"/>
                  <a:pt x="59137" y="199873"/>
                  <a:pt x="59137" y="211210"/>
                </a:cubicBezTo>
                <a:cubicBezTo>
                  <a:pt x="59132" y="213784"/>
                  <a:pt x="59988" y="216289"/>
                  <a:pt x="61567" y="218325"/>
                </a:cubicBezTo>
                <a:cubicBezTo>
                  <a:pt x="66119" y="215890"/>
                  <a:pt x="70070" y="212471"/>
                  <a:pt x="73136" y="208318"/>
                </a:cubicBezTo>
                <a:cubicBezTo>
                  <a:pt x="76780" y="201493"/>
                  <a:pt x="79556" y="189750"/>
                  <a:pt x="77937" y="186511"/>
                </a:cubicBezTo>
                <a:cubicBezTo>
                  <a:pt x="76161" y="182358"/>
                  <a:pt x="77150" y="177534"/>
                  <a:pt x="80424" y="174421"/>
                </a:cubicBezTo>
                <a:cubicBezTo>
                  <a:pt x="84011" y="171182"/>
                  <a:pt x="98587" y="155854"/>
                  <a:pt x="101364" y="154639"/>
                </a:cubicBezTo>
                <a:cubicBezTo>
                  <a:pt x="104140" y="153424"/>
                  <a:pt x="113453" y="155044"/>
                  <a:pt x="112933" y="146136"/>
                </a:cubicBezTo>
                <a:cubicBezTo>
                  <a:pt x="112875" y="141381"/>
                  <a:pt x="113147" y="136626"/>
                  <a:pt x="113742" y="131906"/>
                </a:cubicBezTo>
                <a:cubicBezTo>
                  <a:pt x="107206" y="127683"/>
                  <a:pt x="103215" y="122767"/>
                  <a:pt x="103215" y="120337"/>
                </a:cubicBezTo>
                <a:cubicBezTo>
                  <a:pt x="103215" y="115131"/>
                  <a:pt x="95984" y="106223"/>
                  <a:pt x="91935" y="111082"/>
                </a:cubicBezTo>
                <a:cubicBezTo>
                  <a:pt x="87886" y="115941"/>
                  <a:pt x="72557" y="111892"/>
                  <a:pt x="70533" y="101827"/>
                </a:cubicBezTo>
                <a:cubicBezTo>
                  <a:pt x="68508" y="91762"/>
                  <a:pt x="80598" y="92051"/>
                  <a:pt x="91935" y="82854"/>
                </a:cubicBezTo>
                <a:cubicBezTo>
                  <a:pt x="102278" y="74819"/>
                  <a:pt x="104146" y="59919"/>
                  <a:pt x="96111" y="49576"/>
                </a:cubicBezTo>
                <a:cubicBezTo>
                  <a:pt x="95099" y="48269"/>
                  <a:pt x="93948" y="47072"/>
                  <a:pt x="92687" y="46007"/>
                </a:cubicBezTo>
                <a:cubicBezTo>
                  <a:pt x="80598" y="36347"/>
                  <a:pt x="89101" y="31083"/>
                  <a:pt x="97604" y="22233"/>
                </a:cubicBezTo>
                <a:cubicBezTo>
                  <a:pt x="106107" y="13383"/>
                  <a:pt x="98414" y="8524"/>
                  <a:pt x="93902" y="12515"/>
                </a:cubicBezTo>
                <a:cubicBezTo>
                  <a:pt x="89390" y="16507"/>
                  <a:pt x="82333" y="17779"/>
                  <a:pt x="81003" y="8061"/>
                </a:cubicBezTo>
                <a:cubicBezTo>
                  <a:pt x="79672" y="-1656"/>
                  <a:pt x="53526" y="-3218"/>
                  <a:pt x="43462" y="6037"/>
                </a:cubicBezTo>
                <a:cubicBezTo>
                  <a:pt x="39256" y="9213"/>
                  <a:pt x="34021" y="10722"/>
                  <a:pt x="28769" y="10260"/>
                </a:cubicBezTo>
                <a:cubicBezTo>
                  <a:pt x="26050" y="26571"/>
                  <a:pt x="23852" y="46701"/>
                  <a:pt x="28133" y="5312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 name="Forma libre: forma 18">
            <a:extLst>
              <a:ext uri="{FF2B5EF4-FFF2-40B4-BE49-F238E27FC236}">
                <a16:creationId xmlns:a16="http://schemas.microsoft.com/office/drawing/2014/main" id="{AA174B4F-2746-94B7-332D-358B14104416}"/>
              </a:ext>
            </a:extLst>
          </p:cNvPr>
          <p:cNvSpPr/>
          <p:nvPr/>
        </p:nvSpPr>
        <p:spPr>
          <a:xfrm>
            <a:off x="5948698" y="3409903"/>
            <a:ext cx="568738" cy="545798"/>
          </a:xfrm>
          <a:custGeom>
            <a:avLst/>
            <a:gdLst>
              <a:gd name="connsiteX0" fmla="*/ 194955 w 568738"/>
              <a:gd name="connsiteY0" fmla="*/ 102929 h 545798"/>
              <a:gd name="connsiteX1" fmla="*/ 196749 w 568738"/>
              <a:gd name="connsiteY1" fmla="*/ 127860 h 545798"/>
              <a:gd name="connsiteX2" fmla="*/ 207392 w 568738"/>
              <a:gd name="connsiteY2" fmla="*/ 146544 h 545798"/>
              <a:gd name="connsiteX3" fmla="*/ 201203 w 568738"/>
              <a:gd name="connsiteY3" fmla="*/ 157245 h 545798"/>
              <a:gd name="connsiteX4" fmla="*/ 161117 w 568738"/>
              <a:gd name="connsiteY4" fmla="*/ 159038 h 545798"/>
              <a:gd name="connsiteX5" fmla="*/ 145094 w 568738"/>
              <a:gd name="connsiteY5" fmla="*/ 168814 h 545798"/>
              <a:gd name="connsiteX6" fmla="*/ 136186 w 568738"/>
              <a:gd name="connsiteY6" fmla="*/ 175987 h 545798"/>
              <a:gd name="connsiteX7" fmla="*/ 132773 w 568738"/>
              <a:gd name="connsiteY7" fmla="*/ 192935 h 545798"/>
              <a:gd name="connsiteX8" fmla="*/ 120279 w 568738"/>
              <a:gd name="connsiteY8" fmla="*/ 200976 h 545798"/>
              <a:gd name="connsiteX9" fmla="*/ 99802 w 568738"/>
              <a:gd name="connsiteY9" fmla="*/ 208148 h 545798"/>
              <a:gd name="connsiteX10" fmla="*/ 85572 w 568738"/>
              <a:gd name="connsiteY10" fmla="*/ 224171 h 545798"/>
              <a:gd name="connsiteX11" fmla="*/ 61509 w 568738"/>
              <a:gd name="connsiteY11" fmla="*/ 229493 h 545798"/>
              <a:gd name="connsiteX12" fmla="*/ 43693 w 568738"/>
              <a:gd name="connsiteY12" fmla="*/ 234814 h 545798"/>
              <a:gd name="connsiteX13" fmla="*/ 78 w 568738"/>
              <a:gd name="connsiteY13" fmla="*/ 263332 h 545798"/>
              <a:gd name="connsiteX14" fmla="*/ 714 w 568738"/>
              <a:gd name="connsiteY14" fmla="*/ 300583 h 545798"/>
              <a:gd name="connsiteX15" fmla="*/ 6036 w 568738"/>
              <a:gd name="connsiteY15" fmla="*/ 305500 h 545798"/>
              <a:gd name="connsiteX16" fmla="*/ 271078 w 568738"/>
              <a:gd name="connsiteY16" fmla="*/ 482215 h 545798"/>
              <a:gd name="connsiteX17" fmla="*/ 288432 w 568738"/>
              <a:gd name="connsiteY17" fmla="*/ 507145 h 545798"/>
              <a:gd name="connsiteX18" fmla="*/ 319147 w 568738"/>
              <a:gd name="connsiteY18" fmla="*/ 516747 h 545798"/>
              <a:gd name="connsiteX19" fmla="*/ 332567 w 568738"/>
              <a:gd name="connsiteY19" fmla="*/ 545670 h 545798"/>
              <a:gd name="connsiteX20" fmla="*/ 359465 w 568738"/>
              <a:gd name="connsiteY20" fmla="*/ 539885 h 545798"/>
              <a:gd name="connsiteX21" fmla="*/ 401691 w 568738"/>
              <a:gd name="connsiteY21" fmla="*/ 526408 h 545798"/>
              <a:gd name="connsiteX22" fmla="*/ 451668 w 568738"/>
              <a:gd name="connsiteY22" fmla="*/ 485917 h 545798"/>
              <a:gd name="connsiteX23" fmla="*/ 568629 w 568738"/>
              <a:gd name="connsiteY23" fmla="*/ 412743 h 545798"/>
              <a:gd name="connsiteX24" fmla="*/ 568629 w 568738"/>
              <a:gd name="connsiteY24" fmla="*/ 412743 h 545798"/>
              <a:gd name="connsiteX25" fmla="*/ 554862 w 568738"/>
              <a:gd name="connsiteY25" fmla="*/ 389606 h 545798"/>
              <a:gd name="connsiteX26" fmla="*/ 534733 w 568738"/>
              <a:gd name="connsiteY26" fmla="*/ 383821 h 545798"/>
              <a:gd name="connsiteX27" fmla="*/ 515586 w 568738"/>
              <a:gd name="connsiteY27" fmla="*/ 372715 h 545798"/>
              <a:gd name="connsiteX28" fmla="*/ 512578 w 568738"/>
              <a:gd name="connsiteY28" fmla="*/ 351602 h 545798"/>
              <a:gd name="connsiteX29" fmla="*/ 500489 w 568738"/>
              <a:gd name="connsiteY29" fmla="*/ 334249 h 545798"/>
              <a:gd name="connsiteX30" fmla="*/ 512058 w 568738"/>
              <a:gd name="connsiteY30" fmla="*/ 320771 h 545798"/>
              <a:gd name="connsiteX31" fmla="*/ 508009 w 568738"/>
              <a:gd name="connsiteY31" fmla="*/ 308277 h 545798"/>
              <a:gd name="connsiteX32" fmla="*/ 508009 w 568738"/>
              <a:gd name="connsiteY32" fmla="*/ 291270 h 545798"/>
              <a:gd name="connsiteX33" fmla="*/ 510033 w 568738"/>
              <a:gd name="connsiteY33" fmla="*/ 272702 h 545798"/>
              <a:gd name="connsiteX34" fmla="*/ 510843 w 568738"/>
              <a:gd name="connsiteY34" fmla="*/ 244070 h 545798"/>
              <a:gd name="connsiteX35" fmla="*/ 498291 w 568738"/>
              <a:gd name="connsiteY35" fmla="*/ 219023 h 545798"/>
              <a:gd name="connsiteX36" fmla="*/ 504365 w 568738"/>
              <a:gd name="connsiteY36" fmla="*/ 213239 h 545798"/>
              <a:gd name="connsiteX37" fmla="*/ 501935 w 568738"/>
              <a:gd name="connsiteY37" fmla="*/ 206124 h 545798"/>
              <a:gd name="connsiteX38" fmla="*/ 489036 w 568738"/>
              <a:gd name="connsiteY38" fmla="*/ 157650 h 545798"/>
              <a:gd name="connsiteX39" fmla="*/ 467981 w 568738"/>
              <a:gd name="connsiteY39" fmla="*/ 141454 h 545798"/>
              <a:gd name="connsiteX40" fmla="*/ 457279 w 568738"/>
              <a:gd name="connsiteY40" fmla="*/ 123522 h 545798"/>
              <a:gd name="connsiteX41" fmla="*/ 445710 w 568738"/>
              <a:gd name="connsiteY41" fmla="*/ 94600 h 545798"/>
              <a:gd name="connsiteX42" fmla="*/ 463469 w 568738"/>
              <a:gd name="connsiteY42" fmla="*/ 76784 h 545798"/>
              <a:gd name="connsiteX43" fmla="*/ 471509 w 568738"/>
              <a:gd name="connsiteY43" fmla="*/ 47862 h 545798"/>
              <a:gd name="connsiteX44" fmla="*/ 471509 w 568738"/>
              <a:gd name="connsiteY44" fmla="*/ 5230 h 545798"/>
              <a:gd name="connsiteX45" fmla="*/ 445768 w 568738"/>
              <a:gd name="connsiteY45" fmla="*/ 256 h 545798"/>
              <a:gd name="connsiteX46" fmla="*/ 417945 w 568738"/>
              <a:gd name="connsiteY46" fmla="*/ 3032 h 545798"/>
              <a:gd name="connsiteX47" fmla="*/ 379999 w 568738"/>
              <a:gd name="connsiteY47" fmla="*/ 10726 h 545798"/>
              <a:gd name="connsiteX48" fmla="*/ 277384 w 568738"/>
              <a:gd name="connsiteY48" fmla="*/ 16510 h 545798"/>
              <a:gd name="connsiteX49" fmla="*/ 234984 w 568738"/>
              <a:gd name="connsiteY49" fmla="*/ 39185 h 545798"/>
              <a:gd name="connsiteX50" fmla="*/ 192179 w 568738"/>
              <a:gd name="connsiteY50" fmla="*/ 61397 h 545798"/>
              <a:gd name="connsiteX51" fmla="*/ 181883 w 568738"/>
              <a:gd name="connsiteY51" fmla="*/ 65967 h 545798"/>
              <a:gd name="connsiteX52" fmla="*/ 186395 w 568738"/>
              <a:gd name="connsiteY52" fmla="*/ 74412 h 545798"/>
              <a:gd name="connsiteX53" fmla="*/ 194955 w 568738"/>
              <a:gd name="connsiteY53" fmla="*/ 102929 h 54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8738" h="545798">
                <a:moveTo>
                  <a:pt x="194955" y="102929"/>
                </a:moveTo>
                <a:cubicBezTo>
                  <a:pt x="194955" y="113631"/>
                  <a:pt x="191369" y="126993"/>
                  <a:pt x="196749" y="127860"/>
                </a:cubicBezTo>
                <a:cubicBezTo>
                  <a:pt x="202128" y="128728"/>
                  <a:pt x="206524" y="142090"/>
                  <a:pt x="207392" y="146544"/>
                </a:cubicBezTo>
                <a:cubicBezTo>
                  <a:pt x="208260" y="150998"/>
                  <a:pt x="206524" y="157245"/>
                  <a:pt x="201203" y="157245"/>
                </a:cubicBezTo>
                <a:cubicBezTo>
                  <a:pt x="195881" y="157245"/>
                  <a:pt x="161117" y="153659"/>
                  <a:pt x="161117" y="159038"/>
                </a:cubicBezTo>
                <a:cubicBezTo>
                  <a:pt x="161117" y="164418"/>
                  <a:pt x="153076" y="168814"/>
                  <a:pt x="145094" y="168814"/>
                </a:cubicBezTo>
                <a:cubicBezTo>
                  <a:pt x="137111" y="168814"/>
                  <a:pt x="137111" y="167079"/>
                  <a:pt x="136186" y="175987"/>
                </a:cubicBezTo>
                <a:cubicBezTo>
                  <a:pt x="135260" y="184895"/>
                  <a:pt x="137979" y="192935"/>
                  <a:pt x="132773" y="192935"/>
                </a:cubicBezTo>
                <a:cubicBezTo>
                  <a:pt x="127567" y="192935"/>
                  <a:pt x="128319" y="200108"/>
                  <a:pt x="120279" y="200976"/>
                </a:cubicBezTo>
                <a:cubicBezTo>
                  <a:pt x="112238" y="201843"/>
                  <a:pt x="99802" y="200108"/>
                  <a:pt x="99802" y="208148"/>
                </a:cubicBezTo>
                <a:cubicBezTo>
                  <a:pt x="99773" y="216310"/>
                  <a:pt x="93676" y="223182"/>
                  <a:pt x="85572" y="224171"/>
                </a:cubicBezTo>
                <a:cubicBezTo>
                  <a:pt x="76664" y="225964"/>
                  <a:pt x="61509" y="222378"/>
                  <a:pt x="61509" y="229493"/>
                </a:cubicBezTo>
                <a:cubicBezTo>
                  <a:pt x="61509" y="236608"/>
                  <a:pt x="49940" y="231286"/>
                  <a:pt x="43693" y="234814"/>
                </a:cubicBezTo>
                <a:cubicBezTo>
                  <a:pt x="37446" y="238343"/>
                  <a:pt x="946" y="259745"/>
                  <a:pt x="78" y="263332"/>
                </a:cubicBezTo>
                <a:cubicBezTo>
                  <a:pt x="-385" y="265067"/>
                  <a:pt x="78" y="282710"/>
                  <a:pt x="714" y="300583"/>
                </a:cubicBezTo>
                <a:cubicBezTo>
                  <a:pt x="2022" y="302666"/>
                  <a:pt x="3861" y="304361"/>
                  <a:pt x="6036" y="305500"/>
                </a:cubicBezTo>
                <a:cubicBezTo>
                  <a:pt x="19514" y="313193"/>
                  <a:pt x="263385" y="474521"/>
                  <a:pt x="271078" y="482215"/>
                </a:cubicBezTo>
                <a:cubicBezTo>
                  <a:pt x="277719" y="489896"/>
                  <a:pt x="283532" y="498255"/>
                  <a:pt x="288432" y="507145"/>
                </a:cubicBezTo>
                <a:cubicBezTo>
                  <a:pt x="299150" y="508534"/>
                  <a:pt x="309545" y="511785"/>
                  <a:pt x="319147" y="516747"/>
                </a:cubicBezTo>
                <a:cubicBezTo>
                  <a:pt x="332625" y="524441"/>
                  <a:pt x="332567" y="545670"/>
                  <a:pt x="332567" y="545670"/>
                </a:cubicBezTo>
                <a:cubicBezTo>
                  <a:pt x="332567" y="545670"/>
                  <a:pt x="349920" y="541852"/>
                  <a:pt x="359465" y="539885"/>
                </a:cubicBezTo>
                <a:cubicBezTo>
                  <a:pt x="369009" y="537919"/>
                  <a:pt x="401691" y="526408"/>
                  <a:pt x="401691" y="526408"/>
                </a:cubicBezTo>
                <a:lnTo>
                  <a:pt x="451668" y="485917"/>
                </a:lnTo>
                <a:lnTo>
                  <a:pt x="568629" y="412743"/>
                </a:lnTo>
                <a:lnTo>
                  <a:pt x="568629" y="412743"/>
                </a:lnTo>
                <a:cubicBezTo>
                  <a:pt x="565043" y="399844"/>
                  <a:pt x="561168" y="389606"/>
                  <a:pt x="554862" y="389606"/>
                </a:cubicBezTo>
                <a:cubicBezTo>
                  <a:pt x="548558" y="389606"/>
                  <a:pt x="542831" y="383821"/>
                  <a:pt x="534733" y="383821"/>
                </a:cubicBezTo>
                <a:cubicBezTo>
                  <a:pt x="526635" y="383821"/>
                  <a:pt x="516570" y="379830"/>
                  <a:pt x="515586" y="372715"/>
                </a:cubicBezTo>
                <a:cubicBezTo>
                  <a:pt x="514603" y="365600"/>
                  <a:pt x="518594" y="360626"/>
                  <a:pt x="512578" y="351602"/>
                </a:cubicBezTo>
                <a:cubicBezTo>
                  <a:pt x="506563" y="342578"/>
                  <a:pt x="500489" y="338471"/>
                  <a:pt x="500489" y="334249"/>
                </a:cubicBezTo>
                <a:cubicBezTo>
                  <a:pt x="500489" y="330026"/>
                  <a:pt x="510728" y="322680"/>
                  <a:pt x="512058" y="320771"/>
                </a:cubicBezTo>
                <a:cubicBezTo>
                  <a:pt x="513388" y="318862"/>
                  <a:pt x="508009" y="312673"/>
                  <a:pt x="508009" y="308277"/>
                </a:cubicBezTo>
                <a:cubicBezTo>
                  <a:pt x="508009" y="303880"/>
                  <a:pt x="503960" y="296130"/>
                  <a:pt x="508009" y="291270"/>
                </a:cubicBezTo>
                <a:cubicBezTo>
                  <a:pt x="513082" y="286383"/>
                  <a:pt x="513932" y="278568"/>
                  <a:pt x="510033" y="272702"/>
                </a:cubicBezTo>
                <a:cubicBezTo>
                  <a:pt x="505579" y="263852"/>
                  <a:pt x="515818" y="255754"/>
                  <a:pt x="510843" y="244070"/>
                </a:cubicBezTo>
                <a:cubicBezTo>
                  <a:pt x="505869" y="232385"/>
                  <a:pt x="497481" y="223072"/>
                  <a:pt x="498291" y="219023"/>
                </a:cubicBezTo>
                <a:cubicBezTo>
                  <a:pt x="498638" y="217288"/>
                  <a:pt x="501241" y="215379"/>
                  <a:pt x="504365" y="213239"/>
                </a:cubicBezTo>
                <a:cubicBezTo>
                  <a:pt x="502785" y="211202"/>
                  <a:pt x="501929" y="208698"/>
                  <a:pt x="501935" y="206124"/>
                </a:cubicBezTo>
                <a:cubicBezTo>
                  <a:pt x="501935" y="194555"/>
                  <a:pt x="493895" y="164071"/>
                  <a:pt x="489036" y="157650"/>
                </a:cubicBezTo>
                <a:cubicBezTo>
                  <a:pt x="484177" y="151229"/>
                  <a:pt x="467981" y="146081"/>
                  <a:pt x="467981" y="141454"/>
                </a:cubicBezTo>
                <a:cubicBezTo>
                  <a:pt x="469045" y="133708"/>
                  <a:pt x="464603" y="126264"/>
                  <a:pt x="457279" y="123522"/>
                </a:cubicBezTo>
                <a:cubicBezTo>
                  <a:pt x="445710" y="118721"/>
                  <a:pt x="439521" y="94600"/>
                  <a:pt x="445710" y="94600"/>
                </a:cubicBezTo>
                <a:cubicBezTo>
                  <a:pt x="451900" y="94600"/>
                  <a:pt x="457279" y="80023"/>
                  <a:pt x="463469" y="76784"/>
                </a:cubicBezTo>
                <a:cubicBezTo>
                  <a:pt x="469658" y="73544"/>
                  <a:pt x="477988" y="57406"/>
                  <a:pt x="471509" y="47862"/>
                </a:cubicBezTo>
                <a:cubicBezTo>
                  <a:pt x="467229" y="41441"/>
                  <a:pt x="469427" y="21311"/>
                  <a:pt x="471509" y="5230"/>
                </a:cubicBezTo>
                <a:cubicBezTo>
                  <a:pt x="462734" y="4802"/>
                  <a:pt x="454069" y="3125"/>
                  <a:pt x="445768" y="256"/>
                </a:cubicBezTo>
                <a:cubicBezTo>
                  <a:pt x="440967" y="-1364"/>
                  <a:pt x="426853" y="2627"/>
                  <a:pt x="417945" y="3032"/>
                </a:cubicBezTo>
                <a:cubicBezTo>
                  <a:pt x="409037" y="3437"/>
                  <a:pt x="387288" y="17609"/>
                  <a:pt x="379999" y="10726"/>
                </a:cubicBezTo>
                <a:cubicBezTo>
                  <a:pt x="372711" y="3842"/>
                  <a:pt x="298381" y="15989"/>
                  <a:pt x="277384" y="16510"/>
                </a:cubicBezTo>
                <a:cubicBezTo>
                  <a:pt x="256386" y="17031"/>
                  <a:pt x="247536" y="39185"/>
                  <a:pt x="234984" y="39185"/>
                </a:cubicBezTo>
                <a:cubicBezTo>
                  <a:pt x="222432" y="39185"/>
                  <a:pt x="202707" y="49655"/>
                  <a:pt x="192179" y="61397"/>
                </a:cubicBezTo>
                <a:cubicBezTo>
                  <a:pt x="189588" y="64365"/>
                  <a:pt x="185822" y="66036"/>
                  <a:pt x="181883" y="65967"/>
                </a:cubicBezTo>
                <a:cubicBezTo>
                  <a:pt x="183080" y="68934"/>
                  <a:pt x="184590" y="71769"/>
                  <a:pt x="186395" y="74412"/>
                </a:cubicBezTo>
                <a:cubicBezTo>
                  <a:pt x="192416" y="82667"/>
                  <a:pt x="195436" y="92726"/>
                  <a:pt x="194955" y="10292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 name="Forma libre: forma 19">
            <a:extLst>
              <a:ext uri="{FF2B5EF4-FFF2-40B4-BE49-F238E27FC236}">
                <a16:creationId xmlns:a16="http://schemas.microsoft.com/office/drawing/2014/main" id="{4D209EE9-633F-F704-8809-69B30E61A8FE}"/>
              </a:ext>
            </a:extLst>
          </p:cNvPr>
          <p:cNvSpPr/>
          <p:nvPr/>
        </p:nvSpPr>
        <p:spPr>
          <a:xfrm>
            <a:off x="6447685" y="3536793"/>
            <a:ext cx="413578" cy="398200"/>
          </a:xfrm>
          <a:custGeom>
            <a:avLst/>
            <a:gdLst>
              <a:gd name="connsiteX0" fmla="*/ 45521 w 413578"/>
              <a:gd name="connsiteY0" fmla="*/ 22604 h 398200"/>
              <a:gd name="connsiteX1" fmla="*/ 24581 w 413578"/>
              <a:gd name="connsiteY1" fmla="*/ 42386 h 398200"/>
              <a:gd name="connsiteX2" fmla="*/ 22094 w 413578"/>
              <a:gd name="connsiteY2" fmla="*/ 54476 h 398200"/>
              <a:gd name="connsiteX3" fmla="*/ 17293 w 413578"/>
              <a:gd name="connsiteY3" fmla="*/ 76283 h 398200"/>
              <a:gd name="connsiteX4" fmla="*/ -60 w 413578"/>
              <a:gd name="connsiteY4" fmla="*/ 92075 h 398200"/>
              <a:gd name="connsiteX5" fmla="*/ 12492 w 413578"/>
              <a:gd name="connsiteY5" fmla="*/ 117121 h 398200"/>
              <a:gd name="connsiteX6" fmla="*/ 11682 w 413578"/>
              <a:gd name="connsiteY6" fmla="*/ 145754 h 398200"/>
              <a:gd name="connsiteX7" fmla="*/ 9773 w 413578"/>
              <a:gd name="connsiteY7" fmla="*/ 164380 h 398200"/>
              <a:gd name="connsiteX8" fmla="*/ 9773 w 413578"/>
              <a:gd name="connsiteY8" fmla="*/ 181386 h 398200"/>
              <a:gd name="connsiteX9" fmla="*/ 13822 w 413578"/>
              <a:gd name="connsiteY9" fmla="*/ 193881 h 398200"/>
              <a:gd name="connsiteX10" fmla="*/ 2254 w 413578"/>
              <a:gd name="connsiteY10" fmla="*/ 207358 h 398200"/>
              <a:gd name="connsiteX11" fmla="*/ 14343 w 413578"/>
              <a:gd name="connsiteY11" fmla="*/ 224712 h 398200"/>
              <a:gd name="connsiteX12" fmla="*/ 17351 w 413578"/>
              <a:gd name="connsiteY12" fmla="*/ 245825 h 398200"/>
              <a:gd name="connsiteX13" fmla="*/ 36497 w 413578"/>
              <a:gd name="connsiteY13" fmla="*/ 256931 h 398200"/>
              <a:gd name="connsiteX14" fmla="*/ 56627 w 413578"/>
              <a:gd name="connsiteY14" fmla="*/ 262715 h 398200"/>
              <a:gd name="connsiteX15" fmla="*/ 70394 w 413578"/>
              <a:gd name="connsiteY15" fmla="*/ 285853 h 398200"/>
              <a:gd name="connsiteX16" fmla="*/ 110422 w 413578"/>
              <a:gd name="connsiteY16" fmla="*/ 293547 h 398200"/>
              <a:gd name="connsiteX17" fmla="*/ 127776 w 413578"/>
              <a:gd name="connsiteY17" fmla="*/ 310900 h 398200"/>
              <a:gd name="connsiteX18" fmla="*/ 174051 w 413578"/>
              <a:gd name="connsiteY18" fmla="*/ 285911 h 398200"/>
              <a:gd name="connsiteX19" fmla="*/ 382291 w 413578"/>
              <a:gd name="connsiteY19" fmla="*/ 398071 h 398200"/>
              <a:gd name="connsiteX20" fmla="*/ 382291 w 413578"/>
              <a:gd name="connsiteY20" fmla="*/ 383610 h 398200"/>
              <a:gd name="connsiteX21" fmla="*/ 407569 w 413578"/>
              <a:gd name="connsiteY21" fmla="*/ 383610 h 398200"/>
              <a:gd name="connsiteX22" fmla="*/ 407569 w 413578"/>
              <a:gd name="connsiteY22" fmla="*/ 115791 h 398200"/>
              <a:gd name="connsiteX23" fmla="*/ 407569 w 413578"/>
              <a:gd name="connsiteY23" fmla="*/ 75300 h 398200"/>
              <a:gd name="connsiteX24" fmla="*/ 410981 w 413578"/>
              <a:gd name="connsiteY24" fmla="*/ 41577 h 398200"/>
              <a:gd name="connsiteX25" fmla="*/ 413469 w 413578"/>
              <a:gd name="connsiteY25" fmla="*/ 34751 h 398200"/>
              <a:gd name="connsiteX26" fmla="*/ 412659 w 413578"/>
              <a:gd name="connsiteY26" fmla="*/ 33710 h 398200"/>
              <a:gd name="connsiteX27" fmla="*/ 375928 w 413578"/>
              <a:gd name="connsiteY27" fmla="*/ 24050 h 398200"/>
              <a:gd name="connsiteX28" fmla="*/ 334337 w 413578"/>
              <a:gd name="connsiteY28" fmla="*/ 2648 h 398200"/>
              <a:gd name="connsiteX29" fmla="*/ 273370 w 413578"/>
              <a:gd name="connsiteY29" fmla="*/ 33710 h 398200"/>
              <a:gd name="connsiteX30" fmla="*/ 276956 w 413578"/>
              <a:gd name="connsiteY30" fmla="*/ 69284 h 398200"/>
              <a:gd name="connsiteX31" fmla="*/ 234903 w 413578"/>
              <a:gd name="connsiteY31" fmla="*/ 69689 h 398200"/>
              <a:gd name="connsiteX32" fmla="*/ 184521 w 413578"/>
              <a:gd name="connsiteY32" fmla="*/ 51526 h 398200"/>
              <a:gd name="connsiteX33" fmla="*/ 157450 w 413578"/>
              <a:gd name="connsiteY33" fmla="*/ 32148 h 398200"/>
              <a:gd name="connsiteX34" fmla="*/ 139634 w 413578"/>
              <a:gd name="connsiteY34" fmla="*/ 16357 h 398200"/>
              <a:gd name="connsiteX35" fmla="*/ 89598 w 413578"/>
              <a:gd name="connsiteY35" fmla="*/ 6465 h 398200"/>
              <a:gd name="connsiteX36" fmla="*/ 58073 w 413578"/>
              <a:gd name="connsiteY36" fmla="*/ -129 h 398200"/>
              <a:gd name="connsiteX37" fmla="*/ 57264 w 413578"/>
              <a:gd name="connsiteY37" fmla="*/ 14101 h 398200"/>
              <a:gd name="connsiteX38" fmla="*/ 45521 w 413578"/>
              <a:gd name="connsiteY38" fmla="*/ 22604 h 39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3578" h="398200">
                <a:moveTo>
                  <a:pt x="45521" y="22604"/>
                </a:moveTo>
                <a:cubicBezTo>
                  <a:pt x="42745" y="23819"/>
                  <a:pt x="28168" y="39147"/>
                  <a:pt x="24581" y="42386"/>
                </a:cubicBezTo>
                <a:cubicBezTo>
                  <a:pt x="21308" y="45499"/>
                  <a:pt x="20318" y="50323"/>
                  <a:pt x="22094" y="54476"/>
                </a:cubicBezTo>
                <a:cubicBezTo>
                  <a:pt x="23714" y="57715"/>
                  <a:pt x="20937" y="69458"/>
                  <a:pt x="17293" y="76283"/>
                </a:cubicBezTo>
                <a:cubicBezTo>
                  <a:pt x="13649" y="83109"/>
                  <a:pt x="692" y="87852"/>
                  <a:pt x="-60" y="92075"/>
                </a:cubicBezTo>
                <a:cubicBezTo>
                  <a:pt x="-812" y="96297"/>
                  <a:pt x="7228" y="105379"/>
                  <a:pt x="12492" y="117121"/>
                </a:cubicBezTo>
                <a:cubicBezTo>
                  <a:pt x="17756" y="128864"/>
                  <a:pt x="7228" y="136904"/>
                  <a:pt x="11682" y="145754"/>
                </a:cubicBezTo>
                <a:cubicBezTo>
                  <a:pt x="15645" y="151608"/>
                  <a:pt x="14840" y="159458"/>
                  <a:pt x="9773" y="164380"/>
                </a:cubicBezTo>
                <a:cubicBezTo>
                  <a:pt x="5724" y="169239"/>
                  <a:pt x="9773" y="176932"/>
                  <a:pt x="9773" y="181386"/>
                </a:cubicBezTo>
                <a:cubicBezTo>
                  <a:pt x="9773" y="185841"/>
                  <a:pt x="15558" y="192261"/>
                  <a:pt x="13822" y="193881"/>
                </a:cubicBezTo>
                <a:cubicBezTo>
                  <a:pt x="12087" y="195500"/>
                  <a:pt x="2254" y="203367"/>
                  <a:pt x="2254" y="207358"/>
                </a:cubicBezTo>
                <a:cubicBezTo>
                  <a:pt x="2254" y="211350"/>
                  <a:pt x="8038" y="215457"/>
                  <a:pt x="14343" y="224712"/>
                </a:cubicBezTo>
                <a:cubicBezTo>
                  <a:pt x="20648" y="233967"/>
                  <a:pt x="16310" y="238826"/>
                  <a:pt x="17351" y="245825"/>
                </a:cubicBezTo>
                <a:cubicBezTo>
                  <a:pt x="18392" y="252824"/>
                  <a:pt x="28457" y="256931"/>
                  <a:pt x="36497" y="256931"/>
                </a:cubicBezTo>
                <a:cubicBezTo>
                  <a:pt x="44538" y="256931"/>
                  <a:pt x="49628" y="262715"/>
                  <a:pt x="56627" y="262715"/>
                </a:cubicBezTo>
                <a:cubicBezTo>
                  <a:pt x="63626" y="262715"/>
                  <a:pt x="66808" y="273127"/>
                  <a:pt x="70394" y="285853"/>
                </a:cubicBezTo>
                <a:cubicBezTo>
                  <a:pt x="73402" y="285853"/>
                  <a:pt x="99316" y="286316"/>
                  <a:pt x="110422" y="293547"/>
                </a:cubicBezTo>
                <a:cubicBezTo>
                  <a:pt x="117312" y="298111"/>
                  <a:pt x="123212" y="304010"/>
                  <a:pt x="127776" y="310900"/>
                </a:cubicBezTo>
                <a:lnTo>
                  <a:pt x="174051" y="285911"/>
                </a:lnTo>
                <a:lnTo>
                  <a:pt x="382291" y="398071"/>
                </a:lnTo>
                <a:lnTo>
                  <a:pt x="382291" y="383610"/>
                </a:lnTo>
                <a:lnTo>
                  <a:pt x="407569" y="383610"/>
                </a:lnTo>
                <a:lnTo>
                  <a:pt x="407569" y="115791"/>
                </a:lnTo>
                <a:cubicBezTo>
                  <a:pt x="407569" y="97223"/>
                  <a:pt x="399123" y="85423"/>
                  <a:pt x="407569" y="75300"/>
                </a:cubicBezTo>
                <a:cubicBezTo>
                  <a:pt x="416014" y="65177"/>
                  <a:pt x="404213" y="60087"/>
                  <a:pt x="410981" y="41577"/>
                </a:cubicBezTo>
                <a:cubicBezTo>
                  <a:pt x="411733" y="39379"/>
                  <a:pt x="412601" y="37123"/>
                  <a:pt x="413469" y="34751"/>
                </a:cubicBezTo>
                <a:cubicBezTo>
                  <a:pt x="413121" y="34444"/>
                  <a:pt x="412890" y="34097"/>
                  <a:pt x="412659" y="33710"/>
                </a:cubicBezTo>
                <a:cubicBezTo>
                  <a:pt x="410634" y="27925"/>
                  <a:pt x="399701" y="27636"/>
                  <a:pt x="375928" y="24050"/>
                </a:cubicBezTo>
                <a:cubicBezTo>
                  <a:pt x="352154" y="20464"/>
                  <a:pt x="360946" y="4267"/>
                  <a:pt x="334337" y="2648"/>
                </a:cubicBezTo>
                <a:cubicBezTo>
                  <a:pt x="307729" y="1028"/>
                  <a:pt x="273717" y="22430"/>
                  <a:pt x="273370" y="33710"/>
                </a:cubicBezTo>
                <a:cubicBezTo>
                  <a:pt x="273023" y="44989"/>
                  <a:pt x="285864" y="57542"/>
                  <a:pt x="276956" y="69284"/>
                </a:cubicBezTo>
                <a:cubicBezTo>
                  <a:pt x="268048" y="81027"/>
                  <a:pt x="248728" y="82126"/>
                  <a:pt x="234903" y="69689"/>
                </a:cubicBezTo>
                <a:cubicBezTo>
                  <a:pt x="220818" y="57808"/>
                  <a:pt x="202944" y="51364"/>
                  <a:pt x="184521" y="51526"/>
                </a:cubicBezTo>
                <a:cubicBezTo>
                  <a:pt x="167920" y="51526"/>
                  <a:pt x="156235" y="40998"/>
                  <a:pt x="157450" y="32148"/>
                </a:cubicBezTo>
                <a:cubicBezTo>
                  <a:pt x="158664" y="23298"/>
                  <a:pt x="153401" y="19191"/>
                  <a:pt x="139634" y="16357"/>
                </a:cubicBezTo>
                <a:cubicBezTo>
                  <a:pt x="125867" y="13522"/>
                  <a:pt x="113893" y="2416"/>
                  <a:pt x="89598" y="6465"/>
                </a:cubicBezTo>
                <a:cubicBezTo>
                  <a:pt x="78637" y="8282"/>
                  <a:pt x="67386" y="5927"/>
                  <a:pt x="58073" y="-129"/>
                </a:cubicBezTo>
                <a:cubicBezTo>
                  <a:pt x="57477" y="4591"/>
                  <a:pt x="57206" y="9346"/>
                  <a:pt x="57264" y="14101"/>
                </a:cubicBezTo>
                <a:cubicBezTo>
                  <a:pt x="57611" y="23009"/>
                  <a:pt x="48355" y="21331"/>
                  <a:pt x="45521" y="2260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 name="Forma libre: forma 20">
            <a:extLst>
              <a:ext uri="{FF2B5EF4-FFF2-40B4-BE49-F238E27FC236}">
                <a16:creationId xmlns:a16="http://schemas.microsoft.com/office/drawing/2014/main" id="{DF385D64-CD9B-C664-B880-D2E1E9BFDE1A}"/>
              </a:ext>
            </a:extLst>
          </p:cNvPr>
          <p:cNvSpPr/>
          <p:nvPr/>
        </p:nvSpPr>
        <p:spPr>
          <a:xfrm>
            <a:off x="5730639" y="4097314"/>
            <a:ext cx="79073" cy="23301"/>
          </a:xfrm>
          <a:custGeom>
            <a:avLst/>
            <a:gdLst>
              <a:gd name="connsiteX0" fmla="*/ 38993 w 79073"/>
              <a:gd name="connsiteY0" fmla="*/ 12876 h 23301"/>
              <a:gd name="connsiteX1" fmla="*/ 62131 w 79073"/>
              <a:gd name="connsiteY1" fmla="*/ 19008 h 23301"/>
              <a:gd name="connsiteX2" fmla="*/ 78964 w 79073"/>
              <a:gd name="connsiteY2" fmla="*/ 14554 h 23301"/>
              <a:gd name="connsiteX3" fmla="*/ 64155 w 79073"/>
              <a:gd name="connsiteY3" fmla="*/ 12529 h 23301"/>
              <a:gd name="connsiteX4" fmla="*/ 38125 w 79073"/>
              <a:gd name="connsiteY4" fmla="*/ 961 h 23301"/>
              <a:gd name="connsiteX5" fmla="*/ 3419 w 79073"/>
              <a:gd name="connsiteY5" fmla="*/ 6745 h 23301"/>
              <a:gd name="connsiteX6" fmla="*/ -110 w 79073"/>
              <a:gd name="connsiteY6" fmla="*/ 23173 h 23301"/>
              <a:gd name="connsiteX7" fmla="*/ 7873 w 79073"/>
              <a:gd name="connsiteY7" fmla="*/ 21495 h 23301"/>
              <a:gd name="connsiteX8" fmla="*/ 38993 w 79073"/>
              <a:gd name="connsiteY8" fmla="*/ 12876 h 2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73" h="23301">
                <a:moveTo>
                  <a:pt x="38993" y="12876"/>
                </a:moveTo>
                <a:cubicBezTo>
                  <a:pt x="44778" y="7728"/>
                  <a:pt x="53801" y="17967"/>
                  <a:pt x="62131" y="19008"/>
                </a:cubicBezTo>
                <a:cubicBezTo>
                  <a:pt x="68060" y="19245"/>
                  <a:pt x="73925" y="17695"/>
                  <a:pt x="78964" y="14554"/>
                </a:cubicBezTo>
                <a:cubicBezTo>
                  <a:pt x="74157" y="13142"/>
                  <a:pt x="69165" y="12460"/>
                  <a:pt x="64155" y="12529"/>
                </a:cubicBezTo>
                <a:cubicBezTo>
                  <a:pt x="50909" y="11488"/>
                  <a:pt x="49868" y="-4361"/>
                  <a:pt x="38125" y="961"/>
                </a:cubicBezTo>
                <a:cubicBezTo>
                  <a:pt x="27471" y="6548"/>
                  <a:pt x="15306" y="8573"/>
                  <a:pt x="3419" y="6745"/>
                </a:cubicBezTo>
                <a:cubicBezTo>
                  <a:pt x="3419" y="11199"/>
                  <a:pt x="642" y="17215"/>
                  <a:pt x="-110" y="23173"/>
                </a:cubicBezTo>
                <a:cubicBezTo>
                  <a:pt x="2511" y="22432"/>
                  <a:pt x="5177" y="21871"/>
                  <a:pt x="7873" y="21495"/>
                </a:cubicBezTo>
                <a:cubicBezTo>
                  <a:pt x="16029" y="21032"/>
                  <a:pt x="33382" y="17967"/>
                  <a:pt x="38993" y="1287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 name="Forma libre: forma 21">
            <a:extLst>
              <a:ext uri="{FF2B5EF4-FFF2-40B4-BE49-F238E27FC236}">
                <a16:creationId xmlns:a16="http://schemas.microsoft.com/office/drawing/2014/main" id="{663F5794-A309-DD11-CE99-5D3D9E5DCC06}"/>
              </a:ext>
            </a:extLst>
          </p:cNvPr>
          <p:cNvSpPr/>
          <p:nvPr/>
        </p:nvSpPr>
        <p:spPr>
          <a:xfrm>
            <a:off x="5719304" y="4021373"/>
            <a:ext cx="155756" cy="121970"/>
          </a:xfrm>
          <a:custGeom>
            <a:avLst/>
            <a:gdLst>
              <a:gd name="connsiteX0" fmla="*/ 30893 w 155756"/>
              <a:gd name="connsiteY0" fmla="*/ 118954 h 121970"/>
              <a:gd name="connsiteX1" fmla="*/ 46222 w 155756"/>
              <a:gd name="connsiteY1" fmla="*/ 112765 h 121970"/>
              <a:gd name="connsiteX2" fmla="*/ 86076 w 155756"/>
              <a:gd name="connsiteY2" fmla="*/ 109757 h 121970"/>
              <a:gd name="connsiteX3" fmla="*/ 92960 w 155756"/>
              <a:gd name="connsiteY3" fmla="*/ 111608 h 121970"/>
              <a:gd name="connsiteX4" fmla="*/ 92960 w 155756"/>
              <a:gd name="connsiteY4" fmla="*/ 109063 h 121970"/>
              <a:gd name="connsiteX5" fmla="*/ 112396 w 155756"/>
              <a:gd name="connsiteY5" fmla="*/ 116930 h 121970"/>
              <a:gd name="connsiteX6" fmla="*/ 152366 w 155756"/>
              <a:gd name="connsiteY6" fmla="*/ 119359 h 121970"/>
              <a:gd name="connsiteX7" fmla="*/ 155374 w 155756"/>
              <a:gd name="connsiteY7" fmla="*/ 118318 h 121970"/>
              <a:gd name="connsiteX8" fmla="*/ 155374 w 155756"/>
              <a:gd name="connsiteY8" fmla="*/ 100965 h 121970"/>
              <a:gd name="connsiteX9" fmla="*/ 140797 w 155756"/>
              <a:gd name="connsiteY9" fmla="*/ 83264 h 121970"/>
              <a:gd name="connsiteX10" fmla="*/ 136748 w 155756"/>
              <a:gd name="connsiteY10" fmla="*/ 66258 h 121970"/>
              <a:gd name="connsiteX11" fmla="*/ 131773 w 155756"/>
              <a:gd name="connsiteY11" fmla="*/ 58796 h 121970"/>
              <a:gd name="connsiteX12" fmla="*/ 116387 w 155756"/>
              <a:gd name="connsiteY12" fmla="*/ 39592 h 121970"/>
              <a:gd name="connsiteX13" fmla="*/ 97182 w 155756"/>
              <a:gd name="connsiteY13" fmla="*/ 14603 h 121970"/>
              <a:gd name="connsiteX14" fmla="*/ 87407 w 155756"/>
              <a:gd name="connsiteY14" fmla="*/ 14603 h 121970"/>
              <a:gd name="connsiteX15" fmla="*/ 72078 w 155756"/>
              <a:gd name="connsiteY15" fmla="*/ 1183 h 121970"/>
              <a:gd name="connsiteX16" fmla="*/ 50965 w 155756"/>
              <a:gd name="connsiteY16" fmla="*/ 3092 h 121970"/>
              <a:gd name="connsiteX17" fmla="*/ 25976 w 155756"/>
              <a:gd name="connsiteY17" fmla="*/ 3092 h 121970"/>
              <a:gd name="connsiteX18" fmla="*/ 10647 w 155756"/>
              <a:gd name="connsiteY18" fmla="*/ 16570 h 121970"/>
              <a:gd name="connsiteX19" fmla="*/ 9259 w 155756"/>
              <a:gd name="connsiteY19" fmla="*/ 16917 h 121970"/>
              <a:gd name="connsiteX20" fmla="*/ 2954 w 155756"/>
              <a:gd name="connsiteY20" fmla="*/ 38782 h 121970"/>
              <a:gd name="connsiteX21" fmla="*/ 13077 w 155756"/>
              <a:gd name="connsiteY21" fmla="*/ 77538 h 121970"/>
              <a:gd name="connsiteX22" fmla="*/ 14696 w 155756"/>
              <a:gd name="connsiteY22" fmla="*/ 82744 h 121970"/>
              <a:gd name="connsiteX23" fmla="*/ 49403 w 155756"/>
              <a:gd name="connsiteY23" fmla="*/ 76959 h 121970"/>
              <a:gd name="connsiteX24" fmla="*/ 75433 w 155756"/>
              <a:gd name="connsiteY24" fmla="*/ 88528 h 121970"/>
              <a:gd name="connsiteX25" fmla="*/ 90299 w 155756"/>
              <a:gd name="connsiteY25" fmla="*/ 90495 h 121970"/>
              <a:gd name="connsiteX26" fmla="*/ 73466 w 155756"/>
              <a:gd name="connsiteY26" fmla="*/ 95064 h 121970"/>
              <a:gd name="connsiteX27" fmla="*/ 50329 w 155756"/>
              <a:gd name="connsiteY27" fmla="*/ 88933 h 121970"/>
              <a:gd name="connsiteX28" fmla="*/ 19151 w 155756"/>
              <a:gd name="connsiteY28" fmla="*/ 97610 h 121970"/>
              <a:gd name="connsiteX29" fmla="*/ 11168 w 155756"/>
              <a:gd name="connsiteY29" fmla="*/ 99287 h 121970"/>
              <a:gd name="connsiteX30" fmla="*/ 14291 w 155756"/>
              <a:gd name="connsiteY30" fmla="*/ 112013 h 121970"/>
              <a:gd name="connsiteX31" fmla="*/ 17068 w 155756"/>
              <a:gd name="connsiteY31" fmla="*/ 115310 h 121970"/>
              <a:gd name="connsiteX32" fmla="*/ 30893 w 155756"/>
              <a:gd name="connsiteY32" fmla="*/ 118954 h 1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5756" h="121970">
                <a:moveTo>
                  <a:pt x="30893" y="118954"/>
                </a:moveTo>
                <a:cubicBezTo>
                  <a:pt x="35983" y="119475"/>
                  <a:pt x="46222" y="112765"/>
                  <a:pt x="46222" y="112765"/>
                </a:cubicBezTo>
                <a:cubicBezTo>
                  <a:pt x="46222" y="112765"/>
                  <a:pt x="80465" y="110278"/>
                  <a:pt x="86076" y="109757"/>
                </a:cubicBezTo>
                <a:cubicBezTo>
                  <a:pt x="88494" y="109768"/>
                  <a:pt x="90866" y="110405"/>
                  <a:pt x="92960" y="111608"/>
                </a:cubicBezTo>
                <a:cubicBezTo>
                  <a:pt x="93012" y="110758"/>
                  <a:pt x="93012" y="109913"/>
                  <a:pt x="92960" y="109063"/>
                </a:cubicBezTo>
                <a:cubicBezTo>
                  <a:pt x="92960" y="109063"/>
                  <a:pt x="111123" y="112707"/>
                  <a:pt x="112396" y="116930"/>
                </a:cubicBezTo>
                <a:cubicBezTo>
                  <a:pt x="113668" y="121152"/>
                  <a:pt x="138425" y="124218"/>
                  <a:pt x="152366" y="119359"/>
                </a:cubicBezTo>
                <a:cubicBezTo>
                  <a:pt x="153349" y="119012"/>
                  <a:pt x="154333" y="118607"/>
                  <a:pt x="155374" y="118318"/>
                </a:cubicBezTo>
                <a:cubicBezTo>
                  <a:pt x="155738" y="112539"/>
                  <a:pt x="155738" y="106743"/>
                  <a:pt x="155374" y="100965"/>
                </a:cubicBezTo>
                <a:cubicBezTo>
                  <a:pt x="154564" y="96973"/>
                  <a:pt x="145656" y="88066"/>
                  <a:pt x="140797" y="83264"/>
                </a:cubicBezTo>
                <a:cubicBezTo>
                  <a:pt x="135938" y="78463"/>
                  <a:pt x="136748" y="66258"/>
                  <a:pt x="136748" y="66258"/>
                </a:cubicBezTo>
                <a:lnTo>
                  <a:pt x="131773" y="58796"/>
                </a:lnTo>
                <a:cubicBezTo>
                  <a:pt x="131773" y="58796"/>
                  <a:pt x="127898" y="43467"/>
                  <a:pt x="116387" y="39592"/>
                </a:cubicBezTo>
                <a:cubicBezTo>
                  <a:pt x="104876" y="35716"/>
                  <a:pt x="97182" y="14603"/>
                  <a:pt x="97182" y="14603"/>
                </a:cubicBezTo>
                <a:lnTo>
                  <a:pt x="87407" y="14603"/>
                </a:lnTo>
                <a:cubicBezTo>
                  <a:pt x="83120" y="9270"/>
                  <a:pt x="77932" y="4729"/>
                  <a:pt x="72078" y="1183"/>
                </a:cubicBezTo>
                <a:cubicBezTo>
                  <a:pt x="64385" y="-2634"/>
                  <a:pt x="50965" y="3092"/>
                  <a:pt x="50965" y="3092"/>
                </a:cubicBezTo>
                <a:cubicBezTo>
                  <a:pt x="42670" y="4162"/>
                  <a:pt x="34271" y="4162"/>
                  <a:pt x="25976" y="3092"/>
                </a:cubicBezTo>
                <a:cubicBezTo>
                  <a:pt x="16374" y="1183"/>
                  <a:pt x="18283" y="14661"/>
                  <a:pt x="10647" y="16570"/>
                </a:cubicBezTo>
                <a:lnTo>
                  <a:pt x="9259" y="16917"/>
                </a:lnTo>
                <a:cubicBezTo>
                  <a:pt x="8895" y="24598"/>
                  <a:pt x="6737" y="32084"/>
                  <a:pt x="2954" y="38782"/>
                </a:cubicBezTo>
                <a:cubicBezTo>
                  <a:pt x="-5896" y="52144"/>
                  <a:pt x="6598" y="71522"/>
                  <a:pt x="13077" y="77538"/>
                </a:cubicBezTo>
                <a:cubicBezTo>
                  <a:pt x="14373" y="78943"/>
                  <a:pt x="14963" y="80852"/>
                  <a:pt x="14696" y="82744"/>
                </a:cubicBezTo>
                <a:cubicBezTo>
                  <a:pt x="26589" y="84577"/>
                  <a:pt x="38748" y="82547"/>
                  <a:pt x="49403" y="76959"/>
                </a:cubicBezTo>
                <a:cubicBezTo>
                  <a:pt x="60972" y="71175"/>
                  <a:pt x="62187" y="87198"/>
                  <a:pt x="75433" y="88528"/>
                </a:cubicBezTo>
                <a:cubicBezTo>
                  <a:pt x="80460" y="88436"/>
                  <a:pt x="85469" y="89101"/>
                  <a:pt x="90299" y="90495"/>
                </a:cubicBezTo>
                <a:cubicBezTo>
                  <a:pt x="85278" y="93676"/>
                  <a:pt x="79407" y="95267"/>
                  <a:pt x="73466" y="95064"/>
                </a:cubicBezTo>
                <a:cubicBezTo>
                  <a:pt x="65310" y="94023"/>
                  <a:pt x="56113" y="83785"/>
                  <a:pt x="50329" y="88933"/>
                </a:cubicBezTo>
                <a:cubicBezTo>
                  <a:pt x="44544" y="94081"/>
                  <a:pt x="27191" y="97089"/>
                  <a:pt x="19151" y="97610"/>
                </a:cubicBezTo>
                <a:cubicBezTo>
                  <a:pt x="16455" y="97986"/>
                  <a:pt x="13788" y="98547"/>
                  <a:pt x="11168" y="99287"/>
                </a:cubicBezTo>
                <a:cubicBezTo>
                  <a:pt x="10185" y="103782"/>
                  <a:pt x="11336" y="108484"/>
                  <a:pt x="14291" y="112013"/>
                </a:cubicBezTo>
                <a:cubicBezTo>
                  <a:pt x="15333" y="113170"/>
                  <a:pt x="16200" y="114211"/>
                  <a:pt x="17068" y="115310"/>
                </a:cubicBezTo>
                <a:cubicBezTo>
                  <a:pt x="30893" y="111666"/>
                  <a:pt x="26670" y="118492"/>
                  <a:pt x="30893" y="11895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 name="Forma libre: forma 22">
            <a:extLst>
              <a:ext uri="{FF2B5EF4-FFF2-40B4-BE49-F238E27FC236}">
                <a16:creationId xmlns:a16="http://schemas.microsoft.com/office/drawing/2014/main" id="{98D14FCC-C730-95BB-FAA0-83A388F86EC2}"/>
              </a:ext>
            </a:extLst>
          </p:cNvPr>
          <p:cNvSpPr/>
          <p:nvPr/>
        </p:nvSpPr>
        <p:spPr>
          <a:xfrm>
            <a:off x="5736250" y="4131259"/>
            <a:ext cx="75899" cy="45176"/>
          </a:xfrm>
          <a:custGeom>
            <a:avLst/>
            <a:gdLst>
              <a:gd name="connsiteX0" fmla="*/ 39745 w 75899"/>
              <a:gd name="connsiteY0" fmla="*/ 42155 h 45176"/>
              <a:gd name="connsiteX1" fmla="*/ 62131 w 75899"/>
              <a:gd name="connsiteY1" fmla="*/ 28851 h 45176"/>
              <a:gd name="connsiteX2" fmla="*/ 71849 w 75899"/>
              <a:gd name="connsiteY2" fmla="*/ 24628 h 45176"/>
              <a:gd name="connsiteX3" fmla="*/ 69998 w 75899"/>
              <a:gd name="connsiteY3" fmla="*/ 11902 h 45176"/>
              <a:gd name="connsiteX4" fmla="*/ 75782 w 75899"/>
              <a:gd name="connsiteY4" fmla="*/ 1722 h 45176"/>
              <a:gd name="connsiteX5" fmla="*/ 68899 w 75899"/>
              <a:gd name="connsiteY5" fmla="*/ -129 h 45176"/>
              <a:gd name="connsiteX6" fmla="*/ 29044 w 75899"/>
              <a:gd name="connsiteY6" fmla="*/ 2879 h 45176"/>
              <a:gd name="connsiteX7" fmla="*/ 13715 w 75899"/>
              <a:gd name="connsiteY7" fmla="*/ 9068 h 45176"/>
              <a:gd name="connsiteX8" fmla="*/ -110 w 75899"/>
              <a:gd name="connsiteY8" fmla="*/ 5308 h 45176"/>
              <a:gd name="connsiteX9" fmla="*/ 21756 w 75899"/>
              <a:gd name="connsiteY9" fmla="*/ 22199 h 45176"/>
              <a:gd name="connsiteX10" fmla="*/ 33325 w 75899"/>
              <a:gd name="connsiteY10" fmla="*/ 42791 h 45176"/>
              <a:gd name="connsiteX11" fmla="*/ 36448 w 75899"/>
              <a:gd name="connsiteY11" fmla="*/ 45047 h 45176"/>
              <a:gd name="connsiteX12" fmla="*/ 39745 w 75899"/>
              <a:gd name="connsiteY12" fmla="*/ 42155 h 4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899" h="45176">
                <a:moveTo>
                  <a:pt x="39745" y="42155"/>
                </a:moveTo>
                <a:cubicBezTo>
                  <a:pt x="45530" y="37932"/>
                  <a:pt x="57908" y="27000"/>
                  <a:pt x="62131" y="28851"/>
                </a:cubicBezTo>
                <a:cubicBezTo>
                  <a:pt x="66353" y="30702"/>
                  <a:pt x="71849" y="27000"/>
                  <a:pt x="71849" y="24628"/>
                </a:cubicBezTo>
                <a:cubicBezTo>
                  <a:pt x="71849" y="22257"/>
                  <a:pt x="63404" y="14332"/>
                  <a:pt x="69998" y="11902"/>
                </a:cubicBezTo>
                <a:cubicBezTo>
                  <a:pt x="73705" y="9884"/>
                  <a:pt x="75944" y="5939"/>
                  <a:pt x="75782" y="1722"/>
                </a:cubicBezTo>
                <a:cubicBezTo>
                  <a:pt x="73688" y="519"/>
                  <a:pt x="71317" y="-118"/>
                  <a:pt x="68899" y="-129"/>
                </a:cubicBezTo>
                <a:cubicBezTo>
                  <a:pt x="63114" y="391"/>
                  <a:pt x="29044" y="2879"/>
                  <a:pt x="29044" y="2879"/>
                </a:cubicBezTo>
                <a:cubicBezTo>
                  <a:pt x="29044" y="2879"/>
                  <a:pt x="18806" y="9589"/>
                  <a:pt x="13715" y="9068"/>
                </a:cubicBezTo>
                <a:cubicBezTo>
                  <a:pt x="8625" y="8548"/>
                  <a:pt x="13715" y="1780"/>
                  <a:pt x="-110" y="5308"/>
                </a:cubicBezTo>
                <a:cubicBezTo>
                  <a:pt x="6774" y="13927"/>
                  <a:pt x="7700" y="18208"/>
                  <a:pt x="21756" y="22199"/>
                </a:cubicBezTo>
                <a:cubicBezTo>
                  <a:pt x="37489" y="26653"/>
                  <a:pt x="20541" y="34751"/>
                  <a:pt x="33325" y="42791"/>
                </a:cubicBezTo>
                <a:cubicBezTo>
                  <a:pt x="34412" y="43474"/>
                  <a:pt x="35459" y="44226"/>
                  <a:pt x="36448" y="45047"/>
                </a:cubicBezTo>
                <a:cubicBezTo>
                  <a:pt x="37478" y="44012"/>
                  <a:pt x="38583" y="43046"/>
                  <a:pt x="39745" y="4215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 name="Forma libre: forma 23">
            <a:extLst>
              <a:ext uri="{FF2B5EF4-FFF2-40B4-BE49-F238E27FC236}">
                <a16:creationId xmlns:a16="http://schemas.microsoft.com/office/drawing/2014/main" id="{17A6F4E7-1376-E40D-A9DC-5336FA26424D}"/>
              </a:ext>
            </a:extLst>
          </p:cNvPr>
          <p:cNvSpPr/>
          <p:nvPr/>
        </p:nvSpPr>
        <p:spPr>
          <a:xfrm>
            <a:off x="6582049" y="4174122"/>
            <a:ext cx="334860" cy="233979"/>
          </a:xfrm>
          <a:custGeom>
            <a:avLst/>
            <a:gdLst>
              <a:gd name="connsiteX0" fmla="*/ 309762 w 334860"/>
              <a:gd name="connsiteY0" fmla="*/ 132160 h 233979"/>
              <a:gd name="connsiteX1" fmla="*/ 299697 w 334860"/>
              <a:gd name="connsiteY1" fmla="*/ 113650 h 233979"/>
              <a:gd name="connsiteX2" fmla="*/ 282864 w 334860"/>
              <a:gd name="connsiteY2" fmla="*/ 98437 h 233979"/>
              <a:gd name="connsiteX3" fmla="*/ 271296 w 334860"/>
              <a:gd name="connsiteY3" fmla="*/ 81604 h 233979"/>
              <a:gd name="connsiteX4" fmla="*/ 249373 w 334860"/>
              <a:gd name="connsiteY4" fmla="*/ 71539 h 233979"/>
              <a:gd name="connsiteX5" fmla="*/ 246018 w 334860"/>
              <a:gd name="connsiteY5" fmla="*/ 63094 h 233979"/>
              <a:gd name="connsiteX6" fmla="*/ 234449 w 334860"/>
              <a:gd name="connsiteY6" fmla="*/ 61417 h 233979"/>
              <a:gd name="connsiteX7" fmla="*/ 237862 w 334860"/>
              <a:gd name="connsiteY7" fmla="*/ 51294 h 233979"/>
              <a:gd name="connsiteX8" fmla="*/ 236126 w 334860"/>
              <a:gd name="connsiteY8" fmla="*/ 27693 h 233979"/>
              <a:gd name="connsiteX9" fmla="*/ 216807 w 334860"/>
              <a:gd name="connsiteY9" fmla="*/ 1779 h 233979"/>
              <a:gd name="connsiteX10" fmla="*/ 212063 w 334860"/>
              <a:gd name="connsiteY10" fmla="*/ 738 h 233979"/>
              <a:gd name="connsiteX11" fmla="*/ 189446 w 334860"/>
              <a:gd name="connsiteY11" fmla="*/ 9588 h 233979"/>
              <a:gd name="connsiteX12" fmla="*/ 183662 w 334860"/>
              <a:gd name="connsiteY12" fmla="*/ 22545 h 233979"/>
              <a:gd name="connsiteX13" fmla="*/ 156995 w 334860"/>
              <a:gd name="connsiteY13" fmla="*/ 50021 h 233979"/>
              <a:gd name="connsiteX14" fmla="*/ 118240 w 334860"/>
              <a:gd name="connsiteY14" fmla="*/ 58062 h 233979"/>
              <a:gd name="connsiteX15" fmla="*/ 116620 w 334860"/>
              <a:gd name="connsiteY15" fmla="*/ 72638 h 233979"/>
              <a:gd name="connsiteX16" fmla="*/ 92383 w 334860"/>
              <a:gd name="connsiteY16" fmla="*/ 85538 h 233979"/>
              <a:gd name="connsiteX17" fmla="*/ 62478 w 334860"/>
              <a:gd name="connsiteY17" fmla="*/ 94446 h 233979"/>
              <a:gd name="connsiteX18" fmla="*/ 44720 w 334860"/>
              <a:gd name="connsiteY18" fmla="*/ 94446 h 233979"/>
              <a:gd name="connsiteX19" fmla="*/ 29391 w 334860"/>
              <a:gd name="connsiteY19" fmla="*/ 100867 h 233979"/>
              <a:gd name="connsiteX20" fmla="*/ 26962 w 334860"/>
              <a:gd name="connsiteY20" fmla="*/ 98032 h 233979"/>
              <a:gd name="connsiteX21" fmla="*/ 13195 w 334860"/>
              <a:gd name="connsiteY21" fmla="*/ 115038 h 233979"/>
              <a:gd name="connsiteX22" fmla="*/ -110 w 334860"/>
              <a:gd name="connsiteY22" fmla="*/ 142283 h 233979"/>
              <a:gd name="connsiteX23" fmla="*/ 3477 w 334860"/>
              <a:gd name="connsiteY23" fmla="*/ 164669 h 233979"/>
              <a:gd name="connsiteX24" fmla="*/ 11401 w 334860"/>
              <a:gd name="connsiteY24" fmla="*/ 186476 h 233979"/>
              <a:gd name="connsiteX25" fmla="*/ 15624 w 334860"/>
              <a:gd name="connsiteY25" fmla="*/ 202846 h 233979"/>
              <a:gd name="connsiteX26" fmla="*/ 21408 w 334860"/>
              <a:gd name="connsiteY26" fmla="*/ 211928 h 233979"/>
              <a:gd name="connsiteX27" fmla="*/ 38762 w 334860"/>
              <a:gd name="connsiteY27" fmla="*/ 229281 h 233979"/>
              <a:gd name="connsiteX28" fmla="*/ 43447 w 334860"/>
              <a:gd name="connsiteY28" fmla="*/ 233850 h 233979"/>
              <a:gd name="connsiteX29" fmla="*/ 45067 w 334860"/>
              <a:gd name="connsiteY29" fmla="*/ 231305 h 233979"/>
              <a:gd name="connsiteX30" fmla="*/ 50157 w 334860"/>
              <a:gd name="connsiteY30" fmla="*/ 211060 h 233979"/>
              <a:gd name="connsiteX31" fmla="*/ 65312 w 334860"/>
              <a:gd name="connsiteY31" fmla="*/ 207763 h 233979"/>
              <a:gd name="connsiteX32" fmla="*/ 76881 w 334860"/>
              <a:gd name="connsiteY32" fmla="*/ 204350 h 233979"/>
              <a:gd name="connsiteX33" fmla="*/ 100539 w 334860"/>
              <a:gd name="connsiteY33" fmla="*/ 207763 h 233979"/>
              <a:gd name="connsiteX34" fmla="*/ 100539 w 334860"/>
              <a:gd name="connsiteY34" fmla="*/ 189194 h 233979"/>
              <a:gd name="connsiteX35" fmla="*/ 129114 w 334860"/>
              <a:gd name="connsiteY35" fmla="*/ 167272 h 233979"/>
              <a:gd name="connsiteX36" fmla="*/ 151038 w 334860"/>
              <a:gd name="connsiteY36" fmla="*/ 182485 h 233979"/>
              <a:gd name="connsiteX37" fmla="*/ 203097 w 334860"/>
              <a:gd name="connsiteY37" fmla="*/ 192550 h 233979"/>
              <a:gd name="connsiteX38" fmla="*/ 211543 w 334860"/>
              <a:gd name="connsiteY38" fmla="*/ 174039 h 233979"/>
              <a:gd name="connsiteX39" fmla="*/ 233408 w 334860"/>
              <a:gd name="connsiteY39" fmla="*/ 174039 h 233979"/>
              <a:gd name="connsiteX40" fmla="*/ 262330 w 334860"/>
              <a:gd name="connsiteY40" fmla="*/ 165594 h 233979"/>
              <a:gd name="connsiteX41" fmla="*/ 284253 w 334860"/>
              <a:gd name="connsiteY41" fmla="*/ 162239 h 233979"/>
              <a:gd name="connsiteX42" fmla="*/ 314564 w 334860"/>
              <a:gd name="connsiteY42" fmla="*/ 165594 h 233979"/>
              <a:gd name="connsiteX43" fmla="*/ 334751 w 334860"/>
              <a:gd name="connsiteY43" fmla="*/ 162239 h 233979"/>
              <a:gd name="connsiteX44" fmla="*/ 328041 w 334860"/>
              <a:gd name="connsiteY44" fmla="*/ 145407 h 233979"/>
              <a:gd name="connsiteX45" fmla="*/ 309762 w 334860"/>
              <a:gd name="connsiteY45" fmla="*/ 132160 h 23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34860" h="233979">
                <a:moveTo>
                  <a:pt x="309762" y="132160"/>
                </a:moveTo>
                <a:cubicBezTo>
                  <a:pt x="309762" y="127128"/>
                  <a:pt x="309762" y="122037"/>
                  <a:pt x="299697" y="113650"/>
                </a:cubicBezTo>
                <a:cubicBezTo>
                  <a:pt x="289632" y="105263"/>
                  <a:pt x="282864" y="103527"/>
                  <a:pt x="282864" y="98437"/>
                </a:cubicBezTo>
                <a:cubicBezTo>
                  <a:pt x="282864" y="93347"/>
                  <a:pt x="279510" y="91727"/>
                  <a:pt x="271296" y="81604"/>
                </a:cubicBezTo>
                <a:cubicBezTo>
                  <a:pt x="265627" y="75444"/>
                  <a:pt x="257760" y="71817"/>
                  <a:pt x="249373" y="71539"/>
                </a:cubicBezTo>
                <a:lnTo>
                  <a:pt x="246018" y="63094"/>
                </a:lnTo>
                <a:lnTo>
                  <a:pt x="234449" y="61417"/>
                </a:lnTo>
                <a:cubicBezTo>
                  <a:pt x="234449" y="61417"/>
                  <a:pt x="227681" y="56326"/>
                  <a:pt x="237862" y="51294"/>
                </a:cubicBezTo>
                <a:cubicBezTo>
                  <a:pt x="248042" y="46261"/>
                  <a:pt x="237862" y="32784"/>
                  <a:pt x="236126" y="27693"/>
                </a:cubicBezTo>
                <a:cubicBezTo>
                  <a:pt x="230400" y="18554"/>
                  <a:pt x="223921" y="9889"/>
                  <a:pt x="216807" y="1779"/>
                </a:cubicBezTo>
                <a:cubicBezTo>
                  <a:pt x="215187" y="1796"/>
                  <a:pt x="213567" y="1438"/>
                  <a:pt x="212063" y="738"/>
                </a:cubicBezTo>
                <a:cubicBezTo>
                  <a:pt x="206279" y="-2501"/>
                  <a:pt x="195115" y="3977"/>
                  <a:pt x="189446" y="9588"/>
                </a:cubicBezTo>
                <a:cubicBezTo>
                  <a:pt x="183777" y="15199"/>
                  <a:pt x="187826" y="18496"/>
                  <a:pt x="183662" y="22545"/>
                </a:cubicBezTo>
                <a:cubicBezTo>
                  <a:pt x="174175" y="31112"/>
                  <a:pt x="165267" y="40286"/>
                  <a:pt x="156995" y="50021"/>
                </a:cubicBezTo>
                <a:cubicBezTo>
                  <a:pt x="148088" y="61590"/>
                  <a:pt x="125470" y="54070"/>
                  <a:pt x="118240" y="58062"/>
                </a:cubicBezTo>
                <a:cubicBezTo>
                  <a:pt x="111009" y="62053"/>
                  <a:pt x="121421" y="68589"/>
                  <a:pt x="116620" y="72638"/>
                </a:cubicBezTo>
                <a:cubicBezTo>
                  <a:pt x="108892" y="77561"/>
                  <a:pt x="100788" y="81876"/>
                  <a:pt x="92383" y="85538"/>
                </a:cubicBezTo>
                <a:cubicBezTo>
                  <a:pt x="87524" y="87967"/>
                  <a:pt x="68147" y="87157"/>
                  <a:pt x="62478" y="94446"/>
                </a:cubicBezTo>
                <a:cubicBezTo>
                  <a:pt x="56809" y="101734"/>
                  <a:pt x="50388" y="86348"/>
                  <a:pt x="44720" y="94446"/>
                </a:cubicBezTo>
                <a:cubicBezTo>
                  <a:pt x="39051" y="102544"/>
                  <a:pt x="32572" y="103354"/>
                  <a:pt x="29391" y="100867"/>
                </a:cubicBezTo>
                <a:cubicBezTo>
                  <a:pt x="28402" y="100091"/>
                  <a:pt x="27575" y="99131"/>
                  <a:pt x="26962" y="98032"/>
                </a:cubicBezTo>
                <a:cubicBezTo>
                  <a:pt x="21061" y="102503"/>
                  <a:pt x="16335" y="108340"/>
                  <a:pt x="13195" y="115038"/>
                </a:cubicBezTo>
                <a:cubicBezTo>
                  <a:pt x="9608" y="126607"/>
                  <a:pt x="-110" y="136845"/>
                  <a:pt x="-110" y="142283"/>
                </a:cubicBezTo>
                <a:cubicBezTo>
                  <a:pt x="-110" y="147720"/>
                  <a:pt x="3477" y="155009"/>
                  <a:pt x="3477" y="164669"/>
                </a:cubicBezTo>
                <a:cubicBezTo>
                  <a:pt x="3222" y="172686"/>
                  <a:pt x="6057" y="180495"/>
                  <a:pt x="11401" y="186476"/>
                </a:cubicBezTo>
                <a:cubicBezTo>
                  <a:pt x="14693" y="191266"/>
                  <a:pt x="16191" y="197062"/>
                  <a:pt x="15624" y="202846"/>
                </a:cubicBezTo>
                <a:cubicBezTo>
                  <a:pt x="17290" y="206033"/>
                  <a:pt x="19228" y="209070"/>
                  <a:pt x="21408" y="211928"/>
                </a:cubicBezTo>
                <a:cubicBezTo>
                  <a:pt x="25631" y="217365"/>
                  <a:pt x="37778" y="225232"/>
                  <a:pt x="38762" y="229281"/>
                </a:cubicBezTo>
                <a:cubicBezTo>
                  <a:pt x="39664" y="231363"/>
                  <a:pt x="41347" y="233000"/>
                  <a:pt x="43447" y="233850"/>
                </a:cubicBezTo>
                <a:cubicBezTo>
                  <a:pt x="43939" y="232971"/>
                  <a:pt x="44483" y="232121"/>
                  <a:pt x="45067" y="231305"/>
                </a:cubicBezTo>
                <a:cubicBezTo>
                  <a:pt x="49197" y="225411"/>
                  <a:pt x="51007" y="218203"/>
                  <a:pt x="50157" y="211060"/>
                </a:cubicBezTo>
                <a:lnTo>
                  <a:pt x="65312" y="207763"/>
                </a:lnTo>
                <a:lnTo>
                  <a:pt x="76881" y="204350"/>
                </a:lnTo>
                <a:lnTo>
                  <a:pt x="100539" y="207763"/>
                </a:lnTo>
                <a:lnTo>
                  <a:pt x="100539" y="189194"/>
                </a:lnTo>
                <a:cubicBezTo>
                  <a:pt x="100539" y="189194"/>
                  <a:pt x="117372" y="167272"/>
                  <a:pt x="129114" y="167272"/>
                </a:cubicBezTo>
                <a:cubicBezTo>
                  <a:pt x="140857" y="167272"/>
                  <a:pt x="151038" y="182485"/>
                  <a:pt x="151038" y="182485"/>
                </a:cubicBezTo>
                <a:lnTo>
                  <a:pt x="203097" y="192550"/>
                </a:lnTo>
                <a:cubicBezTo>
                  <a:pt x="203097" y="192550"/>
                  <a:pt x="206452" y="177394"/>
                  <a:pt x="211543" y="174039"/>
                </a:cubicBezTo>
                <a:cubicBezTo>
                  <a:pt x="216633" y="170685"/>
                  <a:pt x="226640" y="177394"/>
                  <a:pt x="233408" y="174039"/>
                </a:cubicBezTo>
                <a:cubicBezTo>
                  <a:pt x="242258" y="168972"/>
                  <a:pt x="252149" y="166080"/>
                  <a:pt x="262330" y="165594"/>
                </a:cubicBezTo>
                <a:cubicBezTo>
                  <a:pt x="273899" y="165594"/>
                  <a:pt x="279221" y="172362"/>
                  <a:pt x="284253" y="162239"/>
                </a:cubicBezTo>
                <a:cubicBezTo>
                  <a:pt x="289286" y="152116"/>
                  <a:pt x="314564" y="165594"/>
                  <a:pt x="314564" y="165594"/>
                </a:cubicBezTo>
                <a:lnTo>
                  <a:pt x="334751" y="162239"/>
                </a:lnTo>
                <a:lnTo>
                  <a:pt x="328041" y="145407"/>
                </a:lnTo>
                <a:cubicBezTo>
                  <a:pt x="328041" y="145407"/>
                  <a:pt x="309762" y="137193"/>
                  <a:pt x="309762" y="13216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 name="Forma libre: forma 24">
            <a:extLst>
              <a:ext uri="{FF2B5EF4-FFF2-40B4-BE49-F238E27FC236}">
                <a16:creationId xmlns:a16="http://schemas.microsoft.com/office/drawing/2014/main" id="{A675DA1F-5C97-B2BE-2F37-F728B442334A}"/>
              </a:ext>
            </a:extLst>
          </p:cNvPr>
          <p:cNvSpPr/>
          <p:nvPr/>
        </p:nvSpPr>
        <p:spPr>
          <a:xfrm>
            <a:off x="6263846" y="4097412"/>
            <a:ext cx="322325" cy="262651"/>
          </a:xfrm>
          <a:custGeom>
            <a:avLst/>
            <a:gdLst>
              <a:gd name="connsiteX0" fmla="*/ 198703 w 322325"/>
              <a:gd name="connsiteY0" fmla="*/ 193773 h 262651"/>
              <a:gd name="connsiteX1" fmla="*/ 214841 w 322325"/>
              <a:gd name="connsiteY1" fmla="*/ 191344 h 262651"/>
              <a:gd name="connsiteX2" fmla="*/ 234219 w 322325"/>
              <a:gd name="connsiteY2" fmla="*/ 205053 h 262651"/>
              <a:gd name="connsiteX3" fmla="*/ 245788 w 322325"/>
              <a:gd name="connsiteY3" fmla="*/ 192963 h 262651"/>
              <a:gd name="connsiteX4" fmla="*/ 265918 w 322325"/>
              <a:gd name="connsiteY4" fmla="*/ 150968 h 262651"/>
              <a:gd name="connsiteX5" fmla="*/ 278875 w 322325"/>
              <a:gd name="connsiteY5" fmla="*/ 134772 h 262651"/>
              <a:gd name="connsiteX6" fmla="*/ 282114 w 322325"/>
              <a:gd name="connsiteY6" fmla="*/ 120253 h 262651"/>
              <a:gd name="connsiteX7" fmla="*/ 288535 w 322325"/>
              <a:gd name="connsiteY7" fmla="*/ 102495 h 262651"/>
              <a:gd name="connsiteX8" fmla="*/ 304731 w 322325"/>
              <a:gd name="connsiteY8" fmla="*/ 72589 h 262651"/>
              <a:gd name="connsiteX9" fmla="*/ 320870 w 322325"/>
              <a:gd name="connsiteY9" fmla="*/ 63681 h 262651"/>
              <a:gd name="connsiteX10" fmla="*/ 319250 w 322325"/>
              <a:gd name="connsiteY10" fmla="*/ 46733 h 262651"/>
              <a:gd name="connsiteX11" fmla="*/ 307971 w 322325"/>
              <a:gd name="connsiteY11" fmla="*/ 35164 h 262651"/>
              <a:gd name="connsiteX12" fmla="*/ 309648 w 322325"/>
              <a:gd name="connsiteY12" fmla="*/ 20414 h 262651"/>
              <a:gd name="connsiteX13" fmla="*/ 299062 w 322325"/>
              <a:gd name="connsiteY13" fmla="*/ 9308 h 262651"/>
              <a:gd name="connsiteX14" fmla="*/ 289403 w 322325"/>
              <a:gd name="connsiteY14" fmla="*/ 3523 h 262651"/>
              <a:gd name="connsiteX15" fmla="*/ 269967 w 322325"/>
              <a:gd name="connsiteY15" fmla="*/ 21223 h 262651"/>
              <a:gd name="connsiteX16" fmla="*/ 247350 w 322325"/>
              <a:gd name="connsiteY16" fmla="*/ 15439 h 262651"/>
              <a:gd name="connsiteX17" fmla="*/ 212643 w 322325"/>
              <a:gd name="connsiteY17" fmla="*/ 14630 h 262651"/>
              <a:gd name="connsiteX18" fmla="*/ 192455 w 322325"/>
              <a:gd name="connsiteY18" fmla="*/ 27529 h 262651"/>
              <a:gd name="connsiteX19" fmla="*/ 165789 w 322325"/>
              <a:gd name="connsiteY19" fmla="*/ 27529 h 262651"/>
              <a:gd name="connsiteX20" fmla="*/ 144792 w 322325"/>
              <a:gd name="connsiteY20" fmla="*/ 15960 h 262651"/>
              <a:gd name="connsiteX21" fmla="*/ 122175 w 322325"/>
              <a:gd name="connsiteY21" fmla="*/ 22438 h 262651"/>
              <a:gd name="connsiteX22" fmla="*/ 106846 w 322325"/>
              <a:gd name="connsiteY22" fmla="*/ 7861 h 262651"/>
              <a:gd name="connsiteX23" fmla="*/ 85039 w 322325"/>
              <a:gd name="connsiteY23" fmla="*/ 1383 h 262651"/>
              <a:gd name="connsiteX24" fmla="*/ 68900 w 322325"/>
              <a:gd name="connsiteY24" fmla="*/ 7167 h 262651"/>
              <a:gd name="connsiteX25" fmla="*/ 43853 w 322325"/>
              <a:gd name="connsiteY25" fmla="*/ 7167 h 262651"/>
              <a:gd name="connsiteX26" fmla="*/ 37375 w 322325"/>
              <a:gd name="connsiteY26" fmla="*/ 28975 h 262651"/>
              <a:gd name="connsiteX27" fmla="*/ 25286 w 322325"/>
              <a:gd name="connsiteY27" fmla="*/ 48410 h 262651"/>
              <a:gd name="connsiteX28" fmla="*/ 22683 w 322325"/>
              <a:gd name="connsiteY28" fmla="*/ 53790 h 262651"/>
              <a:gd name="connsiteX29" fmla="*/ 25459 w 322325"/>
              <a:gd name="connsiteY29" fmla="*/ 72184 h 262651"/>
              <a:gd name="connsiteX30" fmla="*/ 22451 w 322325"/>
              <a:gd name="connsiteY30" fmla="*/ 110940 h 262651"/>
              <a:gd name="connsiteX31" fmla="*/ 12155 w 322325"/>
              <a:gd name="connsiteY31" fmla="*/ 126731 h 262651"/>
              <a:gd name="connsiteX32" fmla="*/ 586 w 322325"/>
              <a:gd name="connsiteY32" fmla="*/ 146688 h 262651"/>
              <a:gd name="connsiteX33" fmla="*/ 1164 w 322325"/>
              <a:gd name="connsiteY33" fmla="*/ 178791 h 262651"/>
              <a:gd name="connsiteX34" fmla="*/ 9552 w 322325"/>
              <a:gd name="connsiteY34" fmla="*/ 200367 h 262651"/>
              <a:gd name="connsiteX35" fmla="*/ 9841 w 322325"/>
              <a:gd name="connsiteY35" fmla="*/ 200367 h 262651"/>
              <a:gd name="connsiteX36" fmla="*/ 50332 w 322325"/>
              <a:gd name="connsiteY36" fmla="*/ 210895 h 262651"/>
              <a:gd name="connsiteX37" fmla="*/ 76189 w 322325"/>
              <a:gd name="connsiteY37" fmla="*/ 238776 h 262651"/>
              <a:gd name="connsiteX38" fmla="*/ 90708 w 322325"/>
              <a:gd name="connsiteY38" fmla="*/ 261914 h 262651"/>
              <a:gd name="connsiteX39" fmla="*/ 118589 w 322325"/>
              <a:gd name="connsiteY39" fmla="*/ 256129 h 262651"/>
              <a:gd name="connsiteX40" fmla="*/ 154972 w 322325"/>
              <a:gd name="connsiteY40" fmla="*/ 252080 h 262651"/>
              <a:gd name="connsiteX41" fmla="*/ 159311 w 322325"/>
              <a:gd name="connsiteY41" fmla="*/ 252080 h 262651"/>
              <a:gd name="connsiteX42" fmla="*/ 167293 w 322325"/>
              <a:gd name="connsiteY42" fmla="*/ 222811 h 262651"/>
              <a:gd name="connsiteX43" fmla="*/ 198703 w 322325"/>
              <a:gd name="connsiteY43" fmla="*/ 193773 h 26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22325" h="262651">
                <a:moveTo>
                  <a:pt x="198703" y="193773"/>
                </a:moveTo>
                <a:cubicBezTo>
                  <a:pt x="201942" y="192963"/>
                  <a:pt x="209173" y="195393"/>
                  <a:pt x="214841" y="191344"/>
                </a:cubicBezTo>
                <a:cubicBezTo>
                  <a:pt x="220510" y="187295"/>
                  <a:pt x="232599" y="197128"/>
                  <a:pt x="234219" y="205053"/>
                </a:cubicBezTo>
                <a:cubicBezTo>
                  <a:pt x="235839" y="212977"/>
                  <a:pt x="240698" y="201814"/>
                  <a:pt x="245788" y="192963"/>
                </a:cubicBezTo>
                <a:cubicBezTo>
                  <a:pt x="250878" y="184113"/>
                  <a:pt x="265918" y="157389"/>
                  <a:pt x="265918" y="150968"/>
                </a:cubicBezTo>
                <a:cubicBezTo>
                  <a:pt x="265918" y="144548"/>
                  <a:pt x="278875" y="138821"/>
                  <a:pt x="278875" y="134772"/>
                </a:cubicBezTo>
                <a:cubicBezTo>
                  <a:pt x="278875" y="130723"/>
                  <a:pt x="278007" y="121873"/>
                  <a:pt x="282114" y="120253"/>
                </a:cubicBezTo>
                <a:cubicBezTo>
                  <a:pt x="286221" y="118633"/>
                  <a:pt x="289403" y="106544"/>
                  <a:pt x="288535" y="102495"/>
                </a:cubicBezTo>
                <a:cubicBezTo>
                  <a:pt x="287667" y="98446"/>
                  <a:pt x="302302" y="75829"/>
                  <a:pt x="304731" y="72589"/>
                </a:cubicBezTo>
                <a:cubicBezTo>
                  <a:pt x="307161" y="69350"/>
                  <a:pt x="320002" y="71028"/>
                  <a:pt x="320870" y="63681"/>
                </a:cubicBezTo>
                <a:cubicBezTo>
                  <a:pt x="321738" y="56335"/>
                  <a:pt x="324109" y="48352"/>
                  <a:pt x="319250" y="46733"/>
                </a:cubicBezTo>
                <a:cubicBezTo>
                  <a:pt x="314391" y="45113"/>
                  <a:pt x="307971" y="39502"/>
                  <a:pt x="307971" y="35164"/>
                </a:cubicBezTo>
                <a:cubicBezTo>
                  <a:pt x="307994" y="30201"/>
                  <a:pt x="308555" y="25255"/>
                  <a:pt x="309648" y="20414"/>
                </a:cubicBezTo>
                <a:cubicBezTo>
                  <a:pt x="303169" y="19488"/>
                  <a:pt x="302822" y="13068"/>
                  <a:pt x="299062" y="9308"/>
                </a:cubicBezTo>
                <a:cubicBezTo>
                  <a:pt x="295303" y="5548"/>
                  <a:pt x="295014" y="2019"/>
                  <a:pt x="289403" y="3523"/>
                </a:cubicBezTo>
                <a:cubicBezTo>
                  <a:pt x="283792" y="5027"/>
                  <a:pt x="277255" y="18852"/>
                  <a:pt x="269967" y="21223"/>
                </a:cubicBezTo>
                <a:cubicBezTo>
                  <a:pt x="262678" y="23595"/>
                  <a:pt x="252209" y="17984"/>
                  <a:pt x="247350" y="15439"/>
                </a:cubicBezTo>
                <a:cubicBezTo>
                  <a:pt x="242491" y="12894"/>
                  <a:pt x="219931" y="15439"/>
                  <a:pt x="212643" y="14630"/>
                </a:cubicBezTo>
                <a:cubicBezTo>
                  <a:pt x="205355" y="13820"/>
                  <a:pt x="198124" y="24289"/>
                  <a:pt x="192455" y="27529"/>
                </a:cubicBezTo>
                <a:cubicBezTo>
                  <a:pt x="186787" y="30768"/>
                  <a:pt x="170648" y="29148"/>
                  <a:pt x="165789" y="27529"/>
                </a:cubicBezTo>
                <a:cubicBezTo>
                  <a:pt x="160930" y="25909"/>
                  <a:pt x="149651" y="15960"/>
                  <a:pt x="144792" y="15960"/>
                </a:cubicBezTo>
                <a:cubicBezTo>
                  <a:pt x="136833" y="16203"/>
                  <a:pt x="129058" y="18430"/>
                  <a:pt x="122175" y="22438"/>
                </a:cubicBezTo>
                <a:cubicBezTo>
                  <a:pt x="114134" y="27240"/>
                  <a:pt x="111647" y="13530"/>
                  <a:pt x="106846" y="7861"/>
                </a:cubicBezTo>
                <a:cubicBezTo>
                  <a:pt x="102045" y="2193"/>
                  <a:pt x="91517" y="7052"/>
                  <a:pt x="85039" y="1383"/>
                </a:cubicBezTo>
                <a:cubicBezTo>
                  <a:pt x="78560" y="-4286"/>
                  <a:pt x="74511" y="7861"/>
                  <a:pt x="68900" y="7167"/>
                </a:cubicBezTo>
                <a:cubicBezTo>
                  <a:pt x="63289" y="6473"/>
                  <a:pt x="48655" y="3176"/>
                  <a:pt x="43853" y="7167"/>
                </a:cubicBezTo>
                <a:cubicBezTo>
                  <a:pt x="39053" y="11159"/>
                  <a:pt x="39804" y="26545"/>
                  <a:pt x="37375" y="28975"/>
                </a:cubicBezTo>
                <a:cubicBezTo>
                  <a:pt x="34946" y="31404"/>
                  <a:pt x="25286" y="42742"/>
                  <a:pt x="25286" y="48410"/>
                </a:cubicBezTo>
                <a:cubicBezTo>
                  <a:pt x="25482" y="50551"/>
                  <a:pt x="24481" y="52616"/>
                  <a:pt x="22683" y="53790"/>
                </a:cubicBezTo>
                <a:cubicBezTo>
                  <a:pt x="23724" y="60500"/>
                  <a:pt x="25112" y="69061"/>
                  <a:pt x="25459" y="72184"/>
                </a:cubicBezTo>
                <a:cubicBezTo>
                  <a:pt x="26038" y="77969"/>
                  <a:pt x="28525" y="104924"/>
                  <a:pt x="22451" y="110940"/>
                </a:cubicBezTo>
                <a:cubicBezTo>
                  <a:pt x="18206" y="115625"/>
                  <a:pt x="14729" y="120959"/>
                  <a:pt x="12155" y="126731"/>
                </a:cubicBezTo>
                <a:cubicBezTo>
                  <a:pt x="5821" y="131602"/>
                  <a:pt x="1668" y="138775"/>
                  <a:pt x="586" y="146688"/>
                </a:cubicBezTo>
                <a:cubicBezTo>
                  <a:pt x="-1265" y="160050"/>
                  <a:pt x="1164" y="168495"/>
                  <a:pt x="1164" y="178791"/>
                </a:cubicBezTo>
                <a:cubicBezTo>
                  <a:pt x="1164" y="186080"/>
                  <a:pt x="6602" y="191344"/>
                  <a:pt x="9552" y="200367"/>
                </a:cubicBezTo>
                <a:cubicBezTo>
                  <a:pt x="9644" y="200344"/>
                  <a:pt x="9748" y="200344"/>
                  <a:pt x="9841" y="200367"/>
                </a:cubicBezTo>
                <a:cubicBezTo>
                  <a:pt x="14700" y="206846"/>
                  <a:pt x="37722" y="208060"/>
                  <a:pt x="50332" y="210895"/>
                </a:cubicBezTo>
                <a:cubicBezTo>
                  <a:pt x="62942" y="213729"/>
                  <a:pt x="76593" y="231893"/>
                  <a:pt x="76189" y="238776"/>
                </a:cubicBezTo>
                <a:cubicBezTo>
                  <a:pt x="75784" y="245659"/>
                  <a:pt x="84691" y="258964"/>
                  <a:pt x="90708" y="261914"/>
                </a:cubicBezTo>
                <a:cubicBezTo>
                  <a:pt x="96723" y="264864"/>
                  <a:pt x="111705" y="256129"/>
                  <a:pt x="118589" y="256129"/>
                </a:cubicBezTo>
                <a:cubicBezTo>
                  <a:pt x="125472" y="256129"/>
                  <a:pt x="150113" y="256534"/>
                  <a:pt x="154972" y="252080"/>
                </a:cubicBezTo>
                <a:cubicBezTo>
                  <a:pt x="156216" y="250993"/>
                  <a:pt x="158067" y="250993"/>
                  <a:pt x="159311" y="252080"/>
                </a:cubicBezTo>
                <a:cubicBezTo>
                  <a:pt x="162856" y="242588"/>
                  <a:pt x="165529" y="232789"/>
                  <a:pt x="167293" y="222811"/>
                </a:cubicBezTo>
                <a:cubicBezTo>
                  <a:pt x="167293" y="222811"/>
                  <a:pt x="195463" y="194583"/>
                  <a:pt x="198703" y="19377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 name="Forma libre: forma 25">
            <a:extLst>
              <a:ext uri="{FF2B5EF4-FFF2-40B4-BE49-F238E27FC236}">
                <a16:creationId xmlns:a16="http://schemas.microsoft.com/office/drawing/2014/main" id="{9B401ECB-0BB7-9EB7-6F4C-0C55ACF38B97}"/>
              </a:ext>
            </a:extLst>
          </p:cNvPr>
          <p:cNvSpPr/>
          <p:nvPr/>
        </p:nvSpPr>
        <p:spPr>
          <a:xfrm>
            <a:off x="6209590" y="4138251"/>
            <a:ext cx="80543" cy="167986"/>
          </a:xfrm>
          <a:custGeom>
            <a:avLst/>
            <a:gdLst>
              <a:gd name="connsiteX0" fmla="*/ 54669 w 80543"/>
              <a:gd name="connsiteY0" fmla="*/ 106658 h 167986"/>
              <a:gd name="connsiteX1" fmla="*/ 66238 w 80543"/>
              <a:gd name="connsiteY1" fmla="*/ 86702 h 167986"/>
              <a:gd name="connsiteX2" fmla="*/ 76534 w 80543"/>
              <a:gd name="connsiteY2" fmla="*/ 70910 h 167986"/>
              <a:gd name="connsiteX3" fmla="*/ 79542 w 80543"/>
              <a:gd name="connsiteY3" fmla="*/ 32155 h 167986"/>
              <a:gd name="connsiteX4" fmla="*/ 76765 w 80543"/>
              <a:gd name="connsiteY4" fmla="*/ 13760 h 167986"/>
              <a:gd name="connsiteX5" fmla="*/ 68031 w 80543"/>
              <a:gd name="connsiteY5" fmla="*/ 13239 h 167986"/>
              <a:gd name="connsiteX6" fmla="*/ 59181 w 80543"/>
              <a:gd name="connsiteY6" fmla="*/ 282 h 167986"/>
              <a:gd name="connsiteX7" fmla="*/ 49463 w 80543"/>
              <a:gd name="connsiteY7" fmla="*/ 13239 h 167986"/>
              <a:gd name="connsiteX8" fmla="*/ 42175 w 80543"/>
              <a:gd name="connsiteY8" fmla="*/ 23709 h 167986"/>
              <a:gd name="connsiteX9" fmla="*/ 19558 w 80543"/>
              <a:gd name="connsiteY9" fmla="*/ 28510 h 167986"/>
              <a:gd name="connsiteX10" fmla="*/ 4229 w 80543"/>
              <a:gd name="connsiteY10" fmla="*/ 39038 h 167986"/>
              <a:gd name="connsiteX11" fmla="*/ -110 w 80543"/>
              <a:gd name="connsiteY11" fmla="*/ 39327 h 167986"/>
              <a:gd name="connsiteX12" fmla="*/ 14756 w 80543"/>
              <a:gd name="connsiteY12" fmla="*/ 64895 h 167986"/>
              <a:gd name="connsiteX13" fmla="*/ 20194 w 80543"/>
              <a:gd name="connsiteY13" fmla="*/ 85487 h 167986"/>
              <a:gd name="connsiteX14" fmla="*/ 24416 w 80543"/>
              <a:gd name="connsiteY14" fmla="*/ 117591 h 167986"/>
              <a:gd name="connsiteX15" fmla="*/ 26788 w 80543"/>
              <a:gd name="connsiteY15" fmla="*/ 167857 h 167986"/>
              <a:gd name="connsiteX16" fmla="*/ 45009 w 80543"/>
              <a:gd name="connsiteY16" fmla="*/ 166238 h 167986"/>
              <a:gd name="connsiteX17" fmla="*/ 63693 w 80543"/>
              <a:gd name="connsiteY17" fmla="*/ 160453 h 167986"/>
              <a:gd name="connsiteX18" fmla="*/ 55305 w 80543"/>
              <a:gd name="connsiteY18" fmla="*/ 138877 h 167986"/>
              <a:gd name="connsiteX19" fmla="*/ 54669 w 80543"/>
              <a:gd name="connsiteY19" fmla="*/ 106658 h 16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543" h="167986">
                <a:moveTo>
                  <a:pt x="54669" y="106658"/>
                </a:moveTo>
                <a:cubicBezTo>
                  <a:pt x="55751" y="98745"/>
                  <a:pt x="59904" y="91572"/>
                  <a:pt x="66238" y="86702"/>
                </a:cubicBezTo>
                <a:cubicBezTo>
                  <a:pt x="68812" y="80929"/>
                  <a:pt x="72288" y="75596"/>
                  <a:pt x="76534" y="70910"/>
                </a:cubicBezTo>
                <a:cubicBezTo>
                  <a:pt x="82319" y="65126"/>
                  <a:pt x="80120" y="37650"/>
                  <a:pt x="79542" y="32155"/>
                </a:cubicBezTo>
                <a:cubicBezTo>
                  <a:pt x="79195" y="29031"/>
                  <a:pt x="77807" y="20586"/>
                  <a:pt x="76765" y="13760"/>
                </a:cubicBezTo>
                <a:cubicBezTo>
                  <a:pt x="73937" y="14992"/>
                  <a:pt x="70692" y="14796"/>
                  <a:pt x="68031" y="13239"/>
                </a:cubicBezTo>
                <a:cubicBezTo>
                  <a:pt x="60743" y="9943"/>
                  <a:pt x="67221" y="2712"/>
                  <a:pt x="59181" y="282"/>
                </a:cubicBezTo>
                <a:cubicBezTo>
                  <a:pt x="51140" y="-2147"/>
                  <a:pt x="47612" y="6703"/>
                  <a:pt x="49463" y="13239"/>
                </a:cubicBezTo>
                <a:cubicBezTo>
                  <a:pt x="51314" y="19776"/>
                  <a:pt x="45414" y="19660"/>
                  <a:pt x="42175" y="23709"/>
                </a:cubicBezTo>
                <a:cubicBezTo>
                  <a:pt x="38935" y="27758"/>
                  <a:pt x="24416" y="28510"/>
                  <a:pt x="19558" y="28510"/>
                </a:cubicBezTo>
                <a:cubicBezTo>
                  <a:pt x="14699" y="28510"/>
                  <a:pt x="9088" y="37419"/>
                  <a:pt x="4229" y="39038"/>
                </a:cubicBezTo>
                <a:cubicBezTo>
                  <a:pt x="2812" y="39391"/>
                  <a:pt x="1342" y="39489"/>
                  <a:pt x="-110" y="39327"/>
                </a:cubicBezTo>
                <a:cubicBezTo>
                  <a:pt x="990" y="60614"/>
                  <a:pt x="4576" y="58994"/>
                  <a:pt x="14756" y="64895"/>
                </a:cubicBezTo>
                <a:cubicBezTo>
                  <a:pt x="26325" y="71547"/>
                  <a:pt x="15335" y="80628"/>
                  <a:pt x="20194" y="85487"/>
                </a:cubicBezTo>
                <a:cubicBezTo>
                  <a:pt x="25053" y="90346"/>
                  <a:pt x="23202" y="102436"/>
                  <a:pt x="24416" y="117591"/>
                </a:cubicBezTo>
                <a:cubicBezTo>
                  <a:pt x="25168" y="126730"/>
                  <a:pt x="26094" y="150504"/>
                  <a:pt x="26788" y="167857"/>
                </a:cubicBezTo>
                <a:cubicBezTo>
                  <a:pt x="32798" y="166770"/>
                  <a:pt x="38901" y="166226"/>
                  <a:pt x="45009" y="166238"/>
                </a:cubicBezTo>
                <a:cubicBezTo>
                  <a:pt x="53686" y="166238"/>
                  <a:pt x="58950" y="154669"/>
                  <a:pt x="63693" y="160453"/>
                </a:cubicBezTo>
                <a:cubicBezTo>
                  <a:pt x="60743" y="151429"/>
                  <a:pt x="55305" y="146166"/>
                  <a:pt x="55305" y="138877"/>
                </a:cubicBezTo>
                <a:cubicBezTo>
                  <a:pt x="55247" y="128465"/>
                  <a:pt x="52818" y="120020"/>
                  <a:pt x="54669" y="106658"/>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 name="Forma libre: forma 26">
            <a:extLst>
              <a:ext uri="{FF2B5EF4-FFF2-40B4-BE49-F238E27FC236}">
                <a16:creationId xmlns:a16="http://schemas.microsoft.com/office/drawing/2014/main" id="{27B7F13E-ACE0-128A-8C2B-AFCE6CE632C3}"/>
              </a:ext>
            </a:extLst>
          </p:cNvPr>
          <p:cNvSpPr/>
          <p:nvPr/>
        </p:nvSpPr>
        <p:spPr>
          <a:xfrm>
            <a:off x="6185526" y="4174147"/>
            <a:ext cx="51365" cy="141519"/>
          </a:xfrm>
          <a:custGeom>
            <a:avLst/>
            <a:gdLst>
              <a:gd name="connsiteX0" fmla="*/ 44199 w 51365"/>
              <a:gd name="connsiteY0" fmla="*/ 49592 h 141519"/>
              <a:gd name="connsiteX1" fmla="*/ 38762 w 51365"/>
              <a:gd name="connsiteY1" fmla="*/ 28999 h 141519"/>
              <a:gd name="connsiteX2" fmla="*/ 23896 w 51365"/>
              <a:gd name="connsiteY2" fmla="*/ 3432 h 141519"/>
              <a:gd name="connsiteX3" fmla="*/ 3188 w 51365"/>
              <a:gd name="connsiteY3" fmla="*/ -97 h 141519"/>
              <a:gd name="connsiteX4" fmla="*/ -110 w 51365"/>
              <a:gd name="connsiteY4" fmla="*/ 482 h 141519"/>
              <a:gd name="connsiteX5" fmla="*/ 5675 w 51365"/>
              <a:gd name="connsiteY5" fmla="*/ 17835 h 141519"/>
              <a:gd name="connsiteX6" fmla="*/ 12327 w 51365"/>
              <a:gd name="connsiteY6" fmla="*/ 34205 h 141519"/>
              <a:gd name="connsiteX7" fmla="*/ 12905 w 51365"/>
              <a:gd name="connsiteY7" fmla="*/ 72382 h 141519"/>
              <a:gd name="connsiteX8" fmla="*/ 20194 w 51365"/>
              <a:gd name="connsiteY8" fmla="*/ 109923 h 141519"/>
              <a:gd name="connsiteX9" fmla="*/ 30201 w 51365"/>
              <a:gd name="connsiteY9" fmla="*/ 141391 h 141519"/>
              <a:gd name="connsiteX10" fmla="*/ 35986 w 51365"/>
              <a:gd name="connsiteY10" fmla="*/ 137804 h 141519"/>
              <a:gd name="connsiteX11" fmla="*/ 51256 w 51365"/>
              <a:gd name="connsiteY11" fmla="*/ 132020 h 141519"/>
              <a:gd name="connsiteX12" fmla="*/ 48885 w 51365"/>
              <a:gd name="connsiteY12" fmla="*/ 81753 h 141519"/>
              <a:gd name="connsiteX13" fmla="*/ 44199 w 51365"/>
              <a:gd name="connsiteY13" fmla="*/ 49592 h 14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365" h="141519">
                <a:moveTo>
                  <a:pt x="44199" y="49592"/>
                </a:moveTo>
                <a:cubicBezTo>
                  <a:pt x="39340" y="44733"/>
                  <a:pt x="49984" y="35651"/>
                  <a:pt x="38762" y="28999"/>
                </a:cubicBezTo>
                <a:cubicBezTo>
                  <a:pt x="28581" y="23215"/>
                  <a:pt x="24995" y="24718"/>
                  <a:pt x="23896" y="3432"/>
                </a:cubicBezTo>
                <a:cubicBezTo>
                  <a:pt x="18112" y="3027"/>
                  <a:pt x="9435" y="539"/>
                  <a:pt x="3188" y="-97"/>
                </a:cubicBezTo>
                <a:cubicBezTo>
                  <a:pt x="2054" y="-213"/>
                  <a:pt x="914" y="-16"/>
                  <a:pt x="-110" y="482"/>
                </a:cubicBezTo>
                <a:cubicBezTo>
                  <a:pt x="1221" y="8233"/>
                  <a:pt x="3130" y="16794"/>
                  <a:pt x="5675" y="17835"/>
                </a:cubicBezTo>
                <a:cubicBezTo>
                  <a:pt x="9898" y="20265"/>
                  <a:pt x="12905" y="25123"/>
                  <a:pt x="12327" y="34205"/>
                </a:cubicBezTo>
                <a:cubicBezTo>
                  <a:pt x="11749" y="43286"/>
                  <a:pt x="9319" y="63127"/>
                  <a:pt x="12905" y="72382"/>
                </a:cubicBezTo>
                <a:cubicBezTo>
                  <a:pt x="17539" y="84367"/>
                  <a:pt x="20009" y="97076"/>
                  <a:pt x="20194" y="109923"/>
                </a:cubicBezTo>
                <a:cubicBezTo>
                  <a:pt x="21345" y="120989"/>
                  <a:pt x="24746" y="131696"/>
                  <a:pt x="30201" y="141391"/>
                </a:cubicBezTo>
                <a:cubicBezTo>
                  <a:pt x="32231" y="140367"/>
                  <a:pt x="34169" y="139169"/>
                  <a:pt x="35986" y="137804"/>
                </a:cubicBezTo>
                <a:cubicBezTo>
                  <a:pt x="40538" y="134675"/>
                  <a:pt x="45773" y="132691"/>
                  <a:pt x="51256" y="132020"/>
                </a:cubicBezTo>
                <a:cubicBezTo>
                  <a:pt x="50562" y="114666"/>
                  <a:pt x="49637" y="90892"/>
                  <a:pt x="48885" y="81753"/>
                </a:cubicBezTo>
                <a:cubicBezTo>
                  <a:pt x="47207" y="66540"/>
                  <a:pt x="49001" y="54450"/>
                  <a:pt x="44199" y="4959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 name="Forma libre: forma 27">
            <a:extLst>
              <a:ext uri="{FF2B5EF4-FFF2-40B4-BE49-F238E27FC236}">
                <a16:creationId xmlns:a16="http://schemas.microsoft.com/office/drawing/2014/main" id="{B033B7D9-9E5D-3A5B-160F-2A98F63864D4}"/>
              </a:ext>
            </a:extLst>
          </p:cNvPr>
          <p:cNvSpPr/>
          <p:nvPr/>
        </p:nvSpPr>
        <p:spPr>
          <a:xfrm>
            <a:off x="6423440" y="4118996"/>
            <a:ext cx="202397" cy="313747"/>
          </a:xfrm>
          <a:custGeom>
            <a:avLst/>
            <a:gdLst>
              <a:gd name="connsiteX0" fmla="*/ 84343 w 202397"/>
              <a:gd name="connsiteY0" fmla="*/ 298463 h 313747"/>
              <a:gd name="connsiteX1" fmla="*/ 156764 w 202397"/>
              <a:gd name="connsiteY1" fmla="*/ 300141 h 313747"/>
              <a:gd name="connsiteX2" fmla="*/ 195520 w 202397"/>
              <a:gd name="connsiteY2" fmla="*/ 313618 h 313747"/>
              <a:gd name="connsiteX3" fmla="*/ 202288 w 202397"/>
              <a:gd name="connsiteY3" fmla="*/ 289208 h 313747"/>
              <a:gd name="connsiteX4" fmla="*/ 197603 w 202397"/>
              <a:gd name="connsiteY4" fmla="*/ 284638 h 313747"/>
              <a:gd name="connsiteX5" fmla="*/ 180249 w 202397"/>
              <a:gd name="connsiteY5" fmla="*/ 267285 h 313747"/>
              <a:gd name="connsiteX6" fmla="*/ 174465 w 202397"/>
              <a:gd name="connsiteY6" fmla="*/ 258203 h 313747"/>
              <a:gd name="connsiteX7" fmla="*/ 170242 w 202397"/>
              <a:gd name="connsiteY7" fmla="*/ 241833 h 313747"/>
              <a:gd name="connsiteX8" fmla="*/ 162317 w 202397"/>
              <a:gd name="connsiteY8" fmla="*/ 220026 h 313747"/>
              <a:gd name="connsiteX9" fmla="*/ 158731 w 202397"/>
              <a:gd name="connsiteY9" fmla="*/ 197641 h 313747"/>
              <a:gd name="connsiteX10" fmla="*/ 172035 w 202397"/>
              <a:gd name="connsiteY10" fmla="*/ 170396 h 313747"/>
              <a:gd name="connsiteX11" fmla="*/ 185802 w 202397"/>
              <a:gd name="connsiteY11" fmla="*/ 153390 h 313747"/>
              <a:gd name="connsiteX12" fmla="*/ 177704 w 202397"/>
              <a:gd name="connsiteY12" fmla="*/ 133665 h 313747"/>
              <a:gd name="connsiteX13" fmla="*/ 155087 w 202397"/>
              <a:gd name="connsiteY13" fmla="*/ 110527 h 313747"/>
              <a:gd name="connsiteX14" fmla="*/ 148666 w 202397"/>
              <a:gd name="connsiteY14" fmla="*/ 91091 h 313747"/>
              <a:gd name="connsiteX15" fmla="*/ 171804 w 202397"/>
              <a:gd name="connsiteY15" fmla="*/ 87910 h 313747"/>
              <a:gd name="connsiteX16" fmla="*/ 183373 w 202397"/>
              <a:gd name="connsiteY16" fmla="*/ 83861 h 313747"/>
              <a:gd name="connsiteX17" fmla="*/ 171804 w 202397"/>
              <a:gd name="connsiteY17" fmla="*/ 49964 h 313747"/>
              <a:gd name="connsiteX18" fmla="*/ 168623 w 202397"/>
              <a:gd name="connsiteY18" fmla="*/ 25669 h 313747"/>
              <a:gd name="connsiteX19" fmla="*/ 151616 w 202397"/>
              <a:gd name="connsiteY19" fmla="*/ -129 h 313747"/>
              <a:gd name="connsiteX20" fmla="*/ 150112 w 202397"/>
              <a:gd name="connsiteY20" fmla="*/ -129 h 313747"/>
              <a:gd name="connsiteX21" fmla="*/ 148435 w 202397"/>
              <a:gd name="connsiteY21" fmla="*/ 14621 h 313747"/>
              <a:gd name="connsiteX22" fmla="*/ 159714 w 202397"/>
              <a:gd name="connsiteY22" fmla="*/ 26190 h 313747"/>
              <a:gd name="connsiteX23" fmla="*/ 161334 w 202397"/>
              <a:gd name="connsiteY23" fmla="*/ 43138 h 313747"/>
              <a:gd name="connsiteX24" fmla="*/ 145195 w 202397"/>
              <a:gd name="connsiteY24" fmla="*/ 52046 h 313747"/>
              <a:gd name="connsiteX25" fmla="*/ 128999 w 202397"/>
              <a:gd name="connsiteY25" fmla="*/ 81952 h 313747"/>
              <a:gd name="connsiteX26" fmla="*/ 122578 w 202397"/>
              <a:gd name="connsiteY26" fmla="*/ 99710 h 313747"/>
              <a:gd name="connsiteX27" fmla="*/ 119339 w 202397"/>
              <a:gd name="connsiteY27" fmla="*/ 114229 h 313747"/>
              <a:gd name="connsiteX28" fmla="*/ 106382 w 202397"/>
              <a:gd name="connsiteY28" fmla="*/ 130426 h 313747"/>
              <a:gd name="connsiteX29" fmla="*/ 86252 w 202397"/>
              <a:gd name="connsiteY29" fmla="*/ 172420 h 313747"/>
              <a:gd name="connsiteX30" fmla="*/ 74683 w 202397"/>
              <a:gd name="connsiteY30" fmla="*/ 184510 h 313747"/>
              <a:gd name="connsiteX31" fmla="*/ 55305 w 202397"/>
              <a:gd name="connsiteY31" fmla="*/ 170801 h 313747"/>
              <a:gd name="connsiteX32" fmla="*/ 39167 w 202397"/>
              <a:gd name="connsiteY32" fmla="*/ 173230 h 313747"/>
              <a:gd name="connsiteX33" fmla="*/ 7873 w 202397"/>
              <a:gd name="connsiteY33" fmla="*/ 203078 h 313747"/>
              <a:gd name="connsiteX34" fmla="*/ -110 w 202397"/>
              <a:gd name="connsiteY34" fmla="*/ 232347 h 313747"/>
              <a:gd name="connsiteX35" fmla="*/ 11459 w 202397"/>
              <a:gd name="connsiteY35" fmla="*/ 247502 h 313747"/>
              <a:gd name="connsiteX36" fmla="*/ 32457 w 202397"/>
              <a:gd name="connsiteY36" fmla="*/ 251956 h 313747"/>
              <a:gd name="connsiteX37" fmla="*/ 40150 w 202397"/>
              <a:gd name="connsiteY37" fmla="*/ 278623 h 313747"/>
              <a:gd name="connsiteX38" fmla="*/ 35002 w 202397"/>
              <a:gd name="connsiteY38" fmla="*/ 302859 h 313747"/>
              <a:gd name="connsiteX39" fmla="*/ 72832 w 202397"/>
              <a:gd name="connsiteY39" fmla="*/ 302859 h 31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2397" h="313747">
                <a:moveTo>
                  <a:pt x="84343" y="298463"/>
                </a:moveTo>
                <a:cubicBezTo>
                  <a:pt x="84343" y="298463"/>
                  <a:pt x="148377" y="301818"/>
                  <a:pt x="156764" y="300141"/>
                </a:cubicBezTo>
                <a:cubicBezTo>
                  <a:pt x="165152" y="298463"/>
                  <a:pt x="195520" y="313618"/>
                  <a:pt x="195520" y="313618"/>
                </a:cubicBezTo>
                <a:cubicBezTo>
                  <a:pt x="196335" y="305150"/>
                  <a:pt x="198626" y="296890"/>
                  <a:pt x="202288" y="289208"/>
                </a:cubicBezTo>
                <a:cubicBezTo>
                  <a:pt x="200188" y="288358"/>
                  <a:pt x="198505" y="286721"/>
                  <a:pt x="197603" y="284638"/>
                </a:cubicBezTo>
                <a:cubicBezTo>
                  <a:pt x="196388" y="280358"/>
                  <a:pt x="184240" y="272491"/>
                  <a:pt x="180249" y="267285"/>
                </a:cubicBezTo>
                <a:cubicBezTo>
                  <a:pt x="178068" y="264427"/>
                  <a:pt x="176131" y="261391"/>
                  <a:pt x="174465" y="258203"/>
                </a:cubicBezTo>
                <a:cubicBezTo>
                  <a:pt x="175031" y="252419"/>
                  <a:pt x="173533" y="246623"/>
                  <a:pt x="170242" y="241833"/>
                </a:cubicBezTo>
                <a:cubicBezTo>
                  <a:pt x="164897" y="235852"/>
                  <a:pt x="162063" y="228044"/>
                  <a:pt x="162317" y="220026"/>
                </a:cubicBezTo>
                <a:cubicBezTo>
                  <a:pt x="162317" y="210366"/>
                  <a:pt x="158731" y="203078"/>
                  <a:pt x="158731" y="197641"/>
                </a:cubicBezTo>
                <a:cubicBezTo>
                  <a:pt x="158731" y="192203"/>
                  <a:pt x="168449" y="181849"/>
                  <a:pt x="172035" y="170396"/>
                </a:cubicBezTo>
                <a:cubicBezTo>
                  <a:pt x="175176" y="163692"/>
                  <a:pt x="179902" y="157861"/>
                  <a:pt x="185802" y="153390"/>
                </a:cubicBezTo>
                <a:cubicBezTo>
                  <a:pt x="182366" y="147142"/>
                  <a:pt x="179648" y="140525"/>
                  <a:pt x="177704" y="133665"/>
                </a:cubicBezTo>
                <a:cubicBezTo>
                  <a:pt x="174465" y="123137"/>
                  <a:pt x="165614" y="119898"/>
                  <a:pt x="155087" y="110527"/>
                </a:cubicBezTo>
                <a:cubicBezTo>
                  <a:pt x="144559" y="101156"/>
                  <a:pt x="148666" y="95140"/>
                  <a:pt x="148666" y="91091"/>
                </a:cubicBezTo>
                <a:cubicBezTo>
                  <a:pt x="148666" y="87042"/>
                  <a:pt x="162317" y="87100"/>
                  <a:pt x="171804" y="87910"/>
                </a:cubicBezTo>
                <a:cubicBezTo>
                  <a:pt x="181290" y="88720"/>
                  <a:pt x="187190" y="86290"/>
                  <a:pt x="183373" y="83861"/>
                </a:cubicBezTo>
                <a:cubicBezTo>
                  <a:pt x="179555" y="81431"/>
                  <a:pt x="171225" y="62863"/>
                  <a:pt x="171804" y="49964"/>
                </a:cubicBezTo>
                <a:cubicBezTo>
                  <a:pt x="172382" y="37065"/>
                  <a:pt x="167813" y="33016"/>
                  <a:pt x="168623" y="25669"/>
                </a:cubicBezTo>
                <a:cubicBezTo>
                  <a:pt x="169432" y="18323"/>
                  <a:pt x="159714" y="-129"/>
                  <a:pt x="151616" y="-129"/>
                </a:cubicBezTo>
                <a:cubicBezTo>
                  <a:pt x="151119" y="-65"/>
                  <a:pt x="150610" y="-65"/>
                  <a:pt x="150112" y="-129"/>
                </a:cubicBezTo>
                <a:cubicBezTo>
                  <a:pt x="149019" y="4712"/>
                  <a:pt x="148458" y="9658"/>
                  <a:pt x="148435" y="14621"/>
                </a:cubicBezTo>
                <a:cubicBezTo>
                  <a:pt x="148435" y="18670"/>
                  <a:pt x="154856" y="24281"/>
                  <a:pt x="159714" y="26190"/>
                </a:cubicBezTo>
                <a:cubicBezTo>
                  <a:pt x="164573" y="28099"/>
                  <a:pt x="162086" y="35908"/>
                  <a:pt x="161334" y="43138"/>
                </a:cubicBezTo>
                <a:cubicBezTo>
                  <a:pt x="160582" y="50369"/>
                  <a:pt x="147625" y="48923"/>
                  <a:pt x="145195" y="52046"/>
                </a:cubicBezTo>
                <a:cubicBezTo>
                  <a:pt x="142766" y="55170"/>
                  <a:pt x="128247" y="77903"/>
                  <a:pt x="128999" y="81952"/>
                </a:cubicBezTo>
                <a:cubicBezTo>
                  <a:pt x="129751" y="86001"/>
                  <a:pt x="126627" y="98090"/>
                  <a:pt x="122578" y="99710"/>
                </a:cubicBezTo>
                <a:cubicBezTo>
                  <a:pt x="118529" y="101330"/>
                  <a:pt x="119339" y="110238"/>
                  <a:pt x="119339" y="114229"/>
                </a:cubicBezTo>
                <a:cubicBezTo>
                  <a:pt x="119339" y="118220"/>
                  <a:pt x="106382" y="123947"/>
                  <a:pt x="106382" y="130426"/>
                </a:cubicBezTo>
                <a:cubicBezTo>
                  <a:pt x="106382" y="136904"/>
                  <a:pt x="91111" y="163512"/>
                  <a:pt x="86252" y="172420"/>
                </a:cubicBezTo>
                <a:cubicBezTo>
                  <a:pt x="81393" y="181329"/>
                  <a:pt x="76534" y="192608"/>
                  <a:pt x="74683" y="184510"/>
                </a:cubicBezTo>
                <a:cubicBezTo>
                  <a:pt x="72832" y="176412"/>
                  <a:pt x="60974" y="166752"/>
                  <a:pt x="55305" y="170801"/>
                </a:cubicBezTo>
                <a:cubicBezTo>
                  <a:pt x="49637" y="174850"/>
                  <a:pt x="42406" y="172420"/>
                  <a:pt x="39167" y="173230"/>
                </a:cubicBezTo>
                <a:cubicBezTo>
                  <a:pt x="35928" y="174040"/>
                  <a:pt x="7873" y="203078"/>
                  <a:pt x="7873" y="203078"/>
                </a:cubicBezTo>
                <a:cubicBezTo>
                  <a:pt x="6109" y="213056"/>
                  <a:pt x="3437" y="222855"/>
                  <a:pt x="-110" y="232347"/>
                </a:cubicBezTo>
                <a:cubicBezTo>
                  <a:pt x="4431" y="236836"/>
                  <a:pt x="8324" y="241938"/>
                  <a:pt x="11459" y="247502"/>
                </a:cubicBezTo>
                <a:cubicBezTo>
                  <a:pt x="17244" y="255600"/>
                  <a:pt x="28003" y="249527"/>
                  <a:pt x="32457" y="251956"/>
                </a:cubicBezTo>
                <a:cubicBezTo>
                  <a:pt x="36911" y="254386"/>
                  <a:pt x="41770" y="273359"/>
                  <a:pt x="40150" y="278623"/>
                </a:cubicBezTo>
                <a:cubicBezTo>
                  <a:pt x="38531" y="283886"/>
                  <a:pt x="31879" y="296496"/>
                  <a:pt x="35002" y="302859"/>
                </a:cubicBezTo>
                <a:lnTo>
                  <a:pt x="72832" y="302859"/>
                </a:ln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 name="Forma libre: forma 28">
            <a:extLst>
              <a:ext uri="{FF2B5EF4-FFF2-40B4-BE49-F238E27FC236}">
                <a16:creationId xmlns:a16="http://schemas.microsoft.com/office/drawing/2014/main" id="{D41330E4-740A-4128-6081-3A9B4B2525FA}"/>
              </a:ext>
            </a:extLst>
          </p:cNvPr>
          <p:cNvSpPr/>
          <p:nvPr/>
        </p:nvSpPr>
        <p:spPr>
          <a:xfrm>
            <a:off x="5953479" y="4187186"/>
            <a:ext cx="166625" cy="170251"/>
          </a:xfrm>
          <a:custGeom>
            <a:avLst/>
            <a:gdLst>
              <a:gd name="connsiteX0" fmla="*/ 157492 w 166625"/>
              <a:gd name="connsiteY0" fmla="*/ 142523 h 170251"/>
              <a:gd name="connsiteX1" fmla="*/ 145923 w 166625"/>
              <a:gd name="connsiteY1" fmla="*/ 112271 h 170251"/>
              <a:gd name="connsiteX2" fmla="*/ 156220 w 166625"/>
              <a:gd name="connsiteY2" fmla="*/ 85605 h 170251"/>
              <a:gd name="connsiteX3" fmla="*/ 166516 w 166625"/>
              <a:gd name="connsiteY3" fmla="*/ 67383 h 170251"/>
              <a:gd name="connsiteX4" fmla="*/ 157030 w 166625"/>
              <a:gd name="connsiteY4" fmla="*/ 24984 h 170251"/>
              <a:gd name="connsiteX5" fmla="*/ 151997 w 166625"/>
              <a:gd name="connsiteY5" fmla="*/ 22381 h 170251"/>
              <a:gd name="connsiteX6" fmla="*/ 119720 w 166625"/>
              <a:gd name="connsiteY6" fmla="*/ 26430 h 170251"/>
              <a:gd name="connsiteX7" fmla="*/ 95425 w 166625"/>
              <a:gd name="connsiteY7" fmla="*/ 14861 h 170251"/>
              <a:gd name="connsiteX8" fmla="*/ 74428 w 166625"/>
              <a:gd name="connsiteY8" fmla="*/ 7573 h 170251"/>
              <a:gd name="connsiteX9" fmla="*/ 64768 w 166625"/>
              <a:gd name="connsiteY9" fmla="*/ 4333 h 170251"/>
              <a:gd name="connsiteX10" fmla="*/ 51059 w 166625"/>
              <a:gd name="connsiteY10" fmla="*/ 5953 h 170251"/>
              <a:gd name="connsiteX11" fmla="*/ 35672 w 166625"/>
              <a:gd name="connsiteY11" fmla="*/ 13241 h 170251"/>
              <a:gd name="connsiteX12" fmla="*/ 21963 w 166625"/>
              <a:gd name="connsiteY12" fmla="*/ 9192 h 170251"/>
              <a:gd name="connsiteX13" fmla="*/ 15294 w 166625"/>
              <a:gd name="connsiteY13" fmla="*/ 13021 h 170251"/>
              <a:gd name="connsiteX14" fmla="*/ 12708 w 166625"/>
              <a:gd name="connsiteY14" fmla="*/ 11448 h 170251"/>
              <a:gd name="connsiteX15" fmla="*/ 12708 w 166625"/>
              <a:gd name="connsiteY15" fmla="*/ 33198 h 170251"/>
              <a:gd name="connsiteX16" fmla="*/ 17567 w 166625"/>
              <a:gd name="connsiteY16" fmla="*/ 45923 h 170251"/>
              <a:gd name="connsiteX17" fmla="*/ 22426 w 166625"/>
              <a:gd name="connsiteY17" fmla="*/ 62930 h 170251"/>
              <a:gd name="connsiteX18" fmla="*/ 9700 w 166625"/>
              <a:gd name="connsiteY18" fmla="*/ 64723 h 170251"/>
              <a:gd name="connsiteX19" fmla="*/ 12130 w 166625"/>
              <a:gd name="connsiteY19" fmla="*/ 81092 h 170251"/>
              <a:gd name="connsiteX20" fmla="*/ 4263 w 166625"/>
              <a:gd name="connsiteY20" fmla="*/ 96190 h 170251"/>
              <a:gd name="connsiteX21" fmla="*/ 1197 w 166625"/>
              <a:gd name="connsiteY21" fmla="*/ 115626 h 170251"/>
              <a:gd name="connsiteX22" fmla="*/ 10279 w 166625"/>
              <a:gd name="connsiteY22" fmla="*/ 124071 h 170251"/>
              <a:gd name="connsiteX23" fmla="*/ 31508 w 166625"/>
              <a:gd name="connsiteY23" fmla="*/ 144664 h 170251"/>
              <a:gd name="connsiteX24" fmla="*/ 23409 w 166625"/>
              <a:gd name="connsiteY24" fmla="*/ 170115 h 170251"/>
              <a:gd name="connsiteX25" fmla="*/ 103986 w 166625"/>
              <a:gd name="connsiteY25" fmla="*/ 152762 h 170251"/>
              <a:gd name="connsiteX26" fmla="*/ 156914 w 166625"/>
              <a:gd name="connsiteY26" fmla="*/ 156059 h 170251"/>
              <a:gd name="connsiteX27" fmla="*/ 157492 w 166625"/>
              <a:gd name="connsiteY27" fmla="*/ 142523 h 17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6625" h="170251">
                <a:moveTo>
                  <a:pt x="157492" y="142523"/>
                </a:moveTo>
                <a:cubicBezTo>
                  <a:pt x="153848" y="137722"/>
                  <a:pt x="145403" y="117072"/>
                  <a:pt x="145923" y="112271"/>
                </a:cubicBezTo>
                <a:cubicBezTo>
                  <a:pt x="146444" y="107469"/>
                  <a:pt x="156856" y="92893"/>
                  <a:pt x="156220" y="85605"/>
                </a:cubicBezTo>
                <a:cubicBezTo>
                  <a:pt x="155584" y="78316"/>
                  <a:pt x="166516" y="73515"/>
                  <a:pt x="166516" y="67383"/>
                </a:cubicBezTo>
                <a:cubicBezTo>
                  <a:pt x="165515" y="52853"/>
                  <a:pt x="162317" y="38554"/>
                  <a:pt x="157030" y="24984"/>
                </a:cubicBezTo>
                <a:cubicBezTo>
                  <a:pt x="155046" y="24926"/>
                  <a:pt x="153195" y="23966"/>
                  <a:pt x="151997" y="22381"/>
                </a:cubicBezTo>
                <a:cubicBezTo>
                  <a:pt x="147138" y="17580"/>
                  <a:pt x="126951" y="18389"/>
                  <a:pt x="119720" y="26430"/>
                </a:cubicBezTo>
                <a:cubicBezTo>
                  <a:pt x="112490" y="34470"/>
                  <a:pt x="97855" y="19199"/>
                  <a:pt x="95425" y="14861"/>
                </a:cubicBezTo>
                <a:cubicBezTo>
                  <a:pt x="92996" y="10523"/>
                  <a:pt x="82526" y="1962"/>
                  <a:pt x="74428" y="7573"/>
                </a:cubicBezTo>
                <a:cubicBezTo>
                  <a:pt x="66330" y="13183"/>
                  <a:pt x="63958" y="11622"/>
                  <a:pt x="64768" y="4333"/>
                </a:cubicBezTo>
                <a:cubicBezTo>
                  <a:pt x="65578" y="-2955"/>
                  <a:pt x="52621" y="-526"/>
                  <a:pt x="51059" y="5953"/>
                </a:cubicBezTo>
                <a:cubicBezTo>
                  <a:pt x="49497" y="12431"/>
                  <a:pt x="38911" y="18100"/>
                  <a:pt x="35672" y="13241"/>
                </a:cubicBezTo>
                <a:cubicBezTo>
                  <a:pt x="32433" y="8382"/>
                  <a:pt x="25202" y="1672"/>
                  <a:pt x="21963" y="9192"/>
                </a:cubicBezTo>
                <a:cubicBezTo>
                  <a:pt x="21177" y="12090"/>
                  <a:pt x="18192" y="13802"/>
                  <a:pt x="15294" y="13021"/>
                </a:cubicBezTo>
                <a:cubicBezTo>
                  <a:pt x="14299" y="12749"/>
                  <a:pt x="13402" y="12206"/>
                  <a:pt x="12708" y="11448"/>
                </a:cubicBezTo>
                <a:cubicBezTo>
                  <a:pt x="10683" y="20414"/>
                  <a:pt x="8139" y="30710"/>
                  <a:pt x="12708" y="33198"/>
                </a:cubicBezTo>
                <a:cubicBezTo>
                  <a:pt x="17151" y="35743"/>
                  <a:pt x="19181" y="41064"/>
                  <a:pt x="17567" y="45923"/>
                </a:cubicBezTo>
                <a:cubicBezTo>
                  <a:pt x="16352" y="49568"/>
                  <a:pt x="26649" y="58649"/>
                  <a:pt x="22426" y="62930"/>
                </a:cubicBezTo>
                <a:cubicBezTo>
                  <a:pt x="18203" y="67210"/>
                  <a:pt x="12708" y="58649"/>
                  <a:pt x="9700" y="64723"/>
                </a:cubicBezTo>
                <a:cubicBezTo>
                  <a:pt x="6693" y="70796"/>
                  <a:pt x="15485" y="76292"/>
                  <a:pt x="12130" y="81092"/>
                </a:cubicBezTo>
                <a:cubicBezTo>
                  <a:pt x="8775" y="85894"/>
                  <a:pt x="3048" y="86530"/>
                  <a:pt x="4263" y="96190"/>
                </a:cubicBezTo>
                <a:cubicBezTo>
                  <a:pt x="5478" y="105850"/>
                  <a:pt x="4841" y="112560"/>
                  <a:pt x="1197" y="115626"/>
                </a:cubicBezTo>
                <a:cubicBezTo>
                  <a:pt x="-2447" y="118691"/>
                  <a:pt x="1833" y="118634"/>
                  <a:pt x="10279" y="124071"/>
                </a:cubicBezTo>
                <a:cubicBezTo>
                  <a:pt x="18724" y="129508"/>
                  <a:pt x="32722" y="135640"/>
                  <a:pt x="31508" y="144664"/>
                </a:cubicBezTo>
                <a:cubicBezTo>
                  <a:pt x="30293" y="153687"/>
                  <a:pt x="26764" y="154902"/>
                  <a:pt x="23409" y="170115"/>
                </a:cubicBezTo>
                <a:cubicBezTo>
                  <a:pt x="39837" y="170462"/>
                  <a:pt x="69338" y="158546"/>
                  <a:pt x="103986" y="152762"/>
                </a:cubicBezTo>
                <a:cubicBezTo>
                  <a:pt x="121652" y="149835"/>
                  <a:pt x="139752" y="150963"/>
                  <a:pt x="156914" y="156059"/>
                </a:cubicBezTo>
                <a:cubicBezTo>
                  <a:pt x="158418" y="150795"/>
                  <a:pt x="159343" y="144953"/>
                  <a:pt x="157492" y="14252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 name="Forma libre: forma 29">
            <a:extLst>
              <a:ext uri="{FF2B5EF4-FFF2-40B4-BE49-F238E27FC236}">
                <a16:creationId xmlns:a16="http://schemas.microsoft.com/office/drawing/2014/main" id="{B16CCCAE-884A-DA8A-F33C-EBDF35691BF0}"/>
              </a:ext>
            </a:extLst>
          </p:cNvPr>
          <p:cNvSpPr/>
          <p:nvPr/>
        </p:nvSpPr>
        <p:spPr>
          <a:xfrm>
            <a:off x="6099310" y="4174989"/>
            <a:ext cx="116121" cy="175970"/>
          </a:xfrm>
          <a:custGeom>
            <a:avLst/>
            <a:gdLst>
              <a:gd name="connsiteX0" fmla="*/ 98890 w 116121"/>
              <a:gd name="connsiteY0" fmla="*/ 71771 h 175970"/>
              <a:gd name="connsiteX1" fmla="*/ 98312 w 116121"/>
              <a:gd name="connsiteY1" fmla="*/ 33594 h 175970"/>
              <a:gd name="connsiteX2" fmla="*/ 91660 w 116121"/>
              <a:gd name="connsiteY2" fmla="*/ 17224 h 175970"/>
              <a:gd name="connsiteX3" fmla="*/ 85875 w 116121"/>
              <a:gd name="connsiteY3" fmla="*/ -129 h 175970"/>
              <a:gd name="connsiteX4" fmla="*/ 78703 w 116121"/>
              <a:gd name="connsiteY4" fmla="*/ 6581 h 175970"/>
              <a:gd name="connsiteX5" fmla="*/ 10042 w 116121"/>
              <a:gd name="connsiteY5" fmla="*/ 4961 h 175970"/>
              <a:gd name="connsiteX6" fmla="*/ 14900 w 116121"/>
              <a:gd name="connsiteY6" fmla="*/ 32437 h 175970"/>
              <a:gd name="connsiteX7" fmla="*/ 11025 w 116121"/>
              <a:gd name="connsiteY7" fmla="*/ 37412 h 175970"/>
              <a:gd name="connsiteX8" fmla="*/ 20511 w 116121"/>
              <a:gd name="connsiteY8" fmla="*/ 79812 h 175970"/>
              <a:gd name="connsiteX9" fmla="*/ 10215 w 116121"/>
              <a:gd name="connsiteY9" fmla="*/ 98033 h 175970"/>
              <a:gd name="connsiteX10" fmla="*/ -81 w 116121"/>
              <a:gd name="connsiteY10" fmla="*/ 124699 h 175970"/>
              <a:gd name="connsiteX11" fmla="*/ 11488 w 116121"/>
              <a:gd name="connsiteY11" fmla="*/ 154952 h 175970"/>
              <a:gd name="connsiteX12" fmla="*/ 11025 w 116121"/>
              <a:gd name="connsiteY12" fmla="*/ 168371 h 175970"/>
              <a:gd name="connsiteX13" fmla="*/ 31502 w 116121"/>
              <a:gd name="connsiteY13" fmla="*/ 175775 h 175970"/>
              <a:gd name="connsiteX14" fmla="*/ 84429 w 116121"/>
              <a:gd name="connsiteY14" fmla="*/ 154373 h 175970"/>
              <a:gd name="connsiteX15" fmla="*/ 116012 w 116121"/>
              <a:gd name="connsiteY15" fmla="*/ 141011 h 175970"/>
              <a:gd name="connsiteX16" fmla="*/ 106005 w 116121"/>
              <a:gd name="connsiteY16" fmla="*/ 109544 h 175970"/>
              <a:gd name="connsiteX17" fmla="*/ 98890 w 116121"/>
              <a:gd name="connsiteY17" fmla="*/ 71771 h 175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121" h="175970">
                <a:moveTo>
                  <a:pt x="98890" y="71771"/>
                </a:moveTo>
                <a:cubicBezTo>
                  <a:pt x="95304" y="62632"/>
                  <a:pt x="97675" y="42849"/>
                  <a:pt x="98312" y="33594"/>
                </a:cubicBezTo>
                <a:cubicBezTo>
                  <a:pt x="98948" y="24339"/>
                  <a:pt x="95882" y="19654"/>
                  <a:pt x="91660" y="17224"/>
                </a:cubicBezTo>
                <a:cubicBezTo>
                  <a:pt x="89346" y="15952"/>
                  <a:pt x="87437" y="7391"/>
                  <a:pt x="85875" y="-129"/>
                </a:cubicBezTo>
                <a:cubicBezTo>
                  <a:pt x="81074" y="2011"/>
                  <a:pt x="80727" y="9936"/>
                  <a:pt x="78703" y="6581"/>
                </a:cubicBezTo>
                <a:cubicBezTo>
                  <a:pt x="76678" y="3226"/>
                  <a:pt x="13281" y="102"/>
                  <a:pt x="10042" y="4961"/>
                </a:cubicBezTo>
                <a:cubicBezTo>
                  <a:pt x="6802" y="9820"/>
                  <a:pt x="15826" y="27578"/>
                  <a:pt x="14900" y="32437"/>
                </a:cubicBezTo>
                <a:cubicBezTo>
                  <a:pt x="14380" y="35330"/>
                  <a:pt x="13050" y="37296"/>
                  <a:pt x="11025" y="37412"/>
                </a:cubicBezTo>
                <a:cubicBezTo>
                  <a:pt x="16312" y="50982"/>
                  <a:pt x="19510" y="65281"/>
                  <a:pt x="20511" y="79812"/>
                </a:cubicBezTo>
                <a:cubicBezTo>
                  <a:pt x="20511" y="85943"/>
                  <a:pt x="9637" y="90744"/>
                  <a:pt x="10215" y="98033"/>
                </a:cubicBezTo>
                <a:cubicBezTo>
                  <a:pt x="10794" y="105321"/>
                  <a:pt x="497" y="119840"/>
                  <a:pt x="-81" y="124699"/>
                </a:cubicBezTo>
                <a:cubicBezTo>
                  <a:pt x="-660" y="129558"/>
                  <a:pt x="7786" y="150150"/>
                  <a:pt x="11488" y="154952"/>
                </a:cubicBezTo>
                <a:cubicBezTo>
                  <a:pt x="13339" y="157381"/>
                  <a:pt x="12413" y="163223"/>
                  <a:pt x="11025" y="168371"/>
                </a:cubicBezTo>
                <a:cubicBezTo>
                  <a:pt x="22015" y="171553"/>
                  <a:pt x="29304" y="175255"/>
                  <a:pt x="31502" y="175775"/>
                </a:cubicBezTo>
                <a:cubicBezTo>
                  <a:pt x="36361" y="176990"/>
                  <a:pt x="70662" y="161256"/>
                  <a:pt x="84429" y="154373"/>
                </a:cubicBezTo>
                <a:cubicBezTo>
                  <a:pt x="95362" y="148878"/>
                  <a:pt x="107567" y="145407"/>
                  <a:pt x="116012" y="141011"/>
                </a:cubicBezTo>
                <a:cubicBezTo>
                  <a:pt x="110558" y="131316"/>
                  <a:pt x="107156" y="120609"/>
                  <a:pt x="106005" y="109544"/>
                </a:cubicBezTo>
                <a:cubicBezTo>
                  <a:pt x="105901" y="96627"/>
                  <a:pt x="103495" y="83838"/>
                  <a:pt x="98890" y="7177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 name="Forma libre: forma 30">
            <a:extLst>
              <a:ext uri="{FF2B5EF4-FFF2-40B4-BE49-F238E27FC236}">
                <a16:creationId xmlns:a16="http://schemas.microsoft.com/office/drawing/2014/main" id="{37ECA3B0-AFF2-A9BC-C9D5-05612EF92E17}"/>
              </a:ext>
            </a:extLst>
          </p:cNvPr>
          <p:cNvSpPr/>
          <p:nvPr/>
        </p:nvSpPr>
        <p:spPr>
          <a:xfrm>
            <a:off x="5772923" y="4130507"/>
            <a:ext cx="204156" cy="152865"/>
          </a:xfrm>
          <a:custGeom>
            <a:avLst/>
            <a:gdLst>
              <a:gd name="connsiteX0" fmla="*/ 69130 w 204156"/>
              <a:gd name="connsiteY0" fmla="*/ 82935 h 152865"/>
              <a:gd name="connsiteX1" fmla="*/ 81798 w 204156"/>
              <a:gd name="connsiteY1" fmla="*/ 79927 h 152865"/>
              <a:gd name="connsiteX2" fmla="*/ 102390 w 204156"/>
              <a:gd name="connsiteY2" fmla="*/ 75647 h 152865"/>
              <a:gd name="connsiteX3" fmla="*/ 124256 w 204156"/>
              <a:gd name="connsiteY3" fmla="*/ 102892 h 152865"/>
              <a:gd name="connsiteX4" fmla="*/ 127842 w 204156"/>
              <a:gd name="connsiteY4" fmla="*/ 119262 h 152865"/>
              <a:gd name="connsiteX5" fmla="*/ 128709 w 204156"/>
              <a:gd name="connsiteY5" fmla="*/ 121170 h 152865"/>
              <a:gd name="connsiteX6" fmla="*/ 148435 w 204156"/>
              <a:gd name="connsiteY6" fmla="*/ 117758 h 152865"/>
              <a:gd name="connsiteX7" fmla="*/ 156185 w 204156"/>
              <a:gd name="connsiteY7" fmla="*/ 140895 h 152865"/>
              <a:gd name="connsiteX8" fmla="*/ 169316 w 204156"/>
              <a:gd name="connsiteY8" fmla="*/ 150497 h 152865"/>
              <a:gd name="connsiteX9" fmla="*/ 180018 w 204156"/>
              <a:gd name="connsiteY9" fmla="*/ 142110 h 152865"/>
              <a:gd name="connsiteX10" fmla="*/ 185455 w 204156"/>
              <a:gd name="connsiteY10" fmla="*/ 146217 h 152865"/>
              <a:gd name="connsiteX11" fmla="*/ 192685 w 204156"/>
              <a:gd name="connsiteY11" fmla="*/ 138003 h 152865"/>
              <a:gd name="connsiteX12" fmla="*/ 190256 w 204156"/>
              <a:gd name="connsiteY12" fmla="*/ 121633 h 152865"/>
              <a:gd name="connsiteX13" fmla="*/ 202982 w 204156"/>
              <a:gd name="connsiteY13" fmla="*/ 119840 h 152865"/>
              <a:gd name="connsiteX14" fmla="*/ 198123 w 204156"/>
              <a:gd name="connsiteY14" fmla="*/ 102834 h 152865"/>
              <a:gd name="connsiteX15" fmla="*/ 193264 w 204156"/>
              <a:gd name="connsiteY15" fmla="*/ 90108 h 152865"/>
              <a:gd name="connsiteX16" fmla="*/ 193264 w 204156"/>
              <a:gd name="connsiteY16" fmla="*/ 68358 h 152865"/>
              <a:gd name="connsiteX17" fmla="*/ 189562 w 204156"/>
              <a:gd name="connsiteY17" fmla="*/ 64483 h 152865"/>
              <a:gd name="connsiteX18" fmla="*/ 183141 w 204156"/>
              <a:gd name="connsiteY18" fmla="*/ 49154 h 152865"/>
              <a:gd name="connsiteX19" fmla="*/ 183141 w 204156"/>
              <a:gd name="connsiteY19" fmla="*/ 39436 h 152865"/>
              <a:gd name="connsiteX20" fmla="*/ 173423 w 204156"/>
              <a:gd name="connsiteY20" fmla="*/ 26537 h 152865"/>
              <a:gd name="connsiteX21" fmla="*/ 162954 w 204156"/>
              <a:gd name="connsiteY21" fmla="*/ 6350 h 152865"/>
              <a:gd name="connsiteX22" fmla="*/ 143518 w 204156"/>
              <a:gd name="connsiteY22" fmla="*/ 20059 h 152865"/>
              <a:gd name="connsiteX23" fmla="*/ 124950 w 204156"/>
              <a:gd name="connsiteY23" fmla="*/ 18497 h 152865"/>
              <a:gd name="connsiteX24" fmla="*/ 109621 w 204156"/>
              <a:gd name="connsiteY24" fmla="*/ 20926 h 152865"/>
              <a:gd name="connsiteX25" fmla="*/ 101580 w 204156"/>
              <a:gd name="connsiteY25" fmla="*/ 13580 h 152865"/>
              <a:gd name="connsiteX26" fmla="*/ 101580 w 204156"/>
              <a:gd name="connsiteY26" fmla="*/ 9126 h 152865"/>
              <a:gd name="connsiteX27" fmla="*/ 98573 w 204156"/>
              <a:gd name="connsiteY27" fmla="*/ 10167 h 152865"/>
              <a:gd name="connsiteX28" fmla="*/ 58602 w 204156"/>
              <a:gd name="connsiteY28" fmla="*/ 7738 h 152865"/>
              <a:gd name="connsiteX29" fmla="*/ 39167 w 204156"/>
              <a:gd name="connsiteY29" fmla="*/ -129 h 152865"/>
              <a:gd name="connsiteX30" fmla="*/ 33093 w 204156"/>
              <a:gd name="connsiteY30" fmla="*/ 12597 h 152865"/>
              <a:gd name="connsiteX31" fmla="*/ 34944 w 204156"/>
              <a:gd name="connsiteY31" fmla="*/ 25322 h 152865"/>
              <a:gd name="connsiteX32" fmla="*/ 25226 w 204156"/>
              <a:gd name="connsiteY32" fmla="*/ 29545 h 152865"/>
              <a:gd name="connsiteX33" fmla="*/ 2841 w 204156"/>
              <a:gd name="connsiteY33" fmla="*/ 42849 h 152865"/>
              <a:gd name="connsiteX34" fmla="*/ -110 w 204156"/>
              <a:gd name="connsiteY34" fmla="*/ 45741 h 152865"/>
              <a:gd name="connsiteX35" fmla="*/ 19384 w 204156"/>
              <a:gd name="connsiteY35" fmla="*/ 69747 h 152865"/>
              <a:gd name="connsiteX36" fmla="*/ 50157 w 204156"/>
              <a:gd name="connsiteY36" fmla="*/ 103297 h 152865"/>
              <a:gd name="connsiteX37" fmla="*/ 69130 w 204156"/>
              <a:gd name="connsiteY37" fmla="*/ 82935 h 15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4156" h="152865">
                <a:moveTo>
                  <a:pt x="69130" y="82935"/>
                </a:moveTo>
                <a:cubicBezTo>
                  <a:pt x="69709" y="76226"/>
                  <a:pt x="74914" y="78655"/>
                  <a:pt x="81798" y="79927"/>
                </a:cubicBezTo>
                <a:cubicBezTo>
                  <a:pt x="88681" y="81200"/>
                  <a:pt x="96375" y="75647"/>
                  <a:pt x="102390" y="75647"/>
                </a:cubicBezTo>
                <a:cubicBezTo>
                  <a:pt x="108406" y="75647"/>
                  <a:pt x="124256" y="96876"/>
                  <a:pt x="124256" y="102892"/>
                </a:cubicBezTo>
                <a:cubicBezTo>
                  <a:pt x="123862" y="108578"/>
                  <a:pt x="125106" y="114258"/>
                  <a:pt x="127842" y="119262"/>
                </a:cubicBezTo>
                <a:cubicBezTo>
                  <a:pt x="128224" y="119852"/>
                  <a:pt x="128519" y="120494"/>
                  <a:pt x="128709" y="121170"/>
                </a:cubicBezTo>
                <a:cubicBezTo>
                  <a:pt x="135194" y="119563"/>
                  <a:pt x="141788" y="118417"/>
                  <a:pt x="148435" y="117758"/>
                </a:cubicBezTo>
                <a:cubicBezTo>
                  <a:pt x="151443" y="117758"/>
                  <a:pt x="157400" y="132045"/>
                  <a:pt x="156185" y="140895"/>
                </a:cubicBezTo>
                <a:cubicBezTo>
                  <a:pt x="154971" y="149745"/>
                  <a:pt x="165094" y="156398"/>
                  <a:pt x="169316" y="150497"/>
                </a:cubicBezTo>
                <a:cubicBezTo>
                  <a:pt x="173539" y="144597"/>
                  <a:pt x="178861" y="136730"/>
                  <a:pt x="180018" y="142110"/>
                </a:cubicBezTo>
                <a:cubicBezTo>
                  <a:pt x="180365" y="143672"/>
                  <a:pt x="182620" y="145060"/>
                  <a:pt x="185455" y="146217"/>
                </a:cubicBezTo>
                <a:cubicBezTo>
                  <a:pt x="186959" y="142689"/>
                  <a:pt x="190198" y="141242"/>
                  <a:pt x="192685" y="138003"/>
                </a:cubicBezTo>
                <a:cubicBezTo>
                  <a:pt x="196272" y="133144"/>
                  <a:pt x="187248" y="127707"/>
                  <a:pt x="190256" y="121633"/>
                </a:cubicBezTo>
                <a:cubicBezTo>
                  <a:pt x="193264" y="115560"/>
                  <a:pt x="198701" y="124005"/>
                  <a:pt x="202982" y="119840"/>
                </a:cubicBezTo>
                <a:cubicBezTo>
                  <a:pt x="207262" y="115675"/>
                  <a:pt x="197197" y="106478"/>
                  <a:pt x="198123" y="102834"/>
                </a:cubicBezTo>
                <a:cubicBezTo>
                  <a:pt x="199737" y="97975"/>
                  <a:pt x="197706" y="92653"/>
                  <a:pt x="193264" y="90108"/>
                </a:cubicBezTo>
                <a:cubicBezTo>
                  <a:pt x="188752" y="87621"/>
                  <a:pt x="191297" y="77325"/>
                  <a:pt x="193264" y="68358"/>
                </a:cubicBezTo>
                <a:cubicBezTo>
                  <a:pt x="191829" y="67271"/>
                  <a:pt x="190580" y="65964"/>
                  <a:pt x="189562" y="64483"/>
                </a:cubicBezTo>
                <a:cubicBezTo>
                  <a:pt x="186322" y="59624"/>
                  <a:pt x="188752" y="49154"/>
                  <a:pt x="183141" y="49154"/>
                </a:cubicBezTo>
                <a:cubicBezTo>
                  <a:pt x="177530" y="49154"/>
                  <a:pt x="178282" y="41056"/>
                  <a:pt x="183141" y="39436"/>
                </a:cubicBezTo>
                <a:cubicBezTo>
                  <a:pt x="188000" y="37817"/>
                  <a:pt x="173423" y="32206"/>
                  <a:pt x="173423" y="26537"/>
                </a:cubicBezTo>
                <a:cubicBezTo>
                  <a:pt x="173423" y="20869"/>
                  <a:pt x="166193" y="7159"/>
                  <a:pt x="162954" y="6350"/>
                </a:cubicBezTo>
                <a:cubicBezTo>
                  <a:pt x="159714" y="5540"/>
                  <a:pt x="148377" y="20059"/>
                  <a:pt x="143518" y="20059"/>
                </a:cubicBezTo>
                <a:cubicBezTo>
                  <a:pt x="138659" y="20059"/>
                  <a:pt x="128189" y="10399"/>
                  <a:pt x="124950" y="18497"/>
                </a:cubicBezTo>
                <a:cubicBezTo>
                  <a:pt x="121711" y="26595"/>
                  <a:pt x="114480" y="14390"/>
                  <a:pt x="109621" y="20926"/>
                </a:cubicBezTo>
                <a:cubicBezTo>
                  <a:pt x="104762" y="27462"/>
                  <a:pt x="101580" y="13580"/>
                  <a:pt x="101580" y="13580"/>
                </a:cubicBezTo>
                <a:cubicBezTo>
                  <a:pt x="101580" y="13580"/>
                  <a:pt x="101580" y="11671"/>
                  <a:pt x="101580" y="9126"/>
                </a:cubicBezTo>
                <a:cubicBezTo>
                  <a:pt x="100539" y="9415"/>
                  <a:pt x="99556" y="9820"/>
                  <a:pt x="98573" y="10167"/>
                </a:cubicBezTo>
                <a:cubicBezTo>
                  <a:pt x="84632" y="15026"/>
                  <a:pt x="59759" y="11960"/>
                  <a:pt x="58602" y="7738"/>
                </a:cubicBezTo>
                <a:cubicBezTo>
                  <a:pt x="57446" y="3515"/>
                  <a:pt x="39167" y="-129"/>
                  <a:pt x="39167" y="-129"/>
                </a:cubicBezTo>
                <a:cubicBezTo>
                  <a:pt x="39167" y="-129"/>
                  <a:pt x="39803" y="10167"/>
                  <a:pt x="33093" y="12597"/>
                </a:cubicBezTo>
                <a:cubicBezTo>
                  <a:pt x="26383" y="15026"/>
                  <a:pt x="34944" y="22893"/>
                  <a:pt x="34944" y="25322"/>
                </a:cubicBezTo>
                <a:cubicBezTo>
                  <a:pt x="34944" y="27752"/>
                  <a:pt x="29507" y="31107"/>
                  <a:pt x="25226" y="29545"/>
                </a:cubicBezTo>
                <a:cubicBezTo>
                  <a:pt x="20946" y="27983"/>
                  <a:pt x="8914" y="38627"/>
                  <a:pt x="2841" y="42849"/>
                </a:cubicBezTo>
                <a:cubicBezTo>
                  <a:pt x="1793" y="43752"/>
                  <a:pt x="810" y="44718"/>
                  <a:pt x="-110" y="45741"/>
                </a:cubicBezTo>
                <a:cubicBezTo>
                  <a:pt x="9261" y="53261"/>
                  <a:pt x="8451" y="61707"/>
                  <a:pt x="19384" y="69747"/>
                </a:cubicBezTo>
                <a:cubicBezTo>
                  <a:pt x="32289" y="78180"/>
                  <a:pt x="42869" y="89715"/>
                  <a:pt x="50157" y="103297"/>
                </a:cubicBezTo>
                <a:cubicBezTo>
                  <a:pt x="58197" y="96702"/>
                  <a:pt x="68667" y="87447"/>
                  <a:pt x="69130" y="8293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 name="Forma libre: forma 31">
            <a:extLst>
              <a:ext uri="{FF2B5EF4-FFF2-40B4-BE49-F238E27FC236}">
                <a16:creationId xmlns:a16="http://schemas.microsoft.com/office/drawing/2014/main" id="{2DBB605C-62EA-A9FA-B68C-AA36393707D3}"/>
              </a:ext>
            </a:extLst>
          </p:cNvPr>
          <p:cNvSpPr/>
          <p:nvPr/>
        </p:nvSpPr>
        <p:spPr>
          <a:xfrm>
            <a:off x="5871027" y="4248451"/>
            <a:ext cx="113957" cy="109335"/>
          </a:xfrm>
          <a:custGeom>
            <a:avLst/>
            <a:gdLst>
              <a:gd name="connsiteX0" fmla="*/ 92731 w 113957"/>
              <a:gd name="connsiteY0" fmla="*/ 63095 h 109335"/>
              <a:gd name="connsiteX1" fmla="*/ 83649 w 113957"/>
              <a:gd name="connsiteY1" fmla="*/ 54649 h 109335"/>
              <a:gd name="connsiteX2" fmla="*/ 86715 w 113957"/>
              <a:gd name="connsiteY2" fmla="*/ 35214 h 109335"/>
              <a:gd name="connsiteX3" fmla="*/ 87351 w 113957"/>
              <a:gd name="connsiteY3" fmla="*/ 28330 h 109335"/>
              <a:gd name="connsiteX4" fmla="*/ 81914 w 113957"/>
              <a:gd name="connsiteY4" fmla="*/ 24223 h 109335"/>
              <a:gd name="connsiteX5" fmla="*/ 71213 w 113957"/>
              <a:gd name="connsiteY5" fmla="*/ 32611 h 109335"/>
              <a:gd name="connsiteX6" fmla="*/ 58082 w 113957"/>
              <a:gd name="connsiteY6" fmla="*/ 23009 h 109335"/>
              <a:gd name="connsiteX7" fmla="*/ 50331 w 113957"/>
              <a:gd name="connsiteY7" fmla="*/ -129 h 109335"/>
              <a:gd name="connsiteX8" fmla="*/ 30606 w 113957"/>
              <a:gd name="connsiteY8" fmla="*/ 3284 h 109335"/>
              <a:gd name="connsiteX9" fmla="*/ 27945 w 113957"/>
              <a:gd name="connsiteY9" fmla="*/ 17108 h 109335"/>
              <a:gd name="connsiteX10" fmla="*/ 6138 w 113957"/>
              <a:gd name="connsiteY10" fmla="*/ 35272 h 109335"/>
              <a:gd name="connsiteX11" fmla="*/ -110 w 113957"/>
              <a:gd name="connsiteY11" fmla="*/ 44527 h 109335"/>
              <a:gd name="connsiteX12" fmla="*/ 35407 w 113957"/>
              <a:gd name="connsiteY12" fmla="*/ 68243 h 109335"/>
              <a:gd name="connsiteX13" fmla="*/ 99036 w 113957"/>
              <a:gd name="connsiteY13" fmla="*/ 108155 h 109335"/>
              <a:gd name="connsiteX14" fmla="*/ 105688 w 113957"/>
              <a:gd name="connsiteY14" fmla="*/ 109197 h 109335"/>
              <a:gd name="connsiteX15" fmla="*/ 113786 w 113957"/>
              <a:gd name="connsiteY15" fmla="*/ 83745 h 109335"/>
              <a:gd name="connsiteX16" fmla="*/ 92731 w 113957"/>
              <a:gd name="connsiteY16" fmla="*/ 63095 h 10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957" h="109335">
                <a:moveTo>
                  <a:pt x="92731" y="63095"/>
                </a:moveTo>
                <a:cubicBezTo>
                  <a:pt x="84285" y="57657"/>
                  <a:pt x="80005" y="57657"/>
                  <a:pt x="83649" y="54649"/>
                </a:cubicBezTo>
                <a:cubicBezTo>
                  <a:pt x="87293" y="51641"/>
                  <a:pt x="87872" y="44932"/>
                  <a:pt x="86715" y="35214"/>
                </a:cubicBezTo>
                <a:cubicBezTo>
                  <a:pt x="86304" y="32906"/>
                  <a:pt x="86524" y="30528"/>
                  <a:pt x="87351" y="28330"/>
                </a:cubicBezTo>
                <a:cubicBezTo>
                  <a:pt x="84517" y="27173"/>
                  <a:pt x="82261" y="25785"/>
                  <a:pt x="81914" y="24223"/>
                </a:cubicBezTo>
                <a:cubicBezTo>
                  <a:pt x="80757" y="18844"/>
                  <a:pt x="75378" y="26595"/>
                  <a:pt x="71213" y="32611"/>
                </a:cubicBezTo>
                <a:cubicBezTo>
                  <a:pt x="67048" y="38626"/>
                  <a:pt x="56925" y="31975"/>
                  <a:pt x="58082" y="23009"/>
                </a:cubicBezTo>
                <a:cubicBezTo>
                  <a:pt x="59239" y="14043"/>
                  <a:pt x="53339" y="-129"/>
                  <a:pt x="50331" y="-129"/>
                </a:cubicBezTo>
                <a:cubicBezTo>
                  <a:pt x="43685" y="530"/>
                  <a:pt x="37090" y="1675"/>
                  <a:pt x="30606" y="3284"/>
                </a:cubicBezTo>
                <a:cubicBezTo>
                  <a:pt x="31879" y="7622"/>
                  <a:pt x="28986" y="12365"/>
                  <a:pt x="27945" y="17108"/>
                </a:cubicBezTo>
                <a:cubicBezTo>
                  <a:pt x="26904" y="21852"/>
                  <a:pt x="12211" y="30471"/>
                  <a:pt x="6138" y="35272"/>
                </a:cubicBezTo>
                <a:cubicBezTo>
                  <a:pt x="3570" y="38002"/>
                  <a:pt x="1458" y="41125"/>
                  <a:pt x="-110" y="44527"/>
                </a:cubicBezTo>
                <a:cubicBezTo>
                  <a:pt x="11459" y="51699"/>
                  <a:pt x="24590" y="60087"/>
                  <a:pt x="35407" y="68243"/>
                </a:cubicBezTo>
                <a:cubicBezTo>
                  <a:pt x="55190" y="83167"/>
                  <a:pt x="85095" y="102949"/>
                  <a:pt x="99036" y="108155"/>
                </a:cubicBezTo>
                <a:cubicBezTo>
                  <a:pt x="101170" y="108919"/>
                  <a:pt x="103426" y="109272"/>
                  <a:pt x="105688" y="109197"/>
                </a:cubicBezTo>
                <a:cubicBezTo>
                  <a:pt x="109043" y="93983"/>
                  <a:pt x="112687" y="91843"/>
                  <a:pt x="113786" y="83745"/>
                </a:cubicBezTo>
                <a:cubicBezTo>
                  <a:pt x="114885" y="75647"/>
                  <a:pt x="101234" y="68532"/>
                  <a:pt x="92731" y="6309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 name="Forma libre: forma 32">
            <a:extLst>
              <a:ext uri="{FF2B5EF4-FFF2-40B4-BE49-F238E27FC236}">
                <a16:creationId xmlns:a16="http://schemas.microsoft.com/office/drawing/2014/main" id="{DF5C7749-4C96-C795-8B8C-49DEBA3FAD85}"/>
              </a:ext>
            </a:extLst>
          </p:cNvPr>
          <p:cNvSpPr/>
          <p:nvPr/>
        </p:nvSpPr>
        <p:spPr>
          <a:xfrm>
            <a:off x="5823421" y="4206283"/>
            <a:ext cx="78651" cy="86766"/>
          </a:xfrm>
          <a:custGeom>
            <a:avLst/>
            <a:gdLst>
              <a:gd name="connsiteX0" fmla="*/ 75551 w 78651"/>
              <a:gd name="connsiteY0" fmla="*/ 59219 h 86766"/>
              <a:gd name="connsiteX1" fmla="*/ 77344 w 78651"/>
              <a:gd name="connsiteY1" fmla="*/ 43486 h 86766"/>
              <a:gd name="connsiteX2" fmla="*/ 73758 w 78651"/>
              <a:gd name="connsiteY2" fmla="*/ 27116 h 86766"/>
              <a:gd name="connsiteX3" fmla="*/ 51892 w 78651"/>
              <a:gd name="connsiteY3" fmla="*/ -129 h 86766"/>
              <a:gd name="connsiteX4" fmla="*/ 31300 w 78651"/>
              <a:gd name="connsiteY4" fmla="*/ 4151 h 86766"/>
              <a:gd name="connsiteX5" fmla="*/ 18632 w 78651"/>
              <a:gd name="connsiteY5" fmla="*/ 7159 h 86766"/>
              <a:gd name="connsiteX6" fmla="*/ -110 w 78651"/>
              <a:gd name="connsiteY6" fmla="*/ 27579 h 86766"/>
              <a:gd name="connsiteX7" fmla="*/ 3882 w 78651"/>
              <a:gd name="connsiteY7" fmla="*/ 37643 h 86766"/>
              <a:gd name="connsiteX8" fmla="*/ 25689 w 78651"/>
              <a:gd name="connsiteY8" fmla="*/ 71945 h 86766"/>
              <a:gd name="connsiteX9" fmla="*/ 47496 w 78651"/>
              <a:gd name="connsiteY9" fmla="*/ 86637 h 86766"/>
              <a:gd name="connsiteX10" fmla="*/ 53743 w 78651"/>
              <a:gd name="connsiteY10" fmla="*/ 77382 h 86766"/>
              <a:gd name="connsiteX11" fmla="*/ 75551 w 78651"/>
              <a:gd name="connsiteY11" fmla="*/ 59219 h 86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651" h="86766">
                <a:moveTo>
                  <a:pt x="75551" y="59219"/>
                </a:moveTo>
                <a:cubicBezTo>
                  <a:pt x="76765" y="53782"/>
                  <a:pt x="80410" y="48287"/>
                  <a:pt x="77344" y="43486"/>
                </a:cubicBezTo>
                <a:cubicBezTo>
                  <a:pt x="74608" y="38482"/>
                  <a:pt x="73364" y="32802"/>
                  <a:pt x="73758" y="27116"/>
                </a:cubicBezTo>
                <a:cubicBezTo>
                  <a:pt x="73758" y="21331"/>
                  <a:pt x="57966" y="-129"/>
                  <a:pt x="51892" y="-129"/>
                </a:cubicBezTo>
                <a:cubicBezTo>
                  <a:pt x="45819" y="-129"/>
                  <a:pt x="38010" y="5308"/>
                  <a:pt x="31300" y="4151"/>
                </a:cubicBezTo>
                <a:cubicBezTo>
                  <a:pt x="24590" y="2995"/>
                  <a:pt x="19211" y="450"/>
                  <a:pt x="18632" y="7159"/>
                </a:cubicBezTo>
                <a:cubicBezTo>
                  <a:pt x="18169" y="11671"/>
                  <a:pt x="7699" y="20926"/>
                  <a:pt x="-110" y="27579"/>
                </a:cubicBezTo>
                <a:cubicBezTo>
                  <a:pt x="1481" y="30824"/>
                  <a:pt x="2817" y="34190"/>
                  <a:pt x="3882" y="37643"/>
                </a:cubicBezTo>
                <a:cubicBezTo>
                  <a:pt x="10302" y="59856"/>
                  <a:pt x="16376" y="64310"/>
                  <a:pt x="25689" y="71945"/>
                </a:cubicBezTo>
                <a:cubicBezTo>
                  <a:pt x="29854" y="75416"/>
                  <a:pt x="38068" y="80622"/>
                  <a:pt x="47496" y="86637"/>
                </a:cubicBezTo>
                <a:cubicBezTo>
                  <a:pt x="49064" y="83236"/>
                  <a:pt x="51175" y="80113"/>
                  <a:pt x="53743" y="77382"/>
                </a:cubicBezTo>
                <a:cubicBezTo>
                  <a:pt x="59817" y="72581"/>
                  <a:pt x="74336" y="64657"/>
                  <a:pt x="75551" y="5921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 name="Forma libre: forma 33">
            <a:extLst>
              <a:ext uri="{FF2B5EF4-FFF2-40B4-BE49-F238E27FC236}">
                <a16:creationId xmlns:a16="http://schemas.microsoft.com/office/drawing/2014/main" id="{2893406B-20FC-E7A6-0F0E-58896F03D501}"/>
              </a:ext>
            </a:extLst>
          </p:cNvPr>
          <p:cNvSpPr/>
          <p:nvPr/>
        </p:nvSpPr>
        <p:spPr>
          <a:xfrm>
            <a:off x="5720806" y="3700030"/>
            <a:ext cx="228982" cy="186027"/>
          </a:xfrm>
          <a:custGeom>
            <a:avLst/>
            <a:gdLst>
              <a:gd name="connsiteX0" fmla="*/ 107597 w 228982"/>
              <a:gd name="connsiteY0" fmla="*/ 143209 h 186027"/>
              <a:gd name="connsiteX1" fmla="*/ 136114 w 228982"/>
              <a:gd name="connsiteY1" fmla="*/ 122674 h 186027"/>
              <a:gd name="connsiteX2" fmla="*/ 136114 w 228982"/>
              <a:gd name="connsiteY2" fmla="*/ 49675 h 186027"/>
              <a:gd name="connsiteX3" fmla="*/ 227855 w 228982"/>
              <a:gd name="connsiteY3" fmla="*/ 49675 h 186027"/>
              <a:gd name="connsiteX4" fmla="*/ 228491 w 228982"/>
              <a:gd name="connsiteY4" fmla="*/ 10341 h 186027"/>
              <a:gd name="connsiteX5" fmla="*/ 208882 w 228982"/>
              <a:gd name="connsiteY5" fmla="*/ -129 h 186027"/>
              <a:gd name="connsiteX6" fmla="*/ 107307 w 228982"/>
              <a:gd name="connsiteY6" fmla="*/ -129 h 186027"/>
              <a:gd name="connsiteX7" fmla="*/ 92326 w 228982"/>
              <a:gd name="connsiteY7" fmla="*/ 24975 h 186027"/>
              <a:gd name="connsiteX8" fmla="*/ 55999 w 228982"/>
              <a:gd name="connsiteY8" fmla="*/ 75011 h 186027"/>
              <a:gd name="connsiteX9" fmla="*/ 7931 w 228982"/>
              <a:gd name="connsiteY9" fmla="*/ 160215 h 186027"/>
              <a:gd name="connsiteX10" fmla="*/ -110 w 228982"/>
              <a:gd name="connsiteY10" fmla="*/ 185898 h 186027"/>
              <a:gd name="connsiteX11" fmla="*/ 107597 w 228982"/>
              <a:gd name="connsiteY11" fmla="*/ 185898 h 18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982" h="186027">
                <a:moveTo>
                  <a:pt x="107597" y="143209"/>
                </a:moveTo>
                <a:cubicBezTo>
                  <a:pt x="107597" y="136962"/>
                  <a:pt x="136114" y="128922"/>
                  <a:pt x="136114" y="122674"/>
                </a:cubicBezTo>
                <a:lnTo>
                  <a:pt x="136114" y="49675"/>
                </a:lnTo>
                <a:cubicBezTo>
                  <a:pt x="136114" y="49675"/>
                  <a:pt x="225194" y="51468"/>
                  <a:pt x="227855" y="49675"/>
                </a:cubicBezTo>
                <a:cubicBezTo>
                  <a:pt x="229243" y="48749"/>
                  <a:pt x="228954" y="29371"/>
                  <a:pt x="228491" y="10341"/>
                </a:cubicBezTo>
                <a:cubicBezTo>
                  <a:pt x="225078" y="4556"/>
                  <a:pt x="229937" y="-129"/>
                  <a:pt x="208882" y="-129"/>
                </a:cubicBezTo>
                <a:lnTo>
                  <a:pt x="107307" y="-129"/>
                </a:lnTo>
                <a:cubicBezTo>
                  <a:pt x="100464" y="6986"/>
                  <a:pt x="95339" y="15576"/>
                  <a:pt x="92326" y="24975"/>
                </a:cubicBezTo>
                <a:cubicBezTo>
                  <a:pt x="87525" y="37874"/>
                  <a:pt x="57214" y="56847"/>
                  <a:pt x="55999" y="75011"/>
                </a:cubicBezTo>
                <a:cubicBezTo>
                  <a:pt x="54785" y="93174"/>
                  <a:pt x="26499" y="121286"/>
                  <a:pt x="7931" y="160215"/>
                </a:cubicBezTo>
                <a:cubicBezTo>
                  <a:pt x="3754" y="168232"/>
                  <a:pt x="1030" y="176932"/>
                  <a:pt x="-110" y="185898"/>
                </a:cubicBezTo>
                <a:lnTo>
                  <a:pt x="107597" y="185898"/>
                </a:ln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 name="Forma libre: forma 34">
            <a:extLst>
              <a:ext uri="{FF2B5EF4-FFF2-40B4-BE49-F238E27FC236}">
                <a16:creationId xmlns:a16="http://schemas.microsoft.com/office/drawing/2014/main" id="{FE006BD4-801C-5633-0749-C29412C80F34}"/>
              </a:ext>
            </a:extLst>
          </p:cNvPr>
          <p:cNvSpPr/>
          <p:nvPr/>
        </p:nvSpPr>
        <p:spPr>
          <a:xfrm>
            <a:off x="5720652" y="3710673"/>
            <a:ext cx="330907" cy="363319"/>
          </a:xfrm>
          <a:custGeom>
            <a:avLst/>
            <a:gdLst>
              <a:gd name="connsiteX0" fmla="*/ 24628 w 330907"/>
              <a:gd name="connsiteY0" fmla="*/ 313792 h 363319"/>
              <a:gd name="connsiteX1" fmla="*/ 49617 w 330907"/>
              <a:gd name="connsiteY1" fmla="*/ 313792 h 363319"/>
              <a:gd name="connsiteX2" fmla="*/ 70730 w 330907"/>
              <a:gd name="connsiteY2" fmla="*/ 311883 h 363319"/>
              <a:gd name="connsiteX3" fmla="*/ 86059 w 330907"/>
              <a:gd name="connsiteY3" fmla="*/ 325303 h 363319"/>
              <a:gd name="connsiteX4" fmla="*/ 95719 w 330907"/>
              <a:gd name="connsiteY4" fmla="*/ 325303 h 363319"/>
              <a:gd name="connsiteX5" fmla="*/ 114923 w 330907"/>
              <a:gd name="connsiteY5" fmla="*/ 350292 h 363319"/>
              <a:gd name="connsiteX6" fmla="*/ 127822 w 330907"/>
              <a:gd name="connsiteY6" fmla="*/ 363191 h 363319"/>
              <a:gd name="connsiteX7" fmla="*/ 142399 w 330907"/>
              <a:gd name="connsiteY7" fmla="*/ 354399 h 363319"/>
              <a:gd name="connsiteX8" fmla="*/ 158364 w 330907"/>
              <a:gd name="connsiteY8" fmla="*/ 348267 h 363319"/>
              <a:gd name="connsiteX9" fmla="*/ 173056 w 330907"/>
              <a:gd name="connsiteY9" fmla="*/ 345838 h 363319"/>
              <a:gd name="connsiteX10" fmla="*/ 191451 w 330907"/>
              <a:gd name="connsiteY10" fmla="*/ 346995 h 363319"/>
              <a:gd name="connsiteX11" fmla="*/ 208804 w 330907"/>
              <a:gd name="connsiteY11" fmla="*/ 342136 h 363319"/>
              <a:gd name="connsiteX12" fmla="*/ 315411 w 330907"/>
              <a:gd name="connsiteY12" fmla="*/ 340921 h 363319"/>
              <a:gd name="connsiteX13" fmla="*/ 319056 w 330907"/>
              <a:gd name="connsiteY13" fmla="*/ 317783 h 363319"/>
              <a:gd name="connsiteX14" fmla="*/ 310494 w 330907"/>
              <a:gd name="connsiteY14" fmla="*/ 309222 h 363319"/>
              <a:gd name="connsiteX15" fmla="*/ 284812 w 330907"/>
              <a:gd name="connsiteY15" fmla="*/ 67838 h 363319"/>
              <a:gd name="connsiteX16" fmla="*/ 330798 w 330907"/>
              <a:gd name="connsiteY16" fmla="*/ 67838 h 363319"/>
              <a:gd name="connsiteX17" fmla="*/ 234198 w 330907"/>
              <a:gd name="connsiteY17" fmla="*/ 4788 h 363319"/>
              <a:gd name="connsiteX18" fmla="*/ 228876 w 330907"/>
              <a:gd name="connsiteY18" fmla="*/ -129 h 363319"/>
              <a:gd name="connsiteX19" fmla="*/ 228240 w 330907"/>
              <a:gd name="connsiteY19" fmla="*/ 39205 h 363319"/>
              <a:gd name="connsiteX20" fmla="*/ 136499 w 330907"/>
              <a:gd name="connsiteY20" fmla="*/ 39205 h 363319"/>
              <a:gd name="connsiteX21" fmla="*/ 136499 w 330907"/>
              <a:gd name="connsiteY21" fmla="*/ 111973 h 363319"/>
              <a:gd name="connsiteX22" fmla="*/ 107982 w 330907"/>
              <a:gd name="connsiteY22" fmla="*/ 132508 h 363319"/>
              <a:gd name="connsiteX23" fmla="*/ 107982 w 330907"/>
              <a:gd name="connsiteY23" fmla="*/ 175197 h 363319"/>
              <a:gd name="connsiteX24" fmla="*/ 44 w 330907"/>
              <a:gd name="connsiteY24" fmla="*/ 175197 h 363319"/>
              <a:gd name="connsiteX25" fmla="*/ 15373 w 330907"/>
              <a:gd name="connsiteY25" fmla="*/ 206086 h 363319"/>
              <a:gd name="connsiteX26" fmla="*/ 21158 w 330907"/>
              <a:gd name="connsiteY26" fmla="*/ 250105 h 363319"/>
              <a:gd name="connsiteX27" fmla="*/ 12307 w 330907"/>
              <a:gd name="connsiteY27" fmla="*/ 303785 h 363319"/>
              <a:gd name="connsiteX28" fmla="*/ 7680 w 330907"/>
              <a:gd name="connsiteY28" fmla="*/ 327559 h 363319"/>
              <a:gd name="connsiteX29" fmla="*/ 9068 w 330907"/>
              <a:gd name="connsiteY29" fmla="*/ 327212 h 363319"/>
              <a:gd name="connsiteX30" fmla="*/ 24628 w 330907"/>
              <a:gd name="connsiteY30" fmla="*/ 313792 h 36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0907" h="363319">
                <a:moveTo>
                  <a:pt x="24628" y="313792"/>
                </a:moveTo>
                <a:cubicBezTo>
                  <a:pt x="32923" y="314862"/>
                  <a:pt x="41322" y="314862"/>
                  <a:pt x="49617" y="313792"/>
                </a:cubicBezTo>
                <a:cubicBezTo>
                  <a:pt x="49617" y="313792"/>
                  <a:pt x="63037" y="308008"/>
                  <a:pt x="70730" y="311883"/>
                </a:cubicBezTo>
                <a:cubicBezTo>
                  <a:pt x="76584" y="315429"/>
                  <a:pt x="81772" y="319970"/>
                  <a:pt x="86059" y="325303"/>
                </a:cubicBezTo>
                <a:lnTo>
                  <a:pt x="95719" y="325303"/>
                </a:lnTo>
                <a:cubicBezTo>
                  <a:pt x="95719" y="325303"/>
                  <a:pt x="103354" y="346474"/>
                  <a:pt x="114923" y="350292"/>
                </a:cubicBezTo>
                <a:cubicBezTo>
                  <a:pt x="120754" y="352727"/>
                  <a:pt x="125387" y="357360"/>
                  <a:pt x="127822" y="363191"/>
                </a:cubicBezTo>
                <a:cubicBezTo>
                  <a:pt x="136036" y="363191"/>
                  <a:pt x="142399" y="360299"/>
                  <a:pt x="142399" y="354399"/>
                </a:cubicBezTo>
                <a:cubicBezTo>
                  <a:pt x="142399" y="346995"/>
                  <a:pt x="146101" y="337045"/>
                  <a:pt x="158364" y="348267"/>
                </a:cubicBezTo>
                <a:cubicBezTo>
                  <a:pt x="170627" y="359489"/>
                  <a:pt x="170569" y="349482"/>
                  <a:pt x="173056" y="345838"/>
                </a:cubicBezTo>
                <a:cubicBezTo>
                  <a:pt x="175544" y="342193"/>
                  <a:pt x="184105" y="346995"/>
                  <a:pt x="191451" y="346995"/>
                </a:cubicBezTo>
                <a:cubicBezTo>
                  <a:pt x="197484" y="346463"/>
                  <a:pt x="203373" y="344820"/>
                  <a:pt x="208804" y="342136"/>
                </a:cubicBezTo>
                <a:cubicBezTo>
                  <a:pt x="208804" y="342136"/>
                  <a:pt x="310494" y="343408"/>
                  <a:pt x="315411" y="340921"/>
                </a:cubicBezTo>
                <a:cubicBezTo>
                  <a:pt x="320328" y="338434"/>
                  <a:pt x="319056" y="317783"/>
                  <a:pt x="319056" y="317783"/>
                </a:cubicBezTo>
                <a:lnTo>
                  <a:pt x="310494" y="309222"/>
                </a:lnTo>
                <a:lnTo>
                  <a:pt x="284812" y="67838"/>
                </a:lnTo>
                <a:lnTo>
                  <a:pt x="330798" y="67838"/>
                </a:lnTo>
                <a:cubicBezTo>
                  <a:pt x="281688" y="35445"/>
                  <a:pt x="239577" y="7854"/>
                  <a:pt x="234198" y="4788"/>
                </a:cubicBezTo>
                <a:cubicBezTo>
                  <a:pt x="232017" y="3648"/>
                  <a:pt x="230184" y="1953"/>
                  <a:pt x="228876" y="-129"/>
                </a:cubicBezTo>
                <a:cubicBezTo>
                  <a:pt x="229339" y="18902"/>
                  <a:pt x="229628" y="38280"/>
                  <a:pt x="228240" y="39205"/>
                </a:cubicBezTo>
                <a:cubicBezTo>
                  <a:pt x="225579" y="40998"/>
                  <a:pt x="136499" y="39205"/>
                  <a:pt x="136499" y="39205"/>
                </a:cubicBezTo>
                <a:lnTo>
                  <a:pt x="136499" y="111973"/>
                </a:lnTo>
                <a:cubicBezTo>
                  <a:pt x="136499" y="118221"/>
                  <a:pt x="107982" y="126261"/>
                  <a:pt x="107982" y="132508"/>
                </a:cubicBezTo>
                <a:lnTo>
                  <a:pt x="107982" y="175197"/>
                </a:lnTo>
                <a:lnTo>
                  <a:pt x="44" y="175197"/>
                </a:lnTo>
                <a:cubicBezTo>
                  <a:pt x="-1518" y="192550"/>
                  <a:pt x="9184" y="199087"/>
                  <a:pt x="15373" y="206086"/>
                </a:cubicBezTo>
                <a:cubicBezTo>
                  <a:pt x="23818" y="215746"/>
                  <a:pt x="8894" y="232694"/>
                  <a:pt x="21158" y="250105"/>
                </a:cubicBezTo>
                <a:cubicBezTo>
                  <a:pt x="33421" y="267517"/>
                  <a:pt x="18381" y="294125"/>
                  <a:pt x="12307" y="303785"/>
                </a:cubicBezTo>
                <a:cubicBezTo>
                  <a:pt x="9010" y="309107"/>
                  <a:pt x="8663" y="318246"/>
                  <a:pt x="7680" y="327559"/>
                </a:cubicBezTo>
                <a:lnTo>
                  <a:pt x="9068" y="327212"/>
                </a:lnTo>
                <a:cubicBezTo>
                  <a:pt x="16935" y="325303"/>
                  <a:pt x="15026" y="311883"/>
                  <a:pt x="24628" y="31379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 name="Forma libre: forma 35">
            <a:extLst>
              <a:ext uri="{FF2B5EF4-FFF2-40B4-BE49-F238E27FC236}">
                <a16:creationId xmlns:a16="http://schemas.microsoft.com/office/drawing/2014/main" id="{D584CC87-C13D-B128-3482-B1EFB96798B3}"/>
              </a:ext>
            </a:extLst>
          </p:cNvPr>
          <p:cNvSpPr/>
          <p:nvPr/>
        </p:nvSpPr>
        <p:spPr>
          <a:xfrm>
            <a:off x="5848294" y="3778351"/>
            <a:ext cx="456260" cy="424031"/>
          </a:xfrm>
          <a:custGeom>
            <a:avLst/>
            <a:gdLst>
              <a:gd name="connsiteX0" fmla="*/ 432797 w 456260"/>
              <a:gd name="connsiteY0" fmla="*/ 176990 h 424031"/>
              <a:gd name="connsiteX1" fmla="*/ 419377 w 456260"/>
              <a:gd name="connsiteY1" fmla="*/ 148068 h 424031"/>
              <a:gd name="connsiteX2" fmla="*/ 388662 w 456260"/>
              <a:gd name="connsiteY2" fmla="*/ 138466 h 424031"/>
              <a:gd name="connsiteX3" fmla="*/ 371309 w 456260"/>
              <a:gd name="connsiteY3" fmla="*/ 113535 h 424031"/>
              <a:gd name="connsiteX4" fmla="*/ 202866 w 456260"/>
              <a:gd name="connsiteY4" fmla="*/ -129 h 424031"/>
              <a:gd name="connsiteX5" fmla="*/ 156880 w 456260"/>
              <a:gd name="connsiteY5" fmla="*/ -129 h 424031"/>
              <a:gd name="connsiteX6" fmla="*/ 182563 w 456260"/>
              <a:gd name="connsiteY6" fmla="*/ 241255 h 424031"/>
              <a:gd name="connsiteX7" fmla="*/ 191124 w 456260"/>
              <a:gd name="connsiteY7" fmla="*/ 249816 h 424031"/>
              <a:gd name="connsiteX8" fmla="*/ 187479 w 456260"/>
              <a:gd name="connsiteY8" fmla="*/ 272954 h 424031"/>
              <a:gd name="connsiteX9" fmla="*/ 80872 w 456260"/>
              <a:gd name="connsiteY9" fmla="*/ 274169 h 424031"/>
              <a:gd name="connsiteX10" fmla="*/ 63519 w 456260"/>
              <a:gd name="connsiteY10" fmla="*/ 279028 h 424031"/>
              <a:gd name="connsiteX11" fmla="*/ 45125 w 456260"/>
              <a:gd name="connsiteY11" fmla="*/ 277871 h 424031"/>
              <a:gd name="connsiteX12" fmla="*/ 30432 w 456260"/>
              <a:gd name="connsiteY12" fmla="*/ 280300 h 424031"/>
              <a:gd name="connsiteX13" fmla="*/ 14467 w 456260"/>
              <a:gd name="connsiteY13" fmla="*/ 286432 h 424031"/>
              <a:gd name="connsiteX14" fmla="*/ -110 w 456260"/>
              <a:gd name="connsiteY14" fmla="*/ 295224 h 424031"/>
              <a:gd name="connsiteX15" fmla="*/ 2378 w 456260"/>
              <a:gd name="connsiteY15" fmla="*/ 301529 h 424031"/>
              <a:gd name="connsiteX16" fmla="*/ 7353 w 456260"/>
              <a:gd name="connsiteY16" fmla="*/ 308991 h 424031"/>
              <a:gd name="connsiteX17" fmla="*/ 11401 w 456260"/>
              <a:gd name="connsiteY17" fmla="*/ 325997 h 424031"/>
              <a:gd name="connsiteX18" fmla="*/ 25978 w 456260"/>
              <a:gd name="connsiteY18" fmla="*/ 343697 h 424031"/>
              <a:gd name="connsiteX19" fmla="*/ 25978 w 456260"/>
              <a:gd name="connsiteY19" fmla="*/ 365505 h 424031"/>
              <a:gd name="connsiteX20" fmla="*/ 34019 w 456260"/>
              <a:gd name="connsiteY20" fmla="*/ 372851 h 424031"/>
              <a:gd name="connsiteX21" fmla="*/ 49347 w 456260"/>
              <a:gd name="connsiteY21" fmla="*/ 370422 h 424031"/>
              <a:gd name="connsiteX22" fmla="*/ 67915 w 456260"/>
              <a:gd name="connsiteY22" fmla="*/ 371983 h 424031"/>
              <a:gd name="connsiteX23" fmla="*/ 87351 w 456260"/>
              <a:gd name="connsiteY23" fmla="*/ 358274 h 424031"/>
              <a:gd name="connsiteX24" fmla="*/ 97821 w 456260"/>
              <a:gd name="connsiteY24" fmla="*/ 378462 h 424031"/>
              <a:gd name="connsiteX25" fmla="*/ 107539 w 456260"/>
              <a:gd name="connsiteY25" fmla="*/ 391361 h 424031"/>
              <a:gd name="connsiteX26" fmla="*/ 107539 w 456260"/>
              <a:gd name="connsiteY26" fmla="*/ 401079 h 424031"/>
              <a:gd name="connsiteX27" fmla="*/ 113960 w 456260"/>
              <a:gd name="connsiteY27" fmla="*/ 416408 h 424031"/>
              <a:gd name="connsiteX28" fmla="*/ 126917 w 456260"/>
              <a:gd name="connsiteY28" fmla="*/ 418027 h 424031"/>
              <a:gd name="connsiteX29" fmla="*/ 140626 w 456260"/>
              <a:gd name="connsiteY29" fmla="*/ 422076 h 424031"/>
              <a:gd name="connsiteX30" fmla="*/ 156012 w 456260"/>
              <a:gd name="connsiteY30" fmla="*/ 414788 h 424031"/>
              <a:gd name="connsiteX31" fmla="*/ 169722 w 456260"/>
              <a:gd name="connsiteY31" fmla="*/ 413169 h 424031"/>
              <a:gd name="connsiteX32" fmla="*/ 179381 w 456260"/>
              <a:gd name="connsiteY32" fmla="*/ 416408 h 424031"/>
              <a:gd name="connsiteX33" fmla="*/ 187132 w 456260"/>
              <a:gd name="connsiteY33" fmla="*/ 414846 h 424031"/>
              <a:gd name="connsiteX34" fmla="*/ 194768 w 456260"/>
              <a:gd name="connsiteY34" fmla="*/ 393790 h 424031"/>
              <a:gd name="connsiteX35" fmla="*/ 193148 w 456260"/>
              <a:gd name="connsiteY35" fmla="*/ 376032 h 424031"/>
              <a:gd name="connsiteX36" fmla="*/ 214955 w 456260"/>
              <a:gd name="connsiteY36" fmla="*/ 366314 h 424031"/>
              <a:gd name="connsiteX37" fmla="*/ 223806 w 456260"/>
              <a:gd name="connsiteY37" fmla="*/ 349308 h 424031"/>
              <a:gd name="connsiteX38" fmla="*/ 232714 w 456260"/>
              <a:gd name="connsiteY38" fmla="*/ 329179 h 424031"/>
              <a:gd name="connsiteX39" fmla="*/ 249720 w 456260"/>
              <a:gd name="connsiteY39" fmla="*/ 329988 h 424031"/>
              <a:gd name="connsiteX40" fmla="*/ 261810 w 456260"/>
              <a:gd name="connsiteY40" fmla="*/ 317089 h 424031"/>
              <a:gd name="connsiteX41" fmla="*/ 274709 w 456260"/>
              <a:gd name="connsiteY41" fmla="*/ 310610 h 424031"/>
              <a:gd name="connsiteX42" fmla="*/ 285236 w 456260"/>
              <a:gd name="connsiteY42" fmla="*/ 304826 h 424031"/>
              <a:gd name="connsiteX43" fmla="*/ 308663 w 456260"/>
              <a:gd name="connsiteY43" fmla="*/ 295166 h 424031"/>
              <a:gd name="connsiteX44" fmla="*/ 328793 w 456260"/>
              <a:gd name="connsiteY44" fmla="*/ 286258 h 424031"/>
              <a:gd name="connsiteX45" fmla="*/ 363500 w 456260"/>
              <a:gd name="connsiteY45" fmla="*/ 287878 h 424031"/>
              <a:gd name="connsiteX46" fmla="*/ 385307 w 456260"/>
              <a:gd name="connsiteY46" fmla="*/ 280589 h 424031"/>
              <a:gd name="connsiteX47" fmla="*/ 428112 w 456260"/>
              <a:gd name="connsiteY47" fmla="*/ 276598 h 424031"/>
              <a:gd name="connsiteX48" fmla="*/ 445060 w 456260"/>
              <a:gd name="connsiteY48" fmla="*/ 264451 h 424031"/>
              <a:gd name="connsiteX49" fmla="*/ 453968 w 456260"/>
              <a:gd name="connsiteY49" fmla="*/ 244263 h 424031"/>
              <a:gd name="connsiteX50" fmla="*/ 455703 w 456260"/>
              <a:gd name="connsiteY50" fmla="*/ 171611 h 424031"/>
              <a:gd name="connsiteX51" fmla="*/ 432797 w 456260"/>
              <a:gd name="connsiteY51" fmla="*/ 176990 h 42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56260" h="424031">
                <a:moveTo>
                  <a:pt x="432797" y="176990"/>
                </a:moveTo>
                <a:cubicBezTo>
                  <a:pt x="432797" y="176990"/>
                  <a:pt x="432797" y="155877"/>
                  <a:pt x="419377" y="148068"/>
                </a:cubicBezTo>
                <a:cubicBezTo>
                  <a:pt x="409775" y="143105"/>
                  <a:pt x="399380" y="139854"/>
                  <a:pt x="388662" y="138466"/>
                </a:cubicBezTo>
                <a:cubicBezTo>
                  <a:pt x="383763" y="129575"/>
                  <a:pt x="377949" y="121217"/>
                  <a:pt x="371309" y="113535"/>
                </a:cubicBezTo>
                <a:cubicBezTo>
                  <a:pt x="366681" y="108907"/>
                  <a:pt x="276791" y="48807"/>
                  <a:pt x="202866" y="-129"/>
                </a:cubicBezTo>
                <a:lnTo>
                  <a:pt x="156880" y="-129"/>
                </a:lnTo>
                <a:lnTo>
                  <a:pt x="182563" y="241255"/>
                </a:lnTo>
                <a:lnTo>
                  <a:pt x="191124" y="249816"/>
                </a:lnTo>
                <a:cubicBezTo>
                  <a:pt x="191124" y="249816"/>
                  <a:pt x="192339" y="270640"/>
                  <a:pt x="187479" y="272954"/>
                </a:cubicBezTo>
                <a:cubicBezTo>
                  <a:pt x="182621" y="275268"/>
                  <a:pt x="80872" y="274169"/>
                  <a:pt x="80872" y="274169"/>
                </a:cubicBezTo>
                <a:cubicBezTo>
                  <a:pt x="75441" y="276847"/>
                  <a:pt x="69553" y="278495"/>
                  <a:pt x="63519" y="279028"/>
                </a:cubicBezTo>
                <a:cubicBezTo>
                  <a:pt x="56173" y="279028"/>
                  <a:pt x="47554" y="274169"/>
                  <a:pt x="45125" y="277871"/>
                </a:cubicBezTo>
                <a:cubicBezTo>
                  <a:pt x="42695" y="281573"/>
                  <a:pt x="42637" y="291291"/>
                  <a:pt x="30432" y="280300"/>
                </a:cubicBezTo>
                <a:cubicBezTo>
                  <a:pt x="18227" y="269310"/>
                  <a:pt x="14467" y="279028"/>
                  <a:pt x="14467" y="286432"/>
                </a:cubicBezTo>
                <a:cubicBezTo>
                  <a:pt x="14467" y="292216"/>
                  <a:pt x="8105" y="295050"/>
                  <a:pt x="-110" y="295224"/>
                </a:cubicBezTo>
                <a:cubicBezTo>
                  <a:pt x="903" y="297248"/>
                  <a:pt x="1736" y="299360"/>
                  <a:pt x="2378" y="301529"/>
                </a:cubicBezTo>
                <a:lnTo>
                  <a:pt x="7353" y="308991"/>
                </a:lnTo>
                <a:cubicBezTo>
                  <a:pt x="7353" y="308991"/>
                  <a:pt x="6601" y="321080"/>
                  <a:pt x="11401" y="325997"/>
                </a:cubicBezTo>
                <a:cubicBezTo>
                  <a:pt x="16203" y="330914"/>
                  <a:pt x="25168" y="339706"/>
                  <a:pt x="25978" y="343697"/>
                </a:cubicBezTo>
                <a:cubicBezTo>
                  <a:pt x="26360" y="350963"/>
                  <a:pt x="26360" y="358239"/>
                  <a:pt x="25978" y="365505"/>
                </a:cubicBezTo>
                <a:cubicBezTo>
                  <a:pt x="25978" y="365505"/>
                  <a:pt x="29160" y="379272"/>
                  <a:pt x="34019" y="372851"/>
                </a:cubicBezTo>
                <a:cubicBezTo>
                  <a:pt x="38877" y="366430"/>
                  <a:pt x="46166" y="378635"/>
                  <a:pt x="49347" y="370422"/>
                </a:cubicBezTo>
                <a:cubicBezTo>
                  <a:pt x="52529" y="362208"/>
                  <a:pt x="63114" y="371983"/>
                  <a:pt x="67915" y="371983"/>
                </a:cubicBezTo>
                <a:cubicBezTo>
                  <a:pt x="72717" y="371983"/>
                  <a:pt x="84112" y="357464"/>
                  <a:pt x="87351" y="358274"/>
                </a:cubicBezTo>
                <a:cubicBezTo>
                  <a:pt x="90590" y="359084"/>
                  <a:pt x="97821" y="372851"/>
                  <a:pt x="97821" y="378462"/>
                </a:cubicBezTo>
                <a:cubicBezTo>
                  <a:pt x="97821" y="384073"/>
                  <a:pt x="112398" y="390031"/>
                  <a:pt x="107539" y="391361"/>
                </a:cubicBezTo>
                <a:cubicBezTo>
                  <a:pt x="102680" y="392691"/>
                  <a:pt x="101755" y="401079"/>
                  <a:pt x="107539" y="401079"/>
                </a:cubicBezTo>
                <a:cubicBezTo>
                  <a:pt x="113323" y="401079"/>
                  <a:pt x="110720" y="411549"/>
                  <a:pt x="113960" y="416408"/>
                </a:cubicBezTo>
                <a:cubicBezTo>
                  <a:pt x="117199" y="421267"/>
                  <a:pt x="123677" y="425316"/>
                  <a:pt x="126917" y="418027"/>
                </a:cubicBezTo>
                <a:cubicBezTo>
                  <a:pt x="130156" y="410739"/>
                  <a:pt x="137386" y="417217"/>
                  <a:pt x="140626" y="422076"/>
                </a:cubicBezTo>
                <a:cubicBezTo>
                  <a:pt x="143865" y="426936"/>
                  <a:pt x="154393" y="421267"/>
                  <a:pt x="156012" y="414788"/>
                </a:cubicBezTo>
                <a:cubicBezTo>
                  <a:pt x="157632" y="408309"/>
                  <a:pt x="170531" y="405880"/>
                  <a:pt x="169722" y="413169"/>
                </a:cubicBezTo>
                <a:cubicBezTo>
                  <a:pt x="168912" y="420457"/>
                  <a:pt x="171341" y="422076"/>
                  <a:pt x="179381" y="416408"/>
                </a:cubicBezTo>
                <a:cubicBezTo>
                  <a:pt x="181655" y="414869"/>
                  <a:pt x="184443" y="414308"/>
                  <a:pt x="187132" y="414846"/>
                </a:cubicBezTo>
                <a:cubicBezTo>
                  <a:pt x="189238" y="407673"/>
                  <a:pt x="191789" y="400645"/>
                  <a:pt x="194768" y="393790"/>
                </a:cubicBezTo>
                <a:cubicBezTo>
                  <a:pt x="197198" y="388932"/>
                  <a:pt x="188983" y="377652"/>
                  <a:pt x="193148" y="376032"/>
                </a:cubicBezTo>
                <a:cubicBezTo>
                  <a:pt x="197313" y="374413"/>
                  <a:pt x="210907" y="377652"/>
                  <a:pt x="214955" y="366314"/>
                </a:cubicBezTo>
                <a:cubicBezTo>
                  <a:pt x="216974" y="360206"/>
                  <a:pt x="219965" y="354468"/>
                  <a:pt x="223806" y="349308"/>
                </a:cubicBezTo>
                <a:cubicBezTo>
                  <a:pt x="223806" y="349308"/>
                  <a:pt x="225425" y="325187"/>
                  <a:pt x="232714" y="329179"/>
                </a:cubicBezTo>
                <a:cubicBezTo>
                  <a:pt x="240002" y="333170"/>
                  <a:pt x="248852" y="339706"/>
                  <a:pt x="249720" y="329988"/>
                </a:cubicBezTo>
                <a:cubicBezTo>
                  <a:pt x="250588" y="320271"/>
                  <a:pt x="259380" y="325997"/>
                  <a:pt x="261810" y="317089"/>
                </a:cubicBezTo>
                <a:cubicBezTo>
                  <a:pt x="264239" y="308181"/>
                  <a:pt x="269040" y="308991"/>
                  <a:pt x="274709" y="310610"/>
                </a:cubicBezTo>
                <a:cubicBezTo>
                  <a:pt x="280377" y="312230"/>
                  <a:pt x="285236" y="309801"/>
                  <a:pt x="285236" y="304826"/>
                </a:cubicBezTo>
                <a:cubicBezTo>
                  <a:pt x="285236" y="299851"/>
                  <a:pt x="298136" y="302397"/>
                  <a:pt x="308663" y="295166"/>
                </a:cubicBezTo>
                <a:cubicBezTo>
                  <a:pt x="319191" y="287936"/>
                  <a:pt x="324802" y="282209"/>
                  <a:pt x="328793" y="286258"/>
                </a:cubicBezTo>
                <a:cubicBezTo>
                  <a:pt x="332784" y="290307"/>
                  <a:pt x="359509" y="289497"/>
                  <a:pt x="363500" y="287878"/>
                </a:cubicBezTo>
                <a:cubicBezTo>
                  <a:pt x="367491" y="286258"/>
                  <a:pt x="375647" y="279028"/>
                  <a:pt x="385307" y="280589"/>
                </a:cubicBezTo>
                <a:cubicBezTo>
                  <a:pt x="394967" y="282151"/>
                  <a:pt x="418394" y="276598"/>
                  <a:pt x="428112" y="276598"/>
                </a:cubicBezTo>
                <a:cubicBezTo>
                  <a:pt x="437830" y="276598"/>
                  <a:pt x="441821" y="267632"/>
                  <a:pt x="445060" y="264451"/>
                </a:cubicBezTo>
                <a:cubicBezTo>
                  <a:pt x="448299" y="261269"/>
                  <a:pt x="450845" y="246692"/>
                  <a:pt x="453968" y="244263"/>
                </a:cubicBezTo>
                <a:cubicBezTo>
                  <a:pt x="457092" y="241834"/>
                  <a:pt x="456051" y="191625"/>
                  <a:pt x="455703" y="171611"/>
                </a:cubicBezTo>
                <a:cubicBezTo>
                  <a:pt x="446333" y="173982"/>
                  <a:pt x="432797" y="176990"/>
                  <a:pt x="432797" y="17699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 name="Forma libre: forma 36">
            <a:extLst>
              <a:ext uri="{FF2B5EF4-FFF2-40B4-BE49-F238E27FC236}">
                <a16:creationId xmlns:a16="http://schemas.microsoft.com/office/drawing/2014/main" id="{8A69F925-5857-649A-2BD1-C8D1FFBB9762}"/>
              </a:ext>
            </a:extLst>
          </p:cNvPr>
          <p:cNvSpPr/>
          <p:nvPr/>
        </p:nvSpPr>
        <p:spPr>
          <a:xfrm>
            <a:off x="6036057" y="4064082"/>
            <a:ext cx="223563" cy="152541"/>
          </a:xfrm>
          <a:custGeom>
            <a:avLst/>
            <a:gdLst>
              <a:gd name="connsiteX0" fmla="*/ 222938 w 223563"/>
              <a:gd name="connsiteY0" fmla="*/ 87062 h 152541"/>
              <a:gd name="connsiteX1" fmla="*/ 211832 w 223563"/>
              <a:gd name="connsiteY1" fmla="*/ 82087 h 152541"/>
              <a:gd name="connsiteX2" fmla="*/ 210039 w 223563"/>
              <a:gd name="connsiteY2" fmla="*/ 66932 h 152541"/>
              <a:gd name="connsiteX3" fmla="*/ 196098 w 223563"/>
              <a:gd name="connsiteY3" fmla="*/ 68783 h 152541"/>
              <a:gd name="connsiteX4" fmla="*/ 185166 w 223563"/>
              <a:gd name="connsiteY4" fmla="*/ 59355 h 152541"/>
              <a:gd name="connsiteX5" fmla="*/ 180307 w 223563"/>
              <a:gd name="connsiteY5" fmla="*/ 49058 h 152541"/>
              <a:gd name="connsiteX6" fmla="*/ 167581 w 223563"/>
              <a:gd name="connsiteY6" fmla="*/ 34540 h 152541"/>
              <a:gd name="connsiteX7" fmla="*/ 158557 w 223563"/>
              <a:gd name="connsiteY7" fmla="*/ 18806 h 152541"/>
              <a:gd name="connsiteX8" fmla="*/ 158557 w 223563"/>
              <a:gd name="connsiteY8" fmla="*/ 4113 h 152541"/>
              <a:gd name="connsiteX9" fmla="*/ 141551 w 223563"/>
              <a:gd name="connsiteY9" fmla="*/ 1221 h 152541"/>
              <a:gd name="connsiteX10" fmla="*/ 121421 w 223563"/>
              <a:gd name="connsiteY10" fmla="*/ 10129 h 152541"/>
              <a:gd name="connsiteX11" fmla="*/ 97995 w 223563"/>
              <a:gd name="connsiteY11" fmla="*/ 19789 h 152541"/>
              <a:gd name="connsiteX12" fmla="*/ 87467 w 223563"/>
              <a:gd name="connsiteY12" fmla="*/ 25573 h 152541"/>
              <a:gd name="connsiteX13" fmla="*/ 74567 w 223563"/>
              <a:gd name="connsiteY13" fmla="*/ 32052 h 152541"/>
              <a:gd name="connsiteX14" fmla="*/ 62478 w 223563"/>
              <a:gd name="connsiteY14" fmla="*/ 44952 h 152541"/>
              <a:gd name="connsiteX15" fmla="*/ 45472 w 223563"/>
              <a:gd name="connsiteY15" fmla="*/ 44142 h 152541"/>
              <a:gd name="connsiteX16" fmla="*/ 36564 w 223563"/>
              <a:gd name="connsiteY16" fmla="*/ 64271 h 152541"/>
              <a:gd name="connsiteX17" fmla="*/ 27714 w 223563"/>
              <a:gd name="connsiteY17" fmla="*/ 81278 h 152541"/>
              <a:gd name="connsiteX18" fmla="*/ 5906 w 223563"/>
              <a:gd name="connsiteY18" fmla="*/ 90995 h 152541"/>
              <a:gd name="connsiteX19" fmla="*/ 7526 w 223563"/>
              <a:gd name="connsiteY19" fmla="*/ 108754 h 152541"/>
              <a:gd name="connsiteX20" fmla="*/ -110 w 223563"/>
              <a:gd name="connsiteY20" fmla="*/ 129809 h 152541"/>
              <a:gd name="connsiteX21" fmla="*/ 13137 w 223563"/>
              <a:gd name="connsiteY21" fmla="*/ 138659 h 152541"/>
              <a:gd name="connsiteX22" fmla="*/ 37431 w 223563"/>
              <a:gd name="connsiteY22" fmla="*/ 150228 h 152541"/>
              <a:gd name="connsiteX23" fmla="*/ 69709 w 223563"/>
              <a:gd name="connsiteY23" fmla="*/ 146179 h 152541"/>
              <a:gd name="connsiteX24" fmla="*/ 78616 w 223563"/>
              <a:gd name="connsiteY24" fmla="*/ 143807 h 152541"/>
              <a:gd name="connsiteX25" fmla="*/ 73758 w 223563"/>
              <a:gd name="connsiteY25" fmla="*/ 116331 h 152541"/>
              <a:gd name="connsiteX26" fmla="*/ 142419 w 223563"/>
              <a:gd name="connsiteY26" fmla="*/ 117951 h 152541"/>
              <a:gd name="connsiteX27" fmla="*/ 152889 w 223563"/>
              <a:gd name="connsiteY27" fmla="*/ 110663 h 152541"/>
              <a:gd name="connsiteX28" fmla="*/ 177935 w 223563"/>
              <a:gd name="connsiteY28" fmla="*/ 113902 h 152541"/>
              <a:gd name="connsiteX29" fmla="*/ 193264 w 223563"/>
              <a:gd name="connsiteY29" fmla="*/ 103374 h 152541"/>
              <a:gd name="connsiteX30" fmla="*/ 215881 w 223563"/>
              <a:gd name="connsiteY30" fmla="*/ 98573 h 152541"/>
              <a:gd name="connsiteX31" fmla="*/ 223169 w 223563"/>
              <a:gd name="connsiteY31" fmla="*/ 88103 h 152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23563" h="152541">
                <a:moveTo>
                  <a:pt x="222938" y="87062"/>
                </a:moveTo>
                <a:cubicBezTo>
                  <a:pt x="219826" y="84315"/>
                  <a:pt x="215950" y="82579"/>
                  <a:pt x="211832" y="82087"/>
                </a:cubicBezTo>
                <a:cubicBezTo>
                  <a:pt x="209402" y="82087"/>
                  <a:pt x="211195" y="68783"/>
                  <a:pt x="210039" y="66932"/>
                </a:cubicBezTo>
                <a:cubicBezTo>
                  <a:pt x="208882" y="65081"/>
                  <a:pt x="200899" y="70576"/>
                  <a:pt x="196098" y="68783"/>
                </a:cubicBezTo>
                <a:cubicBezTo>
                  <a:pt x="191297" y="66990"/>
                  <a:pt x="189446" y="59355"/>
                  <a:pt x="185166" y="59355"/>
                </a:cubicBezTo>
                <a:cubicBezTo>
                  <a:pt x="180885" y="59355"/>
                  <a:pt x="180307" y="54554"/>
                  <a:pt x="180307" y="49058"/>
                </a:cubicBezTo>
                <a:cubicBezTo>
                  <a:pt x="180307" y="43563"/>
                  <a:pt x="172498" y="38184"/>
                  <a:pt x="167581" y="34540"/>
                </a:cubicBezTo>
                <a:cubicBezTo>
                  <a:pt x="162664" y="30895"/>
                  <a:pt x="161797" y="20657"/>
                  <a:pt x="158557" y="18806"/>
                </a:cubicBezTo>
                <a:cubicBezTo>
                  <a:pt x="156764" y="17707"/>
                  <a:pt x="157458" y="10303"/>
                  <a:pt x="158557" y="4113"/>
                </a:cubicBezTo>
                <a:cubicBezTo>
                  <a:pt x="152732" y="4623"/>
                  <a:pt x="146879" y="3628"/>
                  <a:pt x="141551" y="1221"/>
                </a:cubicBezTo>
                <a:cubicBezTo>
                  <a:pt x="137560" y="-2828"/>
                  <a:pt x="131891" y="2841"/>
                  <a:pt x="121421" y="10129"/>
                </a:cubicBezTo>
                <a:cubicBezTo>
                  <a:pt x="110952" y="17418"/>
                  <a:pt x="97995" y="14930"/>
                  <a:pt x="97995" y="19789"/>
                </a:cubicBezTo>
                <a:cubicBezTo>
                  <a:pt x="97995" y="24648"/>
                  <a:pt x="93135" y="27077"/>
                  <a:pt x="87467" y="25573"/>
                </a:cubicBezTo>
                <a:cubicBezTo>
                  <a:pt x="81798" y="24070"/>
                  <a:pt x="76997" y="23144"/>
                  <a:pt x="74567" y="32052"/>
                </a:cubicBezTo>
                <a:cubicBezTo>
                  <a:pt x="72138" y="40960"/>
                  <a:pt x="62998" y="35234"/>
                  <a:pt x="62478" y="44952"/>
                </a:cubicBezTo>
                <a:cubicBezTo>
                  <a:pt x="61957" y="54669"/>
                  <a:pt x="52760" y="48191"/>
                  <a:pt x="45472" y="44142"/>
                </a:cubicBezTo>
                <a:cubicBezTo>
                  <a:pt x="38183" y="40092"/>
                  <a:pt x="36564" y="64271"/>
                  <a:pt x="36564" y="64271"/>
                </a:cubicBezTo>
                <a:cubicBezTo>
                  <a:pt x="32717" y="69431"/>
                  <a:pt x="29732" y="75169"/>
                  <a:pt x="27714" y="81278"/>
                </a:cubicBezTo>
                <a:cubicBezTo>
                  <a:pt x="23664" y="92846"/>
                  <a:pt x="9955" y="89376"/>
                  <a:pt x="5906" y="90995"/>
                </a:cubicBezTo>
                <a:cubicBezTo>
                  <a:pt x="1857" y="92615"/>
                  <a:pt x="9955" y="103895"/>
                  <a:pt x="7526" y="108754"/>
                </a:cubicBezTo>
                <a:cubicBezTo>
                  <a:pt x="4547" y="115608"/>
                  <a:pt x="1996" y="122636"/>
                  <a:pt x="-110" y="129809"/>
                </a:cubicBezTo>
                <a:cubicBezTo>
                  <a:pt x="5253" y="131007"/>
                  <a:pt x="9979" y="134159"/>
                  <a:pt x="13137" y="138659"/>
                </a:cubicBezTo>
                <a:cubicBezTo>
                  <a:pt x="15566" y="142708"/>
                  <a:pt x="30143" y="158037"/>
                  <a:pt x="37431" y="150228"/>
                </a:cubicBezTo>
                <a:cubicBezTo>
                  <a:pt x="44720" y="142419"/>
                  <a:pt x="64849" y="141378"/>
                  <a:pt x="69709" y="146179"/>
                </a:cubicBezTo>
                <a:cubicBezTo>
                  <a:pt x="74567" y="150980"/>
                  <a:pt x="77807" y="148608"/>
                  <a:pt x="78616" y="143807"/>
                </a:cubicBezTo>
                <a:cubicBezTo>
                  <a:pt x="79426" y="139006"/>
                  <a:pt x="70518" y="121132"/>
                  <a:pt x="73758" y="116331"/>
                </a:cubicBezTo>
                <a:cubicBezTo>
                  <a:pt x="76997" y="111530"/>
                  <a:pt x="139989" y="113902"/>
                  <a:pt x="142419" y="117951"/>
                </a:cubicBezTo>
                <a:cubicBezTo>
                  <a:pt x="144848" y="122000"/>
                  <a:pt x="144790" y="109853"/>
                  <a:pt x="152889" y="110663"/>
                </a:cubicBezTo>
                <a:cubicBezTo>
                  <a:pt x="160987" y="111472"/>
                  <a:pt x="173076" y="115522"/>
                  <a:pt x="177935" y="113902"/>
                </a:cubicBezTo>
                <a:cubicBezTo>
                  <a:pt x="182794" y="112282"/>
                  <a:pt x="188463" y="103374"/>
                  <a:pt x="193264" y="103374"/>
                </a:cubicBezTo>
                <a:cubicBezTo>
                  <a:pt x="198065" y="103374"/>
                  <a:pt x="212642" y="102622"/>
                  <a:pt x="215881" y="98573"/>
                </a:cubicBezTo>
                <a:cubicBezTo>
                  <a:pt x="219120" y="94524"/>
                  <a:pt x="224789" y="94524"/>
                  <a:pt x="223169" y="8810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 name="Forma libre: forma 37">
            <a:extLst>
              <a:ext uri="{FF2B5EF4-FFF2-40B4-BE49-F238E27FC236}">
                <a16:creationId xmlns:a16="http://schemas.microsoft.com/office/drawing/2014/main" id="{1CBD3AA9-A91B-5508-897C-31FD9A67A047}"/>
              </a:ext>
            </a:extLst>
          </p:cNvPr>
          <p:cNvSpPr/>
          <p:nvPr/>
        </p:nvSpPr>
        <p:spPr>
          <a:xfrm>
            <a:off x="6193563" y="3822717"/>
            <a:ext cx="421583" cy="330541"/>
          </a:xfrm>
          <a:custGeom>
            <a:avLst/>
            <a:gdLst>
              <a:gd name="connsiteX0" fmla="*/ 404630 w 421583"/>
              <a:gd name="connsiteY0" fmla="*/ 48460 h 330541"/>
              <a:gd name="connsiteX1" fmla="*/ 403069 w 421583"/>
              <a:gd name="connsiteY1" fmla="*/ 13349 h 330541"/>
              <a:gd name="connsiteX2" fmla="*/ 381377 w 421583"/>
              <a:gd name="connsiteY2" fmla="*/ 24918 h 330541"/>
              <a:gd name="connsiteX3" fmla="*/ 364024 w 421583"/>
              <a:gd name="connsiteY3" fmla="*/ 7564 h 330541"/>
              <a:gd name="connsiteX4" fmla="*/ 323533 w 421583"/>
              <a:gd name="connsiteY4" fmla="*/ -129 h 330541"/>
              <a:gd name="connsiteX5" fmla="*/ 206629 w 421583"/>
              <a:gd name="connsiteY5" fmla="*/ 73102 h 330541"/>
              <a:gd name="connsiteX6" fmla="*/ 156652 w 421583"/>
              <a:gd name="connsiteY6" fmla="*/ 113593 h 330541"/>
              <a:gd name="connsiteX7" fmla="*/ 114425 w 421583"/>
              <a:gd name="connsiteY7" fmla="*/ 127071 h 330541"/>
              <a:gd name="connsiteX8" fmla="*/ 110782 w 421583"/>
              <a:gd name="connsiteY8" fmla="*/ 127823 h 330541"/>
              <a:gd name="connsiteX9" fmla="*/ 109046 w 421583"/>
              <a:gd name="connsiteY9" fmla="*/ 200475 h 330541"/>
              <a:gd name="connsiteX10" fmla="*/ 100138 w 421583"/>
              <a:gd name="connsiteY10" fmla="*/ 220663 h 330541"/>
              <a:gd name="connsiteX11" fmla="*/ 83190 w 421583"/>
              <a:gd name="connsiteY11" fmla="*/ 232810 h 330541"/>
              <a:gd name="connsiteX12" fmla="*/ 40385 w 421583"/>
              <a:gd name="connsiteY12" fmla="*/ 236801 h 330541"/>
              <a:gd name="connsiteX13" fmla="*/ 18578 w 421583"/>
              <a:gd name="connsiteY13" fmla="*/ 244090 h 330541"/>
              <a:gd name="connsiteX14" fmla="*/ 820 w 421583"/>
              <a:gd name="connsiteY14" fmla="*/ 245362 h 330541"/>
              <a:gd name="connsiteX15" fmla="*/ 820 w 421583"/>
              <a:gd name="connsiteY15" fmla="*/ 260055 h 330541"/>
              <a:gd name="connsiteX16" fmla="*/ 9843 w 421583"/>
              <a:gd name="connsiteY16" fmla="*/ 275788 h 330541"/>
              <a:gd name="connsiteX17" fmla="*/ 22569 w 421583"/>
              <a:gd name="connsiteY17" fmla="*/ 290307 h 330541"/>
              <a:gd name="connsiteX18" fmla="*/ 27428 w 421583"/>
              <a:gd name="connsiteY18" fmla="*/ 300603 h 330541"/>
              <a:gd name="connsiteX19" fmla="*/ 38360 w 421583"/>
              <a:gd name="connsiteY19" fmla="*/ 310321 h 330541"/>
              <a:gd name="connsiteX20" fmla="*/ 52301 w 421583"/>
              <a:gd name="connsiteY20" fmla="*/ 308471 h 330541"/>
              <a:gd name="connsiteX21" fmla="*/ 54094 w 421583"/>
              <a:gd name="connsiteY21" fmla="*/ 323626 h 330541"/>
              <a:gd name="connsiteX22" fmla="*/ 65200 w 421583"/>
              <a:gd name="connsiteY22" fmla="*/ 328600 h 330541"/>
              <a:gd name="connsiteX23" fmla="*/ 74918 w 421583"/>
              <a:gd name="connsiteY23" fmla="*/ 315990 h 330541"/>
              <a:gd name="connsiteX24" fmla="*/ 83768 w 421583"/>
              <a:gd name="connsiteY24" fmla="*/ 328947 h 330541"/>
              <a:gd name="connsiteX25" fmla="*/ 95337 w 421583"/>
              <a:gd name="connsiteY25" fmla="*/ 324088 h 330541"/>
              <a:gd name="connsiteX26" fmla="*/ 107426 w 421583"/>
              <a:gd name="connsiteY26" fmla="*/ 304653 h 330541"/>
              <a:gd name="connsiteX27" fmla="*/ 113905 w 421583"/>
              <a:gd name="connsiteY27" fmla="*/ 282845 h 330541"/>
              <a:gd name="connsiteX28" fmla="*/ 138952 w 421583"/>
              <a:gd name="connsiteY28" fmla="*/ 282845 h 330541"/>
              <a:gd name="connsiteX29" fmla="*/ 155090 w 421583"/>
              <a:gd name="connsiteY29" fmla="*/ 277061 h 330541"/>
              <a:gd name="connsiteX30" fmla="*/ 176898 w 421583"/>
              <a:gd name="connsiteY30" fmla="*/ 283540 h 330541"/>
              <a:gd name="connsiteX31" fmla="*/ 192226 w 421583"/>
              <a:gd name="connsiteY31" fmla="*/ 298116 h 330541"/>
              <a:gd name="connsiteX32" fmla="*/ 214843 w 421583"/>
              <a:gd name="connsiteY32" fmla="*/ 291638 h 330541"/>
              <a:gd name="connsiteX33" fmla="*/ 235841 w 421583"/>
              <a:gd name="connsiteY33" fmla="*/ 303206 h 330541"/>
              <a:gd name="connsiteX34" fmla="*/ 262507 w 421583"/>
              <a:gd name="connsiteY34" fmla="*/ 303206 h 330541"/>
              <a:gd name="connsiteX35" fmla="*/ 282695 w 421583"/>
              <a:gd name="connsiteY35" fmla="*/ 290307 h 330541"/>
              <a:gd name="connsiteX36" fmla="*/ 317401 w 421583"/>
              <a:gd name="connsiteY36" fmla="*/ 291117 h 330541"/>
              <a:gd name="connsiteX37" fmla="*/ 340018 w 421583"/>
              <a:gd name="connsiteY37" fmla="*/ 296902 h 330541"/>
              <a:gd name="connsiteX38" fmla="*/ 359454 w 421583"/>
              <a:gd name="connsiteY38" fmla="*/ 279201 h 330541"/>
              <a:gd name="connsiteX39" fmla="*/ 363330 w 421583"/>
              <a:gd name="connsiteY39" fmla="*/ 279201 h 330541"/>
              <a:gd name="connsiteX40" fmla="*/ 363330 w 421583"/>
              <a:gd name="connsiteY40" fmla="*/ 270409 h 330541"/>
              <a:gd name="connsiteX41" fmla="*/ 369114 w 421583"/>
              <a:gd name="connsiteY41" fmla="*/ 247271 h 330541"/>
              <a:gd name="connsiteX42" fmla="*/ 412728 w 421583"/>
              <a:gd name="connsiteY42" fmla="*/ 192319 h 330541"/>
              <a:gd name="connsiteX43" fmla="*/ 415968 w 421583"/>
              <a:gd name="connsiteY43" fmla="*/ 124468 h 330541"/>
              <a:gd name="connsiteX44" fmla="*/ 420769 w 421583"/>
              <a:gd name="connsiteY44" fmla="*/ 95546 h 330541"/>
              <a:gd name="connsiteX45" fmla="*/ 415968 w 421583"/>
              <a:gd name="connsiteY45" fmla="*/ 74606 h 330541"/>
              <a:gd name="connsiteX46" fmla="*/ 404630 w 421583"/>
              <a:gd name="connsiteY46" fmla="*/ 48460 h 33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21583" h="330541">
                <a:moveTo>
                  <a:pt x="404630" y="48460"/>
                </a:moveTo>
                <a:cubicBezTo>
                  <a:pt x="404630" y="44527"/>
                  <a:pt x="403705" y="26595"/>
                  <a:pt x="403069" y="13349"/>
                </a:cubicBezTo>
                <a:lnTo>
                  <a:pt x="381377" y="24918"/>
                </a:lnTo>
                <a:cubicBezTo>
                  <a:pt x="376813" y="18029"/>
                  <a:pt x="370913" y="12128"/>
                  <a:pt x="364024" y="7564"/>
                </a:cubicBezTo>
                <a:cubicBezTo>
                  <a:pt x="352455" y="-129"/>
                  <a:pt x="323533" y="-129"/>
                  <a:pt x="323533" y="-129"/>
                </a:cubicBezTo>
                <a:lnTo>
                  <a:pt x="206629" y="73102"/>
                </a:lnTo>
                <a:lnTo>
                  <a:pt x="156652" y="113593"/>
                </a:lnTo>
                <a:cubicBezTo>
                  <a:pt x="156652" y="113593"/>
                  <a:pt x="124028" y="125162"/>
                  <a:pt x="114425" y="127071"/>
                </a:cubicBezTo>
                <a:cubicBezTo>
                  <a:pt x="113199" y="127256"/>
                  <a:pt x="111979" y="127504"/>
                  <a:pt x="110782" y="127823"/>
                </a:cubicBezTo>
                <a:cubicBezTo>
                  <a:pt x="111129" y="147837"/>
                  <a:pt x="111649" y="198508"/>
                  <a:pt x="109046" y="200475"/>
                </a:cubicBezTo>
                <a:cubicBezTo>
                  <a:pt x="106443" y="202442"/>
                  <a:pt x="103262" y="217481"/>
                  <a:pt x="100138" y="220663"/>
                </a:cubicBezTo>
                <a:cubicBezTo>
                  <a:pt x="97015" y="223844"/>
                  <a:pt x="92850" y="232810"/>
                  <a:pt x="83190" y="232810"/>
                </a:cubicBezTo>
                <a:cubicBezTo>
                  <a:pt x="73530" y="232810"/>
                  <a:pt x="50103" y="238595"/>
                  <a:pt x="40385" y="236801"/>
                </a:cubicBezTo>
                <a:cubicBezTo>
                  <a:pt x="30667" y="235008"/>
                  <a:pt x="22627" y="242586"/>
                  <a:pt x="18578" y="244090"/>
                </a:cubicBezTo>
                <a:cubicBezTo>
                  <a:pt x="12735" y="245252"/>
                  <a:pt x="6772" y="245675"/>
                  <a:pt x="820" y="245362"/>
                </a:cubicBezTo>
                <a:cubicBezTo>
                  <a:pt x="-48" y="251552"/>
                  <a:pt x="-742" y="258956"/>
                  <a:pt x="820" y="260055"/>
                </a:cubicBezTo>
                <a:cubicBezTo>
                  <a:pt x="3827" y="261906"/>
                  <a:pt x="5042" y="272144"/>
                  <a:pt x="9843" y="275788"/>
                </a:cubicBezTo>
                <a:cubicBezTo>
                  <a:pt x="14644" y="279433"/>
                  <a:pt x="22569" y="284870"/>
                  <a:pt x="22569" y="290307"/>
                </a:cubicBezTo>
                <a:cubicBezTo>
                  <a:pt x="22569" y="295745"/>
                  <a:pt x="23205" y="300603"/>
                  <a:pt x="27428" y="300603"/>
                </a:cubicBezTo>
                <a:cubicBezTo>
                  <a:pt x="31650" y="300603"/>
                  <a:pt x="33501" y="308471"/>
                  <a:pt x="38360" y="310321"/>
                </a:cubicBezTo>
                <a:cubicBezTo>
                  <a:pt x="43219" y="312172"/>
                  <a:pt x="51086" y="306677"/>
                  <a:pt x="52301" y="308471"/>
                </a:cubicBezTo>
                <a:cubicBezTo>
                  <a:pt x="53516" y="310264"/>
                  <a:pt x="51665" y="323626"/>
                  <a:pt x="54094" y="323626"/>
                </a:cubicBezTo>
                <a:cubicBezTo>
                  <a:pt x="58213" y="324117"/>
                  <a:pt x="62088" y="325852"/>
                  <a:pt x="65200" y="328600"/>
                </a:cubicBezTo>
                <a:cubicBezTo>
                  <a:pt x="63696" y="322180"/>
                  <a:pt x="66935" y="313560"/>
                  <a:pt x="74918" y="315990"/>
                </a:cubicBezTo>
                <a:cubicBezTo>
                  <a:pt x="82901" y="318420"/>
                  <a:pt x="76480" y="325650"/>
                  <a:pt x="83768" y="328947"/>
                </a:cubicBezTo>
                <a:cubicBezTo>
                  <a:pt x="91056" y="332244"/>
                  <a:pt x="95337" y="329699"/>
                  <a:pt x="95337" y="324088"/>
                </a:cubicBezTo>
                <a:cubicBezTo>
                  <a:pt x="95337" y="318477"/>
                  <a:pt x="104997" y="307082"/>
                  <a:pt x="107426" y="304653"/>
                </a:cubicBezTo>
                <a:cubicBezTo>
                  <a:pt x="109856" y="302223"/>
                  <a:pt x="109046" y="286894"/>
                  <a:pt x="113905" y="282845"/>
                </a:cubicBezTo>
                <a:cubicBezTo>
                  <a:pt x="118764" y="278796"/>
                  <a:pt x="133283" y="282094"/>
                  <a:pt x="138952" y="282845"/>
                </a:cubicBezTo>
                <a:cubicBezTo>
                  <a:pt x="144620" y="283597"/>
                  <a:pt x="148612" y="271276"/>
                  <a:pt x="155090" y="277061"/>
                </a:cubicBezTo>
                <a:cubicBezTo>
                  <a:pt x="161569" y="282845"/>
                  <a:pt x="172038" y="277929"/>
                  <a:pt x="176898" y="283540"/>
                </a:cubicBezTo>
                <a:cubicBezTo>
                  <a:pt x="181756" y="289150"/>
                  <a:pt x="184186" y="302917"/>
                  <a:pt x="192226" y="298116"/>
                </a:cubicBezTo>
                <a:cubicBezTo>
                  <a:pt x="199110" y="294108"/>
                  <a:pt x="206884" y="291881"/>
                  <a:pt x="214843" y="291638"/>
                </a:cubicBezTo>
                <a:cubicBezTo>
                  <a:pt x="219702" y="291638"/>
                  <a:pt x="231040" y="301298"/>
                  <a:pt x="235841" y="303206"/>
                </a:cubicBezTo>
                <a:cubicBezTo>
                  <a:pt x="240642" y="305115"/>
                  <a:pt x="256838" y="306446"/>
                  <a:pt x="262507" y="303206"/>
                </a:cubicBezTo>
                <a:cubicBezTo>
                  <a:pt x="268176" y="299967"/>
                  <a:pt x="275406" y="289497"/>
                  <a:pt x="282695" y="290307"/>
                </a:cubicBezTo>
                <a:cubicBezTo>
                  <a:pt x="289983" y="291117"/>
                  <a:pt x="312600" y="288688"/>
                  <a:pt x="317401" y="291117"/>
                </a:cubicBezTo>
                <a:cubicBezTo>
                  <a:pt x="322202" y="293547"/>
                  <a:pt x="332788" y="299215"/>
                  <a:pt x="340018" y="296902"/>
                </a:cubicBezTo>
                <a:cubicBezTo>
                  <a:pt x="347249" y="294588"/>
                  <a:pt x="353785" y="280763"/>
                  <a:pt x="359454" y="279201"/>
                </a:cubicBezTo>
                <a:cubicBezTo>
                  <a:pt x="360709" y="278756"/>
                  <a:pt x="362074" y="278756"/>
                  <a:pt x="363330" y="279201"/>
                </a:cubicBezTo>
                <a:cubicBezTo>
                  <a:pt x="363330" y="276020"/>
                  <a:pt x="363330" y="273012"/>
                  <a:pt x="363330" y="270409"/>
                </a:cubicBezTo>
                <a:cubicBezTo>
                  <a:pt x="363330" y="255832"/>
                  <a:pt x="366569" y="261501"/>
                  <a:pt x="369114" y="247271"/>
                </a:cubicBezTo>
                <a:cubicBezTo>
                  <a:pt x="371659" y="233041"/>
                  <a:pt x="409605" y="194748"/>
                  <a:pt x="412728" y="192319"/>
                </a:cubicBezTo>
                <a:cubicBezTo>
                  <a:pt x="415852" y="189890"/>
                  <a:pt x="415968" y="132566"/>
                  <a:pt x="415968" y="124468"/>
                </a:cubicBezTo>
                <a:cubicBezTo>
                  <a:pt x="416286" y="114657"/>
                  <a:pt x="417900" y="104934"/>
                  <a:pt x="420769" y="95546"/>
                </a:cubicBezTo>
                <a:cubicBezTo>
                  <a:pt x="424008" y="83977"/>
                  <a:pt x="414984" y="85133"/>
                  <a:pt x="415968" y="74606"/>
                </a:cubicBezTo>
                <a:cubicBezTo>
                  <a:pt x="416951" y="64078"/>
                  <a:pt x="404630" y="54881"/>
                  <a:pt x="404630" y="4846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 name="Forma libre: forma 38">
            <a:extLst>
              <a:ext uri="{FF2B5EF4-FFF2-40B4-BE49-F238E27FC236}">
                <a16:creationId xmlns:a16="http://schemas.microsoft.com/office/drawing/2014/main" id="{85318EA7-13EA-E57D-7C98-A1B24D4A063B}"/>
              </a:ext>
            </a:extLst>
          </p:cNvPr>
          <p:cNvSpPr/>
          <p:nvPr/>
        </p:nvSpPr>
        <p:spPr>
          <a:xfrm>
            <a:off x="6557465" y="3822949"/>
            <a:ext cx="273119" cy="452887"/>
          </a:xfrm>
          <a:custGeom>
            <a:avLst/>
            <a:gdLst>
              <a:gd name="connsiteX0" fmla="*/ 272048 w 273119"/>
              <a:gd name="connsiteY0" fmla="*/ 112031 h 452887"/>
              <a:gd name="connsiteX1" fmla="*/ 63808 w 273119"/>
              <a:gd name="connsiteY1" fmla="*/ -129 h 452887"/>
              <a:gd name="connsiteX2" fmla="*/ 39398 w 273119"/>
              <a:gd name="connsiteY2" fmla="*/ 13117 h 452887"/>
              <a:gd name="connsiteX3" fmla="*/ 40960 w 273119"/>
              <a:gd name="connsiteY3" fmla="*/ 48229 h 452887"/>
              <a:gd name="connsiteX4" fmla="*/ 52529 w 273119"/>
              <a:gd name="connsiteY4" fmla="*/ 73275 h 452887"/>
              <a:gd name="connsiteX5" fmla="*/ 57330 w 273119"/>
              <a:gd name="connsiteY5" fmla="*/ 94215 h 452887"/>
              <a:gd name="connsiteX6" fmla="*/ 52529 w 273119"/>
              <a:gd name="connsiteY6" fmla="*/ 123137 h 452887"/>
              <a:gd name="connsiteX7" fmla="*/ 49289 w 273119"/>
              <a:gd name="connsiteY7" fmla="*/ 190988 h 452887"/>
              <a:gd name="connsiteX8" fmla="*/ 5675 w 273119"/>
              <a:gd name="connsiteY8" fmla="*/ 245940 h 452887"/>
              <a:gd name="connsiteX9" fmla="*/ -110 w 273119"/>
              <a:gd name="connsiteY9" fmla="*/ 269078 h 452887"/>
              <a:gd name="connsiteX10" fmla="*/ -110 w 273119"/>
              <a:gd name="connsiteY10" fmla="*/ 277871 h 452887"/>
              <a:gd name="connsiteX11" fmla="*/ 5675 w 273119"/>
              <a:gd name="connsiteY11" fmla="*/ 283655 h 452887"/>
              <a:gd name="connsiteX12" fmla="*/ 17764 w 273119"/>
              <a:gd name="connsiteY12" fmla="*/ 295224 h 452887"/>
              <a:gd name="connsiteX13" fmla="*/ 34770 w 273119"/>
              <a:gd name="connsiteY13" fmla="*/ 321022 h 452887"/>
              <a:gd name="connsiteX14" fmla="*/ 37952 w 273119"/>
              <a:gd name="connsiteY14" fmla="*/ 345317 h 452887"/>
              <a:gd name="connsiteX15" fmla="*/ 49521 w 273119"/>
              <a:gd name="connsiteY15" fmla="*/ 379214 h 452887"/>
              <a:gd name="connsiteX16" fmla="*/ 37952 w 273119"/>
              <a:gd name="connsiteY16" fmla="*/ 383263 h 452887"/>
              <a:gd name="connsiteX17" fmla="*/ 14814 w 273119"/>
              <a:gd name="connsiteY17" fmla="*/ 386444 h 452887"/>
              <a:gd name="connsiteX18" fmla="*/ 21235 w 273119"/>
              <a:gd name="connsiteY18" fmla="*/ 405880 h 452887"/>
              <a:gd name="connsiteX19" fmla="*/ 43852 w 273119"/>
              <a:gd name="connsiteY19" fmla="*/ 429017 h 452887"/>
              <a:gd name="connsiteX20" fmla="*/ 54380 w 273119"/>
              <a:gd name="connsiteY20" fmla="*/ 451577 h 452887"/>
              <a:gd name="connsiteX21" fmla="*/ 69709 w 273119"/>
              <a:gd name="connsiteY21" fmla="*/ 445156 h 452887"/>
              <a:gd name="connsiteX22" fmla="*/ 87466 w 273119"/>
              <a:gd name="connsiteY22" fmla="*/ 445156 h 452887"/>
              <a:gd name="connsiteX23" fmla="*/ 117372 w 273119"/>
              <a:gd name="connsiteY23" fmla="*/ 436248 h 452887"/>
              <a:gd name="connsiteX24" fmla="*/ 141609 w 273119"/>
              <a:gd name="connsiteY24" fmla="*/ 423349 h 452887"/>
              <a:gd name="connsiteX25" fmla="*/ 143228 w 273119"/>
              <a:gd name="connsiteY25" fmla="*/ 408772 h 452887"/>
              <a:gd name="connsiteX26" fmla="*/ 181984 w 273119"/>
              <a:gd name="connsiteY26" fmla="*/ 400732 h 452887"/>
              <a:gd name="connsiteX27" fmla="*/ 208650 w 273119"/>
              <a:gd name="connsiteY27" fmla="*/ 373256 h 452887"/>
              <a:gd name="connsiteX28" fmla="*/ 214435 w 273119"/>
              <a:gd name="connsiteY28" fmla="*/ 360299 h 452887"/>
              <a:gd name="connsiteX29" fmla="*/ 237052 w 273119"/>
              <a:gd name="connsiteY29" fmla="*/ 351448 h 452887"/>
              <a:gd name="connsiteX30" fmla="*/ 241795 w 273119"/>
              <a:gd name="connsiteY30" fmla="*/ 352490 h 452887"/>
              <a:gd name="connsiteX31" fmla="*/ 240928 w 273119"/>
              <a:gd name="connsiteY31" fmla="*/ 351448 h 452887"/>
              <a:gd name="connsiteX32" fmla="*/ 244283 w 273119"/>
              <a:gd name="connsiteY32" fmla="*/ 339880 h 452887"/>
              <a:gd name="connsiteX33" fmla="*/ 230805 w 273119"/>
              <a:gd name="connsiteY33" fmla="*/ 322989 h 452887"/>
              <a:gd name="connsiteX34" fmla="*/ 225772 w 273119"/>
              <a:gd name="connsiteY34" fmla="*/ 302802 h 452887"/>
              <a:gd name="connsiteX35" fmla="*/ 222359 w 273119"/>
              <a:gd name="connsiteY35" fmla="*/ 287646 h 452887"/>
              <a:gd name="connsiteX36" fmla="*/ 224095 w 273119"/>
              <a:gd name="connsiteY36" fmla="*/ 267401 h 452887"/>
              <a:gd name="connsiteX37" fmla="*/ 235664 w 273119"/>
              <a:gd name="connsiteY37" fmla="*/ 247213 h 452887"/>
              <a:gd name="connsiteX38" fmla="*/ 245787 w 273119"/>
              <a:gd name="connsiteY38" fmla="*/ 230322 h 452887"/>
              <a:gd name="connsiteX39" fmla="*/ 269387 w 273119"/>
              <a:gd name="connsiteY39" fmla="*/ 215167 h 452887"/>
              <a:gd name="connsiteX40" fmla="*/ 272742 w 273119"/>
              <a:gd name="connsiteY40" fmla="*/ 186592 h 45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73119" h="452887">
                <a:moveTo>
                  <a:pt x="272048" y="112031"/>
                </a:moveTo>
                <a:lnTo>
                  <a:pt x="63808" y="-129"/>
                </a:lnTo>
                <a:lnTo>
                  <a:pt x="39398" y="13117"/>
                </a:lnTo>
                <a:cubicBezTo>
                  <a:pt x="40034" y="26363"/>
                  <a:pt x="40960" y="44295"/>
                  <a:pt x="40960" y="48229"/>
                </a:cubicBezTo>
                <a:cubicBezTo>
                  <a:pt x="40960" y="54649"/>
                  <a:pt x="53107" y="62748"/>
                  <a:pt x="52529" y="73275"/>
                </a:cubicBezTo>
                <a:cubicBezTo>
                  <a:pt x="51950" y="83803"/>
                  <a:pt x="60569" y="82935"/>
                  <a:pt x="57330" y="94215"/>
                </a:cubicBezTo>
                <a:cubicBezTo>
                  <a:pt x="54461" y="103603"/>
                  <a:pt x="52847" y="113327"/>
                  <a:pt x="52529" y="123137"/>
                </a:cubicBezTo>
                <a:cubicBezTo>
                  <a:pt x="52529" y="131235"/>
                  <a:pt x="52529" y="188559"/>
                  <a:pt x="49289" y="190988"/>
                </a:cubicBezTo>
                <a:cubicBezTo>
                  <a:pt x="46050" y="193418"/>
                  <a:pt x="8104" y="231479"/>
                  <a:pt x="5675" y="245940"/>
                </a:cubicBezTo>
                <a:cubicBezTo>
                  <a:pt x="3245" y="260402"/>
                  <a:pt x="-110" y="254790"/>
                  <a:pt x="-110" y="269078"/>
                </a:cubicBezTo>
                <a:cubicBezTo>
                  <a:pt x="-110" y="271681"/>
                  <a:pt x="-110" y="274863"/>
                  <a:pt x="-110" y="277871"/>
                </a:cubicBezTo>
                <a:cubicBezTo>
                  <a:pt x="1915" y="278565"/>
                  <a:pt x="2898" y="280820"/>
                  <a:pt x="5675" y="283655"/>
                </a:cubicBezTo>
                <a:cubicBezTo>
                  <a:pt x="9724" y="287704"/>
                  <a:pt x="9724" y="295224"/>
                  <a:pt x="17764" y="295224"/>
                </a:cubicBezTo>
                <a:cubicBezTo>
                  <a:pt x="25805" y="295224"/>
                  <a:pt x="35522" y="313792"/>
                  <a:pt x="34770" y="321022"/>
                </a:cubicBezTo>
                <a:cubicBezTo>
                  <a:pt x="34018" y="328253"/>
                  <a:pt x="38762" y="332591"/>
                  <a:pt x="37952" y="345317"/>
                </a:cubicBezTo>
                <a:cubicBezTo>
                  <a:pt x="37142" y="358043"/>
                  <a:pt x="45240" y="376784"/>
                  <a:pt x="49521" y="379214"/>
                </a:cubicBezTo>
                <a:cubicBezTo>
                  <a:pt x="53801" y="381643"/>
                  <a:pt x="47901" y="384073"/>
                  <a:pt x="37952" y="383263"/>
                </a:cubicBezTo>
                <a:cubicBezTo>
                  <a:pt x="28003" y="382453"/>
                  <a:pt x="14814" y="382453"/>
                  <a:pt x="14814" y="386444"/>
                </a:cubicBezTo>
                <a:cubicBezTo>
                  <a:pt x="14814" y="390435"/>
                  <a:pt x="10765" y="396162"/>
                  <a:pt x="21235" y="405880"/>
                </a:cubicBezTo>
                <a:cubicBezTo>
                  <a:pt x="31705" y="415598"/>
                  <a:pt x="40613" y="418779"/>
                  <a:pt x="43852" y="429017"/>
                </a:cubicBezTo>
                <a:cubicBezTo>
                  <a:pt x="47091" y="439256"/>
                  <a:pt x="51140" y="449205"/>
                  <a:pt x="54380" y="451577"/>
                </a:cubicBezTo>
                <a:cubicBezTo>
                  <a:pt x="57619" y="453949"/>
                  <a:pt x="64040" y="453197"/>
                  <a:pt x="69709" y="445156"/>
                </a:cubicBezTo>
                <a:cubicBezTo>
                  <a:pt x="75377" y="437116"/>
                  <a:pt x="81856" y="452387"/>
                  <a:pt x="87466" y="445156"/>
                </a:cubicBezTo>
                <a:cubicBezTo>
                  <a:pt x="93078" y="437926"/>
                  <a:pt x="112513" y="438678"/>
                  <a:pt x="117372" y="436248"/>
                </a:cubicBezTo>
                <a:cubicBezTo>
                  <a:pt x="125777" y="432586"/>
                  <a:pt x="133881" y="428271"/>
                  <a:pt x="141609" y="423349"/>
                </a:cubicBezTo>
                <a:cubicBezTo>
                  <a:pt x="146410" y="419300"/>
                  <a:pt x="135825" y="412821"/>
                  <a:pt x="143228" y="408772"/>
                </a:cubicBezTo>
                <a:cubicBezTo>
                  <a:pt x="150633" y="404723"/>
                  <a:pt x="173076" y="412012"/>
                  <a:pt x="181984" y="400732"/>
                </a:cubicBezTo>
                <a:cubicBezTo>
                  <a:pt x="190256" y="390996"/>
                  <a:pt x="199164" y="381822"/>
                  <a:pt x="208650" y="373256"/>
                </a:cubicBezTo>
                <a:cubicBezTo>
                  <a:pt x="212642" y="369207"/>
                  <a:pt x="208650" y="366025"/>
                  <a:pt x="214435" y="360299"/>
                </a:cubicBezTo>
                <a:cubicBezTo>
                  <a:pt x="220219" y="354572"/>
                  <a:pt x="231383" y="348209"/>
                  <a:pt x="237052" y="351448"/>
                </a:cubicBezTo>
                <a:cubicBezTo>
                  <a:pt x="238556" y="352149"/>
                  <a:pt x="240176" y="352507"/>
                  <a:pt x="241795" y="352490"/>
                </a:cubicBezTo>
                <a:lnTo>
                  <a:pt x="240928" y="351448"/>
                </a:lnTo>
                <a:lnTo>
                  <a:pt x="244283" y="339880"/>
                </a:lnTo>
                <a:cubicBezTo>
                  <a:pt x="244283" y="339880"/>
                  <a:pt x="230805" y="333112"/>
                  <a:pt x="230805" y="322989"/>
                </a:cubicBezTo>
                <a:cubicBezTo>
                  <a:pt x="230805" y="312866"/>
                  <a:pt x="234160" y="302802"/>
                  <a:pt x="225772" y="302802"/>
                </a:cubicBezTo>
                <a:cubicBezTo>
                  <a:pt x="217385" y="302802"/>
                  <a:pt x="215650" y="294356"/>
                  <a:pt x="222359" y="287646"/>
                </a:cubicBezTo>
                <a:cubicBezTo>
                  <a:pt x="229069" y="280936"/>
                  <a:pt x="212295" y="267401"/>
                  <a:pt x="224095" y="267401"/>
                </a:cubicBezTo>
                <a:cubicBezTo>
                  <a:pt x="235895" y="267401"/>
                  <a:pt x="227450" y="248891"/>
                  <a:pt x="235664" y="247213"/>
                </a:cubicBezTo>
                <a:cubicBezTo>
                  <a:pt x="243878" y="245536"/>
                  <a:pt x="245787" y="238768"/>
                  <a:pt x="245787" y="230322"/>
                </a:cubicBezTo>
                <a:cubicBezTo>
                  <a:pt x="245787" y="221877"/>
                  <a:pt x="264354" y="216845"/>
                  <a:pt x="269387" y="215167"/>
                </a:cubicBezTo>
                <a:cubicBezTo>
                  <a:pt x="274419" y="213490"/>
                  <a:pt x="272742" y="186592"/>
                  <a:pt x="272742" y="18659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 name="Forma libre: forma 39">
            <a:extLst>
              <a:ext uri="{FF2B5EF4-FFF2-40B4-BE49-F238E27FC236}">
                <a16:creationId xmlns:a16="http://schemas.microsoft.com/office/drawing/2014/main" id="{BC6EDB0E-DC34-AB62-5EF9-01D0E868B0C6}"/>
              </a:ext>
            </a:extLst>
          </p:cNvPr>
          <p:cNvSpPr/>
          <p:nvPr/>
        </p:nvSpPr>
        <p:spPr>
          <a:xfrm>
            <a:off x="6851321" y="3571847"/>
            <a:ext cx="292734" cy="297898"/>
          </a:xfrm>
          <a:custGeom>
            <a:avLst/>
            <a:gdLst>
              <a:gd name="connsiteX0" fmla="*/ 274355 w 292734"/>
              <a:gd name="connsiteY0" fmla="*/ 64483 h 297898"/>
              <a:gd name="connsiteX1" fmla="*/ 254746 w 292734"/>
              <a:gd name="connsiteY1" fmla="*/ 16356 h 297898"/>
              <a:gd name="connsiteX2" fmla="*/ 251680 w 292734"/>
              <a:gd name="connsiteY2" fmla="*/ 20637 h 297898"/>
              <a:gd name="connsiteX3" fmla="*/ 222758 w 292734"/>
              <a:gd name="connsiteY3" fmla="*/ 19017 h 297898"/>
              <a:gd name="connsiteX4" fmla="*/ 188457 w 292734"/>
              <a:gd name="connsiteY4" fmla="*/ 11787 h 297898"/>
              <a:gd name="connsiteX5" fmla="*/ 131480 w 292734"/>
              <a:gd name="connsiteY5" fmla="*/ 21042 h 297898"/>
              <a:gd name="connsiteX6" fmla="*/ 100823 w 292734"/>
              <a:gd name="connsiteY6" fmla="*/ 23934 h 297898"/>
              <a:gd name="connsiteX7" fmla="*/ 50729 w 292734"/>
              <a:gd name="connsiteY7" fmla="*/ 9705 h 297898"/>
              <a:gd name="connsiteX8" fmla="*/ 9544 w 292734"/>
              <a:gd name="connsiteY8" fmla="*/ -129 h 297898"/>
              <a:gd name="connsiteX9" fmla="*/ 7057 w 292734"/>
              <a:gd name="connsiteY9" fmla="*/ 6697 h 297898"/>
              <a:gd name="connsiteX10" fmla="*/ 3644 w 292734"/>
              <a:gd name="connsiteY10" fmla="*/ 40420 h 297898"/>
              <a:gd name="connsiteX11" fmla="*/ 3644 w 292734"/>
              <a:gd name="connsiteY11" fmla="*/ 80911 h 297898"/>
              <a:gd name="connsiteX12" fmla="*/ 3644 w 292734"/>
              <a:gd name="connsiteY12" fmla="*/ 291291 h 297898"/>
              <a:gd name="connsiteX13" fmla="*/ 170236 w 292734"/>
              <a:gd name="connsiteY13" fmla="*/ 291291 h 297898"/>
              <a:gd name="connsiteX14" fmla="*/ 179953 w 292734"/>
              <a:gd name="connsiteY14" fmla="*/ 284812 h 297898"/>
              <a:gd name="connsiteX15" fmla="*/ 192853 w 292734"/>
              <a:gd name="connsiteY15" fmla="*/ 289671 h 297898"/>
              <a:gd name="connsiteX16" fmla="*/ 228427 w 292734"/>
              <a:gd name="connsiteY16" fmla="*/ 289671 h 297898"/>
              <a:gd name="connsiteX17" fmla="*/ 242946 w 292734"/>
              <a:gd name="connsiteY17" fmla="*/ 297769 h 297898"/>
              <a:gd name="connsiteX18" fmla="*/ 259142 w 292734"/>
              <a:gd name="connsiteY18" fmla="*/ 284812 h 297898"/>
              <a:gd name="connsiteX19" fmla="*/ 276900 w 292734"/>
              <a:gd name="connsiteY19" fmla="*/ 265434 h 297898"/>
              <a:gd name="connsiteX20" fmla="*/ 291419 w 292734"/>
              <a:gd name="connsiteY20" fmla="*/ 255774 h 297898"/>
              <a:gd name="connsiteX21" fmla="*/ 292345 w 292734"/>
              <a:gd name="connsiteY21" fmla="*/ 254617 h 297898"/>
              <a:gd name="connsiteX22" fmla="*/ 292345 w 292734"/>
              <a:gd name="connsiteY22" fmla="*/ 243627 h 297898"/>
              <a:gd name="connsiteX23" fmla="*/ 279792 w 292734"/>
              <a:gd name="connsiteY23" fmla="*/ 213317 h 297898"/>
              <a:gd name="connsiteX24" fmla="*/ 250870 w 292734"/>
              <a:gd name="connsiteY24" fmla="*/ 157613 h 297898"/>
              <a:gd name="connsiteX25" fmla="*/ 237913 w 292734"/>
              <a:gd name="connsiteY25" fmla="*/ 129732 h 297898"/>
              <a:gd name="connsiteX26" fmla="*/ 219287 w 292734"/>
              <a:gd name="connsiteY26" fmla="*/ 99479 h 297898"/>
              <a:gd name="connsiteX27" fmla="*/ 206793 w 292734"/>
              <a:gd name="connsiteY27" fmla="*/ 49386 h 297898"/>
              <a:gd name="connsiteX28" fmla="*/ 224956 w 292734"/>
              <a:gd name="connsiteY28" fmla="*/ 84497 h 297898"/>
              <a:gd name="connsiteX29" fmla="*/ 252432 w 292734"/>
              <a:gd name="connsiteY29" fmla="*/ 120476 h 297898"/>
              <a:gd name="connsiteX30" fmla="*/ 268976 w 292734"/>
              <a:gd name="connsiteY30" fmla="*/ 81721 h 297898"/>
              <a:gd name="connsiteX31" fmla="*/ 269670 w 292734"/>
              <a:gd name="connsiteY31" fmla="*/ 82877 h 297898"/>
              <a:gd name="connsiteX32" fmla="*/ 270711 w 292734"/>
              <a:gd name="connsiteY32" fmla="*/ 75474 h 29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2734" h="297898">
                <a:moveTo>
                  <a:pt x="274355" y="64483"/>
                </a:moveTo>
                <a:lnTo>
                  <a:pt x="254746" y="16356"/>
                </a:lnTo>
                <a:cubicBezTo>
                  <a:pt x="253878" y="17872"/>
                  <a:pt x="252837" y="19301"/>
                  <a:pt x="251680" y="20637"/>
                </a:cubicBezTo>
                <a:cubicBezTo>
                  <a:pt x="248441" y="23934"/>
                  <a:pt x="235137" y="15836"/>
                  <a:pt x="222758" y="19017"/>
                </a:cubicBezTo>
                <a:cubicBezTo>
                  <a:pt x="210379" y="22199"/>
                  <a:pt x="200546" y="17860"/>
                  <a:pt x="188457" y="11787"/>
                </a:cubicBezTo>
                <a:cubicBezTo>
                  <a:pt x="176367" y="5713"/>
                  <a:pt x="136744" y="13407"/>
                  <a:pt x="131480" y="21042"/>
                </a:cubicBezTo>
                <a:cubicBezTo>
                  <a:pt x="126216" y="28677"/>
                  <a:pt x="112912" y="28735"/>
                  <a:pt x="100823" y="23934"/>
                </a:cubicBezTo>
                <a:cubicBezTo>
                  <a:pt x="84973" y="16536"/>
                  <a:pt x="68082" y="11729"/>
                  <a:pt x="50729" y="9705"/>
                </a:cubicBezTo>
                <a:cubicBezTo>
                  <a:pt x="29963" y="7854"/>
                  <a:pt x="13246" y="4846"/>
                  <a:pt x="9544" y="-129"/>
                </a:cubicBezTo>
                <a:cubicBezTo>
                  <a:pt x="8676" y="2243"/>
                  <a:pt x="7808" y="4498"/>
                  <a:pt x="7057" y="6697"/>
                </a:cubicBezTo>
                <a:cubicBezTo>
                  <a:pt x="289" y="25207"/>
                  <a:pt x="12090" y="30297"/>
                  <a:pt x="3644" y="40420"/>
                </a:cubicBezTo>
                <a:cubicBezTo>
                  <a:pt x="-4801" y="50543"/>
                  <a:pt x="3644" y="62285"/>
                  <a:pt x="3644" y="80911"/>
                </a:cubicBezTo>
                <a:lnTo>
                  <a:pt x="3644" y="291291"/>
                </a:lnTo>
                <a:lnTo>
                  <a:pt x="170236" y="291291"/>
                </a:lnTo>
                <a:lnTo>
                  <a:pt x="179953" y="284812"/>
                </a:lnTo>
                <a:cubicBezTo>
                  <a:pt x="184813" y="281631"/>
                  <a:pt x="192853" y="289671"/>
                  <a:pt x="192853" y="289671"/>
                </a:cubicBezTo>
                <a:lnTo>
                  <a:pt x="228427" y="289671"/>
                </a:lnTo>
                <a:cubicBezTo>
                  <a:pt x="232013" y="294159"/>
                  <a:pt x="237219" y="297069"/>
                  <a:pt x="242946" y="297769"/>
                </a:cubicBezTo>
                <a:cubicBezTo>
                  <a:pt x="251044" y="297769"/>
                  <a:pt x="246243" y="284812"/>
                  <a:pt x="259142" y="284812"/>
                </a:cubicBezTo>
                <a:cubicBezTo>
                  <a:pt x="272041" y="284812"/>
                  <a:pt x="268803" y="265434"/>
                  <a:pt x="276900" y="265434"/>
                </a:cubicBezTo>
                <a:cubicBezTo>
                  <a:pt x="284999" y="265434"/>
                  <a:pt x="283321" y="267054"/>
                  <a:pt x="291419" y="255774"/>
                </a:cubicBezTo>
                <a:cubicBezTo>
                  <a:pt x="291709" y="255363"/>
                  <a:pt x="291997" y="254976"/>
                  <a:pt x="292345" y="254617"/>
                </a:cubicBezTo>
                <a:cubicBezTo>
                  <a:pt x="291709" y="250979"/>
                  <a:pt x="291709" y="247260"/>
                  <a:pt x="292345" y="243627"/>
                </a:cubicBezTo>
                <a:cubicBezTo>
                  <a:pt x="294311" y="230728"/>
                  <a:pt x="285461" y="231537"/>
                  <a:pt x="279792" y="213317"/>
                </a:cubicBezTo>
                <a:cubicBezTo>
                  <a:pt x="274124" y="195095"/>
                  <a:pt x="251506" y="168140"/>
                  <a:pt x="250870" y="157613"/>
                </a:cubicBezTo>
                <a:cubicBezTo>
                  <a:pt x="250234" y="147085"/>
                  <a:pt x="237509" y="141069"/>
                  <a:pt x="237913" y="129732"/>
                </a:cubicBezTo>
                <a:cubicBezTo>
                  <a:pt x="238318" y="118394"/>
                  <a:pt x="231840" y="117237"/>
                  <a:pt x="219287" y="99479"/>
                </a:cubicBezTo>
                <a:cubicBezTo>
                  <a:pt x="206735" y="81721"/>
                  <a:pt x="203149" y="50601"/>
                  <a:pt x="206793" y="49386"/>
                </a:cubicBezTo>
                <a:cubicBezTo>
                  <a:pt x="210437" y="48171"/>
                  <a:pt x="220907" y="75647"/>
                  <a:pt x="224956" y="84497"/>
                </a:cubicBezTo>
                <a:cubicBezTo>
                  <a:pt x="229006" y="93348"/>
                  <a:pt x="242715" y="120476"/>
                  <a:pt x="252432" y="120476"/>
                </a:cubicBezTo>
                <a:cubicBezTo>
                  <a:pt x="262150" y="120476"/>
                  <a:pt x="265795" y="79696"/>
                  <a:pt x="268976" y="81721"/>
                </a:cubicBezTo>
                <a:cubicBezTo>
                  <a:pt x="269323" y="82010"/>
                  <a:pt x="269554" y="82421"/>
                  <a:pt x="269670" y="82877"/>
                </a:cubicBezTo>
                <a:lnTo>
                  <a:pt x="270711" y="75474"/>
                </a:ln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 name="Forma libre: forma 40">
            <a:extLst>
              <a:ext uri="{FF2B5EF4-FFF2-40B4-BE49-F238E27FC236}">
                <a16:creationId xmlns:a16="http://schemas.microsoft.com/office/drawing/2014/main" id="{07E7DCF9-EEF9-A25A-36EA-0CD0C4B71F22}"/>
              </a:ext>
            </a:extLst>
          </p:cNvPr>
          <p:cNvSpPr/>
          <p:nvPr/>
        </p:nvSpPr>
        <p:spPr>
          <a:xfrm>
            <a:off x="6430923" y="4417588"/>
            <a:ext cx="150046" cy="171276"/>
          </a:xfrm>
          <a:custGeom>
            <a:avLst/>
            <a:gdLst>
              <a:gd name="connsiteX0" fmla="*/ 74083 w 150046"/>
              <a:gd name="connsiteY0" fmla="*/ 163165 h 171276"/>
              <a:gd name="connsiteX1" fmla="*/ 77438 w 150046"/>
              <a:gd name="connsiteY1" fmla="*/ 141185 h 171276"/>
              <a:gd name="connsiteX2" fmla="*/ 94329 w 150046"/>
              <a:gd name="connsiteY2" fmla="*/ 129616 h 171276"/>
              <a:gd name="connsiteX3" fmla="*/ 105898 w 150046"/>
              <a:gd name="connsiteY3" fmla="*/ 114403 h 171276"/>
              <a:gd name="connsiteX4" fmla="*/ 121111 w 150046"/>
              <a:gd name="connsiteY4" fmla="*/ 131293 h 171276"/>
              <a:gd name="connsiteX5" fmla="*/ 141356 w 150046"/>
              <a:gd name="connsiteY5" fmla="*/ 134648 h 171276"/>
              <a:gd name="connsiteX6" fmla="*/ 149801 w 150046"/>
              <a:gd name="connsiteY6" fmla="*/ 102603 h 171276"/>
              <a:gd name="connsiteX7" fmla="*/ 143034 w 150046"/>
              <a:gd name="connsiteY7" fmla="*/ 73680 h 171276"/>
              <a:gd name="connsiteX8" fmla="*/ 138001 w 150046"/>
              <a:gd name="connsiteY8" fmla="*/ 51699 h 171276"/>
              <a:gd name="connsiteX9" fmla="*/ 141356 w 150046"/>
              <a:gd name="connsiteY9" fmla="*/ 29718 h 171276"/>
              <a:gd name="connsiteX10" fmla="*/ 114285 w 150046"/>
              <a:gd name="connsiteY10" fmla="*/ 29718 h 171276"/>
              <a:gd name="connsiteX11" fmla="*/ 117235 w 150046"/>
              <a:gd name="connsiteY11" fmla="*/ 1606 h 171276"/>
              <a:gd name="connsiteX12" fmla="*/ 76744 w 150046"/>
              <a:gd name="connsiteY12" fmla="*/ -129 h 171276"/>
              <a:gd name="connsiteX13" fmla="*/ 71712 w 150046"/>
              <a:gd name="connsiteY13" fmla="*/ 1317 h 171276"/>
              <a:gd name="connsiteX14" fmla="*/ 70613 w 150046"/>
              <a:gd name="connsiteY14" fmla="*/ 36486 h 171276"/>
              <a:gd name="connsiteX15" fmla="*/ 33419 w 150046"/>
              <a:gd name="connsiteY15" fmla="*/ 38222 h 171276"/>
              <a:gd name="connsiteX16" fmla="*/ 20809 w 150046"/>
              <a:gd name="connsiteY16" fmla="*/ 39841 h 171276"/>
              <a:gd name="connsiteX17" fmla="*/ 16181 w 150046"/>
              <a:gd name="connsiteY17" fmla="*/ 45626 h 171276"/>
              <a:gd name="connsiteX18" fmla="*/ 26651 w 150046"/>
              <a:gd name="connsiteY18" fmla="*/ 59335 h 171276"/>
              <a:gd name="connsiteX19" fmla="*/ 11669 w 150046"/>
              <a:gd name="connsiteY19" fmla="*/ 70904 h 171276"/>
              <a:gd name="connsiteX20" fmla="*/ 795 w 150046"/>
              <a:gd name="connsiteY20" fmla="*/ 88257 h 171276"/>
              <a:gd name="connsiteX21" fmla="*/ 14157 w 150046"/>
              <a:gd name="connsiteY21" fmla="*/ 112436 h 171276"/>
              <a:gd name="connsiteX22" fmla="*/ 33940 w 150046"/>
              <a:gd name="connsiteY22" fmla="*/ 137540 h 171276"/>
              <a:gd name="connsiteX23" fmla="*/ 60953 w 150046"/>
              <a:gd name="connsiteY23" fmla="*/ 171148 h 171276"/>
              <a:gd name="connsiteX24" fmla="*/ 74083 w 150046"/>
              <a:gd name="connsiteY24" fmla="*/ 163165 h 17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0046" h="171276">
                <a:moveTo>
                  <a:pt x="74083" y="163165"/>
                </a:moveTo>
                <a:cubicBezTo>
                  <a:pt x="87561" y="163165"/>
                  <a:pt x="82529" y="154720"/>
                  <a:pt x="77438" y="141185"/>
                </a:cubicBezTo>
                <a:cubicBezTo>
                  <a:pt x="72348" y="127649"/>
                  <a:pt x="85884" y="129616"/>
                  <a:pt x="94329" y="129616"/>
                </a:cubicBezTo>
                <a:cubicBezTo>
                  <a:pt x="102774" y="129616"/>
                  <a:pt x="99361" y="114403"/>
                  <a:pt x="105898" y="114403"/>
                </a:cubicBezTo>
                <a:cubicBezTo>
                  <a:pt x="112434" y="114403"/>
                  <a:pt x="114285" y="132971"/>
                  <a:pt x="121111" y="131293"/>
                </a:cubicBezTo>
                <a:cubicBezTo>
                  <a:pt x="127937" y="129616"/>
                  <a:pt x="132679" y="136383"/>
                  <a:pt x="141356" y="134648"/>
                </a:cubicBezTo>
                <a:cubicBezTo>
                  <a:pt x="150033" y="132913"/>
                  <a:pt x="149801" y="116080"/>
                  <a:pt x="149801" y="102603"/>
                </a:cubicBezTo>
                <a:cubicBezTo>
                  <a:pt x="149801" y="89125"/>
                  <a:pt x="151479" y="79002"/>
                  <a:pt x="143034" y="73680"/>
                </a:cubicBezTo>
                <a:cubicBezTo>
                  <a:pt x="134588" y="68358"/>
                  <a:pt x="127821" y="56732"/>
                  <a:pt x="138001" y="51699"/>
                </a:cubicBezTo>
                <a:cubicBezTo>
                  <a:pt x="148182" y="46667"/>
                  <a:pt x="149570" y="36486"/>
                  <a:pt x="141356" y="29718"/>
                </a:cubicBezTo>
                <a:cubicBezTo>
                  <a:pt x="133142" y="22951"/>
                  <a:pt x="114285" y="36486"/>
                  <a:pt x="114285" y="29718"/>
                </a:cubicBezTo>
                <a:cubicBezTo>
                  <a:pt x="114285" y="26016"/>
                  <a:pt x="115847" y="12828"/>
                  <a:pt x="117235" y="1606"/>
                </a:cubicBezTo>
                <a:cubicBezTo>
                  <a:pt x="97684" y="970"/>
                  <a:pt x="76744" y="-129"/>
                  <a:pt x="76744" y="-129"/>
                </a:cubicBezTo>
                <a:lnTo>
                  <a:pt x="71712" y="1317"/>
                </a:lnTo>
                <a:cubicBezTo>
                  <a:pt x="72423" y="13048"/>
                  <a:pt x="72053" y="24819"/>
                  <a:pt x="70613" y="36486"/>
                </a:cubicBezTo>
                <a:cubicBezTo>
                  <a:pt x="70613" y="36486"/>
                  <a:pt x="40186" y="38222"/>
                  <a:pt x="33419" y="38222"/>
                </a:cubicBezTo>
                <a:cubicBezTo>
                  <a:pt x="31973" y="38222"/>
                  <a:pt x="27345" y="38858"/>
                  <a:pt x="20809" y="39841"/>
                </a:cubicBezTo>
                <a:cubicBezTo>
                  <a:pt x="19455" y="41912"/>
                  <a:pt x="17905" y="43850"/>
                  <a:pt x="16181" y="45626"/>
                </a:cubicBezTo>
                <a:cubicBezTo>
                  <a:pt x="12537" y="49212"/>
                  <a:pt x="24626" y="54071"/>
                  <a:pt x="26651" y="59335"/>
                </a:cubicBezTo>
                <a:cubicBezTo>
                  <a:pt x="28676" y="64599"/>
                  <a:pt x="11264" y="62979"/>
                  <a:pt x="11669" y="70904"/>
                </a:cubicBezTo>
                <a:cubicBezTo>
                  <a:pt x="12074" y="78828"/>
                  <a:pt x="5885" y="84613"/>
                  <a:pt x="795" y="88257"/>
                </a:cubicBezTo>
                <a:cubicBezTo>
                  <a:pt x="-4296" y="91901"/>
                  <a:pt x="13752" y="107288"/>
                  <a:pt x="14157" y="112436"/>
                </a:cubicBezTo>
                <a:cubicBezTo>
                  <a:pt x="14562" y="117584"/>
                  <a:pt x="18553" y="122616"/>
                  <a:pt x="33940" y="137540"/>
                </a:cubicBezTo>
                <a:cubicBezTo>
                  <a:pt x="49326" y="152464"/>
                  <a:pt x="41575" y="155414"/>
                  <a:pt x="60953" y="171148"/>
                </a:cubicBezTo>
                <a:cubicBezTo>
                  <a:pt x="63544" y="166295"/>
                  <a:pt x="68577" y="163235"/>
                  <a:pt x="74083" y="16316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 name="Forma libre: forma 41">
            <a:extLst>
              <a:ext uri="{FF2B5EF4-FFF2-40B4-BE49-F238E27FC236}">
                <a16:creationId xmlns:a16="http://schemas.microsoft.com/office/drawing/2014/main" id="{E1749772-E3DB-53AA-0A2C-8759B629D2C0}"/>
              </a:ext>
            </a:extLst>
          </p:cNvPr>
          <p:cNvSpPr/>
          <p:nvPr/>
        </p:nvSpPr>
        <p:spPr>
          <a:xfrm>
            <a:off x="6445481" y="4419034"/>
            <a:ext cx="57730" cy="38524"/>
          </a:xfrm>
          <a:custGeom>
            <a:avLst/>
            <a:gdLst>
              <a:gd name="connsiteX0" fmla="*/ 56170 w 57730"/>
              <a:gd name="connsiteY0" fmla="*/ 35040 h 38524"/>
              <a:gd name="connsiteX1" fmla="*/ 57270 w 57730"/>
              <a:gd name="connsiteY1" fmla="*/ -129 h 38524"/>
              <a:gd name="connsiteX2" fmla="*/ 50559 w 57730"/>
              <a:gd name="connsiteY2" fmla="*/ 1780 h 38524"/>
              <a:gd name="connsiteX3" fmla="*/ 12729 w 57730"/>
              <a:gd name="connsiteY3" fmla="*/ 1780 h 38524"/>
              <a:gd name="connsiteX4" fmla="*/ 12729 w 57730"/>
              <a:gd name="connsiteY4" fmla="*/ 2590 h 38524"/>
              <a:gd name="connsiteX5" fmla="*/ 9814 w 57730"/>
              <a:gd name="connsiteY5" fmla="*/ 18688 h 38524"/>
              <a:gd name="connsiteX6" fmla="*/ 6251 w 57730"/>
              <a:gd name="connsiteY6" fmla="*/ 20348 h 38524"/>
              <a:gd name="connsiteX7" fmla="*/ 5036 w 57730"/>
              <a:gd name="connsiteY7" fmla="*/ 31280 h 38524"/>
              <a:gd name="connsiteX8" fmla="*/ 6077 w 57730"/>
              <a:gd name="connsiteY8" fmla="*/ 38395 h 38524"/>
              <a:gd name="connsiteX9" fmla="*/ 18687 w 57730"/>
              <a:gd name="connsiteY9" fmla="*/ 36776 h 38524"/>
              <a:gd name="connsiteX10" fmla="*/ 56170 w 57730"/>
              <a:gd name="connsiteY10" fmla="*/ 35040 h 3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0" h="38524">
                <a:moveTo>
                  <a:pt x="56170" y="35040"/>
                </a:moveTo>
                <a:cubicBezTo>
                  <a:pt x="57611" y="23373"/>
                  <a:pt x="57981" y="11602"/>
                  <a:pt x="57270" y="-129"/>
                </a:cubicBezTo>
                <a:lnTo>
                  <a:pt x="50559" y="1780"/>
                </a:lnTo>
                <a:lnTo>
                  <a:pt x="12729" y="1780"/>
                </a:lnTo>
                <a:cubicBezTo>
                  <a:pt x="12695" y="2046"/>
                  <a:pt x="12695" y="2318"/>
                  <a:pt x="12729" y="2590"/>
                </a:cubicBezTo>
                <a:cubicBezTo>
                  <a:pt x="16368" y="7842"/>
                  <a:pt x="15066" y="15049"/>
                  <a:pt x="9814" y="18688"/>
                </a:cubicBezTo>
                <a:cubicBezTo>
                  <a:pt x="8732" y="19440"/>
                  <a:pt x="7523" y="20001"/>
                  <a:pt x="6251" y="20348"/>
                </a:cubicBezTo>
                <a:cubicBezTo>
                  <a:pt x="-2195" y="23182"/>
                  <a:pt x="-1848" y="30818"/>
                  <a:pt x="5036" y="31280"/>
                </a:cubicBezTo>
                <a:cubicBezTo>
                  <a:pt x="9259" y="31280"/>
                  <a:pt x="8275" y="34983"/>
                  <a:pt x="6077" y="38395"/>
                </a:cubicBezTo>
                <a:cubicBezTo>
                  <a:pt x="12614" y="37412"/>
                  <a:pt x="17241" y="36776"/>
                  <a:pt x="18687" y="36776"/>
                </a:cubicBezTo>
                <a:cubicBezTo>
                  <a:pt x="25744" y="36776"/>
                  <a:pt x="56170" y="35040"/>
                  <a:pt x="56170" y="3504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 name="Forma libre: forma 42">
            <a:extLst>
              <a:ext uri="{FF2B5EF4-FFF2-40B4-BE49-F238E27FC236}">
                <a16:creationId xmlns:a16="http://schemas.microsoft.com/office/drawing/2014/main" id="{A14C4A38-0987-7CDA-4C19-963AB4471289}"/>
              </a:ext>
            </a:extLst>
          </p:cNvPr>
          <p:cNvSpPr/>
          <p:nvPr/>
        </p:nvSpPr>
        <p:spPr>
          <a:xfrm>
            <a:off x="6492275" y="4378369"/>
            <a:ext cx="191577" cy="241499"/>
          </a:xfrm>
          <a:custGeom>
            <a:avLst/>
            <a:gdLst>
              <a:gd name="connsiteX0" fmla="*/ 51545 w 191577"/>
              <a:gd name="connsiteY0" fmla="*/ 227720 h 241499"/>
              <a:gd name="connsiteX1" fmla="*/ 70114 w 191577"/>
              <a:gd name="connsiteY1" fmla="*/ 229397 h 241499"/>
              <a:gd name="connsiteX2" fmla="*/ 92036 w 191577"/>
              <a:gd name="connsiteY2" fmla="*/ 231133 h 241499"/>
              <a:gd name="connsiteX3" fmla="*/ 103894 w 191577"/>
              <a:gd name="connsiteY3" fmla="*/ 229397 h 241499"/>
              <a:gd name="connsiteX4" fmla="*/ 120785 w 191577"/>
              <a:gd name="connsiteY4" fmla="*/ 214184 h 241499"/>
              <a:gd name="connsiteX5" fmla="*/ 130908 w 191577"/>
              <a:gd name="connsiteY5" fmla="*/ 193939 h 241499"/>
              <a:gd name="connsiteX6" fmla="*/ 132585 w 191577"/>
              <a:gd name="connsiteY6" fmla="*/ 148357 h 241499"/>
              <a:gd name="connsiteX7" fmla="*/ 156244 w 191577"/>
              <a:gd name="connsiteY7" fmla="*/ 117989 h 241499"/>
              <a:gd name="connsiteX8" fmla="*/ 176489 w 191577"/>
              <a:gd name="connsiteY8" fmla="*/ 60492 h 241499"/>
              <a:gd name="connsiteX9" fmla="*/ 186612 w 191577"/>
              <a:gd name="connsiteY9" fmla="*/ 31570 h 241499"/>
              <a:gd name="connsiteX10" fmla="*/ 190719 w 191577"/>
              <a:gd name="connsiteY10" fmla="*/ 3284 h 241499"/>
              <a:gd name="connsiteX11" fmla="*/ 190719 w 191577"/>
              <a:gd name="connsiteY11" fmla="*/ 3284 h 241499"/>
              <a:gd name="connsiteX12" fmla="*/ 167061 w 191577"/>
              <a:gd name="connsiteY12" fmla="*/ -129 h 241499"/>
              <a:gd name="connsiteX13" fmla="*/ 155492 w 191577"/>
              <a:gd name="connsiteY13" fmla="*/ 3284 h 241499"/>
              <a:gd name="connsiteX14" fmla="*/ 140337 w 191577"/>
              <a:gd name="connsiteY14" fmla="*/ 6581 h 241499"/>
              <a:gd name="connsiteX15" fmla="*/ 135246 w 191577"/>
              <a:gd name="connsiteY15" fmla="*/ 26827 h 241499"/>
              <a:gd name="connsiteX16" fmla="*/ 126859 w 191577"/>
              <a:gd name="connsiteY16" fmla="*/ 53782 h 241499"/>
              <a:gd name="connsiteX17" fmla="*/ 88103 w 191577"/>
              <a:gd name="connsiteY17" fmla="*/ 40304 h 241499"/>
              <a:gd name="connsiteX18" fmla="*/ 56289 w 191577"/>
              <a:gd name="connsiteY18" fmla="*/ 40304 h 241499"/>
              <a:gd name="connsiteX19" fmla="*/ 53339 w 191577"/>
              <a:gd name="connsiteY19" fmla="*/ 68417 h 241499"/>
              <a:gd name="connsiteX20" fmla="*/ 80410 w 191577"/>
              <a:gd name="connsiteY20" fmla="*/ 68417 h 241499"/>
              <a:gd name="connsiteX21" fmla="*/ 77055 w 191577"/>
              <a:gd name="connsiteY21" fmla="*/ 90397 h 241499"/>
              <a:gd name="connsiteX22" fmla="*/ 82087 w 191577"/>
              <a:gd name="connsiteY22" fmla="*/ 112378 h 241499"/>
              <a:gd name="connsiteX23" fmla="*/ 88855 w 191577"/>
              <a:gd name="connsiteY23" fmla="*/ 141300 h 241499"/>
              <a:gd name="connsiteX24" fmla="*/ 80410 w 191577"/>
              <a:gd name="connsiteY24" fmla="*/ 173346 h 241499"/>
              <a:gd name="connsiteX25" fmla="*/ 60164 w 191577"/>
              <a:gd name="connsiteY25" fmla="*/ 169991 h 241499"/>
              <a:gd name="connsiteX26" fmla="*/ 44951 w 191577"/>
              <a:gd name="connsiteY26" fmla="*/ 153100 h 241499"/>
              <a:gd name="connsiteX27" fmla="*/ 33382 w 191577"/>
              <a:gd name="connsiteY27" fmla="*/ 168314 h 241499"/>
              <a:gd name="connsiteX28" fmla="*/ 16492 w 191577"/>
              <a:gd name="connsiteY28" fmla="*/ 179882 h 241499"/>
              <a:gd name="connsiteX29" fmla="*/ 13137 w 191577"/>
              <a:gd name="connsiteY29" fmla="*/ 201863 h 241499"/>
              <a:gd name="connsiteX30" fmla="*/ -110 w 191577"/>
              <a:gd name="connsiteY30" fmla="*/ 210135 h 241499"/>
              <a:gd name="connsiteX31" fmla="*/ 2725 w 191577"/>
              <a:gd name="connsiteY31" fmla="*/ 212449 h 241499"/>
              <a:gd name="connsiteX32" fmla="*/ 25862 w 191577"/>
              <a:gd name="connsiteY32" fmla="*/ 241371 h 241499"/>
              <a:gd name="connsiteX33" fmla="*/ 51545 w 191577"/>
              <a:gd name="connsiteY33" fmla="*/ 227720 h 24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1577" h="241499">
                <a:moveTo>
                  <a:pt x="51545" y="227720"/>
                </a:moveTo>
                <a:cubicBezTo>
                  <a:pt x="56578" y="229397"/>
                  <a:pt x="59991" y="237843"/>
                  <a:pt x="70114" y="229397"/>
                </a:cubicBezTo>
                <a:cubicBezTo>
                  <a:pt x="80236" y="220952"/>
                  <a:pt x="92036" y="222629"/>
                  <a:pt x="92036" y="231133"/>
                </a:cubicBezTo>
                <a:cubicBezTo>
                  <a:pt x="92036" y="239636"/>
                  <a:pt x="95449" y="237843"/>
                  <a:pt x="103894" y="229397"/>
                </a:cubicBezTo>
                <a:cubicBezTo>
                  <a:pt x="112340" y="220952"/>
                  <a:pt x="120785" y="231075"/>
                  <a:pt x="120785" y="214184"/>
                </a:cubicBezTo>
                <a:cubicBezTo>
                  <a:pt x="120785" y="197294"/>
                  <a:pt x="130908" y="212507"/>
                  <a:pt x="130908" y="193939"/>
                </a:cubicBezTo>
                <a:cubicBezTo>
                  <a:pt x="130908" y="175371"/>
                  <a:pt x="132585" y="156803"/>
                  <a:pt x="132585" y="148357"/>
                </a:cubicBezTo>
                <a:cubicBezTo>
                  <a:pt x="132585" y="139912"/>
                  <a:pt x="156244" y="131467"/>
                  <a:pt x="156244" y="117989"/>
                </a:cubicBezTo>
                <a:cubicBezTo>
                  <a:pt x="156244" y="104511"/>
                  <a:pt x="176489" y="77498"/>
                  <a:pt x="176489" y="60492"/>
                </a:cubicBezTo>
                <a:cubicBezTo>
                  <a:pt x="176489" y="43486"/>
                  <a:pt x="181579" y="40247"/>
                  <a:pt x="186612" y="31570"/>
                </a:cubicBezTo>
                <a:cubicBezTo>
                  <a:pt x="191066" y="22853"/>
                  <a:pt x="192512" y="12909"/>
                  <a:pt x="190719" y="3284"/>
                </a:cubicBezTo>
                <a:lnTo>
                  <a:pt x="190719" y="3284"/>
                </a:lnTo>
                <a:lnTo>
                  <a:pt x="167061" y="-129"/>
                </a:lnTo>
                <a:lnTo>
                  <a:pt x="155492" y="3284"/>
                </a:lnTo>
                <a:lnTo>
                  <a:pt x="140337" y="6581"/>
                </a:lnTo>
                <a:cubicBezTo>
                  <a:pt x="141187" y="13725"/>
                  <a:pt x="139376" y="20932"/>
                  <a:pt x="135246" y="26827"/>
                </a:cubicBezTo>
                <a:cubicBezTo>
                  <a:pt x="128536" y="35272"/>
                  <a:pt x="126859" y="53782"/>
                  <a:pt x="126859" y="53782"/>
                </a:cubicBezTo>
                <a:cubicBezTo>
                  <a:pt x="126859" y="53782"/>
                  <a:pt x="96548" y="38627"/>
                  <a:pt x="88103" y="40304"/>
                </a:cubicBezTo>
                <a:cubicBezTo>
                  <a:pt x="77506" y="40964"/>
                  <a:pt x="66886" y="40964"/>
                  <a:pt x="56289" y="40304"/>
                </a:cubicBezTo>
                <a:cubicBezTo>
                  <a:pt x="54900" y="51526"/>
                  <a:pt x="53339" y="64715"/>
                  <a:pt x="53339" y="68417"/>
                </a:cubicBezTo>
                <a:cubicBezTo>
                  <a:pt x="53339" y="75184"/>
                  <a:pt x="71965" y="61649"/>
                  <a:pt x="80410" y="68417"/>
                </a:cubicBezTo>
                <a:cubicBezTo>
                  <a:pt x="88855" y="75184"/>
                  <a:pt x="87178" y="85365"/>
                  <a:pt x="77055" y="90397"/>
                </a:cubicBezTo>
                <a:cubicBezTo>
                  <a:pt x="66932" y="95430"/>
                  <a:pt x="73642" y="107288"/>
                  <a:pt x="82087" y="112378"/>
                </a:cubicBezTo>
                <a:cubicBezTo>
                  <a:pt x="90532" y="117469"/>
                  <a:pt x="88855" y="127533"/>
                  <a:pt x="88855" y="141300"/>
                </a:cubicBezTo>
                <a:cubicBezTo>
                  <a:pt x="88855" y="155067"/>
                  <a:pt x="88855" y="171669"/>
                  <a:pt x="80410" y="173346"/>
                </a:cubicBezTo>
                <a:cubicBezTo>
                  <a:pt x="71965" y="175024"/>
                  <a:pt x="66874" y="168314"/>
                  <a:pt x="60164" y="169991"/>
                </a:cubicBezTo>
                <a:cubicBezTo>
                  <a:pt x="53454" y="171669"/>
                  <a:pt x="51719" y="153100"/>
                  <a:pt x="44951" y="153100"/>
                </a:cubicBezTo>
                <a:cubicBezTo>
                  <a:pt x="38183" y="153100"/>
                  <a:pt x="41596" y="168314"/>
                  <a:pt x="33382" y="168314"/>
                </a:cubicBezTo>
                <a:cubicBezTo>
                  <a:pt x="25168" y="168314"/>
                  <a:pt x="11459" y="166636"/>
                  <a:pt x="16492" y="179882"/>
                </a:cubicBezTo>
                <a:cubicBezTo>
                  <a:pt x="21524" y="193129"/>
                  <a:pt x="26615" y="201863"/>
                  <a:pt x="13137" y="201863"/>
                </a:cubicBezTo>
                <a:cubicBezTo>
                  <a:pt x="7526" y="201944"/>
                  <a:pt x="2424" y="205131"/>
                  <a:pt x="-110" y="210135"/>
                </a:cubicBezTo>
                <a:cubicBezTo>
                  <a:pt x="758" y="210887"/>
                  <a:pt x="1684" y="211697"/>
                  <a:pt x="2725" y="212449"/>
                </a:cubicBezTo>
                <a:cubicBezTo>
                  <a:pt x="12587" y="220154"/>
                  <a:pt x="20512" y="230057"/>
                  <a:pt x="25862" y="241371"/>
                </a:cubicBezTo>
                <a:cubicBezTo>
                  <a:pt x="37200" y="233562"/>
                  <a:pt x="48711" y="226794"/>
                  <a:pt x="51545" y="22772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 name="Forma libre: forma 43">
            <a:extLst>
              <a:ext uri="{FF2B5EF4-FFF2-40B4-BE49-F238E27FC236}">
                <a16:creationId xmlns:a16="http://schemas.microsoft.com/office/drawing/2014/main" id="{63F30FCC-FC8E-1AF8-39A2-C11DE677FF07}"/>
              </a:ext>
            </a:extLst>
          </p:cNvPr>
          <p:cNvSpPr/>
          <p:nvPr/>
        </p:nvSpPr>
        <p:spPr>
          <a:xfrm>
            <a:off x="6775079" y="3826419"/>
            <a:ext cx="445801" cy="555485"/>
          </a:xfrm>
          <a:custGeom>
            <a:avLst/>
            <a:gdLst>
              <a:gd name="connsiteX0" fmla="*/ 352968 w 445801"/>
              <a:gd name="connsiteY0" fmla="*/ 10804 h 555485"/>
              <a:gd name="connsiteX1" fmla="*/ 335210 w 445801"/>
              <a:gd name="connsiteY1" fmla="*/ 30181 h 555485"/>
              <a:gd name="connsiteX2" fmla="*/ 319014 w 445801"/>
              <a:gd name="connsiteY2" fmla="*/ 43138 h 555485"/>
              <a:gd name="connsiteX3" fmla="*/ 304495 w 445801"/>
              <a:gd name="connsiteY3" fmla="*/ 35040 h 555485"/>
              <a:gd name="connsiteX4" fmla="*/ 268920 w 445801"/>
              <a:gd name="connsiteY4" fmla="*/ 35040 h 555485"/>
              <a:gd name="connsiteX5" fmla="*/ 256021 w 445801"/>
              <a:gd name="connsiteY5" fmla="*/ 30181 h 555485"/>
              <a:gd name="connsiteX6" fmla="*/ 246303 w 445801"/>
              <a:gd name="connsiteY6" fmla="*/ 36660 h 555485"/>
              <a:gd name="connsiteX7" fmla="*/ 79712 w 445801"/>
              <a:gd name="connsiteY7" fmla="*/ 36660 h 555485"/>
              <a:gd name="connsiteX8" fmla="*/ 79712 w 445801"/>
              <a:gd name="connsiteY8" fmla="*/ 94099 h 555485"/>
              <a:gd name="connsiteX9" fmla="*/ 54434 w 445801"/>
              <a:gd name="connsiteY9" fmla="*/ 94099 h 555485"/>
              <a:gd name="connsiteX10" fmla="*/ 54434 w 445801"/>
              <a:gd name="connsiteY10" fmla="*/ 183411 h 555485"/>
              <a:gd name="connsiteX11" fmla="*/ 51079 w 445801"/>
              <a:gd name="connsiteY11" fmla="*/ 211986 h 555485"/>
              <a:gd name="connsiteX12" fmla="*/ 27478 w 445801"/>
              <a:gd name="connsiteY12" fmla="*/ 227141 h 555485"/>
              <a:gd name="connsiteX13" fmla="*/ 17355 w 445801"/>
              <a:gd name="connsiteY13" fmla="*/ 244032 h 555485"/>
              <a:gd name="connsiteX14" fmla="*/ 5786 w 445801"/>
              <a:gd name="connsiteY14" fmla="*/ 264219 h 555485"/>
              <a:gd name="connsiteX15" fmla="*/ 4051 w 445801"/>
              <a:gd name="connsiteY15" fmla="*/ 284465 h 555485"/>
              <a:gd name="connsiteX16" fmla="*/ 7464 w 445801"/>
              <a:gd name="connsiteY16" fmla="*/ 299620 h 555485"/>
              <a:gd name="connsiteX17" fmla="*/ 12497 w 445801"/>
              <a:gd name="connsiteY17" fmla="*/ 319808 h 555485"/>
              <a:gd name="connsiteX18" fmla="*/ 25974 w 445801"/>
              <a:gd name="connsiteY18" fmla="*/ 336698 h 555485"/>
              <a:gd name="connsiteX19" fmla="*/ 22619 w 445801"/>
              <a:gd name="connsiteY19" fmla="*/ 348267 h 555485"/>
              <a:gd name="connsiteX20" fmla="*/ 42807 w 445801"/>
              <a:gd name="connsiteY20" fmla="*/ 375223 h 555485"/>
              <a:gd name="connsiteX21" fmla="*/ 44542 w 445801"/>
              <a:gd name="connsiteY21" fmla="*/ 398823 h 555485"/>
              <a:gd name="connsiteX22" fmla="*/ 41130 w 445801"/>
              <a:gd name="connsiteY22" fmla="*/ 408946 h 555485"/>
              <a:gd name="connsiteX23" fmla="*/ 52698 w 445801"/>
              <a:gd name="connsiteY23" fmla="*/ 410623 h 555485"/>
              <a:gd name="connsiteX24" fmla="*/ 56053 w 445801"/>
              <a:gd name="connsiteY24" fmla="*/ 419068 h 555485"/>
              <a:gd name="connsiteX25" fmla="*/ 77976 w 445801"/>
              <a:gd name="connsiteY25" fmla="*/ 429134 h 555485"/>
              <a:gd name="connsiteX26" fmla="*/ 89545 w 445801"/>
              <a:gd name="connsiteY26" fmla="*/ 445966 h 555485"/>
              <a:gd name="connsiteX27" fmla="*/ 106378 w 445801"/>
              <a:gd name="connsiteY27" fmla="*/ 461179 h 555485"/>
              <a:gd name="connsiteX28" fmla="*/ 116443 w 445801"/>
              <a:gd name="connsiteY28" fmla="*/ 479689 h 555485"/>
              <a:gd name="connsiteX29" fmla="*/ 135011 w 445801"/>
              <a:gd name="connsiteY29" fmla="*/ 493167 h 555485"/>
              <a:gd name="connsiteX30" fmla="*/ 141316 w 445801"/>
              <a:gd name="connsiteY30" fmla="*/ 508901 h 555485"/>
              <a:gd name="connsiteX31" fmla="*/ 148430 w 445801"/>
              <a:gd name="connsiteY31" fmla="*/ 516016 h 555485"/>
              <a:gd name="connsiteX32" fmla="*/ 159999 w 445801"/>
              <a:gd name="connsiteY32" fmla="*/ 529551 h 555485"/>
              <a:gd name="connsiteX33" fmla="*/ 176832 w 445801"/>
              <a:gd name="connsiteY33" fmla="*/ 529551 h 555485"/>
              <a:gd name="connsiteX34" fmla="*/ 192045 w 445801"/>
              <a:gd name="connsiteY34" fmla="*/ 531229 h 555485"/>
              <a:gd name="connsiteX35" fmla="*/ 205580 w 445801"/>
              <a:gd name="connsiteY35" fmla="*/ 527874 h 555485"/>
              <a:gd name="connsiteX36" fmla="*/ 237106 w 445801"/>
              <a:gd name="connsiteY36" fmla="*/ 554482 h 555485"/>
              <a:gd name="connsiteX37" fmla="*/ 257352 w 445801"/>
              <a:gd name="connsiteY37" fmla="*/ 548698 h 555485"/>
              <a:gd name="connsiteX38" fmla="*/ 274299 w 445801"/>
              <a:gd name="connsiteY38" fmla="*/ 554482 h 555485"/>
              <a:gd name="connsiteX39" fmla="*/ 294256 w 445801"/>
              <a:gd name="connsiteY39" fmla="*/ 547830 h 555485"/>
              <a:gd name="connsiteX40" fmla="*/ 311262 w 445801"/>
              <a:gd name="connsiteY40" fmla="*/ 546615 h 555485"/>
              <a:gd name="connsiteX41" fmla="*/ 320460 w 445801"/>
              <a:gd name="connsiteY41" fmla="*/ 537765 h 555485"/>
              <a:gd name="connsiteX42" fmla="*/ 323930 w 445801"/>
              <a:gd name="connsiteY42" fmla="*/ 533311 h 555485"/>
              <a:gd name="connsiteX43" fmla="*/ 345738 w 445801"/>
              <a:gd name="connsiteY43" fmla="*/ 518734 h 555485"/>
              <a:gd name="connsiteX44" fmla="*/ 362107 w 445801"/>
              <a:gd name="connsiteY44" fmla="*/ 520585 h 555485"/>
              <a:gd name="connsiteX45" fmla="*/ 368933 w 445801"/>
              <a:gd name="connsiteY45" fmla="*/ 524692 h 555485"/>
              <a:gd name="connsiteX46" fmla="*/ 369396 w 445801"/>
              <a:gd name="connsiteY46" fmla="*/ 500745 h 555485"/>
              <a:gd name="connsiteX47" fmla="*/ 344060 w 445801"/>
              <a:gd name="connsiteY47" fmla="*/ 480441 h 555485"/>
              <a:gd name="connsiteX48" fmla="*/ 320460 w 445801"/>
              <a:gd name="connsiteY48" fmla="*/ 450073 h 555485"/>
              <a:gd name="connsiteX49" fmla="*/ 295066 w 445801"/>
              <a:gd name="connsiteY49" fmla="*/ 436595 h 555485"/>
              <a:gd name="connsiteX50" fmla="*/ 300156 w 445801"/>
              <a:gd name="connsiteY50" fmla="*/ 421324 h 555485"/>
              <a:gd name="connsiteX51" fmla="*/ 322079 w 445801"/>
              <a:gd name="connsiteY51" fmla="*/ 416292 h 555485"/>
              <a:gd name="connsiteX52" fmla="*/ 325492 w 445801"/>
              <a:gd name="connsiteY52" fmla="*/ 385866 h 555485"/>
              <a:gd name="connsiteX53" fmla="*/ 333937 w 445801"/>
              <a:gd name="connsiteY53" fmla="*/ 360530 h 555485"/>
              <a:gd name="connsiteX54" fmla="*/ 345506 w 445801"/>
              <a:gd name="connsiteY54" fmla="*/ 348961 h 555485"/>
              <a:gd name="connsiteX55" fmla="*/ 353951 w 445801"/>
              <a:gd name="connsiteY55" fmla="*/ 321890 h 555485"/>
              <a:gd name="connsiteX56" fmla="*/ 370842 w 445801"/>
              <a:gd name="connsiteY56" fmla="*/ 301645 h 555485"/>
              <a:gd name="connsiteX57" fmla="*/ 382411 w 445801"/>
              <a:gd name="connsiteY57" fmla="*/ 288109 h 555485"/>
              <a:gd name="connsiteX58" fmla="*/ 392591 w 445801"/>
              <a:gd name="connsiteY58" fmla="*/ 256063 h 555485"/>
              <a:gd name="connsiteX59" fmla="*/ 394268 w 445801"/>
              <a:gd name="connsiteY59" fmla="*/ 218927 h 555485"/>
              <a:gd name="connsiteX60" fmla="*/ 404391 w 445801"/>
              <a:gd name="connsiteY60" fmla="*/ 191856 h 555485"/>
              <a:gd name="connsiteX61" fmla="*/ 419604 w 445801"/>
              <a:gd name="connsiteY61" fmla="*/ 176643 h 555485"/>
              <a:gd name="connsiteX62" fmla="*/ 445692 w 445801"/>
              <a:gd name="connsiteY62" fmla="*/ 152348 h 555485"/>
              <a:gd name="connsiteX63" fmla="*/ 428686 w 445801"/>
              <a:gd name="connsiteY63" fmla="*/ 136673 h 555485"/>
              <a:gd name="connsiteX64" fmla="*/ 412547 w 445801"/>
              <a:gd name="connsiteY64" fmla="*/ 93868 h 555485"/>
              <a:gd name="connsiteX65" fmla="*/ 406763 w 445801"/>
              <a:gd name="connsiteY65" fmla="*/ 48692 h 555485"/>
              <a:gd name="connsiteX66" fmla="*/ 382931 w 445801"/>
              <a:gd name="connsiteY66" fmla="*/ 20348 h 555485"/>
              <a:gd name="connsiteX67" fmla="*/ 367660 w 445801"/>
              <a:gd name="connsiteY67" fmla="*/ -129 h 555485"/>
              <a:gd name="connsiteX68" fmla="*/ 366735 w 445801"/>
              <a:gd name="connsiteY68" fmla="*/ 1028 h 555485"/>
              <a:gd name="connsiteX69" fmla="*/ 352968 w 445801"/>
              <a:gd name="connsiteY69" fmla="*/ 10804 h 55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45801" h="555485">
                <a:moveTo>
                  <a:pt x="352968" y="10804"/>
                </a:moveTo>
                <a:cubicBezTo>
                  <a:pt x="344870" y="10804"/>
                  <a:pt x="348109" y="30181"/>
                  <a:pt x="335210" y="30181"/>
                </a:cubicBezTo>
                <a:cubicBezTo>
                  <a:pt x="322311" y="30181"/>
                  <a:pt x="327111" y="43138"/>
                  <a:pt x="319014" y="43138"/>
                </a:cubicBezTo>
                <a:cubicBezTo>
                  <a:pt x="313286" y="42439"/>
                  <a:pt x="308081" y="39529"/>
                  <a:pt x="304495" y="35040"/>
                </a:cubicBezTo>
                <a:lnTo>
                  <a:pt x="268920" y="35040"/>
                </a:lnTo>
                <a:cubicBezTo>
                  <a:pt x="268920" y="35040"/>
                  <a:pt x="260880" y="27000"/>
                  <a:pt x="256021" y="30181"/>
                </a:cubicBezTo>
                <a:lnTo>
                  <a:pt x="246303" y="36660"/>
                </a:lnTo>
                <a:lnTo>
                  <a:pt x="79712" y="36660"/>
                </a:lnTo>
                <a:lnTo>
                  <a:pt x="79712" y="94099"/>
                </a:lnTo>
                <a:lnTo>
                  <a:pt x="54434" y="94099"/>
                </a:lnTo>
                <a:lnTo>
                  <a:pt x="54434" y="183411"/>
                </a:lnTo>
                <a:cubicBezTo>
                  <a:pt x="54434" y="183411"/>
                  <a:pt x="56111" y="210309"/>
                  <a:pt x="51079" y="211986"/>
                </a:cubicBezTo>
                <a:cubicBezTo>
                  <a:pt x="46046" y="213664"/>
                  <a:pt x="27478" y="218696"/>
                  <a:pt x="27478" y="227141"/>
                </a:cubicBezTo>
                <a:cubicBezTo>
                  <a:pt x="27478" y="235586"/>
                  <a:pt x="25801" y="242296"/>
                  <a:pt x="17355" y="244032"/>
                </a:cubicBezTo>
                <a:cubicBezTo>
                  <a:pt x="8910" y="245767"/>
                  <a:pt x="17355" y="264219"/>
                  <a:pt x="5786" y="264219"/>
                </a:cubicBezTo>
                <a:cubicBezTo>
                  <a:pt x="-5782" y="264219"/>
                  <a:pt x="10819" y="277755"/>
                  <a:pt x="4051" y="284465"/>
                </a:cubicBezTo>
                <a:cubicBezTo>
                  <a:pt x="-2717" y="291175"/>
                  <a:pt x="-981" y="299620"/>
                  <a:pt x="7464" y="299620"/>
                </a:cubicBezTo>
                <a:cubicBezTo>
                  <a:pt x="15909" y="299620"/>
                  <a:pt x="12497" y="309685"/>
                  <a:pt x="12497" y="319808"/>
                </a:cubicBezTo>
                <a:cubicBezTo>
                  <a:pt x="12497" y="329931"/>
                  <a:pt x="25974" y="336698"/>
                  <a:pt x="25974" y="336698"/>
                </a:cubicBezTo>
                <a:lnTo>
                  <a:pt x="22619" y="348267"/>
                </a:lnTo>
                <a:cubicBezTo>
                  <a:pt x="22619" y="348267"/>
                  <a:pt x="41130" y="370190"/>
                  <a:pt x="42807" y="375223"/>
                </a:cubicBezTo>
                <a:cubicBezTo>
                  <a:pt x="44484" y="380255"/>
                  <a:pt x="54376" y="393790"/>
                  <a:pt x="44542" y="398823"/>
                </a:cubicBezTo>
                <a:cubicBezTo>
                  <a:pt x="34709" y="403855"/>
                  <a:pt x="41130" y="408946"/>
                  <a:pt x="41130" y="408946"/>
                </a:cubicBezTo>
                <a:lnTo>
                  <a:pt x="52698" y="410623"/>
                </a:lnTo>
                <a:lnTo>
                  <a:pt x="56053" y="419068"/>
                </a:lnTo>
                <a:cubicBezTo>
                  <a:pt x="64441" y="419346"/>
                  <a:pt x="72307" y="422973"/>
                  <a:pt x="77976" y="429134"/>
                </a:cubicBezTo>
                <a:cubicBezTo>
                  <a:pt x="86421" y="439256"/>
                  <a:pt x="89545" y="440702"/>
                  <a:pt x="89545" y="445966"/>
                </a:cubicBezTo>
                <a:cubicBezTo>
                  <a:pt x="89545" y="451230"/>
                  <a:pt x="96255" y="452734"/>
                  <a:pt x="106378" y="461179"/>
                </a:cubicBezTo>
                <a:cubicBezTo>
                  <a:pt x="116501" y="469625"/>
                  <a:pt x="116443" y="474657"/>
                  <a:pt x="116443" y="479689"/>
                </a:cubicBezTo>
                <a:cubicBezTo>
                  <a:pt x="116443" y="484722"/>
                  <a:pt x="135011" y="493167"/>
                  <a:pt x="135011" y="493167"/>
                </a:cubicBezTo>
                <a:lnTo>
                  <a:pt x="141316" y="508901"/>
                </a:lnTo>
                <a:cubicBezTo>
                  <a:pt x="144497" y="510306"/>
                  <a:pt x="147042" y="512846"/>
                  <a:pt x="148430" y="516016"/>
                </a:cubicBezTo>
                <a:cubicBezTo>
                  <a:pt x="150918" y="521551"/>
                  <a:pt x="154909" y="526254"/>
                  <a:pt x="159999" y="529551"/>
                </a:cubicBezTo>
                <a:cubicBezTo>
                  <a:pt x="159999" y="529551"/>
                  <a:pt x="170122" y="536261"/>
                  <a:pt x="176832" y="529551"/>
                </a:cubicBezTo>
                <a:cubicBezTo>
                  <a:pt x="183542" y="522841"/>
                  <a:pt x="192045" y="531229"/>
                  <a:pt x="192045" y="531229"/>
                </a:cubicBezTo>
                <a:cubicBezTo>
                  <a:pt x="192045" y="531229"/>
                  <a:pt x="200548" y="524519"/>
                  <a:pt x="205580" y="527874"/>
                </a:cubicBezTo>
                <a:cubicBezTo>
                  <a:pt x="208994" y="530130"/>
                  <a:pt x="224091" y="542508"/>
                  <a:pt x="237106" y="554482"/>
                </a:cubicBezTo>
                <a:cubicBezTo>
                  <a:pt x="243642" y="551954"/>
                  <a:pt x="250468" y="550016"/>
                  <a:pt x="257352" y="548698"/>
                </a:cubicBezTo>
                <a:cubicBezTo>
                  <a:pt x="263136" y="548061"/>
                  <a:pt x="271870" y="558358"/>
                  <a:pt x="274299" y="554482"/>
                </a:cubicBezTo>
                <a:cubicBezTo>
                  <a:pt x="276729" y="550607"/>
                  <a:pt x="289455" y="545401"/>
                  <a:pt x="294256" y="547830"/>
                </a:cubicBezTo>
                <a:cubicBezTo>
                  <a:pt x="299057" y="550260"/>
                  <a:pt x="310626" y="550838"/>
                  <a:pt x="311262" y="546615"/>
                </a:cubicBezTo>
                <a:cubicBezTo>
                  <a:pt x="311609" y="543723"/>
                  <a:pt x="317046" y="540831"/>
                  <a:pt x="320460" y="537765"/>
                </a:cubicBezTo>
                <a:cubicBezTo>
                  <a:pt x="322079" y="536678"/>
                  <a:pt x="323294" y="535122"/>
                  <a:pt x="323930" y="533311"/>
                </a:cubicBezTo>
                <a:cubicBezTo>
                  <a:pt x="325145" y="528452"/>
                  <a:pt x="339722" y="519949"/>
                  <a:pt x="345738" y="518734"/>
                </a:cubicBezTo>
                <a:cubicBezTo>
                  <a:pt x="351753" y="517520"/>
                  <a:pt x="359099" y="516941"/>
                  <a:pt x="362107" y="520585"/>
                </a:cubicBezTo>
                <a:cubicBezTo>
                  <a:pt x="364074" y="522448"/>
                  <a:pt x="366388" y="523854"/>
                  <a:pt x="368933" y="524692"/>
                </a:cubicBezTo>
                <a:cubicBezTo>
                  <a:pt x="371016" y="509248"/>
                  <a:pt x="374717" y="500745"/>
                  <a:pt x="369396" y="500745"/>
                </a:cubicBezTo>
                <a:cubicBezTo>
                  <a:pt x="357885" y="499154"/>
                  <a:pt x="348109" y="491356"/>
                  <a:pt x="344060" y="480441"/>
                </a:cubicBezTo>
                <a:cubicBezTo>
                  <a:pt x="338970" y="466906"/>
                  <a:pt x="323815" y="458518"/>
                  <a:pt x="320460" y="450073"/>
                </a:cubicBezTo>
                <a:cubicBezTo>
                  <a:pt x="317104" y="441628"/>
                  <a:pt x="298479" y="443363"/>
                  <a:pt x="295066" y="436595"/>
                </a:cubicBezTo>
                <a:cubicBezTo>
                  <a:pt x="291653" y="429828"/>
                  <a:pt x="300156" y="429770"/>
                  <a:pt x="300156" y="421324"/>
                </a:cubicBezTo>
                <a:cubicBezTo>
                  <a:pt x="300156" y="412879"/>
                  <a:pt x="320460" y="417969"/>
                  <a:pt x="322079" y="416292"/>
                </a:cubicBezTo>
                <a:cubicBezTo>
                  <a:pt x="323699" y="414615"/>
                  <a:pt x="325492" y="396047"/>
                  <a:pt x="325492" y="385866"/>
                </a:cubicBezTo>
                <a:cubicBezTo>
                  <a:pt x="325492" y="375685"/>
                  <a:pt x="338970" y="365678"/>
                  <a:pt x="333937" y="360530"/>
                </a:cubicBezTo>
                <a:cubicBezTo>
                  <a:pt x="328905" y="355382"/>
                  <a:pt x="338970" y="353820"/>
                  <a:pt x="345506" y="348961"/>
                </a:cubicBezTo>
                <a:cubicBezTo>
                  <a:pt x="352043" y="344102"/>
                  <a:pt x="347184" y="328658"/>
                  <a:pt x="353951" y="321890"/>
                </a:cubicBezTo>
                <a:cubicBezTo>
                  <a:pt x="360719" y="315122"/>
                  <a:pt x="365520" y="301645"/>
                  <a:pt x="370842" y="301645"/>
                </a:cubicBezTo>
                <a:cubicBezTo>
                  <a:pt x="377320" y="300326"/>
                  <a:pt x="382121" y="294744"/>
                  <a:pt x="382411" y="288109"/>
                </a:cubicBezTo>
                <a:cubicBezTo>
                  <a:pt x="382411" y="281341"/>
                  <a:pt x="393980" y="267864"/>
                  <a:pt x="392591" y="256063"/>
                </a:cubicBezTo>
                <a:cubicBezTo>
                  <a:pt x="391203" y="244263"/>
                  <a:pt x="385823" y="229050"/>
                  <a:pt x="394268" y="218927"/>
                </a:cubicBezTo>
                <a:cubicBezTo>
                  <a:pt x="402714" y="208805"/>
                  <a:pt x="405837" y="200359"/>
                  <a:pt x="404391" y="191856"/>
                </a:cubicBezTo>
                <a:cubicBezTo>
                  <a:pt x="402945" y="183353"/>
                  <a:pt x="414514" y="181733"/>
                  <a:pt x="419604" y="176643"/>
                </a:cubicBezTo>
                <a:cubicBezTo>
                  <a:pt x="423191" y="173115"/>
                  <a:pt x="436090" y="167735"/>
                  <a:pt x="445692" y="152348"/>
                </a:cubicBezTo>
                <a:cubicBezTo>
                  <a:pt x="441065" y="146113"/>
                  <a:pt x="435281" y="140797"/>
                  <a:pt x="428686" y="136673"/>
                </a:cubicBezTo>
                <a:cubicBezTo>
                  <a:pt x="419026" y="132277"/>
                  <a:pt x="412547" y="115270"/>
                  <a:pt x="412547" y="93868"/>
                </a:cubicBezTo>
                <a:cubicBezTo>
                  <a:pt x="412027" y="78661"/>
                  <a:pt x="410061" y="63540"/>
                  <a:pt x="406763" y="48692"/>
                </a:cubicBezTo>
                <a:cubicBezTo>
                  <a:pt x="405953" y="41808"/>
                  <a:pt x="395194" y="27231"/>
                  <a:pt x="382931" y="20348"/>
                </a:cubicBezTo>
                <a:cubicBezTo>
                  <a:pt x="374891" y="16328"/>
                  <a:pt x="369222" y="8727"/>
                  <a:pt x="367660" y="-129"/>
                </a:cubicBezTo>
                <a:cubicBezTo>
                  <a:pt x="367314" y="230"/>
                  <a:pt x="367024" y="617"/>
                  <a:pt x="366735" y="1028"/>
                </a:cubicBezTo>
                <a:cubicBezTo>
                  <a:pt x="359157" y="12423"/>
                  <a:pt x="361008" y="10804"/>
                  <a:pt x="352968" y="10804"/>
                </a:cubicBezTo>
                <a:close/>
              </a:path>
            </a:pathLst>
          </a:custGeom>
          <a:solidFill>
            <a:schemeClr val="tx1">
              <a:lumMod val="20000"/>
              <a:lumOff val="80000"/>
            </a:schemeClr>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 name="Forma libre: forma 44">
            <a:extLst>
              <a:ext uri="{FF2B5EF4-FFF2-40B4-BE49-F238E27FC236}">
                <a16:creationId xmlns:a16="http://schemas.microsoft.com/office/drawing/2014/main" id="{EF87BC7D-B19D-A976-EEDD-C5238D783D26}"/>
              </a:ext>
            </a:extLst>
          </p:cNvPr>
          <p:cNvSpPr/>
          <p:nvPr/>
        </p:nvSpPr>
        <p:spPr>
          <a:xfrm>
            <a:off x="7310023" y="4129234"/>
            <a:ext cx="47424" cy="51712"/>
          </a:xfrm>
          <a:custGeom>
            <a:avLst/>
            <a:gdLst>
              <a:gd name="connsiteX0" fmla="*/ 16488 w 47424"/>
              <a:gd name="connsiteY0" fmla="*/ 5771 h 51712"/>
              <a:gd name="connsiteX1" fmla="*/ 3184 w 47424"/>
              <a:gd name="connsiteY1" fmla="*/ 24802 h 51712"/>
              <a:gd name="connsiteX2" fmla="*/ 2375 w 47424"/>
              <a:gd name="connsiteY2" fmla="*/ 47940 h 51712"/>
              <a:gd name="connsiteX3" fmla="*/ 17703 w 47424"/>
              <a:gd name="connsiteY3" fmla="*/ 47072 h 51712"/>
              <a:gd name="connsiteX4" fmla="*/ 30545 w 47424"/>
              <a:gd name="connsiteY4" fmla="*/ 51584 h 51712"/>
              <a:gd name="connsiteX5" fmla="*/ 41824 w 47424"/>
              <a:gd name="connsiteY5" fmla="*/ 38048 h 51712"/>
              <a:gd name="connsiteX6" fmla="*/ 27189 w 47424"/>
              <a:gd name="connsiteY6" fmla="*/ 31801 h 51712"/>
              <a:gd name="connsiteX7" fmla="*/ 42981 w 47424"/>
              <a:gd name="connsiteY7" fmla="*/ 19307 h 51712"/>
              <a:gd name="connsiteX8" fmla="*/ 40552 w 47424"/>
              <a:gd name="connsiteY8" fmla="*/ 3168 h 51712"/>
              <a:gd name="connsiteX9" fmla="*/ 36908 w 47424"/>
              <a:gd name="connsiteY9" fmla="*/ -129 h 51712"/>
              <a:gd name="connsiteX10" fmla="*/ 29503 w 47424"/>
              <a:gd name="connsiteY10" fmla="*/ 5019 h 51712"/>
              <a:gd name="connsiteX11" fmla="*/ 16488 w 47424"/>
              <a:gd name="connsiteY11" fmla="*/ 5771 h 5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424" h="51712">
                <a:moveTo>
                  <a:pt x="16488" y="5771"/>
                </a:moveTo>
                <a:cubicBezTo>
                  <a:pt x="12497" y="12417"/>
                  <a:pt x="8043" y="18781"/>
                  <a:pt x="3184" y="24802"/>
                </a:cubicBezTo>
                <a:cubicBezTo>
                  <a:pt x="-2600" y="31570"/>
                  <a:pt x="639" y="44353"/>
                  <a:pt x="2375" y="47940"/>
                </a:cubicBezTo>
                <a:cubicBezTo>
                  <a:pt x="4110" y="51526"/>
                  <a:pt x="12555" y="50485"/>
                  <a:pt x="17703" y="47072"/>
                </a:cubicBezTo>
                <a:cubicBezTo>
                  <a:pt x="21637" y="44411"/>
                  <a:pt x="24645" y="45973"/>
                  <a:pt x="30545" y="51584"/>
                </a:cubicBezTo>
                <a:cubicBezTo>
                  <a:pt x="33957" y="46800"/>
                  <a:pt x="37718" y="42277"/>
                  <a:pt x="41824" y="38048"/>
                </a:cubicBezTo>
                <a:cubicBezTo>
                  <a:pt x="35114" y="34115"/>
                  <a:pt x="28867" y="33479"/>
                  <a:pt x="27189" y="31801"/>
                </a:cubicBezTo>
                <a:cubicBezTo>
                  <a:pt x="24413" y="29025"/>
                  <a:pt x="35288" y="20926"/>
                  <a:pt x="42981" y="19307"/>
                </a:cubicBezTo>
                <a:cubicBezTo>
                  <a:pt x="50675" y="17687"/>
                  <a:pt x="47030" y="8837"/>
                  <a:pt x="40552" y="3168"/>
                </a:cubicBezTo>
                <a:lnTo>
                  <a:pt x="36908" y="-129"/>
                </a:lnTo>
                <a:cubicBezTo>
                  <a:pt x="34189" y="1236"/>
                  <a:pt x="31701" y="2966"/>
                  <a:pt x="29503" y="5019"/>
                </a:cubicBezTo>
                <a:cubicBezTo>
                  <a:pt x="27537" y="7738"/>
                  <a:pt x="23025" y="6754"/>
                  <a:pt x="16488" y="5771"/>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 name="Forma libre: forma 45">
            <a:extLst>
              <a:ext uri="{FF2B5EF4-FFF2-40B4-BE49-F238E27FC236}">
                <a16:creationId xmlns:a16="http://schemas.microsoft.com/office/drawing/2014/main" id="{F5B995A4-DE83-4FE8-FC82-CB7965E7380B}"/>
              </a:ext>
            </a:extLst>
          </p:cNvPr>
          <p:cNvSpPr/>
          <p:nvPr/>
        </p:nvSpPr>
        <p:spPr>
          <a:xfrm>
            <a:off x="7165671" y="3979013"/>
            <a:ext cx="181253" cy="157170"/>
          </a:xfrm>
          <a:custGeom>
            <a:avLst/>
            <a:gdLst>
              <a:gd name="connsiteX0" fmla="*/ 29997 w 181253"/>
              <a:gd name="connsiteY0" fmla="*/ 24166 h 157170"/>
              <a:gd name="connsiteX1" fmla="*/ 14783 w 181253"/>
              <a:gd name="connsiteY1" fmla="*/ 39379 h 157170"/>
              <a:gd name="connsiteX2" fmla="*/ 4661 w 181253"/>
              <a:gd name="connsiteY2" fmla="*/ 66450 h 157170"/>
              <a:gd name="connsiteX3" fmla="*/ 2983 w 181253"/>
              <a:gd name="connsiteY3" fmla="*/ 103355 h 157170"/>
              <a:gd name="connsiteX4" fmla="*/ 25774 w 181253"/>
              <a:gd name="connsiteY4" fmla="*/ 104569 h 157170"/>
              <a:gd name="connsiteX5" fmla="*/ 34277 w 181253"/>
              <a:gd name="connsiteY5" fmla="*/ 96008 h 157170"/>
              <a:gd name="connsiteX6" fmla="*/ 47060 w 181253"/>
              <a:gd name="connsiteY6" fmla="*/ 92653 h 157170"/>
              <a:gd name="connsiteX7" fmla="*/ 64067 w 181253"/>
              <a:gd name="connsiteY7" fmla="*/ 99421 h 157170"/>
              <a:gd name="connsiteX8" fmla="*/ 75982 w 181253"/>
              <a:gd name="connsiteY8" fmla="*/ 99421 h 157170"/>
              <a:gd name="connsiteX9" fmla="*/ 103228 w 181253"/>
              <a:gd name="connsiteY9" fmla="*/ 99421 h 157170"/>
              <a:gd name="connsiteX10" fmla="*/ 161072 w 181253"/>
              <a:gd name="connsiteY10" fmla="*/ 155646 h 157170"/>
              <a:gd name="connsiteX11" fmla="*/ 160725 w 181253"/>
              <a:gd name="connsiteY11" fmla="*/ 156224 h 157170"/>
              <a:gd name="connsiteX12" fmla="*/ 173739 w 181253"/>
              <a:gd name="connsiteY12" fmla="*/ 155299 h 157170"/>
              <a:gd name="connsiteX13" fmla="*/ 181144 w 181253"/>
              <a:gd name="connsiteY13" fmla="*/ 150150 h 157170"/>
              <a:gd name="connsiteX14" fmla="*/ 152222 w 181253"/>
              <a:gd name="connsiteY14" fmla="*/ 117526 h 157170"/>
              <a:gd name="connsiteX15" fmla="*/ 108954 w 181253"/>
              <a:gd name="connsiteY15" fmla="*/ 87621 h 157170"/>
              <a:gd name="connsiteX16" fmla="*/ 91601 w 181253"/>
              <a:gd name="connsiteY16" fmla="*/ 70267 h 157170"/>
              <a:gd name="connsiteX17" fmla="*/ 71413 w 181253"/>
              <a:gd name="connsiteY17" fmla="*/ 30297 h 157170"/>
              <a:gd name="connsiteX18" fmla="*/ 56084 w 181253"/>
              <a:gd name="connsiteY18" fmla="*/ -129 h 157170"/>
              <a:gd name="connsiteX19" fmla="*/ 29997 w 181253"/>
              <a:gd name="connsiteY19" fmla="*/ 24166 h 15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1253" h="157170">
                <a:moveTo>
                  <a:pt x="29997" y="24166"/>
                </a:moveTo>
                <a:cubicBezTo>
                  <a:pt x="24906" y="29256"/>
                  <a:pt x="13106" y="30933"/>
                  <a:pt x="14783" y="39379"/>
                </a:cubicBezTo>
                <a:cubicBezTo>
                  <a:pt x="16461" y="47824"/>
                  <a:pt x="13106" y="56327"/>
                  <a:pt x="4661" y="66450"/>
                </a:cubicBezTo>
                <a:cubicBezTo>
                  <a:pt x="-3784" y="76573"/>
                  <a:pt x="1190" y="91554"/>
                  <a:pt x="2983" y="103355"/>
                </a:cubicBezTo>
                <a:cubicBezTo>
                  <a:pt x="13106" y="102660"/>
                  <a:pt x="23692" y="102429"/>
                  <a:pt x="25774" y="104569"/>
                </a:cubicBezTo>
                <a:cubicBezTo>
                  <a:pt x="30054" y="108792"/>
                  <a:pt x="31558" y="104569"/>
                  <a:pt x="34277" y="96008"/>
                </a:cubicBezTo>
                <a:cubicBezTo>
                  <a:pt x="36995" y="87447"/>
                  <a:pt x="41970" y="88373"/>
                  <a:pt x="47060" y="92653"/>
                </a:cubicBezTo>
                <a:cubicBezTo>
                  <a:pt x="52151" y="96934"/>
                  <a:pt x="55564" y="103702"/>
                  <a:pt x="64067" y="99421"/>
                </a:cubicBezTo>
                <a:cubicBezTo>
                  <a:pt x="72570" y="95140"/>
                  <a:pt x="71760" y="97743"/>
                  <a:pt x="75982" y="99421"/>
                </a:cubicBezTo>
                <a:cubicBezTo>
                  <a:pt x="80206" y="101099"/>
                  <a:pt x="97269" y="98611"/>
                  <a:pt x="103228" y="99421"/>
                </a:cubicBezTo>
                <a:cubicBezTo>
                  <a:pt x="109186" y="100231"/>
                  <a:pt x="161072" y="155646"/>
                  <a:pt x="161072" y="155646"/>
                </a:cubicBezTo>
                <a:lnTo>
                  <a:pt x="160725" y="156224"/>
                </a:lnTo>
                <a:cubicBezTo>
                  <a:pt x="167261" y="156976"/>
                  <a:pt x="171773" y="157960"/>
                  <a:pt x="173739" y="155299"/>
                </a:cubicBezTo>
                <a:cubicBezTo>
                  <a:pt x="175938" y="153245"/>
                  <a:pt x="178425" y="151516"/>
                  <a:pt x="181144" y="150150"/>
                </a:cubicBezTo>
                <a:cubicBezTo>
                  <a:pt x="170789" y="139947"/>
                  <a:pt x="161130" y="129049"/>
                  <a:pt x="152222" y="117526"/>
                </a:cubicBezTo>
                <a:cubicBezTo>
                  <a:pt x="136835" y="98090"/>
                  <a:pt x="118672" y="87621"/>
                  <a:pt x="108954" y="87621"/>
                </a:cubicBezTo>
                <a:cubicBezTo>
                  <a:pt x="99236" y="87621"/>
                  <a:pt x="97385" y="71077"/>
                  <a:pt x="91601" y="70267"/>
                </a:cubicBezTo>
                <a:cubicBezTo>
                  <a:pt x="85816" y="69458"/>
                  <a:pt x="71818" y="45568"/>
                  <a:pt x="71413" y="30297"/>
                </a:cubicBezTo>
                <a:cubicBezTo>
                  <a:pt x="71413" y="21621"/>
                  <a:pt x="64009" y="9589"/>
                  <a:pt x="56084" y="-129"/>
                </a:cubicBezTo>
                <a:cubicBezTo>
                  <a:pt x="46482" y="15257"/>
                  <a:pt x="33583" y="20637"/>
                  <a:pt x="29997" y="2416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 name="Forma libre: forma 46">
            <a:extLst>
              <a:ext uri="{FF2B5EF4-FFF2-40B4-BE49-F238E27FC236}">
                <a16:creationId xmlns:a16="http://schemas.microsoft.com/office/drawing/2014/main" id="{A6657985-7497-CFD5-DC27-AC804858DBD7}"/>
              </a:ext>
            </a:extLst>
          </p:cNvPr>
          <p:cNvSpPr/>
          <p:nvPr/>
        </p:nvSpPr>
        <p:spPr>
          <a:xfrm>
            <a:off x="7070566" y="4069061"/>
            <a:ext cx="405116" cy="315945"/>
          </a:xfrm>
          <a:custGeom>
            <a:avLst/>
            <a:gdLst>
              <a:gd name="connsiteX0" fmla="*/ 25494 w 405116"/>
              <a:gd name="connsiteY0" fmla="*/ 207721 h 315945"/>
              <a:gd name="connsiteX1" fmla="*/ 49094 w 405116"/>
              <a:gd name="connsiteY1" fmla="*/ 238089 h 315945"/>
              <a:gd name="connsiteX2" fmla="*/ 74430 w 405116"/>
              <a:gd name="connsiteY2" fmla="*/ 258393 h 315945"/>
              <a:gd name="connsiteX3" fmla="*/ 73967 w 405116"/>
              <a:gd name="connsiteY3" fmla="*/ 282340 h 315945"/>
              <a:gd name="connsiteX4" fmla="*/ 82875 w 405116"/>
              <a:gd name="connsiteY4" fmla="*/ 286100 h 315945"/>
              <a:gd name="connsiteX5" fmla="*/ 110756 w 405116"/>
              <a:gd name="connsiteY5" fmla="*/ 291537 h 315945"/>
              <a:gd name="connsiteX6" fmla="*/ 142223 w 405116"/>
              <a:gd name="connsiteY6" fmla="*/ 309700 h 315945"/>
              <a:gd name="connsiteX7" fmla="*/ 173807 w 405116"/>
              <a:gd name="connsiteY7" fmla="*/ 315485 h 315945"/>
              <a:gd name="connsiteX8" fmla="*/ 191970 w 405116"/>
              <a:gd name="connsiteY8" fmla="*/ 300908 h 315945"/>
              <a:gd name="connsiteX9" fmla="*/ 215570 w 405116"/>
              <a:gd name="connsiteY9" fmla="*/ 296107 h 315945"/>
              <a:gd name="connsiteX10" fmla="*/ 228932 w 405116"/>
              <a:gd name="connsiteY10" fmla="*/ 301544 h 315945"/>
              <a:gd name="connsiteX11" fmla="*/ 242526 w 405116"/>
              <a:gd name="connsiteY11" fmla="*/ 297727 h 315945"/>
              <a:gd name="connsiteX12" fmla="*/ 264680 w 405116"/>
              <a:gd name="connsiteY12" fmla="*/ 294256 h 315945"/>
              <a:gd name="connsiteX13" fmla="*/ 300370 w 405116"/>
              <a:gd name="connsiteY13" fmla="*/ 275514 h 315945"/>
              <a:gd name="connsiteX14" fmla="*/ 330680 w 405116"/>
              <a:gd name="connsiteY14" fmla="*/ 270019 h 315945"/>
              <a:gd name="connsiteX15" fmla="*/ 403332 w 405116"/>
              <a:gd name="connsiteY15" fmla="*/ 197366 h 315945"/>
              <a:gd name="connsiteX16" fmla="*/ 393673 w 405116"/>
              <a:gd name="connsiteY16" fmla="*/ 191582 h 315945"/>
              <a:gd name="connsiteX17" fmla="*/ 356132 w 405116"/>
              <a:gd name="connsiteY17" fmla="*/ 183079 h 315945"/>
              <a:gd name="connsiteX18" fmla="*/ 301006 w 405116"/>
              <a:gd name="connsiteY18" fmla="*/ 163701 h 315945"/>
              <a:gd name="connsiteX19" fmla="*/ 282843 w 405116"/>
              <a:gd name="connsiteY19" fmla="*/ 147389 h 315945"/>
              <a:gd name="connsiteX20" fmla="*/ 265836 w 405116"/>
              <a:gd name="connsiteY20" fmla="*/ 122516 h 315945"/>
              <a:gd name="connsiteX21" fmla="*/ 270002 w 405116"/>
              <a:gd name="connsiteY21" fmla="*/ 112394 h 315945"/>
              <a:gd name="connsiteX22" fmla="*/ 257160 w 405116"/>
              <a:gd name="connsiteY22" fmla="*/ 107882 h 315945"/>
              <a:gd name="connsiteX23" fmla="*/ 241831 w 405116"/>
              <a:gd name="connsiteY23" fmla="*/ 108749 h 315945"/>
              <a:gd name="connsiteX24" fmla="*/ 242641 w 405116"/>
              <a:gd name="connsiteY24" fmla="*/ 85612 h 315945"/>
              <a:gd name="connsiteX25" fmla="*/ 256293 w 405116"/>
              <a:gd name="connsiteY25" fmla="*/ 66002 h 315945"/>
              <a:gd name="connsiteX26" fmla="*/ 198448 w 405116"/>
              <a:gd name="connsiteY26" fmla="*/ 9777 h 315945"/>
              <a:gd name="connsiteX27" fmla="*/ 171203 w 405116"/>
              <a:gd name="connsiteY27" fmla="*/ 9777 h 315945"/>
              <a:gd name="connsiteX28" fmla="*/ 159288 w 405116"/>
              <a:gd name="connsiteY28" fmla="*/ 9777 h 315945"/>
              <a:gd name="connsiteX29" fmla="*/ 142281 w 405116"/>
              <a:gd name="connsiteY29" fmla="*/ 3010 h 315945"/>
              <a:gd name="connsiteX30" fmla="*/ 129498 w 405116"/>
              <a:gd name="connsiteY30" fmla="*/ 6365 h 315945"/>
              <a:gd name="connsiteX31" fmla="*/ 120995 w 405116"/>
              <a:gd name="connsiteY31" fmla="*/ 14926 h 315945"/>
              <a:gd name="connsiteX32" fmla="*/ 98204 w 405116"/>
              <a:gd name="connsiteY32" fmla="*/ 13711 h 315945"/>
              <a:gd name="connsiteX33" fmla="*/ 98204 w 405116"/>
              <a:gd name="connsiteY33" fmla="*/ 13711 h 315945"/>
              <a:gd name="connsiteX34" fmla="*/ 88023 w 405116"/>
              <a:gd name="connsiteY34" fmla="*/ 45757 h 315945"/>
              <a:gd name="connsiteX35" fmla="*/ 76454 w 405116"/>
              <a:gd name="connsiteY35" fmla="*/ 59292 h 315945"/>
              <a:gd name="connsiteX36" fmla="*/ 59564 w 405116"/>
              <a:gd name="connsiteY36" fmla="*/ 79538 h 315945"/>
              <a:gd name="connsiteX37" fmla="*/ 51118 w 405116"/>
              <a:gd name="connsiteY37" fmla="*/ 106609 h 315945"/>
              <a:gd name="connsiteX38" fmla="*/ 39549 w 405116"/>
              <a:gd name="connsiteY38" fmla="*/ 118178 h 315945"/>
              <a:gd name="connsiteX39" fmla="*/ 31104 w 405116"/>
              <a:gd name="connsiteY39" fmla="*/ 143513 h 315945"/>
              <a:gd name="connsiteX40" fmla="*/ 27692 w 405116"/>
              <a:gd name="connsiteY40" fmla="*/ 173940 h 315945"/>
              <a:gd name="connsiteX41" fmla="*/ 5769 w 405116"/>
              <a:gd name="connsiteY41" fmla="*/ 178972 h 315945"/>
              <a:gd name="connsiteX42" fmla="*/ 678 w 405116"/>
              <a:gd name="connsiteY42" fmla="*/ 194243 h 315945"/>
              <a:gd name="connsiteX43" fmla="*/ 25494 w 405116"/>
              <a:gd name="connsiteY43" fmla="*/ 207721 h 31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05116" h="315945">
                <a:moveTo>
                  <a:pt x="25494" y="207721"/>
                </a:moveTo>
                <a:cubicBezTo>
                  <a:pt x="28848" y="216166"/>
                  <a:pt x="44004" y="224553"/>
                  <a:pt x="49094" y="238089"/>
                </a:cubicBezTo>
                <a:cubicBezTo>
                  <a:pt x="53143" y="249004"/>
                  <a:pt x="62919" y="256802"/>
                  <a:pt x="74430" y="258393"/>
                </a:cubicBezTo>
                <a:cubicBezTo>
                  <a:pt x="79462" y="258393"/>
                  <a:pt x="76050" y="266895"/>
                  <a:pt x="73967" y="282340"/>
                </a:cubicBezTo>
                <a:cubicBezTo>
                  <a:pt x="76975" y="283439"/>
                  <a:pt x="79983" y="284694"/>
                  <a:pt x="82875" y="286100"/>
                </a:cubicBezTo>
                <a:cubicBezTo>
                  <a:pt x="87156" y="288529"/>
                  <a:pt x="104682" y="286100"/>
                  <a:pt x="110756" y="291537"/>
                </a:cubicBezTo>
                <a:cubicBezTo>
                  <a:pt x="116829" y="296975"/>
                  <a:pt x="136208" y="309700"/>
                  <a:pt x="142223" y="309700"/>
                </a:cubicBezTo>
                <a:cubicBezTo>
                  <a:pt x="152982" y="310232"/>
                  <a:pt x="163568" y="312176"/>
                  <a:pt x="173807" y="315485"/>
                </a:cubicBezTo>
                <a:cubicBezTo>
                  <a:pt x="177451" y="317914"/>
                  <a:pt x="182252" y="306403"/>
                  <a:pt x="191970" y="300908"/>
                </a:cubicBezTo>
                <a:cubicBezTo>
                  <a:pt x="201687" y="295413"/>
                  <a:pt x="213776" y="291826"/>
                  <a:pt x="215570" y="296107"/>
                </a:cubicBezTo>
                <a:cubicBezTo>
                  <a:pt x="218000" y="301035"/>
                  <a:pt x="223726" y="303372"/>
                  <a:pt x="228932" y="301544"/>
                </a:cubicBezTo>
                <a:cubicBezTo>
                  <a:pt x="233328" y="299867"/>
                  <a:pt x="237898" y="298588"/>
                  <a:pt x="242526" y="297727"/>
                </a:cubicBezTo>
                <a:cubicBezTo>
                  <a:pt x="249756" y="295847"/>
                  <a:pt x="257218" y="294684"/>
                  <a:pt x="264680" y="294256"/>
                </a:cubicBezTo>
                <a:cubicBezTo>
                  <a:pt x="269480" y="294834"/>
                  <a:pt x="282843" y="275514"/>
                  <a:pt x="300370" y="275514"/>
                </a:cubicBezTo>
                <a:cubicBezTo>
                  <a:pt x="317896" y="275514"/>
                  <a:pt x="322813" y="278522"/>
                  <a:pt x="330680" y="270019"/>
                </a:cubicBezTo>
                <a:cubicBezTo>
                  <a:pt x="338547" y="261516"/>
                  <a:pt x="397895" y="201589"/>
                  <a:pt x="403332" y="197366"/>
                </a:cubicBezTo>
                <a:cubicBezTo>
                  <a:pt x="408770" y="193144"/>
                  <a:pt x="399746" y="191582"/>
                  <a:pt x="393673" y="191582"/>
                </a:cubicBezTo>
                <a:cubicBezTo>
                  <a:pt x="380716" y="191287"/>
                  <a:pt x="367932" y="188395"/>
                  <a:pt x="356132" y="183079"/>
                </a:cubicBezTo>
                <a:cubicBezTo>
                  <a:pt x="336753" y="175212"/>
                  <a:pt x="306443" y="164916"/>
                  <a:pt x="301006" y="163701"/>
                </a:cubicBezTo>
                <a:cubicBezTo>
                  <a:pt x="295568" y="162487"/>
                  <a:pt x="287644" y="149761"/>
                  <a:pt x="282843" y="147389"/>
                </a:cubicBezTo>
                <a:cubicBezTo>
                  <a:pt x="278042" y="145017"/>
                  <a:pt x="268266" y="128011"/>
                  <a:pt x="265836" y="122516"/>
                </a:cubicBezTo>
                <a:cubicBezTo>
                  <a:pt x="265027" y="120665"/>
                  <a:pt x="266936" y="116732"/>
                  <a:pt x="270002" y="112394"/>
                </a:cubicBezTo>
                <a:cubicBezTo>
                  <a:pt x="264217" y="106609"/>
                  <a:pt x="261093" y="105221"/>
                  <a:pt x="257160" y="107882"/>
                </a:cubicBezTo>
                <a:cubicBezTo>
                  <a:pt x="252012" y="111295"/>
                  <a:pt x="243508" y="112162"/>
                  <a:pt x="241831" y="108749"/>
                </a:cubicBezTo>
                <a:cubicBezTo>
                  <a:pt x="240154" y="105336"/>
                  <a:pt x="236683" y="92553"/>
                  <a:pt x="242641" y="85612"/>
                </a:cubicBezTo>
                <a:cubicBezTo>
                  <a:pt x="247616" y="79387"/>
                  <a:pt x="252185" y="72840"/>
                  <a:pt x="256293" y="66002"/>
                </a:cubicBezTo>
                <a:cubicBezTo>
                  <a:pt x="256293" y="66002"/>
                  <a:pt x="204233" y="10645"/>
                  <a:pt x="198448" y="9777"/>
                </a:cubicBezTo>
                <a:cubicBezTo>
                  <a:pt x="192664" y="8910"/>
                  <a:pt x="175311" y="11513"/>
                  <a:pt x="171203" y="9777"/>
                </a:cubicBezTo>
                <a:cubicBezTo>
                  <a:pt x="167096" y="8042"/>
                  <a:pt x="167848" y="5555"/>
                  <a:pt x="159288" y="9777"/>
                </a:cubicBezTo>
                <a:cubicBezTo>
                  <a:pt x="150727" y="14000"/>
                  <a:pt x="147719" y="7232"/>
                  <a:pt x="142281" y="3010"/>
                </a:cubicBezTo>
                <a:cubicBezTo>
                  <a:pt x="136844" y="-1213"/>
                  <a:pt x="132042" y="-2138"/>
                  <a:pt x="129498" y="6365"/>
                </a:cubicBezTo>
                <a:cubicBezTo>
                  <a:pt x="126952" y="14868"/>
                  <a:pt x="125275" y="19148"/>
                  <a:pt x="120995" y="14926"/>
                </a:cubicBezTo>
                <a:cubicBezTo>
                  <a:pt x="118912" y="12786"/>
                  <a:pt x="108326" y="13017"/>
                  <a:pt x="98204" y="13711"/>
                </a:cubicBezTo>
                <a:lnTo>
                  <a:pt x="98204" y="13711"/>
                </a:lnTo>
                <a:cubicBezTo>
                  <a:pt x="99881" y="25280"/>
                  <a:pt x="88023" y="38989"/>
                  <a:pt x="88023" y="45757"/>
                </a:cubicBezTo>
                <a:cubicBezTo>
                  <a:pt x="87734" y="52391"/>
                  <a:pt x="82933" y="57974"/>
                  <a:pt x="76454" y="59292"/>
                </a:cubicBezTo>
                <a:cubicBezTo>
                  <a:pt x="71422" y="59292"/>
                  <a:pt x="66331" y="72828"/>
                  <a:pt x="59564" y="79538"/>
                </a:cubicBezTo>
                <a:cubicBezTo>
                  <a:pt x="52796" y="86248"/>
                  <a:pt x="57886" y="101519"/>
                  <a:pt x="51118" y="106609"/>
                </a:cubicBezTo>
                <a:cubicBezTo>
                  <a:pt x="44351" y="111699"/>
                  <a:pt x="34286" y="113319"/>
                  <a:pt x="39549" y="118178"/>
                </a:cubicBezTo>
                <a:cubicBezTo>
                  <a:pt x="44813" y="123037"/>
                  <a:pt x="31104" y="133449"/>
                  <a:pt x="31104" y="143513"/>
                </a:cubicBezTo>
                <a:cubicBezTo>
                  <a:pt x="31104" y="153579"/>
                  <a:pt x="29427" y="172436"/>
                  <a:pt x="27692" y="173940"/>
                </a:cubicBezTo>
                <a:cubicBezTo>
                  <a:pt x="25956" y="175444"/>
                  <a:pt x="5769" y="170585"/>
                  <a:pt x="5769" y="178972"/>
                </a:cubicBezTo>
                <a:cubicBezTo>
                  <a:pt x="5769" y="187360"/>
                  <a:pt x="-2676" y="187417"/>
                  <a:pt x="678" y="194243"/>
                </a:cubicBezTo>
                <a:cubicBezTo>
                  <a:pt x="4033" y="201069"/>
                  <a:pt x="22081" y="199275"/>
                  <a:pt x="25494" y="20772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8" name="Forma libre: forma 47">
            <a:extLst>
              <a:ext uri="{FF2B5EF4-FFF2-40B4-BE49-F238E27FC236}">
                <a16:creationId xmlns:a16="http://schemas.microsoft.com/office/drawing/2014/main" id="{4851F167-0262-79FE-9957-55CB53EAD75A}"/>
              </a:ext>
            </a:extLst>
          </p:cNvPr>
          <p:cNvSpPr/>
          <p:nvPr/>
        </p:nvSpPr>
        <p:spPr>
          <a:xfrm>
            <a:off x="7132090" y="3482380"/>
            <a:ext cx="37540" cy="50306"/>
          </a:xfrm>
          <a:custGeom>
            <a:avLst/>
            <a:gdLst>
              <a:gd name="connsiteX0" fmla="*/ 33729 w 37540"/>
              <a:gd name="connsiteY0" fmla="*/ 21139 h 50306"/>
              <a:gd name="connsiteX1" fmla="*/ 20483 w 37540"/>
              <a:gd name="connsiteY1" fmla="*/ -90 h 50306"/>
              <a:gd name="connsiteX2" fmla="*/ 20194 w 37540"/>
              <a:gd name="connsiteY2" fmla="*/ 3497 h 50306"/>
              <a:gd name="connsiteX3" fmla="*/ -110 w 37540"/>
              <a:gd name="connsiteY3" fmla="*/ 44393 h 50306"/>
              <a:gd name="connsiteX4" fmla="*/ 12790 w 37540"/>
              <a:gd name="connsiteY4" fmla="*/ 50177 h 50306"/>
              <a:gd name="connsiteX5" fmla="*/ 33729 w 37540"/>
              <a:gd name="connsiteY5" fmla="*/ 21139 h 5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40" h="50306">
                <a:moveTo>
                  <a:pt x="33729" y="21139"/>
                </a:moveTo>
                <a:cubicBezTo>
                  <a:pt x="38820" y="16627"/>
                  <a:pt x="41885" y="-1073"/>
                  <a:pt x="20483" y="-90"/>
                </a:cubicBezTo>
                <a:cubicBezTo>
                  <a:pt x="20310" y="1096"/>
                  <a:pt x="20194" y="2294"/>
                  <a:pt x="20194" y="3497"/>
                </a:cubicBezTo>
                <a:cubicBezTo>
                  <a:pt x="20194" y="11653"/>
                  <a:pt x="7121" y="28833"/>
                  <a:pt x="-110" y="44393"/>
                </a:cubicBezTo>
                <a:lnTo>
                  <a:pt x="12790" y="50177"/>
                </a:lnTo>
                <a:cubicBezTo>
                  <a:pt x="18574" y="39673"/>
                  <a:pt x="25574" y="29920"/>
                  <a:pt x="33729" y="2113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9" name="Forma libre: forma 48">
            <a:extLst>
              <a:ext uri="{FF2B5EF4-FFF2-40B4-BE49-F238E27FC236}">
                <a16:creationId xmlns:a16="http://schemas.microsoft.com/office/drawing/2014/main" id="{89CE4BAA-BCCE-EDAF-1D68-4A1CCAB5B858}"/>
              </a:ext>
            </a:extLst>
          </p:cNvPr>
          <p:cNvSpPr/>
          <p:nvPr/>
        </p:nvSpPr>
        <p:spPr>
          <a:xfrm>
            <a:off x="7144989" y="3406181"/>
            <a:ext cx="188051" cy="149585"/>
          </a:xfrm>
          <a:custGeom>
            <a:avLst/>
            <a:gdLst>
              <a:gd name="connsiteX0" fmla="*/ 20830 w 188051"/>
              <a:gd name="connsiteY0" fmla="*/ 97338 h 149585"/>
              <a:gd name="connsiteX1" fmla="*/ -110 w 188051"/>
              <a:gd name="connsiteY1" fmla="*/ 126261 h 149585"/>
              <a:gd name="connsiteX2" fmla="*/ 1279 w 188051"/>
              <a:gd name="connsiteY2" fmla="*/ 126781 h 149585"/>
              <a:gd name="connsiteX3" fmla="*/ 3477 w 188051"/>
              <a:gd name="connsiteY3" fmla="*/ 136557 h 149585"/>
              <a:gd name="connsiteX4" fmla="*/ 28234 w 188051"/>
              <a:gd name="connsiteY4" fmla="*/ 149456 h 149585"/>
              <a:gd name="connsiteX5" fmla="*/ 54148 w 188051"/>
              <a:gd name="connsiteY5" fmla="*/ 135458 h 149585"/>
              <a:gd name="connsiteX6" fmla="*/ 147972 w 188051"/>
              <a:gd name="connsiteY6" fmla="*/ 87968 h 149585"/>
              <a:gd name="connsiteX7" fmla="*/ 154451 w 188051"/>
              <a:gd name="connsiteY7" fmla="*/ 71829 h 149585"/>
              <a:gd name="connsiteX8" fmla="*/ 156591 w 188051"/>
              <a:gd name="connsiteY8" fmla="*/ 50253 h 149585"/>
              <a:gd name="connsiteX9" fmla="*/ 154451 w 188051"/>
              <a:gd name="connsiteY9" fmla="*/ 27578 h 149585"/>
              <a:gd name="connsiteX10" fmla="*/ 171804 w 188051"/>
              <a:gd name="connsiteY10" fmla="*/ 14679 h 149585"/>
              <a:gd name="connsiteX11" fmla="*/ 187942 w 188051"/>
              <a:gd name="connsiteY11" fmla="*/ 3110 h 149585"/>
              <a:gd name="connsiteX12" fmla="*/ 177241 w 188051"/>
              <a:gd name="connsiteY12" fmla="*/ -129 h 149585"/>
              <a:gd name="connsiteX13" fmla="*/ 146989 w 188051"/>
              <a:gd name="connsiteY13" fmla="*/ 4151 h 149585"/>
              <a:gd name="connsiteX14" fmla="*/ 110316 w 188051"/>
              <a:gd name="connsiteY14" fmla="*/ 14968 h 149585"/>
              <a:gd name="connsiteX15" fmla="*/ 79080 w 188051"/>
              <a:gd name="connsiteY15" fmla="*/ 13869 h 149585"/>
              <a:gd name="connsiteX16" fmla="*/ 61726 w 188051"/>
              <a:gd name="connsiteY16" fmla="*/ 17108 h 149585"/>
              <a:gd name="connsiteX17" fmla="*/ 36911 w 188051"/>
              <a:gd name="connsiteY17" fmla="*/ 17108 h 149585"/>
              <a:gd name="connsiteX18" fmla="*/ 26152 w 188051"/>
              <a:gd name="connsiteY18" fmla="*/ 23529 h 149585"/>
              <a:gd name="connsiteX19" fmla="*/ 10013 w 188051"/>
              <a:gd name="connsiteY19" fmla="*/ 42502 h 149585"/>
              <a:gd name="connsiteX20" fmla="*/ 10013 w 188051"/>
              <a:gd name="connsiteY20" fmla="*/ 56327 h 149585"/>
              <a:gd name="connsiteX21" fmla="*/ 7931 w 188051"/>
              <a:gd name="connsiteY21" fmla="*/ 76515 h 149585"/>
              <a:gd name="connsiteX22" fmla="*/ 20830 w 188051"/>
              <a:gd name="connsiteY22" fmla="*/ 97338 h 14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8051" h="149585">
                <a:moveTo>
                  <a:pt x="20830" y="97338"/>
                </a:moveTo>
                <a:cubicBezTo>
                  <a:pt x="12675" y="106085"/>
                  <a:pt x="5675" y="115797"/>
                  <a:pt x="-110" y="126261"/>
                </a:cubicBezTo>
                <a:lnTo>
                  <a:pt x="1279" y="126781"/>
                </a:lnTo>
                <a:lnTo>
                  <a:pt x="3477" y="136557"/>
                </a:lnTo>
                <a:lnTo>
                  <a:pt x="28234" y="149456"/>
                </a:lnTo>
                <a:cubicBezTo>
                  <a:pt x="28234" y="149456"/>
                  <a:pt x="46571" y="136557"/>
                  <a:pt x="54148" y="135458"/>
                </a:cubicBezTo>
                <a:cubicBezTo>
                  <a:pt x="61726" y="134359"/>
                  <a:pt x="147972" y="87968"/>
                  <a:pt x="147972" y="87968"/>
                </a:cubicBezTo>
                <a:cubicBezTo>
                  <a:pt x="147972" y="87968"/>
                  <a:pt x="155492" y="76110"/>
                  <a:pt x="154451" y="71829"/>
                </a:cubicBezTo>
                <a:cubicBezTo>
                  <a:pt x="153409" y="67549"/>
                  <a:pt x="152310" y="55633"/>
                  <a:pt x="156591" y="50253"/>
                </a:cubicBezTo>
                <a:cubicBezTo>
                  <a:pt x="160872" y="44874"/>
                  <a:pt x="151211" y="36197"/>
                  <a:pt x="154451" y="27578"/>
                </a:cubicBezTo>
                <a:cubicBezTo>
                  <a:pt x="157690" y="18960"/>
                  <a:pt x="171804" y="14679"/>
                  <a:pt x="171804" y="14679"/>
                </a:cubicBezTo>
                <a:lnTo>
                  <a:pt x="187942" y="3110"/>
                </a:lnTo>
                <a:lnTo>
                  <a:pt x="177241" y="-129"/>
                </a:lnTo>
                <a:cubicBezTo>
                  <a:pt x="167523" y="3243"/>
                  <a:pt x="157227" y="4695"/>
                  <a:pt x="146989" y="4151"/>
                </a:cubicBezTo>
                <a:cubicBezTo>
                  <a:pt x="130850" y="3110"/>
                  <a:pt x="127611" y="14968"/>
                  <a:pt x="110316" y="14968"/>
                </a:cubicBezTo>
                <a:cubicBezTo>
                  <a:pt x="93020" y="14968"/>
                  <a:pt x="83360" y="19249"/>
                  <a:pt x="79080" y="13869"/>
                </a:cubicBezTo>
                <a:cubicBezTo>
                  <a:pt x="74799" y="8490"/>
                  <a:pt x="73642" y="11729"/>
                  <a:pt x="61726" y="17108"/>
                </a:cubicBezTo>
                <a:cubicBezTo>
                  <a:pt x="49810" y="22488"/>
                  <a:pt x="42349" y="21447"/>
                  <a:pt x="36911" y="17108"/>
                </a:cubicBezTo>
                <a:cubicBezTo>
                  <a:pt x="31474" y="12770"/>
                  <a:pt x="27251" y="18208"/>
                  <a:pt x="26152" y="23529"/>
                </a:cubicBezTo>
                <a:cubicBezTo>
                  <a:pt x="25053" y="28851"/>
                  <a:pt x="26730" y="40246"/>
                  <a:pt x="10013" y="42502"/>
                </a:cubicBezTo>
                <a:cubicBezTo>
                  <a:pt x="8857" y="47477"/>
                  <a:pt x="6890" y="52683"/>
                  <a:pt x="10013" y="56327"/>
                </a:cubicBezTo>
                <a:cubicBezTo>
                  <a:pt x="14352" y="61591"/>
                  <a:pt x="9203" y="67896"/>
                  <a:pt x="7931" y="76515"/>
                </a:cubicBezTo>
                <a:cubicBezTo>
                  <a:pt x="28986" y="75184"/>
                  <a:pt x="25920" y="92827"/>
                  <a:pt x="20830" y="9733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0" name="Forma libre: forma 49">
            <a:extLst>
              <a:ext uri="{FF2B5EF4-FFF2-40B4-BE49-F238E27FC236}">
                <a16:creationId xmlns:a16="http://schemas.microsoft.com/office/drawing/2014/main" id="{C3752CC5-97EE-A2B0-EDCD-B9BCB8D1D756}"/>
              </a:ext>
            </a:extLst>
          </p:cNvPr>
          <p:cNvSpPr/>
          <p:nvPr/>
        </p:nvSpPr>
        <p:spPr>
          <a:xfrm>
            <a:off x="9608647" y="3372110"/>
            <a:ext cx="96473" cy="126788"/>
          </a:xfrm>
          <a:custGeom>
            <a:avLst/>
            <a:gdLst>
              <a:gd name="connsiteX0" fmla="*/ 20356 w 96473"/>
              <a:gd name="connsiteY0" fmla="*/ 10919 h 126788"/>
              <a:gd name="connsiteX1" fmla="*/ 4275 w 96473"/>
              <a:gd name="connsiteY1" fmla="*/ 23009 h 126788"/>
              <a:gd name="connsiteX2" fmla="*/ 12778 w 96473"/>
              <a:gd name="connsiteY2" fmla="*/ 37470 h 126788"/>
              <a:gd name="connsiteX3" fmla="*/ 17753 w 96473"/>
              <a:gd name="connsiteY3" fmla="*/ 44064 h 126788"/>
              <a:gd name="connsiteX4" fmla="*/ 11158 w 96473"/>
              <a:gd name="connsiteY4" fmla="*/ 49039 h 126788"/>
              <a:gd name="connsiteX5" fmla="*/ 9944 w 96473"/>
              <a:gd name="connsiteY5" fmla="*/ 74085 h 126788"/>
              <a:gd name="connsiteX6" fmla="*/ 1036 w 96473"/>
              <a:gd name="connsiteY6" fmla="*/ 107230 h 126788"/>
              <a:gd name="connsiteX7" fmla="*/ 5085 w 96473"/>
              <a:gd name="connsiteY7" fmla="*/ 125393 h 126788"/>
              <a:gd name="connsiteX8" fmla="*/ 57145 w 96473"/>
              <a:gd name="connsiteY8" fmla="*/ 108445 h 126788"/>
              <a:gd name="connsiteX9" fmla="*/ 83811 w 96473"/>
              <a:gd name="connsiteY9" fmla="*/ 96876 h 126788"/>
              <a:gd name="connsiteX10" fmla="*/ 95380 w 96473"/>
              <a:gd name="connsiteY10" fmla="*/ 85307 h 126788"/>
              <a:gd name="connsiteX11" fmla="*/ 88150 w 96473"/>
              <a:gd name="connsiteY11" fmla="*/ 45741 h 126788"/>
              <a:gd name="connsiteX12" fmla="*/ 59864 w 96473"/>
              <a:gd name="connsiteY12" fmla="*/ -129 h 126788"/>
              <a:gd name="connsiteX13" fmla="*/ 45402 w 96473"/>
              <a:gd name="connsiteY13" fmla="*/ 5308 h 126788"/>
              <a:gd name="connsiteX14" fmla="*/ 20356 w 96473"/>
              <a:gd name="connsiteY14" fmla="*/ 10919 h 12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473" h="126788">
                <a:moveTo>
                  <a:pt x="20356" y="10919"/>
                </a:moveTo>
                <a:cubicBezTo>
                  <a:pt x="17869" y="13407"/>
                  <a:pt x="10580" y="17918"/>
                  <a:pt x="4275" y="23009"/>
                </a:cubicBezTo>
                <a:cubicBezTo>
                  <a:pt x="7341" y="28157"/>
                  <a:pt x="6762" y="36949"/>
                  <a:pt x="12778" y="37470"/>
                </a:cubicBezTo>
                <a:cubicBezTo>
                  <a:pt x="15960" y="37915"/>
                  <a:pt x="18216" y="40871"/>
                  <a:pt x="17753" y="44064"/>
                </a:cubicBezTo>
                <a:cubicBezTo>
                  <a:pt x="17290" y="47257"/>
                  <a:pt x="14340" y="49484"/>
                  <a:pt x="11158" y="49039"/>
                </a:cubicBezTo>
                <a:cubicBezTo>
                  <a:pt x="1846" y="47014"/>
                  <a:pt x="1846" y="61591"/>
                  <a:pt x="9944" y="74085"/>
                </a:cubicBezTo>
                <a:cubicBezTo>
                  <a:pt x="18042" y="86580"/>
                  <a:pt x="-5443" y="100751"/>
                  <a:pt x="1036" y="107230"/>
                </a:cubicBezTo>
                <a:cubicBezTo>
                  <a:pt x="7514" y="113709"/>
                  <a:pt x="2251" y="121344"/>
                  <a:pt x="5085" y="125393"/>
                </a:cubicBezTo>
                <a:cubicBezTo>
                  <a:pt x="7920" y="129442"/>
                  <a:pt x="42221" y="123774"/>
                  <a:pt x="57145" y="108445"/>
                </a:cubicBezTo>
                <a:cubicBezTo>
                  <a:pt x="72069" y="93116"/>
                  <a:pt x="76175" y="95083"/>
                  <a:pt x="83811" y="96876"/>
                </a:cubicBezTo>
                <a:cubicBezTo>
                  <a:pt x="91446" y="98669"/>
                  <a:pt x="99140" y="91091"/>
                  <a:pt x="95380" y="85307"/>
                </a:cubicBezTo>
                <a:cubicBezTo>
                  <a:pt x="89248" y="73085"/>
                  <a:pt x="86703" y="59352"/>
                  <a:pt x="88150" y="45741"/>
                </a:cubicBezTo>
                <a:cubicBezTo>
                  <a:pt x="88844" y="34983"/>
                  <a:pt x="74151" y="15431"/>
                  <a:pt x="59864" y="-129"/>
                </a:cubicBezTo>
                <a:cubicBezTo>
                  <a:pt x="55930" y="3446"/>
                  <a:pt x="50724" y="5389"/>
                  <a:pt x="45402" y="5308"/>
                </a:cubicBezTo>
                <a:cubicBezTo>
                  <a:pt x="35396" y="5482"/>
                  <a:pt x="24463" y="6523"/>
                  <a:pt x="20356" y="1091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1" name="Forma libre: forma 50">
            <a:extLst>
              <a:ext uri="{FF2B5EF4-FFF2-40B4-BE49-F238E27FC236}">
                <a16:creationId xmlns:a16="http://schemas.microsoft.com/office/drawing/2014/main" id="{91FC75E8-2FA1-DD39-BBE5-C3EB67BD5628}"/>
              </a:ext>
            </a:extLst>
          </p:cNvPr>
          <p:cNvSpPr/>
          <p:nvPr/>
        </p:nvSpPr>
        <p:spPr>
          <a:xfrm>
            <a:off x="8582849" y="3744801"/>
            <a:ext cx="114739" cy="153518"/>
          </a:xfrm>
          <a:custGeom>
            <a:avLst/>
            <a:gdLst>
              <a:gd name="connsiteX0" fmla="*/ 114630 w 114739"/>
              <a:gd name="connsiteY0" fmla="*/ 127128 h 153518"/>
              <a:gd name="connsiteX1" fmla="*/ 103581 w 114739"/>
              <a:gd name="connsiteY1" fmla="*/ 74432 h 153518"/>
              <a:gd name="connsiteX2" fmla="*/ 83972 w 114739"/>
              <a:gd name="connsiteY2" fmla="*/ 95661 h 153518"/>
              <a:gd name="connsiteX3" fmla="*/ 85592 w 114739"/>
              <a:gd name="connsiteY3" fmla="*/ 66276 h 153518"/>
              <a:gd name="connsiteX4" fmla="*/ 106821 w 114739"/>
              <a:gd name="connsiteY4" fmla="*/ 38395 h 153518"/>
              <a:gd name="connsiteX5" fmla="*/ 87212 w 114739"/>
              <a:gd name="connsiteY5" fmla="*/ 31859 h 153518"/>
              <a:gd name="connsiteX6" fmla="*/ 56149 w 114739"/>
              <a:gd name="connsiteY6" fmla="*/ 33536 h 153518"/>
              <a:gd name="connsiteX7" fmla="*/ 43018 w 114739"/>
              <a:gd name="connsiteY7" fmla="*/ 20406 h 153518"/>
              <a:gd name="connsiteX8" fmla="*/ 25029 w 114739"/>
              <a:gd name="connsiteY8" fmla="*/ 5655 h 153518"/>
              <a:gd name="connsiteX9" fmla="*/ 1891 w 114739"/>
              <a:gd name="connsiteY9" fmla="*/ 5655 h 153518"/>
              <a:gd name="connsiteX10" fmla="*/ 19881 w 114739"/>
              <a:gd name="connsiteY10" fmla="*/ 28793 h 153518"/>
              <a:gd name="connsiteX11" fmla="*/ 5188 w 114739"/>
              <a:gd name="connsiteY11" fmla="*/ 40362 h 153518"/>
              <a:gd name="connsiteX12" fmla="*/ 11724 w 114739"/>
              <a:gd name="connsiteY12" fmla="*/ 81258 h 153518"/>
              <a:gd name="connsiteX13" fmla="*/ 21327 w 114739"/>
              <a:gd name="connsiteY13" fmla="*/ 131235 h 153518"/>
              <a:gd name="connsiteX14" fmla="*/ 39606 w 114739"/>
              <a:gd name="connsiteY14" fmla="*/ 126261 h 153518"/>
              <a:gd name="connsiteX15" fmla="*/ 61413 w 114739"/>
              <a:gd name="connsiteY15" fmla="*/ 115733 h 153518"/>
              <a:gd name="connsiteX16" fmla="*/ 77957 w 114739"/>
              <a:gd name="connsiteY16" fmla="*/ 102371 h 153518"/>
              <a:gd name="connsiteX17" fmla="*/ 92476 w 114739"/>
              <a:gd name="connsiteY17" fmla="*/ 139565 h 153518"/>
              <a:gd name="connsiteX18" fmla="*/ 96756 w 114739"/>
              <a:gd name="connsiteY18" fmla="*/ 153390 h 153518"/>
              <a:gd name="connsiteX19" fmla="*/ 106531 w 114739"/>
              <a:gd name="connsiteY19" fmla="*/ 145349 h 153518"/>
              <a:gd name="connsiteX20" fmla="*/ 114630 w 114739"/>
              <a:gd name="connsiteY20" fmla="*/ 127128 h 15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739" h="153518">
                <a:moveTo>
                  <a:pt x="114630" y="127128"/>
                </a:moveTo>
                <a:cubicBezTo>
                  <a:pt x="109829" y="100404"/>
                  <a:pt x="107110" y="74432"/>
                  <a:pt x="103581" y="74432"/>
                </a:cubicBezTo>
                <a:cubicBezTo>
                  <a:pt x="98665" y="74432"/>
                  <a:pt x="92012" y="97570"/>
                  <a:pt x="83972" y="95661"/>
                </a:cubicBezTo>
                <a:cubicBezTo>
                  <a:pt x="75932" y="93752"/>
                  <a:pt x="75758" y="66276"/>
                  <a:pt x="85592" y="66276"/>
                </a:cubicBezTo>
                <a:cubicBezTo>
                  <a:pt x="95426" y="66276"/>
                  <a:pt x="106821" y="44989"/>
                  <a:pt x="106821" y="38395"/>
                </a:cubicBezTo>
                <a:cubicBezTo>
                  <a:pt x="106821" y="31801"/>
                  <a:pt x="97045" y="31859"/>
                  <a:pt x="87212" y="31859"/>
                </a:cubicBezTo>
                <a:cubicBezTo>
                  <a:pt x="77378" y="31859"/>
                  <a:pt x="56149" y="33536"/>
                  <a:pt x="56149" y="33536"/>
                </a:cubicBezTo>
                <a:cubicBezTo>
                  <a:pt x="56149" y="33536"/>
                  <a:pt x="43018" y="28619"/>
                  <a:pt x="43018" y="20406"/>
                </a:cubicBezTo>
                <a:cubicBezTo>
                  <a:pt x="43018" y="12192"/>
                  <a:pt x="38160" y="5655"/>
                  <a:pt x="25029" y="5655"/>
                </a:cubicBezTo>
                <a:cubicBezTo>
                  <a:pt x="11898" y="5655"/>
                  <a:pt x="11956" y="-7360"/>
                  <a:pt x="1891" y="5655"/>
                </a:cubicBezTo>
                <a:cubicBezTo>
                  <a:pt x="-8174" y="18670"/>
                  <a:pt x="23178" y="18786"/>
                  <a:pt x="19881" y="28793"/>
                </a:cubicBezTo>
                <a:cubicBezTo>
                  <a:pt x="16584" y="38800"/>
                  <a:pt x="6808" y="32032"/>
                  <a:pt x="5188" y="40362"/>
                </a:cubicBezTo>
                <a:cubicBezTo>
                  <a:pt x="4378" y="54308"/>
                  <a:pt x="6576" y="68266"/>
                  <a:pt x="11724" y="81258"/>
                </a:cubicBezTo>
                <a:cubicBezTo>
                  <a:pt x="17625" y="97287"/>
                  <a:pt x="20864" y="114165"/>
                  <a:pt x="21327" y="131235"/>
                </a:cubicBezTo>
                <a:cubicBezTo>
                  <a:pt x="28962" y="129789"/>
                  <a:pt x="32549" y="126261"/>
                  <a:pt x="39606" y="126261"/>
                </a:cubicBezTo>
                <a:cubicBezTo>
                  <a:pt x="48456" y="126261"/>
                  <a:pt x="60603" y="125046"/>
                  <a:pt x="61413" y="115733"/>
                </a:cubicBezTo>
                <a:cubicBezTo>
                  <a:pt x="62222" y="106420"/>
                  <a:pt x="72288" y="99595"/>
                  <a:pt x="77957" y="102371"/>
                </a:cubicBezTo>
                <a:cubicBezTo>
                  <a:pt x="83625" y="105147"/>
                  <a:pt x="92070" y="127880"/>
                  <a:pt x="92476" y="139565"/>
                </a:cubicBezTo>
                <a:cubicBezTo>
                  <a:pt x="92996" y="144401"/>
                  <a:pt x="94500" y="149092"/>
                  <a:pt x="96756" y="153390"/>
                </a:cubicBezTo>
                <a:cubicBezTo>
                  <a:pt x="99821" y="150457"/>
                  <a:pt x="103061" y="147767"/>
                  <a:pt x="106531" y="145349"/>
                </a:cubicBezTo>
                <a:cubicBezTo>
                  <a:pt x="108209" y="138871"/>
                  <a:pt x="110928" y="132716"/>
                  <a:pt x="114630" y="12712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2" name="Forma libre: forma 51">
            <a:extLst>
              <a:ext uri="{FF2B5EF4-FFF2-40B4-BE49-F238E27FC236}">
                <a16:creationId xmlns:a16="http://schemas.microsoft.com/office/drawing/2014/main" id="{BE0D4863-3E07-7437-6194-1BA573FB9310}"/>
              </a:ext>
            </a:extLst>
          </p:cNvPr>
          <p:cNvSpPr/>
          <p:nvPr/>
        </p:nvSpPr>
        <p:spPr>
          <a:xfrm>
            <a:off x="8051930" y="3463504"/>
            <a:ext cx="758512" cy="799921"/>
          </a:xfrm>
          <a:custGeom>
            <a:avLst/>
            <a:gdLst>
              <a:gd name="connsiteX0" fmla="*/ 542875 w 758512"/>
              <a:gd name="connsiteY0" fmla="*/ 362265 h 799921"/>
              <a:gd name="connsiteX1" fmla="*/ 536338 w 758512"/>
              <a:gd name="connsiteY1" fmla="*/ 321369 h 799921"/>
              <a:gd name="connsiteX2" fmla="*/ 551031 w 758512"/>
              <a:gd name="connsiteY2" fmla="*/ 309800 h 799921"/>
              <a:gd name="connsiteX3" fmla="*/ 533042 w 758512"/>
              <a:gd name="connsiteY3" fmla="*/ 286663 h 799921"/>
              <a:gd name="connsiteX4" fmla="*/ 556179 w 758512"/>
              <a:gd name="connsiteY4" fmla="*/ 286663 h 799921"/>
              <a:gd name="connsiteX5" fmla="*/ 574169 w 758512"/>
              <a:gd name="connsiteY5" fmla="*/ 301413 h 799921"/>
              <a:gd name="connsiteX6" fmla="*/ 587299 w 758512"/>
              <a:gd name="connsiteY6" fmla="*/ 314544 h 799921"/>
              <a:gd name="connsiteX7" fmla="*/ 618362 w 758512"/>
              <a:gd name="connsiteY7" fmla="*/ 312866 h 799921"/>
              <a:gd name="connsiteX8" fmla="*/ 637970 w 758512"/>
              <a:gd name="connsiteY8" fmla="*/ 319403 h 799921"/>
              <a:gd name="connsiteX9" fmla="*/ 616742 w 758512"/>
              <a:gd name="connsiteY9" fmla="*/ 347284 h 799921"/>
              <a:gd name="connsiteX10" fmla="*/ 615122 w 758512"/>
              <a:gd name="connsiteY10" fmla="*/ 376669 h 799921"/>
              <a:gd name="connsiteX11" fmla="*/ 634732 w 758512"/>
              <a:gd name="connsiteY11" fmla="*/ 355440 h 799921"/>
              <a:gd name="connsiteX12" fmla="*/ 645780 w 758512"/>
              <a:gd name="connsiteY12" fmla="*/ 408136 h 799921"/>
              <a:gd name="connsiteX13" fmla="*/ 649771 w 758512"/>
              <a:gd name="connsiteY13" fmla="*/ 405591 h 799921"/>
              <a:gd name="connsiteX14" fmla="*/ 657349 w 758512"/>
              <a:gd name="connsiteY14" fmla="*/ 376669 h 799921"/>
              <a:gd name="connsiteX15" fmla="*/ 662728 w 758512"/>
              <a:gd name="connsiteY15" fmla="*/ 349771 h 799921"/>
              <a:gd name="connsiteX16" fmla="*/ 684304 w 758512"/>
              <a:gd name="connsiteY16" fmla="*/ 350812 h 799921"/>
              <a:gd name="connsiteX17" fmla="*/ 693964 w 758512"/>
              <a:gd name="connsiteY17" fmla="*/ 317378 h 799921"/>
              <a:gd name="connsiteX18" fmla="*/ 701542 w 758512"/>
              <a:gd name="connsiteY18" fmla="*/ 283944 h 799921"/>
              <a:gd name="connsiteX19" fmla="*/ 719878 w 758512"/>
              <a:gd name="connsiteY19" fmla="*/ 262368 h 799921"/>
              <a:gd name="connsiteX20" fmla="*/ 742553 w 758512"/>
              <a:gd name="connsiteY20" fmla="*/ 252651 h 799921"/>
              <a:gd name="connsiteX21" fmla="*/ 754122 w 758512"/>
              <a:gd name="connsiteY21" fmla="*/ 252651 h 799921"/>
              <a:gd name="connsiteX22" fmla="*/ 751924 w 758512"/>
              <a:gd name="connsiteY22" fmla="*/ 234372 h 799921"/>
              <a:gd name="connsiteX23" fmla="*/ 758403 w 758512"/>
              <a:gd name="connsiteY23" fmla="*/ 221415 h 799921"/>
              <a:gd name="connsiteX24" fmla="*/ 742264 w 758512"/>
              <a:gd name="connsiteY24" fmla="*/ 212738 h 799921"/>
              <a:gd name="connsiteX25" fmla="*/ 731447 w 758512"/>
              <a:gd name="connsiteY25" fmla="*/ 194459 h 799921"/>
              <a:gd name="connsiteX26" fmla="*/ 717449 w 758512"/>
              <a:gd name="connsiteY26" fmla="*/ 196599 h 799921"/>
              <a:gd name="connsiteX27" fmla="*/ 685056 w 758512"/>
              <a:gd name="connsiteY27" fmla="*/ 197699 h 799921"/>
              <a:gd name="connsiteX28" fmla="*/ 661340 w 758512"/>
              <a:gd name="connsiteY28" fmla="*/ 212738 h 799921"/>
              <a:gd name="connsiteX29" fmla="*/ 650581 w 758512"/>
              <a:gd name="connsiteY29" fmla="*/ 223555 h 799921"/>
              <a:gd name="connsiteX30" fmla="*/ 637624 w 758512"/>
              <a:gd name="connsiteY30" fmla="*/ 235124 h 799921"/>
              <a:gd name="connsiteX31" fmla="*/ 623567 w 758512"/>
              <a:gd name="connsiteY31" fmla="*/ 240503 h 799921"/>
              <a:gd name="connsiteX32" fmla="*/ 626807 w 758512"/>
              <a:gd name="connsiteY32" fmla="*/ 264277 h 799921"/>
              <a:gd name="connsiteX33" fmla="*/ 599909 w 758512"/>
              <a:gd name="connsiteY33" fmla="*/ 267516 h 799921"/>
              <a:gd name="connsiteX34" fmla="*/ 573937 w 758512"/>
              <a:gd name="connsiteY34" fmla="*/ 265319 h 799921"/>
              <a:gd name="connsiteX35" fmla="*/ 555658 w 758512"/>
              <a:gd name="connsiteY35" fmla="*/ 260980 h 799921"/>
              <a:gd name="connsiteX36" fmla="*/ 547039 w 758512"/>
              <a:gd name="connsiteY36" fmla="*/ 242643 h 799921"/>
              <a:gd name="connsiteX37" fmla="*/ 538421 w 758512"/>
              <a:gd name="connsiteY37" fmla="*/ 228645 h 799921"/>
              <a:gd name="connsiteX38" fmla="*/ 527662 w 758512"/>
              <a:gd name="connsiteY38" fmla="*/ 241602 h 799921"/>
              <a:gd name="connsiteX39" fmla="*/ 526505 w 758512"/>
              <a:gd name="connsiteY39" fmla="*/ 269657 h 799921"/>
              <a:gd name="connsiteX40" fmla="*/ 479072 w 758512"/>
              <a:gd name="connsiteY40" fmla="*/ 273995 h 799921"/>
              <a:gd name="connsiteX41" fmla="*/ 443498 w 758512"/>
              <a:gd name="connsiteY41" fmla="*/ 259939 h 799921"/>
              <a:gd name="connsiteX42" fmla="*/ 428401 w 758512"/>
              <a:gd name="connsiteY42" fmla="*/ 244841 h 799921"/>
              <a:gd name="connsiteX43" fmla="*/ 402487 w 758512"/>
              <a:gd name="connsiteY43" fmla="*/ 249122 h 799921"/>
              <a:gd name="connsiteX44" fmla="*/ 379869 w 758512"/>
              <a:gd name="connsiteY44" fmla="*/ 236223 h 799921"/>
              <a:gd name="connsiteX45" fmla="*/ 359335 w 758512"/>
              <a:gd name="connsiteY45" fmla="*/ 225406 h 799921"/>
              <a:gd name="connsiteX46" fmla="*/ 337759 w 758512"/>
              <a:gd name="connsiteY46" fmla="*/ 214647 h 799921"/>
              <a:gd name="connsiteX47" fmla="*/ 323761 w 758512"/>
              <a:gd name="connsiteY47" fmla="*/ 203830 h 799921"/>
              <a:gd name="connsiteX48" fmla="*/ 328099 w 758512"/>
              <a:gd name="connsiteY48" fmla="*/ 183353 h 799921"/>
              <a:gd name="connsiteX49" fmla="*/ 340998 w 758512"/>
              <a:gd name="connsiteY49" fmla="*/ 166000 h 799921"/>
              <a:gd name="connsiteX50" fmla="*/ 329429 w 758512"/>
              <a:gd name="connsiteY50" fmla="*/ 154142 h 799921"/>
              <a:gd name="connsiteX51" fmla="*/ 313233 w 758512"/>
              <a:gd name="connsiteY51" fmla="*/ 140086 h 799921"/>
              <a:gd name="connsiteX52" fmla="*/ 290558 w 758512"/>
              <a:gd name="connsiteY52" fmla="*/ 123947 h 799921"/>
              <a:gd name="connsiteX53" fmla="*/ 280840 w 758512"/>
              <a:gd name="connsiteY53" fmla="*/ 102371 h 799921"/>
              <a:gd name="connsiteX54" fmla="*/ 287318 w 758512"/>
              <a:gd name="connsiteY54" fmla="*/ 90513 h 799921"/>
              <a:gd name="connsiteX55" fmla="*/ 303515 w 758512"/>
              <a:gd name="connsiteY55" fmla="*/ 80795 h 799921"/>
              <a:gd name="connsiteX56" fmla="*/ 288418 w 758512"/>
              <a:gd name="connsiteY56" fmla="*/ 57079 h 799921"/>
              <a:gd name="connsiteX57" fmla="*/ 287318 w 758512"/>
              <a:gd name="connsiteY57" fmla="*/ 31165 h 799921"/>
              <a:gd name="connsiteX58" fmla="*/ 271180 w 758512"/>
              <a:gd name="connsiteY58" fmla="*/ 12886 h 799921"/>
              <a:gd name="connsiteX59" fmla="*/ 260363 w 758512"/>
              <a:gd name="connsiteY59" fmla="*/ -129 h 799921"/>
              <a:gd name="connsiteX60" fmla="*/ 249605 w 758512"/>
              <a:gd name="connsiteY60" fmla="*/ 970 h 799921"/>
              <a:gd name="connsiteX61" fmla="*/ 238788 w 758512"/>
              <a:gd name="connsiteY61" fmla="*/ 20406 h 799921"/>
              <a:gd name="connsiteX62" fmla="*/ 211832 w 758512"/>
              <a:gd name="connsiteY62" fmla="*/ 31165 h 799921"/>
              <a:gd name="connsiteX63" fmla="*/ 170878 w 758512"/>
              <a:gd name="connsiteY63" fmla="*/ 23645 h 799921"/>
              <a:gd name="connsiteX64" fmla="*/ 156822 w 758512"/>
              <a:gd name="connsiteY64" fmla="*/ 38742 h 799921"/>
              <a:gd name="connsiteX65" fmla="*/ 161160 w 758512"/>
              <a:gd name="connsiteY65" fmla="*/ 64599 h 799921"/>
              <a:gd name="connsiteX66" fmla="*/ 177299 w 758512"/>
              <a:gd name="connsiteY66" fmla="*/ 90513 h 799921"/>
              <a:gd name="connsiteX67" fmla="*/ 190256 w 758512"/>
              <a:gd name="connsiteY67" fmla="*/ 102371 h 799921"/>
              <a:gd name="connsiteX68" fmla="*/ 176258 w 758512"/>
              <a:gd name="connsiteY68" fmla="*/ 122848 h 799921"/>
              <a:gd name="connsiteX69" fmla="*/ 170878 w 758512"/>
              <a:gd name="connsiteY69" fmla="*/ 143325 h 799921"/>
              <a:gd name="connsiteX70" fmla="*/ 157748 w 758512"/>
              <a:gd name="connsiteY70" fmla="*/ 156478 h 799921"/>
              <a:gd name="connsiteX71" fmla="*/ 157921 w 758512"/>
              <a:gd name="connsiteY71" fmla="*/ 158422 h 799921"/>
              <a:gd name="connsiteX72" fmla="*/ 141783 w 758512"/>
              <a:gd name="connsiteY72" fmla="*/ 171379 h 799921"/>
              <a:gd name="connsiteX73" fmla="*/ 130966 w 758512"/>
              <a:gd name="connsiteY73" fmla="*/ 200301 h 799921"/>
              <a:gd name="connsiteX74" fmla="*/ 108291 w 758512"/>
              <a:gd name="connsiteY74" fmla="*/ 214357 h 799921"/>
              <a:gd name="connsiteX75" fmla="*/ 93193 w 758512"/>
              <a:gd name="connsiteY75" fmla="*/ 234834 h 799921"/>
              <a:gd name="connsiteX76" fmla="*/ 74856 w 758512"/>
              <a:gd name="connsiteY76" fmla="*/ 235934 h 799921"/>
              <a:gd name="connsiteX77" fmla="*/ 54380 w 758512"/>
              <a:gd name="connsiteY77" fmla="*/ 233793 h 799921"/>
              <a:gd name="connsiteX78" fmla="*/ 33845 w 758512"/>
              <a:gd name="connsiteY78" fmla="*/ 259650 h 799921"/>
              <a:gd name="connsiteX79" fmla="*/ 51198 w 758512"/>
              <a:gd name="connsiteY79" fmla="*/ 279085 h 799921"/>
              <a:gd name="connsiteX80" fmla="*/ 63115 w 758512"/>
              <a:gd name="connsiteY80" fmla="*/ 307082 h 799921"/>
              <a:gd name="connsiteX81" fmla="*/ 72774 w 758512"/>
              <a:gd name="connsiteY81" fmla="*/ 331897 h 799921"/>
              <a:gd name="connsiteX82" fmla="*/ 52297 w 758512"/>
              <a:gd name="connsiteY82" fmla="*/ 337277 h 799921"/>
              <a:gd name="connsiteX83" fmla="*/ 26383 w 758512"/>
              <a:gd name="connsiteY83" fmla="*/ 338376 h 799921"/>
              <a:gd name="connsiteX84" fmla="*/ 1568 w 758512"/>
              <a:gd name="connsiteY84" fmla="*/ 355729 h 799921"/>
              <a:gd name="connsiteX85" fmla="*/ -110 w 758512"/>
              <a:gd name="connsiteY85" fmla="*/ 357638 h 799921"/>
              <a:gd name="connsiteX86" fmla="*/ 24995 w 758512"/>
              <a:gd name="connsiteY86" fmla="*/ 380776 h 799921"/>
              <a:gd name="connsiteX87" fmla="*/ 54843 w 758512"/>
              <a:gd name="connsiteY87" fmla="*/ 382337 h 799921"/>
              <a:gd name="connsiteX88" fmla="*/ 16896 w 758512"/>
              <a:gd name="connsiteY88" fmla="*/ 395295 h 799921"/>
              <a:gd name="connsiteX89" fmla="*/ 74741 w 758512"/>
              <a:gd name="connsiteY89" fmla="*/ 442611 h 799921"/>
              <a:gd name="connsiteX90" fmla="*/ 103663 w 758512"/>
              <a:gd name="connsiteY90" fmla="*/ 414268 h 799921"/>
              <a:gd name="connsiteX91" fmla="*/ 112166 w 758512"/>
              <a:gd name="connsiteY91" fmla="*/ 400154 h 799921"/>
              <a:gd name="connsiteX92" fmla="*/ 118992 w 758512"/>
              <a:gd name="connsiteY92" fmla="*/ 428439 h 799921"/>
              <a:gd name="connsiteX93" fmla="*/ 118992 w 758512"/>
              <a:gd name="connsiteY93" fmla="*/ 453486 h 799921"/>
              <a:gd name="connsiteX94" fmla="*/ 124256 w 758512"/>
              <a:gd name="connsiteY94" fmla="*/ 499761 h 799921"/>
              <a:gd name="connsiteX95" fmla="*/ 136750 w 758512"/>
              <a:gd name="connsiteY95" fmla="*/ 549045 h 799921"/>
              <a:gd name="connsiteX96" fmla="*/ 162201 w 758512"/>
              <a:gd name="connsiteY96" fmla="*/ 622102 h 799921"/>
              <a:gd name="connsiteX97" fmla="*/ 188868 w 758512"/>
              <a:gd name="connsiteY97" fmla="*/ 692788 h 799921"/>
              <a:gd name="connsiteX98" fmla="*/ 214724 w 758512"/>
              <a:gd name="connsiteY98" fmla="*/ 750112 h 799921"/>
              <a:gd name="connsiteX99" fmla="*/ 241390 w 758512"/>
              <a:gd name="connsiteY99" fmla="*/ 798585 h 799921"/>
              <a:gd name="connsiteX100" fmla="*/ 266842 w 758512"/>
              <a:gd name="connsiteY100" fmla="*/ 781636 h 799921"/>
              <a:gd name="connsiteX101" fmla="*/ 292294 w 758512"/>
              <a:gd name="connsiteY101" fmla="*/ 756185 h 799921"/>
              <a:gd name="connsiteX102" fmla="*/ 302763 w 758512"/>
              <a:gd name="connsiteY102" fmla="*/ 737559 h 799921"/>
              <a:gd name="connsiteX103" fmla="*/ 310052 w 758512"/>
              <a:gd name="connsiteY103" fmla="*/ 718239 h 799921"/>
              <a:gd name="connsiteX104" fmla="*/ 318150 w 758512"/>
              <a:gd name="connsiteY104" fmla="*/ 683533 h 799921"/>
              <a:gd name="connsiteX105" fmla="*/ 322141 w 758512"/>
              <a:gd name="connsiteY105" fmla="*/ 639108 h 799921"/>
              <a:gd name="connsiteX106" fmla="*/ 324165 w 758512"/>
              <a:gd name="connsiteY106" fmla="*/ 604749 h 799921"/>
              <a:gd name="connsiteX107" fmla="*/ 334288 w 758512"/>
              <a:gd name="connsiteY107" fmla="*/ 582189 h 799921"/>
              <a:gd name="connsiteX108" fmla="*/ 361301 w 758512"/>
              <a:gd name="connsiteY108" fmla="*/ 563621 h 799921"/>
              <a:gd name="connsiteX109" fmla="*/ 402950 w 758512"/>
              <a:gd name="connsiteY109" fmla="*/ 530477 h 799921"/>
              <a:gd name="connsiteX110" fmla="*/ 446969 w 758512"/>
              <a:gd name="connsiteY110" fmla="*/ 486052 h 799921"/>
              <a:gd name="connsiteX111" fmla="*/ 488559 w 758512"/>
              <a:gd name="connsiteY111" fmla="*/ 457130 h 799921"/>
              <a:gd name="connsiteX112" fmla="*/ 497004 w 758512"/>
              <a:gd name="connsiteY112" fmla="*/ 428902 h 799921"/>
              <a:gd name="connsiteX113" fmla="*/ 545883 w 758512"/>
              <a:gd name="connsiteY113" fmla="*/ 412301 h 799921"/>
              <a:gd name="connsiteX114" fmla="*/ 552650 w 758512"/>
              <a:gd name="connsiteY114" fmla="*/ 411665 h 799921"/>
              <a:gd name="connsiteX115" fmla="*/ 542875 w 758512"/>
              <a:gd name="connsiteY115" fmla="*/ 362265 h 799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758512" h="799921">
                <a:moveTo>
                  <a:pt x="542875" y="362265"/>
                </a:moveTo>
                <a:cubicBezTo>
                  <a:pt x="537727" y="349274"/>
                  <a:pt x="535528" y="335316"/>
                  <a:pt x="536338" y="321369"/>
                </a:cubicBezTo>
                <a:cubicBezTo>
                  <a:pt x="537958" y="313156"/>
                  <a:pt x="547907" y="319692"/>
                  <a:pt x="551031" y="309800"/>
                </a:cubicBezTo>
                <a:cubicBezTo>
                  <a:pt x="554154" y="299909"/>
                  <a:pt x="523208" y="299967"/>
                  <a:pt x="533042" y="286663"/>
                </a:cubicBezTo>
                <a:cubicBezTo>
                  <a:pt x="542875" y="273359"/>
                  <a:pt x="542875" y="286663"/>
                  <a:pt x="556179" y="286663"/>
                </a:cubicBezTo>
                <a:cubicBezTo>
                  <a:pt x="569483" y="286663"/>
                  <a:pt x="574169" y="293257"/>
                  <a:pt x="574169" y="301413"/>
                </a:cubicBezTo>
                <a:cubicBezTo>
                  <a:pt x="574169" y="309569"/>
                  <a:pt x="587299" y="314544"/>
                  <a:pt x="587299" y="314544"/>
                </a:cubicBezTo>
                <a:cubicBezTo>
                  <a:pt x="587299" y="314544"/>
                  <a:pt x="608528" y="312866"/>
                  <a:pt x="618362" y="312866"/>
                </a:cubicBezTo>
                <a:cubicBezTo>
                  <a:pt x="628195" y="312866"/>
                  <a:pt x="637970" y="312866"/>
                  <a:pt x="637970" y="319403"/>
                </a:cubicBezTo>
                <a:cubicBezTo>
                  <a:pt x="637970" y="325939"/>
                  <a:pt x="626402" y="347284"/>
                  <a:pt x="616742" y="347284"/>
                </a:cubicBezTo>
                <a:cubicBezTo>
                  <a:pt x="607082" y="347284"/>
                  <a:pt x="606908" y="375107"/>
                  <a:pt x="615122" y="376669"/>
                </a:cubicBezTo>
                <a:cubicBezTo>
                  <a:pt x="623336" y="378230"/>
                  <a:pt x="629815" y="355440"/>
                  <a:pt x="634732" y="355440"/>
                </a:cubicBezTo>
                <a:cubicBezTo>
                  <a:pt x="638260" y="355440"/>
                  <a:pt x="640978" y="381412"/>
                  <a:pt x="645780" y="408136"/>
                </a:cubicBezTo>
                <a:cubicBezTo>
                  <a:pt x="646705" y="406759"/>
                  <a:pt x="648151" y="405834"/>
                  <a:pt x="649771" y="405591"/>
                </a:cubicBezTo>
                <a:cubicBezTo>
                  <a:pt x="656249" y="405591"/>
                  <a:pt x="653011" y="382916"/>
                  <a:pt x="657349" y="376669"/>
                </a:cubicBezTo>
                <a:cubicBezTo>
                  <a:pt x="661687" y="370422"/>
                  <a:pt x="659489" y="349771"/>
                  <a:pt x="662728" y="349771"/>
                </a:cubicBezTo>
                <a:cubicBezTo>
                  <a:pt x="665968" y="349771"/>
                  <a:pt x="685403" y="356250"/>
                  <a:pt x="684304" y="350812"/>
                </a:cubicBezTo>
                <a:cubicBezTo>
                  <a:pt x="683205" y="345375"/>
                  <a:pt x="695873" y="327038"/>
                  <a:pt x="693964" y="317378"/>
                </a:cubicBezTo>
                <a:cubicBezTo>
                  <a:pt x="692055" y="307718"/>
                  <a:pt x="701542" y="295802"/>
                  <a:pt x="701542" y="283944"/>
                </a:cubicBezTo>
                <a:cubicBezTo>
                  <a:pt x="701542" y="272086"/>
                  <a:pt x="712301" y="268847"/>
                  <a:pt x="719878" y="262368"/>
                </a:cubicBezTo>
                <a:cubicBezTo>
                  <a:pt x="727456" y="255890"/>
                  <a:pt x="740355" y="247271"/>
                  <a:pt x="742553" y="252651"/>
                </a:cubicBezTo>
                <a:cubicBezTo>
                  <a:pt x="744751" y="258030"/>
                  <a:pt x="760890" y="262368"/>
                  <a:pt x="754122" y="252651"/>
                </a:cubicBezTo>
                <a:cubicBezTo>
                  <a:pt x="747354" y="242932"/>
                  <a:pt x="747644" y="236512"/>
                  <a:pt x="751924" y="234372"/>
                </a:cubicBezTo>
                <a:cubicBezTo>
                  <a:pt x="756205" y="232231"/>
                  <a:pt x="758403" y="221415"/>
                  <a:pt x="758403" y="221415"/>
                </a:cubicBezTo>
                <a:cubicBezTo>
                  <a:pt x="758403" y="221415"/>
                  <a:pt x="744404" y="219216"/>
                  <a:pt x="742264" y="212738"/>
                </a:cubicBezTo>
                <a:cubicBezTo>
                  <a:pt x="740124" y="206259"/>
                  <a:pt x="731447" y="199839"/>
                  <a:pt x="731447" y="194459"/>
                </a:cubicBezTo>
                <a:cubicBezTo>
                  <a:pt x="731447" y="189079"/>
                  <a:pt x="723870" y="191162"/>
                  <a:pt x="717449" y="196599"/>
                </a:cubicBezTo>
                <a:cubicBezTo>
                  <a:pt x="711028" y="202037"/>
                  <a:pt x="699112" y="190121"/>
                  <a:pt x="685056" y="197699"/>
                </a:cubicBezTo>
                <a:cubicBezTo>
                  <a:pt x="671000" y="205276"/>
                  <a:pt x="667702" y="213837"/>
                  <a:pt x="661340" y="212738"/>
                </a:cubicBezTo>
                <a:cubicBezTo>
                  <a:pt x="654977" y="211639"/>
                  <a:pt x="655961" y="218175"/>
                  <a:pt x="650581" y="223555"/>
                </a:cubicBezTo>
                <a:cubicBezTo>
                  <a:pt x="645201" y="228934"/>
                  <a:pt x="640863" y="235124"/>
                  <a:pt x="637624" y="235124"/>
                </a:cubicBezTo>
                <a:cubicBezTo>
                  <a:pt x="632765" y="236356"/>
                  <a:pt x="628021" y="238161"/>
                  <a:pt x="623567" y="240503"/>
                </a:cubicBezTo>
                <a:cubicBezTo>
                  <a:pt x="623567" y="240503"/>
                  <a:pt x="631145" y="256699"/>
                  <a:pt x="626807" y="264277"/>
                </a:cubicBezTo>
                <a:cubicBezTo>
                  <a:pt x="622469" y="271855"/>
                  <a:pt x="611710" y="264277"/>
                  <a:pt x="599909" y="267516"/>
                </a:cubicBezTo>
                <a:cubicBezTo>
                  <a:pt x="588109" y="270756"/>
                  <a:pt x="582556" y="263178"/>
                  <a:pt x="573937" y="265319"/>
                </a:cubicBezTo>
                <a:cubicBezTo>
                  <a:pt x="565318" y="267459"/>
                  <a:pt x="559996" y="259939"/>
                  <a:pt x="555658" y="260980"/>
                </a:cubicBezTo>
                <a:cubicBezTo>
                  <a:pt x="551320" y="262021"/>
                  <a:pt x="544841" y="251262"/>
                  <a:pt x="547039" y="242643"/>
                </a:cubicBezTo>
                <a:cubicBezTo>
                  <a:pt x="549237" y="234025"/>
                  <a:pt x="542701" y="222167"/>
                  <a:pt x="538421" y="228645"/>
                </a:cubicBezTo>
                <a:cubicBezTo>
                  <a:pt x="534140" y="235124"/>
                  <a:pt x="527662" y="231884"/>
                  <a:pt x="527662" y="241602"/>
                </a:cubicBezTo>
                <a:cubicBezTo>
                  <a:pt x="527662" y="251320"/>
                  <a:pt x="533042" y="263178"/>
                  <a:pt x="526505" y="269657"/>
                </a:cubicBezTo>
                <a:cubicBezTo>
                  <a:pt x="519969" y="276135"/>
                  <a:pt x="485551" y="279375"/>
                  <a:pt x="479072" y="273995"/>
                </a:cubicBezTo>
                <a:cubicBezTo>
                  <a:pt x="472594" y="268615"/>
                  <a:pt x="444366" y="265319"/>
                  <a:pt x="443498" y="259939"/>
                </a:cubicBezTo>
                <a:cubicBezTo>
                  <a:pt x="442631" y="254559"/>
                  <a:pt x="433781" y="244841"/>
                  <a:pt x="428401" y="244841"/>
                </a:cubicBezTo>
                <a:cubicBezTo>
                  <a:pt x="423022" y="244841"/>
                  <a:pt x="406825" y="252361"/>
                  <a:pt x="402487" y="249122"/>
                </a:cubicBezTo>
                <a:cubicBezTo>
                  <a:pt x="398148" y="245883"/>
                  <a:pt x="387389" y="237553"/>
                  <a:pt x="379869" y="236223"/>
                </a:cubicBezTo>
                <a:cubicBezTo>
                  <a:pt x="372350" y="234892"/>
                  <a:pt x="360434" y="229686"/>
                  <a:pt x="359335" y="225406"/>
                </a:cubicBezTo>
                <a:cubicBezTo>
                  <a:pt x="358236" y="221125"/>
                  <a:pt x="340998" y="218927"/>
                  <a:pt x="337759" y="214647"/>
                </a:cubicBezTo>
                <a:cubicBezTo>
                  <a:pt x="334520" y="210366"/>
                  <a:pt x="323761" y="209267"/>
                  <a:pt x="323761" y="203830"/>
                </a:cubicBezTo>
                <a:cubicBezTo>
                  <a:pt x="323761" y="198393"/>
                  <a:pt x="328099" y="189831"/>
                  <a:pt x="328099" y="183353"/>
                </a:cubicBezTo>
                <a:cubicBezTo>
                  <a:pt x="328099" y="176874"/>
                  <a:pt x="340998" y="170454"/>
                  <a:pt x="340998" y="166000"/>
                </a:cubicBezTo>
                <a:cubicBezTo>
                  <a:pt x="340998" y="161546"/>
                  <a:pt x="329429" y="154142"/>
                  <a:pt x="329429" y="154142"/>
                </a:cubicBezTo>
                <a:cubicBezTo>
                  <a:pt x="329429" y="154142"/>
                  <a:pt x="321852" y="140086"/>
                  <a:pt x="313233" y="140086"/>
                </a:cubicBezTo>
                <a:cubicBezTo>
                  <a:pt x="304614" y="140086"/>
                  <a:pt x="298078" y="124988"/>
                  <a:pt x="290558" y="123947"/>
                </a:cubicBezTo>
                <a:cubicBezTo>
                  <a:pt x="283038" y="122906"/>
                  <a:pt x="285178" y="107750"/>
                  <a:pt x="280840" y="102371"/>
                </a:cubicBezTo>
                <a:cubicBezTo>
                  <a:pt x="276502" y="96991"/>
                  <a:pt x="279799" y="84034"/>
                  <a:pt x="287318" y="90513"/>
                </a:cubicBezTo>
                <a:cubicBezTo>
                  <a:pt x="294838" y="96991"/>
                  <a:pt x="308895" y="90513"/>
                  <a:pt x="303515" y="80795"/>
                </a:cubicBezTo>
                <a:cubicBezTo>
                  <a:pt x="298135" y="71077"/>
                  <a:pt x="288418" y="62516"/>
                  <a:pt x="288418" y="57079"/>
                </a:cubicBezTo>
                <a:cubicBezTo>
                  <a:pt x="288418" y="51642"/>
                  <a:pt x="294896" y="35503"/>
                  <a:pt x="287318" y="31165"/>
                </a:cubicBezTo>
                <a:cubicBezTo>
                  <a:pt x="279799" y="27341"/>
                  <a:pt x="274073" y="20805"/>
                  <a:pt x="271180" y="12886"/>
                </a:cubicBezTo>
                <a:cubicBezTo>
                  <a:pt x="268982" y="7529"/>
                  <a:pt x="265222" y="2983"/>
                  <a:pt x="260363" y="-129"/>
                </a:cubicBezTo>
                <a:lnTo>
                  <a:pt x="249605" y="970"/>
                </a:lnTo>
                <a:cubicBezTo>
                  <a:pt x="249605" y="970"/>
                  <a:pt x="243126" y="18323"/>
                  <a:pt x="238788" y="20406"/>
                </a:cubicBezTo>
                <a:cubicBezTo>
                  <a:pt x="234449" y="22488"/>
                  <a:pt x="219351" y="25785"/>
                  <a:pt x="211832" y="31165"/>
                </a:cubicBezTo>
                <a:cubicBezTo>
                  <a:pt x="204312" y="36544"/>
                  <a:pt x="182910" y="23645"/>
                  <a:pt x="170878" y="23645"/>
                </a:cubicBezTo>
                <a:cubicBezTo>
                  <a:pt x="158846" y="23645"/>
                  <a:pt x="151442" y="35503"/>
                  <a:pt x="156822" y="38742"/>
                </a:cubicBezTo>
                <a:cubicBezTo>
                  <a:pt x="162201" y="41982"/>
                  <a:pt x="161160" y="64599"/>
                  <a:pt x="161160" y="64599"/>
                </a:cubicBezTo>
                <a:cubicBezTo>
                  <a:pt x="161160" y="64599"/>
                  <a:pt x="167639" y="92653"/>
                  <a:pt x="177299" y="90513"/>
                </a:cubicBezTo>
                <a:cubicBezTo>
                  <a:pt x="186959" y="88373"/>
                  <a:pt x="198933" y="100173"/>
                  <a:pt x="190256" y="102371"/>
                </a:cubicBezTo>
                <a:cubicBezTo>
                  <a:pt x="181580" y="104569"/>
                  <a:pt x="177299" y="113940"/>
                  <a:pt x="176258" y="122848"/>
                </a:cubicBezTo>
                <a:cubicBezTo>
                  <a:pt x="175216" y="131756"/>
                  <a:pt x="177299" y="142284"/>
                  <a:pt x="170878" y="143325"/>
                </a:cubicBezTo>
                <a:cubicBezTo>
                  <a:pt x="163647" y="143336"/>
                  <a:pt x="157748" y="149231"/>
                  <a:pt x="157748" y="156478"/>
                </a:cubicBezTo>
                <a:cubicBezTo>
                  <a:pt x="157748" y="157132"/>
                  <a:pt x="157806" y="157780"/>
                  <a:pt x="157921" y="158422"/>
                </a:cubicBezTo>
                <a:cubicBezTo>
                  <a:pt x="157921" y="170338"/>
                  <a:pt x="143923" y="167099"/>
                  <a:pt x="141783" y="171379"/>
                </a:cubicBezTo>
                <a:cubicBezTo>
                  <a:pt x="139642" y="175660"/>
                  <a:pt x="134205" y="197294"/>
                  <a:pt x="130966" y="200301"/>
                </a:cubicBezTo>
                <a:cubicBezTo>
                  <a:pt x="127726" y="203309"/>
                  <a:pt x="109332" y="204640"/>
                  <a:pt x="108291" y="214357"/>
                </a:cubicBezTo>
                <a:cubicBezTo>
                  <a:pt x="107249" y="224076"/>
                  <a:pt x="98630" y="235934"/>
                  <a:pt x="93193" y="234834"/>
                </a:cubicBezTo>
                <a:cubicBezTo>
                  <a:pt x="87756" y="233735"/>
                  <a:pt x="78096" y="229397"/>
                  <a:pt x="74856" y="235934"/>
                </a:cubicBezTo>
                <a:cubicBezTo>
                  <a:pt x="71618" y="242470"/>
                  <a:pt x="57503" y="230554"/>
                  <a:pt x="54380" y="233793"/>
                </a:cubicBezTo>
                <a:cubicBezTo>
                  <a:pt x="51256" y="237033"/>
                  <a:pt x="33845" y="251147"/>
                  <a:pt x="33845" y="259650"/>
                </a:cubicBezTo>
                <a:cubicBezTo>
                  <a:pt x="33845" y="268153"/>
                  <a:pt x="52240" y="268268"/>
                  <a:pt x="51198" y="279085"/>
                </a:cubicBezTo>
                <a:cubicBezTo>
                  <a:pt x="51314" y="289630"/>
                  <a:pt x="55595" y="299707"/>
                  <a:pt x="63115" y="307082"/>
                </a:cubicBezTo>
                <a:cubicBezTo>
                  <a:pt x="68436" y="312519"/>
                  <a:pt x="77055" y="325419"/>
                  <a:pt x="72774" y="331897"/>
                </a:cubicBezTo>
                <a:cubicBezTo>
                  <a:pt x="68494" y="338376"/>
                  <a:pt x="62015" y="339475"/>
                  <a:pt x="52297" y="337277"/>
                </a:cubicBezTo>
                <a:cubicBezTo>
                  <a:pt x="42580" y="335079"/>
                  <a:pt x="43678" y="341557"/>
                  <a:pt x="26383" y="338376"/>
                </a:cubicBezTo>
                <a:cubicBezTo>
                  <a:pt x="9088" y="335194"/>
                  <a:pt x="8047" y="348094"/>
                  <a:pt x="1568" y="355729"/>
                </a:cubicBezTo>
                <a:lnTo>
                  <a:pt x="-110" y="357638"/>
                </a:lnTo>
                <a:cubicBezTo>
                  <a:pt x="7989" y="364116"/>
                  <a:pt x="11459" y="375570"/>
                  <a:pt x="24995" y="380776"/>
                </a:cubicBezTo>
                <a:cubicBezTo>
                  <a:pt x="40728" y="386560"/>
                  <a:pt x="54843" y="370653"/>
                  <a:pt x="54843" y="382337"/>
                </a:cubicBezTo>
                <a:cubicBezTo>
                  <a:pt x="54843" y="394022"/>
                  <a:pt x="17706" y="391650"/>
                  <a:pt x="16896" y="395295"/>
                </a:cubicBezTo>
                <a:cubicBezTo>
                  <a:pt x="16087" y="398939"/>
                  <a:pt x="55247" y="446197"/>
                  <a:pt x="74741" y="442611"/>
                </a:cubicBezTo>
                <a:cubicBezTo>
                  <a:pt x="94234" y="439025"/>
                  <a:pt x="109101" y="417507"/>
                  <a:pt x="103663" y="414268"/>
                </a:cubicBezTo>
                <a:cubicBezTo>
                  <a:pt x="98226" y="411028"/>
                  <a:pt x="106902" y="397724"/>
                  <a:pt x="112166" y="400154"/>
                </a:cubicBezTo>
                <a:cubicBezTo>
                  <a:pt x="117430" y="402583"/>
                  <a:pt x="112976" y="423291"/>
                  <a:pt x="118992" y="428439"/>
                </a:cubicBezTo>
                <a:cubicBezTo>
                  <a:pt x="125008" y="433587"/>
                  <a:pt x="123041" y="442148"/>
                  <a:pt x="118992" y="453486"/>
                </a:cubicBezTo>
                <a:cubicBezTo>
                  <a:pt x="114943" y="464823"/>
                  <a:pt x="123041" y="486978"/>
                  <a:pt x="124256" y="499761"/>
                </a:cubicBezTo>
                <a:cubicBezTo>
                  <a:pt x="125470" y="512545"/>
                  <a:pt x="133916" y="530419"/>
                  <a:pt x="136750" y="549045"/>
                </a:cubicBezTo>
                <a:cubicBezTo>
                  <a:pt x="141898" y="574427"/>
                  <a:pt x="150459" y="598999"/>
                  <a:pt x="162201" y="622102"/>
                </a:cubicBezTo>
                <a:cubicBezTo>
                  <a:pt x="173134" y="642695"/>
                  <a:pt x="181580" y="683128"/>
                  <a:pt x="188868" y="692788"/>
                </a:cubicBezTo>
                <a:cubicBezTo>
                  <a:pt x="196156" y="702448"/>
                  <a:pt x="214724" y="731948"/>
                  <a:pt x="214724" y="750112"/>
                </a:cubicBezTo>
                <a:cubicBezTo>
                  <a:pt x="214724" y="768274"/>
                  <a:pt x="234507" y="793726"/>
                  <a:pt x="241390" y="798585"/>
                </a:cubicBezTo>
                <a:cubicBezTo>
                  <a:pt x="248273" y="803444"/>
                  <a:pt x="263198" y="792800"/>
                  <a:pt x="266842" y="781636"/>
                </a:cubicBezTo>
                <a:cubicBezTo>
                  <a:pt x="270486" y="770473"/>
                  <a:pt x="291021" y="765845"/>
                  <a:pt x="292294" y="756185"/>
                </a:cubicBezTo>
                <a:cubicBezTo>
                  <a:pt x="293566" y="746525"/>
                  <a:pt x="295475" y="738832"/>
                  <a:pt x="302763" y="737559"/>
                </a:cubicBezTo>
                <a:cubicBezTo>
                  <a:pt x="310052" y="736287"/>
                  <a:pt x="310052" y="728709"/>
                  <a:pt x="310052" y="718239"/>
                </a:cubicBezTo>
                <a:cubicBezTo>
                  <a:pt x="310052" y="707769"/>
                  <a:pt x="310861" y="692788"/>
                  <a:pt x="318150" y="683533"/>
                </a:cubicBezTo>
                <a:cubicBezTo>
                  <a:pt x="325438" y="674277"/>
                  <a:pt x="326537" y="649231"/>
                  <a:pt x="322141" y="639108"/>
                </a:cubicBezTo>
                <a:cubicBezTo>
                  <a:pt x="317745" y="628986"/>
                  <a:pt x="320116" y="614872"/>
                  <a:pt x="324165" y="604749"/>
                </a:cubicBezTo>
                <a:cubicBezTo>
                  <a:pt x="328215" y="594626"/>
                  <a:pt x="326537" y="582941"/>
                  <a:pt x="334288" y="582189"/>
                </a:cubicBezTo>
                <a:cubicBezTo>
                  <a:pt x="345278" y="579581"/>
                  <a:pt x="354939" y="572957"/>
                  <a:pt x="361301" y="563621"/>
                </a:cubicBezTo>
                <a:cubicBezTo>
                  <a:pt x="369400" y="552689"/>
                  <a:pt x="394042" y="537765"/>
                  <a:pt x="402950" y="530477"/>
                </a:cubicBezTo>
                <a:cubicBezTo>
                  <a:pt x="411857" y="523188"/>
                  <a:pt x="438871" y="499356"/>
                  <a:pt x="446969" y="486052"/>
                </a:cubicBezTo>
                <a:cubicBezTo>
                  <a:pt x="455067" y="472748"/>
                  <a:pt x="478032" y="468294"/>
                  <a:pt x="488559" y="457130"/>
                </a:cubicBezTo>
                <a:cubicBezTo>
                  <a:pt x="499087" y="445966"/>
                  <a:pt x="494980" y="440645"/>
                  <a:pt x="497004" y="428902"/>
                </a:cubicBezTo>
                <a:cubicBezTo>
                  <a:pt x="499029" y="417160"/>
                  <a:pt x="532926" y="412301"/>
                  <a:pt x="545883" y="412301"/>
                </a:cubicBezTo>
                <a:cubicBezTo>
                  <a:pt x="548139" y="412324"/>
                  <a:pt x="550395" y="412110"/>
                  <a:pt x="552650" y="411665"/>
                </a:cubicBezTo>
                <a:cubicBezTo>
                  <a:pt x="552072" y="394780"/>
                  <a:pt x="548775" y="378103"/>
                  <a:pt x="542875" y="36226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3" name="Forma libre: forma 52">
            <a:extLst>
              <a:ext uri="{FF2B5EF4-FFF2-40B4-BE49-F238E27FC236}">
                <a16:creationId xmlns:a16="http://schemas.microsoft.com/office/drawing/2014/main" id="{238DEE2A-A850-0936-DFEE-981C18EA3F4D}"/>
              </a:ext>
            </a:extLst>
          </p:cNvPr>
          <p:cNvSpPr/>
          <p:nvPr/>
        </p:nvSpPr>
        <p:spPr>
          <a:xfrm>
            <a:off x="8577214" y="2904802"/>
            <a:ext cx="857104" cy="366798"/>
          </a:xfrm>
          <a:custGeom>
            <a:avLst/>
            <a:gdLst>
              <a:gd name="connsiteX0" fmla="*/ 822147 w 857104"/>
              <a:gd name="connsiteY0" fmla="*/ 153431 h 366798"/>
              <a:gd name="connsiteX1" fmla="*/ 800283 w 857104"/>
              <a:gd name="connsiteY1" fmla="*/ 151037 h 366798"/>
              <a:gd name="connsiteX2" fmla="*/ 795771 w 857104"/>
              <a:gd name="connsiteY2" fmla="*/ 156902 h 366798"/>
              <a:gd name="connsiteX3" fmla="*/ 769335 w 857104"/>
              <a:gd name="connsiteY3" fmla="*/ 153431 h 366798"/>
              <a:gd name="connsiteX4" fmla="*/ 741223 w 857104"/>
              <a:gd name="connsiteY4" fmla="*/ 151638 h 366798"/>
              <a:gd name="connsiteX5" fmla="*/ 744694 w 857104"/>
              <a:gd name="connsiteY5" fmla="*/ 137524 h 366798"/>
              <a:gd name="connsiteX6" fmla="*/ 746487 w 857104"/>
              <a:gd name="connsiteY6" fmla="*/ 123526 h 366798"/>
              <a:gd name="connsiteX7" fmla="*/ 768352 w 857104"/>
              <a:gd name="connsiteY7" fmla="*/ 79796 h 366798"/>
              <a:gd name="connsiteX8" fmla="*/ 748569 w 857104"/>
              <a:gd name="connsiteY8" fmla="*/ 77887 h 366798"/>
              <a:gd name="connsiteX9" fmla="*/ 725432 w 857104"/>
              <a:gd name="connsiteY9" fmla="*/ 73086 h 366798"/>
              <a:gd name="connsiteX10" fmla="*/ 691477 w 857104"/>
              <a:gd name="connsiteY10" fmla="*/ 71466 h 366798"/>
              <a:gd name="connsiteX11" fmla="*/ 669728 w 857104"/>
              <a:gd name="connsiteY11" fmla="*/ 85985 h 366798"/>
              <a:gd name="connsiteX12" fmla="*/ 647862 w 857104"/>
              <a:gd name="connsiteY12" fmla="*/ 94025 h 366798"/>
              <a:gd name="connsiteX13" fmla="*/ 612346 w 857104"/>
              <a:gd name="connsiteY13" fmla="*/ 102933 h 366798"/>
              <a:gd name="connsiteX14" fmla="*/ 576020 w 857104"/>
              <a:gd name="connsiteY14" fmla="*/ 102933 h 366798"/>
              <a:gd name="connsiteX15" fmla="*/ 541314 w 857104"/>
              <a:gd name="connsiteY15" fmla="*/ 96455 h 366798"/>
              <a:gd name="connsiteX16" fmla="*/ 526795 w 857104"/>
              <a:gd name="connsiteY16" fmla="*/ 81126 h 366798"/>
              <a:gd name="connsiteX17" fmla="*/ 504177 w 857104"/>
              <a:gd name="connsiteY17" fmla="*/ 70656 h 366798"/>
              <a:gd name="connsiteX18" fmla="*/ 483180 w 857104"/>
              <a:gd name="connsiteY18" fmla="*/ 64872 h 366798"/>
              <a:gd name="connsiteX19" fmla="*/ 458133 w 857104"/>
              <a:gd name="connsiteY19" fmla="*/ 59087 h 366798"/>
              <a:gd name="connsiteX20" fmla="*/ 433086 w 857104"/>
              <a:gd name="connsiteY20" fmla="*/ 62327 h 366798"/>
              <a:gd name="connsiteX21" fmla="*/ 413709 w 857104"/>
              <a:gd name="connsiteY21" fmla="*/ 71987 h 366798"/>
              <a:gd name="connsiteX22" fmla="*/ 389472 w 857104"/>
              <a:gd name="connsiteY22" fmla="*/ 64698 h 366798"/>
              <a:gd name="connsiteX23" fmla="*/ 372524 w 857104"/>
              <a:gd name="connsiteY23" fmla="*/ 51857 h 366798"/>
              <a:gd name="connsiteX24" fmla="*/ 369285 w 857104"/>
              <a:gd name="connsiteY24" fmla="*/ 28430 h 366798"/>
              <a:gd name="connsiteX25" fmla="*/ 342618 w 857104"/>
              <a:gd name="connsiteY25" fmla="*/ 20332 h 366798"/>
              <a:gd name="connsiteX26" fmla="*/ 322430 w 857104"/>
              <a:gd name="connsiteY26" fmla="*/ 12234 h 366798"/>
              <a:gd name="connsiteX27" fmla="*/ 305482 w 857104"/>
              <a:gd name="connsiteY27" fmla="*/ 8242 h 366798"/>
              <a:gd name="connsiteX28" fmla="*/ 285295 w 857104"/>
              <a:gd name="connsiteY28" fmla="*/ 86 h 366798"/>
              <a:gd name="connsiteX29" fmla="*/ 275634 w 857104"/>
              <a:gd name="connsiteY29" fmla="*/ 8994 h 366798"/>
              <a:gd name="connsiteX30" fmla="*/ 261058 w 857104"/>
              <a:gd name="connsiteY30" fmla="*/ 18712 h 366798"/>
              <a:gd name="connsiteX31" fmla="*/ 249489 w 857104"/>
              <a:gd name="connsiteY31" fmla="*/ 32421 h 366798"/>
              <a:gd name="connsiteX32" fmla="*/ 259207 w 857104"/>
              <a:gd name="connsiteY32" fmla="*/ 55038 h 366798"/>
              <a:gd name="connsiteX33" fmla="*/ 258397 w 857104"/>
              <a:gd name="connsiteY33" fmla="*/ 71235 h 366798"/>
              <a:gd name="connsiteX34" fmla="*/ 235780 w 857104"/>
              <a:gd name="connsiteY34" fmla="*/ 82514 h 366798"/>
              <a:gd name="connsiteX35" fmla="*/ 216402 w 857104"/>
              <a:gd name="connsiteY35" fmla="*/ 76730 h 366798"/>
              <a:gd name="connsiteX36" fmla="*/ 194595 w 857104"/>
              <a:gd name="connsiteY36" fmla="*/ 78350 h 366798"/>
              <a:gd name="connsiteX37" fmla="*/ 171977 w 857104"/>
              <a:gd name="connsiteY37" fmla="*/ 69499 h 366798"/>
              <a:gd name="connsiteX38" fmla="*/ 163070 w 857104"/>
              <a:gd name="connsiteY38" fmla="*/ 54113 h 366798"/>
              <a:gd name="connsiteX39" fmla="*/ 125123 w 857104"/>
              <a:gd name="connsiteY39" fmla="*/ 47634 h 366798"/>
              <a:gd name="connsiteX40" fmla="*/ 105746 w 857104"/>
              <a:gd name="connsiteY40" fmla="*/ 50873 h 366798"/>
              <a:gd name="connsiteX41" fmla="*/ 87178 w 857104"/>
              <a:gd name="connsiteY41" fmla="*/ 58972 h 366798"/>
              <a:gd name="connsiteX42" fmla="*/ 69419 w 857104"/>
              <a:gd name="connsiteY42" fmla="*/ 71119 h 366798"/>
              <a:gd name="connsiteX43" fmla="*/ 48422 w 857104"/>
              <a:gd name="connsiteY43" fmla="*/ 83208 h 366798"/>
              <a:gd name="connsiteX44" fmla="*/ 23376 w 857104"/>
              <a:gd name="connsiteY44" fmla="*/ 94777 h 366798"/>
              <a:gd name="connsiteX45" fmla="*/ 4808 w 857104"/>
              <a:gd name="connsiteY45" fmla="*/ 102066 h 366798"/>
              <a:gd name="connsiteX46" fmla="*/ -110 w 857104"/>
              <a:gd name="connsiteY46" fmla="*/ 103743 h 366798"/>
              <a:gd name="connsiteX47" fmla="*/ 758 w 857104"/>
              <a:gd name="connsiteY47" fmla="*/ 106983 h 366798"/>
              <a:gd name="connsiteX48" fmla="*/ 20368 w 857104"/>
              <a:gd name="connsiteY48" fmla="*/ 132145 h 366798"/>
              <a:gd name="connsiteX49" fmla="*/ 44951 w 857104"/>
              <a:gd name="connsiteY49" fmla="*/ 145565 h 366798"/>
              <a:gd name="connsiteX50" fmla="*/ 68089 w 857104"/>
              <a:gd name="connsiteY50" fmla="*/ 164595 h 366798"/>
              <a:gd name="connsiteX51" fmla="*/ 82666 w 857104"/>
              <a:gd name="connsiteY51" fmla="*/ 185246 h 366798"/>
              <a:gd name="connsiteX52" fmla="*/ 80988 w 857104"/>
              <a:gd name="connsiteY52" fmla="*/ 212664 h 366798"/>
              <a:gd name="connsiteX53" fmla="*/ 74799 w 857104"/>
              <a:gd name="connsiteY53" fmla="*/ 234992 h 366798"/>
              <a:gd name="connsiteX54" fmla="*/ 136346 w 857104"/>
              <a:gd name="connsiteY54" fmla="*/ 250089 h 366798"/>
              <a:gd name="connsiteX55" fmla="*/ 156822 w 857104"/>
              <a:gd name="connsiteY55" fmla="*/ 262468 h 366798"/>
              <a:gd name="connsiteX56" fmla="*/ 174175 w 857104"/>
              <a:gd name="connsiteY56" fmla="*/ 274789 h 366798"/>
              <a:gd name="connsiteX57" fmla="*/ 195289 w 857104"/>
              <a:gd name="connsiteY57" fmla="*/ 297926 h 366798"/>
              <a:gd name="connsiteX58" fmla="*/ 211138 w 857104"/>
              <a:gd name="connsiteY58" fmla="*/ 326039 h 366798"/>
              <a:gd name="connsiteX59" fmla="*/ 246308 w 857104"/>
              <a:gd name="connsiteY59" fmla="*/ 329567 h 366798"/>
              <a:gd name="connsiteX60" fmla="*/ 311440 w 857104"/>
              <a:gd name="connsiteY60" fmla="*/ 331303 h 366798"/>
              <a:gd name="connsiteX61" fmla="*/ 360723 w 857104"/>
              <a:gd name="connsiteY61" fmla="*/ 341830 h 366798"/>
              <a:gd name="connsiteX62" fmla="*/ 390629 w 857104"/>
              <a:gd name="connsiteY62" fmla="*/ 348887 h 366798"/>
              <a:gd name="connsiteX63" fmla="*/ 418741 w 857104"/>
              <a:gd name="connsiteY63" fmla="*/ 355944 h 366798"/>
              <a:gd name="connsiteX64" fmla="*/ 439912 w 857104"/>
              <a:gd name="connsiteY64" fmla="*/ 366530 h 366798"/>
              <a:gd name="connsiteX65" fmla="*/ 487402 w 857104"/>
              <a:gd name="connsiteY65" fmla="*/ 341830 h 366798"/>
              <a:gd name="connsiteX66" fmla="*/ 549007 w 857104"/>
              <a:gd name="connsiteY66" fmla="*/ 340153 h 366798"/>
              <a:gd name="connsiteX67" fmla="*/ 598232 w 857104"/>
              <a:gd name="connsiteY67" fmla="*/ 318982 h 366798"/>
              <a:gd name="connsiteX68" fmla="*/ 631666 w 857104"/>
              <a:gd name="connsiteY68" fmla="*/ 292605 h 366798"/>
              <a:gd name="connsiteX69" fmla="*/ 624609 w 857104"/>
              <a:gd name="connsiteY69" fmla="*/ 260906 h 366798"/>
              <a:gd name="connsiteX70" fmla="*/ 650524 w 857104"/>
              <a:gd name="connsiteY70" fmla="*/ 253595 h 366798"/>
              <a:gd name="connsiteX71" fmla="*/ 651044 w 857104"/>
              <a:gd name="connsiteY71" fmla="*/ 253907 h 366798"/>
              <a:gd name="connsiteX72" fmla="*/ 695006 w 857104"/>
              <a:gd name="connsiteY72" fmla="*/ 250378 h 366798"/>
              <a:gd name="connsiteX73" fmla="*/ 735497 w 857104"/>
              <a:gd name="connsiteY73" fmla="*/ 238058 h 366798"/>
              <a:gd name="connsiteX74" fmla="*/ 760138 w 857104"/>
              <a:gd name="connsiteY74" fmla="*/ 214920 h 366798"/>
              <a:gd name="connsiteX75" fmla="*/ 793630 w 857104"/>
              <a:gd name="connsiteY75" fmla="*/ 200864 h 366798"/>
              <a:gd name="connsiteX76" fmla="*/ 828799 w 857104"/>
              <a:gd name="connsiteY76" fmla="*/ 193807 h 366798"/>
              <a:gd name="connsiteX77" fmla="*/ 856912 w 857104"/>
              <a:gd name="connsiteY77" fmla="*/ 190278 h 366798"/>
              <a:gd name="connsiteX78" fmla="*/ 822147 w 857104"/>
              <a:gd name="connsiteY78" fmla="*/ 153431 h 366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57104" h="366798">
                <a:moveTo>
                  <a:pt x="822147" y="153431"/>
                </a:moveTo>
                <a:cubicBezTo>
                  <a:pt x="816768" y="146727"/>
                  <a:pt x="806992" y="145657"/>
                  <a:pt x="800283" y="151037"/>
                </a:cubicBezTo>
                <a:cubicBezTo>
                  <a:pt x="798315" y="152598"/>
                  <a:pt x="796753" y="154611"/>
                  <a:pt x="795771" y="156902"/>
                </a:cubicBezTo>
                <a:cubicBezTo>
                  <a:pt x="792242" y="165752"/>
                  <a:pt x="785185" y="153431"/>
                  <a:pt x="769335" y="153431"/>
                </a:cubicBezTo>
                <a:cubicBezTo>
                  <a:pt x="753486" y="153431"/>
                  <a:pt x="751982" y="162224"/>
                  <a:pt x="741223" y="151638"/>
                </a:cubicBezTo>
                <a:cubicBezTo>
                  <a:pt x="730464" y="141053"/>
                  <a:pt x="744694" y="137524"/>
                  <a:pt x="744694" y="137524"/>
                </a:cubicBezTo>
                <a:lnTo>
                  <a:pt x="746487" y="123526"/>
                </a:lnTo>
                <a:lnTo>
                  <a:pt x="768352" y="79796"/>
                </a:lnTo>
                <a:cubicBezTo>
                  <a:pt x="762105" y="77158"/>
                  <a:pt x="755222" y="76493"/>
                  <a:pt x="748569" y="77887"/>
                </a:cubicBezTo>
                <a:cubicBezTo>
                  <a:pt x="742091" y="80258"/>
                  <a:pt x="726704" y="78697"/>
                  <a:pt x="725432" y="73086"/>
                </a:cubicBezTo>
                <a:cubicBezTo>
                  <a:pt x="724159" y="67475"/>
                  <a:pt x="697956" y="66607"/>
                  <a:pt x="691477" y="71466"/>
                </a:cubicBezTo>
                <a:cubicBezTo>
                  <a:pt x="684999" y="76325"/>
                  <a:pt x="670480" y="80258"/>
                  <a:pt x="669728" y="85985"/>
                </a:cubicBezTo>
                <a:cubicBezTo>
                  <a:pt x="668976" y="91712"/>
                  <a:pt x="653531" y="90034"/>
                  <a:pt x="647862" y="94025"/>
                </a:cubicBezTo>
                <a:cubicBezTo>
                  <a:pt x="642194" y="98017"/>
                  <a:pt x="613156" y="99810"/>
                  <a:pt x="612346" y="102933"/>
                </a:cubicBezTo>
                <a:cubicBezTo>
                  <a:pt x="611537" y="106057"/>
                  <a:pt x="580879" y="106983"/>
                  <a:pt x="576020" y="102933"/>
                </a:cubicBezTo>
                <a:cubicBezTo>
                  <a:pt x="571161" y="98884"/>
                  <a:pt x="544495" y="102933"/>
                  <a:pt x="541314" y="96455"/>
                </a:cubicBezTo>
                <a:cubicBezTo>
                  <a:pt x="538132" y="89976"/>
                  <a:pt x="526795" y="86795"/>
                  <a:pt x="526795" y="81126"/>
                </a:cubicBezTo>
                <a:cubicBezTo>
                  <a:pt x="526795" y="75457"/>
                  <a:pt x="506607" y="75342"/>
                  <a:pt x="504177" y="70656"/>
                </a:cubicBezTo>
                <a:cubicBezTo>
                  <a:pt x="501748" y="65971"/>
                  <a:pt x="485609" y="63310"/>
                  <a:pt x="483180" y="64872"/>
                </a:cubicBezTo>
                <a:cubicBezTo>
                  <a:pt x="480750" y="66434"/>
                  <a:pt x="462992" y="60013"/>
                  <a:pt x="458133" y="59087"/>
                </a:cubicBezTo>
                <a:cubicBezTo>
                  <a:pt x="453274" y="58162"/>
                  <a:pt x="437946" y="62327"/>
                  <a:pt x="433086" y="62327"/>
                </a:cubicBezTo>
                <a:cubicBezTo>
                  <a:pt x="428228" y="62327"/>
                  <a:pt x="419377" y="71235"/>
                  <a:pt x="413709" y="71987"/>
                </a:cubicBezTo>
                <a:cubicBezTo>
                  <a:pt x="408040" y="72739"/>
                  <a:pt x="392711" y="62327"/>
                  <a:pt x="389472" y="64698"/>
                </a:cubicBezTo>
                <a:cubicBezTo>
                  <a:pt x="386233" y="67070"/>
                  <a:pt x="376573" y="56658"/>
                  <a:pt x="372524" y="51857"/>
                </a:cubicBezTo>
                <a:cubicBezTo>
                  <a:pt x="368475" y="47056"/>
                  <a:pt x="372524" y="33231"/>
                  <a:pt x="369285" y="28430"/>
                </a:cubicBezTo>
                <a:cubicBezTo>
                  <a:pt x="366045" y="23629"/>
                  <a:pt x="348287" y="23571"/>
                  <a:pt x="342618" y="20332"/>
                </a:cubicBezTo>
                <a:cubicBezTo>
                  <a:pt x="336545" y="16265"/>
                  <a:pt x="329661" y="13506"/>
                  <a:pt x="322430" y="12234"/>
                </a:cubicBezTo>
                <a:cubicBezTo>
                  <a:pt x="316531" y="12430"/>
                  <a:pt x="310688" y="11053"/>
                  <a:pt x="305482" y="8242"/>
                </a:cubicBezTo>
                <a:cubicBezTo>
                  <a:pt x="299177" y="4615"/>
                  <a:pt x="292352" y="1874"/>
                  <a:pt x="285295" y="86"/>
                </a:cubicBezTo>
                <a:cubicBezTo>
                  <a:pt x="279510" y="-1476"/>
                  <a:pt x="278816" y="5871"/>
                  <a:pt x="275634" y="8994"/>
                </a:cubicBezTo>
                <a:cubicBezTo>
                  <a:pt x="272453" y="12118"/>
                  <a:pt x="262677" y="13043"/>
                  <a:pt x="261058" y="18712"/>
                </a:cubicBezTo>
                <a:cubicBezTo>
                  <a:pt x="259438" y="24381"/>
                  <a:pt x="248100" y="26000"/>
                  <a:pt x="249489" y="32421"/>
                </a:cubicBezTo>
                <a:cubicBezTo>
                  <a:pt x="250877" y="38842"/>
                  <a:pt x="255273" y="51857"/>
                  <a:pt x="259207" y="55038"/>
                </a:cubicBezTo>
                <a:cubicBezTo>
                  <a:pt x="263140" y="58220"/>
                  <a:pt x="260827" y="67995"/>
                  <a:pt x="258397" y="71235"/>
                </a:cubicBezTo>
                <a:cubicBezTo>
                  <a:pt x="255967" y="74474"/>
                  <a:pt x="239019" y="77019"/>
                  <a:pt x="235780" y="82514"/>
                </a:cubicBezTo>
                <a:cubicBezTo>
                  <a:pt x="232541" y="88010"/>
                  <a:pt x="224211" y="81705"/>
                  <a:pt x="216402" y="76730"/>
                </a:cubicBezTo>
                <a:cubicBezTo>
                  <a:pt x="209461" y="72987"/>
                  <a:pt x="200957" y="73624"/>
                  <a:pt x="194595" y="78350"/>
                </a:cubicBezTo>
                <a:cubicBezTo>
                  <a:pt x="190604" y="81589"/>
                  <a:pt x="176027" y="70309"/>
                  <a:pt x="171977" y="69499"/>
                </a:cubicBezTo>
                <a:cubicBezTo>
                  <a:pt x="167928" y="68690"/>
                  <a:pt x="167118" y="53303"/>
                  <a:pt x="163070" y="54113"/>
                </a:cubicBezTo>
                <a:cubicBezTo>
                  <a:pt x="150286" y="53025"/>
                  <a:pt x="137560" y="50862"/>
                  <a:pt x="125123" y="47634"/>
                </a:cubicBezTo>
                <a:cubicBezTo>
                  <a:pt x="119339" y="46072"/>
                  <a:pt x="107366" y="46882"/>
                  <a:pt x="105746" y="50873"/>
                </a:cubicBezTo>
                <a:cubicBezTo>
                  <a:pt x="104126" y="54865"/>
                  <a:pt x="89607" y="54113"/>
                  <a:pt x="87178" y="58972"/>
                </a:cubicBezTo>
                <a:cubicBezTo>
                  <a:pt x="84748" y="63831"/>
                  <a:pt x="73411" y="66260"/>
                  <a:pt x="69419" y="71119"/>
                </a:cubicBezTo>
                <a:cubicBezTo>
                  <a:pt x="65428" y="75978"/>
                  <a:pt x="51604" y="75920"/>
                  <a:pt x="48422" y="83208"/>
                </a:cubicBezTo>
                <a:cubicBezTo>
                  <a:pt x="45241" y="90497"/>
                  <a:pt x="28234" y="93678"/>
                  <a:pt x="23376" y="94777"/>
                </a:cubicBezTo>
                <a:cubicBezTo>
                  <a:pt x="18517" y="95876"/>
                  <a:pt x="5618" y="98017"/>
                  <a:pt x="4808" y="102066"/>
                </a:cubicBezTo>
                <a:cubicBezTo>
                  <a:pt x="4402" y="103801"/>
                  <a:pt x="2378" y="104032"/>
                  <a:pt x="-110" y="103743"/>
                </a:cubicBezTo>
                <a:cubicBezTo>
                  <a:pt x="-110" y="104784"/>
                  <a:pt x="527" y="105768"/>
                  <a:pt x="758" y="106983"/>
                </a:cubicBezTo>
                <a:cubicBezTo>
                  <a:pt x="4114" y="125377"/>
                  <a:pt x="11923" y="124914"/>
                  <a:pt x="20368" y="132145"/>
                </a:cubicBezTo>
                <a:cubicBezTo>
                  <a:pt x="28813" y="139375"/>
                  <a:pt x="35986" y="144986"/>
                  <a:pt x="44951" y="145565"/>
                </a:cubicBezTo>
                <a:cubicBezTo>
                  <a:pt x="53918" y="146143"/>
                  <a:pt x="67337" y="156729"/>
                  <a:pt x="68089" y="164595"/>
                </a:cubicBezTo>
                <a:cubicBezTo>
                  <a:pt x="70635" y="172856"/>
                  <a:pt x="75725" y="180092"/>
                  <a:pt x="82666" y="185246"/>
                </a:cubicBezTo>
                <a:cubicBezTo>
                  <a:pt x="87698" y="189179"/>
                  <a:pt x="80988" y="202599"/>
                  <a:pt x="80988" y="212664"/>
                </a:cubicBezTo>
                <a:cubicBezTo>
                  <a:pt x="80988" y="222729"/>
                  <a:pt x="68667" y="224985"/>
                  <a:pt x="74799" y="234992"/>
                </a:cubicBezTo>
                <a:cubicBezTo>
                  <a:pt x="80930" y="244999"/>
                  <a:pt x="124025" y="250089"/>
                  <a:pt x="136346" y="250089"/>
                </a:cubicBezTo>
                <a:cubicBezTo>
                  <a:pt x="148667" y="250089"/>
                  <a:pt x="153063" y="261658"/>
                  <a:pt x="156822" y="262468"/>
                </a:cubicBezTo>
                <a:cubicBezTo>
                  <a:pt x="164574" y="263741"/>
                  <a:pt x="165614" y="272996"/>
                  <a:pt x="174175" y="274789"/>
                </a:cubicBezTo>
                <a:cubicBezTo>
                  <a:pt x="182737" y="276582"/>
                  <a:pt x="191529" y="281788"/>
                  <a:pt x="195289" y="297926"/>
                </a:cubicBezTo>
                <a:cubicBezTo>
                  <a:pt x="199049" y="314065"/>
                  <a:pt x="209403" y="318982"/>
                  <a:pt x="211138" y="326039"/>
                </a:cubicBezTo>
                <a:cubicBezTo>
                  <a:pt x="212874" y="333096"/>
                  <a:pt x="232251" y="327774"/>
                  <a:pt x="246308" y="329567"/>
                </a:cubicBezTo>
                <a:cubicBezTo>
                  <a:pt x="260363" y="331360"/>
                  <a:pt x="300854" y="329567"/>
                  <a:pt x="311440" y="331303"/>
                </a:cubicBezTo>
                <a:cubicBezTo>
                  <a:pt x="322026" y="333038"/>
                  <a:pt x="346609" y="331303"/>
                  <a:pt x="360723" y="341830"/>
                </a:cubicBezTo>
                <a:cubicBezTo>
                  <a:pt x="374838" y="352358"/>
                  <a:pt x="381836" y="343624"/>
                  <a:pt x="390629" y="348887"/>
                </a:cubicBezTo>
                <a:cubicBezTo>
                  <a:pt x="398727" y="354851"/>
                  <a:pt x="408792" y="357385"/>
                  <a:pt x="418741" y="355944"/>
                </a:cubicBezTo>
                <a:cubicBezTo>
                  <a:pt x="431120" y="354151"/>
                  <a:pt x="431120" y="364737"/>
                  <a:pt x="439912" y="366530"/>
                </a:cubicBezTo>
                <a:cubicBezTo>
                  <a:pt x="448705" y="368323"/>
                  <a:pt x="464496" y="352416"/>
                  <a:pt x="487402" y="341830"/>
                </a:cubicBezTo>
                <a:cubicBezTo>
                  <a:pt x="510309" y="331245"/>
                  <a:pt x="536686" y="338360"/>
                  <a:pt x="549007" y="340153"/>
                </a:cubicBezTo>
                <a:cubicBezTo>
                  <a:pt x="561327" y="341946"/>
                  <a:pt x="584176" y="334831"/>
                  <a:pt x="598232" y="318982"/>
                </a:cubicBezTo>
                <a:cubicBezTo>
                  <a:pt x="612289" y="303133"/>
                  <a:pt x="629931" y="306661"/>
                  <a:pt x="631666" y="292605"/>
                </a:cubicBezTo>
                <a:cubicBezTo>
                  <a:pt x="633401" y="278549"/>
                  <a:pt x="617610" y="273227"/>
                  <a:pt x="624609" y="260906"/>
                </a:cubicBezTo>
                <a:cubicBezTo>
                  <a:pt x="629757" y="251738"/>
                  <a:pt x="641326" y="248464"/>
                  <a:pt x="650524" y="253595"/>
                </a:cubicBezTo>
                <a:cubicBezTo>
                  <a:pt x="650697" y="253699"/>
                  <a:pt x="650870" y="253803"/>
                  <a:pt x="651044" y="253907"/>
                </a:cubicBezTo>
                <a:cubicBezTo>
                  <a:pt x="665273" y="260530"/>
                  <a:pt x="681991" y="259194"/>
                  <a:pt x="695006" y="250378"/>
                </a:cubicBezTo>
                <a:cubicBezTo>
                  <a:pt x="712359" y="238058"/>
                  <a:pt x="719647" y="239793"/>
                  <a:pt x="735497" y="238058"/>
                </a:cubicBezTo>
                <a:cubicBezTo>
                  <a:pt x="751346" y="236322"/>
                  <a:pt x="749553" y="225737"/>
                  <a:pt x="760138" y="214920"/>
                </a:cubicBezTo>
                <a:cubicBezTo>
                  <a:pt x="768931" y="205914"/>
                  <a:pt x="781020" y="200841"/>
                  <a:pt x="793630" y="200864"/>
                </a:cubicBezTo>
                <a:cubicBezTo>
                  <a:pt x="804158" y="200864"/>
                  <a:pt x="818214" y="190278"/>
                  <a:pt x="828799" y="193807"/>
                </a:cubicBezTo>
                <a:cubicBezTo>
                  <a:pt x="839385" y="197335"/>
                  <a:pt x="855119" y="199071"/>
                  <a:pt x="856912" y="190278"/>
                </a:cubicBezTo>
                <a:cubicBezTo>
                  <a:pt x="858705" y="181486"/>
                  <a:pt x="830940" y="163959"/>
                  <a:pt x="822147" y="153431"/>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4" name="Forma libre: forma 53">
            <a:extLst>
              <a:ext uri="{FF2B5EF4-FFF2-40B4-BE49-F238E27FC236}">
                <a16:creationId xmlns:a16="http://schemas.microsoft.com/office/drawing/2014/main" id="{BB834013-590F-1FD0-7D23-66A3E0106E4C}"/>
              </a:ext>
            </a:extLst>
          </p:cNvPr>
          <p:cNvSpPr/>
          <p:nvPr/>
        </p:nvSpPr>
        <p:spPr>
          <a:xfrm>
            <a:off x="7129545" y="3550540"/>
            <a:ext cx="13997" cy="37502"/>
          </a:xfrm>
          <a:custGeom>
            <a:avLst/>
            <a:gdLst>
              <a:gd name="connsiteX0" fmla="*/ 5675 w 13997"/>
              <a:gd name="connsiteY0" fmla="*/ 238 h 37502"/>
              <a:gd name="connsiteX1" fmla="*/ -110 w 13997"/>
              <a:gd name="connsiteY1" fmla="*/ 20021 h 37502"/>
              <a:gd name="connsiteX2" fmla="*/ 10013 w 13997"/>
              <a:gd name="connsiteY2" fmla="*/ 37374 h 37502"/>
              <a:gd name="connsiteX3" fmla="*/ 12963 w 13997"/>
              <a:gd name="connsiteY3" fmla="*/ 5386 h 37502"/>
              <a:gd name="connsiteX4" fmla="*/ 13888 w 13997"/>
              <a:gd name="connsiteY4" fmla="*/ 64 h 37502"/>
              <a:gd name="connsiteX5" fmla="*/ 5675 w 13997"/>
              <a:gd name="connsiteY5" fmla="*/ 238 h 3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7" h="37502">
                <a:moveTo>
                  <a:pt x="5675" y="238"/>
                </a:moveTo>
                <a:cubicBezTo>
                  <a:pt x="1567" y="1916"/>
                  <a:pt x="-110" y="17591"/>
                  <a:pt x="-110" y="20021"/>
                </a:cubicBezTo>
                <a:cubicBezTo>
                  <a:pt x="1452" y="26679"/>
                  <a:pt x="4981" y="32712"/>
                  <a:pt x="10013" y="37374"/>
                </a:cubicBezTo>
                <a:cubicBezTo>
                  <a:pt x="11517" y="25400"/>
                  <a:pt x="11922" y="9667"/>
                  <a:pt x="12963" y="5386"/>
                </a:cubicBezTo>
                <a:cubicBezTo>
                  <a:pt x="12963" y="4287"/>
                  <a:pt x="13542" y="2378"/>
                  <a:pt x="13888" y="64"/>
                </a:cubicBezTo>
                <a:cubicBezTo>
                  <a:pt x="11170" y="-242"/>
                  <a:pt x="8393" y="-184"/>
                  <a:pt x="5675" y="23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5" name="Forma libre: forma 54">
            <a:extLst>
              <a:ext uri="{FF2B5EF4-FFF2-40B4-BE49-F238E27FC236}">
                <a16:creationId xmlns:a16="http://schemas.microsoft.com/office/drawing/2014/main" id="{623DB3C7-7CCD-BF6A-E38E-A0AF0B4F29B3}"/>
              </a:ext>
            </a:extLst>
          </p:cNvPr>
          <p:cNvSpPr/>
          <p:nvPr/>
        </p:nvSpPr>
        <p:spPr>
          <a:xfrm>
            <a:off x="7106234" y="3527191"/>
            <a:ext cx="39681" cy="113953"/>
          </a:xfrm>
          <a:custGeom>
            <a:avLst/>
            <a:gdLst>
              <a:gd name="connsiteX0" fmla="*/ 18285 w 39681"/>
              <a:gd name="connsiteY0" fmla="*/ 112263 h 113953"/>
              <a:gd name="connsiteX1" fmla="*/ 21120 w 39681"/>
              <a:gd name="connsiteY1" fmla="*/ 113824 h 113953"/>
              <a:gd name="connsiteX2" fmla="*/ 29853 w 39681"/>
              <a:gd name="connsiteY2" fmla="*/ 74201 h 113953"/>
              <a:gd name="connsiteX3" fmla="*/ 33383 w 39681"/>
              <a:gd name="connsiteY3" fmla="*/ 60955 h 113953"/>
              <a:gd name="connsiteX4" fmla="*/ 23260 w 39681"/>
              <a:gd name="connsiteY4" fmla="*/ 43601 h 113953"/>
              <a:gd name="connsiteX5" fmla="*/ 29044 w 39681"/>
              <a:gd name="connsiteY5" fmla="*/ 23819 h 113953"/>
              <a:gd name="connsiteX6" fmla="*/ 37316 w 39681"/>
              <a:gd name="connsiteY6" fmla="*/ 23819 h 113953"/>
              <a:gd name="connsiteX7" fmla="*/ 39572 w 39681"/>
              <a:gd name="connsiteY7" fmla="*/ 5655 h 113953"/>
              <a:gd name="connsiteX8" fmla="*/ 25805 w 39681"/>
              <a:gd name="connsiteY8" fmla="*/ -129 h 113953"/>
              <a:gd name="connsiteX9" fmla="*/ 21466 w 39681"/>
              <a:gd name="connsiteY9" fmla="*/ 12712 h 113953"/>
              <a:gd name="connsiteX10" fmla="*/ -110 w 39681"/>
              <a:gd name="connsiteY10" fmla="*/ 61302 h 113953"/>
              <a:gd name="connsiteX11" fmla="*/ 19500 w 39681"/>
              <a:gd name="connsiteY11" fmla="*/ 109428 h 11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681" h="113953">
                <a:moveTo>
                  <a:pt x="18285" y="112263"/>
                </a:moveTo>
                <a:lnTo>
                  <a:pt x="21120" y="113824"/>
                </a:lnTo>
                <a:cubicBezTo>
                  <a:pt x="23433" y="97397"/>
                  <a:pt x="26904" y="78076"/>
                  <a:pt x="29853" y="74201"/>
                </a:cubicBezTo>
                <a:cubicBezTo>
                  <a:pt x="31936" y="70071"/>
                  <a:pt x="33093" y="65565"/>
                  <a:pt x="33383" y="60955"/>
                </a:cubicBezTo>
                <a:cubicBezTo>
                  <a:pt x="28350" y="56292"/>
                  <a:pt x="24821" y="50259"/>
                  <a:pt x="23260" y="43601"/>
                </a:cubicBezTo>
                <a:cubicBezTo>
                  <a:pt x="23260" y="41114"/>
                  <a:pt x="24879" y="25496"/>
                  <a:pt x="29044" y="23819"/>
                </a:cubicBezTo>
                <a:cubicBezTo>
                  <a:pt x="31763" y="23448"/>
                  <a:pt x="34597" y="23448"/>
                  <a:pt x="37316" y="23819"/>
                </a:cubicBezTo>
                <a:cubicBezTo>
                  <a:pt x="38068" y="18902"/>
                  <a:pt x="38935" y="11960"/>
                  <a:pt x="39572" y="5655"/>
                </a:cubicBezTo>
                <a:lnTo>
                  <a:pt x="25805" y="-129"/>
                </a:lnTo>
                <a:cubicBezTo>
                  <a:pt x="23838" y="3949"/>
                  <a:pt x="22334" y="8264"/>
                  <a:pt x="21466" y="12712"/>
                </a:cubicBezTo>
                <a:cubicBezTo>
                  <a:pt x="19152" y="27289"/>
                  <a:pt x="6253" y="51352"/>
                  <a:pt x="-110" y="61302"/>
                </a:cubicBezTo>
                <a:lnTo>
                  <a:pt x="19500" y="109428"/>
                </a:ln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6" name="Forma libre: forma 55">
            <a:extLst>
              <a:ext uri="{FF2B5EF4-FFF2-40B4-BE49-F238E27FC236}">
                <a16:creationId xmlns:a16="http://schemas.microsoft.com/office/drawing/2014/main" id="{619701EC-C79C-1D7B-EE27-EDFAEBAE285A}"/>
              </a:ext>
            </a:extLst>
          </p:cNvPr>
          <p:cNvSpPr/>
          <p:nvPr/>
        </p:nvSpPr>
        <p:spPr>
          <a:xfrm>
            <a:off x="7127694" y="3525108"/>
            <a:ext cx="115399" cy="126757"/>
          </a:xfrm>
          <a:custGeom>
            <a:avLst/>
            <a:gdLst>
              <a:gd name="connsiteX0" fmla="*/ 106382 w 115399"/>
              <a:gd name="connsiteY0" fmla="*/ -129 h 126757"/>
              <a:gd name="connsiteX1" fmla="*/ 71675 w 115399"/>
              <a:gd name="connsiteY1" fmla="*/ 16414 h 126757"/>
              <a:gd name="connsiteX2" fmla="*/ 45761 w 115399"/>
              <a:gd name="connsiteY2" fmla="*/ 30413 h 126757"/>
              <a:gd name="connsiteX3" fmla="*/ 21004 w 115399"/>
              <a:gd name="connsiteY3" fmla="*/ 17513 h 126757"/>
              <a:gd name="connsiteX4" fmla="*/ 18806 w 115399"/>
              <a:gd name="connsiteY4" fmla="*/ 7738 h 126757"/>
              <a:gd name="connsiteX5" fmla="*/ 18285 w 115399"/>
              <a:gd name="connsiteY5" fmla="*/ 7738 h 126757"/>
              <a:gd name="connsiteX6" fmla="*/ 15104 w 115399"/>
              <a:gd name="connsiteY6" fmla="*/ 31223 h 126757"/>
              <a:gd name="connsiteX7" fmla="*/ 8625 w 115399"/>
              <a:gd name="connsiteY7" fmla="*/ 76457 h 126757"/>
              <a:gd name="connsiteX8" fmla="*/ -110 w 115399"/>
              <a:gd name="connsiteY8" fmla="*/ 116080 h 126757"/>
              <a:gd name="connsiteX9" fmla="*/ 24243 w 115399"/>
              <a:gd name="connsiteY9" fmla="*/ 126550 h 126757"/>
              <a:gd name="connsiteX10" fmla="*/ 45761 w 115399"/>
              <a:gd name="connsiteY10" fmla="*/ 110412 h 126757"/>
              <a:gd name="connsiteX11" fmla="*/ 63115 w 115399"/>
              <a:gd name="connsiteY11" fmla="*/ 102834 h 126757"/>
              <a:gd name="connsiteX12" fmla="*/ 79253 w 115399"/>
              <a:gd name="connsiteY12" fmla="*/ 89934 h 126757"/>
              <a:gd name="connsiteX13" fmla="*/ 58776 w 115399"/>
              <a:gd name="connsiteY13" fmla="*/ 66161 h 126757"/>
              <a:gd name="connsiteX14" fmla="*/ 85731 w 115399"/>
              <a:gd name="connsiteY14" fmla="*/ 48807 h 126757"/>
              <a:gd name="connsiteX15" fmla="*/ 113786 w 115399"/>
              <a:gd name="connsiteY15" fmla="*/ 40188 h 126757"/>
              <a:gd name="connsiteX16" fmla="*/ 115290 w 115399"/>
              <a:gd name="connsiteY16" fmla="*/ 40188 h 126757"/>
              <a:gd name="connsiteX17" fmla="*/ 108869 w 115399"/>
              <a:gd name="connsiteY17" fmla="*/ 13349 h 126757"/>
              <a:gd name="connsiteX18" fmla="*/ 106382 w 115399"/>
              <a:gd name="connsiteY18" fmla="*/ -129 h 12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5399" h="126757">
                <a:moveTo>
                  <a:pt x="106382" y="-129"/>
                </a:moveTo>
                <a:cubicBezTo>
                  <a:pt x="95160" y="6107"/>
                  <a:pt x="83591" y="11631"/>
                  <a:pt x="71675" y="16414"/>
                </a:cubicBezTo>
                <a:cubicBezTo>
                  <a:pt x="64097" y="17513"/>
                  <a:pt x="45761" y="30413"/>
                  <a:pt x="45761" y="30413"/>
                </a:cubicBezTo>
                <a:lnTo>
                  <a:pt x="21004" y="17513"/>
                </a:lnTo>
                <a:lnTo>
                  <a:pt x="18806" y="7738"/>
                </a:lnTo>
                <a:lnTo>
                  <a:pt x="18285" y="7738"/>
                </a:lnTo>
                <a:cubicBezTo>
                  <a:pt x="17302" y="17051"/>
                  <a:pt x="15971" y="27810"/>
                  <a:pt x="15104" y="31223"/>
                </a:cubicBezTo>
                <a:cubicBezTo>
                  <a:pt x="13484" y="37701"/>
                  <a:pt x="13484" y="70036"/>
                  <a:pt x="8625" y="76457"/>
                </a:cubicBezTo>
                <a:cubicBezTo>
                  <a:pt x="5733" y="80332"/>
                  <a:pt x="2204" y="99595"/>
                  <a:pt x="-110" y="116080"/>
                </a:cubicBezTo>
                <a:cubicBezTo>
                  <a:pt x="7468" y="120673"/>
                  <a:pt x="15682" y="124196"/>
                  <a:pt x="24243" y="126550"/>
                </a:cubicBezTo>
                <a:cubicBezTo>
                  <a:pt x="33961" y="127649"/>
                  <a:pt x="45761" y="116890"/>
                  <a:pt x="45761" y="110412"/>
                </a:cubicBezTo>
                <a:cubicBezTo>
                  <a:pt x="45761" y="103933"/>
                  <a:pt x="54380" y="102834"/>
                  <a:pt x="63115" y="102834"/>
                </a:cubicBezTo>
                <a:cubicBezTo>
                  <a:pt x="71849" y="102834"/>
                  <a:pt x="72774" y="93174"/>
                  <a:pt x="79253" y="89934"/>
                </a:cubicBezTo>
                <a:cubicBezTo>
                  <a:pt x="85731" y="86695"/>
                  <a:pt x="65255" y="68359"/>
                  <a:pt x="58776" y="66161"/>
                </a:cubicBezTo>
                <a:cubicBezTo>
                  <a:pt x="52298" y="63962"/>
                  <a:pt x="64155" y="50022"/>
                  <a:pt x="85731" y="48807"/>
                </a:cubicBezTo>
                <a:cubicBezTo>
                  <a:pt x="107308" y="47592"/>
                  <a:pt x="101928" y="40188"/>
                  <a:pt x="113786" y="40188"/>
                </a:cubicBezTo>
                <a:lnTo>
                  <a:pt x="115290" y="40188"/>
                </a:lnTo>
                <a:cubicBezTo>
                  <a:pt x="113207" y="30760"/>
                  <a:pt x="110547" y="19307"/>
                  <a:pt x="108869" y="13349"/>
                </a:cubicBezTo>
                <a:cubicBezTo>
                  <a:pt x="107654" y="8941"/>
                  <a:pt x="106787" y="4429"/>
                  <a:pt x="106382" y="-12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7" name="Forma libre: forma 56">
            <a:extLst>
              <a:ext uri="{FF2B5EF4-FFF2-40B4-BE49-F238E27FC236}">
                <a16:creationId xmlns:a16="http://schemas.microsoft.com/office/drawing/2014/main" id="{3CB84339-06FD-8D71-A1B9-EAC1AA14E5B5}"/>
              </a:ext>
            </a:extLst>
          </p:cNvPr>
          <p:cNvSpPr/>
          <p:nvPr/>
        </p:nvSpPr>
        <p:spPr>
          <a:xfrm>
            <a:off x="8082753" y="3215033"/>
            <a:ext cx="297905" cy="125862"/>
          </a:xfrm>
          <a:custGeom>
            <a:avLst/>
            <a:gdLst>
              <a:gd name="connsiteX0" fmla="*/ 274600 w 297905"/>
              <a:gd name="connsiteY0" fmla="*/ 22923 h 125862"/>
              <a:gd name="connsiteX1" fmla="*/ 248744 w 297905"/>
              <a:gd name="connsiteY1" fmla="*/ 15635 h 125862"/>
              <a:gd name="connsiteX2" fmla="*/ 178463 w 297905"/>
              <a:gd name="connsiteY2" fmla="*/ 11586 h 125862"/>
              <a:gd name="connsiteX3" fmla="*/ 142138 w 297905"/>
              <a:gd name="connsiteY3" fmla="*/ 1058 h 125862"/>
              <a:gd name="connsiteX4" fmla="*/ 113852 w 297905"/>
              <a:gd name="connsiteY4" fmla="*/ 12627 h 125862"/>
              <a:gd name="connsiteX5" fmla="*/ 89614 w 297905"/>
              <a:gd name="connsiteY5" fmla="*/ 16618 h 125862"/>
              <a:gd name="connsiteX6" fmla="*/ 52537 w 297905"/>
              <a:gd name="connsiteY6" fmla="*/ 17486 h 125862"/>
              <a:gd name="connsiteX7" fmla="*/ 35530 w 297905"/>
              <a:gd name="connsiteY7" fmla="*/ 36054 h 125862"/>
              <a:gd name="connsiteX8" fmla="*/ 27258 w 297905"/>
              <a:gd name="connsiteY8" fmla="*/ 51267 h 125862"/>
              <a:gd name="connsiteX9" fmla="*/ 37439 w 297905"/>
              <a:gd name="connsiteY9" fmla="*/ 60291 h 125862"/>
              <a:gd name="connsiteX10" fmla="*/ 59015 w 297905"/>
              <a:gd name="connsiteY10" fmla="*/ 59250 h 125862"/>
              <a:gd name="connsiteX11" fmla="*/ 96729 w 297905"/>
              <a:gd name="connsiteY11" fmla="*/ 76603 h 125862"/>
              <a:gd name="connsiteX12" fmla="*/ 85160 w 297905"/>
              <a:gd name="connsiteY12" fmla="*/ 90659 h 125862"/>
              <a:gd name="connsiteX13" fmla="*/ 59304 w 297905"/>
              <a:gd name="connsiteY13" fmla="*/ 94939 h 125862"/>
              <a:gd name="connsiteX14" fmla="*/ 19391 w 297905"/>
              <a:gd name="connsiteY14" fmla="*/ 100377 h 125862"/>
              <a:gd name="connsiteX15" fmla="*/ -44 w 297905"/>
              <a:gd name="connsiteY15" fmla="*/ 116515 h 125862"/>
              <a:gd name="connsiteX16" fmla="*/ 38770 w 297905"/>
              <a:gd name="connsiteY16" fmla="*/ 119755 h 125862"/>
              <a:gd name="connsiteX17" fmla="*/ 63585 w 297905"/>
              <a:gd name="connsiteY17" fmla="*/ 120854 h 125862"/>
              <a:gd name="connsiteX18" fmla="*/ 86260 w 297905"/>
              <a:gd name="connsiteY18" fmla="*/ 125134 h 125862"/>
              <a:gd name="connsiteX19" fmla="*/ 121776 w 297905"/>
              <a:gd name="connsiteY19" fmla="*/ 122994 h 125862"/>
              <a:gd name="connsiteX20" fmla="*/ 126230 w 297905"/>
              <a:gd name="connsiteY20" fmla="*/ 109458 h 125862"/>
              <a:gd name="connsiteX21" fmla="*/ 138378 w 297905"/>
              <a:gd name="connsiteY21" fmla="*/ 102170 h 125862"/>
              <a:gd name="connsiteX22" fmla="*/ 153533 w 297905"/>
              <a:gd name="connsiteY22" fmla="*/ 92510 h 125862"/>
              <a:gd name="connsiteX23" fmla="*/ 169844 w 297905"/>
              <a:gd name="connsiteY23" fmla="*/ 87015 h 125862"/>
              <a:gd name="connsiteX24" fmla="*/ 186851 w 297905"/>
              <a:gd name="connsiteY24" fmla="*/ 92510 h 125862"/>
              <a:gd name="connsiteX25" fmla="*/ 203163 w 297905"/>
              <a:gd name="connsiteY25" fmla="*/ 81577 h 125862"/>
              <a:gd name="connsiteX26" fmla="*/ 228036 w 297905"/>
              <a:gd name="connsiteY26" fmla="*/ 74289 h 125862"/>
              <a:gd name="connsiteX27" fmla="*/ 249844 w 297905"/>
              <a:gd name="connsiteY27" fmla="*/ 62200 h 125862"/>
              <a:gd name="connsiteX28" fmla="*/ 271072 w 297905"/>
              <a:gd name="connsiteY28" fmla="*/ 50110 h 125862"/>
              <a:gd name="connsiteX29" fmla="*/ 295309 w 297905"/>
              <a:gd name="connsiteY29" fmla="*/ 37963 h 125862"/>
              <a:gd name="connsiteX30" fmla="*/ 297796 w 297905"/>
              <a:gd name="connsiteY30" fmla="*/ 32178 h 125862"/>
              <a:gd name="connsiteX31" fmla="*/ 274600 w 297905"/>
              <a:gd name="connsiteY31" fmla="*/ 22923 h 12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7905" h="125862">
                <a:moveTo>
                  <a:pt x="274600" y="22923"/>
                </a:moveTo>
                <a:cubicBezTo>
                  <a:pt x="264131" y="10776"/>
                  <a:pt x="260891" y="18816"/>
                  <a:pt x="248744" y="15635"/>
                </a:cubicBezTo>
                <a:cubicBezTo>
                  <a:pt x="236597" y="12453"/>
                  <a:pt x="188181" y="7537"/>
                  <a:pt x="178463" y="11586"/>
                </a:cubicBezTo>
                <a:cubicBezTo>
                  <a:pt x="168746" y="15635"/>
                  <a:pt x="148558" y="4298"/>
                  <a:pt x="142138" y="1058"/>
                </a:cubicBezTo>
                <a:cubicBezTo>
                  <a:pt x="135716" y="-2181"/>
                  <a:pt x="114661" y="1058"/>
                  <a:pt x="113852" y="12627"/>
                </a:cubicBezTo>
                <a:cubicBezTo>
                  <a:pt x="113042" y="24196"/>
                  <a:pt x="104133" y="23907"/>
                  <a:pt x="89614" y="16618"/>
                </a:cubicBezTo>
                <a:cubicBezTo>
                  <a:pt x="75095" y="9330"/>
                  <a:pt x="53288" y="9388"/>
                  <a:pt x="52537" y="17486"/>
                </a:cubicBezTo>
                <a:cubicBezTo>
                  <a:pt x="51785" y="25584"/>
                  <a:pt x="40968" y="33625"/>
                  <a:pt x="35530" y="36054"/>
                </a:cubicBezTo>
                <a:cubicBezTo>
                  <a:pt x="33332" y="36980"/>
                  <a:pt x="30266" y="43516"/>
                  <a:pt x="27258" y="51267"/>
                </a:cubicBezTo>
                <a:cubicBezTo>
                  <a:pt x="31366" y="53344"/>
                  <a:pt x="34894" y="56456"/>
                  <a:pt x="37439" y="60291"/>
                </a:cubicBezTo>
                <a:cubicBezTo>
                  <a:pt x="42761" y="66827"/>
                  <a:pt x="56817" y="65728"/>
                  <a:pt x="59015" y="59250"/>
                </a:cubicBezTo>
                <a:cubicBezTo>
                  <a:pt x="61213" y="52771"/>
                  <a:pt x="83772" y="65728"/>
                  <a:pt x="96729" y="76603"/>
                </a:cubicBezTo>
                <a:cubicBezTo>
                  <a:pt x="109686" y="87478"/>
                  <a:pt x="90251" y="79842"/>
                  <a:pt x="85160" y="90659"/>
                </a:cubicBezTo>
                <a:cubicBezTo>
                  <a:pt x="80070" y="101476"/>
                  <a:pt x="63585" y="90659"/>
                  <a:pt x="59304" y="94939"/>
                </a:cubicBezTo>
                <a:cubicBezTo>
                  <a:pt x="55024" y="99220"/>
                  <a:pt x="26911" y="101418"/>
                  <a:pt x="19391" y="100377"/>
                </a:cubicBezTo>
                <a:cubicBezTo>
                  <a:pt x="11872" y="99336"/>
                  <a:pt x="-1143" y="111136"/>
                  <a:pt x="-44" y="116515"/>
                </a:cubicBezTo>
                <a:cubicBezTo>
                  <a:pt x="1055" y="121895"/>
                  <a:pt x="28878" y="113276"/>
                  <a:pt x="38770" y="119755"/>
                </a:cubicBezTo>
                <a:cubicBezTo>
                  <a:pt x="48661" y="126233"/>
                  <a:pt x="58205" y="113276"/>
                  <a:pt x="63585" y="120854"/>
                </a:cubicBezTo>
                <a:cubicBezTo>
                  <a:pt x="68964" y="128431"/>
                  <a:pt x="80938" y="122994"/>
                  <a:pt x="86260" y="125134"/>
                </a:cubicBezTo>
                <a:cubicBezTo>
                  <a:pt x="91582" y="127274"/>
                  <a:pt x="121545" y="122994"/>
                  <a:pt x="121776" y="122994"/>
                </a:cubicBezTo>
                <a:cubicBezTo>
                  <a:pt x="124784" y="119136"/>
                  <a:pt x="126345" y="114352"/>
                  <a:pt x="126230" y="109458"/>
                </a:cubicBezTo>
                <a:cubicBezTo>
                  <a:pt x="126230" y="102170"/>
                  <a:pt x="132015" y="104021"/>
                  <a:pt x="138378" y="102170"/>
                </a:cubicBezTo>
                <a:cubicBezTo>
                  <a:pt x="144740" y="100319"/>
                  <a:pt x="148731" y="92510"/>
                  <a:pt x="153533" y="92510"/>
                </a:cubicBezTo>
                <a:cubicBezTo>
                  <a:pt x="158334" y="92510"/>
                  <a:pt x="165102" y="85222"/>
                  <a:pt x="169844" y="87015"/>
                </a:cubicBezTo>
                <a:cubicBezTo>
                  <a:pt x="174588" y="88808"/>
                  <a:pt x="180777" y="97311"/>
                  <a:pt x="186851" y="92510"/>
                </a:cubicBezTo>
                <a:cubicBezTo>
                  <a:pt x="192924" y="87709"/>
                  <a:pt x="194718" y="91874"/>
                  <a:pt x="203163" y="81577"/>
                </a:cubicBezTo>
                <a:cubicBezTo>
                  <a:pt x="211609" y="71281"/>
                  <a:pt x="217161" y="73074"/>
                  <a:pt x="228036" y="74289"/>
                </a:cubicBezTo>
                <a:cubicBezTo>
                  <a:pt x="237291" y="76117"/>
                  <a:pt x="246488" y="71009"/>
                  <a:pt x="249844" y="62200"/>
                </a:cubicBezTo>
                <a:cubicBezTo>
                  <a:pt x="253488" y="54911"/>
                  <a:pt x="264363" y="54911"/>
                  <a:pt x="271072" y="50110"/>
                </a:cubicBezTo>
                <a:cubicBezTo>
                  <a:pt x="278766" y="45338"/>
                  <a:pt x="286863" y="41272"/>
                  <a:pt x="295309" y="37963"/>
                </a:cubicBezTo>
                <a:cubicBezTo>
                  <a:pt x="297333" y="37095"/>
                  <a:pt x="297796" y="34955"/>
                  <a:pt x="297796" y="32178"/>
                </a:cubicBezTo>
                <a:cubicBezTo>
                  <a:pt x="287731" y="23907"/>
                  <a:pt x="283567" y="33046"/>
                  <a:pt x="274600" y="22923"/>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8" name="Forma libre: forma 57">
            <a:extLst>
              <a:ext uri="{FF2B5EF4-FFF2-40B4-BE49-F238E27FC236}">
                <a16:creationId xmlns:a16="http://schemas.microsoft.com/office/drawing/2014/main" id="{BAB36A87-6BC5-5094-461A-1D73D0733E1D}"/>
              </a:ext>
            </a:extLst>
          </p:cNvPr>
          <p:cNvSpPr/>
          <p:nvPr/>
        </p:nvSpPr>
        <p:spPr>
          <a:xfrm>
            <a:off x="7263281" y="3198975"/>
            <a:ext cx="186427" cy="82840"/>
          </a:xfrm>
          <a:custGeom>
            <a:avLst/>
            <a:gdLst>
              <a:gd name="connsiteX0" fmla="*/ 74799 w 186427"/>
              <a:gd name="connsiteY0" fmla="*/ 64780 h 82840"/>
              <a:gd name="connsiteX1" fmla="*/ 94118 w 186427"/>
              <a:gd name="connsiteY1" fmla="*/ 80167 h 82840"/>
              <a:gd name="connsiteX2" fmla="*/ 95334 w 186427"/>
              <a:gd name="connsiteY2" fmla="*/ 81960 h 82840"/>
              <a:gd name="connsiteX3" fmla="*/ 122983 w 186427"/>
              <a:gd name="connsiteY3" fmla="*/ 76175 h 82840"/>
              <a:gd name="connsiteX4" fmla="*/ 147220 w 186427"/>
              <a:gd name="connsiteY4" fmla="*/ 78663 h 82840"/>
              <a:gd name="connsiteX5" fmla="*/ 145831 w 186427"/>
              <a:gd name="connsiteY5" fmla="*/ 72878 h 82840"/>
              <a:gd name="connsiteX6" fmla="*/ 164399 w 186427"/>
              <a:gd name="connsiteY6" fmla="*/ 78663 h 82840"/>
              <a:gd name="connsiteX7" fmla="*/ 185397 w 186427"/>
              <a:gd name="connsiteY7" fmla="*/ 80282 h 82840"/>
              <a:gd name="connsiteX8" fmla="*/ 176546 w 186427"/>
              <a:gd name="connsiteY8" fmla="*/ 68135 h 82840"/>
              <a:gd name="connsiteX9" fmla="*/ 181984 w 186427"/>
              <a:gd name="connsiteY9" fmla="*/ 58244 h 82840"/>
              <a:gd name="connsiteX10" fmla="*/ 165209 w 186427"/>
              <a:gd name="connsiteY10" fmla="*/ 49567 h 82840"/>
              <a:gd name="connsiteX11" fmla="*/ 156764 w 186427"/>
              <a:gd name="connsiteY11" fmla="*/ 32561 h 82840"/>
              <a:gd name="connsiteX12" fmla="*/ 147046 w 186427"/>
              <a:gd name="connsiteY12" fmla="*/ 28974 h 82840"/>
              <a:gd name="connsiteX13" fmla="*/ 119165 w 186427"/>
              <a:gd name="connsiteY13" fmla="*/ 32561 h 82840"/>
              <a:gd name="connsiteX14" fmla="*/ 102217 w 186427"/>
              <a:gd name="connsiteY14" fmla="*/ 24115 h 82840"/>
              <a:gd name="connsiteX15" fmla="*/ 85269 w 186427"/>
              <a:gd name="connsiteY15" fmla="*/ 13183 h 82840"/>
              <a:gd name="connsiteX16" fmla="*/ 42868 w 186427"/>
              <a:gd name="connsiteY16" fmla="*/ 9596 h 82840"/>
              <a:gd name="connsiteX17" fmla="*/ 10129 w 186427"/>
              <a:gd name="connsiteY17" fmla="*/ -121 h 82840"/>
              <a:gd name="connsiteX18" fmla="*/ -110 w 186427"/>
              <a:gd name="connsiteY18" fmla="*/ 4680 h 82840"/>
              <a:gd name="connsiteX19" fmla="*/ 42058 w 186427"/>
              <a:gd name="connsiteY19" fmla="*/ 28164 h 82840"/>
              <a:gd name="connsiteX20" fmla="*/ 52529 w 186427"/>
              <a:gd name="connsiteY20" fmla="*/ 56392 h 82840"/>
              <a:gd name="connsiteX21" fmla="*/ 46282 w 186427"/>
              <a:gd name="connsiteY21" fmla="*/ 65763 h 82840"/>
              <a:gd name="connsiteX22" fmla="*/ 74799 w 186427"/>
              <a:gd name="connsiteY22" fmla="*/ 64780 h 82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6427" h="82840">
                <a:moveTo>
                  <a:pt x="74799" y="64780"/>
                </a:moveTo>
                <a:cubicBezTo>
                  <a:pt x="83649" y="60789"/>
                  <a:pt x="86888" y="70564"/>
                  <a:pt x="94118" y="80167"/>
                </a:cubicBezTo>
                <a:cubicBezTo>
                  <a:pt x="94582" y="80722"/>
                  <a:pt x="94986" y="81323"/>
                  <a:pt x="95334" y="81960"/>
                </a:cubicBezTo>
                <a:cubicBezTo>
                  <a:pt x="105283" y="80456"/>
                  <a:pt x="112687" y="77506"/>
                  <a:pt x="122983" y="76175"/>
                </a:cubicBezTo>
                <a:cubicBezTo>
                  <a:pt x="131139" y="75718"/>
                  <a:pt x="139295" y="76557"/>
                  <a:pt x="147220" y="78663"/>
                </a:cubicBezTo>
                <a:cubicBezTo>
                  <a:pt x="145889" y="76291"/>
                  <a:pt x="145079" y="74209"/>
                  <a:pt x="145831" y="72878"/>
                </a:cubicBezTo>
                <a:cubicBezTo>
                  <a:pt x="148260" y="68019"/>
                  <a:pt x="160350" y="74498"/>
                  <a:pt x="164399" y="78663"/>
                </a:cubicBezTo>
                <a:cubicBezTo>
                  <a:pt x="168449" y="82827"/>
                  <a:pt x="181348" y="84447"/>
                  <a:pt x="185397" y="80282"/>
                </a:cubicBezTo>
                <a:cubicBezTo>
                  <a:pt x="189446" y="76117"/>
                  <a:pt x="178976" y="72184"/>
                  <a:pt x="176546" y="68135"/>
                </a:cubicBezTo>
                <a:cubicBezTo>
                  <a:pt x="175332" y="66110"/>
                  <a:pt x="178514" y="61946"/>
                  <a:pt x="181984" y="58244"/>
                </a:cubicBezTo>
                <a:cubicBezTo>
                  <a:pt x="175042" y="54310"/>
                  <a:pt x="167755" y="48757"/>
                  <a:pt x="165209" y="49567"/>
                </a:cubicBezTo>
                <a:cubicBezTo>
                  <a:pt x="161565" y="50782"/>
                  <a:pt x="161565" y="32561"/>
                  <a:pt x="156764" y="32561"/>
                </a:cubicBezTo>
                <a:cubicBezTo>
                  <a:pt x="151963" y="32561"/>
                  <a:pt x="151905" y="28974"/>
                  <a:pt x="147046" y="28974"/>
                </a:cubicBezTo>
                <a:cubicBezTo>
                  <a:pt x="142187" y="28974"/>
                  <a:pt x="123908" y="28974"/>
                  <a:pt x="119165" y="32561"/>
                </a:cubicBezTo>
                <a:cubicBezTo>
                  <a:pt x="114422" y="36147"/>
                  <a:pt x="108291" y="24115"/>
                  <a:pt x="102217" y="24115"/>
                </a:cubicBezTo>
                <a:cubicBezTo>
                  <a:pt x="95334" y="22889"/>
                  <a:pt x="89202" y="18950"/>
                  <a:pt x="85269" y="13183"/>
                </a:cubicBezTo>
                <a:cubicBezTo>
                  <a:pt x="81624" y="8382"/>
                  <a:pt x="51371" y="15612"/>
                  <a:pt x="42868" y="9596"/>
                </a:cubicBezTo>
                <a:cubicBezTo>
                  <a:pt x="33209" y="3077"/>
                  <a:pt x="21755" y="-312"/>
                  <a:pt x="10129" y="-121"/>
                </a:cubicBezTo>
                <a:cubicBezTo>
                  <a:pt x="6485" y="937"/>
                  <a:pt x="3014" y="2557"/>
                  <a:pt x="-110" y="4680"/>
                </a:cubicBezTo>
                <a:cubicBezTo>
                  <a:pt x="15798" y="13877"/>
                  <a:pt x="38935" y="11505"/>
                  <a:pt x="42058" y="28164"/>
                </a:cubicBezTo>
                <a:cubicBezTo>
                  <a:pt x="45703" y="47542"/>
                  <a:pt x="56577" y="39733"/>
                  <a:pt x="52529" y="56392"/>
                </a:cubicBezTo>
                <a:cubicBezTo>
                  <a:pt x="51429" y="60060"/>
                  <a:pt x="49231" y="63322"/>
                  <a:pt x="46282" y="65763"/>
                </a:cubicBezTo>
                <a:cubicBezTo>
                  <a:pt x="55768" y="67059"/>
                  <a:pt x="65428" y="66729"/>
                  <a:pt x="74799" y="64780"/>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59" name="Forma libre: forma 58">
            <a:extLst>
              <a:ext uri="{FF2B5EF4-FFF2-40B4-BE49-F238E27FC236}">
                <a16:creationId xmlns:a16="http://schemas.microsoft.com/office/drawing/2014/main" id="{120BC260-E437-5D65-3BFD-0781521CFDCF}"/>
              </a:ext>
            </a:extLst>
          </p:cNvPr>
          <p:cNvSpPr/>
          <p:nvPr/>
        </p:nvSpPr>
        <p:spPr>
          <a:xfrm>
            <a:off x="6888566" y="3248902"/>
            <a:ext cx="509685" cy="199794"/>
          </a:xfrm>
          <a:custGeom>
            <a:avLst/>
            <a:gdLst>
              <a:gd name="connsiteX0" fmla="*/ 496079 w 509685"/>
              <a:gd name="connsiteY0" fmla="*/ 138350 h 199794"/>
              <a:gd name="connsiteX1" fmla="*/ 496079 w 509685"/>
              <a:gd name="connsiteY1" fmla="*/ 109428 h 199794"/>
              <a:gd name="connsiteX2" fmla="*/ 494980 w 509685"/>
              <a:gd name="connsiteY2" fmla="*/ 86811 h 199794"/>
              <a:gd name="connsiteX3" fmla="*/ 502152 w 509685"/>
              <a:gd name="connsiteY3" fmla="*/ 72755 h 199794"/>
              <a:gd name="connsiteX4" fmla="*/ 497120 w 509685"/>
              <a:gd name="connsiteY4" fmla="*/ 62690 h 199794"/>
              <a:gd name="connsiteX5" fmla="*/ 476122 w 509685"/>
              <a:gd name="connsiteY5" fmla="*/ 53782 h 199794"/>
              <a:gd name="connsiteX6" fmla="*/ 468834 w 509685"/>
              <a:gd name="connsiteY6" fmla="*/ 30644 h 199794"/>
              <a:gd name="connsiteX7" fmla="*/ 449514 w 509685"/>
              <a:gd name="connsiteY7" fmla="*/ 15258 h 199794"/>
              <a:gd name="connsiteX8" fmla="*/ 420997 w 509685"/>
              <a:gd name="connsiteY8" fmla="*/ 16125 h 199794"/>
              <a:gd name="connsiteX9" fmla="*/ 370326 w 509685"/>
              <a:gd name="connsiteY9" fmla="*/ 33016 h 199794"/>
              <a:gd name="connsiteX10" fmla="*/ 322662 w 509685"/>
              <a:gd name="connsiteY10" fmla="*/ 34231 h 199794"/>
              <a:gd name="connsiteX11" fmla="*/ 290384 w 509685"/>
              <a:gd name="connsiteY11" fmla="*/ 23761 h 199794"/>
              <a:gd name="connsiteX12" fmla="*/ 266090 w 509685"/>
              <a:gd name="connsiteY12" fmla="*/ 12828 h 199794"/>
              <a:gd name="connsiteX13" fmla="*/ 225599 w 509685"/>
              <a:gd name="connsiteY13" fmla="*/ 1953 h 199794"/>
              <a:gd name="connsiteX14" fmla="*/ 142823 w 509685"/>
              <a:gd name="connsiteY14" fmla="*/ 27405 h 199794"/>
              <a:gd name="connsiteX15" fmla="*/ 83071 w 509685"/>
              <a:gd name="connsiteY15" fmla="*/ 30644 h 199794"/>
              <a:gd name="connsiteX16" fmla="*/ 69362 w 509685"/>
              <a:gd name="connsiteY16" fmla="*/ 51584 h 199794"/>
              <a:gd name="connsiteX17" fmla="*/ 11980 w 509685"/>
              <a:gd name="connsiteY17" fmla="*/ 56443 h 199794"/>
              <a:gd name="connsiteX18" fmla="*/ 6195 w 509685"/>
              <a:gd name="connsiteY18" fmla="*/ 76630 h 199794"/>
              <a:gd name="connsiteX19" fmla="*/ 17764 w 509685"/>
              <a:gd name="connsiteY19" fmla="*/ 84324 h 199794"/>
              <a:gd name="connsiteX20" fmla="*/ 20194 w 509685"/>
              <a:gd name="connsiteY20" fmla="*/ 104511 h 199794"/>
              <a:gd name="connsiteX21" fmla="*/ 19500 w 509685"/>
              <a:gd name="connsiteY21" fmla="*/ 122084 h 199794"/>
              <a:gd name="connsiteX22" fmla="*/ 21004 w 509685"/>
              <a:gd name="connsiteY22" fmla="*/ 123484 h 199794"/>
              <a:gd name="connsiteX23" fmla="*/ 21004 w 509685"/>
              <a:gd name="connsiteY23" fmla="*/ 138466 h 199794"/>
              <a:gd name="connsiteX24" fmla="*/ 34713 w 509685"/>
              <a:gd name="connsiteY24" fmla="*/ 152580 h 199794"/>
              <a:gd name="connsiteX25" fmla="*/ 52471 w 509685"/>
              <a:gd name="connsiteY25" fmla="*/ 163512 h 199794"/>
              <a:gd name="connsiteX26" fmla="*/ 66238 w 509685"/>
              <a:gd name="connsiteY26" fmla="*/ 167504 h 199794"/>
              <a:gd name="connsiteX27" fmla="*/ 83186 w 509685"/>
              <a:gd name="connsiteY27" fmla="*/ 184857 h 199794"/>
              <a:gd name="connsiteX28" fmla="*/ 118298 w 509685"/>
              <a:gd name="connsiteY28" fmla="*/ 178436 h 199794"/>
              <a:gd name="connsiteX29" fmla="*/ 140510 w 509685"/>
              <a:gd name="connsiteY29" fmla="*/ 168314 h 199794"/>
              <a:gd name="connsiteX30" fmla="*/ 177704 w 509685"/>
              <a:gd name="connsiteY30" fmla="*/ 190121 h 199794"/>
              <a:gd name="connsiteX31" fmla="*/ 205932 w 509685"/>
              <a:gd name="connsiteY31" fmla="*/ 185320 h 199794"/>
              <a:gd name="connsiteX32" fmla="*/ 231441 w 509685"/>
              <a:gd name="connsiteY32" fmla="*/ 169181 h 199794"/>
              <a:gd name="connsiteX33" fmla="*/ 252381 w 509685"/>
              <a:gd name="connsiteY33" fmla="*/ 174387 h 199794"/>
              <a:gd name="connsiteX34" fmla="*/ 273436 w 509685"/>
              <a:gd name="connsiteY34" fmla="*/ 168603 h 199794"/>
              <a:gd name="connsiteX35" fmla="*/ 266148 w 509685"/>
              <a:gd name="connsiteY35" fmla="*/ 190410 h 199794"/>
              <a:gd name="connsiteX36" fmla="*/ 266784 w 509685"/>
              <a:gd name="connsiteY36" fmla="*/ 199665 h 199794"/>
              <a:gd name="connsiteX37" fmla="*/ 282922 w 509685"/>
              <a:gd name="connsiteY37" fmla="*/ 180692 h 199794"/>
              <a:gd name="connsiteX38" fmla="*/ 293682 w 509685"/>
              <a:gd name="connsiteY38" fmla="*/ 174272 h 199794"/>
              <a:gd name="connsiteX39" fmla="*/ 318497 w 509685"/>
              <a:gd name="connsiteY39" fmla="*/ 174272 h 199794"/>
              <a:gd name="connsiteX40" fmla="*/ 335850 w 509685"/>
              <a:gd name="connsiteY40" fmla="*/ 171032 h 199794"/>
              <a:gd name="connsiteX41" fmla="*/ 367086 w 509685"/>
              <a:gd name="connsiteY41" fmla="*/ 172131 h 199794"/>
              <a:gd name="connsiteX42" fmla="*/ 403759 w 509685"/>
              <a:gd name="connsiteY42" fmla="*/ 161314 h 199794"/>
              <a:gd name="connsiteX43" fmla="*/ 434012 w 509685"/>
              <a:gd name="connsiteY43" fmla="*/ 157034 h 199794"/>
              <a:gd name="connsiteX44" fmla="*/ 444250 w 509685"/>
              <a:gd name="connsiteY44" fmla="*/ 160100 h 199794"/>
              <a:gd name="connsiteX45" fmla="*/ 456398 w 509685"/>
              <a:gd name="connsiteY45" fmla="*/ 150845 h 199794"/>
              <a:gd name="connsiteX46" fmla="*/ 480634 w 509685"/>
              <a:gd name="connsiteY46" fmla="*/ 155704 h 199794"/>
              <a:gd name="connsiteX47" fmla="*/ 509556 w 509685"/>
              <a:gd name="connsiteY47" fmla="*/ 160273 h 199794"/>
              <a:gd name="connsiteX48" fmla="*/ 496079 w 509685"/>
              <a:gd name="connsiteY48" fmla="*/ 138350 h 199794"/>
              <a:gd name="connsiteX49" fmla="*/ 41191 w 509685"/>
              <a:gd name="connsiteY49" fmla="*/ 34231 h 199794"/>
              <a:gd name="connsiteX50" fmla="*/ 77922 w 509685"/>
              <a:gd name="connsiteY50" fmla="*/ 30644 h 199794"/>
              <a:gd name="connsiteX51" fmla="*/ 57329 w 509685"/>
              <a:gd name="connsiteY51" fmla="*/ 14043 h 199794"/>
              <a:gd name="connsiteX52" fmla="*/ 50620 w 509685"/>
              <a:gd name="connsiteY52" fmla="*/ -129 h 199794"/>
              <a:gd name="connsiteX53" fmla="*/ 39572 w 509685"/>
              <a:gd name="connsiteY53" fmla="*/ 1953 h 199794"/>
              <a:gd name="connsiteX54" fmla="*/ 11691 w 509685"/>
              <a:gd name="connsiteY54" fmla="*/ 1953 h 199794"/>
              <a:gd name="connsiteX55" fmla="*/ 14120 w 509685"/>
              <a:gd name="connsiteY55" fmla="*/ 20117 h 199794"/>
              <a:gd name="connsiteX56" fmla="*/ 6253 w 509685"/>
              <a:gd name="connsiteY56" fmla="*/ 32842 h 199794"/>
              <a:gd name="connsiteX57" fmla="*/ -110 w 509685"/>
              <a:gd name="connsiteY57" fmla="*/ 42213 h 199794"/>
              <a:gd name="connsiteX58" fmla="*/ 15740 w 509685"/>
              <a:gd name="connsiteY58" fmla="*/ 50022 h 199794"/>
              <a:gd name="connsiteX59" fmla="*/ 41191 w 509685"/>
              <a:gd name="connsiteY59" fmla="*/ 34231 h 19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09685" h="199794">
                <a:moveTo>
                  <a:pt x="496079" y="138350"/>
                </a:moveTo>
                <a:cubicBezTo>
                  <a:pt x="491741" y="137309"/>
                  <a:pt x="498219" y="113593"/>
                  <a:pt x="496079" y="109428"/>
                </a:cubicBezTo>
                <a:cubicBezTo>
                  <a:pt x="493939" y="105263"/>
                  <a:pt x="488501" y="86811"/>
                  <a:pt x="494980" y="86811"/>
                </a:cubicBezTo>
                <a:cubicBezTo>
                  <a:pt x="501458" y="86811"/>
                  <a:pt x="494401" y="73507"/>
                  <a:pt x="502152" y="72755"/>
                </a:cubicBezTo>
                <a:cubicBezTo>
                  <a:pt x="501169" y="69099"/>
                  <a:pt x="499434" y="65675"/>
                  <a:pt x="497120" y="62690"/>
                </a:cubicBezTo>
                <a:cubicBezTo>
                  <a:pt x="493071" y="59451"/>
                  <a:pt x="480982" y="65929"/>
                  <a:pt x="476122" y="53782"/>
                </a:cubicBezTo>
                <a:cubicBezTo>
                  <a:pt x="471263" y="41635"/>
                  <a:pt x="476122" y="40073"/>
                  <a:pt x="468834" y="30644"/>
                </a:cubicBezTo>
                <a:cubicBezTo>
                  <a:pt x="461545" y="21216"/>
                  <a:pt x="458364" y="11266"/>
                  <a:pt x="449514" y="15258"/>
                </a:cubicBezTo>
                <a:cubicBezTo>
                  <a:pt x="440143" y="17166"/>
                  <a:pt x="430483" y="17461"/>
                  <a:pt x="420997" y="16125"/>
                </a:cubicBezTo>
                <a:cubicBezTo>
                  <a:pt x="407866" y="28099"/>
                  <a:pt x="379117" y="36255"/>
                  <a:pt x="370326" y="33016"/>
                </a:cubicBezTo>
                <a:cubicBezTo>
                  <a:pt x="359451" y="29024"/>
                  <a:pt x="338453" y="34231"/>
                  <a:pt x="322662" y="34231"/>
                </a:cubicBezTo>
                <a:cubicBezTo>
                  <a:pt x="306870" y="34231"/>
                  <a:pt x="302474" y="22662"/>
                  <a:pt x="290384" y="23761"/>
                </a:cubicBezTo>
                <a:cubicBezTo>
                  <a:pt x="278295" y="24860"/>
                  <a:pt x="278237" y="12828"/>
                  <a:pt x="266090" y="12828"/>
                </a:cubicBezTo>
                <a:cubicBezTo>
                  <a:pt x="253943" y="12828"/>
                  <a:pt x="263314" y="7044"/>
                  <a:pt x="225599" y="1953"/>
                </a:cubicBezTo>
                <a:cubicBezTo>
                  <a:pt x="187884" y="-3137"/>
                  <a:pt x="154971" y="16877"/>
                  <a:pt x="142823" y="27405"/>
                </a:cubicBezTo>
                <a:cubicBezTo>
                  <a:pt x="130676" y="37932"/>
                  <a:pt x="87119" y="27752"/>
                  <a:pt x="83071" y="30644"/>
                </a:cubicBezTo>
                <a:cubicBezTo>
                  <a:pt x="79021" y="33536"/>
                  <a:pt x="83880" y="45973"/>
                  <a:pt x="69362" y="51584"/>
                </a:cubicBezTo>
                <a:cubicBezTo>
                  <a:pt x="54843" y="57195"/>
                  <a:pt x="23086" y="51584"/>
                  <a:pt x="11980" y="56443"/>
                </a:cubicBezTo>
                <a:cubicBezTo>
                  <a:pt x="874" y="61302"/>
                  <a:pt x="-2944" y="77440"/>
                  <a:pt x="6195" y="76630"/>
                </a:cubicBezTo>
                <a:cubicBezTo>
                  <a:pt x="15335" y="75821"/>
                  <a:pt x="20368" y="80275"/>
                  <a:pt x="17764" y="84324"/>
                </a:cubicBezTo>
                <a:cubicBezTo>
                  <a:pt x="15161" y="88373"/>
                  <a:pt x="25400" y="99652"/>
                  <a:pt x="20194" y="104511"/>
                </a:cubicBezTo>
                <a:cubicBezTo>
                  <a:pt x="15161" y="109168"/>
                  <a:pt x="14814" y="117035"/>
                  <a:pt x="19500" y="122084"/>
                </a:cubicBezTo>
                <a:cubicBezTo>
                  <a:pt x="19962" y="122593"/>
                  <a:pt x="20483" y="123062"/>
                  <a:pt x="21004" y="123484"/>
                </a:cubicBezTo>
                <a:cubicBezTo>
                  <a:pt x="27482" y="128343"/>
                  <a:pt x="28639" y="137251"/>
                  <a:pt x="21004" y="138466"/>
                </a:cubicBezTo>
                <a:cubicBezTo>
                  <a:pt x="13368" y="139681"/>
                  <a:pt x="34308" y="148531"/>
                  <a:pt x="34713" y="152580"/>
                </a:cubicBezTo>
                <a:cubicBezTo>
                  <a:pt x="35117" y="156629"/>
                  <a:pt x="52471" y="158653"/>
                  <a:pt x="52471" y="163512"/>
                </a:cubicBezTo>
                <a:cubicBezTo>
                  <a:pt x="52471" y="168371"/>
                  <a:pt x="57735" y="169933"/>
                  <a:pt x="66238" y="167504"/>
                </a:cubicBezTo>
                <a:cubicBezTo>
                  <a:pt x="74741" y="165074"/>
                  <a:pt x="77807" y="176817"/>
                  <a:pt x="83186" y="184857"/>
                </a:cubicBezTo>
                <a:cubicBezTo>
                  <a:pt x="88566" y="192897"/>
                  <a:pt x="118298" y="187286"/>
                  <a:pt x="118298" y="178436"/>
                </a:cubicBezTo>
                <a:cubicBezTo>
                  <a:pt x="118298" y="169586"/>
                  <a:pt x="127206" y="166867"/>
                  <a:pt x="140510" y="168314"/>
                </a:cubicBezTo>
                <a:cubicBezTo>
                  <a:pt x="153814" y="169760"/>
                  <a:pt x="171225" y="187691"/>
                  <a:pt x="177704" y="190121"/>
                </a:cubicBezTo>
                <a:cubicBezTo>
                  <a:pt x="184182" y="192550"/>
                  <a:pt x="197487" y="185320"/>
                  <a:pt x="205932" y="185320"/>
                </a:cubicBezTo>
                <a:cubicBezTo>
                  <a:pt x="214377" y="185320"/>
                  <a:pt x="226524" y="171958"/>
                  <a:pt x="231441" y="169181"/>
                </a:cubicBezTo>
                <a:cubicBezTo>
                  <a:pt x="236358" y="166405"/>
                  <a:pt x="244687" y="178436"/>
                  <a:pt x="252381" y="174387"/>
                </a:cubicBezTo>
                <a:cubicBezTo>
                  <a:pt x="260074" y="170338"/>
                  <a:pt x="268519" y="165884"/>
                  <a:pt x="273436" y="168603"/>
                </a:cubicBezTo>
                <a:cubicBezTo>
                  <a:pt x="278353" y="171321"/>
                  <a:pt x="261867" y="183931"/>
                  <a:pt x="266148" y="190410"/>
                </a:cubicBezTo>
                <a:cubicBezTo>
                  <a:pt x="267652" y="193273"/>
                  <a:pt x="267883" y="196628"/>
                  <a:pt x="266784" y="199665"/>
                </a:cubicBezTo>
                <a:cubicBezTo>
                  <a:pt x="283501" y="197409"/>
                  <a:pt x="281939" y="185782"/>
                  <a:pt x="282922" y="180692"/>
                </a:cubicBezTo>
                <a:cubicBezTo>
                  <a:pt x="283906" y="175602"/>
                  <a:pt x="288302" y="169933"/>
                  <a:pt x="293682" y="174272"/>
                </a:cubicBezTo>
                <a:cubicBezTo>
                  <a:pt x="299061" y="178610"/>
                  <a:pt x="306639" y="179651"/>
                  <a:pt x="318497" y="174272"/>
                </a:cubicBezTo>
                <a:cubicBezTo>
                  <a:pt x="330355" y="168892"/>
                  <a:pt x="331454" y="165653"/>
                  <a:pt x="335850" y="171032"/>
                </a:cubicBezTo>
                <a:cubicBezTo>
                  <a:pt x="340246" y="176412"/>
                  <a:pt x="349848" y="172131"/>
                  <a:pt x="367086" y="172131"/>
                </a:cubicBezTo>
                <a:cubicBezTo>
                  <a:pt x="384323" y="172131"/>
                  <a:pt x="387621" y="160562"/>
                  <a:pt x="403759" y="161314"/>
                </a:cubicBezTo>
                <a:cubicBezTo>
                  <a:pt x="413998" y="161858"/>
                  <a:pt x="424294" y="160406"/>
                  <a:pt x="434012" y="157034"/>
                </a:cubicBezTo>
                <a:lnTo>
                  <a:pt x="444250" y="160100"/>
                </a:lnTo>
                <a:cubicBezTo>
                  <a:pt x="448415" y="156224"/>
                  <a:pt x="448126" y="151886"/>
                  <a:pt x="456398" y="150845"/>
                </a:cubicBezTo>
                <a:cubicBezTo>
                  <a:pt x="469297" y="149283"/>
                  <a:pt x="474156" y="158943"/>
                  <a:pt x="480634" y="155704"/>
                </a:cubicBezTo>
                <a:cubicBezTo>
                  <a:pt x="487113" y="152464"/>
                  <a:pt x="507648" y="174445"/>
                  <a:pt x="509556" y="160273"/>
                </a:cubicBezTo>
                <a:cubicBezTo>
                  <a:pt x="510077" y="156745"/>
                  <a:pt x="500186" y="139449"/>
                  <a:pt x="496079" y="138350"/>
                </a:cubicBezTo>
                <a:close/>
                <a:moveTo>
                  <a:pt x="41191" y="34231"/>
                </a:moveTo>
                <a:cubicBezTo>
                  <a:pt x="50851" y="30644"/>
                  <a:pt x="72658" y="35445"/>
                  <a:pt x="77922" y="30644"/>
                </a:cubicBezTo>
                <a:cubicBezTo>
                  <a:pt x="83186" y="25843"/>
                  <a:pt x="64155" y="19712"/>
                  <a:pt x="57329" y="14043"/>
                </a:cubicBezTo>
                <a:cubicBezTo>
                  <a:pt x="53743" y="10063"/>
                  <a:pt x="51430" y="5141"/>
                  <a:pt x="50620" y="-129"/>
                </a:cubicBezTo>
                <a:cubicBezTo>
                  <a:pt x="47554" y="2428"/>
                  <a:pt x="43389" y="3214"/>
                  <a:pt x="39572" y="1953"/>
                </a:cubicBezTo>
                <a:cubicBezTo>
                  <a:pt x="32283" y="-1691"/>
                  <a:pt x="14698" y="739"/>
                  <a:pt x="11691" y="1953"/>
                </a:cubicBezTo>
                <a:cubicBezTo>
                  <a:pt x="8683" y="3168"/>
                  <a:pt x="14120" y="13522"/>
                  <a:pt x="14120" y="20117"/>
                </a:cubicBezTo>
                <a:cubicBezTo>
                  <a:pt x="14120" y="26711"/>
                  <a:pt x="6253" y="28620"/>
                  <a:pt x="6253" y="32842"/>
                </a:cubicBezTo>
                <a:cubicBezTo>
                  <a:pt x="6253" y="36081"/>
                  <a:pt x="3361" y="38337"/>
                  <a:pt x="-110" y="42213"/>
                </a:cubicBezTo>
                <a:cubicBezTo>
                  <a:pt x="4229" y="46366"/>
                  <a:pt x="9782" y="49091"/>
                  <a:pt x="15740" y="50022"/>
                </a:cubicBezTo>
                <a:cubicBezTo>
                  <a:pt x="27077" y="50022"/>
                  <a:pt x="31647" y="37875"/>
                  <a:pt x="41191" y="3423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60" name="Forma libre: forma 59">
            <a:extLst>
              <a:ext uri="{FF2B5EF4-FFF2-40B4-BE49-F238E27FC236}">
                <a16:creationId xmlns:a16="http://schemas.microsoft.com/office/drawing/2014/main" id="{647C498D-3CB1-9FA8-3FEC-C54B93207029}"/>
              </a:ext>
            </a:extLst>
          </p:cNvPr>
          <p:cNvSpPr/>
          <p:nvPr/>
        </p:nvSpPr>
        <p:spPr>
          <a:xfrm>
            <a:off x="8318418" y="3451452"/>
            <a:ext cx="62539" cy="59947"/>
          </a:xfrm>
          <a:custGeom>
            <a:avLst/>
            <a:gdLst>
              <a:gd name="connsiteX0" fmla="*/ 30896 w 62539"/>
              <a:gd name="connsiteY0" fmla="*/ -109 h 59947"/>
              <a:gd name="connsiteX1" fmla="*/ -110 w 62539"/>
              <a:gd name="connsiteY1" fmla="*/ 17650 h 59947"/>
              <a:gd name="connsiteX2" fmla="*/ 4518 w 62539"/>
              <a:gd name="connsiteY2" fmla="*/ 25401 h 59947"/>
              <a:gd name="connsiteX3" fmla="*/ 20657 w 62539"/>
              <a:gd name="connsiteY3" fmla="*/ 43680 h 59947"/>
              <a:gd name="connsiteX4" fmla="*/ 23433 w 62539"/>
              <a:gd name="connsiteY4" fmla="*/ 59818 h 59947"/>
              <a:gd name="connsiteX5" fmla="*/ 35002 w 62539"/>
              <a:gd name="connsiteY5" fmla="*/ 58661 h 59947"/>
              <a:gd name="connsiteX6" fmla="*/ 62247 w 62539"/>
              <a:gd name="connsiteY6" fmla="*/ 25979 h 59947"/>
              <a:gd name="connsiteX7" fmla="*/ 30896 w 62539"/>
              <a:gd name="connsiteY7" fmla="*/ -109 h 5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39" h="59947">
                <a:moveTo>
                  <a:pt x="30896" y="-109"/>
                </a:moveTo>
                <a:cubicBezTo>
                  <a:pt x="21120" y="-629"/>
                  <a:pt x="2552" y="8915"/>
                  <a:pt x="-110" y="17650"/>
                </a:cubicBezTo>
                <a:cubicBezTo>
                  <a:pt x="1973" y="19859"/>
                  <a:pt x="3593" y="22509"/>
                  <a:pt x="4518" y="25401"/>
                </a:cubicBezTo>
                <a:cubicBezTo>
                  <a:pt x="7411" y="33320"/>
                  <a:pt x="13137" y="39856"/>
                  <a:pt x="20657" y="43680"/>
                </a:cubicBezTo>
                <a:cubicBezTo>
                  <a:pt x="25284" y="46340"/>
                  <a:pt x="24648" y="53513"/>
                  <a:pt x="23433" y="59818"/>
                </a:cubicBezTo>
                <a:cubicBezTo>
                  <a:pt x="27309" y="59778"/>
                  <a:pt x="31184" y="59390"/>
                  <a:pt x="35002" y="58661"/>
                </a:cubicBezTo>
                <a:cubicBezTo>
                  <a:pt x="42811" y="56868"/>
                  <a:pt x="59760" y="32631"/>
                  <a:pt x="62247" y="25979"/>
                </a:cubicBezTo>
                <a:cubicBezTo>
                  <a:pt x="64734" y="19327"/>
                  <a:pt x="41191" y="470"/>
                  <a:pt x="30896" y="-10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61" name="Forma libre: forma 60">
            <a:extLst>
              <a:ext uri="{FF2B5EF4-FFF2-40B4-BE49-F238E27FC236}">
                <a16:creationId xmlns:a16="http://schemas.microsoft.com/office/drawing/2014/main" id="{CA5AF873-2734-A374-C81A-78FF9B29D6FA}"/>
              </a:ext>
            </a:extLst>
          </p:cNvPr>
          <p:cNvSpPr/>
          <p:nvPr/>
        </p:nvSpPr>
        <p:spPr>
          <a:xfrm>
            <a:off x="9552411" y="3223971"/>
            <a:ext cx="187646" cy="174557"/>
          </a:xfrm>
          <a:custGeom>
            <a:avLst/>
            <a:gdLst>
              <a:gd name="connsiteX0" fmla="*/ 179554 w 187646"/>
              <a:gd name="connsiteY0" fmla="*/ 8663 h 174557"/>
              <a:gd name="connsiteX1" fmla="*/ 156417 w 187646"/>
              <a:gd name="connsiteY1" fmla="*/ -129 h 174557"/>
              <a:gd name="connsiteX2" fmla="*/ 140625 w 187646"/>
              <a:gd name="connsiteY2" fmla="*/ 21042 h 174557"/>
              <a:gd name="connsiteX3" fmla="*/ 121248 w 187646"/>
              <a:gd name="connsiteY3" fmla="*/ 35040 h 174557"/>
              <a:gd name="connsiteX4" fmla="*/ 110662 w 187646"/>
              <a:gd name="connsiteY4" fmla="*/ 45626 h 174557"/>
              <a:gd name="connsiteX5" fmla="*/ 93309 w 187646"/>
              <a:gd name="connsiteY5" fmla="*/ 50947 h 174557"/>
              <a:gd name="connsiteX6" fmla="*/ 75956 w 187646"/>
              <a:gd name="connsiteY6" fmla="*/ 43890 h 174557"/>
              <a:gd name="connsiteX7" fmla="*/ 58603 w 187646"/>
              <a:gd name="connsiteY7" fmla="*/ 63210 h 174557"/>
              <a:gd name="connsiteX8" fmla="*/ 7584 w 187646"/>
              <a:gd name="connsiteY8" fmla="*/ 91381 h 174557"/>
              <a:gd name="connsiteX9" fmla="*/ -110 w 187646"/>
              <a:gd name="connsiteY9" fmla="*/ 103412 h 174557"/>
              <a:gd name="connsiteX10" fmla="*/ 31127 w 187646"/>
              <a:gd name="connsiteY10" fmla="*/ 118741 h 174557"/>
              <a:gd name="connsiteX11" fmla="*/ 14988 w 187646"/>
              <a:gd name="connsiteY11" fmla="*/ 148242 h 174557"/>
              <a:gd name="connsiteX12" fmla="*/ 19846 w 187646"/>
              <a:gd name="connsiteY12" fmla="*/ 164843 h 174557"/>
              <a:gd name="connsiteX13" fmla="*/ 33556 w 187646"/>
              <a:gd name="connsiteY13" fmla="*/ 171668 h 174557"/>
              <a:gd name="connsiteX14" fmla="*/ 54553 w 187646"/>
              <a:gd name="connsiteY14" fmla="*/ 167619 h 174557"/>
              <a:gd name="connsiteX15" fmla="*/ 61032 w 187646"/>
              <a:gd name="connsiteY15" fmla="*/ 171321 h 174557"/>
              <a:gd name="connsiteX16" fmla="*/ 77112 w 187646"/>
              <a:gd name="connsiteY16" fmla="*/ 159232 h 174557"/>
              <a:gd name="connsiteX17" fmla="*/ 101870 w 187646"/>
              <a:gd name="connsiteY17" fmla="*/ 153852 h 174557"/>
              <a:gd name="connsiteX18" fmla="*/ 116331 w 187646"/>
              <a:gd name="connsiteY18" fmla="*/ 148415 h 174557"/>
              <a:gd name="connsiteX19" fmla="*/ 92094 w 187646"/>
              <a:gd name="connsiteY19" fmla="*/ 125624 h 174557"/>
              <a:gd name="connsiteX20" fmla="*/ 99788 w 187646"/>
              <a:gd name="connsiteY20" fmla="*/ 101388 h 174557"/>
              <a:gd name="connsiteX21" fmla="*/ 147451 w 187646"/>
              <a:gd name="connsiteY21" fmla="*/ 72466 h 174557"/>
              <a:gd name="connsiteX22" fmla="*/ 157169 w 187646"/>
              <a:gd name="connsiteY22" fmla="*/ 39321 h 174557"/>
              <a:gd name="connsiteX23" fmla="*/ 187537 w 187646"/>
              <a:gd name="connsiteY23" fmla="*/ 9878 h 174557"/>
              <a:gd name="connsiteX24" fmla="*/ 179554 w 187646"/>
              <a:gd name="connsiteY24" fmla="*/ 8663 h 174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646" h="174557">
                <a:moveTo>
                  <a:pt x="179554" y="8663"/>
                </a:moveTo>
                <a:cubicBezTo>
                  <a:pt x="168969" y="12192"/>
                  <a:pt x="165441" y="-129"/>
                  <a:pt x="156417" y="-129"/>
                </a:cubicBezTo>
                <a:cubicBezTo>
                  <a:pt x="147393" y="-129"/>
                  <a:pt x="149360" y="21042"/>
                  <a:pt x="140625" y="21042"/>
                </a:cubicBezTo>
                <a:cubicBezTo>
                  <a:pt x="131891" y="21042"/>
                  <a:pt x="133511" y="33305"/>
                  <a:pt x="121248" y="35040"/>
                </a:cubicBezTo>
                <a:cubicBezTo>
                  <a:pt x="108985" y="36776"/>
                  <a:pt x="105340" y="36833"/>
                  <a:pt x="110662" y="45626"/>
                </a:cubicBezTo>
                <a:cubicBezTo>
                  <a:pt x="115984" y="54418"/>
                  <a:pt x="103663" y="50947"/>
                  <a:pt x="93309" y="50947"/>
                </a:cubicBezTo>
                <a:cubicBezTo>
                  <a:pt x="82955" y="50947"/>
                  <a:pt x="82723" y="43890"/>
                  <a:pt x="75956" y="43890"/>
                </a:cubicBezTo>
                <a:cubicBezTo>
                  <a:pt x="69188" y="43890"/>
                  <a:pt x="63693" y="56211"/>
                  <a:pt x="58603" y="63210"/>
                </a:cubicBezTo>
                <a:cubicBezTo>
                  <a:pt x="53512" y="70210"/>
                  <a:pt x="18112" y="86348"/>
                  <a:pt x="7584" y="91381"/>
                </a:cubicBezTo>
                <a:cubicBezTo>
                  <a:pt x="3766" y="94435"/>
                  <a:pt x="1047" y="98663"/>
                  <a:pt x="-110" y="103412"/>
                </a:cubicBezTo>
                <a:cubicBezTo>
                  <a:pt x="11864" y="104488"/>
                  <a:pt x="22970" y="109949"/>
                  <a:pt x="31127" y="118741"/>
                </a:cubicBezTo>
                <a:cubicBezTo>
                  <a:pt x="38820" y="128517"/>
                  <a:pt x="22218" y="139391"/>
                  <a:pt x="14988" y="148242"/>
                </a:cubicBezTo>
                <a:cubicBezTo>
                  <a:pt x="7757" y="157092"/>
                  <a:pt x="19442" y="157554"/>
                  <a:pt x="19846" y="164843"/>
                </a:cubicBezTo>
                <a:cubicBezTo>
                  <a:pt x="20252" y="172131"/>
                  <a:pt x="29969" y="178147"/>
                  <a:pt x="33556" y="171668"/>
                </a:cubicBezTo>
                <a:cubicBezTo>
                  <a:pt x="37142" y="165190"/>
                  <a:pt x="43274" y="167619"/>
                  <a:pt x="54553" y="167619"/>
                </a:cubicBezTo>
                <a:cubicBezTo>
                  <a:pt x="57214" y="167515"/>
                  <a:pt x="59759" y="168956"/>
                  <a:pt x="61032" y="171321"/>
                </a:cubicBezTo>
                <a:cubicBezTo>
                  <a:pt x="67336" y="166231"/>
                  <a:pt x="74625" y="161719"/>
                  <a:pt x="77112" y="159232"/>
                </a:cubicBezTo>
                <a:cubicBezTo>
                  <a:pt x="81451" y="154894"/>
                  <a:pt x="92152" y="153852"/>
                  <a:pt x="101870" y="153852"/>
                </a:cubicBezTo>
                <a:cubicBezTo>
                  <a:pt x="107191" y="153934"/>
                  <a:pt x="112397" y="151990"/>
                  <a:pt x="116331" y="148415"/>
                </a:cubicBezTo>
                <a:cubicBezTo>
                  <a:pt x="109043" y="140045"/>
                  <a:pt x="100886" y="132410"/>
                  <a:pt x="92094" y="125624"/>
                </a:cubicBezTo>
                <a:cubicBezTo>
                  <a:pt x="82839" y="119840"/>
                  <a:pt x="88508" y="104222"/>
                  <a:pt x="99788" y="101388"/>
                </a:cubicBezTo>
                <a:cubicBezTo>
                  <a:pt x="111067" y="98553"/>
                  <a:pt x="138948" y="77151"/>
                  <a:pt x="147451" y="72466"/>
                </a:cubicBezTo>
                <a:cubicBezTo>
                  <a:pt x="155954" y="67780"/>
                  <a:pt x="150286" y="51873"/>
                  <a:pt x="157169" y="39321"/>
                </a:cubicBezTo>
                <a:cubicBezTo>
                  <a:pt x="160697" y="32784"/>
                  <a:pt x="174117" y="20348"/>
                  <a:pt x="187537" y="9878"/>
                </a:cubicBezTo>
                <a:cubicBezTo>
                  <a:pt x="185108" y="8472"/>
                  <a:pt x="182274" y="8039"/>
                  <a:pt x="179554" y="8663"/>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62" name="Forma libre: forma 61">
            <a:extLst>
              <a:ext uri="{FF2B5EF4-FFF2-40B4-BE49-F238E27FC236}">
                <a16:creationId xmlns:a16="http://schemas.microsoft.com/office/drawing/2014/main" id="{62D78893-053C-C4D0-47EC-5AE9B8E448F1}"/>
              </a:ext>
            </a:extLst>
          </p:cNvPr>
          <p:cNvSpPr/>
          <p:nvPr/>
        </p:nvSpPr>
        <p:spPr>
          <a:xfrm>
            <a:off x="8375858" y="3624100"/>
            <a:ext cx="205932" cy="116888"/>
          </a:xfrm>
          <a:custGeom>
            <a:avLst/>
            <a:gdLst>
              <a:gd name="connsiteX0" fmla="*/ 205584 w 205932"/>
              <a:gd name="connsiteY0" fmla="*/ 75164 h 116888"/>
              <a:gd name="connsiteX1" fmla="*/ 199337 w 205932"/>
              <a:gd name="connsiteY1" fmla="*/ 75164 h 116888"/>
              <a:gd name="connsiteX2" fmla="*/ 163590 w 205932"/>
              <a:gd name="connsiteY2" fmla="*/ 68512 h 116888"/>
              <a:gd name="connsiteX3" fmla="*/ 110893 w 205932"/>
              <a:gd name="connsiteY3" fmla="*/ 47341 h 116888"/>
              <a:gd name="connsiteX4" fmla="*/ 55189 w 205932"/>
              <a:gd name="connsiteY4" fmla="*/ 6850 h 116888"/>
              <a:gd name="connsiteX5" fmla="*/ 33383 w 205932"/>
              <a:gd name="connsiteY5" fmla="*/ 2627 h 116888"/>
              <a:gd name="connsiteX6" fmla="*/ 16608 w 205932"/>
              <a:gd name="connsiteY6" fmla="*/ 7775 h 116888"/>
              <a:gd name="connsiteX7" fmla="*/ 4229 w 205932"/>
              <a:gd name="connsiteY7" fmla="*/ 23393 h 116888"/>
              <a:gd name="connsiteX8" fmla="*/ -110 w 205932"/>
              <a:gd name="connsiteY8" fmla="*/ 43870 h 116888"/>
              <a:gd name="connsiteX9" fmla="*/ 13889 w 205932"/>
              <a:gd name="connsiteY9" fmla="*/ 54687 h 116888"/>
              <a:gd name="connsiteX10" fmla="*/ 35465 w 205932"/>
              <a:gd name="connsiteY10" fmla="*/ 65446 h 116888"/>
              <a:gd name="connsiteX11" fmla="*/ 55999 w 205932"/>
              <a:gd name="connsiteY11" fmla="*/ 76263 h 116888"/>
              <a:gd name="connsiteX12" fmla="*/ 78616 w 205932"/>
              <a:gd name="connsiteY12" fmla="*/ 89162 h 116888"/>
              <a:gd name="connsiteX13" fmla="*/ 104531 w 205932"/>
              <a:gd name="connsiteY13" fmla="*/ 84882 h 116888"/>
              <a:gd name="connsiteX14" fmla="*/ 119628 w 205932"/>
              <a:gd name="connsiteY14" fmla="*/ 99979 h 116888"/>
              <a:gd name="connsiteX15" fmla="*/ 155202 w 205932"/>
              <a:gd name="connsiteY15" fmla="*/ 114035 h 116888"/>
              <a:gd name="connsiteX16" fmla="*/ 202635 w 205932"/>
              <a:gd name="connsiteY16" fmla="*/ 109697 h 116888"/>
              <a:gd name="connsiteX17" fmla="*/ 203792 w 205932"/>
              <a:gd name="connsiteY17" fmla="*/ 81642 h 116888"/>
              <a:gd name="connsiteX18" fmla="*/ 205584 w 205932"/>
              <a:gd name="connsiteY18" fmla="*/ 75164 h 11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5932" h="116888">
                <a:moveTo>
                  <a:pt x="205584" y="75164"/>
                </a:moveTo>
                <a:cubicBezTo>
                  <a:pt x="203502" y="75037"/>
                  <a:pt x="201420" y="75037"/>
                  <a:pt x="199337" y="75164"/>
                </a:cubicBezTo>
                <a:cubicBezTo>
                  <a:pt x="183604" y="75800"/>
                  <a:pt x="173944" y="67933"/>
                  <a:pt x="163590" y="68512"/>
                </a:cubicBezTo>
                <a:cubicBezTo>
                  <a:pt x="153236" y="69090"/>
                  <a:pt x="123677" y="57637"/>
                  <a:pt x="110893" y="47341"/>
                </a:cubicBezTo>
                <a:cubicBezTo>
                  <a:pt x="98110" y="37045"/>
                  <a:pt x="63693" y="15237"/>
                  <a:pt x="55189" y="6850"/>
                </a:cubicBezTo>
                <a:cubicBezTo>
                  <a:pt x="46686" y="-1538"/>
                  <a:pt x="34597" y="-1595"/>
                  <a:pt x="33383" y="2627"/>
                </a:cubicBezTo>
                <a:cubicBezTo>
                  <a:pt x="32167" y="6850"/>
                  <a:pt x="26036" y="6850"/>
                  <a:pt x="16608" y="7775"/>
                </a:cubicBezTo>
                <a:cubicBezTo>
                  <a:pt x="14236" y="11998"/>
                  <a:pt x="4229" y="17725"/>
                  <a:pt x="4229" y="23393"/>
                </a:cubicBezTo>
                <a:cubicBezTo>
                  <a:pt x="4229" y="29062"/>
                  <a:pt x="-110" y="38491"/>
                  <a:pt x="-110" y="43870"/>
                </a:cubicBezTo>
                <a:cubicBezTo>
                  <a:pt x="-110" y="49250"/>
                  <a:pt x="10707" y="50349"/>
                  <a:pt x="13889" y="54687"/>
                </a:cubicBezTo>
                <a:cubicBezTo>
                  <a:pt x="17070" y="59025"/>
                  <a:pt x="34423" y="61166"/>
                  <a:pt x="35465" y="65446"/>
                </a:cubicBezTo>
                <a:cubicBezTo>
                  <a:pt x="36506" y="69727"/>
                  <a:pt x="48422" y="75164"/>
                  <a:pt x="55999" y="76263"/>
                </a:cubicBezTo>
                <a:cubicBezTo>
                  <a:pt x="63577" y="77362"/>
                  <a:pt x="74336" y="85981"/>
                  <a:pt x="78616" y="89162"/>
                </a:cubicBezTo>
                <a:cubicBezTo>
                  <a:pt x="82897" y="92344"/>
                  <a:pt x="99094" y="84882"/>
                  <a:pt x="104531" y="84882"/>
                </a:cubicBezTo>
                <a:cubicBezTo>
                  <a:pt x="109968" y="84882"/>
                  <a:pt x="118587" y="94542"/>
                  <a:pt x="119628" y="99979"/>
                </a:cubicBezTo>
                <a:cubicBezTo>
                  <a:pt x="120669" y="105417"/>
                  <a:pt x="148550" y="108598"/>
                  <a:pt x="155202" y="114035"/>
                </a:cubicBezTo>
                <a:cubicBezTo>
                  <a:pt x="161854" y="119473"/>
                  <a:pt x="196214" y="116118"/>
                  <a:pt x="202635" y="109697"/>
                </a:cubicBezTo>
                <a:cubicBezTo>
                  <a:pt x="209056" y="103276"/>
                  <a:pt x="203792" y="91303"/>
                  <a:pt x="203792" y="81642"/>
                </a:cubicBezTo>
                <a:cubicBezTo>
                  <a:pt x="203502" y="79329"/>
                  <a:pt x="204138" y="76986"/>
                  <a:pt x="205584" y="7516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63" name="Forma libre: forma 62">
            <a:extLst>
              <a:ext uri="{FF2B5EF4-FFF2-40B4-BE49-F238E27FC236}">
                <a16:creationId xmlns:a16="http://schemas.microsoft.com/office/drawing/2014/main" id="{A0B386C3-6FD2-9875-8598-29B610FF667B}"/>
              </a:ext>
            </a:extLst>
          </p:cNvPr>
          <p:cNvSpPr/>
          <p:nvPr/>
        </p:nvSpPr>
        <p:spPr>
          <a:xfrm>
            <a:off x="8680524" y="3680503"/>
            <a:ext cx="232996" cy="510996"/>
          </a:xfrm>
          <a:custGeom>
            <a:avLst/>
            <a:gdLst>
              <a:gd name="connsiteX0" fmla="*/ 188115 w 232996"/>
              <a:gd name="connsiteY0" fmla="*/ 466071 h 510996"/>
              <a:gd name="connsiteX1" fmla="*/ 179497 w 232996"/>
              <a:gd name="connsiteY1" fmla="*/ 445594 h 510996"/>
              <a:gd name="connsiteX2" fmla="*/ 168738 w 232996"/>
              <a:gd name="connsiteY2" fmla="*/ 412102 h 510996"/>
              <a:gd name="connsiteX3" fmla="*/ 158962 w 232996"/>
              <a:gd name="connsiteY3" fmla="*/ 383180 h 510996"/>
              <a:gd name="connsiteX4" fmla="*/ 163301 w 232996"/>
              <a:gd name="connsiteY4" fmla="*/ 363744 h 510996"/>
              <a:gd name="connsiteX5" fmla="*/ 164399 w 232996"/>
              <a:gd name="connsiteY5" fmla="*/ 350845 h 510996"/>
              <a:gd name="connsiteX6" fmla="*/ 158962 w 232996"/>
              <a:gd name="connsiteY6" fmla="*/ 332508 h 510996"/>
              <a:gd name="connsiteX7" fmla="*/ 138543 w 232996"/>
              <a:gd name="connsiteY7" fmla="*/ 307693 h 510996"/>
              <a:gd name="connsiteX8" fmla="*/ 143922 w 232996"/>
              <a:gd name="connsiteY8" fmla="*/ 264599 h 510996"/>
              <a:gd name="connsiteX9" fmla="*/ 158962 w 232996"/>
              <a:gd name="connsiteY9" fmla="*/ 255923 h 510996"/>
              <a:gd name="connsiteX10" fmla="*/ 179497 w 232996"/>
              <a:gd name="connsiteY10" fmla="*/ 249444 h 510996"/>
              <a:gd name="connsiteX11" fmla="*/ 204312 w 232996"/>
              <a:gd name="connsiteY11" fmla="*/ 235446 h 510996"/>
              <a:gd name="connsiteX12" fmla="*/ 218311 w 232996"/>
              <a:gd name="connsiteY12" fmla="*/ 223530 h 510996"/>
              <a:gd name="connsiteX13" fmla="*/ 232366 w 232996"/>
              <a:gd name="connsiteY13" fmla="*/ 200913 h 510996"/>
              <a:gd name="connsiteX14" fmla="*/ 232887 w 232996"/>
              <a:gd name="connsiteY14" fmla="*/ 200913 h 510996"/>
              <a:gd name="connsiteX15" fmla="*/ 220624 w 232996"/>
              <a:gd name="connsiteY15" fmla="*/ 203400 h 510996"/>
              <a:gd name="connsiteX16" fmla="*/ 203618 w 232996"/>
              <a:gd name="connsiteY16" fmla="*/ 194319 h 510996"/>
              <a:gd name="connsiteX17" fmla="*/ 188521 w 232996"/>
              <a:gd name="connsiteY17" fmla="*/ 187088 h 510996"/>
              <a:gd name="connsiteX18" fmla="*/ 188521 w 232996"/>
              <a:gd name="connsiteY18" fmla="*/ 168867 h 510996"/>
              <a:gd name="connsiteX19" fmla="*/ 178166 w 232996"/>
              <a:gd name="connsiteY19" fmla="*/ 156778 h 510996"/>
              <a:gd name="connsiteX20" fmla="*/ 169721 w 232996"/>
              <a:gd name="connsiteY20" fmla="*/ 134334 h 510996"/>
              <a:gd name="connsiteX21" fmla="*/ 144848 w 232996"/>
              <a:gd name="connsiteY21" fmla="*/ 129533 h 510996"/>
              <a:gd name="connsiteX22" fmla="*/ 140047 w 232996"/>
              <a:gd name="connsiteY22" fmla="*/ 116171 h 510996"/>
              <a:gd name="connsiteX23" fmla="*/ 162433 w 232996"/>
              <a:gd name="connsiteY23" fmla="*/ 78051 h 510996"/>
              <a:gd name="connsiteX24" fmla="*/ 169085 w 232996"/>
              <a:gd name="connsiteY24" fmla="*/ 38023 h 510996"/>
              <a:gd name="connsiteX25" fmla="*/ 158210 w 232996"/>
              <a:gd name="connsiteY25" fmla="*/ 24719 h 510996"/>
              <a:gd name="connsiteX26" fmla="*/ 152136 w 232996"/>
              <a:gd name="connsiteY26" fmla="*/ 9564 h 510996"/>
              <a:gd name="connsiteX27" fmla="*/ 133973 w 232996"/>
              <a:gd name="connsiteY27" fmla="*/ 1697 h 510996"/>
              <a:gd name="connsiteX28" fmla="*/ 129403 w 232996"/>
              <a:gd name="connsiteY28" fmla="*/ 4416 h 510996"/>
              <a:gd name="connsiteX29" fmla="*/ 129866 w 232996"/>
              <a:gd name="connsiteY29" fmla="*/ 4416 h 510996"/>
              <a:gd name="connsiteX30" fmla="*/ 123388 w 232996"/>
              <a:gd name="connsiteY30" fmla="*/ 17373 h 510996"/>
              <a:gd name="connsiteX31" fmla="*/ 125586 w 232996"/>
              <a:gd name="connsiteY31" fmla="*/ 35652 h 510996"/>
              <a:gd name="connsiteX32" fmla="*/ 114017 w 232996"/>
              <a:gd name="connsiteY32" fmla="*/ 35652 h 510996"/>
              <a:gd name="connsiteX33" fmla="*/ 91342 w 232996"/>
              <a:gd name="connsiteY33" fmla="*/ 45370 h 510996"/>
              <a:gd name="connsiteX34" fmla="*/ 73005 w 232996"/>
              <a:gd name="connsiteY34" fmla="*/ 66945 h 510996"/>
              <a:gd name="connsiteX35" fmla="*/ 65428 w 232996"/>
              <a:gd name="connsiteY35" fmla="*/ 100380 h 510996"/>
              <a:gd name="connsiteX36" fmla="*/ 55768 w 232996"/>
              <a:gd name="connsiteY36" fmla="*/ 133813 h 510996"/>
              <a:gd name="connsiteX37" fmla="*/ 34192 w 232996"/>
              <a:gd name="connsiteY37" fmla="*/ 132772 h 510996"/>
              <a:gd name="connsiteX38" fmla="*/ 28813 w 232996"/>
              <a:gd name="connsiteY38" fmla="*/ 159670 h 510996"/>
              <a:gd name="connsiteX39" fmla="*/ 21235 w 232996"/>
              <a:gd name="connsiteY39" fmla="*/ 188592 h 510996"/>
              <a:gd name="connsiteX40" fmla="*/ 9666 w 232996"/>
              <a:gd name="connsiteY40" fmla="*/ 209069 h 510996"/>
              <a:gd name="connsiteX41" fmla="*/ -110 w 232996"/>
              <a:gd name="connsiteY41" fmla="*/ 217109 h 510996"/>
              <a:gd name="connsiteX42" fmla="*/ 25515 w 232996"/>
              <a:gd name="connsiteY42" fmla="*/ 244065 h 510996"/>
              <a:gd name="connsiteX43" fmla="*/ 56577 w 232996"/>
              <a:gd name="connsiteY43" fmla="*/ 299422 h 510996"/>
              <a:gd name="connsiteX44" fmla="*/ 52587 w 232996"/>
              <a:gd name="connsiteY44" fmla="*/ 343441 h 510996"/>
              <a:gd name="connsiteX45" fmla="*/ 64155 w 232996"/>
              <a:gd name="connsiteY45" fmla="*/ 358365 h 510996"/>
              <a:gd name="connsiteX46" fmla="*/ 90822 w 232996"/>
              <a:gd name="connsiteY46" fmla="*/ 355126 h 510996"/>
              <a:gd name="connsiteX47" fmla="*/ 113959 w 232996"/>
              <a:gd name="connsiteY47" fmla="*/ 327708 h 510996"/>
              <a:gd name="connsiteX48" fmla="*/ 128073 w 232996"/>
              <a:gd name="connsiteY48" fmla="*/ 338582 h 510996"/>
              <a:gd name="connsiteX49" fmla="*/ 139006 w 232996"/>
              <a:gd name="connsiteY49" fmla="*/ 368835 h 510996"/>
              <a:gd name="connsiteX50" fmla="*/ 153120 w 232996"/>
              <a:gd name="connsiteY50" fmla="*/ 427836 h 510996"/>
              <a:gd name="connsiteX51" fmla="*/ 163647 w 232996"/>
              <a:gd name="connsiteY51" fmla="*/ 471046 h 510996"/>
              <a:gd name="connsiteX52" fmla="*/ 167234 w 232996"/>
              <a:gd name="connsiteY52" fmla="*/ 503381 h 510996"/>
              <a:gd name="connsiteX53" fmla="*/ 165672 w 232996"/>
              <a:gd name="connsiteY53" fmla="*/ 510785 h 510996"/>
              <a:gd name="connsiteX54" fmla="*/ 188115 w 232996"/>
              <a:gd name="connsiteY54" fmla="*/ 466071 h 51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32996" h="510996">
                <a:moveTo>
                  <a:pt x="188115" y="466071"/>
                </a:moveTo>
                <a:cubicBezTo>
                  <a:pt x="188115" y="455312"/>
                  <a:pt x="179497" y="454502"/>
                  <a:pt x="179497" y="445594"/>
                </a:cubicBezTo>
                <a:cubicBezTo>
                  <a:pt x="179497" y="436686"/>
                  <a:pt x="179497" y="421878"/>
                  <a:pt x="168738" y="412102"/>
                </a:cubicBezTo>
                <a:cubicBezTo>
                  <a:pt x="157979" y="402326"/>
                  <a:pt x="152541" y="388386"/>
                  <a:pt x="158962" y="383180"/>
                </a:cubicBezTo>
                <a:cubicBezTo>
                  <a:pt x="165383" y="377974"/>
                  <a:pt x="160061" y="362703"/>
                  <a:pt x="163301" y="363744"/>
                </a:cubicBezTo>
                <a:cubicBezTo>
                  <a:pt x="166539" y="364786"/>
                  <a:pt x="170878" y="354085"/>
                  <a:pt x="164399" y="350845"/>
                </a:cubicBezTo>
                <a:cubicBezTo>
                  <a:pt x="157921" y="347606"/>
                  <a:pt x="164399" y="334649"/>
                  <a:pt x="158962" y="332508"/>
                </a:cubicBezTo>
                <a:cubicBezTo>
                  <a:pt x="153525" y="330368"/>
                  <a:pt x="138543" y="313073"/>
                  <a:pt x="138543" y="307693"/>
                </a:cubicBezTo>
                <a:cubicBezTo>
                  <a:pt x="138543" y="302314"/>
                  <a:pt x="142823" y="272119"/>
                  <a:pt x="143922" y="264599"/>
                </a:cubicBezTo>
                <a:cubicBezTo>
                  <a:pt x="145022" y="257080"/>
                  <a:pt x="155491" y="255923"/>
                  <a:pt x="158962" y="255923"/>
                </a:cubicBezTo>
                <a:cubicBezTo>
                  <a:pt x="162433" y="255923"/>
                  <a:pt x="175216" y="257022"/>
                  <a:pt x="179497" y="249444"/>
                </a:cubicBezTo>
                <a:cubicBezTo>
                  <a:pt x="183777" y="241866"/>
                  <a:pt x="202114" y="240825"/>
                  <a:pt x="204312" y="235446"/>
                </a:cubicBezTo>
                <a:cubicBezTo>
                  <a:pt x="206510" y="230066"/>
                  <a:pt x="218311" y="230008"/>
                  <a:pt x="218311" y="223530"/>
                </a:cubicBezTo>
                <a:cubicBezTo>
                  <a:pt x="218311" y="217051"/>
                  <a:pt x="232366" y="200913"/>
                  <a:pt x="232366" y="200913"/>
                </a:cubicBezTo>
                <a:lnTo>
                  <a:pt x="232887" y="200913"/>
                </a:lnTo>
                <a:cubicBezTo>
                  <a:pt x="231268" y="198020"/>
                  <a:pt x="227681" y="200566"/>
                  <a:pt x="220624" y="203400"/>
                </a:cubicBezTo>
                <a:cubicBezTo>
                  <a:pt x="208477" y="208259"/>
                  <a:pt x="202403" y="201607"/>
                  <a:pt x="203618" y="194319"/>
                </a:cubicBezTo>
                <a:cubicBezTo>
                  <a:pt x="204832" y="187030"/>
                  <a:pt x="195115" y="187088"/>
                  <a:pt x="188521" y="187088"/>
                </a:cubicBezTo>
                <a:cubicBezTo>
                  <a:pt x="181926" y="187088"/>
                  <a:pt x="186033" y="176155"/>
                  <a:pt x="188521" y="168867"/>
                </a:cubicBezTo>
                <a:cubicBezTo>
                  <a:pt x="191008" y="161579"/>
                  <a:pt x="186033" y="157298"/>
                  <a:pt x="178166" y="156778"/>
                </a:cubicBezTo>
                <a:cubicBezTo>
                  <a:pt x="170300" y="156257"/>
                  <a:pt x="166597" y="139424"/>
                  <a:pt x="169721" y="134334"/>
                </a:cubicBezTo>
                <a:cubicBezTo>
                  <a:pt x="172844" y="129244"/>
                  <a:pt x="153351" y="125253"/>
                  <a:pt x="144848" y="129533"/>
                </a:cubicBezTo>
                <a:cubicBezTo>
                  <a:pt x="136345" y="133813"/>
                  <a:pt x="142418" y="122245"/>
                  <a:pt x="140047" y="116171"/>
                </a:cubicBezTo>
                <a:cubicBezTo>
                  <a:pt x="137675" y="110097"/>
                  <a:pt x="150922" y="89562"/>
                  <a:pt x="162433" y="78051"/>
                </a:cubicBezTo>
                <a:cubicBezTo>
                  <a:pt x="173944" y="66540"/>
                  <a:pt x="169085" y="51385"/>
                  <a:pt x="169085" y="38023"/>
                </a:cubicBezTo>
                <a:cubicBezTo>
                  <a:pt x="169085" y="24661"/>
                  <a:pt x="163647" y="24719"/>
                  <a:pt x="158210" y="24719"/>
                </a:cubicBezTo>
                <a:cubicBezTo>
                  <a:pt x="152773" y="24719"/>
                  <a:pt x="152136" y="16852"/>
                  <a:pt x="152136" y="9564"/>
                </a:cubicBezTo>
                <a:cubicBezTo>
                  <a:pt x="152136" y="2276"/>
                  <a:pt x="140567" y="-3104"/>
                  <a:pt x="133973" y="1697"/>
                </a:cubicBezTo>
                <a:cubicBezTo>
                  <a:pt x="132527" y="2698"/>
                  <a:pt x="130965" y="3606"/>
                  <a:pt x="129403" y="4416"/>
                </a:cubicBezTo>
                <a:lnTo>
                  <a:pt x="129866" y="4416"/>
                </a:lnTo>
                <a:cubicBezTo>
                  <a:pt x="129866" y="4416"/>
                  <a:pt x="127726" y="15175"/>
                  <a:pt x="123388" y="17373"/>
                </a:cubicBezTo>
                <a:cubicBezTo>
                  <a:pt x="119050" y="19571"/>
                  <a:pt x="119107" y="25934"/>
                  <a:pt x="125586" y="35652"/>
                </a:cubicBezTo>
                <a:cubicBezTo>
                  <a:pt x="132065" y="45370"/>
                  <a:pt x="115868" y="41031"/>
                  <a:pt x="114017" y="35652"/>
                </a:cubicBezTo>
                <a:cubicBezTo>
                  <a:pt x="112166" y="30272"/>
                  <a:pt x="98862" y="38891"/>
                  <a:pt x="91342" y="45370"/>
                </a:cubicBezTo>
                <a:cubicBezTo>
                  <a:pt x="83823" y="51848"/>
                  <a:pt x="73005" y="55087"/>
                  <a:pt x="73005" y="66945"/>
                </a:cubicBezTo>
                <a:cubicBezTo>
                  <a:pt x="73005" y="78803"/>
                  <a:pt x="63288" y="90661"/>
                  <a:pt x="65428" y="100380"/>
                </a:cubicBezTo>
                <a:cubicBezTo>
                  <a:pt x="67568" y="110097"/>
                  <a:pt x="54669" y="128434"/>
                  <a:pt x="55768" y="133813"/>
                </a:cubicBezTo>
                <a:cubicBezTo>
                  <a:pt x="56867" y="139193"/>
                  <a:pt x="37431" y="132772"/>
                  <a:pt x="34192" y="132772"/>
                </a:cubicBezTo>
                <a:cubicBezTo>
                  <a:pt x="30953" y="132772"/>
                  <a:pt x="33093" y="153191"/>
                  <a:pt x="28813" y="159670"/>
                </a:cubicBezTo>
                <a:cubicBezTo>
                  <a:pt x="24532" y="166149"/>
                  <a:pt x="27713" y="188592"/>
                  <a:pt x="21235" y="188592"/>
                </a:cubicBezTo>
                <a:cubicBezTo>
                  <a:pt x="14756" y="188592"/>
                  <a:pt x="9666" y="209069"/>
                  <a:pt x="9666" y="209069"/>
                </a:cubicBezTo>
                <a:cubicBezTo>
                  <a:pt x="6195" y="211487"/>
                  <a:pt x="2956" y="214176"/>
                  <a:pt x="-110" y="217109"/>
                </a:cubicBezTo>
                <a:cubicBezTo>
                  <a:pt x="5154" y="228713"/>
                  <a:pt x="14178" y="238205"/>
                  <a:pt x="25515" y="244065"/>
                </a:cubicBezTo>
                <a:cubicBezTo>
                  <a:pt x="41249" y="250543"/>
                  <a:pt x="51777" y="282415"/>
                  <a:pt x="56577" y="299422"/>
                </a:cubicBezTo>
                <a:cubicBezTo>
                  <a:pt x="60858" y="314074"/>
                  <a:pt x="59470" y="329802"/>
                  <a:pt x="52587" y="343441"/>
                </a:cubicBezTo>
                <a:cubicBezTo>
                  <a:pt x="46802" y="353101"/>
                  <a:pt x="54611" y="353564"/>
                  <a:pt x="64155" y="358365"/>
                </a:cubicBezTo>
                <a:cubicBezTo>
                  <a:pt x="73700" y="363166"/>
                  <a:pt x="83938" y="364844"/>
                  <a:pt x="90822" y="355126"/>
                </a:cubicBezTo>
                <a:cubicBezTo>
                  <a:pt x="97705" y="345408"/>
                  <a:pt x="111819" y="338582"/>
                  <a:pt x="113959" y="327708"/>
                </a:cubicBezTo>
                <a:cubicBezTo>
                  <a:pt x="116099" y="316833"/>
                  <a:pt x="122404" y="332913"/>
                  <a:pt x="128073" y="338582"/>
                </a:cubicBezTo>
                <a:cubicBezTo>
                  <a:pt x="134957" y="347195"/>
                  <a:pt x="138775" y="357827"/>
                  <a:pt x="139006" y="368835"/>
                </a:cubicBezTo>
                <a:cubicBezTo>
                  <a:pt x="140221" y="382602"/>
                  <a:pt x="141435" y="416961"/>
                  <a:pt x="153120" y="427836"/>
                </a:cubicBezTo>
                <a:cubicBezTo>
                  <a:pt x="164805" y="438711"/>
                  <a:pt x="166829" y="462543"/>
                  <a:pt x="163647" y="471046"/>
                </a:cubicBezTo>
                <a:cubicBezTo>
                  <a:pt x="160466" y="479549"/>
                  <a:pt x="169432" y="494183"/>
                  <a:pt x="167234" y="503381"/>
                </a:cubicBezTo>
                <a:cubicBezTo>
                  <a:pt x="166771" y="505232"/>
                  <a:pt x="166251" y="507834"/>
                  <a:pt x="165672" y="510785"/>
                </a:cubicBezTo>
                <a:cubicBezTo>
                  <a:pt x="175216" y="513098"/>
                  <a:pt x="188115" y="466071"/>
                  <a:pt x="188115" y="466071"/>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28" name="Forma libre: forma 127">
            <a:extLst>
              <a:ext uri="{FF2B5EF4-FFF2-40B4-BE49-F238E27FC236}">
                <a16:creationId xmlns:a16="http://schemas.microsoft.com/office/drawing/2014/main" id="{BCCEC812-2DC7-7C5E-EC48-1F5A74470A28}"/>
              </a:ext>
            </a:extLst>
          </p:cNvPr>
          <p:cNvSpPr/>
          <p:nvPr/>
        </p:nvSpPr>
        <p:spPr>
          <a:xfrm>
            <a:off x="8600641" y="3687922"/>
            <a:ext cx="79580" cy="44387"/>
          </a:xfrm>
          <a:custGeom>
            <a:avLst/>
            <a:gdLst>
              <a:gd name="connsiteX0" fmla="*/ 79368 w 79580"/>
              <a:gd name="connsiteY0" fmla="*/ 14350 h 44387"/>
              <a:gd name="connsiteX1" fmla="*/ 47844 w 79580"/>
              <a:gd name="connsiteY1" fmla="*/ 5731 h 44387"/>
              <a:gd name="connsiteX2" fmla="*/ 25458 w 79580"/>
              <a:gd name="connsiteY2" fmla="*/ 2087 h 44387"/>
              <a:gd name="connsiteX3" fmla="*/ 6080 w 79580"/>
              <a:gd name="connsiteY3" fmla="*/ 19035 h 44387"/>
              <a:gd name="connsiteX4" fmla="*/ -110 w 79580"/>
              <a:gd name="connsiteY4" fmla="*/ 30604 h 44387"/>
              <a:gd name="connsiteX5" fmla="*/ 7005 w 79580"/>
              <a:gd name="connsiteY5" fmla="*/ 36909 h 44387"/>
              <a:gd name="connsiteX6" fmla="*/ 25284 w 79580"/>
              <a:gd name="connsiteY6" fmla="*/ 41248 h 44387"/>
              <a:gd name="connsiteX7" fmla="*/ 51256 w 79580"/>
              <a:gd name="connsiteY7" fmla="*/ 43445 h 44387"/>
              <a:gd name="connsiteX8" fmla="*/ 78154 w 79580"/>
              <a:gd name="connsiteY8" fmla="*/ 40206 h 44387"/>
              <a:gd name="connsiteX9" fmla="*/ 74914 w 79580"/>
              <a:gd name="connsiteY9" fmla="*/ 16432 h 4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80" h="44387">
                <a:moveTo>
                  <a:pt x="79368" y="14350"/>
                </a:moveTo>
                <a:cubicBezTo>
                  <a:pt x="63172" y="-574"/>
                  <a:pt x="58718" y="11458"/>
                  <a:pt x="47844" y="5731"/>
                </a:cubicBezTo>
                <a:cubicBezTo>
                  <a:pt x="36969" y="5"/>
                  <a:pt x="30895" y="-2135"/>
                  <a:pt x="25458" y="2087"/>
                </a:cubicBezTo>
                <a:cubicBezTo>
                  <a:pt x="20020" y="6310"/>
                  <a:pt x="11517" y="5731"/>
                  <a:pt x="6080" y="19035"/>
                </a:cubicBezTo>
                <a:cubicBezTo>
                  <a:pt x="4460" y="23113"/>
                  <a:pt x="2378" y="26995"/>
                  <a:pt x="-110" y="30604"/>
                </a:cubicBezTo>
                <a:cubicBezTo>
                  <a:pt x="1799" y="34653"/>
                  <a:pt x="4691" y="37488"/>
                  <a:pt x="7005" y="36909"/>
                </a:cubicBezTo>
                <a:cubicBezTo>
                  <a:pt x="11344" y="35868"/>
                  <a:pt x="16723" y="43445"/>
                  <a:pt x="25284" y="41248"/>
                </a:cubicBezTo>
                <a:cubicBezTo>
                  <a:pt x="33845" y="39050"/>
                  <a:pt x="39341" y="46685"/>
                  <a:pt x="51256" y="43445"/>
                </a:cubicBezTo>
                <a:cubicBezTo>
                  <a:pt x="63172" y="40206"/>
                  <a:pt x="73874" y="47726"/>
                  <a:pt x="78154" y="40206"/>
                </a:cubicBezTo>
                <a:cubicBezTo>
                  <a:pt x="82434" y="32687"/>
                  <a:pt x="74914" y="16432"/>
                  <a:pt x="74914" y="1643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29" name="Forma libre: forma 128">
            <a:extLst>
              <a:ext uri="{FF2B5EF4-FFF2-40B4-BE49-F238E27FC236}">
                <a16:creationId xmlns:a16="http://schemas.microsoft.com/office/drawing/2014/main" id="{DA78FA98-1EF7-94C6-47A2-0093A5A4BE83}"/>
              </a:ext>
            </a:extLst>
          </p:cNvPr>
          <p:cNvSpPr/>
          <p:nvPr/>
        </p:nvSpPr>
        <p:spPr>
          <a:xfrm>
            <a:off x="8943252" y="3832575"/>
            <a:ext cx="197451" cy="414514"/>
          </a:xfrm>
          <a:custGeom>
            <a:avLst/>
            <a:gdLst>
              <a:gd name="connsiteX0" fmla="*/ 148666 w 197451"/>
              <a:gd name="connsiteY0" fmla="*/ 48668 h 414514"/>
              <a:gd name="connsiteX1" fmla="*/ 121653 w 197451"/>
              <a:gd name="connsiteY1" fmla="*/ 28191 h 414514"/>
              <a:gd name="connsiteX2" fmla="*/ 114075 w 197451"/>
              <a:gd name="connsiteY2" fmla="*/ 11994 h 414514"/>
              <a:gd name="connsiteX3" fmla="*/ 91516 w 197451"/>
              <a:gd name="connsiteY3" fmla="*/ 425 h 414514"/>
              <a:gd name="connsiteX4" fmla="*/ 69940 w 197451"/>
              <a:gd name="connsiteY4" fmla="*/ 14424 h 414514"/>
              <a:gd name="connsiteX5" fmla="*/ 51604 w 197451"/>
              <a:gd name="connsiteY5" fmla="*/ 17663 h 414514"/>
              <a:gd name="connsiteX6" fmla="*/ 27830 w 197451"/>
              <a:gd name="connsiteY6" fmla="*/ 17663 h 414514"/>
              <a:gd name="connsiteX7" fmla="*/ 7353 w 197451"/>
              <a:gd name="connsiteY7" fmla="*/ 19803 h 414514"/>
              <a:gd name="connsiteX8" fmla="*/ -110 w 197451"/>
              <a:gd name="connsiteY8" fmla="*/ 25588 h 414514"/>
              <a:gd name="connsiteX9" fmla="*/ 9782 w 197451"/>
              <a:gd name="connsiteY9" fmla="*/ 39991 h 414514"/>
              <a:gd name="connsiteX10" fmla="*/ 23606 w 197451"/>
              <a:gd name="connsiteY10" fmla="*/ 60757 h 414514"/>
              <a:gd name="connsiteX11" fmla="*/ 46108 w 197451"/>
              <a:gd name="connsiteY11" fmla="*/ 72846 h 414514"/>
              <a:gd name="connsiteX12" fmla="*/ 65139 w 197451"/>
              <a:gd name="connsiteY12" fmla="*/ 78053 h 414514"/>
              <a:gd name="connsiteX13" fmla="*/ 73816 w 197451"/>
              <a:gd name="connsiteY13" fmla="*/ 98818 h 414514"/>
              <a:gd name="connsiteX14" fmla="*/ 53050 w 197451"/>
              <a:gd name="connsiteY14" fmla="*/ 110966 h 414514"/>
              <a:gd name="connsiteX15" fmla="*/ 82434 w 197451"/>
              <a:gd name="connsiteY15" fmla="*/ 136880 h 414514"/>
              <a:gd name="connsiteX16" fmla="*/ 96259 w 197451"/>
              <a:gd name="connsiteY16" fmla="*/ 161117 h 414514"/>
              <a:gd name="connsiteX17" fmla="*/ 118761 w 197451"/>
              <a:gd name="connsiteY17" fmla="*/ 190502 h 414514"/>
              <a:gd name="connsiteX18" fmla="*/ 141262 w 197451"/>
              <a:gd name="connsiteY18" fmla="*/ 211268 h 414514"/>
              <a:gd name="connsiteX19" fmla="*/ 146468 w 197451"/>
              <a:gd name="connsiteY19" fmla="*/ 238975 h 414514"/>
              <a:gd name="connsiteX20" fmla="*/ 155145 w 197451"/>
              <a:gd name="connsiteY20" fmla="*/ 283978 h 414514"/>
              <a:gd name="connsiteX21" fmla="*/ 136114 w 197451"/>
              <a:gd name="connsiteY21" fmla="*/ 315098 h 414514"/>
              <a:gd name="connsiteX22" fmla="*/ 111877 w 197451"/>
              <a:gd name="connsiteY22" fmla="*/ 330659 h 414514"/>
              <a:gd name="connsiteX23" fmla="*/ 111877 w 197451"/>
              <a:gd name="connsiteY23" fmla="*/ 354895 h 414514"/>
              <a:gd name="connsiteX24" fmla="*/ 80699 w 197451"/>
              <a:gd name="connsiteY24" fmla="*/ 354895 h 414514"/>
              <a:gd name="connsiteX25" fmla="*/ 63924 w 197451"/>
              <a:gd name="connsiteY25" fmla="*/ 368141 h 414514"/>
              <a:gd name="connsiteX26" fmla="*/ 76014 w 197451"/>
              <a:gd name="connsiteY26" fmla="*/ 377223 h 414514"/>
              <a:gd name="connsiteX27" fmla="*/ 68321 w 197451"/>
              <a:gd name="connsiteY27" fmla="*/ 401055 h 414514"/>
              <a:gd name="connsiteX28" fmla="*/ 82030 w 197451"/>
              <a:gd name="connsiteY28" fmla="*/ 411988 h 414514"/>
              <a:gd name="connsiteX29" fmla="*/ 106729 w 197451"/>
              <a:gd name="connsiteY29" fmla="*/ 393014 h 414514"/>
              <a:gd name="connsiteX30" fmla="*/ 113150 w 197451"/>
              <a:gd name="connsiteY30" fmla="*/ 382487 h 414514"/>
              <a:gd name="connsiteX31" fmla="*/ 120438 w 197451"/>
              <a:gd name="connsiteY31" fmla="*/ 367968 h 414514"/>
              <a:gd name="connsiteX32" fmla="*/ 137386 w 197451"/>
              <a:gd name="connsiteY32" fmla="*/ 365134 h 414514"/>
              <a:gd name="connsiteX33" fmla="*/ 174523 w 197451"/>
              <a:gd name="connsiteY33" fmla="*/ 347376 h 414514"/>
              <a:gd name="connsiteX34" fmla="*/ 195925 w 197451"/>
              <a:gd name="connsiteY34" fmla="*/ 311049 h 414514"/>
              <a:gd name="connsiteX35" fmla="*/ 189504 w 197451"/>
              <a:gd name="connsiteY35" fmla="*/ 247420 h 414514"/>
              <a:gd name="connsiteX36" fmla="*/ 163648 w 197451"/>
              <a:gd name="connsiteY36" fmla="*/ 204673 h 414514"/>
              <a:gd name="connsiteX37" fmla="*/ 119629 w 197451"/>
              <a:gd name="connsiteY37" fmla="*/ 167422 h 414514"/>
              <a:gd name="connsiteX38" fmla="*/ 107481 w 197451"/>
              <a:gd name="connsiteY38" fmla="*/ 146425 h 414514"/>
              <a:gd name="connsiteX39" fmla="*/ 100655 w 197451"/>
              <a:gd name="connsiteY39" fmla="*/ 109288 h 414514"/>
              <a:gd name="connsiteX40" fmla="*/ 120033 w 197451"/>
              <a:gd name="connsiteY40" fmla="*/ 85456 h 414514"/>
              <a:gd name="connsiteX41" fmla="*/ 130503 w 197451"/>
              <a:gd name="connsiteY41" fmla="*/ 69376 h 414514"/>
              <a:gd name="connsiteX42" fmla="*/ 151905 w 197451"/>
              <a:gd name="connsiteY42" fmla="*/ 55204 h 414514"/>
              <a:gd name="connsiteX43" fmla="*/ 154219 w 197451"/>
              <a:gd name="connsiteY43" fmla="*/ 53179 h 414514"/>
              <a:gd name="connsiteX44" fmla="*/ 148666 w 197451"/>
              <a:gd name="connsiteY44" fmla="*/ 48668 h 41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451" h="414514">
                <a:moveTo>
                  <a:pt x="148666" y="48668"/>
                </a:moveTo>
                <a:cubicBezTo>
                  <a:pt x="141089" y="47569"/>
                  <a:pt x="121653" y="33628"/>
                  <a:pt x="121653" y="28191"/>
                </a:cubicBezTo>
                <a:cubicBezTo>
                  <a:pt x="121653" y="22753"/>
                  <a:pt x="131370" y="14134"/>
                  <a:pt x="114075" y="11994"/>
                </a:cubicBezTo>
                <a:cubicBezTo>
                  <a:pt x="96780" y="9854"/>
                  <a:pt x="94697" y="3375"/>
                  <a:pt x="91516" y="425"/>
                </a:cubicBezTo>
                <a:cubicBezTo>
                  <a:pt x="88335" y="-2524"/>
                  <a:pt x="74163" y="6904"/>
                  <a:pt x="69940" y="14424"/>
                </a:cubicBezTo>
                <a:cubicBezTo>
                  <a:pt x="65717" y="21944"/>
                  <a:pt x="61263" y="12284"/>
                  <a:pt x="51604" y="17663"/>
                </a:cubicBezTo>
                <a:cubicBezTo>
                  <a:pt x="41943" y="23043"/>
                  <a:pt x="32168" y="10143"/>
                  <a:pt x="27830" y="17663"/>
                </a:cubicBezTo>
                <a:cubicBezTo>
                  <a:pt x="23491" y="25183"/>
                  <a:pt x="12790" y="13383"/>
                  <a:pt x="7353" y="19803"/>
                </a:cubicBezTo>
                <a:cubicBezTo>
                  <a:pt x="5270" y="22221"/>
                  <a:pt x="2725" y="24194"/>
                  <a:pt x="-110" y="25588"/>
                </a:cubicBezTo>
                <a:cubicBezTo>
                  <a:pt x="4634" y="30851"/>
                  <a:pt x="9782" y="36000"/>
                  <a:pt x="9782" y="39991"/>
                </a:cubicBezTo>
                <a:cubicBezTo>
                  <a:pt x="9782" y="46874"/>
                  <a:pt x="23606" y="52138"/>
                  <a:pt x="23606" y="60757"/>
                </a:cubicBezTo>
                <a:cubicBezTo>
                  <a:pt x="23606" y="69376"/>
                  <a:pt x="40960" y="76317"/>
                  <a:pt x="46108" y="72846"/>
                </a:cubicBezTo>
                <a:cubicBezTo>
                  <a:pt x="51256" y="69376"/>
                  <a:pt x="63461" y="65963"/>
                  <a:pt x="65139" y="78053"/>
                </a:cubicBezTo>
                <a:cubicBezTo>
                  <a:pt x="66817" y="90142"/>
                  <a:pt x="73816" y="90200"/>
                  <a:pt x="73816" y="98818"/>
                </a:cubicBezTo>
                <a:cubicBezTo>
                  <a:pt x="73816" y="107437"/>
                  <a:pt x="56462" y="102289"/>
                  <a:pt x="53050" y="110966"/>
                </a:cubicBezTo>
                <a:cubicBezTo>
                  <a:pt x="49636" y="119643"/>
                  <a:pt x="82434" y="129997"/>
                  <a:pt x="82434" y="136880"/>
                </a:cubicBezTo>
                <a:cubicBezTo>
                  <a:pt x="82434" y="143764"/>
                  <a:pt x="92847" y="152440"/>
                  <a:pt x="96259" y="161117"/>
                </a:cubicBezTo>
                <a:cubicBezTo>
                  <a:pt x="99672" y="169794"/>
                  <a:pt x="115348" y="180148"/>
                  <a:pt x="118761" y="190502"/>
                </a:cubicBezTo>
                <a:cubicBezTo>
                  <a:pt x="122173" y="200856"/>
                  <a:pt x="136114" y="206120"/>
                  <a:pt x="141262" y="211268"/>
                </a:cubicBezTo>
                <a:cubicBezTo>
                  <a:pt x="146410" y="216416"/>
                  <a:pt x="148203" y="228621"/>
                  <a:pt x="146468" y="238975"/>
                </a:cubicBezTo>
                <a:cubicBezTo>
                  <a:pt x="143865" y="254530"/>
                  <a:pt x="146931" y="270512"/>
                  <a:pt x="155145" y="283978"/>
                </a:cubicBezTo>
                <a:cubicBezTo>
                  <a:pt x="165499" y="299538"/>
                  <a:pt x="142997" y="306480"/>
                  <a:pt x="136114" y="315098"/>
                </a:cubicBezTo>
                <a:cubicBezTo>
                  <a:pt x="129230" y="323717"/>
                  <a:pt x="132644" y="335865"/>
                  <a:pt x="111877" y="330659"/>
                </a:cubicBezTo>
                <a:cubicBezTo>
                  <a:pt x="91111" y="325452"/>
                  <a:pt x="115348" y="348012"/>
                  <a:pt x="111877" y="354895"/>
                </a:cubicBezTo>
                <a:cubicBezTo>
                  <a:pt x="108406" y="361779"/>
                  <a:pt x="80699" y="348012"/>
                  <a:pt x="80699" y="354895"/>
                </a:cubicBezTo>
                <a:cubicBezTo>
                  <a:pt x="80699" y="359060"/>
                  <a:pt x="71386" y="364497"/>
                  <a:pt x="63924" y="368141"/>
                </a:cubicBezTo>
                <a:cubicBezTo>
                  <a:pt x="67337" y="371890"/>
                  <a:pt x="71444" y="374967"/>
                  <a:pt x="76014" y="377223"/>
                </a:cubicBezTo>
                <a:cubicBezTo>
                  <a:pt x="82492" y="381272"/>
                  <a:pt x="67915" y="388156"/>
                  <a:pt x="68321" y="401055"/>
                </a:cubicBezTo>
                <a:cubicBezTo>
                  <a:pt x="68725" y="413954"/>
                  <a:pt x="78443" y="417251"/>
                  <a:pt x="82030" y="411988"/>
                </a:cubicBezTo>
                <a:cubicBezTo>
                  <a:pt x="88971" y="404121"/>
                  <a:pt x="97358" y="397671"/>
                  <a:pt x="106729" y="393014"/>
                </a:cubicBezTo>
                <a:cubicBezTo>
                  <a:pt x="112513" y="390990"/>
                  <a:pt x="106729" y="382082"/>
                  <a:pt x="113150" y="382487"/>
                </a:cubicBezTo>
                <a:cubicBezTo>
                  <a:pt x="119571" y="382892"/>
                  <a:pt x="117603" y="373232"/>
                  <a:pt x="120438" y="367968"/>
                </a:cubicBezTo>
                <a:cubicBezTo>
                  <a:pt x="123273" y="362704"/>
                  <a:pt x="127669" y="364729"/>
                  <a:pt x="137386" y="365134"/>
                </a:cubicBezTo>
                <a:cubicBezTo>
                  <a:pt x="147105" y="365538"/>
                  <a:pt x="160524" y="356226"/>
                  <a:pt x="174523" y="347376"/>
                </a:cubicBezTo>
                <a:cubicBezTo>
                  <a:pt x="188521" y="338525"/>
                  <a:pt x="190661" y="336501"/>
                  <a:pt x="195925" y="311049"/>
                </a:cubicBezTo>
                <a:cubicBezTo>
                  <a:pt x="201189" y="285598"/>
                  <a:pt x="190140" y="255287"/>
                  <a:pt x="189504" y="247420"/>
                </a:cubicBezTo>
                <a:cubicBezTo>
                  <a:pt x="188868" y="239554"/>
                  <a:pt x="170531" y="204211"/>
                  <a:pt x="163648" y="204673"/>
                </a:cubicBezTo>
                <a:cubicBezTo>
                  <a:pt x="156764" y="205136"/>
                  <a:pt x="125297" y="172744"/>
                  <a:pt x="119629" y="167422"/>
                </a:cubicBezTo>
                <a:cubicBezTo>
                  <a:pt x="113959" y="162100"/>
                  <a:pt x="115579" y="153308"/>
                  <a:pt x="107481" y="146425"/>
                </a:cubicBezTo>
                <a:cubicBezTo>
                  <a:pt x="99383" y="139541"/>
                  <a:pt x="98631" y="121841"/>
                  <a:pt x="100655" y="109288"/>
                </a:cubicBezTo>
                <a:cubicBezTo>
                  <a:pt x="102680" y="96736"/>
                  <a:pt x="120438" y="93960"/>
                  <a:pt x="120033" y="85456"/>
                </a:cubicBezTo>
                <a:cubicBezTo>
                  <a:pt x="119629" y="76954"/>
                  <a:pt x="121653" y="69723"/>
                  <a:pt x="130503" y="69376"/>
                </a:cubicBezTo>
                <a:cubicBezTo>
                  <a:pt x="139411" y="68092"/>
                  <a:pt x="147278" y="62891"/>
                  <a:pt x="151905" y="55204"/>
                </a:cubicBezTo>
                <a:cubicBezTo>
                  <a:pt x="152542" y="54365"/>
                  <a:pt x="153294" y="53677"/>
                  <a:pt x="154219" y="53179"/>
                </a:cubicBezTo>
                <a:cubicBezTo>
                  <a:pt x="152831" y="51195"/>
                  <a:pt x="150922" y="49634"/>
                  <a:pt x="148666" y="4866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0" name="Forma libre: forma 129">
            <a:extLst>
              <a:ext uri="{FF2B5EF4-FFF2-40B4-BE49-F238E27FC236}">
                <a16:creationId xmlns:a16="http://schemas.microsoft.com/office/drawing/2014/main" id="{E4970AF7-73A2-D5A7-7CAB-299E754D6E76}"/>
              </a:ext>
            </a:extLst>
          </p:cNvPr>
          <p:cNvSpPr/>
          <p:nvPr/>
        </p:nvSpPr>
        <p:spPr>
          <a:xfrm>
            <a:off x="8948715" y="4082322"/>
            <a:ext cx="152472" cy="118060"/>
          </a:xfrm>
          <a:custGeom>
            <a:avLst/>
            <a:gdLst>
              <a:gd name="connsiteX0" fmla="*/ 75236 w 152472"/>
              <a:gd name="connsiteY0" fmla="*/ 104743 h 118060"/>
              <a:gd name="connsiteX1" fmla="*/ 106414 w 152472"/>
              <a:gd name="connsiteY1" fmla="*/ 104743 h 118060"/>
              <a:gd name="connsiteX2" fmla="*/ 106414 w 152472"/>
              <a:gd name="connsiteY2" fmla="*/ 80506 h 118060"/>
              <a:gd name="connsiteX3" fmla="*/ 130651 w 152472"/>
              <a:gd name="connsiteY3" fmla="*/ 64946 h 118060"/>
              <a:gd name="connsiteX4" fmla="*/ 149682 w 152472"/>
              <a:gd name="connsiteY4" fmla="*/ 33826 h 118060"/>
              <a:gd name="connsiteX5" fmla="*/ 140196 w 152472"/>
              <a:gd name="connsiteY5" fmla="*/ -129 h 118060"/>
              <a:gd name="connsiteX6" fmla="*/ 120818 w 152472"/>
              <a:gd name="connsiteY6" fmla="*/ 3689 h 118060"/>
              <a:gd name="connsiteX7" fmla="*/ 102134 w 152472"/>
              <a:gd name="connsiteY7" fmla="*/ 9473 h 118060"/>
              <a:gd name="connsiteX8" fmla="*/ 93978 w 152472"/>
              <a:gd name="connsiteY8" fmla="*/ 16472 h 118060"/>
              <a:gd name="connsiteX9" fmla="*/ 78823 w 152472"/>
              <a:gd name="connsiteY9" fmla="*/ 5945 h 118060"/>
              <a:gd name="connsiteX10" fmla="*/ 41513 w 152472"/>
              <a:gd name="connsiteY10" fmla="*/ 4846 h 118060"/>
              <a:gd name="connsiteX11" fmla="*/ 4262 w 152472"/>
              <a:gd name="connsiteY11" fmla="*/ 23472 h 118060"/>
              <a:gd name="connsiteX12" fmla="*/ 5418 w 152472"/>
              <a:gd name="connsiteY12" fmla="*/ 47940 h 118060"/>
              <a:gd name="connsiteX13" fmla="*/ 8947 w 152472"/>
              <a:gd name="connsiteY13" fmla="*/ 68937 h 118060"/>
              <a:gd name="connsiteX14" fmla="*/ 8947 w 152472"/>
              <a:gd name="connsiteY14" fmla="*/ 69747 h 118060"/>
              <a:gd name="connsiteX15" fmla="*/ 16293 w 152472"/>
              <a:gd name="connsiteY15" fmla="*/ 94331 h 118060"/>
              <a:gd name="connsiteX16" fmla="*/ 33242 w 152472"/>
              <a:gd name="connsiteY16" fmla="*/ 97165 h 118060"/>
              <a:gd name="connsiteX17" fmla="*/ 34456 w 152472"/>
              <a:gd name="connsiteY17" fmla="*/ 111684 h 118060"/>
              <a:gd name="connsiteX18" fmla="*/ 56264 w 152472"/>
              <a:gd name="connsiteY18" fmla="*/ 113709 h 118060"/>
              <a:gd name="connsiteX19" fmla="*/ 58751 w 152472"/>
              <a:gd name="connsiteY19" fmla="*/ 117931 h 118060"/>
              <a:gd name="connsiteX20" fmla="*/ 75236 w 152472"/>
              <a:gd name="connsiteY20" fmla="*/ 104743 h 11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72" h="118060">
                <a:moveTo>
                  <a:pt x="75236" y="104743"/>
                </a:moveTo>
                <a:cubicBezTo>
                  <a:pt x="75236" y="97859"/>
                  <a:pt x="102944" y="111684"/>
                  <a:pt x="106414" y="104743"/>
                </a:cubicBezTo>
                <a:cubicBezTo>
                  <a:pt x="109886" y="97801"/>
                  <a:pt x="85648" y="75300"/>
                  <a:pt x="106414" y="80506"/>
                </a:cubicBezTo>
                <a:cubicBezTo>
                  <a:pt x="127181" y="85712"/>
                  <a:pt x="123768" y="73622"/>
                  <a:pt x="130651" y="64946"/>
                </a:cubicBezTo>
                <a:cubicBezTo>
                  <a:pt x="137535" y="56269"/>
                  <a:pt x="160036" y="49386"/>
                  <a:pt x="149682" y="33826"/>
                </a:cubicBezTo>
                <a:cubicBezTo>
                  <a:pt x="143261" y="23680"/>
                  <a:pt x="139964" y="11874"/>
                  <a:pt x="140196" y="-129"/>
                </a:cubicBezTo>
                <a:cubicBezTo>
                  <a:pt x="134816" y="4342"/>
                  <a:pt x="127528" y="5777"/>
                  <a:pt x="120818" y="3689"/>
                </a:cubicBezTo>
                <a:cubicBezTo>
                  <a:pt x="115033" y="1317"/>
                  <a:pt x="102134" y="160"/>
                  <a:pt x="102134" y="9473"/>
                </a:cubicBezTo>
                <a:cubicBezTo>
                  <a:pt x="102134" y="18786"/>
                  <a:pt x="92821" y="21042"/>
                  <a:pt x="93978" y="16472"/>
                </a:cubicBezTo>
                <a:cubicBezTo>
                  <a:pt x="95135" y="11903"/>
                  <a:pt x="84665" y="12944"/>
                  <a:pt x="78823" y="5945"/>
                </a:cubicBezTo>
                <a:cubicBezTo>
                  <a:pt x="72981" y="-1054"/>
                  <a:pt x="52041" y="8316"/>
                  <a:pt x="41513" y="4846"/>
                </a:cubicBezTo>
                <a:cubicBezTo>
                  <a:pt x="30986" y="1375"/>
                  <a:pt x="14731" y="10630"/>
                  <a:pt x="4262" y="23472"/>
                </a:cubicBezTo>
                <a:cubicBezTo>
                  <a:pt x="-6208" y="36313"/>
                  <a:pt x="5418" y="36255"/>
                  <a:pt x="5418" y="47940"/>
                </a:cubicBezTo>
                <a:cubicBezTo>
                  <a:pt x="5418" y="59624"/>
                  <a:pt x="12417" y="59508"/>
                  <a:pt x="8947" y="68937"/>
                </a:cubicBezTo>
                <a:cubicBezTo>
                  <a:pt x="8889" y="69209"/>
                  <a:pt x="8889" y="69481"/>
                  <a:pt x="8947" y="69747"/>
                </a:cubicBezTo>
                <a:cubicBezTo>
                  <a:pt x="19185" y="74259"/>
                  <a:pt x="15137" y="87100"/>
                  <a:pt x="16293" y="94331"/>
                </a:cubicBezTo>
                <a:cubicBezTo>
                  <a:pt x="17450" y="101561"/>
                  <a:pt x="27862" y="97570"/>
                  <a:pt x="33242" y="97165"/>
                </a:cubicBezTo>
                <a:cubicBezTo>
                  <a:pt x="38621" y="96760"/>
                  <a:pt x="29656" y="106015"/>
                  <a:pt x="34456" y="111684"/>
                </a:cubicBezTo>
                <a:cubicBezTo>
                  <a:pt x="39257" y="117353"/>
                  <a:pt x="53487" y="106883"/>
                  <a:pt x="56264" y="113709"/>
                </a:cubicBezTo>
                <a:cubicBezTo>
                  <a:pt x="56900" y="115224"/>
                  <a:pt x="57710" y="116647"/>
                  <a:pt x="58751" y="117931"/>
                </a:cubicBezTo>
                <a:cubicBezTo>
                  <a:pt x="65923" y="114518"/>
                  <a:pt x="75236" y="109081"/>
                  <a:pt x="75236" y="104743"/>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1" name="Forma libre: forma 130">
            <a:extLst>
              <a:ext uri="{FF2B5EF4-FFF2-40B4-BE49-F238E27FC236}">
                <a16:creationId xmlns:a16="http://schemas.microsoft.com/office/drawing/2014/main" id="{B27C4452-4E11-B924-CB9E-CC404DBB59BE}"/>
              </a:ext>
            </a:extLst>
          </p:cNvPr>
          <p:cNvSpPr/>
          <p:nvPr/>
        </p:nvSpPr>
        <p:spPr>
          <a:xfrm>
            <a:off x="8889458" y="3858060"/>
            <a:ext cx="200849" cy="242609"/>
          </a:xfrm>
          <a:custGeom>
            <a:avLst/>
            <a:gdLst>
              <a:gd name="connsiteX0" fmla="*/ 136287 w 200849"/>
              <a:gd name="connsiteY0" fmla="*/ 111164 h 242609"/>
              <a:gd name="connsiteX1" fmla="*/ 106902 w 200849"/>
              <a:gd name="connsiteY1" fmla="*/ 85249 h 242609"/>
              <a:gd name="connsiteX2" fmla="*/ 127668 w 200849"/>
              <a:gd name="connsiteY2" fmla="*/ 73102 h 242609"/>
              <a:gd name="connsiteX3" fmla="*/ 118992 w 200849"/>
              <a:gd name="connsiteY3" fmla="*/ 52336 h 242609"/>
              <a:gd name="connsiteX4" fmla="*/ 99961 w 200849"/>
              <a:gd name="connsiteY4" fmla="*/ 47130 h 242609"/>
              <a:gd name="connsiteX5" fmla="*/ 77459 w 200849"/>
              <a:gd name="connsiteY5" fmla="*/ 35040 h 242609"/>
              <a:gd name="connsiteX6" fmla="*/ 63634 w 200849"/>
              <a:gd name="connsiteY6" fmla="*/ 14275 h 242609"/>
              <a:gd name="connsiteX7" fmla="*/ 53743 w 200849"/>
              <a:gd name="connsiteY7" fmla="*/ -129 h 242609"/>
              <a:gd name="connsiteX8" fmla="*/ 42868 w 200849"/>
              <a:gd name="connsiteY8" fmla="*/ 565 h 242609"/>
              <a:gd name="connsiteX9" fmla="*/ 38530 w 200849"/>
              <a:gd name="connsiteY9" fmla="*/ 14564 h 242609"/>
              <a:gd name="connsiteX10" fmla="*/ 37489 w 200849"/>
              <a:gd name="connsiteY10" fmla="*/ 36139 h 242609"/>
              <a:gd name="connsiteX11" fmla="*/ 23491 w 200849"/>
              <a:gd name="connsiteY11" fmla="*/ 23182 h 242609"/>
              <a:gd name="connsiteX12" fmla="*/ 9434 w 200849"/>
              <a:gd name="connsiteY12" fmla="*/ 45799 h 242609"/>
              <a:gd name="connsiteX13" fmla="*/ -110 w 200849"/>
              <a:gd name="connsiteY13" fmla="*/ 53782 h 242609"/>
              <a:gd name="connsiteX14" fmla="*/ 5212 w 200849"/>
              <a:gd name="connsiteY14" fmla="*/ 59104 h 242609"/>
              <a:gd name="connsiteX15" fmla="*/ 7584 w 200849"/>
              <a:gd name="connsiteY15" fmla="*/ 80043 h 242609"/>
              <a:gd name="connsiteX16" fmla="*/ 26267 w 200849"/>
              <a:gd name="connsiteY16" fmla="*/ 87042 h 242609"/>
              <a:gd name="connsiteX17" fmla="*/ 23895 w 200849"/>
              <a:gd name="connsiteY17" fmla="*/ 115965 h 242609"/>
              <a:gd name="connsiteX18" fmla="*/ 16896 w 200849"/>
              <a:gd name="connsiteY18" fmla="*/ 136962 h 242609"/>
              <a:gd name="connsiteX19" fmla="*/ 41422 w 200849"/>
              <a:gd name="connsiteY19" fmla="*/ 127649 h 242609"/>
              <a:gd name="connsiteX20" fmla="*/ 61205 w 200849"/>
              <a:gd name="connsiteY20" fmla="*/ 126492 h 242609"/>
              <a:gd name="connsiteX21" fmla="*/ 78559 w 200849"/>
              <a:gd name="connsiteY21" fmla="*/ 121807 h 242609"/>
              <a:gd name="connsiteX22" fmla="*/ 104241 w 200849"/>
              <a:gd name="connsiteY22" fmla="*/ 120650 h 242609"/>
              <a:gd name="connsiteX23" fmla="*/ 124082 w 200849"/>
              <a:gd name="connsiteY23" fmla="*/ 140433 h 242609"/>
              <a:gd name="connsiteX24" fmla="*/ 126396 w 200849"/>
              <a:gd name="connsiteY24" fmla="*/ 173115 h 242609"/>
              <a:gd name="connsiteX25" fmla="*/ 145079 w 200849"/>
              <a:gd name="connsiteY25" fmla="*/ 202037 h 242609"/>
              <a:gd name="connsiteX26" fmla="*/ 141493 w 200849"/>
              <a:gd name="connsiteY26" fmla="*/ 232984 h 242609"/>
              <a:gd name="connsiteX27" fmla="*/ 153062 w 200849"/>
              <a:gd name="connsiteY27" fmla="*/ 240503 h 242609"/>
              <a:gd name="connsiteX28" fmla="*/ 161218 w 200849"/>
              <a:gd name="connsiteY28" fmla="*/ 233504 h 242609"/>
              <a:gd name="connsiteX29" fmla="*/ 179902 w 200849"/>
              <a:gd name="connsiteY29" fmla="*/ 227720 h 242609"/>
              <a:gd name="connsiteX30" fmla="*/ 199280 w 200849"/>
              <a:gd name="connsiteY30" fmla="*/ 223902 h 242609"/>
              <a:gd name="connsiteX31" fmla="*/ 200089 w 200849"/>
              <a:gd name="connsiteY31" fmla="*/ 212854 h 242609"/>
              <a:gd name="connsiteX32" fmla="*/ 194883 w 200849"/>
              <a:gd name="connsiteY32" fmla="*/ 185146 h 242609"/>
              <a:gd name="connsiteX33" fmla="*/ 172382 w 200849"/>
              <a:gd name="connsiteY33" fmla="*/ 164380 h 242609"/>
              <a:gd name="connsiteX34" fmla="*/ 149880 w 200849"/>
              <a:gd name="connsiteY34" fmla="*/ 134996 h 242609"/>
              <a:gd name="connsiteX35" fmla="*/ 136287 w 200849"/>
              <a:gd name="connsiteY35" fmla="*/ 111164 h 24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849" h="242609">
                <a:moveTo>
                  <a:pt x="136287" y="111164"/>
                </a:moveTo>
                <a:cubicBezTo>
                  <a:pt x="136287" y="104280"/>
                  <a:pt x="103431" y="93810"/>
                  <a:pt x="106902" y="85249"/>
                </a:cubicBezTo>
                <a:cubicBezTo>
                  <a:pt x="110373" y="76688"/>
                  <a:pt x="127668" y="81721"/>
                  <a:pt x="127668" y="73102"/>
                </a:cubicBezTo>
                <a:cubicBezTo>
                  <a:pt x="127668" y="64483"/>
                  <a:pt x="120727" y="64483"/>
                  <a:pt x="118992" y="52336"/>
                </a:cubicBezTo>
                <a:cubicBezTo>
                  <a:pt x="117256" y="40189"/>
                  <a:pt x="105167" y="43717"/>
                  <a:pt x="99961" y="47130"/>
                </a:cubicBezTo>
                <a:cubicBezTo>
                  <a:pt x="94755" y="50543"/>
                  <a:pt x="77459" y="43717"/>
                  <a:pt x="77459" y="35040"/>
                </a:cubicBezTo>
                <a:cubicBezTo>
                  <a:pt x="77459" y="26364"/>
                  <a:pt x="63634" y="21158"/>
                  <a:pt x="63634" y="14275"/>
                </a:cubicBezTo>
                <a:cubicBezTo>
                  <a:pt x="63634" y="10283"/>
                  <a:pt x="58487" y="5135"/>
                  <a:pt x="53743" y="-129"/>
                </a:cubicBezTo>
                <a:cubicBezTo>
                  <a:pt x="49347" y="2069"/>
                  <a:pt x="44893" y="2532"/>
                  <a:pt x="42868" y="565"/>
                </a:cubicBezTo>
                <a:cubicBezTo>
                  <a:pt x="39629" y="-2674"/>
                  <a:pt x="35291" y="11324"/>
                  <a:pt x="38530" y="14564"/>
                </a:cubicBezTo>
                <a:cubicBezTo>
                  <a:pt x="41770" y="17803"/>
                  <a:pt x="46108" y="38280"/>
                  <a:pt x="37489" y="36139"/>
                </a:cubicBezTo>
                <a:cubicBezTo>
                  <a:pt x="28871" y="33999"/>
                  <a:pt x="28871" y="22083"/>
                  <a:pt x="23491" y="23182"/>
                </a:cubicBezTo>
                <a:cubicBezTo>
                  <a:pt x="23491" y="23182"/>
                  <a:pt x="9434" y="39379"/>
                  <a:pt x="9434" y="45799"/>
                </a:cubicBezTo>
                <a:cubicBezTo>
                  <a:pt x="9434" y="50196"/>
                  <a:pt x="4113" y="51584"/>
                  <a:pt x="-110" y="53782"/>
                </a:cubicBezTo>
                <a:cubicBezTo>
                  <a:pt x="1857" y="55373"/>
                  <a:pt x="3650" y="57154"/>
                  <a:pt x="5212" y="59104"/>
                </a:cubicBezTo>
                <a:cubicBezTo>
                  <a:pt x="7584" y="62574"/>
                  <a:pt x="4113" y="71887"/>
                  <a:pt x="7584" y="80043"/>
                </a:cubicBezTo>
                <a:cubicBezTo>
                  <a:pt x="11054" y="88199"/>
                  <a:pt x="22739" y="75416"/>
                  <a:pt x="26267" y="87042"/>
                </a:cubicBezTo>
                <a:cubicBezTo>
                  <a:pt x="29796" y="98669"/>
                  <a:pt x="23895" y="104396"/>
                  <a:pt x="23895" y="115965"/>
                </a:cubicBezTo>
                <a:cubicBezTo>
                  <a:pt x="23895" y="127533"/>
                  <a:pt x="14582" y="126492"/>
                  <a:pt x="16896" y="136962"/>
                </a:cubicBezTo>
                <a:cubicBezTo>
                  <a:pt x="19210" y="147432"/>
                  <a:pt x="32052" y="134648"/>
                  <a:pt x="41422" y="127649"/>
                </a:cubicBezTo>
                <a:cubicBezTo>
                  <a:pt x="50793" y="120650"/>
                  <a:pt x="57735" y="121865"/>
                  <a:pt x="61205" y="126492"/>
                </a:cubicBezTo>
                <a:cubicBezTo>
                  <a:pt x="64676" y="131120"/>
                  <a:pt x="76360" y="127649"/>
                  <a:pt x="78559" y="121807"/>
                </a:cubicBezTo>
                <a:cubicBezTo>
                  <a:pt x="80757" y="115965"/>
                  <a:pt x="98399" y="113593"/>
                  <a:pt x="104241" y="120650"/>
                </a:cubicBezTo>
                <a:cubicBezTo>
                  <a:pt x="109621" y="128367"/>
                  <a:pt x="116331" y="135065"/>
                  <a:pt x="124082" y="140433"/>
                </a:cubicBezTo>
                <a:cubicBezTo>
                  <a:pt x="132238" y="145060"/>
                  <a:pt x="118298" y="170801"/>
                  <a:pt x="126396" y="173115"/>
                </a:cubicBezTo>
                <a:cubicBezTo>
                  <a:pt x="137965" y="178043"/>
                  <a:pt x="145311" y="189490"/>
                  <a:pt x="145079" y="202037"/>
                </a:cubicBezTo>
                <a:cubicBezTo>
                  <a:pt x="144038" y="214011"/>
                  <a:pt x="150864" y="222629"/>
                  <a:pt x="141493" y="232984"/>
                </a:cubicBezTo>
                <a:cubicBezTo>
                  <a:pt x="147278" y="236686"/>
                  <a:pt x="154161" y="236628"/>
                  <a:pt x="153062" y="240503"/>
                </a:cubicBezTo>
                <a:cubicBezTo>
                  <a:pt x="151963" y="244379"/>
                  <a:pt x="161218" y="242817"/>
                  <a:pt x="161218" y="233504"/>
                </a:cubicBezTo>
                <a:cubicBezTo>
                  <a:pt x="161218" y="224191"/>
                  <a:pt x="174060" y="225290"/>
                  <a:pt x="179902" y="227720"/>
                </a:cubicBezTo>
                <a:cubicBezTo>
                  <a:pt x="186611" y="229808"/>
                  <a:pt x="193900" y="228374"/>
                  <a:pt x="199280" y="223902"/>
                </a:cubicBezTo>
                <a:cubicBezTo>
                  <a:pt x="199222" y="220206"/>
                  <a:pt x="199511" y="216510"/>
                  <a:pt x="200089" y="212854"/>
                </a:cubicBezTo>
                <a:cubicBezTo>
                  <a:pt x="201824" y="202442"/>
                  <a:pt x="200089" y="190353"/>
                  <a:pt x="194883" y="185146"/>
                </a:cubicBezTo>
                <a:cubicBezTo>
                  <a:pt x="189677" y="179940"/>
                  <a:pt x="175852" y="174792"/>
                  <a:pt x="172382" y="164380"/>
                </a:cubicBezTo>
                <a:cubicBezTo>
                  <a:pt x="168911" y="153968"/>
                  <a:pt x="153409" y="143614"/>
                  <a:pt x="149880" y="134996"/>
                </a:cubicBezTo>
                <a:cubicBezTo>
                  <a:pt x="146352" y="126376"/>
                  <a:pt x="136287" y="118047"/>
                  <a:pt x="136287" y="11116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2" name="Forma libre: forma 131">
            <a:extLst>
              <a:ext uri="{FF2B5EF4-FFF2-40B4-BE49-F238E27FC236}">
                <a16:creationId xmlns:a16="http://schemas.microsoft.com/office/drawing/2014/main" id="{C1C9BCD2-E828-FDE2-A2BB-5AB7A0CFD966}"/>
              </a:ext>
            </a:extLst>
          </p:cNvPr>
          <p:cNvSpPr/>
          <p:nvPr/>
        </p:nvSpPr>
        <p:spPr>
          <a:xfrm>
            <a:off x="8819293" y="3912434"/>
            <a:ext cx="216795" cy="413695"/>
          </a:xfrm>
          <a:custGeom>
            <a:avLst/>
            <a:gdLst>
              <a:gd name="connsiteX0" fmla="*/ 134841 w 216795"/>
              <a:gd name="connsiteY0" fmla="*/ 218060 h 413695"/>
              <a:gd name="connsiteX1" fmla="*/ 133684 w 216795"/>
              <a:gd name="connsiteY1" fmla="*/ 193591 h 413695"/>
              <a:gd name="connsiteX2" fmla="*/ 170936 w 216795"/>
              <a:gd name="connsiteY2" fmla="*/ 174966 h 413695"/>
              <a:gd name="connsiteX3" fmla="*/ 208246 w 216795"/>
              <a:gd name="connsiteY3" fmla="*/ 176065 h 413695"/>
              <a:gd name="connsiteX4" fmla="*/ 211716 w 216795"/>
              <a:gd name="connsiteY4" fmla="*/ 179073 h 413695"/>
              <a:gd name="connsiteX5" fmla="*/ 215303 w 216795"/>
              <a:gd name="connsiteY5" fmla="*/ 148126 h 413695"/>
              <a:gd name="connsiteX6" fmla="*/ 196619 w 216795"/>
              <a:gd name="connsiteY6" fmla="*/ 119204 h 413695"/>
              <a:gd name="connsiteX7" fmla="*/ 194305 w 216795"/>
              <a:gd name="connsiteY7" fmla="*/ 86522 h 413695"/>
              <a:gd name="connsiteX8" fmla="*/ 174464 w 216795"/>
              <a:gd name="connsiteY8" fmla="*/ 66739 h 413695"/>
              <a:gd name="connsiteX9" fmla="*/ 148782 w 216795"/>
              <a:gd name="connsiteY9" fmla="*/ 67896 h 413695"/>
              <a:gd name="connsiteX10" fmla="*/ 131428 w 216795"/>
              <a:gd name="connsiteY10" fmla="*/ 72581 h 413695"/>
              <a:gd name="connsiteX11" fmla="*/ 111645 w 216795"/>
              <a:gd name="connsiteY11" fmla="*/ 73738 h 413695"/>
              <a:gd name="connsiteX12" fmla="*/ 87119 w 216795"/>
              <a:gd name="connsiteY12" fmla="*/ 83051 h 413695"/>
              <a:gd name="connsiteX13" fmla="*/ 94118 w 216795"/>
              <a:gd name="connsiteY13" fmla="*/ 62054 h 413695"/>
              <a:gd name="connsiteX14" fmla="*/ 96490 w 216795"/>
              <a:gd name="connsiteY14" fmla="*/ 33131 h 413695"/>
              <a:gd name="connsiteX15" fmla="*/ 77807 w 216795"/>
              <a:gd name="connsiteY15" fmla="*/ 26132 h 413695"/>
              <a:gd name="connsiteX16" fmla="*/ 75435 w 216795"/>
              <a:gd name="connsiteY16" fmla="*/ 5193 h 413695"/>
              <a:gd name="connsiteX17" fmla="*/ 70114 w 216795"/>
              <a:gd name="connsiteY17" fmla="*/ -129 h 413695"/>
              <a:gd name="connsiteX18" fmla="*/ 65659 w 216795"/>
              <a:gd name="connsiteY18" fmla="*/ 3804 h 413695"/>
              <a:gd name="connsiteX19" fmla="*/ 40844 w 216795"/>
              <a:gd name="connsiteY19" fmla="*/ 17803 h 413695"/>
              <a:gd name="connsiteX20" fmla="*/ 20309 w 216795"/>
              <a:gd name="connsiteY20" fmla="*/ 24281 h 413695"/>
              <a:gd name="connsiteX21" fmla="*/ 5270 w 216795"/>
              <a:gd name="connsiteY21" fmla="*/ 32958 h 413695"/>
              <a:gd name="connsiteX22" fmla="*/ -110 w 216795"/>
              <a:gd name="connsiteY22" fmla="*/ 76052 h 413695"/>
              <a:gd name="connsiteX23" fmla="*/ 20309 w 216795"/>
              <a:gd name="connsiteY23" fmla="*/ 100867 h 413695"/>
              <a:gd name="connsiteX24" fmla="*/ 25747 w 216795"/>
              <a:gd name="connsiteY24" fmla="*/ 119204 h 413695"/>
              <a:gd name="connsiteX25" fmla="*/ 24647 w 216795"/>
              <a:gd name="connsiteY25" fmla="*/ 132103 h 413695"/>
              <a:gd name="connsiteX26" fmla="*/ 20309 w 216795"/>
              <a:gd name="connsiteY26" fmla="*/ 151539 h 413695"/>
              <a:gd name="connsiteX27" fmla="*/ 30085 w 216795"/>
              <a:gd name="connsiteY27" fmla="*/ 180461 h 413695"/>
              <a:gd name="connsiteX28" fmla="*/ 40844 w 216795"/>
              <a:gd name="connsiteY28" fmla="*/ 213953 h 413695"/>
              <a:gd name="connsiteX29" fmla="*/ 49463 w 216795"/>
              <a:gd name="connsiteY29" fmla="*/ 234430 h 413695"/>
              <a:gd name="connsiteX30" fmla="*/ 26325 w 216795"/>
              <a:gd name="connsiteY30" fmla="*/ 279433 h 413695"/>
              <a:gd name="connsiteX31" fmla="*/ 18632 w 216795"/>
              <a:gd name="connsiteY31" fmla="*/ 319924 h 413695"/>
              <a:gd name="connsiteX32" fmla="*/ 20252 w 216795"/>
              <a:gd name="connsiteY32" fmla="*/ 344102 h 413695"/>
              <a:gd name="connsiteX33" fmla="*/ 56173 w 216795"/>
              <a:gd name="connsiteY33" fmla="*/ 379272 h 413695"/>
              <a:gd name="connsiteX34" fmla="*/ 64386 w 216795"/>
              <a:gd name="connsiteY34" fmla="*/ 392749 h 413695"/>
              <a:gd name="connsiteX35" fmla="*/ 80178 w 216795"/>
              <a:gd name="connsiteY35" fmla="*/ 393848 h 413695"/>
              <a:gd name="connsiteX36" fmla="*/ 93598 w 216795"/>
              <a:gd name="connsiteY36" fmla="*/ 409929 h 413695"/>
              <a:gd name="connsiteX37" fmla="*/ 115174 w 216795"/>
              <a:gd name="connsiteY37" fmla="*/ 412590 h 413695"/>
              <a:gd name="connsiteX38" fmla="*/ 123562 w 216795"/>
              <a:gd name="connsiteY38" fmla="*/ 401600 h 413695"/>
              <a:gd name="connsiteX39" fmla="*/ 92094 w 216795"/>
              <a:gd name="connsiteY39" fmla="*/ 383263 h 413695"/>
              <a:gd name="connsiteX40" fmla="*/ 73121 w 216795"/>
              <a:gd name="connsiteY40" fmla="*/ 352200 h 413695"/>
              <a:gd name="connsiteX41" fmla="*/ 63056 w 216795"/>
              <a:gd name="connsiteY41" fmla="*/ 326749 h 413695"/>
              <a:gd name="connsiteX42" fmla="*/ 45703 w 216795"/>
              <a:gd name="connsiteY42" fmla="*/ 313850 h 413695"/>
              <a:gd name="connsiteX43" fmla="*/ 48942 w 216795"/>
              <a:gd name="connsiteY43" fmla="*/ 270235 h 413695"/>
              <a:gd name="connsiteX44" fmla="*/ 63866 w 216795"/>
              <a:gd name="connsiteY44" fmla="*/ 214531 h 413695"/>
              <a:gd name="connsiteX45" fmla="*/ 87004 w 216795"/>
              <a:gd name="connsiteY45" fmla="*/ 207590 h 413695"/>
              <a:gd name="connsiteX46" fmla="*/ 107597 w 216795"/>
              <a:gd name="connsiteY46" fmla="*/ 224191 h 413695"/>
              <a:gd name="connsiteX47" fmla="*/ 136519 w 216795"/>
              <a:gd name="connsiteY47" fmla="*/ 239578 h 413695"/>
              <a:gd name="connsiteX48" fmla="*/ 138427 w 216795"/>
              <a:gd name="connsiteY48" fmla="*/ 240388 h 413695"/>
              <a:gd name="connsiteX49" fmla="*/ 138427 w 216795"/>
              <a:gd name="connsiteY49" fmla="*/ 239578 h 413695"/>
              <a:gd name="connsiteX50" fmla="*/ 134841 w 216795"/>
              <a:gd name="connsiteY50" fmla="*/ 218060 h 41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16795" h="413695">
                <a:moveTo>
                  <a:pt x="134841" y="218060"/>
                </a:moveTo>
                <a:cubicBezTo>
                  <a:pt x="134841" y="206491"/>
                  <a:pt x="123272" y="206491"/>
                  <a:pt x="133684" y="193591"/>
                </a:cubicBezTo>
                <a:cubicBezTo>
                  <a:pt x="144096" y="180692"/>
                  <a:pt x="160466" y="171379"/>
                  <a:pt x="170936" y="174966"/>
                </a:cubicBezTo>
                <a:cubicBezTo>
                  <a:pt x="181406" y="178552"/>
                  <a:pt x="202461" y="169181"/>
                  <a:pt x="208246" y="176065"/>
                </a:cubicBezTo>
                <a:cubicBezTo>
                  <a:pt x="209229" y="177239"/>
                  <a:pt x="210386" y="178251"/>
                  <a:pt x="211716" y="179073"/>
                </a:cubicBezTo>
                <a:cubicBezTo>
                  <a:pt x="220971" y="168719"/>
                  <a:pt x="214261" y="160100"/>
                  <a:pt x="215303" y="148126"/>
                </a:cubicBezTo>
                <a:cubicBezTo>
                  <a:pt x="215533" y="135579"/>
                  <a:pt x="208188" y="124132"/>
                  <a:pt x="196619" y="119204"/>
                </a:cubicBezTo>
                <a:cubicBezTo>
                  <a:pt x="188463" y="116890"/>
                  <a:pt x="202403" y="91149"/>
                  <a:pt x="194305" y="86522"/>
                </a:cubicBezTo>
                <a:cubicBezTo>
                  <a:pt x="186554" y="81154"/>
                  <a:pt x="179844" y="74455"/>
                  <a:pt x="174464" y="66739"/>
                </a:cubicBezTo>
                <a:cubicBezTo>
                  <a:pt x="168680" y="59682"/>
                  <a:pt x="151326" y="62054"/>
                  <a:pt x="148782" y="67896"/>
                </a:cubicBezTo>
                <a:cubicBezTo>
                  <a:pt x="146236" y="73738"/>
                  <a:pt x="134841" y="77209"/>
                  <a:pt x="131428" y="72581"/>
                </a:cubicBezTo>
                <a:cubicBezTo>
                  <a:pt x="128015" y="67954"/>
                  <a:pt x="120958" y="66797"/>
                  <a:pt x="111645" y="73738"/>
                </a:cubicBezTo>
                <a:cubicBezTo>
                  <a:pt x="102332" y="80679"/>
                  <a:pt x="89491" y="93521"/>
                  <a:pt x="87119" y="83051"/>
                </a:cubicBezTo>
                <a:cubicBezTo>
                  <a:pt x="84748" y="72581"/>
                  <a:pt x="94118" y="73738"/>
                  <a:pt x="94118" y="62054"/>
                </a:cubicBezTo>
                <a:cubicBezTo>
                  <a:pt x="94118" y="50369"/>
                  <a:pt x="99903" y="44700"/>
                  <a:pt x="96490" y="33131"/>
                </a:cubicBezTo>
                <a:cubicBezTo>
                  <a:pt x="93078" y="21563"/>
                  <a:pt x="81277" y="34288"/>
                  <a:pt x="77807" y="26132"/>
                </a:cubicBezTo>
                <a:cubicBezTo>
                  <a:pt x="74336" y="17976"/>
                  <a:pt x="77807" y="8779"/>
                  <a:pt x="75435" y="5193"/>
                </a:cubicBezTo>
                <a:cubicBezTo>
                  <a:pt x="73873" y="3243"/>
                  <a:pt x="72080" y="1462"/>
                  <a:pt x="70114" y="-129"/>
                </a:cubicBezTo>
                <a:cubicBezTo>
                  <a:pt x="68204" y="594"/>
                  <a:pt x="66642" y="1994"/>
                  <a:pt x="65659" y="3804"/>
                </a:cubicBezTo>
                <a:cubicBezTo>
                  <a:pt x="63461" y="9184"/>
                  <a:pt x="45182" y="10225"/>
                  <a:pt x="40844" y="17803"/>
                </a:cubicBezTo>
                <a:cubicBezTo>
                  <a:pt x="36506" y="25380"/>
                  <a:pt x="23491" y="24281"/>
                  <a:pt x="20309" y="24281"/>
                </a:cubicBezTo>
                <a:cubicBezTo>
                  <a:pt x="17128" y="24281"/>
                  <a:pt x="6311" y="25380"/>
                  <a:pt x="5270" y="32958"/>
                </a:cubicBezTo>
                <a:cubicBezTo>
                  <a:pt x="4229" y="40536"/>
                  <a:pt x="-110" y="70672"/>
                  <a:pt x="-110" y="76052"/>
                </a:cubicBezTo>
                <a:cubicBezTo>
                  <a:pt x="-110" y="81431"/>
                  <a:pt x="14930" y="98727"/>
                  <a:pt x="20309" y="100867"/>
                </a:cubicBezTo>
                <a:cubicBezTo>
                  <a:pt x="25689" y="103007"/>
                  <a:pt x="19268" y="115965"/>
                  <a:pt x="25747" y="119204"/>
                </a:cubicBezTo>
                <a:cubicBezTo>
                  <a:pt x="32225" y="122443"/>
                  <a:pt x="27887" y="133202"/>
                  <a:pt x="24647" y="132103"/>
                </a:cubicBezTo>
                <a:cubicBezTo>
                  <a:pt x="21408" y="131004"/>
                  <a:pt x="26845" y="146159"/>
                  <a:pt x="20309" y="151539"/>
                </a:cubicBezTo>
                <a:cubicBezTo>
                  <a:pt x="13773" y="156918"/>
                  <a:pt x="19268" y="170975"/>
                  <a:pt x="30085" y="180461"/>
                </a:cubicBezTo>
                <a:cubicBezTo>
                  <a:pt x="40902" y="189947"/>
                  <a:pt x="40844" y="205276"/>
                  <a:pt x="40844" y="213953"/>
                </a:cubicBezTo>
                <a:cubicBezTo>
                  <a:pt x="40844" y="222629"/>
                  <a:pt x="49463" y="223671"/>
                  <a:pt x="49463" y="234430"/>
                </a:cubicBezTo>
                <a:cubicBezTo>
                  <a:pt x="49463" y="234430"/>
                  <a:pt x="36564" y="281457"/>
                  <a:pt x="26325" y="279433"/>
                </a:cubicBezTo>
                <a:cubicBezTo>
                  <a:pt x="24069" y="291001"/>
                  <a:pt x="21235" y="309627"/>
                  <a:pt x="18632" y="319924"/>
                </a:cubicBezTo>
                <a:cubicBezTo>
                  <a:pt x="15392" y="332418"/>
                  <a:pt x="12848" y="343061"/>
                  <a:pt x="20252" y="344102"/>
                </a:cubicBezTo>
                <a:cubicBezTo>
                  <a:pt x="27655" y="345144"/>
                  <a:pt x="42058" y="361456"/>
                  <a:pt x="56173" y="379272"/>
                </a:cubicBezTo>
                <a:cubicBezTo>
                  <a:pt x="59470" y="383414"/>
                  <a:pt x="62189" y="387937"/>
                  <a:pt x="64386" y="392749"/>
                </a:cubicBezTo>
                <a:cubicBezTo>
                  <a:pt x="69650" y="392501"/>
                  <a:pt x="74972" y="392871"/>
                  <a:pt x="80178" y="393848"/>
                </a:cubicBezTo>
                <a:cubicBezTo>
                  <a:pt x="88103" y="395023"/>
                  <a:pt x="93887" y="401935"/>
                  <a:pt x="93598" y="409929"/>
                </a:cubicBezTo>
                <a:cubicBezTo>
                  <a:pt x="93598" y="415309"/>
                  <a:pt x="111819" y="413342"/>
                  <a:pt x="115174" y="412590"/>
                </a:cubicBezTo>
                <a:cubicBezTo>
                  <a:pt x="118529" y="411838"/>
                  <a:pt x="114422" y="404550"/>
                  <a:pt x="123562" y="401600"/>
                </a:cubicBezTo>
                <a:cubicBezTo>
                  <a:pt x="115695" y="391807"/>
                  <a:pt x="104473" y="385276"/>
                  <a:pt x="92094" y="383263"/>
                </a:cubicBezTo>
                <a:cubicBezTo>
                  <a:pt x="78443" y="382106"/>
                  <a:pt x="71906" y="361456"/>
                  <a:pt x="73121" y="352200"/>
                </a:cubicBezTo>
                <a:cubicBezTo>
                  <a:pt x="74336" y="342945"/>
                  <a:pt x="63056" y="334847"/>
                  <a:pt x="63056" y="326749"/>
                </a:cubicBezTo>
                <a:cubicBezTo>
                  <a:pt x="63056" y="318651"/>
                  <a:pt x="55016" y="318304"/>
                  <a:pt x="45703" y="313850"/>
                </a:cubicBezTo>
                <a:cubicBezTo>
                  <a:pt x="36390" y="309396"/>
                  <a:pt x="47670" y="281920"/>
                  <a:pt x="48942" y="270235"/>
                </a:cubicBezTo>
                <a:cubicBezTo>
                  <a:pt x="50215" y="258551"/>
                  <a:pt x="69535" y="225001"/>
                  <a:pt x="63866" y="214531"/>
                </a:cubicBezTo>
                <a:cubicBezTo>
                  <a:pt x="58197" y="204061"/>
                  <a:pt x="83649" y="195905"/>
                  <a:pt x="87004" y="207590"/>
                </a:cubicBezTo>
                <a:cubicBezTo>
                  <a:pt x="90359" y="219274"/>
                  <a:pt x="91458" y="224943"/>
                  <a:pt x="107597" y="224191"/>
                </a:cubicBezTo>
                <a:cubicBezTo>
                  <a:pt x="123735" y="223439"/>
                  <a:pt x="123792" y="235760"/>
                  <a:pt x="136519" y="239578"/>
                </a:cubicBezTo>
                <a:cubicBezTo>
                  <a:pt x="137155" y="239774"/>
                  <a:pt x="137849" y="240046"/>
                  <a:pt x="138427" y="240388"/>
                </a:cubicBezTo>
                <a:cubicBezTo>
                  <a:pt x="138369" y="240121"/>
                  <a:pt x="138369" y="239850"/>
                  <a:pt x="138427" y="239578"/>
                </a:cubicBezTo>
                <a:cubicBezTo>
                  <a:pt x="141840" y="229686"/>
                  <a:pt x="134841" y="229686"/>
                  <a:pt x="134841" y="21806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3" name="Forma libre: forma 132">
            <a:extLst>
              <a:ext uri="{FF2B5EF4-FFF2-40B4-BE49-F238E27FC236}">
                <a16:creationId xmlns:a16="http://schemas.microsoft.com/office/drawing/2014/main" id="{5C40E5C5-F59E-DB9F-6588-924ECE79E445}"/>
              </a:ext>
            </a:extLst>
          </p:cNvPr>
          <p:cNvSpPr/>
          <p:nvPr/>
        </p:nvSpPr>
        <p:spPr>
          <a:xfrm>
            <a:off x="6575128" y="2793545"/>
            <a:ext cx="259230" cy="211832"/>
          </a:xfrm>
          <a:custGeom>
            <a:avLst/>
            <a:gdLst>
              <a:gd name="connsiteX0" fmla="*/ 2878 w 259230"/>
              <a:gd name="connsiteY0" fmla="*/ 42335 h 211832"/>
              <a:gd name="connsiteX1" fmla="*/ 2300 w 259230"/>
              <a:gd name="connsiteY1" fmla="*/ 70794 h 211832"/>
              <a:gd name="connsiteX2" fmla="*/ 4093 w 259230"/>
              <a:gd name="connsiteY2" fmla="*/ 81727 h 211832"/>
              <a:gd name="connsiteX3" fmla="*/ 9877 w 259230"/>
              <a:gd name="connsiteY3" fmla="*/ 95031 h 211832"/>
              <a:gd name="connsiteX4" fmla="*/ 13579 w 259230"/>
              <a:gd name="connsiteY4" fmla="*/ 109608 h 211832"/>
              <a:gd name="connsiteX5" fmla="*/ 20174 w 259230"/>
              <a:gd name="connsiteY5" fmla="*/ 131415 h 211832"/>
              <a:gd name="connsiteX6" fmla="*/ 21041 w 259230"/>
              <a:gd name="connsiteY6" fmla="*/ 143620 h 211832"/>
              <a:gd name="connsiteX7" fmla="*/ 36833 w 259230"/>
              <a:gd name="connsiteY7" fmla="*/ 152760 h 211832"/>
              <a:gd name="connsiteX8" fmla="*/ 54880 w 259230"/>
              <a:gd name="connsiteY8" fmla="*/ 165428 h 211832"/>
              <a:gd name="connsiteX9" fmla="*/ 69341 w 259230"/>
              <a:gd name="connsiteY9" fmla="*/ 171733 h 211832"/>
              <a:gd name="connsiteX10" fmla="*/ 84670 w 259230"/>
              <a:gd name="connsiteY10" fmla="*/ 169072 h 211832"/>
              <a:gd name="connsiteX11" fmla="*/ 91900 w 259230"/>
              <a:gd name="connsiteY11" fmla="*/ 178963 h 211832"/>
              <a:gd name="connsiteX12" fmla="*/ 109948 w 259230"/>
              <a:gd name="connsiteY12" fmla="*/ 183475 h 211832"/>
              <a:gd name="connsiteX13" fmla="*/ 122558 w 259230"/>
              <a:gd name="connsiteY13" fmla="*/ 199729 h 211832"/>
              <a:gd name="connsiteX14" fmla="*/ 138812 w 259230"/>
              <a:gd name="connsiteY14" fmla="*/ 197936 h 211832"/>
              <a:gd name="connsiteX15" fmla="*/ 161950 w 259230"/>
              <a:gd name="connsiteY15" fmla="*/ 200597 h 211832"/>
              <a:gd name="connsiteX16" fmla="*/ 182716 w 259230"/>
              <a:gd name="connsiteY16" fmla="*/ 202448 h 211832"/>
              <a:gd name="connsiteX17" fmla="*/ 206143 w 259230"/>
              <a:gd name="connsiteY17" fmla="*/ 207827 h 211832"/>
              <a:gd name="connsiteX18" fmla="*/ 222166 w 259230"/>
              <a:gd name="connsiteY18" fmla="*/ 211703 h 211832"/>
              <a:gd name="connsiteX19" fmla="*/ 221009 w 259230"/>
              <a:gd name="connsiteY19" fmla="*/ 193771 h 211832"/>
              <a:gd name="connsiteX20" fmla="*/ 246460 w 259230"/>
              <a:gd name="connsiteY20" fmla="*/ 167741 h 211832"/>
              <a:gd name="connsiteX21" fmla="*/ 258608 w 259230"/>
              <a:gd name="connsiteY21" fmla="*/ 158082 h 211832"/>
              <a:gd name="connsiteX22" fmla="*/ 247675 w 259230"/>
              <a:gd name="connsiteY22" fmla="*/ 131415 h 211832"/>
              <a:gd name="connsiteX23" fmla="*/ 245882 w 259230"/>
              <a:gd name="connsiteY23" fmla="*/ 107121 h 211832"/>
              <a:gd name="connsiteX24" fmla="*/ 236800 w 259230"/>
              <a:gd name="connsiteY24" fmla="*/ 93238 h 211832"/>
              <a:gd name="connsiteX25" fmla="*/ 252534 w 259230"/>
              <a:gd name="connsiteY25" fmla="*/ 79297 h 211832"/>
              <a:gd name="connsiteX26" fmla="*/ 251319 w 259230"/>
              <a:gd name="connsiteY26" fmla="*/ 55697 h 211832"/>
              <a:gd name="connsiteX27" fmla="*/ 247097 w 259230"/>
              <a:gd name="connsiteY27" fmla="*/ 35047 h 211832"/>
              <a:gd name="connsiteX28" fmla="*/ 225868 w 259230"/>
              <a:gd name="connsiteY28" fmla="*/ 19949 h 211832"/>
              <a:gd name="connsiteX29" fmla="*/ 224884 w 259230"/>
              <a:gd name="connsiteY29" fmla="*/ 18677 h 211832"/>
              <a:gd name="connsiteX30" fmla="*/ 153852 w 259230"/>
              <a:gd name="connsiteY30" fmla="*/ 15669 h 211832"/>
              <a:gd name="connsiteX31" fmla="*/ 140027 w 259230"/>
              <a:gd name="connsiteY31" fmla="*/ 10636 h 211832"/>
              <a:gd name="connsiteX32" fmla="*/ 125103 w 259230"/>
              <a:gd name="connsiteY32" fmla="*/ 18330 h 211832"/>
              <a:gd name="connsiteX33" fmla="*/ 112204 w 259230"/>
              <a:gd name="connsiteY33" fmla="*/ 1381 h 211832"/>
              <a:gd name="connsiteX34" fmla="*/ 52450 w 259230"/>
              <a:gd name="connsiteY34" fmla="*/ 18330 h 211832"/>
              <a:gd name="connsiteX35" fmla="*/ 10051 w 259230"/>
              <a:gd name="connsiteY35" fmla="*/ 32848 h 211832"/>
              <a:gd name="connsiteX36" fmla="*/ 2242 w 259230"/>
              <a:gd name="connsiteY36" fmla="*/ 39038 h 211832"/>
              <a:gd name="connsiteX37" fmla="*/ 2878 w 259230"/>
              <a:gd name="connsiteY37" fmla="*/ 42335 h 2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9230" h="211832">
                <a:moveTo>
                  <a:pt x="2878" y="42335"/>
                </a:moveTo>
                <a:cubicBezTo>
                  <a:pt x="4729" y="47194"/>
                  <a:pt x="6522" y="64142"/>
                  <a:pt x="2300" y="70794"/>
                </a:cubicBezTo>
                <a:cubicBezTo>
                  <a:pt x="-1923" y="77447"/>
                  <a:pt x="-130" y="79297"/>
                  <a:pt x="4093" y="81727"/>
                </a:cubicBezTo>
                <a:cubicBezTo>
                  <a:pt x="8125" y="84920"/>
                  <a:pt x="10294" y="89906"/>
                  <a:pt x="9877" y="95031"/>
                </a:cubicBezTo>
                <a:cubicBezTo>
                  <a:pt x="9877" y="99890"/>
                  <a:pt x="12943" y="99312"/>
                  <a:pt x="13579" y="109608"/>
                </a:cubicBezTo>
                <a:cubicBezTo>
                  <a:pt x="13452" y="117388"/>
                  <a:pt x="15760" y="125012"/>
                  <a:pt x="20174" y="131415"/>
                </a:cubicBezTo>
                <a:cubicBezTo>
                  <a:pt x="22615" y="135036"/>
                  <a:pt x="22950" y="139687"/>
                  <a:pt x="21041" y="143620"/>
                </a:cubicBezTo>
                <a:cubicBezTo>
                  <a:pt x="25854" y="147386"/>
                  <a:pt x="31170" y="150463"/>
                  <a:pt x="36833" y="152760"/>
                </a:cubicBezTo>
                <a:cubicBezTo>
                  <a:pt x="49501" y="157330"/>
                  <a:pt x="54186" y="160916"/>
                  <a:pt x="54880" y="165428"/>
                </a:cubicBezTo>
                <a:cubicBezTo>
                  <a:pt x="55574" y="169940"/>
                  <a:pt x="66449" y="178096"/>
                  <a:pt x="69341" y="171733"/>
                </a:cubicBezTo>
                <a:cubicBezTo>
                  <a:pt x="72233" y="165370"/>
                  <a:pt x="79232" y="169072"/>
                  <a:pt x="84670" y="169072"/>
                </a:cubicBezTo>
                <a:cubicBezTo>
                  <a:pt x="90107" y="169072"/>
                  <a:pt x="90975" y="175377"/>
                  <a:pt x="91900" y="178963"/>
                </a:cubicBezTo>
                <a:cubicBezTo>
                  <a:pt x="92826" y="182550"/>
                  <a:pt x="105378" y="180756"/>
                  <a:pt x="109948" y="183475"/>
                </a:cubicBezTo>
                <a:cubicBezTo>
                  <a:pt x="114518" y="186194"/>
                  <a:pt x="116253" y="196085"/>
                  <a:pt x="122558" y="199729"/>
                </a:cubicBezTo>
                <a:cubicBezTo>
                  <a:pt x="128863" y="203374"/>
                  <a:pt x="134127" y="195217"/>
                  <a:pt x="138812" y="197936"/>
                </a:cubicBezTo>
                <a:cubicBezTo>
                  <a:pt x="145985" y="201546"/>
                  <a:pt x="154141" y="202488"/>
                  <a:pt x="161950" y="200597"/>
                </a:cubicBezTo>
                <a:cubicBezTo>
                  <a:pt x="169181" y="197936"/>
                  <a:pt x="173519" y="203316"/>
                  <a:pt x="182716" y="202448"/>
                </a:cubicBezTo>
                <a:cubicBezTo>
                  <a:pt x="190872" y="201702"/>
                  <a:pt x="199086" y="203587"/>
                  <a:pt x="206143" y="207827"/>
                </a:cubicBezTo>
                <a:cubicBezTo>
                  <a:pt x="211233" y="210008"/>
                  <a:pt x="216670" y="211315"/>
                  <a:pt x="222166" y="211703"/>
                </a:cubicBezTo>
                <a:cubicBezTo>
                  <a:pt x="223959" y="208001"/>
                  <a:pt x="220488" y="196606"/>
                  <a:pt x="221009" y="193771"/>
                </a:cubicBezTo>
                <a:cubicBezTo>
                  <a:pt x="221530" y="190937"/>
                  <a:pt x="242816" y="171964"/>
                  <a:pt x="246460" y="167741"/>
                </a:cubicBezTo>
                <a:cubicBezTo>
                  <a:pt x="250105" y="163519"/>
                  <a:pt x="255542" y="163519"/>
                  <a:pt x="258608" y="158082"/>
                </a:cubicBezTo>
                <a:cubicBezTo>
                  <a:pt x="261673" y="152644"/>
                  <a:pt x="250105" y="134944"/>
                  <a:pt x="247675" y="131415"/>
                </a:cubicBezTo>
                <a:cubicBezTo>
                  <a:pt x="244898" y="123629"/>
                  <a:pt x="244262" y="115230"/>
                  <a:pt x="245882" y="107121"/>
                </a:cubicBezTo>
                <a:cubicBezTo>
                  <a:pt x="247675" y="101336"/>
                  <a:pt x="236800" y="97461"/>
                  <a:pt x="236800" y="93238"/>
                </a:cubicBezTo>
                <a:cubicBezTo>
                  <a:pt x="236800" y="89015"/>
                  <a:pt x="247097" y="81669"/>
                  <a:pt x="252534" y="79297"/>
                </a:cubicBezTo>
                <a:cubicBezTo>
                  <a:pt x="257971" y="76926"/>
                  <a:pt x="256178" y="59920"/>
                  <a:pt x="251319" y="55697"/>
                </a:cubicBezTo>
                <a:cubicBezTo>
                  <a:pt x="245824" y="50323"/>
                  <a:pt x="244146" y="42144"/>
                  <a:pt x="247097" y="35047"/>
                </a:cubicBezTo>
                <a:cubicBezTo>
                  <a:pt x="250105" y="26601"/>
                  <a:pt x="228933" y="19949"/>
                  <a:pt x="225868" y="19949"/>
                </a:cubicBezTo>
                <a:cubicBezTo>
                  <a:pt x="225347" y="19949"/>
                  <a:pt x="225058" y="19429"/>
                  <a:pt x="224884" y="18677"/>
                </a:cubicBezTo>
                <a:cubicBezTo>
                  <a:pt x="205969" y="22147"/>
                  <a:pt x="157496" y="17173"/>
                  <a:pt x="153852" y="15669"/>
                </a:cubicBezTo>
                <a:cubicBezTo>
                  <a:pt x="151480" y="14685"/>
                  <a:pt x="145348" y="12545"/>
                  <a:pt x="140027" y="10636"/>
                </a:cubicBezTo>
                <a:cubicBezTo>
                  <a:pt x="136776" y="15675"/>
                  <a:pt x="131090" y="18607"/>
                  <a:pt x="125103" y="18330"/>
                </a:cubicBezTo>
                <a:cubicBezTo>
                  <a:pt x="113534" y="18330"/>
                  <a:pt x="112609" y="6761"/>
                  <a:pt x="112204" y="1381"/>
                </a:cubicBezTo>
                <a:cubicBezTo>
                  <a:pt x="111799" y="-3998"/>
                  <a:pt x="64945" y="5777"/>
                  <a:pt x="52450" y="18330"/>
                </a:cubicBezTo>
                <a:cubicBezTo>
                  <a:pt x="39956" y="30882"/>
                  <a:pt x="10860" y="25965"/>
                  <a:pt x="10051" y="32848"/>
                </a:cubicBezTo>
                <a:cubicBezTo>
                  <a:pt x="9414" y="37823"/>
                  <a:pt x="5076" y="40426"/>
                  <a:pt x="2242" y="39038"/>
                </a:cubicBezTo>
                <a:cubicBezTo>
                  <a:pt x="2149" y="40172"/>
                  <a:pt x="2369" y="41311"/>
                  <a:pt x="2878" y="4233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4" name="Forma libre: forma 133">
            <a:extLst>
              <a:ext uri="{FF2B5EF4-FFF2-40B4-BE49-F238E27FC236}">
                <a16:creationId xmlns:a16="http://schemas.microsoft.com/office/drawing/2014/main" id="{8291EE9D-9A65-9C53-7F46-D14236C814A7}"/>
              </a:ext>
            </a:extLst>
          </p:cNvPr>
          <p:cNvSpPr/>
          <p:nvPr/>
        </p:nvSpPr>
        <p:spPr>
          <a:xfrm>
            <a:off x="6612877" y="3141803"/>
            <a:ext cx="97101" cy="92406"/>
          </a:xfrm>
          <a:custGeom>
            <a:avLst/>
            <a:gdLst>
              <a:gd name="connsiteX0" fmla="*/ 72142 w 97101"/>
              <a:gd name="connsiteY0" fmla="*/ 83832 h 92406"/>
              <a:gd name="connsiteX1" fmla="*/ 92792 w 97101"/>
              <a:gd name="connsiteY1" fmla="*/ 53406 h 92406"/>
              <a:gd name="connsiteX2" fmla="*/ 96205 w 97101"/>
              <a:gd name="connsiteY2" fmla="*/ 16964 h 92406"/>
              <a:gd name="connsiteX3" fmla="*/ 71563 w 97101"/>
              <a:gd name="connsiteY3" fmla="*/ 4470 h 92406"/>
              <a:gd name="connsiteX4" fmla="*/ 29395 w 97101"/>
              <a:gd name="connsiteY4" fmla="*/ 247 h 92406"/>
              <a:gd name="connsiteX5" fmla="*/ 12041 w 97101"/>
              <a:gd name="connsiteY5" fmla="*/ 3891 h 92406"/>
              <a:gd name="connsiteX6" fmla="*/ 1311 w 97101"/>
              <a:gd name="connsiteY6" fmla="*/ 5708 h 92406"/>
              <a:gd name="connsiteX7" fmla="*/ -48 w 97101"/>
              <a:gd name="connsiteY7" fmla="*/ 11122 h 92406"/>
              <a:gd name="connsiteX8" fmla="*/ 12620 w 97101"/>
              <a:gd name="connsiteY8" fmla="*/ 29806 h 92406"/>
              <a:gd name="connsiteX9" fmla="*/ 34947 w 97101"/>
              <a:gd name="connsiteY9" fmla="*/ 56935 h 92406"/>
              <a:gd name="connsiteX10" fmla="*/ 57160 w 97101"/>
              <a:gd name="connsiteY10" fmla="*/ 81923 h 92406"/>
              <a:gd name="connsiteX11" fmla="*/ 71216 w 97101"/>
              <a:gd name="connsiteY11" fmla="*/ 92277 h 92406"/>
              <a:gd name="connsiteX12" fmla="*/ 72142 w 97101"/>
              <a:gd name="connsiteY12" fmla="*/ 83832 h 9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101" h="92406">
                <a:moveTo>
                  <a:pt x="72142" y="83832"/>
                </a:moveTo>
                <a:cubicBezTo>
                  <a:pt x="71100" y="78395"/>
                  <a:pt x="88396" y="53406"/>
                  <a:pt x="92792" y="53406"/>
                </a:cubicBezTo>
                <a:cubicBezTo>
                  <a:pt x="97188" y="53406"/>
                  <a:pt x="97767" y="29459"/>
                  <a:pt x="96205" y="16964"/>
                </a:cubicBezTo>
                <a:cubicBezTo>
                  <a:pt x="88656" y="11602"/>
                  <a:pt x="80349" y="7391"/>
                  <a:pt x="71563" y="4470"/>
                </a:cubicBezTo>
                <a:cubicBezTo>
                  <a:pt x="71563" y="4470"/>
                  <a:pt x="35410" y="2677"/>
                  <a:pt x="29395" y="247"/>
                </a:cubicBezTo>
                <a:cubicBezTo>
                  <a:pt x="23379" y="-2182"/>
                  <a:pt x="17305" y="8114"/>
                  <a:pt x="12041" y="3891"/>
                </a:cubicBezTo>
                <a:cubicBezTo>
                  <a:pt x="8576" y="1433"/>
                  <a:pt x="3775" y="2243"/>
                  <a:pt x="1311" y="5708"/>
                </a:cubicBezTo>
                <a:cubicBezTo>
                  <a:pt x="195" y="7275"/>
                  <a:pt x="-291" y="9207"/>
                  <a:pt x="-48" y="11122"/>
                </a:cubicBezTo>
                <a:cubicBezTo>
                  <a:pt x="1167" y="16906"/>
                  <a:pt x="12620" y="20782"/>
                  <a:pt x="12620" y="29806"/>
                </a:cubicBezTo>
                <a:cubicBezTo>
                  <a:pt x="12620" y="38829"/>
                  <a:pt x="35757" y="52133"/>
                  <a:pt x="34947" y="56935"/>
                </a:cubicBezTo>
                <a:cubicBezTo>
                  <a:pt x="34543" y="60347"/>
                  <a:pt x="48714" y="69545"/>
                  <a:pt x="57160" y="81923"/>
                </a:cubicBezTo>
                <a:cubicBezTo>
                  <a:pt x="62036" y="85110"/>
                  <a:pt x="66727" y="88564"/>
                  <a:pt x="71216" y="92277"/>
                </a:cubicBezTo>
                <a:cubicBezTo>
                  <a:pt x="71980" y="89530"/>
                  <a:pt x="72292" y="86678"/>
                  <a:pt x="72142" y="8383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5" name="Forma libre: forma 134">
            <a:extLst>
              <a:ext uri="{FF2B5EF4-FFF2-40B4-BE49-F238E27FC236}">
                <a16:creationId xmlns:a16="http://schemas.microsoft.com/office/drawing/2014/main" id="{1BE11A24-51BD-DAA6-D033-9362A86D4584}"/>
              </a:ext>
            </a:extLst>
          </p:cNvPr>
          <p:cNvSpPr/>
          <p:nvPr/>
        </p:nvSpPr>
        <p:spPr>
          <a:xfrm>
            <a:off x="6562903" y="3096540"/>
            <a:ext cx="146114" cy="127141"/>
          </a:xfrm>
          <a:custGeom>
            <a:avLst/>
            <a:gdLst>
              <a:gd name="connsiteX0" fmla="*/ 84748 w 146114"/>
              <a:gd name="connsiteY0" fmla="*/ 102198 h 127141"/>
              <a:gd name="connsiteX1" fmla="*/ 62420 w 146114"/>
              <a:gd name="connsiteY1" fmla="*/ 75069 h 127141"/>
              <a:gd name="connsiteX2" fmla="*/ 49752 w 146114"/>
              <a:gd name="connsiteY2" fmla="*/ 56385 h 127141"/>
              <a:gd name="connsiteX3" fmla="*/ 56427 w 146114"/>
              <a:gd name="connsiteY3" fmla="*/ 47795 h 127141"/>
              <a:gd name="connsiteX4" fmla="*/ 61841 w 146114"/>
              <a:gd name="connsiteY4" fmla="*/ 49154 h 127141"/>
              <a:gd name="connsiteX5" fmla="*/ 79195 w 146114"/>
              <a:gd name="connsiteY5" fmla="*/ 45510 h 127141"/>
              <a:gd name="connsiteX6" fmla="*/ 121363 w 146114"/>
              <a:gd name="connsiteY6" fmla="*/ 49733 h 127141"/>
              <a:gd name="connsiteX7" fmla="*/ 146005 w 146114"/>
              <a:gd name="connsiteY7" fmla="*/ 62227 h 127141"/>
              <a:gd name="connsiteX8" fmla="*/ 144732 w 146114"/>
              <a:gd name="connsiteY8" fmla="*/ 56443 h 127141"/>
              <a:gd name="connsiteX9" fmla="*/ 136056 w 146114"/>
              <a:gd name="connsiteY9" fmla="*/ 36891 h 127141"/>
              <a:gd name="connsiteX10" fmla="*/ 128941 w 146114"/>
              <a:gd name="connsiteY10" fmla="*/ 20348 h 127141"/>
              <a:gd name="connsiteX11" fmla="*/ 119455 w 146114"/>
              <a:gd name="connsiteY11" fmla="*/ 23124 h 127141"/>
              <a:gd name="connsiteX12" fmla="*/ 91516 w 146114"/>
              <a:gd name="connsiteY12" fmla="*/ 16819 h 127141"/>
              <a:gd name="connsiteX13" fmla="*/ 68841 w 146114"/>
              <a:gd name="connsiteY13" fmla="*/ -129 h 127141"/>
              <a:gd name="connsiteX14" fmla="*/ 52471 w 146114"/>
              <a:gd name="connsiteY14" fmla="*/ 10803 h 127141"/>
              <a:gd name="connsiteX15" fmla="*/ 45819 w 146114"/>
              <a:gd name="connsiteY15" fmla="*/ 24108 h 127141"/>
              <a:gd name="connsiteX16" fmla="*/ 36159 w 146114"/>
              <a:gd name="connsiteY16" fmla="*/ 36255 h 127141"/>
              <a:gd name="connsiteX17" fmla="*/ 19152 w 146114"/>
              <a:gd name="connsiteY17" fmla="*/ 35619 h 127141"/>
              <a:gd name="connsiteX18" fmla="*/ -110 w 146114"/>
              <a:gd name="connsiteY18" fmla="*/ 39321 h 127141"/>
              <a:gd name="connsiteX19" fmla="*/ 4807 w 146114"/>
              <a:gd name="connsiteY19" fmla="*/ 50890 h 127141"/>
              <a:gd name="connsiteX20" fmla="*/ 25862 w 146114"/>
              <a:gd name="connsiteY20" fmla="*/ 59798 h 127141"/>
              <a:gd name="connsiteX21" fmla="*/ 50041 w 146114"/>
              <a:gd name="connsiteY21" fmla="*/ 98148 h 127141"/>
              <a:gd name="connsiteX22" fmla="*/ 71849 w 146114"/>
              <a:gd name="connsiteY22" fmla="*/ 109717 h 127141"/>
              <a:gd name="connsiteX23" fmla="*/ 95334 w 146114"/>
              <a:gd name="connsiteY23" fmla="*/ 122212 h 127141"/>
              <a:gd name="connsiteX24" fmla="*/ 106902 w 146114"/>
              <a:gd name="connsiteY24" fmla="*/ 127013 h 127141"/>
              <a:gd name="connsiteX25" fmla="*/ 84748 w 146114"/>
              <a:gd name="connsiteY25" fmla="*/ 102198 h 12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6114" h="127141">
                <a:moveTo>
                  <a:pt x="84748" y="102198"/>
                </a:moveTo>
                <a:cubicBezTo>
                  <a:pt x="85384" y="97396"/>
                  <a:pt x="62420" y="84092"/>
                  <a:pt x="62420" y="75069"/>
                </a:cubicBezTo>
                <a:cubicBezTo>
                  <a:pt x="62420" y="66045"/>
                  <a:pt x="50851" y="62401"/>
                  <a:pt x="49752" y="56385"/>
                </a:cubicBezTo>
                <a:cubicBezTo>
                  <a:pt x="49220" y="52168"/>
                  <a:pt x="52211" y="48321"/>
                  <a:pt x="56427" y="47795"/>
                </a:cubicBezTo>
                <a:cubicBezTo>
                  <a:pt x="58336" y="47552"/>
                  <a:pt x="60268" y="48038"/>
                  <a:pt x="61841" y="49154"/>
                </a:cubicBezTo>
                <a:cubicBezTo>
                  <a:pt x="67279" y="53377"/>
                  <a:pt x="73410" y="43370"/>
                  <a:pt x="79195" y="45510"/>
                </a:cubicBezTo>
                <a:cubicBezTo>
                  <a:pt x="84979" y="47650"/>
                  <a:pt x="121363" y="49733"/>
                  <a:pt x="121363" y="49733"/>
                </a:cubicBezTo>
                <a:cubicBezTo>
                  <a:pt x="130150" y="52654"/>
                  <a:pt x="138456" y="56865"/>
                  <a:pt x="146005" y="62227"/>
                </a:cubicBezTo>
                <a:cubicBezTo>
                  <a:pt x="145860" y="60249"/>
                  <a:pt x="145432" y="58299"/>
                  <a:pt x="144732" y="56443"/>
                </a:cubicBezTo>
                <a:cubicBezTo>
                  <a:pt x="141493" y="48807"/>
                  <a:pt x="144732" y="40131"/>
                  <a:pt x="136056" y="36891"/>
                </a:cubicBezTo>
                <a:cubicBezTo>
                  <a:pt x="131544" y="35214"/>
                  <a:pt x="129693" y="27463"/>
                  <a:pt x="128941" y="20348"/>
                </a:cubicBezTo>
                <a:lnTo>
                  <a:pt x="119455" y="23124"/>
                </a:lnTo>
                <a:cubicBezTo>
                  <a:pt x="112282" y="24918"/>
                  <a:pt x="96953" y="23992"/>
                  <a:pt x="91516" y="16819"/>
                </a:cubicBezTo>
                <a:cubicBezTo>
                  <a:pt x="84811" y="10109"/>
                  <a:pt x="77176" y="4400"/>
                  <a:pt x="68841" y="-129"/>
                </a:cubicBezTo>
                <a:cubicBezTo>
                  <a:pt x="66296" y="2011"/>
                  <a:pt x="56694" y="10283"/>
                  <a:pt x="52471" y="10803"/>
                </a:cubicBezTo>
                <a:cubicBezTo>
                  <a:pt x="48248" y="11324"/>
                  <a:pt x="50678" y="24108"/>
                  <a:pt x="45819" y="24108"/>
                </a:cubicBezTo>
                <a:cubicBezTo>
                  <a:pt x="40960" y="24108"/>
                  <a:pt x="37373" y="32611"/>
                  <a:pt x="36159" y="36255"/>
                </a:cubicBezTo>
                <a:cubicBezTo>
                  <a:pt x="34944" y="39899"/>
                  <a:pt x="24011" y="33826"/>
                  <a:pt x="19152" y="35619"/>
                </a:cubicBezTo>
                <a:cubicBezTo>
                  <a:pt x="12824" y="37302"/>
                  <a:pt x="6392" y="38540"/>
                  <a:pt x="-110" y="39321"/>
                </a:cubicBezTo>
                <a:cubicBezTo>
                  <a:pt x="758" y="45105"/>
                  <a:pt x="411" y="50890"/>
                  <a:pt x="4807" y="50890"/>
                </a:cubicBezTo>
                <a:cubicBezTo>
                  <a:pt x="12153" y="50890"/>
                  <a:pt x="25458" y="50138"/>
                  <a:pt x="25862" y="59798"/>
                </a:cubicBezTo>
                <a:cubicBezTo>
                  <a:pt x="26267" y="69458"/>
                  <a:pt x="43621" y="90918"/>
                  <a:pt x="50041" y="98148"/>
                </a:cubicBezTo>
                <a:cubicBezTo>
                  <a:pt x="56462" y="105379"/>
                  <a:pt x="71097" y="103933"/>
                  <a:pt x="71849" y="109717"/>
                </a:cubicBezTo>
                <a:cubicBezTo>
                  <a:pt x="72601" y="115502"/>
                  <a:pt x="83418" y="121286"/>
                  <a:pt x="95334" y="122212"/>
                </a:cubicBezTo>
                <a:cubicBezTo>
                  <a:pt x="99504" y="122906"/>
                  <a:pt x="103466" y="124549"/>
                  <a:pt x="106902" y="127013"/>
                </a:cubicBezTo>
                <a:cubicBezTo>
                  <a:pt x="98515" y="114808"/>
                  <a:pt x="84343" y="105610"/>
                  <a:pt x="84748" y="102198"/>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6" name="Forma libre: forma 135">
            <a:extLst>
              <a:ext uri="{FF2B5EF4-FFF2-40B4-BE49-F238E27FC236}">
                <a16:creationId xmlns:a16="http://schemas.microsoft.com/office/drawing/2014/main" id="{2A3F9593-3311-8788-8B90-258A4BB085F3}"/>
              </a:ext>
            </a:extLst>
          </p:cNvPr>
          <p:cNvSpPr/>
          <p:nvPr/>
        </p:nvSpPr>
        <p:spPr>
          <a:xfrm>
            <a:off x="6704737" y="3229756"/>
            <a:ext cx="49630" cy="100186"/>
          </a:xfrm>
          <a:custGeom>
            <a:avLst/>
            <a:gdLst>
              <a:gd name="connsiteX0" fmla="*/ 32573 w 49630"/>
              <a:gd name="connsiteY0" fmla="*/ 85307 h 100186"/>
              <a:gd name="connsiteX1" fmla="*/ 39282 w 49630"/>
              <a:gd name="connsiteY1" fmla="*/ 75011 h 100186"/>
              <a:gd name="connsiteX2" fmla="*/ 48943 w 49630"/>
              <a:gd name="connsiteY2" fmla="*/ 59219 h 100186"/>
              <a:gd name="connsiteX3" fmla="*/ 49521 w 49630"/>
              <a:gd name="connsiteY3" fmla="*/ 58467 h 100186"/>
              <a:gd name="connsiteX4" fmla="*/ 33730 w 49630"/>
              <a:gd name="connsiteY4" fmla="*/ 41577 h 100186"/>
              <a:gd name="connsiteX5" fmla="*/ 36680 w 49630"/>
              <a:gd name="connsiteY5" fmla="*/ 13175 h 100186"/>
              <a:gd name="connsiteX6" fmla="*/ 13021 w 49630"/>
              <a:gd name="connsiteY6" fmla="*/ -129 h 100186"/>
              <a:gd name="connsiteX7" fmla="*/ -110 w 49630"/>
              <a:gd name="connsiteY7" fmla="*/ 19422 h 100186"/>
              <a:gd name="connsiteX8" fmla="*/ 7353 w 49630"/>
              <a:gd name="connsiteY8" fmla="*/ 36428 h 100186"/>
              <a:gd name="connsiteX9" fmla="*/ 6543 w 49630"/>
              <a:gd name="connsiteY9" fmla="*/ 76919 h 100186"/>
              <a:gd name="connsiteX10" fmla="*/ 24706 w 49630"/>
              <a:gd name="connsiteY10" fmla="*/ 100057 h 100186"/>
              <a:gd name="connsiteX11" fmla="*/ 32573 w 49630"/>
              <a:gd name="connsiteY11" fmla="*/ 85307 h 10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630" h="100186">
                <a:moveTo>
                  <a:pt x="32573" y="85307"/>
                </a:moveTo>
                <a:cubicBezTo>
                  <a:pt x="38357" y="84092"/>
                  <a:pt x="35002" y="79233"/>
                  <a:pt x="39282" y="75011"/>
                </a:cubicBezTo>
                <a:cubicBezTo>
                  <a:pt x="43505" y="70441"/>
                  <a:pt x="46802" y="65073"/>
                  <a:pt x="48943" y="59219"/>
                </a:cubicBezTo>
                <a:cubicBezTo>
                  <a:pt x="49058" y="58907"/>
                  <a:pt x="49232" y="58641"/>
                  <a:pt x="49521" y="58467"/>
                </a:cubicBezTo>
                <a:cubicBezTo>
                  <a:pt x="41307" y="52336"/>
                  <a:pt x="35523" y="47882"/>
                  <a:pt x="33730" y="41577"/>
                </a:cubicBezTo>
                <a:cubicBezTo>
                  <a:pt x="32457" y="32009"/>
                  <a:pt x="33498" y="22280"/>
                  <a:pt x="36680" y="13175"/>
                </a:cubicBezTo>
                <a:cubicBezTo>
                  <a:pt x="31994" y="9878"/>
                  <a:pt x="17533" y="-129"/>
                  <a:pt x="13021" y="-129"/>
                </a:cubicBezTo>
                <a:cubicBezTo>
                  <a:pt x="8509" y="-129"/>
                  <a:pt x="1452" y="9878"/>
                  <a:pt x="-110" y="19422"/>
                </a:cubicBezTo>
                <a:cubicBezTo>
                  <a:pt x="10476" y="25207"/>
                  <a:pt x="14699" y="29140"/>
                  <a:pt x="7353" y="36428"/>
                </a:cubicBezTo>
                <a:cubicBezTo>
                  <a:pt x="6" y="43717"/>
                  <a:pt x="-1961" y="69978"/>
                  <a:pt x="6543" y="76919"/>
                </a:cubicBezTo>
                <a:cubicBezTo>
                  <a:pt x="15046" y="83861"/>
                  <a:pt x="16897" y="96471"/>
                  <a:pt x="24706" y="100057"/>
                </a:cubicBezTo>
                <a:cubicBezTo>
                  <a:pt x="26962" y="93521"/>
                  <a:pt x="28581" y="86117"/>
                  <a:pt x="32573" y="8530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7" name="Forma libre: forma 136">
            <a:extLst>
              <a:ext uri="{FF2B5EF4-FFF2-40B4-BE49-F238E27FC236}">
                <a16:creationId xmlns:a16="http://schemas.microsoft.com/office/drawing/2014/main" id="{445E665B-8AE9-7A05-0911-E0E8FD335A0B}"/>
              </a:ext>
            </a:extLst>
          </p:cNvPr>
          <p:cNvSpPr/>
          <p:nvPr/>
        </p:nvSpPr>
        <p:spPr>
          <a:xfrm>
            <a:off x="6452784" y="3008732"/>
            <a:ext cx="201107" cy="91451"/>
          </a:xfrm>
          <a:custGeom>
            <a:avLst/>
            <a:gdLst>
              <a:gd name="connsiteX0" fmla="*/ 169357 w 201107"/>
              <a:gd name="connsiteY0" fmla="*/ 8027 h 91451"/>
              <a:gd name="connsiteX1" fmla="*/ 144079 w 201107"/>
              <a:gd name="connsiteY1" fmla="*/ -129 h 91451"/>
              <a:gd name="connsiteX2" fmla="*/ 139567 w 201107"/>
              <a:gd name="connsiteY2" fmla="*/ 12539 h 91451"/>
              <a:gd name="connsiteX3" fmla="*/ 115794 w 201107"/>
              <a:gd name="connsiteY3" fmla="*/ 13985 h 91451"/>
              <a:gd name="connsiteX4" fmla="*/ 100985 w 201107"/>
              <a:gd name="connsiteY4" fmla="*/ 24050 h 91451"/>
              <a:gd name="connsiteX5" fmla="*/ 90111 w 201107"/>
              <a:gd name="connsiteY5" fmla="*/ 40998 h 91451"/>
              <a:gd name="connsiteX6" fmla="*/ 79236 w 201107"/>
              <a:gd name="connsiteY6" fmla="*/ 48865 h 91451"/>
              <a:gd name="connsiteX7" fmla="*/ 51355 w 201107"/>
              <a:gd name="connsiteY7" fmla="*/ 54303 h 91451"/>
              <a:gd name="connsiteX8" fmla="*/ 35564 w 201107"/>
              <a:gd name="connsiteY8" fmla="*/ 55517 h 91451"/>
              <a:gd name="connsiteX9" fmla="*/ 19251 w 201107"/>
              <a:gd name="connsiteY9" fmla="*/ 57947 h 91451"/>
              <a:gd name="connsiteX10" fmla="*/ 3460 w 201107"/>
              <a:gd name="connsiteY10" fmla="*/ 53724 h 91451"/>
              <a:gd name="connsiteX11" fmla="*/ 452 w 201107"/>
              <a:gd name="connsiteY11" fmla="*/ 68243 h 91451"/>
              <a:gd name="connsiteX12" fmla="*/ 14392 w 201107"/>
              <a:gd name="connsiteY12" fmla="*/ 75531 h 91451"/>
              <a:gd name="connsiteX13" fmla="*/ 31341 w 201107"/>
              <a:gd name="connsiteY13" fmla="*/ 79176 h 91451"/>
              <a:gd name="connsiteX14" fmla="*/ 48289 w 201107"/>
              <a:gd name="connsiteY14" fmla="*/ 73738 h 91451"/>
              <a:gd name="connsiteX15" fmla="*/ 70096 w 201107"/>
              <a:gd name="connsiteY15" fmla="*/ 70673 h 91451"/>
              <a:gd name="connsiteX16" fmla="*/ 75881 w 201107"/>
              <a:gd name="connsiteY16" fmla="*/ 82241 h 91451"/>
              <a:gd name="connsiteX17" fmla="*/ 100696 w 201107"/>
              <a:gd name="connsiteY17" fmla="*/ 85886 h 91451"/>
              <a:gd name="connsiteX18" fmla="*/ 131007 w 201107"/>
              <a:gd name="connsiteY18" fmla="*/ 91323 h 91451"/>
              <a:gd name="connsiteX19" fmla="*/ 154549 w 201107"/>
              <a:gd name="connsiteY19" fmla="*/ 82820 h 91451"/>
              <a:gd name="connsiteX20" fmla="*/ 173348 w 201107"/>
              <a:gd name="connsiteY20" fmla="*/ 77035 h 91451"/>
              <a:gd name="connsiteX21" fmla="*/ 173348 w 201107"/>
              <a:gd name="connsiteY21" fmla="*/ 77035 h 91451"/>
              <a:gd name="connsiteX22" fmla="*/ 177745 w 201107"/>
              <a:gd name="connsiteY22" fmla="*/ 70615 h 91451"/>
              <a:gd name="connsiteX23" fmla="*/ 182199 w 201107"/>
              <a:gd name="connsiteY23" fmla="*/ 58641 h 91451"/>
              <a:gd name="connsiteX24" fmla="*/ 185380 w 201107"/>
              <a:gd name="connsiteY24" fmla="*/ 47882 h 91451"/>
              <a:gd name="connsiteX25" fmla="*/ 197354 w 201107"/>
              <a:gd name="connsiteY25" fmla="*/ 40940 h 91451"/>
              <a:gd name="connsiteX26" fmla="*/ 200998 w 201107"/>
              <a:gd name="connsiteY26" fmla="*/ 33652 h 91451"/>
              <a:gd name="connsiteX27" fmla="*/ 190297 w 201107"/>
              <a:gd name="connsiteY27" fmla="*/ 10919 h 91451"/>
              <a:gd name="connsiteX28" fmla="*/ 169357 w 201107"/>
              <a:gd name="connsiteY28" fmla="*/ 8027 h 9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1107" h="91451">
                <a:moveTo>
                  <a:pt x="169357" y="8027"/>
                </a:moveTo>
                <a:cubicBezTo>
                  <a:pt x="162127" y="-129"/>
                  <a:pt x="144079" y="-129"/>
                  <a:pt x="144079" y="-129"/>
                </a:cubicBezTo>
                <a:cubicBezTo>
                  <a:pt x="143119" y="4267"/>
                  <a:pt x="141604" y="8525"/>
                  <a:pt x="139567" y="12539"/>
                </a:cubicBezTo>
                <a:cubicBezTo>
                  <a:pt x="137254" y="16299"/>
                  <a:pt x="124239" y="16241"/>
                  <a:pt x="115794" y="13985"/>
                </a:cubicBezTo>
                <a:cubicBezTo>
                  <a:pt x="113422" y="17051"/>
                  <a:pt x="102489" y="19769"/>
                  <a:pt x="100985" y="24050"/>
                </a:cubicBezTo>
                <a:cubicBezTo>
                  <a:pt x="99134" y="29487"/>
                  <a:pt x="85888" y="26479"/>
                  <a:pt x="90111" y="40998"/>
                </a:cubicBezTo>
                <a:cubicBezTo>
                  <a:pt x="94333" y="55517"/>
                  <a:pt x="83458" y="50716"/>
                  <a:pt x="79236" y="48865"/>
                </a:cubicBezTo>
                <a:cubicBezTo>
                  <a:pt x="75013" y="47014"/>
                  <a:pt x="56098" y="49502"/>
                  <a:pt x="51355" y="54303"/>
                </a:cubicBezTo>
                <a:cubicBezTo>
                  <a:pt x="46988" y="58271"/>
                  <a:pt x="40486" y="58774"/>
                  <a:pt x="35564" y="55517"/>
                </a:cubicBezTo>
                <a:cubicBezTo>
                  <a:pt x="31341" y="53146"/>
                  <a:pt x="22896" y="51873"/>
                  <a:pt x="19251" y="57947"/>
                </a:cubicBezTo>
                <a:cubicBezTo>
                  <a:pt x="15607" y="64020"/>
                  <a:pt x="8955" y="53146"/>
                  <a:pt x="3460" y="53724"/>
                </a:cubicBezTo>
                <a:cubicBezTo>
                  <a:pt x="-2035" y="54303"/>
                  <a:pt x="452" y="65814"/>
                  <a:pt x="452" y="68243"/>
                </a:cubicBezTo>
                <a:cubicBezTo>
                  <a:pt x="452" y="70673"/>
                  <a:pt x="8955" y="77961"/>
                  <a:pt x="14392" y="75531"/>
                </a:cubicBezTo>
                <a:cubicBezTo>
                  <a:pt x="20298" y="73981"/>
                  <a:pt x="26592" y="75335"/>
                  <a:pt x="31341" y="79176"/>
                </a:cubicBezTo>
                <a:cubicBezTo>
                  <a:pt x="36200" y="82183"/>
                  <a:pt x="45281" y="76746"/>
                  <a:pt x="48289" y="73738"/>
                </a:cubicBezTo>
                <a:cubicBezTo>
                  <a:pt x="51297" y="70730"/>
                  <a:pt x="68303" y="70673"/>
                  <a:pt x="70096" y="70673"/>
                </a:cubicBezTo>
                <a:cubicBezTo>
                  <a:pt x="71890" y="70673"/>
                  <a:pt x="72526" y="80390"/>
                  <a:pt x="75881" y="82241"/>
                </a:cubicBezTo>
                <a:cubicBezTo>
                  <a:pt x="83933" y="84653"/>
                  <a:pt x="92291" y="85880"/>
                  <a:pt x="100696" y="85886"/>
                </a:cubicBezTo>
                <a:cubicBezTo>
                  <a:pt x="110934" y="86464"/>
                  <a:pt x="126148" y="91323"/>
                  <a:pt x="131007" y="91323"/>
                </a:cubicBezTo>
                <a:cubicBezTo>
                  <a:pt x="135865" y="91323"/>
                  <a:pt x="143675" y="82820"/>
                  <a:pt x="154549" y="82820"/>
                </a:cubicBezTo>
                <a:cubicBezTo>
                  <a:pt x="165424" y="82820"/>
                  <a:pt x="171555" y="76168"/>
                  <a:pt x="173348" y="77035"/>
                </a:cubicBezTo>
                <a:lnTo>
                  <a:pt x="173348" y="77035"/>
                </a:lnTo>
                <a:cubicBezTo>
                  <a:pt x="174158" y="73680"/>
                  <a:pt x="175373" y="70962"/>
                  <a:pt x="177745" y="70615"/>
                </a:cubicBezTo>
                <a:cubicBezTo>
                  <a:pt x="182199" y="69978"/>
                  <a:pt x="179075" y="62401"/>
                  <a:pt x="182199" y="58641"/>
                </a:cubicBezTo>
                <a:cubicBezTo>
                  <a:pt x="185322" y="54881"/>
                  <a:pt x="179711" y="47072"/>
                  <a:pt x="185380" y="47882"/>
                </a:cubicBezTo>
                <a:cubicBezTo>
                  <a:pt x="191049" y="48692"/>
                  <a:pt x="197354" y="49154"/>
                  <a:pt x="197354" y="40940"/>
                </a:cubicBezTo>
                <a:cubicBezTo>
                  <a:pt x="197510" y="38112"/>
                  <a:pt x="198829" y="35474"/>
                  <a:pt x="200998" y="33652"/>
                </a:cubicBezTo>
                <a:cubicBezTo>
                  <a:pt x="196475" y="26560"/>
                  <a:pt x="192877" y="18925"/>
                  <a:pt x="190297" y="10919"/>
                </a:cubicBezTo>
                <a:cubicBezTo>
                  <a:pt x="190297" y="10919"/>
                  <a:pt x="176588" y="16125"/>
                  <a:pt x="169357" y="802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8" name="Forma libre: forma 137">
            <a:extLst>
              <a:ext uri="{FF2B5EF4-FFF2-40B4-BE49-F238E27FC236}">
                <a16:creationId xmlns:a16="http://schemas.microsoft.com/office/drawing/2014/main" id="{22033046-BDE2-DDA4-BD6F-CFEFFE664F28}"/>
              </a:ext>
            </a:extLst>
          </p:cNvPr>
          <p:cNvSpPr/>
          <p:nvPr/>
        </p:nvSpPr>
        <p:spPr>
          <a:xfrm>
            <a:off x="6625837" y="3021368"/>
            <a:ext cx="176174" cy="99156"/>
          </a:xfrm>
          <a:custGeom>
            <a:avLst/>
            <a:gdLst>
              <a:gd name="connsiteX0" fmla="*/ 171456 w 176174"/>
              <a:gd name="connsiteY0" fmla="*/ 18066 h 99156"/>
              <a:gd name="connsiteX1" fmla="*/ 165036 w 176174"/>
              <a:gd name="connsiteY1" fmla="*/ 14133 h 99156"/>
              <a:gd name="connsiteX2" fmla="*/ 147683 w 176174"/>
              <a:gd name="connsiteY2" fmla="*/ 8001 h 99156"/>
              <a:gd name="connsiteX3" fmla="*/ 122405 w 176174"/>
              <a:gd name="connsiteY3" fmla="*/ -97 h 99156"/>
              <a:gd name="connsiteX4" fmla="*/ 97184 w 176174"/>
              <a:gd name="connsiteY4" fmla="*/ 16100 h 99156"/>
              <a:gd name="connsiteX5" fmla="*/ 68262 w 176174"/>
              <a:gd name="connsiteY5" fmla="*/ 25065 h 99156"/>
              <a:gd name="connsiteX6" fmla="*/ 31242 w 176174"/>
              <a:gd name="connsiteY6" fmla="*/ 25065 h 99156"/>
              <a:gd name="connsiteX7" fmla="*/ 27540 w 176174"/>
              <a:gd name="connsiteY7" fmla="*/ 20785 h 99156"/>
              <a:gd name="connsiteX8" fmla="*/ 23896 w 176174"/>
              <a:gd name="connsiteY8" fmla="*/ 28073 h 99156"/>
              <a:gd name="connsiteX9" fmla="*/ 11922 w 176174"/>
              <a:gd name="connsiteY9" fmla="*/ 35015 h 99156"/>
              <a:gd name="connsiteX10" fmla="*/ 8740 w 176174"/>
              <a:gd name="connsiteY10" fmla="*/ 45774 h 99156"/>
              <a:gd name="connsiteX11" fmla="*/ 4286 w 176174"/>
              <a:gd name="connsiteY11" fmla="*/ 57747 h 99156"/>
              <a:gd name="connsiteX12" fmla="*/ -110 w 176174"/>
              <a:gd name="connsiteY12" fmla="*/ 64168 h 99156"/>
              <a:gd name="connsiteX13" fmla="*/ 6484 w 176174"/>
              <a:gd name="connsiteY13" fmla="*/ 74406 h 99156"/>
              <a:gd name="connsiteX14" fmla="*/ 5848 w 176174"/>
              <a:gd name="connsiteY14" fmla="*/ 74985 h 99156"/>
              <a:gd name="connsiteX15" fmla="*/ 28523 w 176174"/>
              <a:gd name="connsiteY15" fmla="*/ 91933 h 99156"/>
              <a:gd name="connsiteX16" fmla="*/ 56462 w 176174"/>
              <a:gd name="connsiteY16" fmla="*/ 98238 h 99156"/>
              <a:gd name="connsiteX17" fmla="*/ 94408 w 176174"/>
              <a:gd name="connsiteY17" fmla="*/ 86669 h 99156"/>
              <a:gd name="connsiteX18" fmla="*/ 105977 w 176174"/>
              <a:gd name="connsiteY18" fmla="*/ 90256 h 99156"/>
              <a:gd name="connsiteX19" fmla="*/ 113670 w 176174"/>
              <a:gd name="connsiteY19" fmla="*/ 91528 h 99156"/>
              <a:gd name="connsiteX20" fmla="*/ 129924 w 176174"/>
              <a:gd name="connsiteY20" fmla="*/ 79959 h 99156"/>
              <a:gd name="connsiteX21" fmla="*/ 154739 w 176174"/>
              <a:gd name="connsiteY21" fmla="*/ 38774 h 99156"/>
              <a:gd name="connsiteX22" fmla="*/ 172903 w 176174"/>
              <a:gd name="connsiteY22" fmla="*/ 27206 h 99156"/>
              <a:gd name="connsiteX23" fmla="*/ 171456 w 176174"/>
              <a:gd name="connsiteY23" fmla="*/ 18066 h 9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6174" h="99156">
                <a:moveTo>
                  <a:pt x="171456" y="18066"/>
                </a:moveTo>
                <a:cubicBezTo>
                  <a:pt x="169085" y="17193"/>
                  <a:pt x="166887" y="15856"/>
                  <a:pt x="165036" y="14133"/>
                </a:cubicBezTo>
                <a:cubicBezTo>
                  <a:pt x="158904" y="13259"/>
                  <a:pt x="153004" y="11171"/>
                  <a:pt x="147683" y="8001"/>
                </a:cubicBezTo>
                <a:cubicBezTo>
                  <a:pt x="143171" y="3489"/>
                  <a:pt x="125123" y="771"/>
                  <a:pt x="122405" y="-97"/>
                </a:cubicBezTo>
                <a:cubicBezTo>
                  <a:pt x="119686" y="-965"/>
                  <a:pt x="102622" y="16100"/>
                  <a:pt x="97184" y="16100"/>
                </a:cubicBezTo>
                <a:cubicBezTo>
                  <a:pt x="91747" y="16100"/>
                  <a:pt x="68262" y="18818"/>
                  <a:pt x="68262" y="25065"/>
                </a:cubicBezTo>
                <a:cubicBezTo>
                  <a:pt x="68262" y="31313"/>
                  <a:pt x="39340" y="32354"/>
                  <a:pt x="31242" y="25065"/>
                </a:cubicBezTo>
                <a:cubicBezTo>
                  <a:pt x="29854" y="23781"/>
                  <a:pt x="28610" y="22347"/>
                  <a:pt x="27540" y="20785"/>
                </a:cubicBezTo>
                <a:cubicBezTo>
                  <a:pt x="25371" y="22607"/>
                  <a:pt x="24052" y="25245"/>
                  <a:pt x="23896" y="28073"/>
                </a:cubicBezTo>
                <a:cubicBezTo>
                  <a:pt x="23896" y="36287"/>
                  <a:pt x="17591" y="35651"/>
                  <a:pt x="11922" y="35015"/>
                </a:cubicBezTo>
                <a:cubicBezTo>
                  <a:pt x="6253" y="34378"/>
                  <a:pt x="11922" y="41956"/>
                  <a:pt x="8740" y="45774"/>
                </a:cubicBezTo>
                <a:cubicBezTo>
                  <a:pt x="5559" y="49591"/>
                  <a:pt x="8740" y="57343"/>
                  <a:pt x="4286" y="57747"/>
                </a:cubicBezTo>
                <a:cubicBezTo>
                  <a:pt x="1915" y="58094"/>
                  <a:pt x="700" y="60813"/>
                  <a:pt x="-110" y="64168"/>
                </a:cubicBezTo>
                <a:cubicBezTo>
                  <a:pt x="2545" y="67263"/>
                  <a:pt x="4766" y="70705"/>
                  <a:pt x="6484" y="74406"/>
                </a:cubicBezTo>
                <a:lnTo>
                  <a:pt x="5848" y="74985"/>
                </a:lnTo>
                <a:cubicBezTo>
                  <a:pt x="14183" y="79514"/>
                  <a:pt x="21819" y="85223"/>
                  <a:pt x="28523" y="91933"/>
                </a:cubicBezTo>
                <a:cubicBezTo>
                  <a:pt x="33960" y="99106"/>
                  <a:pt x="49289" y="100031"/>
                  <a:pt x="56462" y="98238"/>
                </a:cubicBezTo>
                <a:cubicBezTo>
                  <a:pt x="63635" y="96445"/>
                  <a:pt x="94408" y="86669"/>
                  <a:pt x="94408" y="86669"/>
                </a:cubicBezTo>
                <a:cubicBezTo>
                  <a:pt x="98168" y="88104"/>
                  <a:pt x="102043" y="89301"/>
                  <a:pt x="105977" y="90256"/>
                </a:cubicBezTo>
                <a:lnTo>
                  <a:pt x="113670" y="91528"/>
                </a:lnTo>
                <a:cubicBezTo>
                  <a:pt x="119455" y="88202"/>
                  <a:pt x="124892" y="84327"/>
                  <a:pt x="129924" y="79959"/>
                </a:cubicBezTo>
                <a:cubicBezTo>
                  <a:pt x="138370" y="71514"/>
                  <a:pt x="151153" y="41204"/>
                  <a:pt x="154739" y="38774"/>
                </a:cubicBezTo>
                <a:cubicBezTo>
                  <a:pt x="158326" y="36345"/>
                  <a:pt x="168101" y="30908"/>
                  <a:pt x="172903" y="27206"/>
                </a:cubicBezTo>
                <a:cubicBezTo>
                  <a:pt x="177704" y="23504"/>
                  <a:pt x="176894" y="19917"/>
                  <a:pt x="171456" y="1806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39" name="Forma libre: forma 138">
            <a:extLst>
              <a:ext uri="{FF2B5EF4-FFF2-40B4-BE49-F238E27FC236}">
                <a16:creationId xmlns:a16="http://schemas.microsoft.com/office/drawing/2014/main" id="{6426ED01-F99D-A950-2683-DC59C66C5669}"/>
              </a:ext>
            </a:extLst>
          </p:cNvPr>
          <p:cNvSpPr/>
          <p:nvPr/>
        </p:nvSpPr>
        <p:spPr>
          <a:xfrm>
            <a:off x="6525952" y="2937295"/>
            <a:ext cx="168488" cy="87865"/>
          </a:xfrm>
          <a:custGeom>
            <a:avLst/>
            <a:gdLst>
              <a:gd name="connsiteX0" fmla="*/ 159355 w 168488"/>
              <a:gd name="connsiteY0" fmla="*/ 39726 h 87865"/>
              <a:gd name="connsiteX1" fmla="*/ 141308 w 168488"/>
              <a:gd name="connsiteY1" fmla="*/ 35214 h 87865"/>
              <a:gd name="connsiteX2" fmla="*/ 134077 w 168488"/>
              <a:gd name="connsiteY2" fmla="*/ 25322 h 87865"/>
              <a:gd name="connsiteX3" fmla="*/ 118749 w 168488"/>
              <a:gd name="connsiteY3" fmla="*/ 27983 h 87865"/>
              <a:gd name="connsiteX4" fmla="*/ 104287 w 168488"/>
              <a:gd name="connsiteY4" fmla="*/ 21678 h 87865"/>
              <a:gd name="connsiteX5" fmla="*/ 86240 w 168488"/>
              <a:gd name="connsiteY5" fmla="*/ 9010 h 87865"/>
              <a:gd name="connsiteX6" fmla="*/ 70449 w 168488"/>
              <a:gd name="connsiteY6" fmla="*/ -129 h 87865"/>
              <a:gd name="connsiteX7" fmla="*/ 69003 w 168488"/>
              <a:gd name="connsiteY7" fmla="*/ 2763 h 87865"/>
              <a:gd name="connsiteX8" fmla="*/ 54484 w 168488"/>
              <a:gd name="connsiteY8" fmla="*/ 3399 h 87865"/>
              <a:gd name="connsiteX9" fmla="*/ 32098 w 168488"/>
              <a:gd name="connsiteY9" fmla="*/ 13696 h 87865"/>
              <a:gd name="connsiteX10" fmla="*/ 3581 w 168488"/>
              <a:gd name="connsiteY10" fmla="*/ 24628 h 87865"/>
              <a:gd name="connsiteX11" fmla="*/ 5374 w 168488"/>
              <a:gd name="connsiteY11" fmla="*/ 39147 h 87865"/>
              <a:gd name="connsiteX12" fmla="*/ 14513 w 168488"/>
              <a:gd name="connsiteY12" fmla="*/ 62285 h 87865"/>
              <a:gd name="connsiteX13" fmla="*/ 42973 w 168488"/>
              <a:gd name="connsiteY13" fmla="*/ 83456 h 87865"/>
              <a:gd name="connsiteX14" fmla="*/ 42626 w 168488"/>
              <a:gd name="connsiteY14" fmla="*/ 85538 h 87865"/>
              <a:gd name="connsiteX15" fmla="*/ 66400 w 168488"/>
              <a:gd name="connsiteY15" fmla="*/ 84092 h 87865"/>
              <a:gd name="connsiteX16" fmla="*/ 70911 w 168488"/>
              <a:gd name="connsiteY16" fmla="*/ 71424 h 87865"/>
              <a:gd name="connsiteX17" fmla="*/ 96189 w 168488"/>
              <a:gd name="connsiteY17" fmla="*/ 79580 h 87865"/>
              <a:gd name="connsiteX18" fmla="*/ 116955 w 168488"/>
              <a:gd name="connsiteY18" fmla="*/ 82241 h 87865"/>
              <a:gd name="connsiteX19" fmla="*/ 118922 w 168488"/>
              <a:gd name="connsiteY19" fmla="*/ 87736 h 87865"/>
              <a:gd name="connsiteX20" fmla="*/ 126500 w 168488"/>
              <a:gd name="connsiteY20" fmla="*/ 78944 h 87865"/>
              <a:gd name="connsiteX21" fmla="*/ 152587 w 168488"/>
              <a:gd name="connsiteY21" fmla="*/ 65929 h 87865"/>
              <a:gd name="connsiteX22" fmla="*/ 168379 w 168488"/>
              <a:gd name="connsiteY22" fmla="*/ 52856 h 87865"/>
              <a:gd name="connsiteX23" fmla="*/ 159355 w 168488"/>
              <a:gd name="connsiteY23" fmla="*/ 39726 h 87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8488" h="87865">
                <a:moveTo>
                  <a:pt x="159355" y="39726"/>
                </a:moveTo>
                <a:cubicBezTo>
                  <a:pt x="154785" y="37007"/>
                  <a:pt x="142002" y="38800"/>
                  <a:pt x="141308" y="35214"/>
                </a:cubicBezTo>
                <a:cubicBezTo>
                  <a:pt x="140614" y="31627"/>
                  <a:pt x="139515" y="25322"/>
                  <a:pt x="134077" y="25322"/>
                </a:cubicBezTo>
                <a:cubicBezTo>
                  <a:pt x="128640" y="25322"/>
                  <a:pt x="121410" y="21678"/>
                  <a:pt x="118749" y="27983"/>
                </a:cubicBezTo>
                <a:cubicBezTo>
                  <a:pt x="116088" y="34288"/>
                  <a:pt x="105213" y="26190"/>
                  <a:pt x="104287" y="21678"/>
                </a:cubicBezTo>
                <a:cubicBezTo>
                  <a:pt x="103362" y="17166"/>
                  <a:pt x="98908" y="13580"/>
                  <a:pt x="86240" y="9010"/>
                </a:cubicBezTo>
                <a:cubicBezTo>
                  <a:pt x="80577" y="6714"/>
                  <a:pt x="75261" y="3637"/>
                  <a:pt x="70449" y="-129"/>
                </a:cubicBezTo>
                <a:cubicBezTo>
                  <a:pt x="70084" y="889"/>
                  <a:pt x="69598" y="1861"/>
                  <a:pt x="69003" y="2763"/>
                </a:cubicBezTo>
                <a:cubicBezTo>
                  <a:pt x="66573" y="6407"/>
                  <a:pt x="58128" y="-245"/>
                  <a:pt x="54484" y="3399"/>
                </a:cubicBezTo>
                <a:cubicBezTo>
                  <a:pt x="50839" y="7044"/>
                  <a:pt x="38692" y="7622"/>
                  <a:pt x="32098" y="13696"/>
                </a:cubicBezTo>
                <a:cubicBezTo>
                  <a:pt x="25504" y="19769"/>
                  <a:pt x="11447" y="22777"/>
                  <a:pt x="3581" y="24628"/>
                </a:cubicBezTo>
                <a:cubicBezTo>
                  <a:pt x="-4286" y="26479"/>
                  <a:pt x="2424" y="33710"/>
                  <a:pt x="5374" y="39147"/>
                </a:cubicBezTo>
                <a:cubicBezTo>
                  <a:pt x="8324" y="44585"/>
                  <a:pt x="8439" y="57947"/>
                  <a:pt x="14513" y="62285"/>
                </a:cubicBezTo>
                <a:cubicBezTo>
                  <a:pt x="20587" y="66623"/>
                  <a:pt x="40543" y="79233"/>
                  <a:pt x="42973" y="83456"/>
                </a:cubicBezTo>
                <a:cubicBezTo>
                  <a:pt x="43302" y="84156"/>
                  <a:pt x="43163" y="84983"/>
                  <a:pt x="42626" y="85538"/>
                </a:cubicBezTo>
                <a:cubicBezTo>
                  <a:pt x="51071" y="87794"/>
                  <a:pt x="64086" y="87852"/>
                  <a:pt x="66400" y="84092"/>
                </a:cubicBezTo>
                <a:cubicBezTo>
                  <a:pt x="68436" y="80078"/>
                  <a:pt x="69951" y="75820"/>
                  <a:pt x="70911" y="71424"/>
                </a:cubicBezTo>
                <a:cubicBezTo>
                  <a:pt x="70911" y="71424"/>
                  <a:pt x="88959" y="71424"/>
                  <a:pt x="96189" y="79580"/>
                </a:cubicBezTo>
                <a:cubicBezTo>
                  <a:pt x="103420" y="87736"/>
                  <a:pt x="116955" y="82241"/>
                  <a:pt x="116955" y="82241"/>
                </a:cubicBezTo>
                <a:cubicBezTo>
                  <a:pt x="116955" y="82241"/>
                  <a:pt x="117707" y="84555"/>
                  <a:pt x="118922" y="87736"/>
                </a:cubicBezTo>
                <a:cubicBezTo>
                  <a:pt x="120889" y="83282"/>
                  <a:pt x="123376" y="79349"/>
                  <a:pt x="126500" y="78944"/>
                </a:cubicBezTo>
                <a:cubicBezTo>
                  <a:pt x="136715" y="78765"/>
                  <a:pt x="146300" y="73981"/>
                  <a:pt x="152587" y="65929"/>
                </a:cubicBezTo>
                <a:cubicBezTo>
                  <a:pt x="156856" y="60492"/>
                  <a:pt x="162242" y="56038"/>
                  <a:pt x="168379" y="52856"/>
                </a:cubicBezTo>
                <a:cubicBezTo>
                  <a:pt x="164735" y="48287"/>
                  <a:pt x="162884" y="41866"/>
                  <a:pt x="159355" y="3972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0" name="Forma libre: forma 139">
            <a:extLst>
              <a:ext uri="{FF2B5EF4-FFF2-40B4-BE49-F238E27FC236}">
                <a16:creationId xmlns:a16="http://schemas.microsoft.com/office/drawing/2014/main" id="{72878498-F771-E951-FAB5-30950514BB81}"/>
              </a:ext>
            </a:extLst>
          </p:cNvPr>
          <p:cNvSpPr/>
          <p:nvPr/>
        </p:nvSpPr>
        <p:spPr>
          <a:xfrm>
            <a:off x="6645157" y="2990164"/>
            <a:ext cx="153114" cy="61523"/>
          </a:xfrm>
          <a:custGeom>
            <a:avLst/>
            <a:gdLst>
              <a:gd name="connsiteX0" fmla="*/ 113092 w 153114"/>
              <a:gd name="connsiteY0" fmla="*/ 5829 h 61523"/>
              <a:gd name="connsiteX1" fmla="*/ 92326 w 153114"/>
              <a:gd name="connsiteY1" fmla="*/ 3978 h 61523"/>
              <a:gd name="connsiteX2" fmla="*/ 69188 w 153114"/>
              <a:gd name="connsiteY2" fmla="*/ 1317 h 61523"/>
              <a:gd name="connsiteX3" fmla="*/ 52934 w 153114"/>
              <a:gd name="connsiteY3" fmla="*/ 3110 h 61523"/>
              <a:gd name="connsiteX4" fmla="*/ 49347 w 153114"/>
              <a:gd name="connsiteY4" fmla="*/ -129 h 61523"/>
              <a:gd name="connsiteX5" fmla="*/ 33556 w 153114"/>
              <a:gd name="connsiteY5" fmla="*/ 12944 h 61523"/>
              <a:gd name="connsiteX6" fmla="*/ 7468 w 153114"/>
              <a:gd name="connsiteY6" fmla="*/ 25959 h 61523"/>
              <a:gd name="connsiteX7" fmla="*/ -110 w 153114"/>
              <a:gd name="connsiteY7" fmla="*/ 34751 h 61523"/>
              <a:gd name="connsiteX8" fmla="*/ 12327 w 153114"/>
              <a:gd name="connsiteY8" fmla="*/ 56269 h 61523"/>
              <a:gd name="connsiteX9" fmla="*/ 49347 w 153114"/>
              <a:gd name="connsiteY9" fmla="*/ 56269 h 61523"/>
              <a:gd name="connsiteX10" fmla="*/ 78269 w 153114"/>
              <a:gd name="connsiteY10" fmla="*/ 47303 h 61523"/>
              <a:gd name="connsiteX11" fmla="*/ 103490 w 153114"/>
              <a:gd name="connsiteY11" fmla="*/ 31107 h 61523"/>
              <a:gd name="connsiteX12" fmla="*/ 128768 w 153114"/>
              <a:gd name="connsiteY12" fmla="*/ 39205 h 61523"/>
              <a:gd name="connsiteX13" fmla="*/ 146121 w 153114"/>
              <a:gd name="connsiteY13" fmla="*/ 45337 h 61523"/>
              <a:gd name="connsiteX14" fmla="*/ 140337 w 153114"/>
              <a:gd name="connsiteY14" fmla="*/ 35966 h 61523"/>
              <a:gd name="connsiteX15" fmla="*/ 152484 w 153114"/>
              <a:gd name="connsiteY15" fmla="*/ 15952 h 61523"/>
              <a:gd name="connsiteX16" fmla="*/ 153004 w 153114"/>
              <a:gd name="connsiteY16" fmla="*/ 15084 h 61523"/>
              <a:gd name="connsiteX17" fmla="*/ 136981 w 153114"/>
              <a:gd name="connsiteY17" fmla="*/ 11208 h 61523"/>
              <a:gd name="connsiteX18" fmla="*/ 113092 w 153114"/>
              <a:gd name="connsiteY18" fmla="*/ 5829 h 6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3114" h="61523">
                <a:moveTo>
                  <a:pt x="113092" y="5829"/>
                </a:moveTo>
                <a:cubicBezTo>
                  <a:pt x="104068" y="6697"/>
                  <a:pt x="99556" y="1317"/>
                  <a:pt x="92326" y="3978"/>
                </a:cubicBezTo>
                <a:cubicBezTo>
                  <a:pt x="84517" y="5869"/>
                  <a:pt x="76361" y="4927"/>
                  <a:pt x="69188" y="1317"/>
                </a:cubicBezTo>
                <a:cubicBezTo>
                  <a:pt x="64676" y="-1402"/>
                  <a:pt x="59239" y="6697"/>
                  <a:pt x="52934" y="3110"/>
                </a:cubicBezTo>
                <a:cubicBezTo>
                  <a:pt x="51540" y="2272"/>
                  <a:pt x="50325" y="1173"/>
                  <a:pt x="49347" y="-129"/>
                </a:cubicBezTo>
                <a:cubicBezTo>
                  <a:pt x="43210" y="3052"/>
                  <a:pt x="37825" y="7506"/>
                  <a:pt x="33556" y="12944"/>
                </a:cubicBezTo>
                <a:cubicBezTo>
                  <a:pt x="27268" y="20996"/>
                  <a:pt x="17683" y="25779"/>
                  <a:pt x="7468" y="25959"/>
                </a:cubicBezTo>
                <a:cubicBezTo>
                  <a:pt x="4345" y="26364"/>
                  <a:pt x="1684" y="30297"/>
                  <a:pt x="-110" y="34751"/>
                </a:cubicBezTo>
                <a:cubicBezTo>
                  <a:pt x="2545" y="42687"/>
                  <a:pt x="6774" y="50005"/>
                  <a:pt x="12327" y="56269"/>
                </a:cubicBezTo>
                <a:cubicBezTo>
                  <a:pt x="20483" y="63558"/>
                  <a:pt x="49347" y="62632"/>
                  <a:pt x="49347" y="56269"/>
                </a:cubicBezTo>
                <a:cubicBezTo>
                  <a:pt x="49347" y="49906"/>
                  <a:pt x="72485" y="47303"/>
                  <a:pt x="78269" y="47303"/>
                </a:cubicBezTo>
                <a:cubicBezTo>
                  <a:pt x="84054" y="47303"/>
                  <a:pt x="100829" y="29950"/>
                  <a:pt x="103490" y="31107"/>
                </a:cubicBezTo>
                <a:cubicBezTo>
                  <a:pt x="106150" y="32264"/>
                  <a:pt x="124256" y="34693"/>
                  <a:pt x="128768" y="39205"/>
                </a:cubicBezTo>
                <a:cubicBezTo>
                  <a:pt x="134089" y="42375"/>
                  <a:pt x="139990" y="44463"/>
                  <a:pt x="146121" y="45337"/>
                </a:cubicBezTo>
                <a:cubicBezTo>
                  <a:pt x="143055" y="43069"/>
                  <a:pt x="140973" y="39714"/>
                  <a:pt x="140337" y="35966"/>
                </a:cubicBezTo>
                <a:cubicBezTo>
                  <a:pt x="140337" y="31107"/>
                  <a:pt x="149476" y="18612"/>
                  <a:pt x="152484" y="15952"/>
                </a:cubicBezTo>
                <a:cubicBezTo>
                  <a:pt x="152484" y="15952"/>
                  <a:pt x="152831" y="15373"/>
                  <a:pt x="153004" y="15084"/>
                </a:cubicBezTo>
                <a:cubicBezTo>
                  <a:pt x="147509" y="14696"/>
                  <a:pt x="142072" y="13389"/>
                  <a:pt x="136981" y="11208"/>
                </a:cubicBezTo>
                <a:cubicBezTo>
                  <a:pt x="129809" y="6870"/>
                  <a:pt x="121421" y="4979"/>
                  <a:pt x="113092" y="582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1" name="Forma libre: forma 140">
            <a:extLst>
              <a:ext uri="{FF2B5EF4-FFF2-40B4-BE49-F238E27FC236}">
                <a16:creationId xmlns:a16="http://schemas.microsoft.com/office/drawing/2014/main" id="{C1B46E14-BBA2-79C4-1350-3C5CB3675D18}"/>
              </a:ext>
            </a:extLst>
          </p:cNvPr>
          <p:cNvSpPr/>
          <p:nvPr/>
        </p:nvSpPr>
        <p:spPr>
          <a:xfrm>
            <a:off x="5925675" y="3246812"/>
            <a:ext cx="91122" cy="166584"/>
          </a:xfrm>
          <a:custGeom>
            <a:avLst/>
            <a:gdLst>
              <a:gd name="connsiteX0" fmla="*/ 67988 w 91122"/>
              <a:gd name="connsiteY0" fmla="*/ 136506 h 166584"/>
              <a:gd name="connsiteX1" fmla="*/ 62204 w 91122"/>
              <a:gd name="connsiteY1" fmla="*/ 122740 h 166584"/>
              <a:gd name="connsiteX2" fmla="*/ 69087 w 91122"/>
              <a:gd name="connsiteY2" fmla="*/ 107989 h 166584"/>
              <a:gd name="connsiteX3" fmla="*/ 61221 w 91122"/>
              <a:gd name="connsiteY3" fmla="*/ 93239 h 166584"/>
              <a:gd name="connsiteX4" fmla="*/ 68104 w 91122"/>
              <a:gd name="connsiteY4" fmla="*/ 82422 h 166584"/>
              <a:gd name="connsiteX5" fmla="*/ 72963 w 91122"/>
              <a:gd name="connsiteY5" fmla="*/ 63738 h 166584"/>
              <a:gd name="connsiteX6" fmla="*/ 70996 w 91122"/>
              <a:gd name="connsiteY6" fmla="*/ 38229 h 166584"/>
              <a:gd name="connsiteX7" fmla="*/ 88697 w 91122"/>
              <a:gd name="connsiteY7" fmla="*/ 22495 h 166584"/>
              <a:gd name="connsiteX8" fmla="*/ 81871 w 91122"/>
              <a:gd name="connsiteY8" fmla="*/ 11679 h 166584"/>
              <a:gd name="connsiteX9" fmla="*/ 65154 w 91122"/>
              <a:gd name="connsiteY9" fmla="*/ 8786 h 166584"/>
              <a:gd name="connsiteX10" fmla="*/ 54337 w 91122"/>
              <a:gd name="connsiteY10" fmla="*/ 8786 h 166584"/>
              <a:gd name="connsiteX11" fmla="*/ 37620 w 91122"/>
              <a:gd name="connsiteY11" fmla="*/ 4795 h 166584"/>
              <a:gd name="connsiteX12" fmla="*/ 27787 w 91122"/>
              <a:gd name="connsiteY12" fmla="*/ 3812 h 166584"/>
              <a:gd name="connsiteX13" fmla="*/ 20556 w 91122"/>
              <a:gd name="connsiteY13" fmla="*/ 6878 h 166584"/>
              <a:gd name="connsiteX14" fmla="*/ 21250 w 91122"/>
              <a:gd name="connsiteY14" fmla="*/ 25445 h 166584"/>
              <a:gd name="connsiteX15" fmla="*/ 4302 w 91122"/>
              <a:gd name="connsiteY15" fmla="*/ 90867 h 166584"/>
              <a:gd name="connsiteX16" fmla="*/ 14772 w 91122"/>
              <a:gd name="connsiteY16" fmla="*/ 114699 h 166584"/>
              <a:gd name="connsiteX17" fmla="*/ 18416 w 91122"/>
              <a:gd name="connsiteY17" fmla="*/ 160975 h 166584"/>
              <a:gd name="connsiteX18" fmla="*/ 39413 w 91122"/>
              <a:gd name="connsiteY18" fmla="*/ 166238 h 166584"/>
              <a:gd name="connsiteX19" fmla="*/ 61221 w 91122"/>
              <a:gd name="connsiteY19" fmla="*/ 161900 h 166584"/>
              <a:gd name="connsiteX20" fmla="*/ 57287 w 91122"/>
              <a:gd name="connsiteY20" fmla="*/ 152992 h 166584"/>
              <a:gd name="connsiteX21" fmla="*/ 67988 w 91122"/>
              <a:gd name="connsiteY21" fmla="*/ 136506 h 166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122" h="166584">
                <a:moveTo>
                  <a:pt x="67988" y="136506"/>
                </a:moveTo>
                <a:cubicBezTo>
                  <a:pt x="78805" y="134540"/>
                  <a:pt x="65038" y="125690"/>
                  <a:pt x="62204" y="122740"/>
                </a:cubicBezTo>
                <a:cubicBezTo>
                  <a:pt x="59370" y="119790"/>
                  <a:pt x="63187" y="107989"/>
                  <a:pt x="69087" y="107989"/>
                </a:cubicBezTo>
                <a:cubicBezTo>
                  <a:pt x="74988" y="107989"/>
                  <a:pt x="69087" y="101106"/>
                  <a:pt x="61221" y="93239"/>
                </a:cubicBezTo>
                <a:cubicBezTo>
                  <a:pt x="53354" y="85372"/>
                  <a:pt x="61221" y="82422"/>
                  <a:pt x="68104" y="82422"/>
                </a:cubicBezTo>
                <a:cubicBezTo>
                  <a:pt x="74988" y="82422"/>
                  <a:pt x="66137" y="70853"/>
                  <a:pt x="72963" y="63738"/>
                </a:cubicBezTo>
                <a:cubicBezTo>
                  <a:pt x="79789" y="56623"/>
                  <a:pt x="70996" y="44129"/>
                  <a:pt x="70996" y="38229"/>
                </a:cubicBezTo>
                <a:cubicBezTo>
                  <a:pt x="70996" y="32329"/>
                  <a:pt x="80830" y="30362"/>
                  <a:pt x="88697" y="22495"/>
                </a:cubicBezTo>
                <a:cubicBezTo>
                  <a:pt x="96564" y="14629"/>
                  <a:pt x="81871" y="17579"/>
                  <a:pt x="81871" y="11679"/>
                </a:cubicBezTo>
                <a:cubicBezTo>
                  <a:pt x="81871" y="5778"/>
                  <a:pt x="71980" y="3812"/>
                  <a:pt x="65154" y="8786"/>
                </a:cubicBezTo>
                <a:cubicBezTo>
                  <a:pt x="58329" y="13761"/>
                  <a:pt x="60237" y="8786"/>
                  <a:pt x="54337" y="8786"/>
                </a:cubicBezTo>
                <a:cubicBezTo>
                  <a:pt x="48437" y="8786"/>
                  <a:pt x="37620" y="10695"/>
                  <a:pt x="37620" y="4795"/>
                </a:cubicBezTo>
                <a:cubicBezTo>
                  <a:pt x="37620" y="-1105"/>
                  <a:pt x="32703" y="-2031"/>
                  <a:pt x="27787" y="3812"/>
                </a:cubicBezTo>
                <a:cubicBezTo>
                  <a:pt x="25860" y="5726"/>
                  <a:pt x="23269" y="6825"/>
                  <a:pt x="20556" y="6878"/>
                </a:cubicBezTo>
                <a:cubicBezTo>
                  <a:pt x="19804" y="14629"/>
                  <a:pt x="18994" y="21801"/>
                  <a:pt x="21250" y="25445"/>
                </a:cubicBezTo>
                <a:cubicBezTo>
                  <a:pt x="26514" y="33891"/>
                  <a:pt x="14772" y="78720"/>
                  <a:pt x="4302" y="90867"/>
                </a:cubicBezTo>
                <a:cubicBezTo>
                  <a:pt x="-6168" y="103015"/>
                  <a:pt x="3897" y="106196"/>
                  <a:pt x="14772" y="114699"/>
                </a:cubicBezTo>
                <a:cubicBezTo>
                  <a:pt x="25646" y="123202"/>
                  <a:pt x="18416" y="153860"/>
                  <a:pt x="18416" y="160975"/>
                </a:cubicBezTo>
                <a:cubicBezTo>
                  <a:pt x="18416" y="168090"/>
                  <a:pt x="28134" y="166238"/>
                  <a:pt x="39413" y="166238"/>
                </a:cubicBezTo>
                <a:cubicBezTo>
                  <a:pt x="46783" y="165371"/>
                  <a:pt x="54077" y="163919"/>
                  <a:pt x="61221" y="161900"/>
                </a:cubicBezTo>
                <a:cubicBezTo>
                  <a:pt x="59196" y="159297"/>
                  <a:pt x="57848" y="156237"/>
                  <a:pt x="57287" y="152992"/>
                </a:cubicBezTo>
                <a:cubicBezTo>
                  <a:pt x="57461" y="147323"/>
                  <a:pt x="57461" y="138473"/>
                  <a:pt x="67988" y="13650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2" name="Forma libre: forma 141">
            <a:extLst>
              <a:ext uri="{FF2B5EF4-FFF2-40B4-BE49-F238E27FC236}">
                <a16:creationId xmlns:a16="http://schemas.microsoft.com/office/drawing/2014/main" id="{5C8133AC-7B52-1233-A431-F08E794F4666}"/>
              </a:ext>
            </a:extLst>
          </p:cNvPr>
          <p:cNvSpPr/>
          <p:nvPr/>
        </p:nvSpPr>
        <p:spPr>
          <a:xfrm>
            <a:off x="6275069" y="2848851"/>
            <a:ext cx="112090" cy="95963"/>
          </a:xfrm>
          <a:custGeom>
            <a:avLst/>
            <a:gdLst>
              <a:gd name="connsiteX0" fmla="*/ 35927 w 112090"/>
              <a:gd name="connsiteY0" fmla="*/ 74606 h 95963"/>
              <a:gd name="connsiteX1" fmla="*/ 54438 w 112090"/>
              <a:gd name="connsiteY1" fmla="*/ 77093 h 95963"/>
              <a:gd name="connsiteX2" fmla="*/ 74162 w 112090"/>
              <a:gd name="connsiteY2" fmla="*/ 90629 h 95963"/>
              <a:gd name="connsiteX3" fmla="*/ 79947 w 112090"/>
              <a:gd name="connsiteY3" fmla="*/ 95835 h 95963"/>
              <a:gd name="connsiteX4" fmla="*/ 83128 w 112090"/>
              <a:gd name="connsiteY4" fmla="*/ 74895 h 95963"/>
              <a:gd name="connsiteX5" fmla="*/ 84748 w 112090"/>
              <a:gd name="connsiteY5" fmla="*/ 61996 h 95963"/>
              <a:gd name="connsiteX6" fmla="*/ 100019 w 112090"/>
              <a:gd name="connsiteY6" fmla="*/ 54707 h 95963"/>
              <a:gd name="connsiteX7" fmla="*/ 105803 w 112090"/>
              <a:gd name="connsiteY7" fmla="*/ 45799 h 95963"/>
              <a:gd name="connsiteX8" fmla="*/ 96895 w 112090"/>
              <a:gd name="connsiteY8" fmla="*/ 31223 h 95963"/>
              <a:gd name="connsiteX9" fmla="*/ 110605 w 112090"/>
              <a:gd name="connsiteY9" fmla="*/ 18381 h 95963"/>
              <a:gd name="connsiteX10" fmla="*/ 109853 w 112090"/>
              <a:gd name="connsiteY10" fmla="*/ -129 h 95963"/>
              <a:gd name="connsiteX11" fmla="*/ 102911 w 112090"/>
              <a:gd name="connsiteY11" fmla="*/ 2590 h 95963"/>
              <a:gd name="connsiteX12" fmla="*/ 75493 w 112090"/>
              <a:gd name="connsiteY12" fmla="*/ 3399 h 95963"/>
              <a:gd name="connsiteX13" fmla="*/ 63924 w 112090"/>
              <a:gd name="connsiteY13" fmla="*/ 22372 h 95963"/>
              <a:gd name="connsiteX14" fmla="*/ 51025 w 112090"/>
              <a:gd name="connsiteY14" fmla="*/ 23240 h 95963"/>
              <a:gd name="connsiteX15" fmla="*/ 38473 w 112090"/>
              <a:gd name="connsiteY15" fmla="*/ 29661 h 95963"/>
              <a:gd name="connsiteX16" fmla="*/ 25978 w 112090"/>
              <a:gd name="connsiteY16" fmla="*/ 51815 h 95963"/>
              <a:gd name="connsiteX17" fmla="*/ 4171 w 112090"/>
              <a:gd name="connsiteY17" fmla="*/ 77324 h 95963"/>
              <a:gd name="connsiteX18" fmla="*/ -110 w 112090"/>
              <a:gd name="connsiteY18" fmla="*/ 79812 h 95963"/>
              <a:gd name="connsiteX19" fmla="*/ 9608 w 112090"/>
              <a:gd name="connsiteY19" fmla="*/ 83225 h 95963"/>
              <a:gd name="connsiteX20" fmla="*/ 35927 w 112090"/>
              <a:gd name="connsiteY20" fmla="*/ 74606 h 9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2090" h="95963">
                <a:moveTo>
                  <a:pt x="35927" y="74606"/>
                </a:moveTo>
                <a:cubicBezTo>
                  <a:pt x="40844" y="69689"/>
                  <a:pt x="49463" y="72118"/>
                  <a:pt x="54438" y="77093"/>
                </a:cubicBezTo>
                <a:cubicBezTo>
                  <a:pt x="59412" y="82068"/>
                  <a:pt x="66758" y="83225"/>
                  <a:pt x="74162" y="90629"/>
                </a:cubicBezTo>
                <a:cubicBezTo>
                  <a:pt x="75990" y="92468"/>
                  <a:pt x="77922" y="94209"/>
                  <a:pt x="79947" y="95835"/>
                </a:cubicBezTo>
                <a:cubicBezTo>
                  <a:pt x="80219" y="88760"/>
                  <a:pt x="81289" y="81732"/>
                  <a:pt x="83128" y="74895"/>
                </a:cubicBezTo>
                <a:cubicBezTo>
                  <a:pt x="85558" y="69111"/>
                  <a:pt x="80641" y="61996"/>
                  <a:pt x="84748" y="61996"/>
                </a:cubicBezTo>
                <a:cubicBezTo>
                  <a:pt x="88855" y="61996"/>
                  <a:pt x="100019" y="61996"/>
                  <a:pt x="100019" y="54707"/>
                </a:cubicBezTo>
                <a:cubicBezTo>
                  <a:pt x="100019" y="47419"/>
                  <a:pt x="103258" y="49848"/>
                  <a:pt x="105803" y="45799"/>
                </a:cubicBezTo>
                <a:cubicBezTo>
                  <a:pt x="108349" y="41750"/>
                  <a:pt x="98515" y="33652"/>
                  <a:pt x="96895" y="31223"/>
                </a:cubicBezTo>
                <a:cubicBezTo>
                  <a:pt x="95276" y="28793"/>
                  <a:pt x="104184" y="28041"/>
                  <a:pt x="110605" y="18381"/>
                </a:cubicBezTo>
                <a:cubicBezTo>
                  <a:pt x="112976" y="14795"/>
                  <a:pt x="111993" y="7622"/>
                  <a:pt x="109853" y="-129"/>
                </a:cubicBezTo>
                <a:cubicBezTo>
                  <a:pt x="108753" y="2705"/>
                  <a:pt x="106613" y="4788"/>
                  <a:pt x="102911" y="2590"/>
                </a:cubicBezTo>
                <a:cubicBezTo>
                  <a:pt x="97127" y="-997"/>
                  <a:pt x="87640" y="970"/>
                  <a:pt x="75493" y="3399"/>
                </a:cubicBezTo>
                <a:cubicBezTo>
                  <a:pt x="63345" y="5829"/>
                  <a:pt x="59759" y="17513"/>
                  <a:pt x="63924" y="22372"/>
                </a:cubicBezTo>
                <a:cubicBezTo>
                  <a:pt x="68089" y="27231"/>
                  <a:pt x="52355" y="29661"/>
                  <a:pt x="51025" y="23240"/>
                </a:cubicBezTo>
                <a:cubicBezTo>
                  <a:pt x="49694" y="16819"/>
                  <a:pt x="37721" y="21158"/>
                  <a:pt x="38473" y="29661"/>
                </a:cubicBezTo>
                <a:cubicBezTo>
                  <a:pt x="39225" y="38164"/>
                  <a:pt x="25168" y="41230"/>
                  <a:pt x="25978" y="51815"/>
                </a:cubicBezTo>
                <a:cubicBezTo>
                  <a:pt x="26788" y="62401"/>
                  <a:pt x="13079" y="72061"/>
                  <a:pt x="4171" y="77324"/>
                </a:cubicBezTo>
                <a:lnTo>
                  <a:pt x="-110" y="79812"/>
                </a:lnTo>
                <a:cubicBezTo>
                  <a:pt x="2939" y="81437"/>
                  <a:pt x="6213" y="82588"/>
                  <a:pt x="9608" y="83225"/>
                </a:cubicBezTo>
                <a:cubicBezTo>
                  <a:pt x="19054" y="83103"/>
                  <a:pt x="28240" y="80101"/>
                  <a:pt x="35927" y="7460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3" name="Forma libre: forma 142">
            <a:extLst>
              <a:ext uri="{FF2B5EF4-FFF2-40B4-BE49-F238E27FC236}">
                <a16:creationId xmlns:a16="http://schemas.microsoft.com/office/drawing/2014/main" id="{00B8168D-2CA9-B94D-68CC-D6619CC2AF02}"/>
              </a:ext>
            </a:extLst>
          </p:cNvPr>
          <p:cNvSpPr/>
          <p:nvPr/>
        </p:nvSpPr>
        <p:spPr>
          <a:xfrm>
            <a:off x="6347367" y="2970555"/>
            <a:ext cx="18113" cy="25162"/>
          </a:xfrm>
          <a:custGeom>
            <a:avLst/>
            <a:gdLst>
              <a:gd name="connsiteX0" fmla="*/ 9558 w 18113"/>
              <a:gd name="connsiteY0" fmla="*/ -129 h 25162"/>
              <a:gd name="connsiteX1" fmla="*/ -44 w 18113"/>
              <a:gd name="connsiteY1" fmla="*/ 23009 h 25162"/>
              <a:gd name="connsiteX2" fmla="*/ 18004 w 18113"/>
              <a:gd name="connsiteY2" fmla="*/ 25033 h 25162"/>
              <a:gd name="connsiteX3" fmla="*/ 9385 w 18113"/>
              <a:gd name="connsiteY3" fmla="*/ 2416 h 25162"/>
              <a:gd name="connsiteX4" fmla="*/ 9558 w 18113"/>
              <a:gd name="connsiteY4" fmla="*/ -129 h 25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3" h="25162">
                <a:moveTo>
                  <a:pt x="9558" y="-129"/>
                </a:moveTo>
                <a:cubicBezTo>
                  <a:pt x="4179" y="2879"/>
                  <a:pt x="-738" y="9357"/>
                  <a:pt x="-44" y="23009"/>
                </a:cubicBezTo>
                <a:cubicBezTo>
                  <a:pt x="6035" y="22829"/>
                  <a:pt x="12115" y="23506"/>
                  <a:pt x="18004" y="25033"/>
                </a:cubicBezTo>
                <a:cubicBezTo>
                  <a:pt x="17541" y="16785"/>
                  <a:pt x="14527" y="8883"/>
                  <a:pt x="9385" y="2416"/>
                </a:cubicBezTo>
                <a:cubicBezTo>
                  <a:pt x="8997" y="1595"/>
                  <a:pt x="9061" y="629"/>
                  <a:pt x="9558" y="-12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4" name="Forma libre: forma 143">
            <a:extLst>
              <a:ext uri="{FF2B5EF4-FFF2-40B4-BE49-F238E27FC236}">
                <a16:creationId xmlns:a16="http://schemas.microsoft.com/office/drawing/2014/main" id="{60C05F69-3246-16D6-7844-89C3D91574A1}"/>
              </a:ext>
            </a:extLst>
          </p:cNvPr>
          <p:cNvSpPr/>
          <p:nvPr/>
        </p:nvSpPr>
        <p:spPr>
          <a:xfrm>
            <a:off x="6257485" y="2921204"/>
            <a:ext cx="105213" cy="73223"/>
          </a:xfrm>
          <a:custGeom>
            <a:avLst/>
            <a:gdLst>
              <a:gd name="connsiteX0" fmla="*/ 3303 w 105213"/>
              <a:gd name="connsiteY0" fmla="*/ 18854 h 73223"/>
              <a:gd name="connsiteX1" fmla="*/ 12963 w 105213"/>
              <a:gd name="connsiteY1" fmla="*/ 29208 h 73223"/>
              <a:gd name="connsiteX2" fmla="*/ 26904 w 105213"/>
              <a:gd name="connsiteY2" fmla="*/ 37653 h 73223"/>
              <a:gd name="connsiteX3" fmla="*/ 43852 w 105213"/>
              <a:gd name="connsiteY3" fmla="*/ 47949 h 73223"/>
              <a:gd name="connsiteX4" fmla="*/ 51777 w 105213"/>
              <a:gd name="connsiteY4" fmla="*/ 57031 h 73223"/>
              <a:gd name="connsiteX5" fmla="*/ 63866 w 105213"/>
              <a:gd name="connsiteY5" fmla="*/ 51246 h 73223"/>
              <a:gd name="connsiteX6" fmla="*/ 71733 w 105213"/>
              <a:gd name="connsiteY6" fmla="*/ 63972 h 73223"/>
              <a:gd name="connsiteX7" fmla="*/ 85674 w 105213"/>
              <a:gd name="connsiteY7" fmla="*/ 72996 h 73223"/>
              <a:gd name="connsiteX8" fmla="*/ 90012 w 105213"/>
              <a:gd name="connsiteY8" fmla="*/ 72649 h 73223"/>
              <a:gd name="connsiteX9" fmla="*/ 99614 w 105213"/>
              <a:gd name="connsiteY9" fmla="*/ 49511 h 73223"/>
              <a:gd name="connsiteX10" fmla="*/ 105052 w 105213"/>
              <a:gd name="connsiteY10" fmla="*/ 41587 h 73223"/>
              <a:gd name="connsiteX11" fmla="*/ 97821 w 105213"/>
              <a:gd name="connsiteY11" fmla="*/ 24638 h 73223"/>
              <a:gd name="connsiteX12" fmla="*/ 97821 w 105213"/>
              <a:gd name="connsiteY12" fmla="*/ 23770 h 73223"/>
              <a:gd name="connsiteX13" fmla="*/ 92037 w 105213"/>
              <a:gd name="connsiteY13" fmla="*/ 18564 h 73223"/>
              <a:gd name="connsiteX14" fmla="*/ 72312 w 105213"/>
              <a:gd name="connsiteY14" fmla="*/ 5029 h 73223"/>
              <a:gd name="connsiteX15" fmla="*/ 53801 w 105213"/>
              <a:gd name="connsiteY15" fmla="*/ 2542 h 73223"/>
              <a:gd name="connsiteX16" fmla="*/ 27829 w 105213"/>
              <a:gd name="connsiteY16" fmla="*/ 11160 h 73223"/>
              <a:gd name="connsiteX17" fmla="*/ 18112 w 105213"/>
              <a:gd name="connsiteY17" fmla="*/ 7748 h 73223"/>
              <a:gd name="connsiteX18" fmla="*/ -110 w 105213"/>
              <a:gd name="connsiteY18" fmla="*/ 15557 h 73223"/>
              <a:gd name="connsiteX19" fmla="*/ 3303 w 105213"/>
              <a:gd name="connsiteY19" fmla="*/ 18854 h 7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5213" h="73223">
                <a:moveTo>
                  <a:pt x="3303" y="18854"/>
                </a:moveTo>
                <a:cubicBezTo>
                  <a:pt x="3882" y="23134"/>
                  <a:pt x="10592" y="33373"/>
                  <a:pt x="12963" y="29208"/>
                </a:cubicBezTo>
                <a:cubicBezTo>
                  <a:pt x="15335" y="25043"/>
                  <a:pt x="21467" y="34645"/>
                  <a:pt x="26904" y="37653"/>
                </a:cubicBezTo>
                <a:cubicBezTo>
                  <a:pt x="32341" y="40661"/>
                  <a:pt x="43274" y="44305"/>
                  <a:pt x="43852" y="47949"/>
                </a:cubicBezTo>
                <a:cubicBezTo>
                  <a:pt x="44431" y="51594"/>
                  <a:pt x="46282" y="59518"/>
                  <a:pt x="51777" y="57031"/>
                </a:cubicBezTo>
                <a:cubicBezTo>
                  <a:pt x="57272" y="54544"/>
                  <a:pt x="63866" y="46156"/>
                  <a:pt x="63866" y="51246"/>
                </a:cubicBezTo>
                <a:cubicBezTo>
                  <a:pt x="63866" y="56337"/>
                  <a:pt x="65660" y="65187"/>
                  <a:pt x="71733" y="63972"/>
                </a:cubicBezTo>
                <a:cubicBezTo>
                  <a:pt x="77807" y="62758"/>
                  <a:pt x="79600" y="74269"/>
                  <a:pt x="85674" y="72996"/>
                </a:cubicBezTo>
                <a:cubicBezTo>
                  <a:pt x="87108" y="72770"/>
                  <a:pt x="88560" y="72649"/>
                  <a:pt x="90012" y="72649"/>
                </a:cubicBezTo>
                <a:cubicBezTo>
                  <a:pt x="89318" y="58940"/>
                  <a:pt x="94234" y="52461"/>
                  <a:pt x="99614" y="49511"/>
                </a:cubicBezTo>
                <a:cubicBezTo>
                  <a:pt x="100829" y="47082"/>
                  <a:pt x="104473" y="44537"/>
                  <a:pt x="105052" y="41587"/>
                </a:cubicBezTo>
                <a:cubicBezTo>
                  <a:pt x="105861" y="37537"/>
                  <a:pt x="97011" y="29497"/>
                  <a:pt x="97821" y="24638"/>
                </a:cubicBezTo>
                <a:cubicBezTo>
                  <a:pt x="97821" y="24349"/>
                  <a:pt x="97821" y="24060"/>
                  <a:pt x="97821" y="23770"/>
                </a:cubicBezTo>
                <a:cubicBezTo>
                  <a:pt x="95796" y="22145"/>
                  <a:pt x="93864" y="20404"/>
                  <a:pt x="92037" y="18564"/>
                </a:cubicBezTo>
                <a:cubicBezTo>
                  <a:pt x="84632" y="11160"/>
                  <a:pt x="77229" y="9946"/>
                  <a:pt x="72312" y="5029"/>
                </a:cubicBezTo>
                <a:cubicBezTo>
                  <a:pt x="67395" y="112"/>
                  <a:pt x="58718" y="-2375"/>
                  <a:pt x="53801" y="2542"/>
                </a:cubicBezTo>
                <a:cubicBezTo>
                  <a:pt x="46213" y="7967"/>
                  <a:pt x="37160" y="10970"/>
                  <a:pt x="27829" y="11160"/>
                </a:cubicBezTo>
                <a:cubicBezTo>
                  <a:pt x="24434" y="10524"/>
                  <a:pt x="21160" y="9373"/>
                  <a:pt x="18112" y="7748"/>
                </a:cubicBezTo>
                <a:cubicBezTo>
                  <a:pt x="12489" y="11299"/>
                  <a:pt x="6340" y="13937"/>
                  <a:pt x="-110" y="15557"/>
                </a:cubicBezTo>
                <a:cubicBezTo>
                  <a:pt x="816" y="16945"/>
                  <a:pt x="2725" y="16077"/>
                  <a:pt x="3303" y="1885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5" name="Forma libre: forma 144">
            <a:extLst>
              <a:ext uri="{FF2B5EF4-FFF2-40B4-BE49-F238E27FC236}">
                <a16:creationId xmlns:a16="http://schemas.microsoft.com/office/drawing/2014/main" id="{26E37839-85F7-97B7-2D2F-B62B3A1CA0F9}"/>
              </a:ext>
            </a:extLst>
          </p:cNvPr>
          <p:cNvSpPr/>
          <p:nvPr/>
        </p:nvSpPr>
        <p:spPr>
          <a:xfrm>
            <a:off x="6739188" y="3032333"/>
            <a:ext cx="245828" cy="160055"/>
          </a:xfrm>
          <a:custGeom>
            <a:avLst/>
            <a:gdLst>
              <a:gd name="connsiteX0" fmla="*/ 220821 w 245828"/>
              <a:gd name="connsiteY0" fmla="*/ 107056 h 160055"/>
              <a:gd name="connsiteX1" fmla="*/ 210351 w 245828"/>
              <a:gd name="connsiteY1" fmla="*/ 100578 h 160055"/>
              <a:gd name="connsiteX2" fmla="*/ 211103 w 245828"/>
              <a:gd name="connsiteY2" fmla="*/ 99710 h 160055"/>
              <a:gd name="connsiteX3" fmla="*/ 206360 w 245828"/>
              <a:gd name="connsiteY3" fmla="*/ 68879 h 160055"/>
              <a:gd name="connsiteX4" fmla="*/ 189007 w 245828"/>
              <a:gd name="connsiteY4" fmla="*/ 30644 h 160055"/>
              <a:gd name="connsiteX5" fmla="*/ 171018 w 245828"/>
              <a:gd name="connsiteY5" fmla="*/ -129 h 160055"/>
              <a:gd name="connsiteX6" fmla="*/ 157771 w 245828"/>
              <a:gd name="connsiteY6" fmla="*/ 6118 h 160055"/>
              <a:gd name="connsiteX7" fmla="*/ 142442 w 245828"/>
              <a:gd name="connsiteY7" fmla="*/ 14216 h 160055"/>
              <a:gd name="connsiteX8" fmla="*/ 128733 w 245828"/>
              <a:gd name="connsiteY8" fmla="*/ 15778 h 160055"/>
              <a:gd name="connsiteX9" fmla="*/ 116586 w 245828"/>
              <a:gd name="connsiteY9" fmla="*/ 19017 h 160055"/>
              <a:gd name="connsiteX10" fmla="*/ 100447 w 245828"/>
              <a:gd name="connsiteY10" fmla="*/ 14216 h 160055"/>
              <a:gd name="connsiteX11" fmla="*/ 72971 w 245828"/>
              <a:gd name="connsiteY11" fmla="*/ 9300 h 160055"/>
              <a:gd name="connsiteX12" fmla="*/ 62502 w 245828"/>
              <a:gd name="connsiteY12" fmla="*/ 10225 h 160055"/>
              <a:gd name="connsiteX13" fmla="*/ 59841 w 245828"/>
              <a:gd name="connsiteY13" fmla="*/ 16010 h 160055"/>
              <a:gd name="connsiteX14" fmla="*/ 41677 w 245828"/>
              <a:gd name="connsiteY14" fmla="*/ 27578 h 160055"/>
              <a:gd name="connsiteX15" fmla="*/ 16862 w 245828"/>
              <a:gd name="connsiteY15" fmla="*/ 68764 h 160055"/>
              <a:gd name="connsiteX16" fmla="*/ -86 w 245828"/>
              <a:gd name="connsiteY16" fmla="*/ 81489 h 160055"/>
              <a:gd name="connsiteX17" fmla="*/ 9574 w 245828"/>
              <a:gd name="connsiteY17" fmla="*/ 97223 h 160055"/>
              <a:gd name="connsiteX18" fmla="*/ 17267 w 245828"/>
              <a:gd name="connsiteY18" fmla="*/ 106894 h 160055"/>
              <a:gd name="connsiteX19" fmla="*/ 18656 w 245828"/>
              <a:gd name="connsiteY19" fmla="*/ 106941 h 160055"/>
              <a:gd name="connsiteX20" fmla="*/ 22300 w 245828"/>
              <a:gd name="connsiteY20" fmla="*/ 123889 h 160055"/>
              <a:gd name="connsiteX21" fmla="*/ 52610 w 245828"/>
              <a:gd name="connsiteY21" fmla="*/ 132971 h 160055"/>
              <a:gd name="connsiteX22" fmla="*/ 54230 w 245828"/>
              <a:gd name="connsiteY22" fmla="*/ 144944 h 160055"/>
              <a:gd name="connsiteX23" fmla="*/ 69790 w 245828"/>
              <a:gd name="connsiteY23" fmla="*/ 155414 h 160055"/>
              <a:gd name="connsiteX24" fmla="*/ 98712 w 245828"/>
              <a:gd name="connsiteY24" fmla="*/ 158653 h 160055"/>
              <a:gd name="connsiteX25" fmla="*/ 127634 w 245828"/>
              <a:gd name="connsiteY25" fmla="*/ 159405 h 160055"/>
              <a:gd name="connsiteX26" fmla="*/ 147012 w 245828"/>
              <a:gd name="connsiteY26" fmla="*/ 151365 h 160055"/>
              <a:gd name="connsiteX27" fmla="*/ 179347 w 245828"/>
              <a:gd name="connsiteY27" fmla="*/ 145581 h 160055"/>
              <a:gd name="connsiteX28" fmla="*/ 201096 w 245828"/>
              <a:gd name="connsiteY28" fmla="*/ 152059 h 160055"/>
              <a:gd name="connsiteX29" fmla="*/ 217698 w 245828"/>
              <a:gd name="connsiteY29" fmla="*/ 159926 h 160055"/>
              <a:gd name="connsiteX30" fmla="*/ 217698 w 245828"/>
              <a:gd name="connsiteY30" fmla="*/ 145581 h 160055"/>
              <a:gd name="connsiteX31" fmla="*/ 231465 w 245828"/>
              <a:gd name="connsiteY31" fmla="*/ 123369 h 160055"/>
              <a:gd name="connsiteX32" fmla="*/ 245579 w 245828"/>
              <a:gd name="connsiteY32" fmla="*/ 108445 h 160055"/>
              <a:gd name="connsiteX33" fmla="*/ 245579 w 245828"/>
              <a:gd name="connsiteY33" fmla="*/ 107172 h 160055"/>
              <a:gd name="connsiteX34" fmla="*/ 235977 w 245828"/>
              <a:gd name="connsiteY34" fmla="*/ 100347 h 160055"/>
              <a:gd name="connsiteX35" fmla="*/ 220821 w 245828"/>
              <a:gd name="connsiteY35" fmla="*/ 107056 h 16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828" h="160055">
                <a:moveTo>
                  <a:pt x="220821" y="107056"/>
                </a:moveTo>
                <a:cubicBezTo>
                  <a:pt x="215037" y="106247"/>
                  <a:pt x="207922" y="103817"/>
                  <a:pt x="210351" y="100578"/>
                </a:cubicBezTo>
                <a:lnTo>
                  <a:pt x="211103" y="99710"/>
                </a:lnTo>
                <a:cubicBezTo>
                  <a:pt x="203526" y="93521"/>
                  <a:pt x="201560" y="73738"/>
                  <a:pt x="206360" y="68879"/>
                </a:cubicBezTo>
                <a:cubicBezTo>
                  <a:pt x="212491" y="62690"/>
                  <a:pt x="196469" y="39263"/>
                  <a:pt x="189007" y="30644"/>
                </a:cubicBezTo>
                <a:cubicBezTo>
                  <a:pt x="182297" y="20805"/>
                  <a:pt x="176339" y="10520"/>
                  <a:pt x="171018" y="-129"/>
                </a:cubicBezTo>
                <a:cubicBezTo>
                  <a:pt x="166159" y="918"/>
                  <a:pt x="161647" y="3058"/>
                  <a:pt x="157771" y="6118"/>
                </a:cubicBezTo>
                <a:cubicBezTo>
                  <a:pt x="153953" y="10780"/>
                  <a:pt x="148458" y="13707"/>
                  <a:pt x="142442" y="14216"/>
                </a:cubicBezTo>
                <a:cubicBezTo>
                  <a:pt x="137641" y="14216"/>
                  <a:pt x="132783" y="11787"/>
                  <a:pt x="128733" y="15778"/>
                </a:cubicBezTo>
                <a:cubicBezTo>
                  <a:pt x="124684" y="19769"/>
                  <a:pt x="119016" y="21563"/>
                  <a:pt x="116586" y="19017"/>
                </a:cubicBezTo>
                <a:cubicBezTo>
                  <a:pt x="111785" y="15877"/>
                  <a:pt x="106174" y="14205"/>
                  <a:pt x="100447" y="14216"/>
                </a:cubicBezTo>
                <a:cubicBezTo>
                  <a:pt x="94663" y="14216"/>
                  <a:pt x="77021" y="9300"/>
                  <a:pt x="72971" y="9300"/>
                </a:cubicBezTo>
                <a:cubicBezTo>
                  <a:pt x="69443" y="9398"/>
                  <a:pt x="65972" y="9704"/>
                  <a:pt x="62502" y="10225"/>
                </a:cubicBezTo>
                <a:cubicBezTo>
                  <a:pt x="63369" y="11960"/>
                  <a:pt x="62502" y="14043"/>
                  <a:pt x="59841" y="16010"/>
                </a:cubicBezTo>
                <a:cubicBezTo>
                  <a:pt x="55039" y="19654"/>
                  <a:pt x="45322" y="25091"/>
                  <a:pt x="41677" y="27578"/>
                </a:cubicBezTo>
                <a:cubicBezTo>
                  <a:pt x="38034" y="30066"/>
                  <a:pt x="25308" y="60318"/>
                  <a:pt x="16862" y="68764"/>
                </a:cubicBezTo>
                <a:cubicBezTo>
                  <a:pt x="8417" y="77209"/>
                  <a:pt x="492" y="78481"/>
                  <a:pt x="-86" y="81489"/>
                </a:cubicBezTo>
                <a:cubicBezTo>
                  <a:pt x="-664" y="84497"/>
                  <a:pt x="9574" y="92364"/>
                  <a:pt x="9574" y="97223"/>
                </a:cubicBezTo>
                <a:cubicBezTo>
                  <a:pt x="9054" y="102018"/>
                  <a:pt x="12466" y="106345"/>
                  <a:pt x="17267" y="106894"/>
                </a:cubicBezTo>
                <a:cubicBezTo>
                  <a:pt x="17730" y="106946"/>
                  <a:pt x="18193" y="106964"/>
                  <a:pt x="18656" y="106941"/>
                </a:cubicBezTo>
                <a:cubicBezTo>
                  <a:pt x="25308" y="106941"/>
                  <a:pt x="18077" y="122674"/>
                  <a:pt x="22300" y="123889"/>
                </a:cubicBezTo>
                <a:cubicBezTo>
                  <a:pt x="26522" y="125104"/>
                  <a:pt x="52610" y="126897"/>
                  <a:pt x="52610" y="132971"/>
                </a:cubicBezTo>
                <a:cubicBezTo>
                  <a:pt x="52610" y="137714"/>
                  <a:pt x="55444" y="141647"/>
                  <a:pt x="54230" y="144944"/>
                </a:cubicBezTo>
                <a:cubicBezTo>
                  <a:pt x="61518" y="146159"/>
                  <a:pt x="66898" y="156108"/>
                  <a:pt x="69790" y="155414"/>
                </a:cubicBezTo>
                <a:cubicBezTo>
                  <a:pt x="72682" y="154720"/>
                  <a:pt x="94779" y="159405"/>
                  <a:pt x="98712" y="158653"/>
                </a:cubicBezTo>
                <a:cubicBezTo>
                  <a:pt x="108372" y="158162"/>
                  <a:pt x="118032" y="158411"/>
                  <a:pt x="127634" y="159405"/>
                </a:cubicBezTo>
                <a:cubicBezTo>
                  <a:pt x="134981" y="159770"/>
                  <a:pt x="142095" y="156820"/>
                  <a:pt x="147012" y="151365"/>
                </a:cubicBezTo>
                <a:cubicBezTo>
                  <a:pt x="152796" y="145581"/>
                  <a:pt x="172868" y="144887"/>
                  <a:pt x="179347" y="145581"/>
                </a:cubicBezTo>
                <a:cubicBezTo>
                  <a:pt x="185825" y="146275"/>
                  <a:pt x="198725" y="148010"/>
                  <a:pt x="201096" y="152059"/>
                </a:cubicBezTo>
                <a:cubicBezTo>
                  <a:pt x="206071" y="155750"/>
                  <a:pt x="211682" y="158422"/>
                  <a:pt x="217698" y="159926"/>
                </a:cubicBezTo>
                <a:cubicBezTo>
                  <a:pt x="218045" y="155148"/>
                  <a:pt x="218045" y="150359"/>
                  <a:pt x="217698" y="145581"/>
                </a:cubicBezTo>
                <a:cubicBezTo>
                  <a:pt x="218161" y="137078"/>
                  <a:pt x="222962" y="124178"/>
                  <a:pt x="231465" y="123369"/>
                </a:cubicBezTo>
                <a:cubicBezTo>
                  <a:pt x="239968" y="122559"/>
                  <a:pt x="246793" y="122559"/>
                  <a:pt x="245579" y="108445"/>
                </a:cubicBezTo>
                <a:cubicBezTo>
                  <a:pt x="245637" y="108022"/>
                  <a:pt x="245637" y="107594"/>
                  <a:pt x="245579" y="107172"/>
                </a:cubicBezTo>
                <a:cubicBezTo>
                  <a:pt x="242803" y="104332"/>
                  <a:pt x="239563" y="102024"/>
                  <a:pt x="235977" y="100347"/>
                </a:cubicBezTo>
                <a:cubicBezTo>
                  <a:pt x="233084" y="100578"/>
                  <a:pt x="223251" y="107404"/>
                  <a:pt x="220821" y="10705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6" name="Forma libre: forma 145">
            <a:extLst>
              <a:ext uri="{FF2B5EF4-FFF2-40B4-BE49-F238E27FC236}">
                <a16:creationId xmlns:a16="http://schemas.microsoft.com/office/drawing/2014/main" id="{E3013194-AFB0-6E6F-5098-F15A9282749F}"/>
              </a:ext>
            </a:extLst>
          </p:cNvPr>
          <p:cNvSpPr/>
          <p:nvPr/>
        </p:nvSpPr>
        <p:spPr>
          <a:xfrm>
            <a:off x="6910373" y="3027206"/>
            <a:ext cx="84568" cy="104966"/>
          </a:xfrm>
          <a:custGeom>
            <a:avLst/>
            <a:gdLst>
              <a:gd name="connsiteX0" fmla="*/ 60974 w 84568"/>
              <a:gd name="connsiteY0" fmla="*/ 26574 h 104966"/>
              <a:gd name="connsiteX1" fmla="*/ 41596 w 84568"/>
              <a:gd name="connsiteY1" fmla="*/ 11997 h 104966"/>
              <a:gd name="connsiteX2" fmla="*/ 19789 w 84568"/>
              <a:gd name="connsiteY2" fmla="*/ -92 h 104966"/>
              <a:gd name="connsiteX3" fmla="*/ -110 w 84568"/>
              <a:gd name="connsiteY3" fmla="*/ 4998 h 104966"/>
              <a:gd name="connsiteX4" fmla="*/ 17880 w 84568"/>
              <a:gd name="connsiteY4" fmla="*/ 35771 h 104966"/>
              <a:gd name="connsiteX5" fmla="*/ 35233 w 84568"/>
              <a:gd name="connsiteY5" fmla="*/ 74006 h 104966"/>
              <a:gd name="connsiteX6" fmla="*/ 39976 w 84568"/>
              <a:gd name="connsiteY6" fmla="*/ 104837 h 104966"/>
              <a:gd name="connsiteX7" fmla="*/ 55363 w 84568"/>
              <a:gd name="connsiteY7" fmla="*/ 80658 h 104966"/>
              <a:gd name="connsiteX8" fmla="*/ 65833 w 84568"/>
              <a:gd name="connsiteY8" fmla="*/ 68569 h 104966"/>
              <a:gd name="connsiteX9" fmla="*/ 84459 w 84568"/>
              <a:gd name="connsiteY9" fmla="*/ 71808 h 104966"/>
              <a:gd name="connsiteX10" fmla="*/ 77980 w 84568"/>
              <a:gd name="connsiteY10" fmla="*/ 54050 h 104966"/>
              <a:gd name="connsiteX11" fmla="*/ 60974 w 84568"/>
              <a:gd name="connsiteY11" fmla="*/ 26574 h 10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68" h="104966">
                <a:moveTo>
                  <a:pt x="60974" y="26574"/>
                </a:moveTo>
                <a:cubicBezTo>
                  <a:pt x="58139" y="18181"/>
                  <a:pt x="50446" y="12390"/>
                  <a:pt x="41596" y="11997"/>
                </a:cubicBezTo>
                <a:cubicBezTo>
                  <a:pt x="35812" y="11997"/>
                  <a:pt x="26267" y="-902"/>
                  <a:pt x="19789" y="-92"/>
                </a:cubicBezTo>
                <a:cubicBezTo>
                  <a:pt x="13021" y="1105"/>
                  <a:pt x="6369" y="2806"/>
                  <a:pt x="-110" y="4998"/>
                </a:cubicBezTo>
                <a:cubicBezTo>
                  <a:pt x="5212" y="15647"/>
                  <a:pt x="11170" y="25932"/>
                  <a:pt x="17880" y="35771"/>
                </a:cubicBezTo>
                <a:cubicBezTo>
                  <a:pt x="25284" y="44390"/>
                  <a:pt x="41018" y="67817"/>
                  <a:pt x="35233" y="74006"/>
                </a:cubicBezTo>
                <a:cubicBezTo>
                  <a:pt x="30432" y="78865"/>
                  <a:pt x="32399" y="98648"/>
                  <a:pt x="39976" y="104837"/>
                </a:cubicBezTo>
                <a:cubicBezTo>
                  <a:pt x="43447" y="100210"/>
                  <a:pt x="55363" y="85228"/>
                  <a:pt x="55363" y="80658"/>
                </a:cubicBezTo>
                <a:cubicBezTo>
                  <a:pt x="55363" y="76089"/>
                  <a:pt x="56173" y="66139"/>
                  <a:pt x="65833" y="68569"/>
                </a:cubicBezTo>
                <a:cubicBezTo>
                  <a:pt x="75493" y="70998"/>
                  <a:pt x="84459" y="75047"/>
                  <a:pt x="84459" y="71808"/>
                </a:cubicBezTo>
                <a:cubicBezTo>
                  <a:pt x="83996" y="65399"/>
                  <a:pt x="81740" y="59244"/>
                  <a:pt x="77980" y="54050"/>
                </a:cubicBezTo>
                <a:cubicBezTo>
                  <a:pt x="70576" y="46073"/>
                  <a:pt x="64849" y="36743"/>
                  <a:pt x="60974" y="2657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7" name="Forma libre: forma 146">
            <a:extLst>
              <a:ext uri="{FF2B5EF4-FFF2-40B4-BE49-F238E27FC236}">
                <a16:creationId xmlns:a16="http://schemas.microsoft.com/office/drawing/2014/main" id="{D80EEDD7-F2E8-7AFB-D00C-F973F98F9186}"/>
              </a:ext>
            </a:extLst>
          </p:cNvPr>
          <p:cNvSpPr/>
          <p:nvPr/>
        </p:nvSpPr>
        <p:spPr>
          <a:xfrm>
            <a:off x="6787296" y="3177638"/>
            <a:ext cx="170393" cy="93244"/>
          </a:xfrm>
          <a:custGeom>
            <a:avLst/>
            <a:gdLst>
              <a:gd name="connsiteX0" fmla="*/ 131587 w 170393"/>
              <a:gd name="connsiteY0" fmla="*/ 507 h 93244"/>
              <a:gd name="connsiteX1" fmla="*/ 99252 w 170393"/>
              <a:gd name="connsiteY1" fmla="*/ 6292 h 93244"/>
              <a:gd name="connsiteX2" fmla="*/ 79874 w 170393"/>
              <a:gd name="connsiteY2" fmla="*/ 14332 h 93244"/>
              <a:gd name="connsiteX3" fmla="*/ 50952 w 170393"/>
              <a:gd name="connsiteY3" fmla="*/ 13580 h 93244"/>
              <a:gd name="connsiteX4" fmla="*/ 22030 w 170393"/>
              <a:gd name="connsiteY4" fmla="*/ 10341 h 93244"/>
              <a:gd name="connsiteX5" fmla="*/ 6470 w 170393"/>
              <a:gd name="connsiteY5" fmla="*/ -129 h 93244"/>
              <a:gd name="connsiteX6" fmla="*/ 4214 w 170393"/>
              <a:gd name="connsiteY6" fmla="*/ 2416 h 93244"/>
              <a:gd name="connsiteX7" fmla="*/ 2883 w 170393"/>
              <a:gd name="connsiteY7" fmla="*/ 19868 h 93244"/>
              <a:gd name="connsiteX8" fmla="*/ 4214 w 170393"/>
              <a:gd name="connsiteY8" fmla="*/ 21216 h 93244"/>
              <a:gd name="connsiteX9" fmla="*/ 12716 w 170393"/>
              <a:gd name="connsiteY9" fmla="*/ 38569 h 93244"/>
              <a:gd name="connsiteX10" fmla="*/ 3635 w 170393"/>
              <a:gd name="connsiteY10" fmla="*/ 49444 h 93244"/>
              <a:gd name="connsiteX11" fmla="*/ 3635 w 170393"/>
              <a:gd name="connsiteY11" fmla="*/ 62806 h 93244"/>
              <a:gd name="connsiteX12" fmla="*/ 18732 w 170393"/>
              <a:gd name="connsiteY12" fmla="*/ 80159 h 93244"/>
              <a:gd name="connsiteX13" fmla="*/ 24112 w 170393"/>
              <a:gd name="connsiteY13" fmla="*/ 87852 h 93244"/>
              <a:gd name="connsiteX14" fmla="*/ 60785 w 170393"/>
              <a:gd name="connsiteY14" fmla="*/ 88257 h 93244"/>
              <a:gd name="connsiteX15" fmla="*/ 89708 w 170393"/>
              <a:gd name="connsiteY15" fmla="*/ 93116 h 93244"/>
              <a:gd name="connsiteX16" fmla="*/ 100177 w 170393"/>
              <a:gd name="connsiteY16" fmla="*/ 86637 h 93244"/>
              <a:gd name="connsiteX17" fmla="*/ 113308 w 170393"/>
              <a:gd name="connsiteY17" fmla="*/ 80332 h 93244"/>
              <a:gd name="connsiteX18" fmla="*/ 113308 w 170393"/>
              <a:gd name="connsiteY18" fmla="*/ 72928 h 93244"/>
              <a:gd name="connsiteX19" fmla="*/ 141189 w 170393"/>
              <a:gd name="connsiteY19" fmla="*/ 72928 h 93244"/>
              <a:gd name="connsiteX20" fmla="*/ 152237 w 170393"/>
              <a:gd name="connsiteY20" fmla="*/ 70846 h 93244"/>
              <a:gd name="connsiteX21" fmla="*/ 148477 w 170393"/>
              <a:gd name="connsiteY21" fmla="*/ 64425 h 93244"/>
              <a:gd name="connsiteX22" fmla="*/ 142692 w 170393"/>
              <a:gd name="connsiteY22" fmla="*/ 43833 h 93244"/>
              <a:gd name="connsiteX23" fmla="*/ 164500 w 170393"/>
              <a:gd name="connsiteY23" fmla="*/ 20406 h 93244"/>
              <a:gd name="connsiteX24" fmla="*/ 170284 w 170393"/>
              <a:gd name="connsiteY24" fmla="*/ 14621 h 93244"/>
              <a:gd name="connsiteX25" fmla="*/ 153683 w 170393"/>
              <a:gd name="connsiteY25" fmla="*/ 6754 h 93244"/>
              <a:gd name="connsiteX26" fmla="*/ 131587 w 170393"/>
              <a:gd name="connsiteY26" fmla="*/ 507 h 9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393" h="93244">
                <a:moveTo>
                  <a:pt x="131587" y="507"/>
                </a:moveTo>
                <a:cubicBezTo>
                  <a:pt x="125108" y="-303"/>
                  <a:pt x="104921" y="507"/>
                  <a:pt x="99252" y="6292"/>
                </a:cubicBezTo>
                <a:cubicBezTo>
                  <a:pt x="94335" y="11746"/>
                  <a:pt x="87220" y="14696"/>
                  <a:pt x="79874" y="14332"/>
                </a:cubicBezTo>
                <a:cubicBezTo>
                  <a:pt x="70272" y="13337"/>
                  <a:pt x="60612" y="13088"/>
                  <a:pt x="50952" y="13580"/>
                </a:cubicBezTo>
                <a:cubicBezTo>
                  <a:pt x="46903" y="14332"/>
                  <a:pt x="25095" y="9531"/>
                  <a:pt x="22030" y="10341"/>
                </a:cubicBezTo>
                <a:cubicBezTo>
                  <a:pt x="18964" y="11151"/>
                  <a:pt x="13758" y="1086"/>
                  <a:pt x="6470" y="-129"/>
                </a:cubicBezTo>
                <a:cubicBezTo>
                  <a:pt x="6007" y="924"/>
                  <a:pt x="5197" y="1815"/>
                  <a:pt x="4214" y="2416"/>
                </a:cubicBezTo>
                <a:cubicBezTo>
                  <a:pt x="-993" y="6864"/>
                  <a:pt x="-1571" y="14679"/>
                  <a:pt x="2883" y="19868"/>
                </a:cubicBezTo>
                <a:cubicBezTo>
                  <a:pt x="3288" y="20354"/>
                  <a:pt x="3751" y="20805"/>
                  <a:pt x="4214" y="21216"/>
                </a:cubicBezTo>
                <a:cubicBezTo>
                  <a:pt x="9998" y="26653"/>
                  <a:pt x="18154" y="38569"/>
                  <a:pt x="12716" y="38569"/>
                </a:cubicBezTo>
                <a:cubicBezTo>
                  <a:pt x="7395" y="39454"/>
                  <a:pt x="3577" y="44076"/>
                  <a:pt x="3635" y="49444"/>
                </a:cubicBezTo>
                <a:cubicBezTo>
                  <a:pt x="4214" y="53088"/>
                  <a:pt x="1784" y="61012"/>
                  <a:pt x="3635" y="62806"/>
                </a:cubicBezTo>
                <a:cubicBezTo>
                  <a:pt x="5486" y="64599"/>
                  <a:pt x="18154" y="76746"/>
                  <a:pt x="18732" y="80159"/>
                </a:cubicBezTo>
                <a:cubicBezTo>
                  <a:pt x="19311" y="83572"/>
                  <a:pt x="24517" y="85018"/>
                  <a:pt x="24112" y="87852"/>
                </a:cubicBezTo>
                <a:cubicBezTo>
                  <a:pt x="34293" y="87042"/>
                  <a:pt x="55868" y="85828"/>
                  <a:pt x="60785" y="88257"/>
                </a:cubicBezTo>
                <a:cubicBezTo>
                  <a:pt x="67206" y="91496"/>
                  <a:pt x="89708" y="93116"/>
                  <a:pt x="89708" y="93116"/>
                </a:cubicBezTo>
                <a:cubicBezTo>
                  <a:pt x="96128" y="93116"/>
                  <a:pt x="101797" y="90687"/>
                  <a:pt x="100177" y="86637"/>
                </a:cubicBezTo>
                <a:cubicBezTo>
                  <a:pt x="98558" y="82588"/>
                  <a:pt x="107235" y="80853"/>
                  <a:pt x="113308" y="80332"/>
                </a:cubicBezTo>
                <a:cubicBezTo>
                  <a:pt x="112267" y="76630"/>
                  <a:pt x="111515" y="73565"/>
                  <a:pt x="113308" y="72928"/>
                </a:cubicBezTo>
                <a:cubicBezTo>
                  <a:pt x="116316" y="71714"/>
                  <a:pt x="133901" y="69284"/>
                  <a:pt x="141189" y="72928"/>
                </a:cubicBezTo>
                <a:cubicBezTo>
                  <a:pt x="145006" y="74189"/>
                  <a:pt x="149172" y="73403"/>
                  <a:pt x="152237" y="70846"/>
                </a:cubicBezTo>
                <a:cubicBezTo>
                  <a:pt x="151254" y="67433"/>
                  <a:pt x="150328" y="64772"/>
                  <a:pt x="148477" y="64425"/>
                </a:cubicBezTo>
                <a:cubicBezTo>
                  <a:pt x="143966" y="63615"/>
                  <a:pt x="136908" y="45047"/>
                  <a:pt x="142692" y="43833"/>
                </a:cubicBezTo>
                <a:cubicBezTo>
                  <a:pt x="148477" y="42618"/>
                  <a:pt x="155592" y="23240"/>
                  <a:pt x="164500" y="20406"/>
                </a:cubicBezTo>
                <a:cubicBezTo>
                  <a:pt x="167392" y="19758"/>
                  <a:pt x="169648" y="17508"/>
                  <a:pt x="170284" y="14621"/>
                </a:cubicBezTo>
                <a:cubicBezTo>
                  <a:pt x="164269" y="13117"/>
                  <a:pt x="158657" y="10445"/>
                  <a:pt x="153683" y="6754"/>
                </a:cubicBezTo>
                <a:cubicBezTo>
                  <a:pt x="150964" y="2937"/>
                  <a:pt x="138007" y="1317"/>
                  <a:pt x="131587" y="50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8" name="Forma libre: forma 147">
            <a:extLst>
              <a:ext uri="{FF2B5EF4-FFF2-40B4-BE49-F238E27FC236}">
                <a16:creationId xmlns:a16="http://schemas.microsoft.com/office/drawing/2014/main" id="{B67DEB3D-79BB-A4C2-9483-80A4374A52B4}"/>
              </a:ext>
            </a:extLst>
          </p:cNvPr>
          <p:cNvSpPr/>
          <p:nvPr/>
        </p:nvSpPr>
        <p:spPr>
          <a:xfrm>
            <a:off x="6737584" y="3236755"/>
            <a:ext cx="73261" cy="51597"/>
          </a:xfrm>
          <a:custGeom>
            <a:avLst/>
            <a:gdLst>
              <a:gd name="connsiteX0" fmla="*/ 16673 w 73261"/>
              <a:gd name="connsiteY0" fmla="*/ 51468 h 51597"/>
              <a:gd name="connsiteX1" fmla="*/ 16673 w 73261"/>
              <a:gd name="connsiteY1" fmla="*/ 51468 h 51597"/>
              <a:gd name="connsiteX2" fmla="*/ 17714 w 73261"/>
              <a:gd name="connsiteY2" fmla="*/ 51005 h 51597"/>
              <a:gd name="connsiteX3" fmla="*/ 17714 w 73261"/>
              <a:gd name="connsiteY3" fmla="*/ 51005 h 51597"/>
              <a:gd name="connsiteX4" fmla="*/ 19276 w 73261"/>
              <a:gd name="connsiteY4" fmla="*/ 51005 h 51597"/>
              <a:gd name="connsiteX5" fmla="*/ 19276 w 73261"/>
              <a:gd name="connsiteY5" fmla="*/ 51005 h 51597"/>
              <a:gd name="connsiteX6" fmla="*/ 28011 w 73261"/>
              <a:gd name="connsiteY6" fmla="*/ 51005 h 51597"/>
              <a:gd name="connsiteX7" fmla="*/ 28705 w 73261"/>
              <a:gd name="connsiteY7" fmla="*/ 51005 h 51597"/>
              <a:gd name="connsiteX8" fmla="*/ 30845 w 73261"/>
              <a:gd name="connsiteY8" fmla="*/ 51005 h 51597"/>
              <a:gd name="connsiteX9" fmla="*/ 31713 w 73261"/>
              <a:gd name="connsiteY9" fmla="*/ 51005 h 51597"/>
              <a:gd name="connsiteX10" fmla="*/ 34489 w 73261"/>
              <a:gd name="connsiteY10" fmla="*/ 50485 h 51597"/>
              <a:gd name="connsiteX11" fmla="*/ 47157 w 73261"/>
              <a:gd name="connsiteY11" fmla="*/ 42618 h 51597"/>
              <a:gd name="connsiteX12" fmla="*/ 72609 w 73261"/>
              <a:gd name="connsiteY12" fmla="*/ 31049 h 51597"/>
              <a:gd name="connsiteX13" fmla="*/ 73129 w 73261"/>
              <a:gd name="connsiteY13" fmla="*/ 29834 h 51597"/>
              <a:gd name="connsiteX14" fmla="*/ 67750 w 73261"/>
              <a:gd name="connsiteY14" fmla="*/ 22141 h 51597"/>
              <a:gd name="connsiteX15" fmla="*/ 52653 w 73261"/>
              <a:gd name="connsiteY15" fmla="*/ 4788 h 51597"/>
              <a:gd name="connsiteX16" fmla="*/ 52016 w 73261"/>
              <a:gd name="connsiteY16" fmla="*/ 2879 h 51597"/>
              <a:gd name="connsiteX17" fmla="*/ 52016 w 73261"/>
              <a:gd name="connsiteY17" fmla="*/ 2879 h 51597"/>
              <a:gd name="connsiteX18" fmla="*/ 52016 w 73261"/>
              <a:gd name="connsiteY18" fmla="*/ -129 h 51597"/>
              <a:gd name="connsiteX19" fmla="*/ 4989 w 73261"/>
              <a:gd name="connsiteY19" fmla="*/ 8490 h 51597"/>
              <a:gd name="connsiteX20" fmla="*/ 3369 w 73261"/>
              <a:gd name="connsiteY20" fmla="*/ 7333 h 51597"/>
              <a:gd name="connsiteX21" fmla="*/ 419 w 73261"/>
              <a:gd name="connsiteY21" fmla="*/ 35735 h 51597"/>
              <a:gd name="connsiteX22" fmla="*/ 16673 w 73261"/>
              <a:gd name="connsiteY22" fmla="*/ 51468 h 51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3261" h="51597">
                <a:moveTo>
                  <a:pt x="16673" y="51468"/>
                </a:moveTo>
                <a:lnTo>
                  <a:pt x="16673" y="51468"/>
                </a:lnTo>
                <a:cubicBezTo>
                  <a:pt x="17020" y="51283"/>
                  <a:pt x="17367" y="51127"/>
                  <a:pt x="17714" y="51005"/>
                </a:cubicBezTo>
                <a:lnTo>
                  <a:pt x="17714" y="51005"/>
                </a:lnTo>
                <a:cubicBezTo>
                  <a:pt x="18235" y="50936"/>
                  <a:pt x="18756" y="50936"/>
                  <a:pt x="19276" y="51005"/>
                </a:cubicBezTo>
                <a:lnTo>
                  <a:pt x="19276" y="51005"/>
                </a:lnTo>
                <a:cubicBezTo>
                  <a:pt x="21648" y="51005"/>
                  <a:pt x="25061" y="51005"/>
                  <a:pt x="28011" y="51005"/>
                </a:cubicBezTo>
                <a:lnTo>
                  <a:pt x="28705" y="51005"/>
                </a:lnTo>
                <a:lnTo>
                  <a:pt x="30845" y="51005"/>
                </a:lnTo>
                <a:lnTo>
                  <a:pt x="31713" y="51005"/>
                </a:lnTo>
                <a:cubicBezTo>
                  <a:pt x="32638" y="50895"/>
                  <a:pt x="33564" y="50722"/>
                  <a:pt x="34489" y="50485"/>
                </a:cubicBezTo>
                <a:cubicBezTo>
                  <a:pt x="41720" y="48692"/>
                  <a:pt x="43571" y="40825"/>
                  <a:pt x="47157" y="42618"/>
                </a:cubicBezTo>
                <a:cubicBezTo>
                  <a:pt x="50744" y="44411"/>
                  <a:pt x="70295" y="34578"/>
                  <a:pt x="72609" y="31049"/>
                </a:cubicBezTo>
                <a:cubicBezTo>
                  <a:pt x="72898" y="30708"/>
                  <a:pt x="73071" y="30280"/>
                  <a:pt x="73129" y="29834"/>
                </a:cubicBezTo>
                <a:cubicBezTo>
                  <a:pt x="73534" y="27000"/>
                  <a:pt x="68328" y="25380"/>
                  <a:pt x="67750" y="22141"/>
                </a:cubicBezTo>
                <a:cubicBezTo>
                  <a:pt x="67171" y="18902"/>
                  <a:pt x="54446" y="6407"/>
                  <a:pt x="52653" y="4788"/>
                </a:cubicBezTo>
                <a:cubicBezTo>
                  <a:pt x="52248" y="4250"/>
                  <a:pt x="52016" y="3573"/>
                  <a:pt x="52016" y="2879"/>
                </a:cubicBezTo>
                <a:lnTo>
                  <a:pt x="52016" y="2879"/>
                </a:lnTo>
                <a:cubicBezTo>
                  <a:pt x="51958" y="1878"/>
                  <a:pt x="51958" y="872"/>
                  <a:pt x="52016" y="-129"/>
                </a:cubicBezTo>
                <a:cubicBezTo>
                  <a:pt x="33101" y="2648"/>
                  <a:pt x="4989" y="8490"/>
                  <a:pt x="4989" y="8490"/>
                </a:cubicBezTo>
                <a:lnTo>
                  <a:pt x="3369" y="7333"/>
                </a:lnTo>
                <a:cubicBezTo>
                  <a:pt x="188" y="16438"/>
                  <a:pt x="-853" y="26167"/>
                  <a:pt x="419" y="35735"/>
                </a:cubicBezTo>
                <a:cubicBezTo>
                  <a:pt x="2675" y="40883"/>
                  <a:pt x="8459" y="45337"/>
                  <a:pt x="16673" y="51468"/>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49" name="Forma libre: forma 148">
            <a:extLst>
              <a:ext uri="{FF2B5EF4-FFF2-40B4-BE49-F238E27FC236}">
                <a16:creationId xmlns:a16="http://schemas.microsoft.com/office/drawing/2014/main" id="{0A2035AC-B634-51C3-480B-C9A997F1E8AB}"/>
              </a:ext>
            </a:extLst>
          </p:cNvPr>
          <p:cNvSpPr/>
          <p:nvPr/>
        </p:nvSpPr>
        <p:spPr>
          <a:xfrm>
            <a:off x="6785719" y="2887281"/>
            <a:ext cx="486209" cy="279312"/>
          </a:xfrm>
          <a:custGeom>
            <a:avLst/>
            <a:gdLst>
              <a:gd name="connsiteX0" fmla="*/ 432566 w 486209"/>
              <a:gd name="connsiteY0" fmla="*/ 175175 h 279312"/>
              <a:gd name="connsiteX1" fmla="*/ 453794 w 486209"/>
              <a:gd name="connsiteY1" fmla="*/ 160656 h 279312"/>
              <a:gd name="connsiteX2" fmla="*/ 476180 w 486209"/>
              <a:gd name="connsiteY2" fmla="*/ 161235 h 279312"/>
              <a:gd name="connsiteX3" fmla="*/ 480982 w 486209"/>
              <a:gd name="connsiteY3" fmla="*/ 144865 h 279312"/>
              <a:gd name="connsiteX4" fmla="*/ 475197 w 486209"/>
              <a:gd name="connsiteY4" fmla="*/ 134568 h 279312"/>
              <a:gd name="connsiteX5" fmla="*/ 484857 w 486209"/>
              <a:gd name="connsiteY5" fmla="*/ 127916 h 279312"/>
              <a:gd name="connsiteX6" fmla="*/ 478205 w 486209"/>
              <a:gd name="connsiteY6" fmla="*/ 119992 h 279312"/>
              <a:gd name="connsiteX7" fmla="*/ 486072 w 486209"/>
              <a:gd name="connsiteY7" fmla="*/ 108423 h 279312"/>
              <a:gd name="connsiteX8" fmla="*/ 470338 w 486209"/>
              <a:gd name="connsiteY8" fmla="*/ 98763 h 279312"/>
              <a:gd name="connsiteX9" fmla="*/ 447201 w 486209"/>
              <a:gd name="connsiteY9" fmla="*/ 92689 h 279312"/>
              <a:gd name="connsiteX10" fmla="*/ 424757 w 486209"/>
              <a:gd name="connsiteY10" fmla="*/ 89045 h 279312"/>
              <a:gd name="connsiteX11" fmla="*/ 412609 w 486209"/>
              <a:gd name="connsiteY11" fmla="*/ 74526 h 279312"/>
              <a:gd name="connsiteX12" fmla="*/ 397512 w 486209"/>
              <a:gd name="connsiteY12" fmla="*/ 75741 h 279312"/>
              <a:gd name="connsiteX13" fmla="*/ 383572 w 486209"/>
              <a:gd name="connsiteY13" fmla="*/ 76955 h 279312"/>
              <a:gd name="connsiteX14" fmla="*/ 370210 w 486209"/>
              <a:gd name="connsiteY14" fmla="*/ 70882 h 279312"/>
              <a:gd name="connsiteX15" fmla="*/ 359971 w 486209"/>
              <a:gd name="connsiteY15" fmla="*/ 65387 h 279312"/>
              <a:gd name="connsiteX16" fmla="*/ 347824 w 486209"/>
              <a:gd name="connsiteY16" fmla="*/ 44216 h 279312"/>
              <a:gd name="connsiteX17" fmla="*/ 327810 w 486209"/>
              <a:gd name="connsiteY17" fmla="*/ 39357 h 279312"/>
              <a:gd name="connsiteX18" fmla="*/ 322026 w 486209"/>
              <a:gd name="connsiteY18" fmla="*/ 24201 h 279312"/>
              <a:gd name="connsiteX19" fmla="*/ 318381 w 486209"/>
              <a:gd name="connsiteY19" fmla="*/ 3609 h 279312"/>
              <a:gd name="connsiteX20" fmla="*/ 295938 w 486209"/>
              <a:gd name="connsiteY20" fmla="*/ 1179 h 279312"/>
              <a:gd name="connsiteX21" fmla="*/ 277775 w 486209"/>
              <a:gd name="connsiteY21" fmla="*/ 1816 h 279312"/>
              <a:gd name="connsiteX22" fmla="*/ 265048 w 486209"/>
              <a:gd name="connsiteY22" fmla="*/ 8410 h 279312"/>
              <a:gd name="connsiteX23" fmla="*/ 257587 w 486209"/>
              <a:gd name="connsiteY23" fmla="*/ 5344 h 279312"/>
              <a:gd name="connsiteX24" fmla="*/ 240234 w 486209"/>
              <a:gd name="connsiteY24" fmla="*/ 8873 h 279312"/>
              <a:gd name="connsiteX25" fmla="*/ 224037 w 486209"/>
              <a:gd name="connsiteY25" fmla="*/ 26631 h 279312"/>
              <a:gd name="connsiteX26" fmla="*/ 219178 w 486209"/>
              <a:gd name="connsiteY26" fmla="*/ 35539 h 279312"/>
              <a:gd name="connsiteX27" fmla="*/ 194189 w 486209"/>
              <a:gd name="connsiteY27" fmla="*/ 33919 h 279312"/>
              <a:gd name="connsiteX28" fmla="*/ 176373 w 486209"/>
              <a:gd name="connsiteY28" fmla="*/ 28135 h 279312"/>
              <a:gd name="connsiteX29" fmla="*/ 158616 w 486209"/>
              <a:gd name="connsiteY29" fmla="*/ 26515 h 279312"/>
              <a:gd name="connsiteX30" fmla="*/ 140047 w 486209"/>
              <a:gd name="connsiteY30" fmla="*/ 24086 h 279312"/>
              <a:gd name="connsiteX31" fmla="*/ 115001 w 486209"/>
              <a:gd name="connsiteY31" fmla="*/ 20094 h 279312"/>
              <a:gd name="connsiteX32" fmla="*/ 68147 w 486209"/>
              <a:gd name="connsiteY32" fmla="*/ 14310 h 279312"/>
              <a:gd name="connsiteX33" fmla="*/ 50389 w 486209"/>
              <a:gd name="connsiteY33" fmla="*/ 24838 h 279312"/>
              <a:gd name="connsiteX34" fmla="*/ 35812 w 486209"/>
              <a:gd name="connsiteY34" fmla="*/ 28077 h 279312"/>
              <a:gd name="connsiteX35" fmla="*/ 38068 w 486209"/>
              <a:gd name="connsiteY35" fmla="*/ 37332 h 279312"/>
              <a:gd name="connsiteX36" fmla="*/ 49000 w 486209"/>
              <a:gd name="connsiteY36" fmla="*/ 63998 h 279312"/>
              <a:gd name="connsiteX37" fmla="*/ 36853 w 486209"/>
              <a:gd name="connsiteY37" fmla="*/ 73658 h 279312"/>
              <a:gd name="connsiteX38" fmla="*/ 11401 w 486209"/>
              <a:gd name="connsiteY38" fmla="*/ 99688 h 279312"/>
              <a:gd name="connsiteX39" fmla="*/ 12038 w 486209"/>
              <a:gd name="connsiteY39" fmla="*/ 118488 h 279312"/>
              <a:gd name="connsiteX40" fmla="*/ -110 w 486209"/>
              <a:gd name="connsiteY40" fmla="*/ 138502 h 279312"/>
              <a:gd name="connsiteX41" fmla="*/ 12038 w 486209"/>
              <a:gd name="connsiteY41" fmla="*/ 151806 h 279312"/>
              <a:gd name="connsiteX42" fmla="*/ 16492 w 486209"/>
              <a:gd name="connsiteY42" fmla="*/ 154929 h 279312"/>
              <a:gd name="connsiteX43" fmla="*/ 26962 w 486209"/>
              <a:gd name="connsiteY43" fmla="*/ 154004 h 279312"/>
              <a:gd name="connsiteX44" fmla="*/ 54438 w 486209"/>
              <a:gd name="connsiteY44" fmla="*/ 158921 h 279312"/>
              <a:gd name="connsiteX45" fmla="*/ 70576 w 486209"/>
              <a:gd name="connsiteY45" fmla="*/ 163722 h 279312"/>
              <a:gd name="connsiteX46" fmla="*/ 82724 w 486209"/>
              <a:gd name="connsiteY46" fmla="*/ 160483 h 279312"/>
              <a:gd name="connsiteX47" fmla="*/ 96433 w 486209"/>
              <a:gd name="connsiteY47" fmla="*/ 158921 h 279312"/>
              <a:gd name="connsiteX48" fmla="*/ 111761 w 486209"/>
              <a:gd name="connsiteY48" fmla="*/ 150823 h 279312"/>
              <a:gd name="connsiteX49" fmla="*/ 144906 w 486209"/>
              <a:gd name="connsiteY49" fmla="*/ 139254 h 279312"/>
              <a:gd name="connsiteX50" fmla="*/ 166713 w 486209"/>
              <a:gd name="connsiteY50" fmla="*/ 151343 h 279312"/>
              <a:gd name="connsiteX51" fmla="*/ 186092 w 486209"/>
              <a:gd name="connsiteY51" fmla="*/ 165920 h 279312"/>
              <a:gd name="connsiteX52" fmla="*/ 203040 w 486209"/>
              <a:gd name="connsiteY52" fmla="*/ 193396 h 279312"/>
              <a:gd name="connsiteX53" fmla="*/ 209518 w 486209"/>
              <a:gd name="connsiteY53" fmla="*/ 211154 h 279312"/>
              <a:gd name="connsiteX54" fmla="*/ 190892 w 486209"/>
              <a:gd name="connsiteY54" fmla="*/ 207915 h 279312"/>
              <a:gd name="connsiteX55" fmla="*/ 180422 w 486209"/>
              <a:gd name="connsiteY55" fmla="*/ 220004 h 279312"/>
              <a:gd name="connsiteX56" fmla="*/ 164284 w 486209"/>
              <a:gd name="connsiteY56" fmla="*/ 245051 h 279312"/>
              <a:gd name="connsiteX57" fmla="*/ 174754 w 486209"/>
              <a:gd name="connsiteY57" fmla="*/ 251529 h 279312"/>
              <a:gd name="connsiteX58" fmla="*/ 190140 w 486209"/>
              <a:gd name="connsiteY58" fmla="*/ 245051 h 279312"/>
              <a:gd name="connsiteX59" fmla="*/ 199743 w 486209"/>
              <a:gd name="connsiteY59" fmla="*/ 251877 h 279312"/>
              <a:gd name="connsiteX60" fmla="*/ 212758 w 486209"/>
              <a:gd name="connsiteY60" fmla="*/ 231342 h 279312"/>
              <a:gd name="connsiteX61" fmla="*/ 235895 w 486209"/>
              <a:gd name="connsiteY61" fmla="*/ 203866 h 279312"/>
              <a:gd name="connsiteX62" fmla="*/ 266206 w 486209"/>
              <a:gd name="connsiteY62" fmla="*/ 199412 h 279312"/>
              <a:gd name="connsiteX63" fmla="*/ 269040 w 486209"/>
              <a:gd name="connsiteY63" fmla="*/ 217170 h 279312"/>
              <a:gd name="connsiteX64" fmla="*/ 313522 w 486209"/>
              <a:gd name="connsiteY64" fmla="*/ 223648 h 279312"/>
              <a:gd name="connsiteX65" fmla="*/ 277138 w 486209"/>
              <a:gd name="connsiteY65" fmla="*/ 243836 h 279312"/>
              <a:gd name="connsiteX66" fmla="*/ 304614 w 486209"/>
              <a:gd name="connsiteY66" fmla="*/ 256388 h 279312"/>
              <a:gd name="connsiteX67" fmla="*/ 305771 w 486209"/>
              <a:gd name="connsiteY67" fmla="*/ 277386 h 279312"/>
              <a:gd name="connsiteX68" fmla="*/ 327983 w 486209"/>
              <a:gd name="connsiteY68" fmla="*/ 272122 h 279312"/>
              <a:gd name="connsiteX69" fmla="*/ 354303 w 486209"/>
              <a:gd name="connsiteY69" fmla="*/ 260842 h 279312"/>
              <a:gd name="connsiteX70" fmla="*/ 390629 w 486209"/>
              <a:gd name="connsiteY70" fmla="*/ 255579 h 279312"/>
              <a:gd name="connsiteX71" fmla="*/ 363095 w 486209"/>
              <a:gd name="connsiteY71" fmla="*/ 248290 h 279312"/>
              <a:gd name="connsiteX72" fmla="*/ 340883 w 486209"/>
              <a:gd name="connsiteY72" fmla="*/ 226078 h 279312"/>
              <a:gd name="connsiteX73" fmla="*/ 375242 w 486209"/>
              <a:gd name="connsiteY73" fmla="*/ 204271 h 279312"/>
              <a:gd name="connsiteX74" fmla="*/ 409949 w 486209"/>
              <a:gd name="connsiteY74" fmla="*/ 193801 h 279312"/>
              <a:gd name="connsiteX75" fmla="*/ 432161 w 486209"/>
              <a:gd name="connsiteY75" fmla="*/ 187554 h 279312"/>
              <a:gd name="connsiteX76" fmla="*/ 432566 w 486209"/>
              <a:gd name="connsiteY76" fmla="*/ 175175 h 27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86209" h="279312">
                <a:moveTo>
                  <a:pt x="432566" y="175175"/>
                </a:moveTo>
                <a:cubicBezTo>
                  <a:pt x="436846" y="174597"/>
                  <a:pt x="449514" y="160656"/>
                  <a:pt x="453794" y="160656"/>
                </a:cubicBezTo>
                <a:cubicBezTo>
                  <a:pt x="458075" y="160656"/>
                  <a:pt x="476180" y="164242"/>
                  <a:pt x="476180" y="161235"/>
                </a:cubicBezTo>
                <a:cubicBezTo>
                  <a:pt x="476180" y="158227"/>
                  <a:pt x="481965" y="147930"/>
                  <a:pt x="480982" y="144865"/>
                </a:cubicBezTo>
                <a:cubicBezTo>
                  <a:pt x="479998" y="141799"/>
                  <a:pt x="473751" y="137634"/>
                  <a:pt x="475197" y="134568"/>
                </a:cubicBezTo>
                <a:cubicBezTo>
                  <a:pt x="476643" y="131503"/>
                  <a:pt x="484857" y="131560"/>
                  <a:pt x="484857" y="127916"/>
                </a:cubicBezTo>
                <a:cubicBezTo>
                  <a:pt x="484857" y="124272"/>
                  <a:pt x="478205" y="122479"/>
                  <a:pt x="478205" y="119992"/>
                </a:cubicBezTo>
                <a:cubicBezTo>
                  <a:pt x="478205" y="117504"/>
                  <a:pt x="486650" y="113397"/>
                  <a:pt x="486072" y="108423"/>
                </a:cubicBezTo>
                <a:cubicBezTo>
                  <a:pt x="485494" y="103448"/>
                  <a:pt x="478205" y="102985"/>
                  <a:pt x="470338" y="98763"/>
                </a:cubicBezTo>
                <a:cubicBezTo>
                  <a:pt x="462471" y="94540"/>
                  <a:pt x="454546" y="96275"/>
                  <a:pt x="447201" y="92689"/>
                </a:cubicBezTo>
                <a:cubicBezTo>
                  <a:pt x="439854" y="89103"/>
                  <a:pt x="424757" y="91474"/>
                  <a:pt x="424757" y="89045"/>
                </a:cubicBezTo>
                <a:cubicBezTo>
                  <a:pt x="424757" y="86615"/>
                  <a:pt x="415097" y="78749"/>
                  <a:pt x="412609" y="74526"/>
                </a:cubicBezTo>
                <a:cubicBezTo>
                  <a:pt x="410122" y="70303"/>
                  <a:pt x="402371" y="72675"/>
                  <a:pt x="397512" y="75741"/>
                </a:cubicBezTo>
                <a:cubicBezTo>
                  <a:pt x="393579" y="79084"/>
                  <a:pt x="388025" y="79570"/>
                  <a:pt x="383572" y="76955"/>
                </a:cubicBezTo>
                <a:cubicBezTo>
                  <a:pt x="378771" y="73890"/>
                  <a:pt x="374490" y="69031"/>
                  <a:pt x="370210" y="70882"/>
                </a:cubicBezTo>
                <a:cubicBezTo>
                  <a:pt x="365929" y="72733"/>
                  <a:pt x="358120" y="71460"/>
                  <a:pt x="359971" y="65387"/>
                </a:cubicBezTo>
                <a:cubicBezTo>
                  <a:pt x="361823" y="59313"/>
                  <a:pt x="352047" y="46067"/>
                  <a:pt x="347824" y="44216"/>
                </a:cubicBezTo>
                <a:cubicBezTo>
                  <a:pt x="343601" y="42364"/>
                  <a:pt x="330817" y="45372"/>
                  <a:pt x="327810" y="39357"/>
                </a:cubicBezTo>
                <a:cubicBezTo>
                  <a:pt x="324802" y="33341"/>
                  <a:pt x="319364" y="28424"/>
                  <a:pt x="322026" y="24201"/>
                </a:cubicBezTo>
                <a:cubicBezTo>
                  <a:pt x="324686" y="19979"/>
                  <a:pt x="321389" y="8410"/>
                  <a:pt x="318381" y="3609"/>
                </a:cubicBezTo>
                <a:cubicBezTo>
                  <a:pt x="315373" y="-1192"/>
                  <a:pt x="300218" y="-614"/>
                  <a:pt x="295938" y="1179"/>
                </a:cubicBezTo>
                <a:cubicBezTo>
                  <a:pt x="291657" y="2973"/>
                  <a:pt x="281997" y="-614"/>
                  <a:pt x="277775" y="1816"/>
                </a:cubicBezTo>
                <a:cubicBezTo>
                  <a:pt x="273552" y="4245"/>
                  <a:pt x="271122" y="8410"/>
                  <a:pt x="265048" y="8410"/>
                </a:cubicBezTo>
                <a:cubicBezTo>
                  <a:pt x="262156" y="8907"/>
                  <a:pt x="259264" y="7716"/>
                  <a:pt x="257587" y="5344"/>
                </a:cubicBezTo>
                <a:cubicBezTo>
                  <a:pt x="251976" y="7357"/>
                  <a:pt x="246134" y="8543"/>
                  <a:pt x="240234" y="8873"/>
                </a:cubicBezTo>
                <a:cubicBezTo>
                  <a:pt x="240234" y="8873"/>
                  <a:pt x="224037" y="21830"/>
                  <a:pt x="224037" y="26631"/>
                </a:cubicBezTo>
                <a:cubicBezTo>
                  <a:pt x="224037" y="31432"/>
                  <a:pt x="223285" y="39588"/>
                  <a:pt x="219178" y="35539"/>
                </a:cubicBezTo>
                <a:cubicBezTo>
                  <a:pt x="215072" y="31490"/>
                  <a:pt x="198181" y="31490"/>
                  <a:pt x="194189" y="33919"/>
                </a:cubicBezTo>
                <a:cubicBezTo>
                  <a:pt x="190198" y="36349"/>
                  <a:pt x="183662" y="24201"/>
                  <a:pt x="176373" y="28135"/>
                </a:cubicBezTo>
                <a:cubicBezTo>
                  <a:pt x="169085" y="32068"/>
                  <a:pt x="159425" y="22350"/>
                  <a:pt x="158616" y="26515"/>
                </a:cubicBezTo>
                <a:cubicBezTo>
                  <a:pt x="157806" y="30680"/>
                  <a:pt x="147335" y="27325"/>
                  <a:pt x="140047" y="24086"/>
                </a:cubicBezTo>
                <a:cubicBezTo>
                  <a:pt x="132759" y="20846"/>
                  <a:pt x="119859" y="25763"/>
                  <a:pt x="115001" y="20094"/>
                </a:cubicBezTo>
                <a:cubicBezTo>
                  <a:pt x="110142" y="14426"/>
                  <a:pt x="78674" y="14310"/>
                  <a:pt x="68147" y="14310"/>
                </a:cubicBezTo>
                <a:cubicBezTo>
                  <a:pt x="57619" y="14310"/>
                  <a:pt x="55247" y="20094"/>
                  <a:pt x="50389" y="24838"/>
                </a:cubicBezTo>
                <a:cubicBezTo>
                  <a:pt x="46282" y="28118"/>
                  <a:pt x="40902" y="29309"/>
                  <a:pt x="35812" y="28077"/>
                </a:cubicBezTo>
                <a:cubicBezTo>
                  <a:pt x="35928" y="31282"/>
                  <a:pt x="36737" y="34423"/>
                  <a:pt x="38068" y="37332"/>
                </a:cubicBezTo>
                <a:cubicBezTo>
                  <a:pt x="40497" y="40976"/>
                  <a:pt x="52008" y="58503"/>
                  <a:pt x="49000" y="63998"/>
                </a:cubicBezTo>
                <a:cubicBezTo>
                  <a:pt x="45993" y="69493"/>
                  <a:pt x="40497" y="69436"/>
                  <a:pt x="36853" y="73658"/>
                </a:cubicBezTo>
                <a:cubicBezTo>
                  <a:pt x="33209" y="77881"/>
                  <a:pt x="12038" y="96796"/>
                  <a:pt x="11401" y="99688"/>
                </a:cubicBezTo>
                <a:cubicBezTo>
                  <a:pt x="10765" y="102580"/>
                  <a:pt x="15046" y="116058"/>
                  <a:pt x="12038" y="118488"/>
                </a:cubicBezTo>
                <a:cubicBezTo>
                  <a:pt x="9030" y="120917"/>
                  <a:pt x="-110" y="133643"/>
                  <a:pt x="-110" y="138502"/>
                </a:cubicBezTo>
                <a:cubicBezTo>
                  <a:pt x="-110" y="143361"/>
                  <a:pt x="6601" y="150071"/>
                  <a:pt x="12038" y="151806"/>
                </a:cubicBezTo>
                <a:cubicBezTo>
                  <a:pt x="13831" y="152280"/>
                  <a:pt x="15451" y="153391"/>
                  <a:pt x="16492" y="154929"/>
                </a:cubicBezTo>
                <a:cubicBezTo>
                  <a:pt x="19963" y="154415"/>
                  <a:pt x="23433" y="154102"/>
                  <a:pt x="26962" y="154004"/>
                </a:cubicBezTo>
                <a:cubicBezTo>
                  <a:pt x="31011" y="154004"/>
                  <a:pt x="48769" y="158921"/>
                  <a:pt x="54438" y="158921"/>
                </a:cubicBezTo>
                <a:cubicBezTo>
                  <a:pt x="60164" y="158909"/>
                  <a:pt x="65775" y="160581"/>
                  <a:pt x="70576" y="163722"/>
                </a:cubicBezTo>
                <a:cubicBezTo>
                  <a:pt x="73006" y="166151"/>
                  <a:pt x="78674" y="164532"/>
                  <a:pt x="82724" y="160483"/>
                </a:cubicBezTo>
                <a:cubicBezTo>
                  <a:pt x="86773" y="156433"/>
                  <a:pt x="91631" y="158921"/>
                  <a:pt x="96433" y="158921"/>
                </a:cubicBezTo>
                <a:cubicBezTo>
                  <a:pt x="102448" y="158412"/>
                  <a:pt x="107944" y="155485"/>
                  <a:pt x="111761" y="150823"/>
                </a:cubicBezTo>
                <a:cubicBezTo>
                  <a:pt x="114191" y="146774"/>
                  <a:pt x="138428" y="140295"/>
                  <a:pt x="144906" y="139254"/>
                </a:cubicBezTo>
                <a:cubicBezTo>
                  <a:pt x="151385" y="138213"/>
                  <a:pt x="161045" y="151343"/>
                  <a:pt x="166713" y="151343"/>
                </a:cubicBezTo>
                <a:cubicBezTo>
                  <a:pt x="175564" y="151737"/>
                  <a:pt x="183257" y="157527"/>
                  <a:pt x="186092" y="165920"/>
                </a:cubicBezTo>
                <a:cubicBezTo>
                  <a:pt x="189909" y="176083"/>
                  <a:pt x="195693" y="185413"/>
                  <a:pt x="203040" y="193396"/>
                </a:cubicBezTo>
                <a:cubicBezTo>
                  <a:pt x="206800" y="198590"/>
                  <a:pt x="209056" y="204745"/>
                  <a:pt x="209518" y="211154"/>
                </a:cubicBezTo>
                <a:cubicBezTo>
                  <a:pt x="209518" y="214393"/>
                  <a:pt x="200611" y="210344"/>
                  <a:pt x="190892" y="207915"/>
                </a:cubicBezTo>
                <a:cubicBezTo>
                  <a:pt x="181174" y="205485"/>
                  <a:pt x="180422" y="215203"/>
                  <a:pt x="180422" y="220004"/>
                </a:cubicBezTo>
                <a:cubicBezTo>
                  <a:pt x="180422" y="224805"/>
                  <a:pt x="166713" y="241812"/>
                  <a:pt x="164284" y="245051"/>
                </a:cubicBezTo>
                <a:cubicBezTo>
                  <a:pt x="161854" y="248290"/>
                  <a:pt x="169143" y="250835"/>
                  <a:pt x="174754" y="251529"/>
                </a:cubicBezTo>
                <a:cubicBezTo>
                  <a:pt x="177183" y="251877"/>
                  <a:pt x="186901" y="245051"/>
                  <a:pt x="190140" y="245051"/>
                </a:cubicBezTo>
                <a:cubicBezTo>
                  <a:pt x="193727" y="246728"/>
                  <a:pt x="196966" y="249036"/>
                  <a:pt x="199743" y="251877"/>
                </a:cubicBezTo>
                <a:cubicBezTo>
                  <a:pt x="198875" y="239209"/>
                  <a:pt x="201420" y="239961"/>
                  <a:pt x="212758" y="231342"/>
                </a:cubicBezTo>
                <a:cubicBezTo>
                  <a:pt x="224095" y="222723"/>
                  <a:pt x="225657" y="205890"/>
                  <a:pt x="235895" y="203866"/>
                </a:cubicBezTo>
                <a:cubicBezTo>
                  <a:pt x="246134" y="201841"/>
                  <a:pt x="250877" y="196982"/>
                  <a:pt x="266206" y="199412"/>
                </a:cubicBezTo>
                <a:cubicBezTo>
                  <a:pt x="281535" y="201841"/>
                  <a:pt x="258512" y="211559"/>
                  <a:pt x="269040" y="217170"/>
                </a:cubicBezTo>
                <a:cubicBezTo>
                  <a:pt x="279567" y="222781"/>
                  <a:pt x="311903" y="215608"/>
                  <a:pt x="313522" y="223648"/>
                </a:cubicBezTo>
                <a:cubicBezTo>
                  <a:pt x="315142" y="231689"/>
                  <a:pt x="276271" y="239845"/>
                  <a:pt x="277138" y="243836"/>
                </a:cubicBezTo>
                <a:cubicBezTo>
                  <a:pt x="278006" y="247828"/>
                  <a:pt x="297731" y="251934"/>
                  <a:pt x="304614" y="256388"/>
                </a:cubicBezTo>
                <a:cubicBezTo>
                  <a:pt x="311498" y="260842"/>
                  <a:pt x="302532" y="273337"/>
                  <a:pt x="305771" y="277386"/>
                </a:cubicBezTo>
                <a:cubicBezTo>
                  <a:pt x="309011" y="281435"/>
                  <a:pt x="319538" y="278196"/>
                  <a:pt x="327983" y="272122"/>
                </a:cubicBezTo>
                <a:cubicBezTo>
                  <a:pt x="336429" y="266048"/>
                  <a:pt x="343312" y="268073"/>
                  <a:pt x="354303" y="260842"/>
                </a:cubicBezTo>
                <a:cubicBezTo>
                  <a:pt x="365293" y="253612"/>
                  <a:pt x="387795" y="259975"/>
                  <a:pt x="390629" y="255579"/>
                </a:cubicBezTo>
                <a:cubicBezTo>
                  <a:pt x="393463" y="251182"/>
                  <a:pt x="384150" y="246671"/>
                  <a:pt x="363095" y="248290"/>
                </a:cubicBezTo>
                <a:cubicBezTo>
                  <a:pt x="342040" y="249910"/>
                  <a:pt x="340883" y="230127"/>
                  <a:pt x="340883" y="226078"/>
                </a:cubicBezTo>
                <a:cubicBezTo>
                  <a:pt x="340883" y="222029"/>
                  <a:pt x="362748" y="205485"/>
                  <a:pt x="375242" y="204271"/>
                </a:cubicBezTo>
                <a:cubicBezTo>
                  <a:pt x="387331" y="202888"/>
                  <a:pt x="399074" y="199342"/>
                  <a:pt x="409949" y="193801"/>
                </a:cubicBezTo>
                <a:cubicBezTo>
                  <a:pt x="417121" y="190920"/>
                  <a:pt x="424526" y="188826"/>
                  <a:pt x="432161" y="187554"/>
                </a:cubicBezTo>
                <a:cubicBezTo>
                  <a:pt x="430657" y="182405"/>
                  <a:pt x="428980" y="175696"/>
                  <a:pt x="432566" y="17517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0" name="Forma libre: forma 149">
            <a:extLst>
              <a:ext uri="{FF2B5EF4-FFF2-40B4-BE49-F238E27FC236}">
                <a16:creationId xmlns:a16="http://schemas.microsoft.com/office/drawing/2014/main" id="{73628CBB-670D-5451-C246-97DE9BF7ED76}"/>
              </a:ext>
            </a:extLst>
          </p:cNvPr>
          <p:cNvSpPr/>
          <p:nvPr/>
        </p:nvSpPr>
        <p:spPr>
          <a:xfrm>
            <a:off x="6812732" y="2741955"/>
            <a:ext cx="255544" cy="182613"/>
          </a:xfrm>
          <a:custGeom>
            <a:avLst/>
            <a:gdLst>
              <a:gd name="connsiteX0" fmla="*/ 240175 w 255544"/>
              <a:gd name="connsiteY0" fmla="*/ 90282 h 182613"/>
              <a:gd name="connsiteX1" fmla="*/ 224442 w 255544"/>
              <a:gd name="connsiteY1" fmla="*/ 75126 h 182613"/>
              <a:gd name="connsiteX2" fmla="*/ 211716 w 255544"/>
              <a:gd name="connsiteY2" fmla="*/ 58178 h 182613"/>
              <a:gd name="connsiteX3" fmla="*/ 208650 w 255544"/>
              <a:gd name="connsiteY3" fmla="*/ 38800 h 182613"/>
              <a:gd name="connsiteX4" fmla="*/ 206278 w 255544"/>
              <a:gd name="connsiteY4" fmla="*/ 20001 h 182613"/>
              <a:gd name="connsiteX5" fmla="*/ 180828 w 255544"/>
              <a:gd name="connsiteY5" fmla="*/ 12770 h 182613"/>
              <a:gd name="connsiteX6" fmla="*/ 166251 w 255544"/>
              <a:gd name="connsiteY6" fmla="*/ 12770 h 182613"/>
              <a:gd name="connsiteX7" fmla="*/ 152368 w 255544"/>
              <a:gd name="connsiteY7" fmla="*/ 6060 h 182613"/>
              <a:gd name="connsiteX8" fmla="*/ 137791 w 255544"/>
              <a:gd name="connsiteY8" fmla="*/ 1838 h 182613"/>
              <a:gd name="connsiteX9" fmla="*/ 136403 w 255544"/>
              <a:gd name="connsiteY9" fmla="*/ -129 h 182613"/>
              <a:gd name="connsiteX10" fmla="*/ 127900 w 255544"/>
              <a:gd name="connsiteY10" fmla="*/ 3284 h 182613"/>
              <a:gd name="connsiteX11" fmla="*/ 117430 w 255544"/>
              <a:gd name="connsiteY11" fmla="*/ 12944 h 182613"/>
              <a:gd name="connsiteX12" fmla="*/ 98862 w 255544"/>
              <a:gd name="connsiteY12" fmla="*/ 15373 h 182613"/>
              <a:gd name="connsiteX13" fmla="*/ 91574 w 255544"/>
              <a:gd name="connsiteY13" fmla="*/ 29892 h 182613"/>
              <a:gd name="connsiteX14" fmla="*/ 88334 w 255544"/>
              <a:gd name="connsiteY14" fmla="*/ 40420 h 182613"/>
              <a:gd name="connsiteX15" fmla="*/ 79484 w 255544"/>
              <a:gd name="connsiteY15" fmla="*/ 47708 h 182613"/>
              <a:gd name="connsiteX16" fmla="*/ 65717 w 255544"/>
              <a:gd name="connsiteY16" fmla="*/ 60608 h 182613"/>
              <a:gd name="connsiteX17" fmla="*/ 61668 w 255544"/>
              <a:gd name="connsiteY17" fmla="*/ 73565 h 182613"/>
              <a:gd name="connsiteX18" fmla="*/ 43910 w 255544"/>
              <a:gd name="connsiteY18" fmla="*/ 79349 h 182613"/>
              <a:gd name="connsiteX19" fmla="*/ 30201 w 255544"/>
              <a:gd name="connsiteY19" fmla="*/ 85885 h 182613"/>
              <a:gd name="connsiteX20" fmla="*/ 10187 w 255544"/>
              <a:gd name="connsiteY20" fmla="*/ 84439 h 182613"/>
              <a:gd name="connsiteX21" fmla="*/ 10187 w 255544"/>
              <a:gd name="connsiteY21" fmla="*/ 86811 h 182613"/>
              <a:gd name="connsiteX22" fmla="*/ 14409 w 255544"/>
              <a:gd name="connsiteY22" fmla="*/ 107461 h 182613"/>
              <a:gd name="connsiteX23" fmla="*/ 15624 w 255544"/>
              <a:gd name="connsiteY23" fmla="*/ 131062 h 182613"/>
              <a:gd name="connsiteX24" fmla="*/ -110 w 255544"/>
              <a:gd name="connsiteY24" fmla="*/ 145002 h 182613"/>
              <a:gd name="connsiteX25" fmla="*/ 8972 w 255544"/>
              <a:gd name="connsiteY25" fmla="*/ 158885 h 182613"/>
              <a:gd name="connsiteX26" fmla="*/ 8509 w 255544"/>
              <a:gd name="connsiteY26" fmla="*/ 173924 h 182613"/>
              <a:gd name="connsiteX27" fmla="*/ 23086 w 255544"/>
              <a:gd name="connsiteY27" fmla="*/ 170685 h 182613"/>
              <a:gd name="connsiteX28" fmla="*/ 40844 w 255544"/>
              <a:gd name="connsiteY28" fmla="*/ 160157 h 182613"/>
              <a:gd name="connsiteX29" fmla="*/ 87698 w 255544"/>
              <a:gd name="connsiteY29" fmla="*/ 165942 h 182613"/>
              <a:gd name="connsiteX30" fmla="*/ 112745 w 255544"/>
              <a:gd name="connsiteY30" fmla="*/ 169933 h 182613"/>
              <a:gd name="connsiteX31" fmla="*/ 131313 w 255544"/>
              <a:gd name="connsiteY31" fmla="*/ 172363 h 182613"/>
              <a:gd name="connsiteX32" fmla="*/ 149070 w 255544"/>
              <a:gd name="connsiteY32" fmla="*/ 173982 h 182613"/>
              <a:gd name="connsiteX33" fmla="*/ 166887 w 255544"/>
              <a:gd name="connsiteY33" fmla="*/ 179767 h 182613"/>
              <a:gd name="connsiteX34" fmla="*/ 191875 w 255544"/>
              <a:gd name="connsiteY34" fmla="*/ 181386 h 182613"/>
              <a:gd name="connsiteX35" fmla="*/ 196735 w 255544"/>
              <a:gd name="connsiteY35" fmla="*/ 172478 h 182613"/>
              <a:gd name="connsiteX36" fmla="*/ 212931 w 255544"/>
              <a:gd name="connsiteY36" fmla="*/ 154720 h 182613"/>
              <a:gd name="connsiteX37" fmla="*/ 230284 w 255544"/>
              <a:gd name="connsiteY37" fmla="*/ 151192 h 182613"/>
              <a:gd name="connsiteX38" fmla="*/ 226235 w 255544"/>
              <a:gd name="connsiteY38" fmla="*/ 139623 h 182613"/>
              <a:gd name="connsiteX39" fmla="*/ 222013 w 255544"/>
              <a:gd name="connsiteY39" fmla="*/ 114171 h 182613"/>
              <a:gd name="connsiteX40" fmla="*/ 241390 w 255544"/>
              <a:gd name="connsiteY40" fmla="*/ 117179 h 182613"/>
              <a:gd name="connsiteX41" fmla="*/ 255331 w 255544"/>
              <a:gd name="connsiteY41" fmla="*/ 104454 h 182613"/>
              <a:gd name="connsiteX42" fmla="*/ 240175 w 255544"/>
              <a:gd name="connsiteY42" fmla="*/ 90282 h 18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55544" h="182613">
                <a:moveTo>
                  <a:pt x="240175" y="90282"/>
                </a:moveTo>
                <a:cubicBezTo>
                  <a:pt x="235316" y="89067"/>
                  <a:pt x="232308" y="78192"/>
                  <a:pt x="224442" y="75126"/>
                </a:cubicBezTo>
                <a:cubicBezTo>
                  <a:pt x="216575" y="72061"/>
                  <a:pt x="218657" y="62401"/>
                  <a:pt x="211716" y="58178"/>
                </a:cubicBezTo>
                <a:cubicBezTo>
                  <a:pt x="204774" y="53955"/>
                  <a:pt x="209287" y="45452"/>
                  <a:pt x="208650" y="38800"/>
                </a:cubicBezTo>
                <a:cubicBezTo>
                  <a:pt x="208014" y="32148"/>
                  <a:pt x="209923" y="21852"/>
                  <a:pt x="206278" y="20001"/>
                </a:cubicBezTo>
                <a:cubicBezTo>
                  <a:pt x="202634" y="18150"/>
                  <a:pt x="187479" y="9705"/>
                  <a:pt x="180828" y="12770"/>
                </a:cubicBezTo>
                <a:cubicBezTo>
                  <a:pt x="174175" y="15836"/>
                  <a:pt x="169259" y="18208"/>
                  <a:pt x="166251" y="12770"/>
                </a:cubicBezTo>
                <a:cubicBezTo>
                  <a:pt x="163995" y="7327"/>
                  <a:pt x="158037" y="4435"/>
                  <a:pt x="152368" y="6060"/>
                </a:cubicBezTo>
                <a:cubicBezTo>
                  <a:pt x="147104" y="7454"/>
                  <a:pt x="141493" y="5829"/>
                  <a:pt x="137791" y="1838"/>
                </a:cubicBezTo>
                <a:cubicBezTo>
                  <a:pt x="137213" y="1271"/>
                  <a:pt x="136750" y="606"/>
                  <a:pt x="136403" y="-129"/>
                </a:cubicBezTo>
                <a:cubicBezTo>
                  <a:pt x="133337" y="363"/>
                  <a:pt x="130445" y="1525"/>
                  <a:pt x="127900" y="3284"/>
                </a:cubicBezTo>
                <a:cubicBezTo>
                  <a:pt x="123908" y="6523"/>
                  <a:pt x="123098" y="12944"/>
                  <a:pt x="117430" y="12944"/>
                </a:cubicBezTo>
                <a:cubicBezTo>
                  <a:pt x="111761" y="12944"/>
                  <a:pt x="105283" y="10514"/>
                  <a:pt x="98862" y="15373"/>
                </a:cubicBezTo>
                <a:cubicBezTo>
                  <a:pt x="93830" y="18381"/>
                  <a:pt x="90995" y="24044"/>
                  <a:pt x="91574" y="29892"/>
                </a:cubicBezTo>
                <a:cubicBezTo>
                  <a:pt x="92383" y="33941"/>
                  <a:pt x="93193" y="40420"/>
                  <a:pt x="88334" y="40420"/>
                </a:cubicBezTo>
                <a:cubicBezTo>
                  <a:pt x="83475" y="40420"/>
                  <a:pt x="84285" y="46204"/>
                  <a:pt x="79484" y="47708"/>
                </a:cubicBezTo>
                <a:cubicBezTo>
                  <a:pt x="73468" y="50207"/>
                  <a:pt x="68610" y="54788"/>
                  <a:pt x="65717" y="60608"/>
                </a:cubicBezTo>
                <a:cubicBezTo>
                  <a:pt x="64907" y="64657"/>
                  <a:pt x="64907" y="73565"/>
                  <a:pt x="61668" y="73565"/>
                </a:cubicBezTo>
                <a:cubicBezTo>
                  <a:pt x="58429" y="73565"/>
                  <a:pt x="47149" y="75126"/>
                  <a:pt x="43910" y="79349"/>
                </a:cubicBezTo>
                <a:cubicBezTo>
                  <a:pt x="41191" y="84220"/>
                  <a:pt x="35696" y="86840"/>
                  <a:pt x="30201" y="85885"/>
                </a:cubicBezTo>
                <a:cubicBezTo>
                  <a:pt x="23549" y="84885"/>
                  <a:pt x="16897" y="84399"/>
                  <a:pt x="10187" y="84439"/>
                </a:cubicBezTo>
                <a:cubicBezTo>
                  <a:pt x="10360" y="85220"/>
                  <a:pt x="10360" y="86036"/>
                  <a:pt x="10187" y="86811"/>
                </a:cubicBezTo>
                <a:cubicBezTo>
                  <a:pt x="7236" y="93909"/>
                  <a:pt x="8914" y="102088"/>
                  <a:pt x="14409" y="107461"/>
                </a:cubicBezTo>
                <a:cubicBezTo>
                  <a:pt x="19268" y="111684"/>
                  <a:pt x="21061" y="128632"/>
                  <a:pt x="15624" y="131062"/>
                </a:cubicBezTo>
                <a:cubicBezTo>
                  <a:pt x="10187" y="133491"/>
                  <a:pt x="-110" y="140722"/>
                  <a:pt x="-110" y="145002"/>
                </a:cubicBezTo>
                <a:cubicBezTo>
                  <a:pt x="-110" y="149283"/>
                  <a:pt x="10765" y="152869"/>
                  <a:pt x="8972" y="158885"/>
                </a:cubicBezTo>
                <a:cubicBezTo>
                  <a:pt x="7931" y="163831"/>
                  <a:pt x="7815" y="168921"/>
                  <a:pt x="8509" y="173924"/>
                </a:cubicBezTo>
                <a:cubicBezTo>
                  <a:pt x="13600" y="175157"/>
                  <a:pt x="18979" y="173965"/>
                  <a:pt x="23086" y="170685"/>
                </a:cubicBezTo>
                <a:cubicBezTo>
                  <a:pt x="27945" y="165826"/>
                  <a:pt x="30374" y="160157"/>
                  <a:pt x="40844" y="160157"/>
                </a:cubicBezTo>
                <a:cubicBezTo>
                  <a:pt x="51314" y="160157"/>
                  <a:pt x="82839" y="160157"/>
                  <a:pt x="87698" y="165942"/>
                </a:cubicBezTo>
                <a:cubicBezTo>
                  <a:pt x="92557" y="171726"/>
                  <a:pt x="105456" y="166694"/>
                  <a:pt x="112745" y="169933"/>
                </a:cubicBezTo>
                <a:cubicBezTo>
                  <a:pt x="120033" y="173172"/>
                  <a:pt x="130503" y="176412"/>
                  <a:pt x="131313" y="172363"/>
                </a:cubicBezTo>
                <a:cubicBezTo>
                  <a:pt x="132122" y="168314"/>
                  <a:pt x="141840" y="178147"/>
                  <a:pt x="149070" y="173982"/>
                </a:cubicBezTo>
                <a:cubicBezTo>
                  <a:pt x="156301" y="169818"/>
                  <a:pt x="162837" y="182081"/>
                  <a:pt x="166887" y="179767"/>
                </a:cubicBezTo>
                <a:cubicBezTo>
                  <a:pt x="170936" y="177453"/>
                  <a:pt x="187826" y="177337"/>
                  <a:pt x="191875" y="181386"/>
                </a:cubicBezTo>
                <a:cubicBezTo>
                  <a:pt x="195925" y="185436"/>
                  <a:pt x="196735" y="177337"/>
                  <a:pt x="196735" y="172478"/>
                </a:cubicBezTo>
                <a:cubicBezTo>
                  <a:pt x="196735" y="167619"/>
                  <a:pt x="212931" y="154720"/>
                  <a:pt x="212931" y="154720"/>
                </a:cubicBezTo>
                <a:cubicBezTo>
                  <a:pt x="218831" y="154391"/>
                  <a:pt x="224673" y="153205"/>
                  <a:pt x="230284" y="151192"/>
                </a:cubicBezTo>
                <a:cubicBezTo>
                  <a:pt x="228260" y="147600"/>
                  <a:pt x="226929" y="143683"/>
                  <a:pt x="226235" y="139623"/>
                </a:cubicBezTo>
                <a:cubicBezTo>
                  <a:pt x="223227" y="126261"/>
                  <a:pt x="218368" y="118394"/>
                  <a:pt x="222013" y="114171"/>
                </a:cubicBezTo>
                <a:cubicBezTo>
                  <a:pt x="225657" y="109949"/>
                  <a:pt x="235953" y="119609"/>
                  <a:pt x="241390" y="117179"/>
                </a:cubicBezTo>
                <a:cubicBezTo>
                  <a:pt x="246827" y="114750"/>
                  <a:pt x="256546" y="109891"/>
                  <a:pt x="255331" y="104454"/>
                </a:cubicBezTo>
                <a:cubicBezTo>
                  <a:pt x="252381" y="97871"/>
                  <a:pt x="246943" y="92757"/>
                  <a:pt x="240175" y="9028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1" name="Forma libre: forma 150">
            <a:extLst>
              <a:ext uri="{FF2B5EF4-FFF2-40B4-BE49-F238E27FC236}">
                <a16:creationId xmlns:a16="http://schemas.microsoft.com/office/drawing/2014/main" id="{A0FEE519-7DC4-3208-8598-A72B9ADE10D4}"/>
              </a:ext>
            </a:extLst>
          </p:cNvPr>
          <p:cNvSpPr/>
          <p:nvPr/>
        </p:nvSpPr>
        <p:spPr>
          <a:xfrm>
            <a:off x="6751209" y="2668730"/>
            <a:ext cx="198383" cy="94685"/>
          </a:xfrm>
          <a:custGeom>
            <a:avLst/>
            <a:gdLst>
              <a:gd name="connsiteX0" fmla="*/ 64884 w 198383"/>
              <a:gd name="connsiteY0" fmla="*/ 65808 h 94685"/>
              <a:gd name="connsiteX1" fmla="*/ 99591 w 198383"/>
              <a:gd name="connsiteY1" fmla="*/ 65808 h 94685"/>
              <a:gd name="connsiteX2" fmla="*/ 115672 w 198383"/>
              <a:gd name="connsiteY2" fmla="*/ 71997 h 94685"/>
              <a:gd name="connsiteX3" fmla="*/ 141586 w 198383"/>
              <a:gd name="connsiteY3" fmla="*/ 85590 h 94685"/>
              <a:gd name="connsiteX4" fmla="*/ 155411 w 198383"/>
              <a:gd name="connsiteY4" fmla="*/ 94556 h 94685"/>
              <a:gd name="connsiteX5" fmla="*/ 160732 w 198383"/>
              <a:gd name="connsiteY5" fmla="*/ 88772 h 94685"/>
              <a:gd name="connsiteX6" fmla="*/ 179301 w 198383"/>
              <a:gd name="connsiteY6" fmla="*/ 86342 h 94685"/>
              <a:gd name="connsiteX7" fmla="*/ 189770 w 198383"/>
              <a:gd name="connsiteY7" fmla="*/ 76682 h 94685"/>
              <a:gd name="connsiteX8" fmla="*/ 198274 w 198383"/>
              <a:gd name="connsiteY8" fmla="*/ 73270 h 94685"/>
              <a:gd name="connsiteX9" fmla="*/ 192489 w 198383"/>
              <a:gd name="connsiteY9" fmla="*/ 56495 h 94685"/>
              <a:gd name="connsiteX10" fmla="*/ 183986 w 198383"/>
              <a:gd name="connsiteY10" fmla="*/ 40703 h 94685"/>
              <a:gd name="connsiteX11" fmla="*/ 180978 w 198383"/>
              <a:gd name="connsiteY11" fmla="*/ 25548 h 94685"/>
              <a:gd name="connsiteX12" fmla="*/ 176350 w 198383"/>
              <a:gd name="connsiteY12" fmla="*/ 18607 h 94685"/>
              <a:gd name="connsiteX13" fmla="*/ 150263 w 198383"/>
              <a:gd name="connsiteY13" fmla="*/ 16929 h 94685"/>
              <a:gd name="connsiteX14" fmla="*/ 122787 w 198383"/>
              <a:gd name="connsiteY14" fmla="*/ 733 h 94685"/>
              <a:gd name="connsiteX15" fmla="*/ 93402 w 198383"/>
              <a:gd name="connsiteY15" fmla="*/ 1196 h 94685"/>
              <a:gd name="connsiteX16" fmla="*/ 90914 w 198383"/>
              <a:gd name="connsiteY16" fmla="*/ 28209 h 94685"/>
              <a:gd name="connsiteX17" fmla="*/ 68702 w 198383"/>
              <a:gd name="connsiteY17" fmla="*/ 38736 h 94685"/>
              <a:gd name="connsiteX18" fmla="*/ 44465 w 198383"/>
              <a:gd name="connsiteY18" fmla="*/ 10451 h 94685"/>
              <a:gd name="connsiteX19" fmla="*/ 18204 w 198383"/>
              <a:gd name="connsiteY19" fmla="*/ 22540 h 94685"/>
              <a:gd name="connsiteX20" fmla="*/ 7329 w 198383"/>
              <a:gd name="connsiteY20" fmla="*/ 44347 h 94685"/>
              <a:gd name="connsiteX21" fmla="*/ 3280 w 198383"/>
              <a:gd name="connsiteY21" fmla="*/ 70204 h 94685"/>
              <a:gd name="connsiteX22" fmla="*/ 3917 w 198383"/>
              <a:gd name="connsiteY22" fmla="*/ 71650 h 94685"/>
              <a:gd name="connsiteX23" fmla="*/ 25550 w 198383"/>
              <a:gd name="connsiteY23" fmla="*/ 65865 h 94685"/>
              <a:gd name="connsiteX24" fmla="*/ 64884 w 198383"/>
              <a:gd name="connsiteY24" fmla="*/ 65808 h 9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383" h="94685">
                <a:moveTo>
                  <a:pt x="64884" y="65808"/>
                </a:moveTo>
                <a:cubicBezTo>
                  <a:pt x="72289" y="65808"/>
                  <a:pt x="89642" y="69568"/>
                  <a:pt x="99591" y="65808"/>
                </a:cubicBezTo>
                <a:cubicBezTo>
                  <a:pt x="109540" y="62048"/>
                  <a:pt x="109482" y="73270"/>
                  <a:pt x="115672" y="71997"/>
                </a:cubicBezTo>
                <a:cubicBezTo>
                  <a:pt x="121861" y="70724"/>
                  <a:pt x="134182" y="79401"/>
                  <a:pt x="141586" y="85590"/>
                </a:cubicBezTo>
                <a:cubicBezTo>
                  <a:pt x="145924" y="88945"/>
                  <a:pt x="150552" y="91947"/>
                  <a:pt x="155411" y="94556"/>
                </a:cubicBezTo>
                <a:cubicBezTo>
                  <a:pt x="156799" y="92295"/>
                  <a:pt x="158592" y="90328"/>
                  <a:pt x="160732" y="88772"/>
                </a:cubicBezTo>
                <a:cubicBezTo>
                  <a:pt x="167153" y="83913"/>
                  <a:pt x="173632" y="86342"/>
                  <a:pt x="179301" y="86342"/>
                </a:cubicBezTo>
                <a:cubicBezTo>
                  <a:pt x="184969" y="86342"/>
                  <a:pt x="185779" y="79922"/>
                  <a:pt x="189770" y="76682"/>
                </a:cubicBezTo>
                <a:cubicBezTo>
                  <a:pt x="192316" y="74924"/>
                  <a:pt x="195208" y="73761"/>
                  <a:pt x="198274" y="73270"/>
                </a:cubicBezTo>
                <a:cubicBezTo>
                  <a:pt x="196133" y="68758"/>
                  <a:pt x="196018" y="60081"/>
                  <a:pt x="192489" y="56495"/>
                </a:cubicBezTo>
                <a:cubicBezTo>
                  <a:pt x="188960" y="52908"/>
                  <a:pt x="182193" y="44926"/>
                  <a:pt x="183986" y="40703"/>
                </a:cubicBezTo>
                <a:cubicBezTo>
                  <a:pt x="186300" y="35520"/>
                  <a:pt x="185085" y="29458"/>
                  <a:pt x="180978" y="25548"/>
                </a:cubicBezTo>
                <a:cubicBezTo>
                  <a:pt x="178953" y="23599"/>
                  <a:pt x="177391" y="21233"/>
                  <a:pt x="176350" y="18607"/>
                </a:cubicBezTo>
                <a:cubicBezTo>
                  <a:pt x="167732" y="17080"/>
                  <a:pt x="158997" y="16513"/>
                  <a:pt x="150263" y="16929"/>
                </a:cubicBezTo>
                <a:cubicBezTo>
                  <a:pt x="145404" y="18549"/>
                  <a:pt x="126083" y="3162"/>
                  <a:pt x="122787" y="733"/>
                </a:cubicBezTo>
                <a:cubicBezTo>
                  <a:pt x="120704" y="-829"/>
                  <a:pt x="106301" y="-19"/>
                  <a:pt x="93402" y="1196"/>
                </a:cubicBezTo>
                <a:cubicBezTo>
                  <a:pt x="85940" y="9467"/>
                  <a:pt x="91319" y="15541"/>
                  <a:pt x="90914" y="28209"/>
                </a:cubicBezTo>
                <a:cubicBezTo>
                  <a:pt x="90509" y="40877"/>
                  <a:pt x="76337" y="38736"/>
                  <a:pt x="68702" y="38736"/>
                </a:cubicBezTo>
                <a:cubicBezTo>
                  <a:pt x="61067" y="38736"/>
                  <a:pt x="48514" y="15599"/>
                  <a:pt x="44465" y="10451"/>
                </a:cubicBezTo>
                <a:cubicBezTo>
                  <a:pt x="40416" y="5302"/>
                  <a:pt x="27517" y="16929"/>
                  <a:pt x="18204" y="22540"/>
                </a:cubicBezTo>
                <a:cubicBezTo>
                  <a:pt x="8891" y="28151"/>
                  <a:pt x="13750" y="39084"/>
                  <a:pt x="7329" y="44347"/>
                </a:cubicBezTo>
                <a:cubicBezTo>
                  <a:pt x="-711" y="50508"/>
                  <a:pt x="-2504" y="61886"/>
                  <a:pt x="3280" y="70204"/>
                </a:cubicBezTo>
                <a:cubicBezTo>
                  <a:pt x="3280" y="70724"/>
                  <a:pt x="3685" y="71187"/>
                  <a:pt x="3917" y="71650"/>
                </a:cubicBezTo>
                <a:cubicBezTo>
                  <a:pt x="11494" y="71505"/>
                  <a:pt x="18898" y="69521"/>
                  <a:pt x="25550" y="65865"/>
                </a:cubicBezTo>
                <a:cubicBezTo>
                  <a:pt x="33822" y="59676"/>
                  <a:pt x="57307" y="65808"/>
                  <a:pt x="64884" y="65808"/>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2" name="Forma libre: forma 151">
            <a:extLst>
              <a:ext uri="{FF2B5EF4-FFF2-40B4-BE49-F238E27FC236}">
                <a16:creationId xmlns:a16="http://schemas.microsoft.com/office/drawing/2014/main" id="{EBC125A4-B883-FFB8-0647-56A484805150}"/>
              </a:ext>
            </a:extLst>
          </p:cNvPr>
          <p:cNvSpPr/>
          <p:nvPr/>
        </p:nvSpPr>
        <p:spPr>
          <a:xfrm>
            <a:off x="6749471" y="2731536"/>
            <a:ext cx="156679" cy="96222"/>
          </a:xfrm>
          <a:custGeom>
            <a:avLst/>
            <a:gdLst>
              <a:gd name="connsiteX0" fmla="*/ 20347 w 156679"/>
              <a:gd name="connsiteY0" fmla="*/ 47425 h 96222"/>
              <a:gd name="connsiteX1" fmla="*/ 36717 w 156679"/>
              <a:gd name="connsiteY1" fmla="*/ 53210 h 96222"/>
              <a:gd name="connsiteX2" fmla="*/ 51814 w 156679"/>
              <a:gd name="connsiteY2" fmla="*/ 62291 h 96222"/>
              <a:gd name="connsiteX3" fmla="*/ 51814 w 156679"/>
              <a:gd name="connsiteY3" fmla="*/ 81727 h 96222"/>
              <a:gd name="connsiteX4" fmla="*/ 73216 w 156679"/>
              <a:gd name="connsiteY4" fmla="*/ 94453 h 96222"/>
              <a:gd name="connsiteX5" fmla="*/ 93230 w 156679"/>
              <a:gd name="connsiteY5" fmla="*/ 95899 h 96222"/>
              <a:gd name="connsiteX6" fmla="*/ 106939 w 156679"/>
              <a:gd name="connsiteY6" fmla="*/ 89363 h 96222"/>
              <a:gd name="connsiteX7" fmla="*/ 124698 w 156679"/>
              <a:gd name="connsiteY7" fmla="*/ 83578 h 96222"/>
              <a:gd name="connsiteX8" fmla="*/ 128747 w 156679"/>
              <a:gd name="connsiteY8" fmla="*/ 70621 h 96222"/>
              <a:gd name="connsiteX9" fmla="*/ 142514 w 156679"/>
              <a:gd name="connsiteY9" fmla="*/ 57722 h 96222"/>
              <a:gd name="connsiteX10" fmla="*/ 151364 w 156679"/>
              <a:gd name="connsiteY10" fmla="*/ 50433 h 96222"/>
              <a:gd name="connsiteX11" fmla="*/ 154603 w 156679"/>
              <a:gd name="connsiteY11" fmla="*/ 39906 h 96222"/>
              <a:gd name="connsiteX12" fmla="*/ 156570 w 156679"/>
              <a:gd name="connsiteY12" fmla="*/ 31345 h 96222"/>
              <a:gd name="connsiteX13" fmla="*/ 142745 w 156679"/>
              <a:gd name="connsiteY13" fmla="*/ 22379 h 96222"/>
              <a:gd name="connsiteX14" fmla="*/ 116831 w 156679"/>
              <a:gd name="connsiteY14" fmla="*/ 8785 h 96222"/>
              <a:gd name="connsiteX15" fmla="*/ 100750 w 156679"/>
              <a:gd name="connsiteY15" fmla="*/ 2596 h 96222"/>
              <a:gd name="connsiteX16" fmla="*/ 66044 w 156679"/>
              <a:gd name="connsiteY16" fmla="*/ 2596 h 96222"/>
              <a:gd name="connsiteX17" fmla="*/ 26536 w 156679"/>
              <a:gd name="connsiteY17" fmla="*/ 2596 h 96222"/>
              <a:gd name="connsiteX18" fmla="*/ 4902 w 156679"/>
              <a:gd name="connsiteY18" fmla="*/ 8381 h 96222"/>
              <a:gd name="connsiteX19" fmla="*/ 2241 w 156679"/>
              <a:gd name="connsiteY19" fmla="*/ 38055 h 96222"/>
              <a:gd name="connsiteX20" fmla="*/ 3572 w 156679"/>
              <a:gd name="connsiteY20" fmla="*/ 45632 h 96222"/>
              <a:gd name="connsiteX21" fmla="*/ 20347 w 156679"/>
              <a:gd name="connsiteY21" fmla="*/ 47425 h 9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679" h="96222">
                <a:moveTo>
                  <a:pt x="20347" y="47425"/>
                </a:moveTo>
                <a:cubicBezTo>
                  <a:pt x="23355" y="51648"/>
                  <a:pt x="33072" y="55292"/>
                  <a:pt x="36717" y="53210"/>
                </a:cubicBezTo>
                <a:cubicBezTo>
                  <a:pt x="40361" y="51127"/>
                  <a:pt x="51814" y="57490"/>
                  <a:pt x="51814" y="62291"/>
                </a:cubicBezTo>
                <a:cubicBezTo>
                  <a:pt x="51814" y="67092"/>
                  <a:pt x="48806" y="81727"/>
                  <a:pt x="51814" y="81727"/>
                </a:cubicBezTo>
                <a:cubicBezTo>
                  <a:pt x="54822" y="81727"/>
                  <a:pt x="72001" y="87107"/>
                  <a:pt x="73216" y="94453"/>
                </a:cubicBezTo>
                <a:cubicBezTo>
                  <a:pt x="79926" y="94412"/>
                  <a:pt x="86578" y="94898"/>
                  <a:pt x="93230" y="95899"/>
                </a:cubicBezTo>
                <a:cubicBezTo>
                  <a:pt x="98726" y="96853"/>
                  <a:pt x="104221" y="94233"/>
                  <a:pt x="106939" y="89363"/>
                </a:cubicBezTo>
                <a:cubicBezTo>
                  <a:pt x="110179" y="85313"/>
                  <a:pt x="121458" y="83578"/>
                  <a:pt x="124698" y="83578"/>
                </a:cubicBezTo>
                <a:cubicBezTo>
                  <a:pt x="127937" y="83578"/>
                  <a:pt x="127937" y="74670"/>
                  <a:pt x="128747" y="70621"/>
                </a:cubicBezTo>
                <a:cubicBezTo>
                  <a:pt x="131639" y="64802"/>
                  <a:pt x="136498" y="60221"/>
                  <a:pt x="142514" y="57722"/>
                </a:cubicBezTo>
                <a:cubicBezTo>
                  <a:pt x="147315" y="56102"/>
                  <a:pt x="146505" y="50433"/>
                  <a:pt x="151364" y="50433"/>
                </a:cubicBezTo>
                <a:cubicBezTo>
                  <a:pt x="156223" y="50433"/>
                  <a:pt x="155413" y="43955"/>
                  <a:pt x="154603" y="39906"/>
                </a:cubicBezTo>
                <a:cubicBezTo>
                  <a:pt x="154140" y="36909"/>
                  <a:pt x="154892" y="33855"/>
                  <a:pt x="156570" y="31345"/>
                </a:cubicBezTo>
                <a:cubicBezTo>
                  <a:pt x="151711" y="28736"/>
                  <a:pt x="147084" y="25734"/>
                  <a:pt x="142745" y="22379"/>
                </a:cubicBezTo>
                <a:cubicBezTo>
                  <a:pt x="135341" y="16190"/>
                  <a:pt x="123020" y="7571"/>
                  <a:pt x="116831" y="8785"/>
                </a:cubicBezTo>
                <a:cubicBezTo>
                  <a:pt x="110641" y="10000"/>
                  <a:pt x="110641" y="-1106"/>
                  <a:pt x="100750" y="2596"/>
                </a:cubicBezTo>
                <a:cubicBezTo>
                  <a:pt x="90859" y="6298"/>
                  <a:pt x="73563" y="2596"/>
                  <a:pt x="66044" y="2596"/>
                </a:cubicBezTo>
                <a:cubicBezTo>
                  <a:pt x="58524" y="2596"/>
                  <a:pt x="35213" y="-3535"/>
                  <a:pt x="26536" y="2596"/>
                </a:cubicBezTo>
                <a:cubicBezTo>
                  <a:pt x="19884" y="6252"/>
                  <a:pt x="12480" y="8236"/>
                  <a:pt x="4902" y="8381"/>
                </a:cubicBezTo>
                <a:cubicBezTo>
                  <a:pt x="10166" y="17890"/>
                  <a:pt x="9125" y="29632"/>
                  <a:pt x="2241" y="38055"/>
                </a:cubicBezTo>
                <a:cubicBezTo>
                  <a:pt x="-2155" y="43029"/>
                  <a:pt x="390" y="43839"/>
                  <a:pt x="3572" y="45632"/>
                </a:cubicBezTo>
                <a:cubicBezTo>
                  <a:pt x="10629" y="45285"/>
                  <a:pt x="18148" y="44128"/>
                  <a:pt x="20347" y="4742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3" name="Forma libre: forma 152">
            <a:extLst>
              <a:ext uri="{FF2B5EF4-FFF2-40B4-BE49-F238E27FC236}">
                <a16:creationId xmlns:a16="http://schemas.microsoft.com/office/drawing/2014/main" id="{AED231C3-F30E-AE56-436E-3EEBAB558E78}"/>
              </a:ext>
            </a:extLst>
          </p:cNvPr>
          <p:cNvSpPr/>
          <p:nvPr/>
        </p:nvSpPr>
        <p:spPr>
          <a:xfrm>
            <a:off x="6359084" y="3056885"/>
            <a:ext cx="121910" cy="64817"/>
          </a:xfrm>
          <a:custGeom>
            <a:avLst/>
            <a:gdLst>
              <a:gd name="connsiteX0" fmla="*/ 108092 w 121910"/>
              <a:gd name="connsiteY0" fmla="*/ 27379 h 64817"/>
              <a:gd name="connsiteX1" fmla="*/ 94152 w 121910"/>
              <a:gd name="connsiteY1" fmla="*/ 20090 h 64817"/>
              <a:gd name="connsiteX2" fmla="*/ 94152 w 121910"/>
              <a:gd name="connsiteY2" fmla="*/ 8521 h 64817"/>
              <a:gd name="connsiteX3" fmla="*/ 78418 w 121910"/>
              <a:gd name="connsiteY3" fmla="*/ 1638 h 64817"/>
              <a:gd name="connsiteX4" fmla="*/ 59850 w 121910"/>
              <a:gd name="connsiteY4" fmla="*/ 2448 h 64817"/>
              <a:gd name="connsiteX5" fmla="*/ 36713 w 121910"/>
              <a:gd name="connsiteY5" fmla="*/ 3258 h 64817"/>
              <a:gd name="connsiteX6" fmla="*/ 33068 w 121910"/>
              <a:gd name="connsiteY6" fmla="*/ 7249 h 64817"/>
              <a:gd name="connsiteX7" fmla="*/ 19070 w 121910"/>
              <a:gd name="connsiteY7" fmla="*/ 18818 h 64817"/>
              <a:gd name="connsiteX8" fmla="*/ 1717 w 121910"/>
              <a:gd name="connsiteY8" fmla="*/ 40625 h 64817"/>
              <a:gd name="connsiteX9" fmla="*/ 5361 w 121910"/>
              <a:gd name="connsiteY9" fmla="*/ 49707 h 64817"/>
              <a:gd name="connsiteX10" fmla="*/ 17450 w 121910"/>
              <a:gd name="connsiteY10" fmla="*/ 50921 h 64817"/>
              <a:gd name="connsiteX11" fmla="*/ 22309 w 121910"/>
              <a:gd name="connsiteY11" fmla="*/ 64283 h 64817"/>
              <a:gd name="connsiteX12" fmla="*/ 22309 w 121910"/>
              <a:gd name="connsiteY12" fmla="*/ 64688 h 64817"/>
              <a:gd name="connsiteX13" fmla="*/ 45447 w 121910"/>
              <a:gd name="connsiteY13" fmla="*/ 63069 h 64817"/>
              <a:gd name="connsiteX14" fmla="*/ 59156 w 121910"/>
              <a:gd name="connsiteY14" fmla="*/ 43691 h 64817"/>
              <a:gd name="connsiteX15" fmla="*/ 74485 w 121910"/>
              <a:gd name="connsiteY15" fmla="*/ 62259 h 64817"/>
              <a:gd name="connsiteX16" fmla="*/ 81773 w 121910"/>
              <a:gd name="connsiteY16" fmla="*/ 52541 h 64817"/>
              <a:gd name="connsiteX17" fmla="*/ 91433 w 121910"/>
              <a:gd name="connsiteY17" fmla="*/ 46757 h 64817"/>
              <a:gd name="connsiteX18" fmla="*/ 104390 w 121910"/>
              <a:gd name="connsiteY18" fmla="*/ 43517 h 64817"/>
              <a:gd name="connsiteX19" fmla="*/ 112431 w 121910"/>
              <a:gd name="connsiteY19" fmla="*/ 40278 h 64817"/>
              <a:gd name="connsiteX20" fmla="*/ 116538 w 121910"/>
              <a:gd name="connsiteY20" fmla="*/ 33799 h 64817"/>
              <a:gd name="connsiteX21" fmla="*/ 121801 w 121910"/>
              <a:gd name="connsiteY21" fmla="*/ 28883 h 64817"/>
              <a:gd name="connsiteX22" fmla="*/ 108092 w 121910"/>
              <a:gd name="connsiteY22" fmla="*/ 27379 h 6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0" h="64817">
                <a:moveTo>
                  <a:pt x="108092" y="27379"/>
                </a:moveTo>
                <a:cubicBezTo>
                  <a:pt x="102655" y="29808"/>
                  <a:pt x="94152" y="22520"/>
                  <a:pt x="94152" y="20090"/>
                </a:cubicBezTo>
                <a:cubicBezTo>
                  <a:pt x="93579" y="16255"/>
                  <a:pt x="93579" y="12357"/>
                  <a:pt x="94152" y="8521"/>
                </a:cubicBezTo>
                <a:cubicBezTo>
                  <a:pt x="89096" y="5814"/>
                  <a:pt x="83838" y="3512"/>
                  <a:pt x="78418" y="1638"/>
                </a:cubicBezTo>
                <a:cubicBezTo>
                  <a:pt x="72437" y="-977"/>
                  <a:pt x="65582" y="-676"/>
                  <a:pt x="59850" y="2448"/>
                </a:cubicBezTo>
                <a:cubicBezTo>
                  <a:pt x="52249" y="4114"/>
                  <a:pt x="44412" y="4391"/>
                  <a:pt x="36713" y="3258"/>
                </a:cubicBezTo>
                <a:cubicBezTo>
                  <a:pt x="36018" y="5629"/>
                  <a:pt x="34977" y="7249"/>
                  <a:pt x="33068" y="7249"/>
                </a:cubicBezTo>
                <a:cubicBezTo>
                  <a:pt x="26491" y="7908"/>
                  <a:pt x="20961" y="12478"/>
                  <a:pt x="19070" y="18818"/>
                </a:cubicBezTo>
                <a:cubicBezTo>
                  <a:pt x="17855" y="24892"/>
                  <a:pt x="5187" y="29750"/>
                  <a:pt x="1717" y="40625"/>
                </a:cubicBezTo>
                <a:cubicBezTo>
                  <a:pt x="-1754" y="51500"/>
                  <a:pt x="-135" y="56417"/>
                  <a:pt x="5361" y="49707"/>
                </a:cubicBezTo>
                <a:cubicBezTo>
                  <a:pt x="10856" y="42997"/>
                  <a:pt x="17450" y="45484"/>
                  <a:pt x="17450" y="50921"/>
                </a:cubicBezTo>
                <a:cubicBezTo>
                  <a:pt x="17450" y="56359"/>
                  <a:pt x="24739" y="56995"/>
                  <a:pt x="22309" y="64283"/>
                </a:cubicBezTo>
                <a:cubicBezTo>
                  <a:pt x="22280" y="64416"/>
                  <a:pt x="22280" y="64555"/>
                  <a:pt x="22309" y="64688"/>
                </a:cubicBezTo>
                <a:cubicBezTo>
                  <a:pt x="30581" y="63936"/>
                  <a:pt x="42092" y="63069"/>
                  <a:pt x="45447" y="63069"/>
                </a:cubicBezTo>
                <a:cubicBezTo>
                  <a:pt x="51231" y="63069"/>
                  <a:pt x="56726" y="45311"/>
                  <a:pt x="59156" y="43691"/>
                </a:cubicBezTo>
                <a:cubicBezTo>
                  <a:pt x="61586" y="42071"/>
                  <a:pt x="68064" y="56590"/>
                  <a:pt x="74485" y="62259"/>
                </a:cubicBezTo>
                <a:cubicBezTo>
                  <a:pt x="80905" y="67928"/>
                  <a:pt x="81773" y="57400"/>
                  <a:pt x="81773" y="52541"/>
                </a:cubicBezTo>
                <a:cubicBezTo>
                  <a:pt x="81773" y="47682"/>
                  <a:pt x="87558" y="46120"/>
                  <a:pt x="91433" y="46757"/>
                </a:cubicBezTo>
                <a:cubicBezTo>
                  <a:pt x="95309" y="47393"/>
                  <a:pt x="104390" y="49186"/>
                  <a:pt x="104390" y="43517"/>
                </a:cubicBezTo>
                <a:cubicBezTo>
                  <a:pt x="104390" y="37849"/>
                  <a:pt x="109249" y="40278"/>
                  <a:pt x="112431" y="40278"/>
                </a:cubicBezTo>
                <a:cubicBezTo>
                  <a:pt x="115612" y="40278"/>
                  <a:pt x="116538" y="33799"/>
                  <a:pt x="116538" y="33799"/>
                </a:cubicBezTo>
                <a:lnTo>
                  <a:pt x="121801" y="28883"/>
                </a:lnTo>
                <a:cubicBezTo>
                  <a:pt x="117677" y="26378"/>
                  <a:pt x="112662" y="25829"/>
                  <a:pt x="108092" y="2737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4" name="Forma libre: forma 153">
            <a:extLst>
              <a:ext uri="{FF2B5EF4-FFF2-40B4-BE49-F238E27FC236}">
                <a16:creationId xmlns:a16="http://schemas.microsoft.com/office/drawing/2014/main" id="{C76E1CBC-A17E-9F44-8099-262B535C35AC}"/>
              </a:ext>
            </a:extLst>
          </p:cNvPr>
          <p:cNvSpPr/>
          <p:nvPr/>
        </p:nvSpPr>
        <p:spPr>
          <a:xfrm>
            <a:off x="6355131" y="2795047"/>
            <a:ext cx="241723" cy="273611"/>
          </a:xfrm>
          <a:custGeom>
            <a:avLst/>
            <a:gdLst>
              <a:gd name="connsiteX0" fmla="*/ 30658 w 241723"/>
              <a:gd name="connsiteY0" fmla="*/ 72185 h 273611"/>
              <a:gd name="connsiteX1" fmla="*/ 16949 w 241723"/>
              <a:gd name="connsiteY1" fmla="*/ 85027 h 273611"/>
              <a:gd name="connsiteX2" fmla="*/ 25857 w 241723"/>
              <a:gd name="connsiteY2" fmla="*/ 99604 h 273611"/>
              <a:gd name="connsiteX3" fmla="*/ 20073 w 241723"/>
              <a:gd name="connsiteY3" fmla="*/ 108511 h 273611"/>
              <a:gd name="connsiteX4" fmla="*/ 4802 w 241723"/>
              <a:gd name="connsiteY4" fmla="*/ 115800 h 273611"/>
              <a:gd name="connsiteX5" fmla="*/ 3182 w 241723"/>
              <a:gd name="connsiteY5" fmla="*/ 128699 h 273611"/>
              <a:gd name="connsiteX6" fmla="*/ -57 w 241723"/>
              <a:gd name="connsiteY6" fmla="*/ 150506 h 273611"/>
              <a:gd name="connsiteX7" fmla="*/ 7173 w 241723"/>
              <a:gd name="connsiteY7" fmla="*/ 167455 h 273611"/>
              <a:gd name="connsiteX8" fmla="*/ 1389 w 241723"/>
              <a:gd name="connsiteY8" fmla="*/ 177982 h 273611"/>
              <a:gd name="connsiteX9" fmla="*/ 10008 w 241723"/>
              <a:gd name="connsiteY9" fmla="*/ 200600 h 273611"/>
              <a:gd name="connsiteX10" fmla="*/ 15792 w 241723"/>
              <a:gd name="connsiteY10" fmla="*/ 203781 h 273611"/>
              <a:gd name="connsiteX11" fmla="*/ 33145 w 241723"/>
              <a:gd name="connsiteY11" fmla="*/ 212226 h 273611"/>
              <a:gd name="connsiteX12" fmla="*/ 47664 w 241723"/>
              <a:gd name="connsiteY12" fmla="*/ 217143 h 273611"/>
              <a:gd name="connsiteX13" fmla="*/ 53102 w 241723"/>
              <a:gd name="connsiteY13" fmla="*/ 226225 h 273611"/>
              <a:gd name="connsiteX14" fmla="*/ 42227 w 241723"/>
              <a:gd name="connsiteY14" fmla="*/ 248610 h 273611"/>
              <a:gd name="connsiteX15" fmla="*/ 39856 w 241723"/>
              <a:gd name="connsiteY15" fmla="*/ 265212 h 273611"/>
              <a:gd name="connsiteX16" fmla="*/ 62993 w 241723"/>
              <a:gd name="connsiteY16" fmla="*/ 264402 h 273611"/>
              <a:gd name="connsiteX17" fmla="*/ 81561 w 241723"/>
              <a:gd name="connsiteY17" fmla="*/ 263592 h 273611"/>
              <a:gd name="connsiteX18" fmla="*/ 97295 w 241723"/>
              <a:gd name="connsiteY18" fmla="*/ 270475 h 273611"/>
              <a:gd name="connsiteX19" fmla="*/ 100303 w 241723"/>
              <a:gd name="connsiteY19" fmla="*/ 267410 h 273611"/>
              <a:gd name="connsiteX20" fmla="*/ 116094 w 241723"/>
              <a:gd name="connsiteY20" fmla="*/ 271632 h 273611"/>
              <a:gd name="connsiteX21" fmla="*/ 132406 w 241723"/>
              <a:gd name="connsiteY21" fmla="*/ 269203 h 273611"/>
              <a:gd name="connsiteX22" fmla="*/ 148198 w 241723"/>
              <a:gd name="connsiteY22" fmla="*/ 267988 h 273611"/>
              <a:gd name="connsiteX23" fmla="*/ 176079 w 241723"/>
              <a:gd name="connsiteY23" fmla="*/ 262551 h 273611"/>
              <a:gd name="connsiteX24" fmla="*/ 186954 w 241723"/>
              <a:gd name="connsiteY24" fmla="*/ 254684 h 273611"/>
              <a:gd name="connsiteX25" fmla="*/ 197828 w 241723"/>
              <a:gd name="connsiteY25" fmla="*/ 237736 h 273611"/>
              <a:gd name="connsiteX26" fmla="*/ 212984 w 241723"/>
              <a:gd name="connsiteY26" fmla="*/ 225588 h 273611"/>
              <a:gd name="connsiteX27" fmla="*/ 184524 w 241723"/>
              <a:gd name="connsiteY27" fmla="*/ 204417 h 273611"/>
              <a:gd name="connsiteX28" fmla="*/ 175385 w 241723"/>
              <a:gd name="connsiteY28" fmla="*/ 181280 h 273611"/>
              <a:gd name="connsiteX29" fmla="*/ 173592 w 241723"/>
              <a:gd name="connsiteY29" fmla="*/ 166761 h 273611"/>
              <a:gd name="connsiteX30" fmla="*/ 202109 w 241723"/>
              <a:gd name="connsiteY30" fmla="*/ 155828 h 273611"/>
              <a:gd name="connsiteX31" fmla="*/ 224494 w 241723"/>
              <a:gd name="connsiteY31" fmla="*/ 145532 h 273611"/>
              <a:gd name="connsiteX32" fmla="*/ 239013 w 241723"/>
              <a:gd name="connsiteY32" fmla="*/ 144896 h 273611"/>
              <a:gd name="connsiteX33" fmla="*/ 239592 w 241723"/>
              <a:gd name="connsiteY33" fmla="*/ 129798 h 273611"/>
              <a:gd name="connsiteX34" fmla="*/ 232998 w 241723"/>
              <a:gd name="connsiteY34" fmla="*/ 107991 h 273611"/>
              <a:gd name="connsiteX35" fmla="*/ 229296 w 241723"/>
              <a:gd name="connsiteY35" fmla="*/ 93414 h 273611"/>
              <a:gd name="connsiteX36" fmla="*/ 223511 w 241723"/>
              <a:gd name="connsiteY36" fmla="*/ 80110 h 273611"/>
              <a:gd name="connsiteX37" fmla="*/ 221718 w 241723"/>
              <a:gd name="connsiteY37" fmla="*/ 69177 h 273611"/>
              <a:gd name="connsiteX38" fmla="*/ 222296 w 241723"/>
              <a:gd name="connsiteY38" fmla="*/ 40718 h 273611"/>
              <a:gd name="connsiteX39" fmla="*/ 222296 w 241723"/>
              <a:gd name="connsiteY39" fmla="*/ 37421 h 273611"/>
              <a:gd name="connsiteX40" fmla="*/ 219983 w 241723"/>
              <a:gd name="connsiteY40" fmla="*/ 34066 h 273611"/>
              <a:gd name="connsiteX41" fmla="*/ 203844 w 241723"/>
              <a:gd name="connsiteY41" fmla="*/ 25216 h 273611"/>
              <a:gd name="connsiteX42" fmla="*/ 206216 w 241723"/>
              <a:gd name="connsiteY42" fmla="*/ 9424 h 273611"/>
              <a:gd name="connsiteX43" fmla="*/ 182037 w 241723"/>
              <a:gd name="connsiteY43" fmla="*/ 15845 h 273611"/>
              <a:gd name="connsiteX44" fmla="*/ 151379 w 241723"/>
              <a:gd name="connsiteY44" fmla="*/ 33661 h 273611"/>
              <a:gd name="connsiteX45" fmla="*/ 137208 w 241723"/>
              <a:gd name="connsiteY45" fmla="*/ 23133 h 273611"/>
              <a:gd name="connsiteX46" fmla="*/ 127547 w 241723"/>
              <a:gd name="connsiteY46" fmla="*/ 18332 h 273611"/>
              <a:gd name="connsiteX47" fmla="*/ 107360 w 241723"/>
              <a:gd name="connsiteY47" fmla="*/ 8614 h 273611"/>
              <a:gd name="connsiteX48" fmla="*/ 105740 w 241723"/>
              <a:gd name="connsiteY48" fmla="*/ 2309 h 273611"/>
              <a:gd name="connsiteX49" fmla="*/ 95618 w 241723"/>
              <a:gd name="connsiteY49" fmla="*/ 2309 h 273611"/>
              <a:gd name="connsiteX50" fmla="*/ 70744 w 241723"/>
              <a:gd name="connsiteY50" fmla="*/ -120 h 273611"/>
              <a:gd name="connsiteX51" fmla="*/ 75430 w 241723"/>
              <a:gd name="connsiteY51" fmla="*/ 12837 h 273611"/>
              <a:gd name="connsiteX52" fmla="*/ 82718 w 241723"/>
              <a:gd name="connsiteY52" fmla="*/ 36264 h 273611"/>
              <a:gd name="connsiteX53" fmla="*/ 71149 w 241723"/>
              <a:gd name="connsiteY53" fmla="*/ 47139 h 273611"/>
              <a:gd name="connsiteX54" fmla="*/ 50962 w 241723"/>
              <a:gd name="connsiteY54" fmla="*/ 44304 h 273611"/>
              <a:gd name="connsiteX55" fmla="*/ 30369 w 241723"/>
              <a:gd name="connsiteY55" fmla="*/ 47544 h 273611"/>
              <a:gd name="connsiteX56" fmla="*/ 29617 w 241723"/>
              <a:gd name="connsiteY56" fmla="*/ 53328 h 273611"/>
              <a:gd name="connsiteX57" fmla="*/ 30658 w 241723"/>
              <a:gd name="connsiteY57" fmla="*/ 72185 h 273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1723" h="273611">
                <a:moveTo>
                  <a:pt x="30658" y="72185"/>
                </a:moveTo>
                <a:cubicBezTo>
                  <a:pt x="24238" y="81845"/>
                  <a:pt x="15330" y="82655"/>
                  <a:pt x="16949" y="85027"/>
                </a:cubicBezTo>
                <a:cubicBezTo>
                  <a:pt x="18569" y="87398"/>
                  <a:pt x="28518" y="95612"/>
                  <a:pt x="25857" y="99604"/>
                </a:cubicBezTo>
                <a:cubicBezTo>
                  <a:pt x="23196" y="103595"/>
                  <a:pt x="20073" y="101223"/>
                  <a:pt x="20073" y="108511"/>
                </a:cubicBezTo>
                <a:cubicBezTo>
                  <a:pt x="20073" y="115800"/>
                  <a:pt x="8793" y="115800"/>
                  <a:pt x="4802" y="115800"/>
                </a:cubicBezTo>
                <a:cubicBezTo>
                  <a:pt x="811" y="115800"/>
                  <a:pt x="5612" y="123030"/>
                  <a:pt x="3182" y="128699"/>
                </a:cubicBezTo>
                <a:cubicBezTo>
                  <a:pt x="1314" y="135831"/>
                  <a:pt x="226" y="143143"/>
                  <a:pt x="-57" y="150506"/>
                </a:cubicBezTo>
                <a:cubicBezTo>
                  <a:pt x="-867" y="155365"/>
                  <a:pt x="7983" y="163406"/>
                  <a:pt x="7173" y="167455"/>
                </a:cubicBezTo>
                <a:cubicBezTo>
                  <a:pt x="6364" y="171504"/>
                  <a:pt x="-57" y="174685"/>
                  <a:pt x="1389" y="177982"/>
                </a:cubicBezTo>
                <a:cubicBezTo>
                  <a:pt x="6532" y="184450"/>
                  <a:pt x="9545" y="192351"/>
                  <a:pt x="10008" y="200600"/>
                </a:cubicBezTo>
                <a:cubicBezTo>
                  <a:pt x="12195" y="201103"/>
                  <a:pt x="14196" y="202202"/>
                  <a:pt x="15792" y="203781"/>
                </a:cubicBezTo>
                <a:cubicBezTo>
                  <a:pt x="19917" y="209178"/>
                  <a:pt x="26355" y="212307"/>
                  <a:pt x="33145" y="212226"/>
                </a:cubicBezTo>
                <a:cubicBezTo>
                  <a:pt x="41013" y="212226"/>
                  <a:pt x="44078" y="217721"/>
                  <a:pt x="47664" y="217143"/>
                </a:cubicBezTo>
                <a:cubicBezTo>
                  <a:pt x="51251" y="216565"/>
                  <a:pt x="61026" y="219573"/>
                  <a:pt x="53102" y="226225"/>
                </a:cubicBezTo>
                <a:cubicBezTo>
                  <a:pt x="45177" y="232877"/>
                  <a:pt x="44078" y="240744"/>
                  <a:pt x="42227" y="248610"/>
                </a:cubicBezTo>
                <a:cubicBezTo>
                  <a:pt x="41070" y="253701"/>
                  <a:pt x="41128" y="260816"/>
                  <a:pt x="39856" y="265212"/>
                </a:cubicBezTo>
                <a:cubicBezTo>
                  <a:pt x="47555" y="266345"/>
                  <a:pt x="55392" y="266068"/>
                  <a:pt x="62993" y="264402"/>
                </a:cubicBezTo>
                <a:cubicBezTo>
                  <a:pt x="68726" y="261278"/>
                  <a:pt x="75580" y="260977"/>
                  <a:pt x="81561" y="263592"/>
                </a:cubicBezTo>
                <a:cubicBezTo>
                  <a:pt x="86981" y="265466"/>
                  <a:pt x="92239" y="267768"/>
                  <a:pt x="97295" y="270475"/>
                </a:cubicBezTo>
                <a:cubicBezTo>
                  <a:pt x="97815" y="268856"/>
                  <a:pt x="98683" y="267583"/>
                  <a:pt x="100303" y="267410"/>
                </a:cubicBezTo>
                <a:cubicBezTo>
                  <a:pt x="106087" y="266831"/>
                  <a:pt x="112450" y="277706"/>
                  <a:pt x="116094" y="271632"/>
                </a:cubicBezTo>
                <a:cubicBezTo>
                  <a:pt x="119739" y="265559"/>
                  <a:pt x="128184" y="266831"/>
                  <a:pt x="132406" y="269203"/>
                </a:cubicBezTo>
                <a:cubicBezTo>
                  <a:pt x="137329" y="272460"/>
                  <a:pt x="143831" y="271956"/>
                  <a:pt x="148198" y="267988"/>
                </a:cubicBezTo>
                <a:cubicBezTo>
                  <a:pt x="153057" y="263187"/>
                  <a:pt x="171798" y="260758"/>
                  <a:pt x="176079" y="262551"/>
                </a:cubicBezTo>
                <a:cubicBezTo>
                  <a:pt x="180359" y="264344"/>
                  <a:pt x="191176" y="269203"/>
                  <a:pt x="186954" y="254684"/>
                </a:cubicBezTo>
                <a:cubicBezTo>
                  <a:pt x="182731" y="240165"/>
                  <a:pt x="195977" y="243115"/>
                  <a:pt x="197828" y="237736"/>
                </a:cubicBezTo>
                <a:cubicBezTo>
                  <a:pt x="199679" y="232356"/>
                  <a:pt x="215182" y="229869"/>
                  <a:pt x="212984" y="225588"/>
                </a:cubicBezTo>
                <a:cubicBezTo>
                  <a:pt x="210785" y="221308"/>
                  <a:pt x="190598" y="208640"/>
                  <a:pt x="184524" y="204417"/>
                </a:cubicBezTo>
                <a:cubicBezTo>
                  <a:pt x="178450" y="200195"/>
                  <a:pt x="178450" y="187064"/>
                  <a:pt x="175385" y="181280"/>
                </a:cubicBezTo>
                <a:cubicBezTo>
                  <a:pt x="172319" y="175495"/>
                  <a:pt x="165725" y="168554"/>
                  <a:pt x="173592" y="166761"/>
                </a:cubicBezTo>
                <a:cubicBezTo>
                  <a:pt x="181458" y="164967"/>
                  <a:pt x="195457" y="161902"/>
                  <a:pt x="202109" y="155828"/>
                </a:cubicBezTo>
                <a:cubicBezTo>
                  <a:pt x="208761" y="149754"/>
                  <a:pt x="220850" y="149176"/>
                  <a:pt x="224494" y="145532"/>
                </a:cubicBezTo>
                <a:cubicBezTo>
                  <a:pt x="228139" y="141888"/>
                  <a:pt x="236584" y="148540"/>
                  <a:pt x="239013" y="144896"/>
                </a:cubicBezTo>
                <a:cubicBezTo>
                  <a:pt x="242258" y="140447"/>
                  <a:pt x="242484" y="134478"/>
                  <a:pt x="239592" y="129798"/>
                </a:cubicBezTo>
                <a:cubicBezTo>
                  <a:pt x="235178" y="123395"/>
                  <a:pt x="232870" y="115771"/>
                  <a:pt x="232998" y="107991"/>
                </a:cubicBezTo>
                <a:cubicBezTo>
                  <a:pt x="232361" y="97695"/>
                  <a:pt x="229296" y="98273"/>
                  <a:pt x="229296" y="93414"/>
                </a:cubicBezTo>
                <a:cubicBezTo>
                  <a:pt x="229712" y="88289"/>
                  <a:pt x="227543" y="83303"/>
                  <a:pt x="223511" y="80110"/>
                </a:cubicBezTo>
                <a:cubicBezTo>
                  <a:pt x="219288" y="77680"/>
                  <a:pt x="217727" y="75887"/>
                  <a:pt x="221718" y="69177"/>
                </a:cubicBezTo>
                <a:cubicBezTo>
                  <a:pt x="225709" y="62467"/>
                  <a:pt x="224147" y="45577"/>
                  <a:pt x="222296" y="40718"/>
                </a:cubicBezTo>
                <a:cubicBezTo>
                  <a:pt x="222002" y="39636"/>
                  <a:pt x="222002" y="38502"/>
                  <a:pt x="222296" y="37421"/>
                </a:cubicBezTo>
                <a:cubicBezTo>
                  <a:pt x="221012" y="36756"/>
                  <a:pt x="220151" y="35500"/>
                  <a:pt x="219983" y="34066"/>
                </a:cubicBezTo>
                <a:cubicBezTo>
                  <a:pt x="218768" y="27587"/>
                  <a:pt x="214198" y="25216"/>
                  <a:pt x="203844" y="25216"/>
                </a:cubicBezTo>
                <a:cubicBezTo>
                  <a:pt x="193490" y="25216"/>
                  <a:pt x="210323" y="14688"/>
                  <a:pt x="206216" y="9424"/>
                </a:cubicBezTo>
                <a:cubicBezTo>
                  <a:pt x="202109" y="4160"/>
                  <a:pt x="191755" y="19084"/>
                  <a:pt x="182037" y="15845"/>
                </a:cubicBezTo>
                <a:cubicBezTo>
                  <a:pt x="172319" y="12606"/>
                  <a:pt x="159825" y="27414"/>
                  <a:pt x="151379" y="33661"/>
                </a:cubicBezTo>
                <a:cubicBezTo>
                  <a:pt x="142934" y="39908"/>
                  <a:pt x="130787" y="32504"/>
                  <a:pt x="137208" y="23133"/>
                </a:cubicBezTo>
                <a:cubicBezTo>
                  <a:pt x="143628" y="13763"/>
                  <a:pt x="137208" y="14688"/>
                  <a:pt x="127547" y="18332"/>
                </a:cubicBezTo>
                <a:cubicBezTo>
                  <a:pt x="117887" y="21976"/>
                  <a:pt x="106145" y="17522"/>
                  <a:pt x="107360" y="8614"/>
                </a:cubicBezTo>
                <a:cubicBezTo>
                  <a:pt x="107574" y="6387"/>
                  <a:pt x="107001" y="4155"/>
                  <a:pt x="105740" y="2309"/>
                </a:cubicBezTo>
                <a:cubicBezTo>
                  <a:pt x="102397" y="2946"/>
                  <a:pt x="98961" y="2946"/>
                  <a:pt x="95618" y="2309"/>
                </a:cubicBezTo>
                <a:cubicBezTo>
                  <a:pt x="87438" y="591"/>
                  <a:pt x="79097" y="-224"/>
                  <a:pt x="70744" y="-120"/>
                </a:cubicBezTo>
                <a:cubicBezTo>
                  <a:pt x="73926" y="4623"/>
                  <a:pt x="77397" y="9193"/>
                  <a:pt x="75430" y="12837"/>
                </a:cubicBezTo>
                <a:cubicBezTo>
                  <a:pt x="71785" y="19721"/>
                  <a:pt x="77454" y="26141"/>
                  <a:pt x="82718" y="36264"/>
                </a:cubicBezTo>
                <a:cubicBezTo>
                  <a:pt x="87982" y="46387"/>
                  <a:pt x="71149" y="40718"/>
                  <a:pt x="71149" y="47139"/>
                </a:cubicBezTo>
                <a:cubicBezTo>
                  <a:pt x="71149" y="53559"/>
                  <a:pt x="55821" y="46792"/>
                  <a:pt x="50962" y="44304"/>
                </a:cubicBezTo>
                <a:cubicBezTo>
                  <a:pt x="46103" y="41817"/>
                  <a:pt x="29964" y="43494"/>
                  <a:pt x="30369" y="47544"/>
                </a:cubicBezTo>
                <a:cubicBezTo>
                  <a:pt x="30525" y="49504"/>
                  <a:pt x="30271" y="51477"/>
                  <a:pt x="29617" y="53328"/>
                </a:cubicBezTo>
                <a:cubicBezTo>
                  <a:pt x="32046" y="61600"/>
                  <a:pt x="32914" y="68599"/>
                  <a:pt x="30658" y="7218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5" name="Forma libre: forma 154">
            <a:extLst>
              <a:ext uri="{FF2B5EF4-FFF2-40B4-BE49-F238E27FC236}">
                <a16:creationId xmlns:a16="http://schemas.microsoft.com/office/drawing/2014/main" id="{5E666E4E-5B2A-9D98-70AE-F79AB01164AB}"/>
              </a:ext>
            </a:extLst>
          </p:cNvPr>
          <p:cNvSpPr/>
          <p:nvPr/>
        </p:nvSpPr>
        <p:spPr>
          <a:xfrm>
            <a:off x="6753384" y="2135557"/>
            <a:ext cx="285961" cy="452463"/>
          </a:xfrm>
          <a:custGeom>
            <a:avLst/>
            <a:gdLst>
              <a:gd name="connsiteX0" fmla="*/ 243820 w 285961"/>
              <a:gd name="connsiteY0" fmla="*/ 380329 h 452463"/>
              <a:gd name="connsiteX1" fmla="*/ 284311 w 285961"/>
              <a:gd name="connsiteY1" fmla="*/ 341573 h 452463"/>
              <a:gd name="connsiteX2" fmla="*/ 277023 w 285961"/>
              <a:gd name="connsiteY2" fmla="*/ 319708 h 452463"/>
              <a:gd name="connsiteX3" fmla="*/ 242316 w 285961"/>
              <a:gd name="connsiteY3" fmla="*/ 293099 h 452463"/>
              <a:gd name="connsiteX4" fmla="*/ 259264 w 285961"/>
              <a:gd name="connsiteY4" fmla="*/ 277713 h 452463"/>
              <a:gd name="connsiteX5" fmla="*/ 244745 w 285961"/>
              <a:gd name="connsiteY5" fmla="*/ 263194 h 452463"/>
              <a:gd name="connsiteX6" fmla="*/ 248737 w 285961"/>
              <a:gd name="connsiteY6" fmla="*/ 249485 h 452463"/>
              <a:gd name="connsiteX7" fmla="*/ 235028 w 285961"/>
              <a:gd name="connsiteY7" fmla="*/ 240577 h 452463"/>
              <a:gd name="connsiteX8" fmla="*/ 241506 w 285961"/>
              <a:gd name="connsiteY8" fmla="*/ 232479 h 452463"/>
              <a:gd name="connsiteX9" fmla="*/ 237457 w 285961"/>
              <a:gd name="connsiteY9" fmla="*/ 211481 h 452463"/>
              <a:gd name="connsiteX10" fmla="*/ 246365 w 285961"/>
              <a:gd name="connsiteY10" fmla="*/ 195342 h 452463"/>
              <a:gd name="connsiteX11" fmla="*/ 220509 w 285961"/>
              <a:gd name="connsiteY11" fmla="*/ 154157 h 452463"/>
              <a:gd name="connsiteX12" fmla="*/ 228607 w 285961"/>
              <a:gd name="connsiteY12" fmla="*/ 138019 h 452463"/>
              <a:gd name="connsiteX13" fmla="*/ 245555 w 285961"/>
              <a:gd name="connsiteY13" fmla="*/ 117831 h 452463"/>
              <a:gd name="connsiteX14" fmla="*/ 226177 w 285961"/>
              <a:gd name="connsiteY14" fmla="*/ 97644 h 452463"/>
              <a:gd name="connsiteX15" fmla="*/ 209229 w 285961"/>
              <a:gd name="connsiteY15" fmla="*/ 87868 h 452463"/>
              <a:gd name="connsiteX16" fmla="*/ 205122 w 285961"/>
              <a:gd name="connsiteY16" fmla="*/ 72539 h 452463"/>
              <a:gd name="connsiteX17" fmla="*/ 209229 w 285961"/>
              <a:gd name="connsiteY17" fmla="*/ 58020 h 452463"/>
              <a:gd name="connsiteX18" fmla="*/ 219699 w 285961"/>
              <a:gd name="connsiteY18" fmla="*/ 49922 h 452463"/>
              <a:gd name="connsiteX19" fmla="*/ 225483 w 285961"/>
              <a:gd name="connsiteY19" fmla="*/ 39973 h 452463"/>
              <a:gd name="connsiteX20" fmla="*/ 225483 w 285961"/>
              <a:gd name="connsiteY20" fmla="*/ 24818 h 452463"/>
              <a:gd name="connsiteX21" fmla="*/ 196966 w 285961"/>
              <a:gd name="connsiteY21" fmla="*/ 5324 h 452463"/>
              <a:gd name="connsiteX22" fmla="*/ 174869 w 285961"/>
              <a:gd name="connsiteY22" fmla="*/ 5324 h 452463"/>
              <a:gd name="connsiteX23" fmla="*/ 147625 w 285961"/>
              <a:gd name="connsiteY23" fmla="*/ 11803 h 452463"/>
              <a:gd name="connsiteX24" fmla="*/ 130792 w 285961"/>
              <a:gd name="connsiteY24" fmla="*/ 29966 h 452463"/>
              <a:gd name="connsiteX25" fmla="*/ 125586 w 285961"/>
              <a:gd name="connsiteY25" fmla="*/ 53103 h 452463"/>
              <a:gd name="connsiteX26" fmla="*/ 114017 w 285961"/>
              <a:gd name="connsiteY26" fmla="*/ 68663 h 452463"/>
              <a:gd name="connsiteX27" fmla="*/ 98457 w 285961"/>
              <a:gd name="connsiteY27" fmla="*/ 64788 h 452463"/>
              <a:gd name="connsiteX28" fmla="*/ 77691 w 285961"/>
              <a:gd name="connsiteY28" fmla="*/ 63458 h 452463"/>
              <a:gd name="connsiteX29" fmla="*/ 47843 w 285961"/>
              <a:gd name="connsiteY29" fmla="*/ 62185 h 452463"/>
              <a:gd name="connsiteX30" fmla="*/ 17996 w 285961"/>
              <a:gd name="connsiteY30" fmla="*/ 40146 h 452463"/>
              <a:gd name="connsiteX31" fmla="*/ -110 w 285961"/>
              <a:gd name="connsiteY31" fmla="*/ 53450 h 452463"/>
              <a:gd name="connsiteX32" fmla="*/ 29680 w 285961"/>
              <a:gd name="connsiteY32" fmla="*/ 75142 h 452463"/>
              <a:gd name="connsiteX33" fmla="*/ 68610 w 285961"/>
              <a:gd name="connsiteY33" fmla="*/ 98280 h 452463"/>
              <a:gd name="connsiteX34" fmla="*/ 69882 w 285961"/>
              <a:gd name="connsiteY34" fmla="*/ 124252 h 452463"/>
              <a:gd name="connsiteX35" fmla="*/ 76360 w 285961"/>
              <a:gd name="connsiteY35" fmla="*/ 148893 h 452463"/>
              <a:gd name="connsiteX36" fmla="*/ 75088 w 285961"/>
              <a:gd name="connsiteY36" fmla="*/ 172031 h 452463"/>
              <a:gd name="connsiteX37" fmla="*/ 80294 w 285961"/>
              <a:gd name="connsiteY37" fmla="*/ 186261 h 452463"/>
              <a:gd name="connsiteX38" fmla="*/ 84112 w 285961"/>
              <a:gd name="connsiteY38" fmla="*/ 199739 h 452463"/>
              <a:gd name="connsiteX39" fmla="*/ 106092 w 285961"/>
              <a:gd name="connsiteY39" fmla="*/ 208820 h 452463"/>
              <a:gd name="connsiteX40" fmla="*/ 115811 w 285961"/>
              <a:gd name="connsiteY40" fmla="*/ 229818 h 452463"/>
              <a:gd name="connsiteX41" fmla="*/ 110951 w 285961"/>
              <a:gd name="connsiteY41" fmla="*/ 239478 h 452463"/>
              <a:gd name="connsiteX42" fmla="*/ 96028 w 285961"/>
              <a:gd name="connsiteY42" fmla="*/ 251625 h 452463"/>
              <a:gd name="connsiteX43" fmla="*/ 68147 w 285961"/>
              <a:gd name="connsiteY43" fmla="*/ 279043 h 452463"/>
              <a:gd name="connsiteX44" fmla="*/ 52008 w 285961"/>
              <a:gd name="connsiteY44" fmla="*/ 291595 h 452463"/>
              <a:gd name="connsiteX45" fmla="*/ 37431 w 285961"/>
              <a:gd name="connsiteY45" fmla="*/ 306519 h 452463"/>
              <a:gd name="connsiteX46" fmla="*/ 18458 w 285961"/>
              <a:gd name="connsiteY46" fmla="*/ 315774 h 452463"/>
              <a:gd name="connsiteX47" fmla="*/ 6369 w 285961"/>
              <a:gd name="connsiteY47" fmla="*/ 333128 h 452463"/>
              <a:gd name="connsiteX48" fmla="*/ 7121 w 285961"/>
              <a:gd name="connsiteY48" fmla="*/ 348919 h 452463"/>
              <a:gd name="connsiteX49" fmla="*/ 9955 w 285961"/>
              <a:gd name="connsiteY49" fmla="*/ 367892 h 452463"/>
              <a:gd name="connsiteX50" fmla="*/ 14814 w 285961"/>
              <a:gd name="connsiteY50" fmla="*/ 398549 h 452463"/>
              <a:gd name="connsiteX51" fmla="*/ 7584 w 285961"/>
              <a:gd name="connsiteY51" fmla="*/ 426835 h 452463"/>
              <a:gd name="connsiteX52" fmla="*/ 33035 w 285961"/>
              <a:gd name="connsiteY52" fmla="*/ 436958 h 452463"/>
              <a:gd name="connsiteX53" fmla="*/ 49579 w 285961"/>
              <a:gd name="connsiteY53" fmla="*/ 445808 h 452463"/>
              <a:gd name="connsiteX54" fmla="*/ 79426 w 285961"/>
              <a:gd name="connsiteY54" fmla="*/ 452287 h 452463"/>
              <a:gd name="connsiteX55" fmla="*/ 164284 w 285961"/>
              <a:gd name="connsiteY55" fmla="*/ 432909 h 452463"/>
              <a:gd name="connsiteX56" fmla="*/ 188752 w 285961"/>
              <a:gd name="connsiteY56" fmla="*/ 430190 h 452463"/>
              <a:gd name="connsiteX57" fmla="*/ 201825 w 285961"/>
              <a:gd name="connsiteY57" fmla="*/ 413531 h 452463"/>
              <a:gd name="connsiteX58" fmla="*/ 243820 w 285961"/>
              <a:gd name="connsiteY58" fmla="*/ 380329 h 45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5961" h="452463">
                <a:moveTo>
                  <a:pt x="243820" y="380329"/>
                </a:moveTo>
                <a:cubicBezTo>
                  <a:pt x="250299" y="365752"/>
                  <a:pt x="279336" y="354530"/>
                  <a:pt x="284311" y="341573"/>
                </a:cubicBezTo>
                <a:cubicBezTo>
                  <a:pt x="286740" y="335037"/>
                  <a:pt x="287550" y="331855"/>
                  <a:pt x="277023" y="319708"/>
                </a:cubicBezTo>
                <a:cubicBezTo>
                  <a:pt x="266495" y="307561"/>
                  <a:pt x="243125" y="299520"/>
                  <a:pt x="242316" y="293099"/>
                </a:cubicBezTo>
                <a:cubicBezTo>
                  <a:pt x="241506" y="286679"/>
                  <a:pt x="260074" y="285811"/>
                  <a:pt x="259264" y="277713"/>
                </a:cubicBezTo>
                <a:cubicBezTo>
                  <a:pt x="258454" y="269615"/>
                  <a:pt x="248795" y="269672"/>
                  <a:pt x="244745" y="263194"/>
                </a:cubicBezTo>
                <a:cubicBezTo>
                  <a:pt x="240696" y="256715"/>
                  <a:pt x="249605" y="252666"/>
                  <a:pt x="248737" y="249485"/>
                </a:cubicBezTo>
                <a:cubicBezTo>
                  <a:pt x="247869" y="246303"/>
                  <a:pt x="235838" y="244626"/>
                  <a:pt x="235028" y="240577"/>
                </a:cubicBezTo>
                <a:cubicBezTo>
                  <a:pt x="234218" y="236528"/>
                  <a:pt x="243125" y="237337"/>
                  <a:pt x="241506" y="232479"/>
                </a:cubicBezTo>
                <a:cubicBezTo>
                  <a:pt x="239886" y="227620"/>
                  <a:pt x="231788" y="218712"/>
                  <a:pt x="237457" y="211481"/>
                </a:cubicBezTo>
                <a:cubicBezTo>
                  <a:pt x="243125" y="204251"/>
                  <a:pt x="255273" y="211481"/>
                  <a:pt x="246365" y="195342"/>
                </a:cubicBezTo>
                <a:cubicBezTo>
                  <a:pt x="237457" y="179204"/>
                  <a:pt x="223748" y="159016"/>
                  <a:pt x="220509" y="154157"/>
                </a:cubicBezTo>
                <a:cubicBezTo>
                  <a:pt x="217269" y="149298"/>
                  <a:pt x="223748" y="141200"/>
                  <a:pt x="228607" y="138019"/>
                </a:cubicBezTo>
                <a:cubicBezTo>
                  <a:pt x="233466" y="134837"/>
                  <a:pt x="245555" y="122690"/>
                  <a:pt x="245555" y="117831"/>
                </a:cubicBezTo>
                <a:cubicBezTo>
                  <a:pt x="245555" y="112972"/>
                  <a:pt x="230168" y="100015"/>
                  <a:pt x="226177" y="97644"/>
                </a:cubicBezTo>
                <a:cubicBezTo>
                  <a:pt x="222186" y="95272"/>
                  <a:pt x="213220" y="96024"/>
                  <a:pt x="209229" y="87868"/>
                </a:cubicBezTo>
                <a:cubicBezTo>
                  <a:pt x="205238" y="79712"/>
                  <a:pt x="201131" y="77456"/>
                  <a:pt x="205122" y="72539"/>
                </a:cubicBezTo>
                <a:cubicBezTo>
                  <a:pt x="208362" y="68426"/>
                  <a:pt x="209808" y="63215"/>
                  <a:pt x="209229" y="58020"/>
                </a:cubicBezTo>
                <a:cubicBezTo>
                  <a:pt x="209229" y="53161"/>
                  <a:pt x="218079" y="57210"/>
                  <a:pt x="219699" y="49922"/>
                </a:cubicBezTo>
                <a:cubicBezTo>
                  <a:pt x="220740" y="46156"/>
                  <a:pt x="222707" y="42726"/>
                  <a:pt x="225483" y="39973"/>
                </a:cubicBezTo>
                <a:cubicBezTo>
                  <a:pt x="225830" y="34929"/>
                  <a:pt x="225830" y="29862"/>
                  <a:pt x="225483" y="24818"/>
                </a:cubicBezTo>
                <a:cubicBezTo>
                  <a:pt x="224211" y="17009"/>
                  <a:pt x="202345" y="14406"/>
                  <a:pt x="196966" y="5324"/>
                </a:cubicBezTo>
                <a:cubicBezTo>
                  <a:pt x="191587" y="-3758"/>
                  <a:pt x="178802" y="118"/>
                  <a:pt x="174869" y="5324"/>
                </a:cubicBezTo>
                <a:cubicBezTo>
                  <a:pt x="170936" y="10530"/>
                  <a:pt x="147625" y="4052"/>
                  <a:pt x="147625" y="11803"/>
                </a:cubicBezTo>
                <a:cubicBezTo>
                  <a:pt x="147625" y="19554"/>
                  <a:pt x="130792" y="20942"/>
                  <a:pt x="130792" y="29966"/>
                </a:cubicBezTo>
                <a:cubicBezTo>
                  <a:pt x="130792" y="38989"/>
                  <a:pt x="138543" y="54665"/>
                  <a:pt x="125586" y="53103"/>
                </a:cubicBezTo>
                <a:cubicBezTo>
                  <a:pt x="112629" y="51542"/>
                  <a:pt x="121710" y="58309"/>
                  <a:pt x="114017" y="68663"/>
                </a:cubicBezTo>
                <a:cubicBezTo>
                  <a:pt x="106324" y="79018"/>
                  <a:pt x="106208" y="62185"/>
                  <a:pt x="98457" y="64788"/>
                </a:cubicBezTo>
                <a:cubicBezTo>
                  <a:pt x="90706" y="67391"/>
                  <a:pt x="81624" y="56979"/>
                  <a:pt x="77691" y="63458"/>
                </a:cubicBezTo>
                <a:cubicBezTo>
                  <a:pt x="73757" y="69936"/>
                  <a:pt x="60800" y="64788"/>
                  <a:pt x="47843" y="62185"/>
                </a:cubicBezTo>
                <a:cubicBezTo>
                  <a:pt x="34886" y="59582"/>
                  <a:pt x="28408" y="41419"/>
                  <a:pt x="17996" y="40146"/>
                </a:cubicBezTo>
                <a:cubicBezTo>
                  <a:pt x="9724" y="40239"/>
                  <a:pt x="2436" y="45589"/>
                  <a:pt x="-110" y="53450"/>
                </a:cubicBezTo>
                <a:cubicBezTo>
                  <a:pt x="9955" y="59929"/>
                  <a:pt x="16492" y="69184"/>
                  <a:pt x="29680" y="75142"/>
                </a:cubicBezTo>
                <a:cubicBezTo>
                  <a:pt x="43910" y="81678"/>
                  <a:pt x="70171" y="89430"/>
                  <a:pt x="68610" y="98280"/>
                </a:cubicBezTo>
                <a:cubicBezTo>
                  <a:pt x="67048" y="107130"/>
                  <a:pt x="63403" y="120319"/>
                  <a:pt x="69882" y="124252"/>
                </a:cubicBezTo>
                <a:cubicBezTo>
                  <a:pt x="76360" y="128185"/>
                  <a:pt x="68610" y="145018"/>
                  <a:pt x="76360" y="148893"/>
                </a:cubicBezTo>
                <a:cubicBezTo>
                  <a:pt x="84112" y="152769"/>
                  <a:pt x="81624" y="172031"/>
                  <a:pt x="75088" y="172031"/>
                </a:cubicBezTo>
                <a:cubicBezTo>
                  <a:pt x="68552" y="172031"/>
                  <a:pt x="76360" y="182385"/>
                  <a:pt x="80294" y="186261"/>
                </a:cubicBezTo>
                <a:cubicBezTo>
                  <a:pt x="82724" y="190345"/>
                  <a:pt x="84054" y="194990"/>
                  <a:pt x="84112" y="199739"/>
                </a:cubicBezTo>
                <a:cubicBezTo>
                  <a:pt x="91689" y="202047"/>
                  <a:pt x="99093" y="205089"/>
                  <a:pt x="106092" y="208820"/>
                </a:cubicBezTo>
                <a:cubicBezTo>
                  <a:pt x="117025" y="213621"/>
                  <a:pt x="115405" y="221257"/>
                  <a:pt x="115811" y="229818"/>
                </a:cubicBezTo>
                <a:cubicBezTo>
                  <a:pt x="116215" y="238379"/>
                  <a:pt x="116563" y="243122"/>
                  <a:pt x="110951" y="239478"/>
                </a:cubicBezTo>
                <a:cubicBezTo>
                  <a:pt x="105340" y="235833"/>
                  <a:pt x="99383" y="239478"/>
                  <a:pt x="96028" y="251625"/>
                </a:cubicBezTo>
                <a:cubicBezTo>
                  <a:pt x="92673" y="263772"/>
                  <a:pt x="77402" y="278233"/>
                  <a:pt x="68147" y="279043"/>
                </a:cubicBezTo>
                <a:cubicBezTo>
                  <a:pt x="58892" y="279853"/>
                  <a:pt x="59643" y="289571"/>
                  <a:pt x="52008" y="291595"/>
                </a:cubicBezTo>
                <a:cubicBezTo>
                  <a:pt x="44373" y="293620"/>
                  <a:pt x="37026" y="298016"/>
                  <a:pt x="37431" y="306519"/>
                </a:cubicBezTo>
                <a:cubicBezTo>
                  <a:pt x="37836" y="315022"/>
                  <a:pt x="25862" y="315774"/>
                  <a:pt x="18458" y="315774"/>
                </a:cubicBezTo>
                <a:cubicBezTo>
                  <a:pt x="11054" y="315774"/>
                  <a:pt x="12385" y="329541"/>
                  <a:pt x="6369" y="333128"/>
                </a:cubicBezTo>
                <a:cubicBezTo>
                  <a:pt x="353" y="336714"/>
                  <a:pt x="1510" y="341631"/>
                  <a:pt x="7121" y="348919"/>
                </a:cubicBezTo>
                <a:cubicBezTo>
                  <a:pt x="12732" y="356208"/>
                  <a:pt x="7988" y="362628"/>
                  <a:pt x="9955" y="367892"/>
                </a:cubicBezTo>
                <a:cubicBezTo>
                  <a:pt x="11922" y="373156"/>
                  <a:pt x="20888" y="385245"/>
                  <a:pt x="14814" y="398549"/>
                </a:cubicBezTo>
                <a:cubicBezTo>
                  <a:pt x="8740" y="411854"/>
                  <a:pt x="2320" y="428455"/>
                  <a:pt x="7584" y="426835"/>
                </a:cubicBezTo>
                <a:cubicBezTo>
                  <a:pt x="12848" y="425216"/>
                  <a:pt x="24937" y="437768"/>
                  <a:pt x="33035" y="436958"/>
                </a:cubicBezTo>
                <a:cubicBezTo>
                  <a:pt x="41133" y="436148"/>
                  <a:pt x="41885" y="448238"/>
                  <a:pt x="49579" y="445808"/>
                </a:cubicBezTo>
                <a:cubicBezTo>
                  <a:pt x="57272" y="443379"/>
                  <a:pt x="57214" y="453097"/>
                  <a:pt x="79426" y="452287"/>
                </a:cubicBezTo>
                <a:cubicBezTo>
                  <a:pt x="101638" y="451477"/>
                  <a:pt x="146468" y="432909"/>
                  <a:pt x="164284" y="432909"/>
                </a:cubicBezTo>
                <a:cubicBezTo>
                  <a:pt x="172498" y="432961"/>
                  <a:pt x="180712" y="432053"/>
                  <a:pt x="188752" y="430190"/>
                </a:cubicBezTo>
                <a:cubicBezTo>
                  <a:pt x="192569" y="424232"/>
                  <a:pt x="196966" y="418656"/>
                  <a:pt x="201825" y="413531"/>
                </a:cubicBezTo>
                <a:cubicBezTo>
                  <a:pt x="213104" y="402946"/>
                  <a:pt x="237341" y="394848"/>
                  <a:pt x="243820" y="38032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6" name="Forma libre: forma 155">
            <a:extLst>
              <a:ext uri="{FF2B5EF4-FFF2-40B4-BE49-F238E27FC236}">
                <a16:creationId xmlns:a16="http://schemas.microsoft.com/office/drawing/2014/main" id="{EBB15EDE-0DC9-CE17-4F3A-43791C0ACDC2}"/>
              </a:ext>
            </a:extLst>
          </p:cNvPr>
          <p:cNvSpPr/>
          <p:nvPr/>
        </p:nvSpPr>
        <p:spPr>
          <a:xfrm>
            <a:off x="7120695" y="3564952"/>
            <a:ext cx="574740" cy="461435"/>
          </a:xfrm>
          <a:custGeom>
            <a:avLst/>
            <a:gdLst>
              <a:gd name="connsiteX0" fmla="*/ 343774 w 574740"/>
              <a:gd name="connsiteY0" fmla="*/ 96251 h 461435"/>
              <a:gd name="connsiteX1" fmla="*/ 295243 w 574740"/>
              <a:gd name="connsiteY1" fmla="*/ 90929 h 461435"/>
              <a:gd name="connsiteX2" fmla="*/ 262850 w 574740"/>
              <a:gd name="connsiteY2" fmla="*/ 80113 h 461435"/>
              <a:gd name="connsiteX3" fmla="*/ 197081 w 574740"/>
              <a:gd name="connsiteY3" fmla="*/ 31581 h 461435"/>
              <a:gd name="connsiteX4" fmla="*/ 143113 w 574740"/>
              <a:gd name="connsiteY4" fmla="*/ 288 h 461435"/>
              <a:gd name="connsiteX5" fmla="*/ 120496 w 574740"/>
              <a:gd name="connsiteY5" fmla="*/ 288 h 461435"/>
              <a:gd name="connsiteX6" fmla="*/ 92441 w 574740"/>
              <a:gd name="connsiteY6" fmla="*/ 8906 h 461435"/>
              <a:gd name="connsiteX7" fmla="*/ 65486 w 574740"/>
              <a:gd name="connsiteY7" fmla="*/ 26260 h 461435"/>
              <a:gd name="connsiteX8" fmla="*/ 85963 w 574740"/>
              <a:gd name="connsiteY8" fmla="*/ 50033 h 461435"/>
              <a:gd name="connsiteX9" fmla="*/ 69824 w 574740"/>
              <a:gd name="connsiteY9" fmla="*/ 62933 h 461435"/>
              <a:gd name="connsiteX10" fmla="*/ 52471 w 574740"/>
              <a:gd name="connsiteY10" fmla="*/ 70511 h 461435"/>
              <a:gd name="connsiteX11" fmla="*/ 30953 w 574740"/>
              <a:gd name="connsiteY11" fmla="*/ 86649 h 461435"/>
              <a:gd name="connsiteX12" fmla="*/ 3766 w 574740"/>
              <a:gd name="connsiteY12" fmla="*/ 74617 h 461435"/>
              <a:gd name="connsiteX13" fmla="*/ 931 w 574740"/>
              <a:gd name="connsiteY13" fmla="*/ 82426 h 461435"/>
              <a:gd name="connsiteX14" fmla="*/ -110 w 574740"/>
              <a:gd name="connsiteY14" fmla="*/ 89830 h 461435"/>
              <a:gd name="connsiteX15" fmla="*/ 4518 w 574740"/>
              <a:gd name="connsiteY15" fmla="*/ 120951 h 461435"/>
              <a:gd name="connsiteX16" fmla="*/ 26672 w 574740"/>
              <a:gd name="connsiteY16" fmla="*/ 148022 h 461435"/>
              <a:gd name="connsiteX17" fmla="*/ 66238 w 574740"/>
              <a:gd name="connsiteY17" fmla="*/ 209395 h 461435"/>
              <a:gd name="connsiteX18" fmla="*/ 87235 w 574740"/>
              <a:gd name="connsiteY18" fmla="*/ 239647 h 461435"/>
              <a:gd name="connsiteX19" fmla="*/ 111877 w 574740"/>
              <a:gd name="connsiteY19" fmla="*/ 270363 h 461435"/>
              <a:gd name="connsiteX20" fmla="*/ 118760 w 574740"/>
              <a:gd name="connsiteY20" fmla="*/ 300673 h 461435"/>
              <a:gd name="connsiteX21" fmla="*/ 140973 w 574740"/>
              <a:gd name="connsiteY21" fmla="*/ 346948 h 461435"/>
              <a:gd name="connsiteX22" fmla="*/ 172498 w 574740"/>
              <a:gd name="connsiteY22" fmla="*/ 382870 h 461435"/>
              <a:gd name="connsiteX23" fmla="*/ 197487 w 574740"/>
              <a:gd name="connsiteY23" fmla="*/ 424460 h 461435"/>
              <a:gd name="connsiteX24" fmla="*/ 206800 w 574740"/>
              <a:gd name="connsiteY24" fmla="*/ 445457 h 461435"/>
              <a:gd name="connsiteX25" fmla="*/ 215765 w 574740"/>
              <a:gd name="connsiteY25" fmla="*/ 461307 h 461435"/>
              <a:gd name="connsiteX26" fmla="*/ 228375 w 574740"/>
              <a:gd name="connsiteY26" fmla="*/ 454423 h 461435"/>
              <a:gd name="connsiteX27" fmla="*/ 227623 w 574740"/>
              <a:gd name="connsiteY27" fmla="*/ 439557 h 461435"/>
              <a:gd name="connsiteX28" fmla="*/ 239192 w 574740"/>
              <a:gd name="connsiteY28" fmla="*/ 429376 h 461435"/>
              <a:gd name="connsiteX29" fmla="*/ 259438 w 574740"/>
              <a:gd name="connsiteY29" fmla="*/ 432558 h 461435"/>
              <a:gd name="connsiteX30" fmla="*/ 293045 w 574740"/>
              <a:gd name="connsiteY30" fmla="*/ 435624 h 461435"/>
              <a:gd name="connsiteX31" fmla="*/ 331281 w 574740"/>
              <a:gd name="connsiteY31" fmla="*/ 441929 h 461435"/>
              <a:gd name="connsiteX32" fmla="*/ 350022 w 574740"/>
              <a:gd name="connsiteY32" fmla="*/ 434872 h 461435"/>
              <a:gd name="connsiteX33" fmla="*/ 392190 w 574740"/>
              <a:gd name="connsiteY33" fmla="*/ 398198 h 461435"/>
              <a:gd name="connsiteX34" fmla="*/ 445986 w 574740"/>
              <a:gd name="connsiteY34" fmla="*/ 395075 h 461435"/>
              <a:gd name="connsiteX35" fmla="*/ 555890 w 574740"/>
              <a:gd name="connsiteY35" fmla="*/ 359153 h 461435"/>
              <a:gd name="connsiteX36" fmla="*/ 574631 w 574740"/>
              <a:gd name="connsiteY36" fmla="*/ 302177 h 461435"/>
              <a:gd name="connsiteX37" fmla="*/ 560575 w 574740"/>
              <a:gd name="connsiteY37" fmla="*/ 282683 h 461435"/>
              <a:gd name="connsiteX38" fmla="*/ 491914 w 574740"/>
              <a:gd name="connsiteY38" fmla="*/ 274874 h 461435"/>
              <a:gd name="connsiteX39" fmla="*/ 471321 w 574740"/>
              <a:gd name="connsiteY39" fmla="*/ 245547 h 461435"/>
              <a:gd name="connsiteX40" fmla="*/ 459753 w 574740"/>
              <a:gd name="connsiteY40" fmla="*/ 228194 h 461435"/>
              <a:gd name="connsiteX41" fmla="*/ 436962 w 574740"/>
              <a:gd name="connsiteY41" fmla="*/ 212460 h 461435"/>
              <a:gd name="connsiteX42" fmla="*/ 422385 w 574740"/>
              <a:gd name="connsiteY42" fmla="*/ 183018 h 461435"/>
              <a:gd name="connsiteX43" fmla="*/ 410237 w 574740"/>
              <a:gd name="connsiteY43" fmla="*/ 153575 h 461435"/>
              <a:gd name="connsiteX44" fmla="*/ 382415 w 574740"/>
              <a:gd name="connsiteY44" fmla="*/ 121240 h 461435"/>
              <a:gd name="connsiteX45" fmla="*/ 378944 w 574740"/>
              <a:gd name="connsiteY45" fmla="*/ 109671 h 461435"/>
              <a:gd name="connsiteX46" fmla="*/ 357253 w 574740"/>
              <a:gd name="connsiteY46" fmla="*/ 108572 h 46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4740" h="461435">
                <a:moveTo>
                  <a:pt x="343774" y="96251"/>
                </a:moveTo>
                <a:cubicBezTo>
                  <a:pt x="343774" y="96251"/>
                  <a:pt x="301664" y="90929"/>
                  <a:pt x="295243" y="90929"/>
                </a:cubicBezTo>
                <a:cubicBezTo>
                  <a:pt x="283559" y="90854"/>
                  <a:pt x="272221" y="87066"/>
                  <a:pt x="262850" y="80113"/>
                </a:cubicBezTo>
                <a:cubicBezTo>
                  <a:pt x="241795" y="62783"/>
                  <a:pt x="219872" y="46586"/>
                  <a:pt x="197081" y="31581"/>
                </a:cubicBezTo>
                <a:cubicBezTo>
                  <a:pt x="188463" y="27243"/>
                  <a:pt x="152830" y="1387"/>
                  <a:pt x="143113" y="288"/>
                </a:cubicBezTo>
                <a:cubicBezTo>
                  <a:pt x="135593" y="-268"/>
                  <a:pt x="128016" y="-268"/>
                  <a:pt x="120496" y="288"/>
                </a:cubicBezTo>
                <a:cubicBezTo>
                  <a:pt x="108927" y="288"/>
                  <a:pt x="114017" y="7807"/>
                  <a:pt x="92441" y="8906"/>
                </a:cubicBezTo>
                <a:cubicBezTo>
                  <a:pt x="70866" y="10005"/>
                  <a:pt x="59007" y="24004"/>
                  <a:pt x="65486" y="26260"/>
                </a:cubicBezTo>
                <a:cubicBezTo>
                  <a:pt x="71964" y="28516"/>
                  <a:pt x="92441" y="46737"/>
                  <a:pt x="85963" y="50033"/>
                </a:cubicBezTo>
                <a:cubicBezTo>
                  <a:pt x="79484" y="53331"/>
                  <a:pt x="78443" y="62933"/>
                  <a:pt x="69824" y="62933"/>
                </a:cubicBezTo>
                <a:cubicBezTo>
                  <a:pt x="61205" y="62933"/>
                  <a:pt x="52471" y="64032"/>
                  <a:pt x="52471" y="70511"/>
                </a:cubicBezTo>
                <a:cubicBezTo>
                  <a:pt x="52471" y="76989"/>
                  <a:pt x="40902" y="87864"/>
                  <a:pt x="30953" y="86649"/>
                </a:cubicBezTo>
                <a:cubicBezTo>
                  <a:pt x="21408" y="83890"/>
                  <a:pt x="12269" y="79841"/>
                  <a:pt x="3766" y="74617"/>
                </a:cubicBezTo>
                <a:lnTo>
                  <a:pt x="931" y="82426"/>
                </a:lnTo>
                <a:lnTo>
                  <a:pt x="-110" y="89830"/>
                </a:lnTo>
                <a:cubicBezTo>
                  <a:pt x="1799" y="95615"/>
                  <a:pt x="-1035" y="119100"/>
                  <a:pt x="4518" y="120951"/>
                </a:cubicBezTo>
                <a:cubicBezTo>
                  <a:pt x="10071" y="122802"/>
                  <a:pt x="13715" y="133850"/>
                  <a:pt x="26672" y="148022"/>
                </a:cubicBezTo>
                <a:cubicBezTo>
                  <a:pt x="39629" y="162194"/>
                  <a:pt x="65833" y="200082"/>
                  <a:pt x="66238" y="209395"/>
                </a:cubicBezTo>
                <a:cubicBezTo>
                  <a:pt x="66643" y="218708"/>
                  <a:pt x="71096" y="228772"/>
                  <a:pt x="87235" y="239647"/>
                </a:cubicBezTo>
                <a:cubicBezTo>
                  <a:pt x="103374" y="250522"/>
                  <a:pt x="103432" y="263884"/>
                  <a:pt x="111877" y="270363"/>
                </a:cubicBezTo>
                <a:cubicBezTo>
                  <a:pt x="120322" y="276841"/>
                  <a:pt x="118355" y="284477"/>
                  <a:pt x="118760" y="300673"/>
                </a:cubicBezTo>
                <a:cubicBezTo>
                  <a:pt x="119165" y="316869"/>
                  <a:pt x="126454" y="337809"/>
                  <a:pt x="140973" y="346948"/>
                </a:cubicBezTo>
                <a:cubicBezTo>
                  <a:pt x="155434" y="354769"/>
                  <a:pt x="166597" y="367512"/>
                  <a:pt x="172498" y="382870"/>
                </a:cubicBezTo>
                <a:cubicBezTo>
                  <a:pt x="178050" y="398210"/>
                  <a:pt x="186554" y="412330"/>
                  <a:pt x="197487" y="424460"/>
                </a:cubicBezTo>
                <a:cubicBezTo>
                  <a:pt x="206800" y="433715"/>
                  <a:pt x="201536" y="438516"/>
                  <a:pt x="206800" y="445457"/>
                </a:cubicBezTo>
                <a:cubicBezTo>
                  <a:pt x="210444" y="450345"/>
                  <a:pt x="213452" y="455673"/>
                  <a:pt x="215765" y="461307"/>
                </a:cubicBezTo>
                <a:cubicBezTo>
                  <a:pt x="220219" y="459456"/>
                  <a:pt x="224442" y="457148"/>
                  <a:pt x="228375" y="454423"/>
                </a:cubicBezTo>
                <a:cubicBezTo>
                  <a:pt x="229937" y="451242"/>
                  <a:pt x="225252" y="442854"/>
                  <a:pt x="227623" y="439557"/>
                </a:cubicBezTo>
                <a:cubicBezTo>
                  <a:pt x="230516" y="435195"/>
                  <a:pt x="234507" y="431679"/>
                  <a:pt x="239192" y="429376"/>
                </a:cubicBezTo>
                <a:cubicBezTo>
                  <a:pt x="243877" y="427815"/>
                  <a:pt x="249315" y="434120"/>
                  <a:pt x="259438" y="432558"/>
                </a:cubicBezTo>
                <a:cubicBezTo>
                  <a:pt x="269561" y="430996"/>
                  <a:pt x="290732" y="433310"/>
                  <a:pt x="293045" y="435624"/>
                </a:cubicBezTo>
                <a:cubicBezTo>
                  <a:pt x="295359" y="437937"/>
                  <a:pt x="324281" y="436434"/>
                  <a:pt x="331281" y="441929"/>
                </a:cubicBezTo>
                <a:cubicBezTo>
                  <a:pt x="338280" y="447424"/>
                  <a:pt x="345336" y="445804"/>
                  <a:pt x="350022" y="434872"/>
                </a:cubicBezTo>
                <a:cubicBezTo>
                  <a:pt x="354707" y="423939"/>
                  <a:pt x="387505" y="400512"/>
                  <a:pt x="392190" y="398198"/>
                </a:cubicBezTo>
                <a:cubicBezTo>
                  <a:pt x="396876" y="395885"/>
                  <a:pt x="431987" y="398198"/>
                  <a:pt x="445986" y="395075"/>
                </a:cubicBezTo>
                <a:cubicBezTo>
                  <a:pt x="459984" y="391951"/>
                  <a:pt x="552188" y="362335"/>
                  <a:pt x="555890" y="359153"/>
                </a:cubicBezTo>
                <a:cubicBezTo>
                  <a:pt x="559592" y="355972"/>
                  <a:pt x="574631" y="307672"/>
                  <a:pt x="574631" y="302177"/>
                </a:cubicBezTo>
                <a:cubicBezTo>
                  <a:pt x="574631" y="296682"/>
                  <a:pt x="567632" y="281873"/>
                  <a:pt x="560575" y="282683"/>
                </a:cubicBezTo>
                <a:cubicBezTo>
                  <a:pt x="553518" y="283493"/>
                  <a:pt x="495789" y="277188"/>
                  <a:pt x="491914" y="274874"/>
                </a:cubicBezTo>
                <a:cubicBezTo>
                  <a:pt x="488038" y="272561"/>
                  <a:pt x="473404" y="261455"/>
                  <a:pt x="471321" y="245547"/>
                </a:cubicBezTo>
                <a:cubicBezTo>
                  <a:pt x="465826" y="241047"/>
                  <a:pt x="461777" y="235002"/>
                  <a:pt x="459753" y="228194"/>
                </a:cubicBezTo>
                <a:cubicBezTo>
                  <a:pt x="453158" y="229062"/>
                  <a:pt x="442746" y="227558"/>
                  <a:pt x="436962" y="212460"/>
                </a:cubicBezTo>
                <a:cubicBezTo>
                  <a:pt x="431640" y="208816"/>
                  <a:pt x="417468" y="188686"/>
                  <a:pt x="422385" y="183018"/>
                </a:cubicBezTo>
                <a:cubicBezTo>
                  <a:pt x="428170" y="176192"/>
                  <a:pt x="419146" y="161615"/>
                  <a:pt x="410237" y="153575"/>
                </a:cubicBezTo>
                <a:cubicBezTo>
                  <a:pt x="401330" y="145534"/>
                  <a:pt x="383225" y="130437"/>
                  <a:pt x="382415" y="121240"/>
                </a:cubicBezTo>
                <a:cubicBezTo>
                  <a:pt x="381721" y="117266"/>
                  <a:pt x="380505" y="113385"/>
                  <a:pt x="378944" y="109671"/>
                </a:cubicBezTo>
                <a:lnTo>
                  <a:pt x="357253" y="108572"/>
                </a:ln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7" name="Forma libre: forma 156">
            <a:extLst>
              <a:ext uri="{FF2B5EF4-FFF2-40B4-BE49-F238E27FC236}">
                <a16:creationId xmlns:a16="http://schemas.microsoft.com/office/drawing/2014/main" id="{990BE6C7-DDAE-EA4C-9623-99BC73F60600}"/>
              </a:ext>
            </a:extLst>
          </p:cNvPr>
          <p:cNvSpPr/>
          <p:nvPr/>
        </p:nvSpPr>
        <p:spPr>
          <a:xfrm>
            <a:off x="7593456" y="3776326"/>
            <a:ext cx="218318" cy="244970"/>
          </a:xfrm>
          <a:custGeom>
            <a:avLst/>
            <a:gdLst>
              <a:gd name="connsiteX0" fmla="*/ 109043 w 218318"/>
              <a:gd name="connsiteY0" fmla="*/ 5366 h 244970"/>
              <a:gd name="connsiteX1" fmla="*/ 109043 w 218318"/>
              <a:gd name="connsiteY1" fmla="*/ 26075 h 244970"/>
              <a:gd name="connsiteX2" fmla="*/ 91689 w 218318"/>
              <a:gd name="connsiteY2" fmla="*/ 47940 h 244970"/>
              <a:gd name="connsiteX3" fmla="*/ 82492 w 218318"/>
              <a:gd name="connsiteY3" fmla="*/ 71078 h 244970"/>
              <a:gd name="connsiteX4" fmla="*/ 88277 w 218318"/>
              <a:gd name="connsiteY4" fmla="*/ 71078 h 244970"/>
              <a:gd name="connsiteX5" fmla="*/ 102332 w 218318"/>
              <a:gd name="connsiteY5" fmla="*/ 90571 h 244970"/>
              <a:gd name="connsiteX6" fmla="*/ 83591 w 218318"/>
              <a:gd name="connsiteY6" fmla="*/ 147548 h 244970"/>
              <a:gd name="connsiteX7" fmla="*/ -110 w 218318"/>
              <a:gd name="connsiteY7" fmla="*/ 175834 h 244970"/>
              <a:gd name="connsiteX8" fmla="*/ 33383 w 218318"/>
              <a:gd name="connsiteY8" fmla="*/ 244842 h 244970"/>
              <a:gd name="connsiteX9" fmla="*/ 40324 w 218318"/>
              <a:gd name="connsiteY9" fmla="*/ 241487 h 244970"/>
              <a:gd name="connsiteX10" fmla="*/ 84748 w 218318"/>
              <a:gd name="connsiteY10" fmla="*/ 233851 h 244970"/>
              <a:gd name="connsiteX11" fmla="*/ 95218 w 218318"/>
              <a:gd name="connsiteY11" fmla="*/ 212391 h 244970"/>
              <a:gd name="connsiteX12" fmla="*/ 125066 w 218318"/>
              <a:gd name="connsiteY12" fmla="*/ 207532 h 244970"/>
              <a:gd name="connsiteX13" fmla="*/ 142881 w 218318"/>
              <a:gd name="connsiteY13" fmla="*/ 182543 h 244970"/>
              <a:gd name="connsiteX14" fmla="*/ 160235 w 218318"/>
              <a:gd name="connsiteY14" fmla="*/ 173635 h 244970"/>
              <a:gd name="connsiteX15" fmla="*/ 169548 w 218318"/>
              <a:gd name="connsiteY15" fmla="*/ 136904 h 244970"/>
              <a:gd name="connsiteX16" fmla="*/ 191760 w 218318"/>
              <a:gd name="connsiteY16" fmla="*/ 121518 h 244970"/>
              <a:gd name="connsiteX17" fmla="*/ 214319 w 218318"/>
              <a:gd name="connsiteY17" fmla="*/ 89645 h 244970"/>
              <a:gd name="connsiteX18" fmla="*/ 212352 w 218318"/>
              <a:gd name="connsiteY18" fmla="*/ 74722 h 244970"/>
              <a:gd name="connsiteX19" fmla="*/ 189215 w 218318"/>
              <a:gd name="connsiteY19" fmla="*/ 45799 h 244970"/>
              <a:gd name="connsiteX20" fmla="*/ 143575 w 218318"/>
              <a:gd name="connsiteY20" fmla="*/ 28793 h 244970"/>
              <a:gd name="connsiteX21" fmla="*/ 128884 w 218318"/>
              <a:gd name="connsiteY21" fmla="*/ -129 h 244970"/>
              <a:gd name="connsiteX22" fmla="*/ 119397 w 218318"/>
              <a:gd name="connsiteY22" fmla="*/ 5251 h 244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8318" h="244970">
                <a:moveTo>
                  <a:pt x="109043" y="5366"/>
                </a:moveTo>
                <a:lnTo>
                  <a:pt x="109043" y="26075"/>
                </a:lnTo>
                <a:lnTo>
                  <a:pt x="91689" y="47940"/>
                </a:lnTo>
                <a:lnTo>
                  <a:pt x="82492" y="71078"/>
                </a:lnTo>
                <a:cubicBezTo>
                  <a:pt x="84401" y="71234"/>
                  <a:pt x="86367" y="71234"/>
                  <a:pt x="88277" y="71078"/>
                </a:cubicBezTo>
                <a:cubicBezTo>
                  <a:pt x="95334" y="70268"/>
                  <a:pt x="102332" y="85134"/>
                  <a:pt x="102332" y="90571"/>
                </a:cubicBezTo>
                <a:cubicBezTo>
                  <a:pt x="102332" y="96009"/>
                  <a:pt x="87525" y="144482"/>
                  <a:pt x="83591" y="147548"/>
                </a:cubicBezTo>
                <a:cubicBezTo>
                  <a:pt x="80815" y="149804"/>
                  <a:pt x="32109" y="165884"/>
                  <a:pt x="-110" y="175834"/>
                </a:cubicBezTo>
                <a:cubicBezTo>
                  <a:pt x="6889" y="190295"/>
                  <a:pt x="20830" y="219101"/>
                  <a:pt x="33383" y="244842"/>
                </a:cubicBezTo>
                <a:cubicBezTo>
                  <a:pt x="35754" y="243893"/>
                  <a:pt x="38068" y="242771"/>
                  <a:pt x="40324" y="241487"/>
                </a:cubicBezTo>
                <a:cubicBezTo>
                  <a:pt x="55652" y="232579"/>
                  <a:pt x="73006" y="237091"/>
                  <a:pt x="84748" y="233851"/>
                </a:cubicBezTo>
                <a:cubicBezTo>
                  <a:pt x="96490" y="230612"/>
                  <a:pt x="85095" y="220836"/>
                  <a:pt x="95218" y="212391"/>
                </a:cubicBezTo>
                <a:cubicBezTo>
                  <a:pt x="105340" y="203946"/>
                  <a:pt x="119859" y="210424"/>
                  <a:pt x="125066" y="207532"/>
                </a:cubicBezTo>
                <a:cubicBezTo>
                  <a:pt x="130272" y="204640"/>
                  <a:pt x="133974" y="186188"/>
                  <a:pt x="142881" y="182543"/>
                </a:cubicBezTo>
                <a:cubicBezTo>
                  <a:pt x="151790" y="178899"/>
                  <a:pt x="161450" y="181329"/>
                  <a:pt x="160235" y="173635"/>
                </a:cubicBezTo>
                <a:cubicBezTo>
                  <a:pt x="159020" y="165942"/>
                  <a:pt x="161102" y="138524"/>
                  <a:pt x="169548" y="136904"/>
                </a:cubicBezTo>
                <a:cubicBezTo>
                  <a:pt x="177993" y="135285"/>
                  <a:pt x="191355" y="126377"/>
                  <a:pt x="191760" y="121518"/>
                </a:cubicBezTo>
                <a:cubicBezTo>
                  <a:pt x="192165" y="116659"/>
                  <a:pt x="209114" y="98380"/>
                  <a:pt x="214319" y="89645"/>
                </a:cubicBezTo>
                <a:cubicBezTo>
                  <a:pt x="219525" y="80911"/>
                  <a:pt x="220103" y="75878"/>
                  <a:pt x="212352" y="74722"/>
                </a:cubicBezTo>
                <a:cubicBezTo>
                  <a:pt x="204601" y="73565"/>
                  <a:pt x="192570" y="52047"/>
                  <a:pt x="189215" y="45799"/>
                </a:cubicBezTo>
                <a:cubicBezTo>
                  <a:pt x="185860" y="39552"/>
                  <a:pt x="162606" y="43775"/>
                  <a:pt x="143575" y="28793"/>
                </a:cubicBezTo>
                <a:cubicBezTo>
                  <a:pt x="135882" y="23009"/>
                  <a:pt x="131602" y="11440"/>
                  <a:pt x="128884" y="-129"/>
                </a:cubicBezTo>
                <a:lnTo>
                  <a:pt x="119397" y="5251"/>
                </a:ln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58" name="Forma libre: forma 157">
            <a:extLst>
              <a:ext uri="{FF2B5EF4-FFF2-40B4-BE49-F238E27FC236}">
                <a16:creationId xmlns:a16="http://schemas.microsoft.com/office/drawing/2014/main" id="{5FB27F06-ED39-87B8-3FAE-320C50CE7EBA}"/>
              </a:ext>
            </a:extLst>
          </p:cNvPr>
          <p:cNvSpPr/>
          <p:nvPr/>
        </p:nvSpPr>
        <p:spPr>
          <a:xfrm>
            <a:off x="7558287" y="3749817"/>
            <a:ext cx="28126" cy="43283"/>
          </a:xfrm>
          <a:custGeom>
            <a:avLst/>
            <a:gdLst>
              <a:gd name="connsiteX0" fmla="*/ 22681 w 28126"/>
              <a:gd name="connsiteY0" fmla="*/ 42924 h 43283"/>
              <a:gd name="connsiteX1" fmla="*/ 23259 w 28126"/>
              <a:gd name="connsiteY1" fmla="*/ 35288 h 43283"/>
              <a:gd name="connsiteX2" fmla="*/ 20020 w 28126"/>
              <a:gd name="connsiteY2" fmla="*/ 177 h 43283"/>
              <a:gd name="connsiteX3" fmla="*/ 1857 w 28126"/>
              <a:gd name="connsiteY3" fmla="*/ 26843 h 43283"/>
              <a:gd name="connsiteX4" fmla="*/ -110 w 28126"/>
              <a:gd name="connsiteY4" fmla="*/ 27190 h 43283"/>
              <a:gd name="connsiteX5" fmla="*/ 22681 w 28126"/>
              <a:gd name="connsiteY5" fmla="*/ 42924 h 4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26" h="43283">
                <a:moveTo>
                  <a:pt x="22681" y="42924"/>
                </a:moveTo>
                <a:cubicBezTo>
                  <a:pt x="21929" y="40396"/>
                  <a:pt x="22160" y="37677"/>
                  <a:pt x="23259" y="35288"/>
                </a:cubicBezTo>
                <a:cubicBezTo>
                  <a:pt x="28523" y="26438"/>
                  <a:pt x="31763" y="3416"/>
                  <a:pt x="20020" y="177"/>
                </a:cubicBezTo>
                <a:cubicBezTo>
                  <a:pt x="8278" y="-3063"/>
                  <a:pt x="1857" y="20364"/>
                  <a:pt x="1857" y="26843"/>
                </a:cubicBezTo>
                <a:cubicBezTo>
                  <a:pt x="1857" y="28058"/>
                  <a:pt x="1163" y="28000"/>
                  <a:pt x="-110" y="27190"/>
                </a:cubicBezTo>
                <a:cubicBezTo>
                  <a:pt x="5675" y="42287"/>
                  <a:pt x="16086" y="43907"/>
                  <a:pt x="22681" y="4292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0" name="Forma libre: forma 159">
            <a:extLst>
              <a:ext uri="{FF2B5EF4-FFF2-40B4-BE49-F238E27FC236}">
                <a16:creationId xmlns:a16="http://schemas.microsoft.com/office/drawing/2014/main" id="{57109962-9FAA-5B33-FBEE-DE6EB5DEDBCB}"/>
              </a:ext>
            </a:extLst>
          </p:cNvPr>
          <p:cNvSpPr/>
          <p:nvPr/>
        </p:nvSpPr>
        <p:spPr>
          <a:xfrm>
            <a:off x="7592242" y="3742310"/>
            <a:ext cx="130033" cy="105107"/>
          </a:xfrm>
          <a:custGeom>
            <a:avLst/>
            <a:gdLst>
              <a:gd name="connsiteX0" fmla="*/ 20714 w 130033"/>
              <a:gd name="connsiteY0" fmla="*/ 97227 h 105107"/>
              <a:gd name="connsiteX1" fmla="*/ 83823 w 130033"/>
              <a:gd name="connsiteY1" fmla="*/ 104978 h 105107"/>
              <a:gd name="connsiteX2" fmla="*/ 93020 w 130033"/>
              <a:gd name="connsiteY2" fmla="*/ 81840 h 105107"/>
              <a:gd name="connsiteX3" fmla="*/ 110373 w 130033"/>
              <a:gd name="connsiteY3" fmla="*/ 59975 h 105107"/>
              <a:gd name="connsiteX4" fmla="*/ 110373 w 130033"/>
              <a:gd name="connsiteY4" fmla="*/ 39267 h 105107"/>
              <a:gd name="connsiteX5" fmla="*/ 120438 w 130033"/>
              <a:gd name="connsiteY5" fmla="*/ 39267 h 105107"/>
              <a:gd name="connsiteX6" fmla="*/ 129924 w 130033"/>
              <a:gd name="connsiteY6" fmla="*/ 33887 h 105107"/>
              <a:gd name="connsiteX7" fmla="*/ 122404 w 130033"/>
              <a:gd name="connsiteY7" fmla="*/ -125 h 105107"/>
              <a:gd name="connsiteX8" fmla="*/ 89665 w 130033"/>
              <a:gd name="connsiteY8" fmla="*/ 36664 h 105107"/>
              <a:gd name="connsiteX9" fmla="*/ 38010 w 130033"/>
              <a:gd name="connsiteY9" fmla="*/ 60901 h 105107"/>
              <a:gd name="connsiteX10" fmla="*/ 5675 w 130033"/>
              <a:gd name="connsiteY10" fmla="*/ 69346 h 105107"/>
              <a:gd name="connsiteX11" fmla="*/ -110 w 130033"/>
              <a:gd name="connsiteY11" fmla="*/ 67784 h 105107"/>
              <a:gd name="connsiteX12" fmla="*/ 20714 w 130033"/>
              <a:gd name="connsiteY12" fmla="*/ 97227 h 10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033" h="105107">
                <a:moveTo>
                  <a:pt x="20714" y="97227"/>
                </a:moveTo>
                <a:cubicBezTo>
                  <a:pt x="24069" y="99252"/>
                  <a:pt x="67394" y="104168"/>
                  <a:pt x="83823" y="104978"/>
                </a:cubicBezTo>
                <a:lnTo>
                  <a:pt x="93020" y="81840"/>
                </a:lnTo>
                <a:lnTo>
                  <a:pt x="110373" y="59975"/>
                </a:lnTo>
                <a:lnTo>
                  <a:pt x="110373" y="39267"/>
                </a:lnTo>
                <a:lnTo>
                  <a:pt x="120438" y="39267"/>
                </a:lnTo>
                <a:lnTo>
                  <a:pt x="129924" y="33887"/>
                </a:lnTo>
                <a:cubicBezTo>
                  <a:pt x="125933" y="17055"/>
                  <a:pt x="125296" y="164"/>
                  <a:pt x="122404" y="-125"/>
                </a:cubicBezTo>
                <a:cubicBezTo>
                  <a:pt x="117546" y="-472"/>
                  <a:pt x="97763" y="20872"/>
                  <a:pt x="89665" y="36664"/>
                </a:cubicBezTo>
                <a:cubicBezTo>
                  <a:pt x="81567" y="52455"/>
                  <a:pt x="58197" y="64487"/>
                  <a:pt x="38010" y="60901"/>
                </a:cubicBezTo>
                <a:cubicBezTo>
                  <a:pt x="26499" y="57864"/>
                  <a:pt x="14236" y="61063"/>
                  <a:pt x="5675" y="69346"/>
                </a:cubicBezTo>
                <a:cubicBezTo>
                  <a:pt x="4345" y="70329"/>
                  <a:pt x="2262" y="69346"/>
                  <a:pt x="-110" y="67784"/>
                </a:cubicBezTo>
                <a:cubicBezTo>
                  <a:pt x="2204" y="83807"/>
                  <a:pt x="17533" y="95318"/>
                  <a:pt x="20714" y="97227"/>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1" name="Forma libre: forma 160">
            <a:extLst>
              <a:ext uri="{FF2B5EF4-FFF2-40B4-BE49-F238E27FC236}">
                <a16:creationId xmlns:a16="http://schemas.microsoft.com/office/drawing/2014/main" id="{FFF0B14C-47FD-2250-EEE5-EC58277AE0D9}"/>
              </a:ext>
            </a:extLst>
          </p:cNvPr>
          <p:cNvSpPr/>
          <p:nvPr/>
        </p:nvSpPr>
        <p:spPr>
          <a:xfrm>
            <a:off x="8883384" y="4300974"/>
            <a:ext cx="527658" cy="160735"/>
          </a:xfrm>
          <a:custGeom>
            <a:avLst/>
            <a:gdLst>
              <a:gd name="connsiteX0" fmla="*/ 95507 w 527658"/>
              <a:gd name="connsiteY0" fmla="*/ 58409 h 160735"/>
              <a:gd name="connsiteX1" fmla="*/ 74510 w 527658"/>
              <a:gd name="connsiteY1" fmla="*/ 29777 h 160735"/>
              <a:gd name="connsiteX2" fmla="*/ 61147 w 527658"/>
              <a:gd name="connsiteY2" fmla="*/ 16415 h 160735"/>
              <a:gd name="connsiteX3" fmla="*/ 59065 w 527658"/>
              <a:gd name="connsiteY3" fmla="*/ 12539 h 160735"/>
              <a:gd name="connsiteX4" fmla="*/ 50678 w 527658"/>
              <a:gd name="connsiteY4" fmla="*/ 23529 h 160735"/>
              <a:gd name="connsiteX5" fmla="*/ 29102 w 527658"/>
              <a:gd name="connsiteY5" fmla="*/ 20869 h 160735"/>
              <a:gd name="connsiteX6" fmla="*/ 15682 w 527658"/>
              <a:gd name="connsiteY6" fmla="*/ 4788 h 160735"/>
              <a:gd name="connsiteX7" fmla="*/ -110 w 527658"/>
              <a:gd name="connsiteY7" fmla="*/ 3689 h 160735"/>
              <a:gd name="connsiteX8" fmla="*/ 7411 w 527658"/>
              <a:gd name="connsiteY8" fmla="*/ 45510 h 160735"/>
              <a:gd name="connsiteX9" fmla="*/ 35291 w 527658"/>
              <a:gd name="connsiteY9" fmla="*/ 98033 h 160735"/>
              <a:gd name="connsiteX10" fmla="*/ 61379 w 527658"/>
              <a:gd name="connsiteY10" fmla="*/ 123253 h 160735"/>
              <a:gd name="connsiteX11" fmla="*/ 113901 w 527658"/>
              <a:gd name="connsiteY11" fmla="*/ 149919 h 160735"/>
              <a:gd name="connsiteX12" fmla="*/ 95738 w 527658"/>
              <a:gd name="connsiteY12" fmla="*/ 111106 h 160735"/>
              <a:gd name="connsiteX13" fmla="*/ 95507 w 527658"/>
              <a:gd name="connsiteY13" fmla="*/ 58409 h 160735"/>
              <a:gd name="connsiteX14" fmla="*/ 508631 w 527658"/>
              <a:gd name="connsiteY14" fmla="*/ 27347 h 160735"/>
              <a:gd name="connsiteX15" fmla="*/ 484394 w 527658"/>
              <a:gd name="connsiteY15" fmla="*/ 20869 h 160735"/>
              <a:gd name="connsiteX16" fmla="*/ 459348 w 527658"/>
              <a:gd name="connsiteY16" fmla="*/ -129 h 160735"/>
              <a:gd name="connsiteX17" fmla="*/ 437541 w 527658"/>
              <a:gd name="connsiteY17" fmla="*/ 27347 h 160735"/>
              <a:gd name="connsiteX18" fmla="*/ 423022 w 527658"/>
              <a:gd name="connsiteY18" fmla="*/ 45915 h 160735"/>
              <a:gd name="connsiteX19" fmla="*/ 417237 w 527658"/>
              <a:gd name="connsiteY19" fmla="*/ 53493 h 160735"/>
              <a:gd name="connsiteX20" fmla="*/ 417237 w 527658"/>
              <a:gd name="connsiteY20" fmla="*/ 69342 h 160735"/>
              <a:gd name="connsiteX21" fmla="*/ 399479 w 527658"/>
              <a:gd name="connsiteY21" fmla="*/ 75821 h 160735"/>
              <a:gd name="connsiteX22" fmla="*/ 384671 w 527658"/>
              <a:gd name="connsiteY22" fmla="*/ 56558 h 160735"/>
              <a:gd name="connsiteX23" fmla="*/ 384092 w 527658"/>
              <a:gd name="connsiteY23" fmla="*/ 56558 h 160735"/>
              <a:gd name="connsiteX24" fmla="*/ 359855 w 527658"/>
              <a:gd name="connsiteY24" fmla="*/ 94505 h 160735"/>
              <a:gd name="connsiteX25" fmla="*/ 320290 w 527658"/>
              <a:gd name="connsiteY25" fmla="*/ 106594 h 160735"/>
              <a:gd name="connsiteX26" fmla="*/ 302531 w 527658"/>
              <a:gd name="connsiteY26" fmla="*/ 141300 h 160735"/>
              <a:gd name="connsiteX27" fmla="*/ 262040 w 527658"/>
              <a:gd name="connsiteY27" fmla="*/ 131062 h 160735"/>
              <a:gd name="connsiteX28" fmla="*/ 270197 w 527658"/>
              <a:gd name="connsiteY28" fmla="*/ 148415 h 160735"/>
              <a:gd name="connsiteX29" fmla="*/ 292814 w 527658"/>
              <a:gd name="connsiteY29" fmla="*/ 159695 h 160735"/>
              <a:gd name="connsiteX30" fmla="*/ 328388 w 527658"/>
              <a:gd name="connsiteY30" fmla="*/ 156513 h 160735"/>
              <a:gd name="connsiteX31" fmla="*/ 355864 w 527658"/>
              <a:gd name="connsiteY31" fmla="*/ 144945 h 160735"/>
              <a:gd name="connsiteX32" fmla="*/ 381663 w 527658"/>
              <a:gd name="connsiteY32" fmla="*/ 149861 h 160735"/>
              <a:gd name="connsiteX33" fmla="*/ 405900 w 527658"/>
              <a:gd name="connsiteY33" fmla="*/ 133665 h 160735"/>
              <a:gd name="connsiteX34" fmla="*/ 413998 w 527658"/>
              <a:gd name="connsiteY34" fmla="*/ 107809 h 160735"/>
              <a:gd name="connsiteX35" fmla="*/ 430136 w 527658"/>
              <a:gd name="connsiteY35" fmla="*/ 83572 h 160735"/>
              <a:gd name="connsiteX36" fmla="*/ 472131 w 527658"/>
              <a:gd name="connsiteY36" fmla="*/ 65814 h 160735"/>
              <a:gd name="connsiteX37" fmla="*/ 485088 w 527658"/>
              <a:gd name="connsiteY37" fmla="*/ 70210 h 160735"/>
              <a:gd name="connsiteX38" fmla="*/ 502037 w 527658"/>
              <a:gd name="connsiteY38" fmla="*/ 53724 h 160735"/>
              <a:gd name="connsiteX39" fmla="*/ 527083 w 527658"/>
              <a:gd name="connsiteY39" fmla="*/ 43196 h 160735"/>
              <a:gd name="connsiteX40" fmla="*/ 508631 w 527658"/>
              <a:gd name="connsiteY40" fmla="*/ 27347 h 16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27658" h="160735">
                <a:moveTo>
                  <a:pt x="95507" y="58409"/>
                </a:moveTo>
                <a:cubicBezTo>
                  <a:pt x="95912" y="40247"/>
                  <a:pt x="78559" y="42271"/>
                  <a:pt x="74510" y="29777"/>
                </a:cubicBezTo>
                <a:cubicBezTo>
                  <a:pt x="70460" y="17282"/>
                  <a:pt x="63577" y="24513"/>
                  <a:pt x="61147" y="16415"/>
                </a:cubicBezTo>
                <a:cubicBezTo>
                  <a:pt x="60685" y="15021"/>
                  <a:pt x="59991" y="13708"/>
                  <a:pt x="59065" y="12539"/>
                </a:cubicBezTo>
                <a:cubicBezTo>
                  <a:pt x="49926" y="15489"/>
                  <a:pt x="53281" y="23067"/>
                  <a:pt x="50678" y="23529"/>
                </a:cubicBezTo>
                <a:cubicBezTo>
                  <a:pt x="48075" y="23992"/>
                  <a:pt x="29102" y="26248"/>
                  <a:pt x="29102" y="20869"/>
                </a:cubicBezTo>
                <a:cubicBezTo>
                  <a:pt x="29391" y="12875"/>
                  <a:pt x="23606" y="5962"/>
                  <a:pt x="15682" y="4788"/>
                </a:cubicBezTo>
                <a:cubicBezTo>
                  <a:pt x="10476" y="3810"/>
                  <a:pt x="5154" y="3440"/>
                  <a:pt x="-110" y="3689"/>
                </a:cubicBezTo>
                <a:cubicBezTo>
                  <a:pt x="5154" y="16987"/>
                  <a:pt x="7699" y="31205"/>
                  <a:pt x="7411" y="45510"/>
                </a:cubicBezTo>
                <a:cubicBezTo>
                  <a:pt x="7873" y="61649"/>
                  <a:pt x="31705" y="87505"/>
                  <a:pt x="35291" y="98033"/>
                </a:cubicBezTo>
                <a:cubicBezTo>
                  <a:pt x="38877" y="108561"/>
                  <a:pt x="45761" y="111684"/>
                  <a:pt x="61379" y="123253"/>
                </a:cubicBezTo>
                <a:cubicBezTo>
                  <a:pt x="76997" y="134822"/>
                  <a:pt x="107654" y="152696"/>
                  <a:pt x="113901" y="149919"/>
                </a:cubicBezTo>
                <a:cubicBezTo>
                  <a:pt x="120149" y="147143"/>
                  <a:pt x="104588" y="120419"/>
                  <a:pt x="95738" y="111106"/>
                </a:cubicBezTo>
                <a:cubicBezTo>
                  <a:pt x="86889" y="101793"/>
                  <a:pt x="95102" y="76573"/>
                  <a:pt x="95507" y="58409"/>
                </a:cubicBezTo>
                <a:close/>
                <a:moveTo>
                  <a:pt x="508631" y="27347"/>
                </a:moveTo>
                <a:cubicBezTo>
                  <a:pt x="501343" y="28967"/>
                  <a:pt x="484394" y="28157"/>
                  <a:pt x="484394" y="20869"/>
                </a:cubicBezTo>
                <a:cubicBezTo>
                  <a:pt x="484394" y="13580"/>
                  <a:pt x="469007" y="-129"/>
                  <a:pt x="459348" y="-129"/>
                </a:cubicBezTo>
                <a:cubicBezTo>
                  <a:pt x="449688" y="-129"/>
                  <a:pt x="438293" y="19249"/>
                  <a:pt x="437541" y="27347"/>
                </a:cubicBezTo>
                <a:cubicBezTo>
                  <a:pt x="436789" y="35445"/>
                  <a:pt x="421344" y="34578"/>
                  <a:pt x="423022" y="45915"/>
                </a:cubicBezTo>
                <a:cubicBezTo>
                  <a:pt x="423600" y="50369"/>
                  <a:pt x="420766" y="52278"/>
                  <a:pt x="417237" y="53493"/>
                </a:cubicBezTo>
                <a:cubicBezTo>
                  <a:pt x="419724" y="63211"/>
                  <a:pt x="421112" y="70268"/>
                  <a:pt x="417237" y="69342"/>
                </a:cubicBezTo>
                <a:cubicBezTo>
                  <a:pt x="410759" y="67723"/>
                  <a:pt x="409139" y="75821"/>
                  <a:pt x="399479" y="75821"/>
                </a:cubicBezTo>
                <a:cubicBezTo>
                  <a:pt x="396124" y="75821"/>
                  <a:pt x="390571" y="67433"/>
                  <a:pt x="384671" y="56558"/>
                </a:cubicBezTo>
                <a:lnTo>
                  <a:pt x="384092" y="56558"/>
                </a:lnTo>
                <a:cubicBezTo>
                  <a:pt x="377672" y="56558"/>
                  <a:pt x="363153" y="79118"/>
                  <a:pt x="359855" y="94505"/>
                </a:cubicBezTo>
                <a:cubicBezTo>
                  <a:pt x="356559" y="109891"/>
                  <a:pt x="342155" y="104974"/>
                  <a:pt x="320290" y="106594"/>
                </a:cubicBezTo>
                <a:cubicBezTo>
                  <a:pt x="298425" y="108214"/>
                  <a:pt x="307391" y="130831"/>
                  <a:pt x="302531" y="141300"/>
                </a:cubicBezTo>
                <a:cubicBezTo>
                  <a:pt x="298136" y="150903"/>
                  <a:pt x="274188" y="133549"/>
                  <a:pt x="262040" y="131062"/>
                </a:cubicBezTo>
                <a:cubicBezTo>
                  <a:pt x="264066" y="139738"/>
                  <a:pt x="266900" y="148415"/>
                  <a:pt x="270197" y="148415"/>
                </a:cubicBezTo>
                <a:cubicBezTo>
                  <a:pt x="276675" y="148415"/>
                  <a:pt x="286393" y="164554"/>
                  <a:pt x="292814" y="159695"/>
                </a:cubicBezTo>
                <a:cubicBezTo>
                  <a:pt x="299235" y="154836"/>
                  <a:pt x="318670" y="159695"/>
                  <a:pt x="328388" y="156513"/>
                </a:cubicBezTo>
                <a:cubicBezTo>
                  <a:pt x="338106" y="153332"/>
                  <a:pt x="339957" y="144945"/>
                  <a:pt x="355864" y="144945"/>
                </a:cubicBezTo>
                <a:cubicBezTo>
                  <a:pt x="371772" y="144945"/>
                  <a:pt x="365524" y="157902"/>
                  <a:pt x="381663" y="149861"/>
                </a:cubicBezTo>
                <a:cubicBezTo>
                  <a:pt x="397802" y="141821"/>
                  <a:pt x="407577" y="148184"/>
                  <a:pt x="405900" y="133665"/>
                </a:cubicBezTo>
                <a:cubicBezTo>
                  <a:pt x="404222" y="119146"/>
                  <a:pt x="415617" y="119146"/>
                  <a:pt x="413998" y="107809"/>
                </a:cubicBezTo>
                <a:cubicBezTo>
                  <a:pt x="412378" y="96471"/>
                  <a:pt x="431756" y="104569"/>
                  <a:pt x="430136" y="83572"/>
                </a:cubicBezTo>
                <a:cubicBezTo>
                  <a:pt x="428516" y="62574"/>
                  <a:pt x="459058" y="65814"/>
                  <a:pt x="472131" y="65814"/>
                </a:cubicBezTo>
                <a:cubicBezTo>
                  <a:pt x="476701" y="66427"/>
                  <a:pt x="481097" y="67919"/>
                  <a:pt x="485088" y="70210"/>
                </a:cubicBezTo>
                <a:cubicBezTo>
                  <a:pt x="494633" y="65524"/>
                  <a:pt x="508226" y="59277"/>
                  <a:pt x="502037" y="53724"/>
                </a:cubicBezTo>
                <a:cubicBezTo>
                  <a:pt x="494749" y="47245"/>
                  <a:pt x="523844" y="52914"/>
                  <a:pt x="527083" y="43196"/>
                </a:cubicBezTo>
                <a:cubicBezTo>
                  <a:pt x="530322" y="33479"/>
                  <a:pt x="515861" y="25728"/>
                  <a:pt x="508631" y="27347"/>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2" name="Forma libre: forma 161">
            <a:extLst>
              <a:ext uri="{FF2B5EF4-FFF2-40B4-BE49-F238E27FC236}">
                <a16:creationId xmlns:a16="http://schemas.microsoft.com/office/drawing/2014/main" id="{3927D3A1-3E90-A3E0-B12F-97E992FD151D}"/>
              </a:ext>
            </a:extLst>
          </p:cNvPr>
          <p:cNvSpPr/>
          <p:nvPr/>
        </p:nvSpPr>
        <p:spPr>
          <a:xfrm>
            <a:off x="9268569" y="4354596"/>
            <a:ext cx="34477" cy="22327"/>
          </a:xfrm>
          <a:custGeom>
            <a:avLst/>
            <a:gdLst>
              <a:gd name="connsiteX0" fmla="*/ 14409 w 34477"/>
              <a:gd name="connsiteY0" fmla="*/ 22199 h 22327"/>
              <a:gd name="connsiteX1" fmla="*/ 32168 w 34477"/>
              <a:gd name="connsiteY1" fmla="*/ 15720 h 22327"/>
              <a:gd name="connsiteX2" fmla="*/ 32168 w 34477"/>
              <a:gd name="connsiteY2" fmla="*/ -129 h 22327"/>
              <a:gd name="connsiteX3" fmla="*/ 18690 w 34477"/>
              <a:gd name="connsiteY3" fmla="*/ 6002 h 22327"/>
              <a:gd name="connsiteX4" fmla="*/ -110 w 34477"/>
              <a:gd name="connsiteY4" fmla="*/ 2937 h 22327"/>
              <a:gd name="connsiteX5" fmla="*/ 14409 w 34477"/>
              <a:gd name="connsiteY5" fmla="*/ 22199 h 22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77" h="22327">
                <a:moveTo>
                  <a:pt x="14409" y="22199"/>
                </a:moveTo>
                <a:cubicBezTo>
                  <a:pt x="24070" y="22199"/>
                  <a:pt x="25978" y="14101"/>
                  <a:pt x="32168" y="15720"/>
                </a:cubicBezTo>
                <a:cubicBezTo>
                  <a:pt x="35754" y="16646"/>
                  <a:pt x="34366" y="9589"/>
                  <a:pt x="32168" y="-129"/>
                </a:cubicBezTo>
                <a:cubicBezTo>
                  <a:pt x="26384" y="1606"/>
                  <a:pt x="18690" y="1606"/>
                  <a:pt x="18690" y="6002"/>
                </a:cubicBezTo>
                <a:cubicBezTo>
                  <a:pt x="18690" y="13117"/>
                  <a:pt x="6485" y="3399"/>
                  <a:pt x="-110" y="2937"/>
                </a:cubicBezTo>
                <a:cubicBezTo>
                  <a:pt x="5502" y="13811"/>
                  <a:pt x="11055" y="22199"/>
                  <a:pt x="14409" y="2219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3" name="Forma libre: forma 162">
            <a:extLst>
              <a:ext uri="{FF2B5EF4-FFF2-40B4-BE49-F238E27FC236}">
                <a16:creationId xmlns:a16="http://schemas.microsoft.com/office/drawing/2014/main" id="{C21E7CF9-EB8A-07A8-1E2B-7AFA72DE3E7C}"/>
              </a:ext>
            </a:extLst>
          </p:cNvPr>
          <p:cNvSpPr/>
          <p:nvPr/>
        </p:nvSpPr>
        <p:spPr>
          <a:xfrm>
            <a:off x="7234012" y="3399414"/>
            <a:ext cx="267529" cy="259372"/>
          </a:xfrm>
          <a:custGeom>
            <a:avLst/>
            <a:gdLst>
              <a:gd name="connsiteX0" fmla="*/ 224963 w 267529"/>
              <a:gd name="connsiteY0" fmla="*/ 235643 h 259372"/>
              <a:gd name="connsiteX1" fmla="*/ 237399 w 267529"/>
              <a:gd name="connsiteY1" fmla="*/ 225636 h 259372"/>
              <a:gd name="connsiteX2" fmla="*/ 255447 w 267529"/>
              <a:gd name="connsiteY2" fmla="*/ 235759 h 259372"/>
              <a:gd name="connsiteX3" fmla="*/ 267420 w 267529"/>
              <a:gd name="connsiteY3" fmla="*/ 229338 h 259372"/>
              <a:gd name="connsiteX4" fmla="*/ 251976 w 267529"/>
              <a:gd name="connsiteY4" fmla="*/ 207878 h 259372"/>
              <a:gd name="connsiteX5" fmla="*/ 242316 w 267529"/>
              <a:gd name="connsiteY5" fmla="*/ 189541 h 259372"/>
              <a:gd name="connsiteX6" fmla="*/ 244456 w 267529"/>
              <a:gd name="connsiteY6" fmla="*/ 171204 h 259372"/>
              <a:gd name="connsiteX7" fmla="*/ 231557 w 267529"/>
              <a:gd name="connsiteY7" fmla="*/ 155066 h 259372"/>
              <a:gd name="connsiteX8" fmla="*/ 201305 w 267529"/>
              <a:gd name="connsiteY8" fmla="*/ 134531 h 259372"/>
              <a:gd name="connsiteX9" fmla="*/ 188348 w 267529"/>
              <a:gd name="connsiteY9" fmla="*/ 119434 h 259372"/>
              <a:gd name="connsiteX10" fmla="*/ 185166 w 267529"/>
              <a:gd name="connsiteY10" fmla="*/ 94619 h 259372"/>
              <a:gd name="connsiteX11" fmla="*/ 195925 w 267529"/>
              <a:gd name="connsiteY11" fmla="*/ 73043 h 259372"/>
              <a:gd name="connsiteX12" fmla="*/ 199164 w 267529"/>
              <a:gd name="connsiteY12" fmla="*/ 56904 h 259372"/>
              <a:gd name="connsiteX13" fmla="*/ 188348 w 267529"/>
              <a:gd name="connsiteY13" fmla="*/ 47186 h 259372"/>
              <a:gd name="connsiteX14" fmla="*/ 173250 w 267529"/>
              <a:gd name="connsiteY14" fmla="*/ 30990 h 259372"/>
              <a:gd name="connsiteX15" fmla="*/ 163590 w 267529"/>
              <a:gd name="connsiteY15" fmla="*/ 9472 h 259372"/>
              <a:gd name="connsiteX16" fmla="*/ 134668 w 267529"/>
              <a:gd name="connsiteY16" fmla="*/ 4902 h 259372"/>
              <a:gd name="connsiteX17" fmla="*/ 110431 w 267529"/>
              <a:gd name="connsiteY17" fmla="*/ 43 h 259372"/>
              <a:gd name="connsiteX18" fmla="*/ 98284 w 267529"/>
              <a:gd name="connsiteY18" fmla="*/ 9298 h 259372"/>
              <a:gd name="connsiteX19" fmla="*/ 98746 w 267529"/>
              <a:gd name="connsiteY19" fmla="*/ 9298 h 259372"/>
              <a:gd name="connsiteX20" fmla="*/ 82608 w 267529"/>
              <a:gd name="connsiteY20" fmla="*/ 20867 h 259372"/>
              <a:gd name="connsiteX21" fmla="*/ 65255 w 267529"/>
              <a:gd name="connsiteY21" fmla="*/ 33767 h 259372"/>
              <a:gd name="connsiteX22" fmla="*/ 67395 w 267529"/>
              <a:gd name="connsiteY22" fmla="*/ 56441 h 259372"/>
              <a:gd name="connsiteX23" fmla="*/ 65255 w 267529"/>
              <a:gd name="connsiteY23" fmla="*/ 78017 h 259372"/>
              <a:gd name="connsiteX24" fmla="*/ 58776 w 267529"/>
              <a:gd name="connsiteY24" fmla="*/ 94156 h 259372"/>
              <a:gd name="connsiteX25" fmla="*/ -110 w 267529"/>
              <a:gd name="connsiteY25" fmla="*/ 125103 h 259372"/>
              <a:gd name="connsiteX26" fmla="*/ 2089 w 267529"/>
              <a:gd name="connsiteY26" fmla="*/ 138522 h 259372"/>
              <a:gd name="connsiteX27" fmla="*/ 8509 w 267529"/>
              <a:gd name="connsiteY27" fmla="*/ 165362 h 259372"/>
              <a:gd name="connsiteX28" fmla="*/ 29623 w 267529"/>
              <a:gd name="connsiteY28" fmla="*/ 165362 h 259372"/>
              <a:gd name="connsiteX29" fmla="*/ 83591 w 267529"/>
              <a:gd name="connsiteY29" fmla="*/ 196656 h 259372"/>
              <a:gd name="connsiteX30" fmla="*/ 149360 w 267529"/>
              <a:gd name="connsiteY30" fmla="*/ 245187 h 259372"/>
              <a:gd name="connsiteX31" fmla="*/ 181753 w 267529"/>
              <a:gd name="connsiteY31" fmla="*/ 256004 h 259372"/>
              <a:gd name="connsiteX32" fmla="*/ 213394 w 267529"/>
              <a:gd name="connsiteY32" fmla="*/ 259244 h 259372"/>
              <a:gd name="connsiteX33" fmla="*/ 224963 w 267529"/>
              <a:gd name="connsiteY33" fmla="*/ 235643 h 25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7529" h="259372">
                <a:moveTo>
                  <a:pt x="224963" y="235643"/>
                </a:moveTo>
                <a:cubicBezTo>
                  <a:pt x="228433" y="231941"/>
                  <a:pt x="229012" y="226851"/>
                  <a:pt x="237399" y="225636"/>
                </a:cubicBezTo>
                <a:cubicBezTo>
                  <a:pt x="243994" y="224653"/>
                  <a:pt x="248158" y="228933"/>
                  <a:pt x="255447" y="235759"/>
                </a:cubicBezTo>
                <a:cubicBezTo>
                  <a:pt x="258917" y="232745"/>
                  <a:pt x="263024" y="230547"/>
                  <a:pt x="267420" y="229338"/>
                </a:cubicBezTo>
                <a:cubicBezTo>
                  <a:pt x="260132" y="221818"/>
                  <a:pt x="251397" y="213084"/>
                  <a:pt x="251976" y="207878"/>
                </a:cubicBezTo>
                <a:cubicBezTo>
                  <a:pt x="253075" y="199259"/>
                  <a:pt x="243357" y="194921"/>
                  <a:pt x="242316" y="189541"/>
                </a:cubicBezTo>
                <a:cubicBezTo>
                  <a:pt x="241275" y="184162"/>
                  <a:pt x="248795" y="175543"/>
                  <a:pt x="244456" y="171204"/>
                </a:cubicBezTo>
                <a:cubicBezTo>
                  <a:pt x="240118" y="166866"/>
                  <a:pt x="239076" y="156107"/>
                  <a:pt x="231557" y="155066"/>
                </a:cubicBezTo>
                <a:cubicBezTo>
                  <a:pt x="224037" y="154025"/>
                  <a:pt x="200205" y="142109"/>
                  <a:pt x="201305" y="134531"/>
                </a:cubicBezTo>
                <a:cubicBezTo>
                  <a:pt x="202403" y="126954"/>
                  <a:pt x="192686" y="121632"/>
                  <a:pt x="188348" y="119434"/>
                </a:cubicBezTo>
                <a:cubicBezTo>
                  <a:pt x="184009" y="117236"/>
                  <a:pt x="179728" y="97858"/>
                  <a:pt x="185166" y="94619"/>
                </a:cubicBezTo>
                <a:cubicBezTo>
                  <a:pt x="190603" y="91379"/>
                  <a:pt x="189446" y="73043"/>
                  <a:pt x="195925" y="73043"/>
                </a:cubicBezTo>
                <a:cubicBezTo>
                  <a:pt x="202403" y="73043"/>
                  <a:pt x="197024" y="63383"/>
                  <a:pt x="199164" y="56904"/>
                </a:cubicBezTo>
                <a:cubicBezTo>
                  <a:pt x="201305" y="50426"/>
                  <a:pt x="193785" y="47186"/>
                  <a:pt x="188348" y="47186"/>
                </a:cubicBezTo>
                <a:cubicBezTo>
                  <a:pt x="180480" y="45416"/>
                  <a:pt x="174465" y="38984"/>
                  <a:pt x="173250" y="30990"/>
                </a:cubicBezTo>
                <a:cubicBezTo>
                  <a:pt x="173250" y="23470"/>
                  <a:pt x="162433" y="12711"/>
                  <a:pt x="163590" y="9472"/>
                </a:cubicBezTo>
                <a:cubicBezTo>
                  <a:pt x="161739" y="23644"/>
                  <a:pt x="141204" y="1663"/>
                  <a:pt x="134668" y="4902"/>
                </a:cubicBezTo>
                <a:cubicBezTo>
                  <a:pt x="128132" y="8141"/>
                  <a:pt x="123099" y="-1519"/>
                  <a:pt x="110431" y="43"/>
                </a:cubicBezTo>
                <a:cubicBezTo>
                  <a:pt x="102159" y="1084"/>
                  <a:pt x="102448" y="5423"/>
                  <a:pt x="98284" y="9298"/>
                </a:cubicBezTo>
                <a:lnTo>
                  <a:pt x="98746" y="9298"/>
                </a:lnTo>
                <a:lnTo>
                  <a:pt x="82608" y="20867"/>
                </a:lnTo>
                <a:cubicBezTo>
                  <a:pt x="82608" y="20867"/>
                  <a:pt x="68552" y="25148"/>
                  <a:pt x="65255" y="33767"/>
                </a:cubicBezTo>
                <a:cubicBezTo>
                  <a:pt x="61957" y="42385"/>
                  <a:pt x="71675" y="51120"/>
                  <a:pt x="67395" y="56441"/>
                </a:cubicBezTo>
                <a:cubicBezTo>
                  <a:pt x="63115" y="61763"/>
                  <a:pt x="64155" y="73795"/>
                  <a:pt x="65255" y="78017"/>
                </a:cubicBezTo>
                <a:cubicBezTo>
                  <a:pt x="66353" y="82240"/>
                  <a:pt x="58776" y="94156"/>
                  <a:pt x="58776" y="94156"/>
                </a:cubicBezTo>
                <a:cubicBezTo>
                  <a:pt x="58776" y="94156"/>
                  <a:pt x="26672" y="111509"/>
                  <a:pt x="-110" y="125103"/>
                </a:cubicBezTo>
                <a:cubicBezTo>
                  <a:pt x="238" y="129632"/>
                  <a:pt x="932" y="134126"/>
                  <a:pt x="2089" y="138522"/>
                </a:cubicBezTo>
                <a:cubicBezTo>
                  <a:pt x="3766" y="144307"/>
                  <a:pt x="6427" y="155876"/>
                  <a:pt x="8509" y="165362"/>
                </a:cubicBezTo>
                <a:cubicBezTo>
                  <a:pt x="15509" y="164813"/>
                  <a:pt x="22624" y="164813"/>
                  <a:pt x="29623" y="165362"/>
                </a:cubicBezTo>
                <a:cubicBezTo>
                  <a:pt x="39341" y="166461"/>
                  <a:pt x="74972" y="192318"/>
                  <a:pt x="83591" y="196656"/>
                </a:cubicBezTo>
                <a:cubicBezTo>
                  <a:pt x="106382" y="211661"/>
                  <a:pt x="128305" y="227857"/>
                  <a:pt x="149360" y="245187"/>
                </a:cubicBezTo>
                <a:cubicBezTo>
                  <a:pt x="158731" y="252140"/>
                  <a:pt x="170069" y="255929"/>
                  <a:pt x="181753" y="256004"/>
                </a:cubicBezTo>
                <a:cubicBezTo>
                  <a:pt x="185455" y="256004"/>
                  <a:pt x="200899" y="257740"/>
                  <a:pt x="213394" y="259244"/>
                </a:cubicBezTo>
                <a:cubicBezTo>
                  <a:pt x="216518" y="251053"/>
                  <a:pt x="220393" y="243151"/>
                  <a:pt x="224963" y="235643"/>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5" name="Forma libre: forma 164">
            <a:extLst>
              <a:ext uri="{FF2B5EF4-FFF2-40B4-BE49-F238E27FC236}">
                <a16:creationId xmlns:a16="http://schemas.microsoft.com/office/drawing/2014/main" id="{86F85C49-D4C9-A9E9-1233-52456921BD46}"/>
              </a:ext>
            </a:extLst>
          </p:cNvPr>
          <p:cNvSpPr/>
          <p:nvPr/>
        </p:nvSpPr>
        <p:spPr>
          <a:xfrm>
            <a:off x="7447515" y="3624460"/>
            <a:ext cx="52753" cy="49539"/>
          </a:xfrm>
          <a:custGeom>
            <a:avLst/>
            <a:gdLst>
              <a:gd name="connsiteX0" fmla="*/ 16954 w 52753"/>
              <a:gd name="connsiteY0" fmla="*/ 36742 h 49539"/>
              <a:gd name="connsiteX1" fmla="*/ 30953 w 52753"/>
              <a:gd name="connsiteY1" fmla="*/ 48311 h 49539"/>
              <a:gd name="connsiteX2" fmla="*/ 52644 w 52753"/>
              <a:gd name="connsiteY2" fmla="*/ 49410 h 49539"/>
              <a:gd name="connsiteX3" fmla="*/ 39572 w 52753"/>
              <a:gd name="connsiteY3" fmla="*/ 14704 h 49539"/>
              <a:gd name="connsiteX4" fmla="*/ 41943 w 52753"/>
              <a:gd name="connsiteY4" fmla="*/ 10134 h 49539"/>
              <a:gd name="connsiteX5" fmla="*/ 23896 w 52753"/>
              <a:gd name="connsiteY5" fmla="*/ 11 h 49539"/>
              <a:gd name="connsiteX6" fmla="*/ 11459 w 52753"/>
              <a:gd name="connsiteY6" fmla="*/ 10018 h 49539"/>
              <a:gd name="connsiteX7" fmla="*/ -110 w 52753"/>
              <a:gd name="connsiteY7" fmla="*/ 34081 h 49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53" h="49539">
                <a:moveTo>
                  <a:pt x="16954" y="36742"/>
                </a:moveTo>
                <a:lnTo>
                  <a:pt x="30953" y="48311"/>
                </a:lnTo>
                <a:lnTo>
                  <a:pt x="52644" y="49410"/>
                </a:lnTo>
                <a:cubicBezTo>
                  <a:pt x="47786" y="36684"/>
                  <a:pt x="39572" y="19389"/>
                  <a:pt x="39572" y="14704"/>
                </a:cubicBezTo>
                <a:cubicBezTo>
                  <a:pt x="39745" y="12934"/>
                  <a:pt x="40613" y="11296"/>
                  <a:pt x="41943" y="10134"/>
                </a:cubicBezTo>
                <a:cubicBezTo>
                  <a:pt x="34655" y="3308"/>
                  <a:pt x="30375" y="-972"/>
                  <a:pt x="23896" y="11"/>
                </a:cubicBezTo>
                <a:cubicBezTo>
                  <a:pt x="15508" y="1226"/>
                  <a:pt x="14930" y="6316"/>
                  <a:pt x="11459" y="10018"/>
                </a:cubicBezTo>
                <a:cubicBezTo>
                  <a:pt x="6889" y="17677"/>
                  <a:pt x="3014" y="25729"/>
                  <a:pt x="-110" y="34081"/>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6" name="Forma libre: forma 165">
            <a:extLst>
              <a:ext uri="{FF2B5EF4-FFF2-40B4-BE49-F238E27FC236}">
                <a16:creationId xmlns:a16="http://schemas.microsoft.com/office/drawing/2014/main" id="{9D4AAEA6-1F83-4A60-9EC7-3B9593F3642D}"/>
              </a:ext>
            </a:extLst>
          </p:cNvPr>
          <p:cNvSpPr/>
          <p:nvPr/>
        </p:nvSpPr>
        <p:spPr>
          <a:xfrm>
            <a:off x="6056607" y="2936369"/>
            <a:ext cx="393658" cy="332430"/>
          </a:xfrm>
          <a:custGeom>
            <a:avLst/>
            <a:gdLst>
              <a:gd name="connsiteX0" fmla="*/ 346941 w 393658"/>
              <a:gd name="connsiteY0" fmla="*/ 75821 h 332430"/>
              <a:gd name="connsiteX1" fmla="*/ 332422 w 393658"/>
              <a:gd name="connsiteY1" fmla="*/ 70904 h 332430"/>
              <a:gd name="connsiteX2" fmla="*/ 315068 w 393658"/>
              <a:gd name="connsiteY2" fmla="*/ 62458 h 332430"/>
              <a:gd name="connsiteX3" fmla="*/ 286609 w 393658"/>
              <a:gd name="connsiteY3" fmla="*/ 57599 h 332430"/>
              <a:gd name="connsiteX4" fmla="*/ 272669 w 393658"/>
              <a:gd name="connsiteY4" fmla="*/ 48576 h 332430"/>
              <a:gd name="connsiteX5" fmla="*/ 264802 w 393658"/>
              <a:gd name="connsiteY5" fmla="*/ 35850 h 332430"/>
              <a:gd name="connsiteX6" fmla="*/ 252712 w 393658"/>
              <a:gd name="connsiteY6" fmla="*/ 41635 h 332430"/>
              <a:gd name="connsiteX7" fmla="*/ 244788 w 393658"/>
              <a:gd name="connsiteY7" fmla="*/ 32553 h 332430"/>
              <a:gd name="connsiteX8" fmla="*/ 227839 w 393658"/>
              <a:gd name="connsiteY8" fmla="*/ 22257 h 332430"/>
              <a:gd name="connsiteX9" fmla="*/ 213899 w 393658"/>
              <a:gd name="connsiteY9" fmla="*/ 13811 h 332430"/>
              <a:gd name="connsiteX10" fmla="*/ 204239 w 393658"/>
              <a:gd name="connsiteY10" fmla="*/ 3457 h 332430"/>
              <a:gd name="connsiteX11" fmla="*/ 200710 w 393658"/>
              <a:gd name="connsiteY11" fmla="*/ -129 h 332430"/>
              <a:gd name="connsiteX12" fmla="*/ 194521 w 393658"/>
              <a:gd name="connsiteY12" fmla="*/ 449 h 332430"/>
              <a:gd name="connsiteX13" fmla="*/ 177977 w 393658"/>
              <a:gd name="connsiteY13" fmla="*/ 23876 h 332430"/>
              <a:gd name="connsiteX14" fmla="*/ 149692 w 393658"/>
              <a:gd name="connsiteY14" fmla="*/ 42849 h 332430"/>
              <a:gd name="connsiteX15" fmla="*/ 131933 w 393658"/>
              <a:gd name="connsiteY15" fmla="*/ 62227 h 332430"/>
              <a:gd name="connsiteX16" fmla="*/ 97632 w 393658"/>
              <a:gd name="connsiteY16" fmla="*/ 50658 h 332430"/>
              <a:gd name="connsiteX17" fmla="*/ 81898 w 393658"/>
              <a:gd name="connsiteY17" fmla="*/ 61128 h 332430"/>
              <a:gd name="connsiteX18" fmla="*/ 85484 w 393658"/>
              <a:gd name="connsiteY18" fmla="*/ 90050 h 332430"/>
              <a:gd name="connsiteX19" fmla="*/ 61652 w 393658"/>
              <a:gd name="connsiteY19" fmla="*/ 88836 h 332430"/>
              <a:gd name="connsiteX20" fmla="*/ 45109 w 393658"/>
              <a:gd name="connsiteY20" fmla="*/ 80795 h 332430"/>
              <a:gd name="connsiteX21" fmla="*/ 18501 w 393658"/>
              <a:gd name="connsiteY21" fmla="*/ 83629 h 332430"/>
              <a:gd name="connsiteX22" fmla="*/ 1495 w 393658"/>
              <a:gd name="connsiteY22" fmla="*/ 96529 h 332430"/>
              <a:gd name="connsiteX23" fmla="*/ 4734 w 393658"/>
              <a:gd name="connsiteY23" fmla="*/ 113477 h 332430"/>
              <a:gd name="connsiteX24" fmla="*/ 41060 w 393658"/>
              <a:gd name="connsiteY24" fmla="*/ 125046 h 332430"/>
              <a:gd name="connsiteX25" fmla="*/ 64892 w 393658"/>
              <a:gd name="connsiteY25" fmla="*/ 131467 h 332430"/>
              <a:gd name="connsiteX26" fmla="*/ 73800 w 393658"/>
              <a:gd name="connsiteY26" fmla="*/ 143614 h 332430"/>
              <a:gd name="connsiteX27" fmla="*/ 95202 w 393658"/>
              <a:gd name="connsiteY27" fmla="*/ 167041 h 332430"/>
              <a:gd name="connsiteX28" fmla="*/ 102491 w 393658"/>
              <a:gd name="connsiteY28" fmla="*/ 188443 h 332430"/>
              <a:gd name="connsiteX29" fmla="*/ 98441 w 393658"/>
              <a:gd name="connsiteY29" fmla="*/ 221125 h 332430"/>
              <a:gd name="connsiteX30" fmla="*/ 85484 w 393658"/>
              <a:gd name="connsiteY30" fmla="*/ 270409 h 332430"/>
              <a:gd name="connsiteX31" fmla="*/ 83923 w 393658"/>
              <a:gd name="connsiteY31" fmla="*/ 270698 h 332430"/>
              <a:gd name="connsiteX32" fmla="*/ 99425 w 393658"/>
              <a:gd name="connsiteY32" fmla="*/ 278449 h 332430"/>
              <a:gd name="connsiteX33" fmla="*/ 125917 w 393658"/>
              <a:gd name="connsiteY33" fmla="*/ 291175 h 332430"/>
              <a:gd name="connsiteX34" fmla="*/ 147551 w 393658"/>
              <a:gd name="connsiteY34" fmla="*/ 289208 h 332430"/>
              <a:gd name="connsiteX35" fmla="*/ 160335 w 393658"/>
              <a:gd name="connsiteY35" fmla="*/ 292158 h 332430"/>
              <a:gd name="connsiteX36" fmla="*/ 192786 w 393658"/>
              <a:gd name="connsiteY36" fmla="*/ 300025 h 332430"/>
              <a:gd name="connsiteX37" fmla="*/ 220840 w 393658"/>
              <a:gd name="connsiteY37" fmla="*/ 300835 h 332430"/>
              <a:gd name="connsiteX38" fmla="*/ 219220 w 393658"/>
              <a:gd name="connsiteY38" fmla="*/ 293836 h 332430"/>
              <a:gd name="connsiteX39" fmla="*/ 241780 w 393658"/>
              <a:gd name="connsiteY39" fmla="*/ 266764 h 332430"/>
              <a:gd name="connsiteX40" fmla="*/ 291873 w 393658"/>
              <a:gd name="connsiteY40" fmla="*/ 277639 h 332430"/>
              <a:gd name="connsiteX41" fmla="*/ 323398 w 393658"/>
              <a:gd name="connsiteY41" fmla="*/ 267169 h 332430"/>
              <a:gd name="connsiteX42" fmla="*/ 340462 w 393658"/>
              <a:gd name="connsiteY42" fmla="*/ 256006 h 332430"/>
              <a:gd name="connsiteX43" fmla="*/ 343585 w 393658"/>
              <a:gd name="connsiteY43" fmla="*/ 246808 h 332430"/>
              <a:gd name="connsiteX44" fmla="*/ 330860 w 393658"/>
              <a:gd name="connsiteY44" fmla="*/ 242528 h 332430"/>
              <a:gd name="connsiteX45" fmla="*/ 323022 w 393658"/>
              <a:gd name="connsiteY45" fmla="*/ 233955 h 332430"/>
              <a:gd name="connsiteX46" fmla="*/ 324786 w 393658"/>
              <a:gd name="connsiteY46" fmla="*/ 229224 h 332430"/>
              <a:gd name="connsiteX47" fmla="*/ 316919 w 393658"/>
              <a:gd name="connsiteY47" fmla="*/ 215283 h 332430"/>
              <a:gd name="connsiteX48" fmla="*/ 322357 w 393658"/>
              <a:gd name="connsiteY48" fmla="*/ 208631 h 332430"/>
              <a:gd name="connsiteX49" fmla="*/ 327794 w 393658"/>
              <a:gd name="connsiteY49" fmla="*/ 197698 h 332430"/>
              <a:gd name="connsiteX50" fmla="*/ 324786 w 393658"/>
              <a:gd name="connsiteY50" fmla="*/ 184394 h 332430"/>
              <a:gd name="connsiteX51" fmla="*/ 319927 w 393658"/>
              <a:gd name="connsiteY51" fmla="*/ 171032 h 332430"/>
              <a:gd name="connsiteX52" fmla="*/ 307838 w 393658"/>
              <a:gd name="connsiteY52" fmla="*/ 169818 h 332430"/>
              <a:gd name="connsiteX53" fmla="*/ 304194 w 393658"/>
              <a:gd name="connsiteY53" fmla="*/ 160736 h 332430"/>
              <a:gd name="connsiteX54" fmla="*/ 321547 w 393658"/>
              <a:gd name="connsiteY54" fmla="*/ 138929 h 332430"/>
              <a:gd name="connsiteX55" fmla="*/ 335545 w 393658"/>
              <a:gd name="connsiteY55" fmla="*/ 127360 h 332430"/>
              <a:gd name="connsiteX56" fmla="*/ 341330 w 393658"/>
              <a:gd name="connsiteY56" fmla="*/ 106767 h 332430"/>
              <a:gd name="connsiteX57" fmla="*/ 352205 w 393658"/>
              <a:gd name="connsiteY57" fmla="*/ 84381 h 332430"/>
              <a:gd name="connsiteX58" fmla="*/ 346941 w 393658"/>
              <a:gd name="connsiteY58" fmla="*/ 75821 h 332430"/>
              <a:gd name="connsiteX59" fmla="*/ 390150 w 393658"/>
              <a:gd name="connsiteY59" fmla="*/ 281341 h 332430"/>
              <a:gd name="connsiteX60" fmla="*/ 373202 w 393658"/>
              <a:gd name="connsiteY60" fmla="*/ 295918 h 332430"/>
              <a:gd name="connsiteX61" fmla="*/ 384771 w 393658"/>
              <a:gd name="connsiteY61" fmla="*/ 332244 h 332430"/>
              <a:gd name="connsiteX62" fmla="*/ 390150 w 393658"/>
              <a:gd name="connsiteY62" fmla="*/ 281341 h 33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93658" h="332430">
                <a:moveTo>
                  <a:pt x="346941" y="75821"/>
                </a:moveTo>
                <a:cubicBezTo>
                  <a:pt x="343354" y="76399"/>
                  <a:pt x="340289" y="70904"/>
                  <a:pt x="332422" y="70904"/>
                </a:cubicBezTo>
                <a:cubicBezTo>
                  <a:pt x="325631" y="70985"/>
                  <a:pt x="319193" y="67855"/>
                  <a:pt x="315068" y="62458"/>
                </a:cubicBezTo>
                <a:cubicBezTo>
                  <a:pt x="311424" y="57599"/>
                  <a:pt x="292683" y="56674"/>
                  <a:pt x="286609" y="57599"/>
                </a:cubicBezTo>
                <a:cubicBezTo>
                  <a:pt x="280535" y="58525"/>
                  <a:pt x="278742" y="47303"/>
                  <a:pt x="272669" y="48576"/>
                </a:cubicBezTo>
                <a:cubicBezTo>
                  <a:pt x="266595" y="49848"/>
                  <a:pt x="264802" y="40651"/>
                  <a:pt x="264802" y="35850"/>
                </a:cubicBezTo>
                <a:cubicBezTo>
                  <a:pt x="264802" y="31049"/>
                  <a:pt x="258150" y="39436"/>
                  <a:pt x="252712" y="41635"/>
                </a:cubicBezTo>
                <a:cubicBezTo>
                  <a:pt x="247275" y="43833"/>
                  <a:pt x="245424" y="36197"/>
                  <a:pt x="244788" y="32553"/>
                </a:cubicBezTo>
                <a:cubicBezTo>
                  <a:pt x="244151" y="28909"/>
                  <a:pt x="233219" y="25322"/>
                  <a:pt x="227839" y="22257"/>
                </a:cubicBezTo>
                <a:cubicBezTo>
                  <a:pt x="222460" y="19191"/>
                  <a:pt x="216270" y="9531"/>
                  <a:pt x="213899" y="13811"/>
                </a:cubicBezTo>
                <a:cubicBezTo>
                  <a:pt x="211527" y="18092"/>
                  <a:pt x="204817" y="8027"/>
                  <a:pt x="204239" y="3457"/>
                </a:cubicBezTo>
                <a:cubicBezTo>
                  <a:pt x="203834" y="681"/>
                  <a:pt x="201925" y="1548"/>
                  <a:pt x="200710" y="-129"/>
                </a:cubicBezTo>
                <a:cubicBezTo>
                  <a:pt x="198680" y="322"/>
                  <a:pt x="196598" y="513"/>
                  <a:pt x="194521" y="449"/>
                </a:cubicBezTo>
                <a:cubicBezTo>
                  <a:pt x="184861" y="45"/>
                  <a:pt x="176358" y="7738"/>
                  <a:pt x="177977" y="23876"/>
                </a:cubicBezTo>
                <a:cubicBezTo>
                  <a:pt x="179597" y="40015"/>
                  <a:pt x="166408" y="41635"/>
                  <a:pt x="149692" y="42849"/>
                </a:cubicBezTo>
                <a:cubicBezTo>
                  <a:pt x="132975" y="44064"/>
                  <a:pt x="138817" y="57021"/>
                  <a:pt x="131933" y="62227"/>
                </a:cubicBezTo>
                <a:cubicBezTo>
                  <a:pt x="125050" y="67433"/>
                  <a:pt x="100871" y="59451"/>
                  <a:pt x="97632" y="50658"/>
                </a:cubicBezTo>
                <a:cubicBezTo>
                  <a:pt x="94393" y="41866"/>
                  <a:pt x="72585" y="50658"/>
                  <a:pt x="81898" y="61128"/>
                </a:cubicBezTo>
                <a:cubicBezTo>
                  <a:pt x="91211" y="71598"/>
                  <a:pt x="90748" y="86232"/>
                  <a:pt x="85484" y="90050"/>
                </a:cubicBezTo>
                <a:cubicBezTo>
                  <a:pt x="80221" y="93868"/>
                  <a:pt x="68941" y="83629"/>
                  <a:pt x="61652" y="88836"/>
                </a:cubicBezTo>
                <a:cubicBezTo>
                  <a:pt x="54364" y="94042"/>
                  <a:pt x="54017" y="83976"/>
                  <a:pt x="45109" y="80795"/>
                </a:cubicBezTo>
                <a:cubicBezTo>
                  <a:pt x="36201" y="77614"/>
                  <a:pt x="32557" y="84786"/>
                  <a:pt x="18501" y="83629"/>
                </a:cubicBezTo>
                <a:cubicBezTo>
                  <a:pt x="4444" y="82473"/>
                  <a:pt x="-3769" y="90455"/>
                  <a:pt x="1495" y="96529"/>
                </a:cubicBezTo>
                <a:cubicBezTo>
                  <a:pt x="6758" y="102602"/>
                  <a:pt x="685" y="108098"/>
                  <a:pt x="4734" y="113477"/>
                </a:cubicBezTo>
                <a:cubicBezTo>
                  <a:pt x="8783" y="118857"/>
                  <a:pt x="27351" y="117931"/>
                  <a:pt x="41060" y="125046"/>
                </a:cubicBezTo>
                <a:cubicBezTo>
                  <a:pt x="54769" y="132161"/>
                  <a:pt x="58008" y="126203"/>
                  <a:pt x="64892" y="131467"/>
                </a:cubicBezTo>
                <a:cubicBezTo>
                  <a:pt x="71775" y="136731"/>
                  <a:pt x="73395" y="133491"/>
                  <a:pt x="73800" y="143614"/>
                </a:cubicBezTo>
                <a:cubicBezTo>
                  <a:pt x="75009" y="155281"/>
                  <a:pt x="83691" y="164791"/>
                  <a:pt x="95202" y="167041"/>
                </a:cubicBezTo>
                <a:cubicBezTo>
                  <a:pt x="108507" y="170685"/>
                  <a:pt x="98441" y="179535"/>
                  <a:pt x="102491" y="188443"/>
                </a:cubicBezTo>
                <a:cubicBezTo>
                  <a:pt x="106540" y="197351"/>
                  <a:pt x="96706" y="210251"/>
                  <a:pt x="98441" y="221125"/>
                </a:cubicBezTo>
                <a:cubicBezTo>
                  <a:pt x="100177" y="232000"/>
                  <a:pt x="91963" y="267401"/>
                  <a:pt x="85484" y="270409"/>
                </a:cubicBezTo>
                <a:cubicBezTo>
                  <a:pt x="84970" y="270542"/>
                  <a:pt x="84449" y="270640"/>
                  <a:pt x="83923" y="270698"/>
                </a:cubicBezTo>
                <a:cubicBezTo>
                  <a:pt x="89707" y="273764"/>
                  <a:pt x="96301" y="276482"/>
                  <a:pt x="99425" y="278449"/>
                </a:cubicBezTo>
                <a:cubicBezTo>
                  <a:pt x="105209" y="282383"/>
                  <a:pt x="118051" y="286258"/>
                  <a:pt x="125917" y="291175"/>
                </a:cubicBezTo>
                <a:cubicBezTo>
                  <a:pt x="133784" y="296092"/>
                  <a:pt x="147551" y="295166"/>
                  <a:pt x="147551" y="289208"/>
                </a:cubicBezTo>
                <a:cubicBezTo>
                  <a:pt x="147551" y="283250"/>
                  <a:pt x="155418" y="287299"/>
                  <a:pt x="160335" y="292158"/>
                </a:cubicBezTo>
                <a:cubicBezTo>
                  <a:pt x="165252" y="297017"/>
                  <a:pt x="183935" y="297943"/>
                  <a:pt x="192786" y="300025"/>
                </a:cubicBezTo>
                <a:cubicBezTo>
                  <a:pt x="202099" y="301084"/>
                  <a:pt x="211481" y="301350"/>
                  <a:pt x="220840" y="300835"/>
                </a:cubicBezTo>
                <a:cubicBezTo>
                  <a:pt x="220429" y="298475"/>
                  <a:pt x="219886" y="296138"/>
                  <a:pt x="219220" y="293836"/>
                </a:cubicBezTo>
                <a:cubicBezTo>
                  <a:pt x="214362" y="278044"/>
                  <a:pt x="228476" y="268789"/>
                  <a:pt x="241780" y="266764"/>
                </a:cubicBezTo>
                <a:cubicBezTo>
                  <a:pt x="255084" y="264740"/>
                  <a:pt x="284180" y="272549"/>
                  <a:pt x="291873" y="277639"/>
                </a:cubicBezTo>
                <a:cubicBezTo>
                  <a:pt x="299566" y="282730"/>
                  <a:pt x="310036" y="281283"/>
                  <a:pt x="323398" y="267169"/>
                </a:cubicBezTo>
                <a:cubicBezTo>
                  <a:pt x="327904" y="261894"/>
                  <a:pt x="333827" y="258018"/>
                  <a:pt x="340462" y="256006"/>
                </a:cubicBezTo>
                <a:cubicBezTo>
                  <a:pt x="341133" y="252830"/>
                  <a:pt x="342186" y="249741"/>
                  <a:pt x="343585" y="246808"/>
                </a:cubicBezTo>
                <a:cubicBezTo>
                  <a:pt x="345379" y="241949"/>
                  <a:pt x="336876" y="243106"/>
                  <a:pt x="330860" y="242528"/>
                </a:cubicBezTo>
                <a:cubicBezTo>
                  <a:pt x="326331" y="242325"/>
                  <a:pt x="322820" y="238490"/>
                  <a:pt x="323022" y="233955"/>
                </a:cubicBezTo>
                <a:cubicBezTo>
                  <a:pt x="323097" y="232231"/>
                  <a:pt x="323716" y="230577"/>
                  <a:pt x="324786" y="229224"/>
                </a:cubicBezTo>
                <a:cubicBezTo>
                  <a:pt x="329009" y="222514"/>
                  <a:pt x="321142" y="221935"/>
                  <a:pt x="316919" y="215283"/>
                </a:cubicBezTo>
                <a:cubicBezTo>
                  <a:pt x="312697" y="208631"/>
                  <a:pt x="318712" y="210424"/>
                  <a:pt x="322357" y="208631"/>
                </a:cubicBezTo>
                <a:cubicBezTo>
                  <a:pt x="326001" y="206838"/>
                  <a:pt x="330860" y="199492"/>
                  <a:pt x="327794" y="197698"/>
                </a:cubicBezTo>
                <a:cubicBezTo>
                  <a:pt x="324729" y="195905"/>
                  <a:pt x="322357" y="191914"/>
                  <a:pt x="324786" y="184394"/>
                </a:cubicBezTo>
                <a:cubicBezTo>
                  <a:pt x="327216" y="176874"/>
                  <a:pt x="319927" y="176527"/>
                  <a:pt x="319927" y="171032"/>
                </a:cubicBezTo>
                <a:cubicBezTo>
                  <a:pt x="319927" y="165537"/>
                  <a:pt x="313275" y="163165"/>
                  <a:pt x="307838" y="169818"/>
                </a:cubicBezTo>
                <a:cubicBezTo>
                  <a:pt x="302400" y="176470"/>
                  <a:pt x="300549" y="171668"/>
                  <a:pt x="304194" y="160736"/>
                </a:cubicBezTo>
                <a:cubicBezTo>
                  <a:pt x="307838" y="149803"/>
                  <a:pt x="320506" y="145002"/>
                  <a:pt x="321547" y="138929"/>
                </a:cubicBezTo>
                <a:cubicBezTo>
                  <a:pt x="323438" y="132589"/>
                  <a:pt x="328968" y="128019"/>
                  <a:pt x="335545" y="127360"/>
                </a:cubicBezTo>
                <a:cubicBezTo>
                  <a:pt x="340983" y="127360"/>
                  <a:pt x="339710" y="114634"/>
                  <a:pt x="341330" y="106767"/>
                </a:cubicBezTo>
                <a:cubicBezTo>
                  <a:pt x="342949" y="98900"/>
                  <a:pt x="344337" y="91033"/>
                  <a:pt x="352205" y="84381"/>
                </a:cubicBezTo>
                <a:cubicBezTo>
                  <a:pt x="360071" y="77729"/>
                  <a:pt x="350585" y="75184"/>
                  <a:pt x="346941" y="75821"/>
                </a:cubicBezTo>
                <a:close/>
                <a:moveTo>
                  <a:pt x="390150" y="281341"/>
                </a:moveTo>
                <a:cubicBezTo>
                  <a:pt x="385696" y="280936"/>
                  <a:pt x="384366" y="289035"/>
                  <a:pt x="373202" y="295918"/>
                </a:cubicBezTo>
                <a:cubicBezTo>
                  <a:pt x="362038" y="302802"/>
                  <a:pt x="373202" y="333806"/>
                  <a:pt x="384771" y="332244"/>
                </a:cubicBezTo>
                <a:cubicBezTo>
                  <a:pt x="396339" y="330683"/>
                  <a:pt x="394604" y="281746"/>
                  <a:pt x="390150" y="28134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7" name="Forma libre: forma 166">
            <a:extLst>
              <a:ext uri="{FF2B5EF4-FFF2-40B4-BE49-F238E27FC236}">
                <a16:creationId xmlns:a16="http://schemas.microsoft.com/office/drawing/2014/main" id="{B1F7DD8F-9568-D696-9275-A1FA5092162A}"/>
              </a:ext>
            </a:extLst>
          </p:cNvPr>
          <p:cNvSpPr/>
          <p:nvPr/>
        </p:nvSpPr>
        <p:spPr>
          <a:xfrm>
            <a:off x="3706436" y="4083017"/>
            <a:ext cx="63108" cy="34880"/>
          </a:xfrm>
          <a:custGeom>
            <a:avLst/>
            <a:gdLst>
              <a:gd name="connsiteX0" fmla="*/ 62015 w 63108"/>
              <a:gd name="connsiteY0" fmla="*/ 13291 h 34880"/>
              <a:gd name="connsiteX1" fmla="*/ 32168 w 63108"/>
              <a:gd name="connsiteY1" fmla="*/ 5655 h 34880"/>
              <a:gd name="connsiteX2" fmla="*/ 20309 w 63108"/>
              <a:gd name="connsiteY2" fmla="*/ -129 h 34880"/>
              <a:gd name="connsiteX3" fmla="*/ 19326 w 63108"/>
              <a:gd name="connsiteY3" fmla="*/ 450 h 34880"/>
              <a:gd name="connsiteX4" fmla="*/ -110 w 63108"/>
              <a:gd name="connsiteY4" fmla="*/ 16646 h 34880"/>
              <a:gd name="connsiteX5" fmla="*/ 52934 w 63108"/>
              <a:gd name="connsiteY5" fmla="*/ 34751 h 34880"/>
              <a:gd name="connsiteX6" fmla="*/ 61784 w 63108"/>
              <a:gd name="connsiteY6" fmla="*/ 31165 h 34880"/>
              <a:gd name="connsiteX7" fmla="*/ 62015 w 63108"/>
              <a:gd name="connsiteY7" fmla="*/ 13291 h 3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08" h="34880">
                <a:moveTo>
                  <a:pt x="62015" y="13291"/>
                </a:moveTo>
                <a:cubicBezTo>
                  <a:pt x="57330" y="6812"/>
                  <a:pt x="45067" y="14390"/>
                  <a:pt x="32168" y="5655"/>
                </a:cubicBezTo>
                <a:cubicBezTo>
                  <a:pt x="28460" y="3261"/>
                  <a:pt x="24480" y="1317"/>
                  <a:pt x="20309" y="-129"/>
                </a:cubicBezTo>
                <a:cubicBezTo>
                  <a:pt x="19997" y="91"/>
                  <a:pt x="19667" y="282"/>
                  <a:pt x="19326" y="450"/>
                </a:cubicBezTo>
                <a:cubicBezTo>
                  <a:pt x="12234" y="5071"/>
                  <a:pt x="5715" y="10503"/>
                  <a:pt x="-110" y="16646"/>
                </a:cubicBezTo>
                <a:cubicBezTo>
                  <a:pt x="9145" y="23934"/>
                  <a:pt x="43563" y="34751"/>
                  <a:pt x="52934" y="34751"/>
                </a:cubicBezTo>
                <a:cubicBezTo>
                  <a:pt x="56237" y="34740"/>
                  <a:pt x="59406" y="33456"/>
                  <a:pt x="61784" y="31165"/>
                </a:cubicBezTo>
                <a:cubicBezTo>
                  <a:pt x="63114" y="22546"/>
                  <a:pt x="63577" y="15431"/>
                  <a:pt x="62015" y="1329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8" name="Forma libre: forma 167">
            <a:extLst>
              <a:ext uri="{FF2B5EF4-FFF2-40B4-BE49-F238E27FC236}">
                <a16:creationId xmlns:a16="http://schemas.microsoft.com/office/drawing/2014/main" id="{081B3084-A94A-611F-0DCE-357ECDA80F39}"/>
              </a:ext>
            </a:extLst>
          </p:cNvPr>
          <p:cNvSpPr/>
          <p:nvPr/>
        </p:nvSpPr>
        <p:spPr>
          <a:xfrm>
            <a:off x="3726855" y="4036979"/>
            <a:ext cx="167169" cy="87280"/>
          </a:xfrm>
          <a:custGeom>
            <a:avLst/>
            <a:gdLst>
              <a:gd name="connsiteX0" fmla="*/ 70229 w 167169"/>
              <a:gd name="connsiteY0" fmla="*/ 77376 h 87280"/>
              <a:gd name="connsiteX1" fmla="*/ 79021 w 167169"/>
              <a:gd name="connsiteY1" fmla="*/ 60428 h 87280"/>
              <a:gd name="connsiteX2" fmla="*/ 108811 w 167169"/>
              <a:gd name="connsiteY2" fmla="*/ 47586 h 87280"/>
              <a:gd name="connsiteX3" fmla="*/ 135130 w 167169"/>
              <a:gd name="connsiteY3" fmla="*/ 41802 h 87280"/>
              <a:gd name="connsiteX4" fmla="*/ 167060 w 167169"/>
              <a:gd name="connsiteY4" fmla="*/ 28960 h 87280"/>
              <a:gd name="connsiteX5" fmla="*/ 136692 w 167169"/>
              <a:gd name="connsiteY5" fmla="*/ 7500 h 87280"/>
              <a:gd name="connsiteX6" fmla="*/ 78559 w 167169"/>
              <a:gd name="connsiteY6" fmla="*/ 6286 h 87280"/>
              <a:gd name="connsiteX7" fmla="*/ 27656 w 167169"/>
              <a:gd name="connsiteY7" fmla="*/ 9351 h 87280"/>
              <a:gd name="connsiteX8" fmla="*/ 27135 w 167169"/>
              <a:gd name="connsiteY8" fmla="*/ 9351 h 87280"/>
              <a:gd name="connsiteX9" fmla="*/ 12385 w 167169"/>
              <a:gd name="connsiteY9" fmla="*/ 24622 h 87280"/>
              <a:gd name="connsiteX10" fmla="*/ -110 w 167169"/>
              <a:gd name="connsiteY10" fmla="*/ 45677 h 87280"/>
              <a:gd name="connsiteX11" fmla="*/ 11748 w 167169"/>
              <a:gd name="connsiteY11" fmla="*/ 51462 h 87280"/>
              <a:gd name="connsiteX12" fmla="*/ 41596 w 167169"/>
              <a:gd name="connsiteY12" fmla="*/ 59097 h 87280"/>
              <a:gd name="connsiteX13" fmla="*/ 41596 w 167169"/>
              <a:gd name="connsiteY13" fmla="*/ 76913 h 87280"/>
              <a:gd name="connsiteX14" fmla="*/ 49694 w 167169"/>
              <a:gd name="connsiteY14" fmla="*/ 76913 h 87280"/>
              <a:gd name="connsiteX15" fmla="*/ 52182 w 167169"/>
              <a:gd name="connsiteY15" fmla="*/ 87152 h 87280"/>
              <a:gd name="connsiteX16" fmla="*/ 62304 w 167169"/>
              <a:gd name="connsiteY16" fmla="*/ 84780 h 87280"/>
              <a:gd name="connsiteX17" fmla="*/ 70229 w 167169"/>
              <a:gd name="connsiteY17" fmla="*/ 77376 h 8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169" h="87280">
                <a:moveTo>
                  <a:pt x="70229" y="77376"/>
                </a:moveTo>
                <a:cubicBezTo>
                  <a:pt x="71444" y="75062"/>
                  <a:pt x="63230" y="61643"/>
                  <a:pt x="79021" y="60428"/>
                </a:cubicBezTo>
                <a:cubicBezTo>
                  <a:pt x="94813" y="59213"/>
                  <a:pt x="106497" y="57535"/>
                  <a:pt x="108811" y="47586"/>
                </a:cubicBezTo>
                <a:cubicBezTo>
                  <a:pt x="111125" y="37637"/>
                  <a:pt x="129867" y="42322"/>
                  <a:pt x="135130" y="41802"/>
                </a:cubicBezTo>
                <a:cubicBezTo>
                  <a:pt x="139526" y="41339"/>
                  <a:pt x="153409" y="28498"/>
                  <a:pt x="167060" y="28960"/>
                </a:cubicBezTo>
                <a:cubicBezTo>
                  <a:pt x="167060" y="15714"/>
                  <a:pt x="149187" y="19995"/>
                  <a:pt x="136692" y="7500"/>
                </a:cubicBezTo>
                <a:cubicBezTo>
                  <a:pt x="124198" y="-4994"/>
                  <a:pt x="94350" y="270"/>
                  <a:pt x="78559" y="6286"/>
                </a:cubicBezTo>
                <a:cubicBezTo>
                  <a:pt x="62767" y="12301"/>
                  <a:pt x="44662" y="-367"/>
                  <a:pt x="27656" y="9351"/>
                </a:cubicBezTo>
                <a:lnTo>
                  <a:pt x="27135" y="9351"/>
                </a:lnTo>
                <a:cubicBezTo>
                  <a:pt x="22756" y="14933"/>
                  <a:pt x="17816" y="20053"/>
                  <a:pt x="12385" y="24622"/>
                </a:cubicBezTo>
                <a:cubicBezTo>
                  <a:pt x="816" y="33877"/>
                  <a:pt x="4055" y="43017"/>
                  <a:pt x="-110" y="45677"/>
                </a:cubicBezTo>
                <a:cubicBezTo>
                  <a:pt x="4061" y="47124"/>
                  <a:pt x="8041" y="49067"/>
                  <a:pt x="11748" y="51462"/>
                </a:cubicBezTo>
                <a:cubicBezTo>
                  <a:pt x="24648" y="60196"/>
                  <a:pt x="36911" y="52619"/>
                  <a:pt x="41596" y="59097"/>
                </a:cubicBezTo>
                <a:cubicBezTo>
                  <a:pt x="43158" y="61238"/>
                  <a:pt x="42695" y="68352"/>
                  <a:pt x="41596" y="76913"/>
                </a:cubicBezTo>
                <a:cubicBezTo>
                  <a:pt x="43968" y="74947"/>
                  <a:pt x="45761" y="73616"/>
                  <a:pt x="49694" y="76913"/>
                </a:cubicBezTo>
                <a:cubicBezTo>
                  <a:pt x="53628" y="80210"/>
                  <a:pt x="52644" y="83565"/>
                  <a:pt x="52182" y="87152"/>
                </a:cubicBezTo>
                <a:lnTo>
                  <a:pt x="62304" y="84780"/>
                </a:lnTo>
                <a:cubicBezTo>
                  <a:pt x="65249" y="82657"/>
                  <a:pt x="67909" y="80170"/>
                  <a:pt x="70229" y="7737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69" name="Forma libre: forma 168">
            <a:extLst>
              <a:ext uri="{FF2B5EF4-FFF2-40B4-BE49-F238E27FC236}">
                <a16:creationId xmlns:a16="http://schemas.microsoft.com/office/drawing/2014/main" id="{F0B35CF1-C8B6-B62C-0BE5-2DFA43D72FE8}"/>
              </a:ext>
            </a:extLst>
          </p:cNvPr>
          <p:cNvSpPr/>
          <p:nvPr/>
        </p:nvSpPr>
        <p:spPr>
          <a:xfrm>
            <a:off x="2967244" y="3549403"/>
            <a:ext cx="829959" cy="517648"/>
          </a:xfrm>
          <a:custGeom>
            <a:avLst/>
            <a:gdLst>
              <a:gd name="connsiteX0" fmla="*/ 692460 w 829959"/>
              <a:gd name="connsiteY0" fmla="*/ 487788 h 517648"/>
              <a:gd name="connsiteX1" fmla="*/ 728671 w 829959"/>
              <a:gd name="connsiteY1" fmla="*/ 483739 h 517648"/>
              <a:gd name="connsiteX2" fmla="*/ 708830 w 829959"/>
              <a:gd name="connsiteY2" fmla="*/ 457362 h 517648"/>
              <a:gd name="connsiteX3" fmla="*/ 717565 w 829959"/>
              <a:gd name="connsiteY3" fmla="*/ 436942 h 517648"/>
              <a:gd name="connsiteX4" fmla="*/ 767311 w 829959"/>
              <a:gd name="connsiteY4" fmla="*/ 436942 h 517648"/>
              <a:gd name="connsiteX5" fmla="*/ 784664 w 829959"/>
              <a:gd name="connsiteY5" fmla="*/ 419936 h 517648"/>
              <a:gd name="connsiteX6" fmla="*/ 797390 w 829959"/>
              <a:gd name="connsiteY6" fmla="*/ 427919 h 517648"/>
              <a:gd name="connsiteX7" fmla="*/ 809537 w 829959"/>
              <a:gd name="connsiteY7" fmla="*/ 390841 h 517648"/>
              <a:gd name="connsiteX8" fmla="*/ 814396 w 829959"/>
              <a:gd name="connsiteY8" fmla="*/ 359952 h 517648"/>
              <a:gd name="connsiteX9" fmla="*/ 829493 w 829959"/>
              <a:gd name="connsiteY9" fmla="*/ 337508 h 517648"/>
              <a:gd name="connsiteX10" fmla="*/ 805893 w 829959"/>
              <a:gd name="connsiteY10" fmla="*/ 331724 h 517648"/>
              <a:gd name="connsiteX11" fmla="*/ 762857 w 829959"/>
              <a:gd name="connsiteY11" fmla="*/ 333517 h 517648"/>
              <a:gd name="connsiteX12" fmla="*/ 727745 w 829959"/>
              <a:gd name="connsiteY12" fmla="*/ 364984 h 517648"/>
              <a:gd name="connsiteX13" fmla="*/ 719878 w 829959"/>
              <a:gd name="connsiteY13" fmla="*/ 389800 h 517648"/>
              <a:gd name="connsiteX14" fmla="*/ 701715 w 829959"/>
              <a:gd name="connsiteY14" fmla="*/ 414730 h 517648"/>
              <a:gd name="connsiteX15" fmla="*/ 681123 w 829959"/>
              <a:gd name="connsiteY15" fmla="*/ 411665 h 517648"/>
              <a:gd name="connsiteX16" fmla="*/ 616915 w 829959"/>
              <a:gd name="connsiteY16" fmla="*/ 425605 h 517648"/>
              <a:gd name="connsiteX17" fmla="*/ 585969 w 829959"/>
              <a:gd name="connsiteY17" fmla="*/ 411086 h 517648"/>
              <a:gd name="connsiteX18" fmla="*/ 570235 w 829959"/>
              <a:gd name="connsiteY18" fmla="*/ 383205 h 517648"/>
              <a:gd name="connsiteX19" fmla="*/ 541313 w 829959"/>
              <a:gd name="connsiteY19" fmla="*/ 347458 h 517648"/>
              <a:gd name="connsiteX20" fmla="*/ 531017 w 829959"/>
              <a:gd name="connsiteY20" fmla="*/ 294125 h 517648"/>
              <a:gd name="connsiteX21" fmla="*/ 540156 w 829959"/>
              <a:gd name="connsiteY21" fmla="*/ 217597 h 517648"/>
              <a:gd name="connsiteX22" fmla="*/ 542586 w 829959"/>
              <a:gd name="connsiteY22" fmla="*/ 206028 h 517648"/>
              <a:gd name="connsiteX23" fmla="*/ 531017 w 829959"/>
              <a:gd name="connsiteY23" fmla="*/ 201806 h 517648"/>
              <a:gd name="connsiteX24" fmla="*/ 492782 w 829959"/>
              <a:gd name="connsiteY24" fmla="*/ 188212 h 517648"/>
              <a:gd name="connsiteX25" fmla="*/ 485030 w 829959"/>
              <a:gd name="connsiteY25" fmla="*/ 171379 h 517648"/>
              <a:gd name="connsiteX26" fmla="*/ 478552 w 829959"/>
              <a:gd name="connsiteY26" fmla="*/ 150671 h 517648"/>
              <a:gd name="connsiteX27" fmla="*/ 452696 w 829959"/>
              <a:gd name="connsiteY27" fmla="*/ 113766 h 517648"/>
              <a:gd name="connsiteX28" fmla="*/ 404164 w 829959"/>
              <a:gd name="connsiteY28" fmla="*/ 86001 h 517648"/>
              <a:gd name="connsiteX29" fmla="*/ 382820 w 829959"/>
              <a:gd name="connsiteY29" fmla="*/ 111221 h 517648"/>
              <a:gd name="connsiteX30" fmla="*/ 351063 w 829959"/>
              <a:gd name="connsiteY30" fmla="*/ 95025 h 517648"/>
              <a:gd name="connsiteX31" fmla="*/ 341345 w 829959"/>
              <a:gd name="connsiteY31" fmla="*/ 77672 h 517648"/>
              <a:gd name="connsiteX32" fmla="*/ 323992 w 829959"/>
              <a:gd name="connsiteY32" fmla="*/ 56327 h 517648"/>
              <a:gd name="connsiteX33" fmla="*/ 292930 w 829959"/>
              <a:gd name="connsiteY33" fmla="*/ 28446 h 517648"/>
              <a:gd name="connsiteX34" fmla="*/ 250356 w 829959"/>
              <a:gd name="connsiteY34" fmla="*/ 28446 h 517648"/>
              <a:gd name="connsiteX35" fmla="*/ 241332 w 829959"/>
              <a:gd name="connsiteY35" fmla="*/ 40015 h 517648"/>
              <a:gd name="connsiteX36" fmla="*/ 163648 w 829959"/>
              <a:gd name="connsiteY36" fmla="*/ 40651 h 517648"/>
              <a:gd name="connsiteX37" fmla="*/ 93078 w 829959"/>
              <a:gd name="connsiteY37" fmla="*/ 16067 h 517648"/>
              <a:gd name="connsiteX38" fmla="*/ 62709 w 829959"/>
              <a:gd name="connsiteY38" fmla="*/ -129 h 517648"/>
              <a:gd name="connsiteX39" fmla="*/ -110 w 829959"/>
              <a:gd name="connsiteY39" fmla="*/ 8143 h 517648"/>
              <a:gd name="connsiteX40" fmla="*/ 14352 w 829959"/>
              <a:gd name="connsiteY40" fmla="*/ 30875 h 517648"/>
              <a:gd name="connsiteX41" fmla="*/ 37489 w 829959"/>
              <a:gd name="connsiteY41" fmla="*/ 84208 h 517648"/>
              <a:gd name="connsiteX42" fmla="*/ 71386 w 829959"/>
              <a:gd name="connsiteY42" fmla="*/ 111453 h 517648"/>
              <a:gd name="connsiteX43" fmla="*/ 84748 w 829959"/>
              <a:gd name="connsiteY43" fmla="*/ 147779 h 517648"/>
              <a:gd name="connsiteX44" fmla="*/ 62941 w 829959"/>
              <a:gd name="connsiteY44" fmla="*/ 149630 h 517648"/>
              <a:gd name="connsiteX45" fmla="*/ 96837 w 829959"/>
              <a:gd name="connsiteY45" fmla="*/ 175024 h 517648"/>
              <a:gd name="connsiteX46" fmla="*/ 126512 w 829959"/>
              <a:gd name="connsiteY46" fmla="*/ 193244 h 517648"/>
              <a:gd name="connsiteX47" fmla="*/ 134378 w 829959"/>
              <a:gd name="connsiteY47" fmla="*/ 227141 h 517648"/>
              <a:gd name="connsiteX48" fmla="*/ 165903 w 829959"/>
              <a:gd name="connsiteY48" fmla="*/ 255022 h 517648"/>
              <a:gd name="connsiteX49" fmla="*/ 194826 w 829959"/>
              <a:gd name="connsiteY49" fmla="*/ 290134 h 517648"/>
              <a:gd name="connsiteX50" fmla="*/ 208188 w 829959"/>
              <a:gd name="connsiteY50" fmla="*/ 281631 h 517648"/>
              <a:gd name="connsiteX51" fmla="*/ 202114 w 829959"/>
              <a:gd name="connsiteY51" fmla="*/ 259881 h 517648"/>
              <a:gd name="connsiteX52" fmla="*/ 178976 w 829959"/>
              <a:gd name="connsiteY52" fmla="*/ 250163 h 517648"/>
              <a:gd name="connsiteX53" fmla="*/ 172324 w 829959"/>
              <a:gd name="connsiteY53" fmla="*/ 225927 h 517648"/>
              <a:gd name="connsiteX54" fmla="*/ 154971 w 829959"/>
              <a:gd name="connsiteY54" fmla="*/ 187171 h 517648"/>
              <a:gd name="connsiteX55" fmla="*/ 124718 w 829959"/>
              <a:gd name="connsiteY55" fmla="*/ 145986 h 517648"/>
              <a:gd name="connsiteX56" fmla="*/ 102911 w 829959"/>
              <a:gd name="connsiteY56" fmla="*/ 116254 h 517648"/>
              <a:gd name="connsiteX57" fmla="*/ 105919 w 829959"/>
              <a:gd name="connsiteY57" fmla="*/ 101735 h 517648"/>
              <a:gd name="connsiteX58" fmla="*/ 84748 w 829959"/>
              <a:gd name="connsiteY58" fmla="*/ 92653 h 517648"/>
              <a:gd name="connsiteX59" fmla="*/ 69593 w 829959"/>
              <a:gd name="connsiteY59" fmla="*/ 71482 h 517648"/>
              <a:gd name="connsiteX60" fmla="*/ 60511 w 829959"/>
              <a:gd name="connsiteY60" fmla="*/ 30991 h 517648"/>
              <a:gd name="connsiteX61" fmla="*/ 70171 w 829959"/>
              <a:gd name="connsiteY61" fmla="*/ 27983 h 517648"/>
              <a:gd name="connsiteX62" fmla="*/ 79889 w 829959"/>
              <a:gd name="connsiteY62" fmla="*/ 32842 h 517648"/>
              <a:gd name="connsiteX63" fmla="*/ 94223 w 829959"/>
              <a:gd name="connsiteY63" fmla="*/ 38193 h 517648"/>
              <a:gd name="connsiteX64" fmla="*/ 94408 w 829959"/>
              <a:gd name="connsiteY64" fmla="*/ 38627 h 517648"/>
              <a:gd name="connsiteX65" fmla="*/ 112571 w 829959"/>
              <a:gd name="connsiteY65" fmla="*/ 42271 h 517648"/>
              <a:gd name="connsiteX66" fmla="*/ 117430 w 829959"/>
              <a:gd name="connsiteY66" fmla="*/ 76978 h 517648"/>
              <a:gd name="connsiteX67" fmla="*/ 122289 w 829959"/>
              <a:gd name="connsiteY67" fmla="*/ 107866 h 517648"/>
              <a:gd name="connsiteX68" fmla="*/ 135015 w 829959"/>
              <a:gd name="connsiteY68" fmla="*/ 115155 h 517648"/>
              <a:gd name="connsiteX69" fmla="*/ 154393 w 829959"/>
              <a:gd name="connsiteY69" fmla="*/ 130888 h 517648"/>
              <a:gd name="connsiteX70" fmla="*/ 177530 w 829959"/>
              <a:gd name="connsiteY70" fmla="*/ 146622 h 517648"/>
              <a:gd name="connsiteX71" fmla="*/ 190834 w 829959"/>
              <a:gd name="connsiteY71" fmla="*/ 164843 h 517648"/>
              <a:gd name="connsiteX72" fmla="*/ 209634 w 829959"/>
              <a:gd name="connsiteY72" fmla="*/ 179362 h 517648"/>
              <a:gd name="connsiteX73" fmla="*/ 213856 w 829959"/>
              <a:gd name="connsiteY73" fmla="*/ 195674 h 517648"/>
              <a:gd name="connsiteX74" fmla="*/ 230805 w 829959"/>
              <a:gd name="connsiteY74" fmla="*/ 216903 h 517648"/>
              <a:gd name="connsiteX75" fmla="*/ 253248 w 829959"/>
              <a:gd name="connsiteY75" fmla="*/ 237495 h 517648"/>
              <a:gd name="connsiteX76" fmla="*/ 312018 w 829959"/>
              <a:gd name="connsiteY76" fmla="*/ 302917 h 517648"/>
              <a:gd name="connsiteX77" fmla="*/ 325322 w 829959"/>
              <a:gd name="connsiteY77" fmla="*/ 332591 h 517648"/>
              <a:gd name="connsiteX78" fmla="*/ 324108 w 829959"/>
              <a:gd name="connsiteY78" fmla="*/ 352605 h 517648"/>
              <a:gd name="connsiteX79" fmla="*/ 315605 w 829959"/>
              <a:gd name="connsiteY79" fmla="*/ 362266 h 517648"/>
              <a:gd name="connsiteX80" fmla="*/ 337470 w 829959"/>
              <a:gd name="connsiteY80" fmla="*/ 396220 h 517648"/>
              <a:gd name="connsiteX81" fmla="*/ 376804 w 829959"/>
              <a:gd name="connsiteY81" fmla="*/ 422886 h 517648"/>
              <a:gd name="connsiteX82" fmla="*/ 420418 w 829959"/>
              <a:gd name="connsiteY82" fmla="*/ 436190 h 517648"/>
              <a:gd name="connsiteX83" fmla="*/ 474329 w 829959"/>
              <a:gd name="connsiteY83" fmla="*/ 463493 h 517648"/>
              <a:gd name="connsiteX84" fmla="*/ 536107 w 829959"/>
              <a:gd name="connsiteY84" fmla="*/ 490101 h 517648"/>
              <a:gd name="connsiteX85" fmla="*/ 591290 w 829959"/>
              <a:gd name="connsiteY85" fmla="*/ 487093 h 517648"/>
              <a:gd name="connsiteX86" fmla="*/ 640921 w 829959"/>
              <a:gd name="connsiteY86" fmla="*/ 494382 h 517648"/>
              <a:gd name="connsiteX87" fmla="*/ 670364 w 829959"/>
              <a:gd name="connsiteY87" fmla="*/ 517520 h 517648"/>
              <a:gd name="connsiteX88" fmla="*/ 692460 w 829959"/>
              <a:gd name="connsiteY88" fmla="*/ 487788 h 517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29959" h="517648">
                <a:moveTo>
                  <a:pt x="692460" y="487788"/>
                </a:moveTo>
                <a:cubicBezTo>
                  <a:pt x="695352" y="487209"/>
                  <a:pt x="725778" y="491316"/>
                  <a:pt x="728671" y="483739"/>
                </a:cubicBezTo>
                <a:cubicBezTo>
                  <a:pt x="731563" y="476161"/>
                  <a:pt x="705880" y="459155"/>
                  <a:pt x="708830" y="457362"/>
                </a:cubicBezTo>
                <a:cubicBezTo>
                  <a:pt x="711780" y="455569"/>
                  <a:pt x="712879" y="436942"/>
                  <a:pt x="717565" y="436942"/>
                </a:cubicBezTo>
                <a:cubicBezTo>
                  <a:pt x="722250" y="436942"/>
                  <a:pt x="764939" y="438099"/>
                  <a:pt x="767311" y="436942"/>
                </a:cubicBezTo>
                <a:cubicBezTo>
                  <a:pt x="769682" y="435786"/>
                  <a:pt x="777838" y="420572"/>
                  <a:pt x="784664" y="419936"/>
                </a:cubicBezTo>
                <a:cubicBezTo>
                  <a:pt x="787845" y="419936"/>
                  <a:pt x="792878" y="423638"/>
                  <a:pt x="797390" y="427919"/>
                </a:cubicBezTo>
                <a:cubicBezTo>
                  <a:pt x="805256" y="420630"/>
                  <a:pt x="808033" y="404203"/>
                  <a:pt x="809537" y="390841"/>
                </a:cubicBezTo>
                <a:cubicBezTo>
                  <a:pt x="811330" y="374471"/>
                  <a:pt x="805893" y="369033"/>
                  <a:pt x="814396" y="359952"/>
                </a:cubicBezTo>
                <a:cubicBezTo>
                  <a:pt x="822899" y="350870"/>
                  <a:pt x="831749" y="350234"/>
                  <a:pt x="829493" y="337508"/>
                </a:cubicBezTo>
                <a:cubicBezTo>
                  <a:pt x="827237" y="324782"/>
                  <a:pt x="815611" y="337508"/>
                  <a:pt x="805893" y="331724"/>
                </a:cubicBezTo>
                <a:cubicBezTo>
                  <a:pt x="796175" y="325939"/>
                  <a:pt x="787730" y="329873"/>
                  <a:pt x="762857" y="333517"/>
                </a:cubicBezTo>
                <a:cubicBezTo>
                  <a:pt x="737984" y="337161"/>
                  <a:pt x="726530" y="347458"/>
                  <a:pt x="727745" y="364984"/>
                </a:cubicBezTo>
                <a:cubicBezTo>
                  <a:pt x="728960" y="382511"/>
                  <a:pt x="719300" y="374702"/>
                  <a:pt x="719878" y="389800"/>
                </a:cubicBezTo>
                <a:cubicBezTo>
                  <a:pt x="720457" y="404897"/>
                  <a:pt x="700500" y="405591"/>
                  <a:pt x="701715" y="414730"/>
                </a:cubicBezTo>
                <a:cubicBezTo>
                  <a:pt x="702930" y="423870"/>
                  <a:pt x="685981" y="414730"/>
                  <a:pt x="681123" y="411665"/>
                </a:cubicBezTo>
                <a:cubicBezTo>
                  <a:pt x="676264" y="408599"/>
                  <a:pt x="624146" y="424390"/>
                  <a:pt x="616915" y="425605"/>
                </a:cubicBezTo>
                <a:cubicBezTo>
                  <a:pt x="609685" y="426820"/>
                  <a:pt x="596323" y="410450"/>
                  <a:pt x="585969" y="411086"/>
                </a:cubicBezTo>
                <a:cubicBezTo>
                  <a:pt x="575615" y="411722"/>
                  <a:pt x="571450" y="395931"/>
                  <a:pt x="570235" y="383205"/>
                </a:cubicBezTo>
                <a:cubicBezTo>
                  <a:pt x="569020" y="370479"/>
                  <a:pt x="549643" y="358911"/>
                  <a:pt x="541313" y="347458"/>
                </a:cubicBezTo>
                <a:cubicBezTo>
                  <a:pt x="532983" y="336004"/>
                  <a:pt x="531595" y="310495"/>
                  <a:pt x="531017" y="294125"/>
                </a:cubicBezTo>
                <a:cubicBezTo>
                  <a:pt x="528790" y="268257"/>
                  <a:pt x="531896" y="242210"/>
                  <a:pt x="540156" y="217597"/>
                </a:cubicBezTo>
                <a:cubicBezTo>
                  <a:pt x="541539" y="213883"/>
                  <a:pt x="542360" y="209985"/>
                  <a:pt x="542586" y="206028"/>
                </a:cubicBezTo>
                <a:cubicBezTo>
                  <a:pt x="539207" y="203553"/>
                  <a:pt x="535193" y="202089"/>
                  <a:pt x="531017" y="201806"/>
                </a:cubicBezTo>
                <a:cubicBezTo>
                  <a:pt x="520663" y="202442"/>
                  <a:pt x="497351" y="188212"/>
                  <a:pt x="492782" y="188212"/>
                </a:cubicBezTo>
                <a:cubicBezTo>
                  <a:pt x="488212" y="188212"/>
                  <a:pt x="488906" y="177222"/>
                  <a:pt x="485030" y="171379"/>
                </a:cubicBezTo>
                <a:cubicBezTo>
                  <a:pt x="481155" y="165537"/>
                  <a:pt x="483758" y="154547"/>
                  <a:pt x="478552" y="150671"/>
                </a:cubicBezTo>
                <a:cubicBezTo>
                  <a:pt x="466636" y="141046"/>
                  <a:pt x="457670" y="128256"/>
                  <a:pt x="452696" y="113766"/>
                </a:cubicBezTo>
                <a:cubicBezTo>
                  <a:pt x="447490" y="95661"/>
                  <a:pt x="415791" y="86637"/>
                  <a:pt x="404164" y="86001"/>
                </a:cubicBezTo>
                <a:cubicBezTo>
                  <a:pt x="392538" y="85365"/>
                  <a:pt x="386059" y="109891"/>
                  <a:pt x="382820" y="111221"/>
                </a:cubicBezTo>
                <a:cubicBezTo>
                  <a:pt x="379580" y="112552"/>
                  <a:pt x="357542" y="98264"/>
                  <a:pt x="351063" y="95025"/>
                </a:cubicBezTo>
                <a:cubicBezTo>
                  <a:pt x="344729" y="91618"/>
                  <a:pt x="340940" y="84850"/>
                  <a:pt x="341345" y="77672"/>
                </a:cubicBezTo>
                <a:cubicBezTo>
                  <a:pt x="341345" y="69920"/>
                  <a:pt x="327810" y="57599"/>
                  <a:pt x="323992" y="56327"/>
                </a:cubicBezTo>
                <a:cubicBezTo>
                  <a:pt x="320174" y="55055"/>
                  <a:pt x="292930" y="28446"/>
                  <a:pt x="292930" y="28446"/>
                </a:cubicBezTo>
                <a:lnTo>
                  <a:pt x="250356" y="28446"/>
                </a:lnTo>
                <a:lnTo>
                  <a:pt x="241332" y="40015"/>
                </a:lnTo>
                <a:lnTo>
                  <a:pt x="163648" y="40651"/>
                </a:lnTo>
                <a:cubicBezTo>
                  <a:pt x="163648" y="40651"/>
                  <a:pt x="104126" y="18670"/>
                  <a:pt x="93078" y="16067"/>
                </a:cubicBezTo>
                <a:cubicBezTo>
                  <a:pt x="82029" y="13465"/>
                  <a:pt x="62709" y="-129"/>
                  <a:pt x="62709" y="-129"/>
                </a:cubicBezTo>
                <a:lnTo>
                  <a:pt x="-110" y="8143"/>
                </a:lnTo>
                <a:cubicBezTo>
                  <a:pt x="3749" y="16293"/>
                  <a:pt x="8608" y="23928"/>
                  <a:pt x="14352" y="30875"/>
                </a:cubicBezTo>
                <a:cubicBezTo>
                  <a:pt x="25799" y="46789"/>
                  <a:pt x="33689" y="64975"/>
                  <a:pt x="37489" y="84208"/>
                </a:cubicBezTo>
                <a:cubicBezTo>
                  <a:pt x="38704" y="93868"/>
                  <a:pt x="56231" y="101561"/>
                  <a:pt x="71386" y="111453"/>
                </a:cubicBezTo>
                <a:cubicBezTo>
                  <a:pt x="86541" y="121344"/>
                  <a:pt x="86541" y="142342"/>
                  <a:pt x="84748" y="147779"/>
                </a:cubicBezTo>
                <a:cubicBezTo>
                  <a:pt x="82955" y="153216"/>
                  <a:pt x="64098" y="144135"/>
                  <a:pt x="62941" y="149630"/>
                </a:cubicBezTo>
                <a:cubicBezTo>
                  <a:pt x="61784" y="155125"/>
                  <a:pt x="87120" y="176238"/>
                  <a:pt x="96837" y="175024"/>
                </a:cubicBezTo>
                <a:cubicBezTo>
                  <a:pt x="106555" y="173809"/>
                  <a:pt x="111356" y="179882"/>
                  <a:pt x="126512" y="193244"/>
                </a:cubicBezTo>
                <a:cubicBezTo>
                  <a:pt x="141667" y="206606"/>
                  <a:pt x="140452" y="222167"/>
                  <a:pt x="134378" y="227141"/>
                </a:cubicBezTo>
                <a:cubicBezTo>
                  <a:pt x="128305" y="232116"/>
                  <a:pt x="146526" y="242297"/>
                  <a:pt x="165903" y="255022"/>
                </a:cubicBezTo>
                <a:cubicBezTo>
                  <a:pt x="179254" y="263097"/>
                  <a:pt x="189452" y="275482"/>
                  <a:pt x="194826" y="290134"/>
                </a:cubicBezTo>
                <a:cubicBezTo>
                  <a:pt x="196677" y="296786"/>
                  <a:pt x="205122" y="290770"/>
                  <a:pt x="208188" y="281631"/>
                </a:cubicBezTo>
                <a:cubicBezTo>
                  <a:pt x="211254" y="272491"/>
                  <a:pt x="202114" y="270062"/>
                  <a:pt x="202114" y="259881"/>
                </a:cubicBezTo>
                <a:cubicBezTo>
                  <a:pt x="202114" y="249701"/>
                  <a:pt x="186380" y="251378"/>
                  <a:pt x="178976" y="250163"/>
                </a:cubicBezTo>
                <a:cubicBezTo>
                  <a:pt x="171572" y="248949"/>
                  <a:pt x="179613" y="233215"/>
                  <a:pt x="172324" y="225927"/>
                </a:cubicBezTo>
                <a:cubicBezTo>
                  <a:pt x="165036" y="218638"/>
                  <a:pt x="158384" y="200475"/>
                  <a:pt x="154971" y="187171"/>
                </a:cubicBezTo>
                <a:cubicBezTo>
                  <a:pt x="151558" y="173867"/>
                  <a:pt x="132585" y="160505"/>
                  <a:pt x="124718" y="145986"/>
                </a:cubicBezTo>
                <a:cubicBezTo>
                  <a:pt x="119397" y="134781"/>
                  <a:pt x="111998" y="124693"/>
                  <a:pt x="102911" y="116254"/>
                </a:cubicBezTo>
                <a:cubicBezTo>
                  <a:pt x="97416" y="112667"/>
                  <a:pt x="110778" y="107230"/>
                  <a:pt x="105919" y="101735"/>
                </a:cubicBezTo>
                <a:cubicBezTo>
                  <a:pt x="101060" y="96240"/>
                  <a:pt x="93772" y="96876"/>
                  <a:pt x="84748" y="92653"/>
                </a:cubicBezTo>
                <a:cubicBezTo>
                  <a:pt x="75828" y="89379"/>
                  <a:pt x="69818" y="80980"/>
                  <a:pt x="69593" y="71482"/>
                </a:cubicBezTo>
                <a:cubicBezTo>
                  <a:pt x="68199" y="57669"/>
                  <a:pt x="65145" y="44076"/>
                  <a:pt x="60511" y="30991"/>
                </a:cubicBezTo>
                <a:cubicBezTo>
                  <a:pt x="57445" y="23125"/>
                  <a:pt x="67163" y="24339"/>
                  <a:pt x="70171" y="27983"/>
                </a:cubicBezTo>
                <a:cubicBezTo>
                  <a:pt x="73179" y="31627"/>
                  <a:pt x="75609" y="35272"/>
                  <a:pt x="79889" y="32842"/>
                </a:cubicBezTo>
                <a:cubicBezTo>
                  <a:pt x="85326" y="30361"/>
                  <a:pt x="91741" y="32755"/>
                  <a:pt x="94223" y="38193"/>
                </a:cubicBezTo>
                <a:cubicBezTo>
                  <a:pt x="94287" y="38338"/>
                  <a:pt x="94350" y="38482"/>
                  <a:pt x="94408" y="38627"/>
                </a:cubicBezTo>
                <a:cubicBezTo>
                  <a:pt x="97416" y="45337"/>
                  <a:pt x="107712" y="39263"/>
                  <a:pt x="112571" y="42271"/>
                </a:cubicBezTo>
                <a:cubicBezTo>
                  <a:pt x="117430" y="45279"/>
                  <a:pt x="101696" y="48981"/>
                  <a:pt x="117430" y="76978"/>
                </a:cubicBezTo>
                <a:cubicBezTo>
                  <a:pt x="133164" y="104974"/>
                  <a:pt x="122289" y="89125"/>
                  <a:pt x="122289" y="107866"/>
                </a:cubicBezTo>
                <a:cubicBezTo>
                  <a:pt x="122289" y="126608"/>
                  <a:pt x="131949" y="118163"/>
                  <a:pt x="135015" y="115155"/>
                </a:cubicBezTo>
                <a:cubicBezTo>
                  <a:pt x="138080" y="112147"/>
                  <a:pt x="146583" y="120939"/>
                  <a:pt x="154393" y="130888"/>
                </a:cubicBezTo>
                <a:cubicBezTo>
                  <a:pt x="162202" y="140838"/>
                  <a:pt x="177530" y="141185"/>
                  <a:pt x="177530" y="146622"/>
                </a:cubicBezTo>
                <a:cubicBezTo>
                  <a:pt x="177530" y="152059"/>
                  <a:pt x="180538" y="162992"/>
                  <a:pt x="190834" y="164843"/>
                </a:cubicBezTo>
                <a:cubicBezTo>
                  <a:pt x="201131" y="166694"/>
                  <a:pt x="202982" y="178147"/>
                  <a:pt x="209634" y="179362"/>
                </a:cubicBezTo>
                <a:cubicBezTo>
                  <a:pt x="216286" y="180577"/>
                  <a:pt x="217501" y="187807"/>
                  <a:pt x="213856" y="195674"/>
                </a:cubicBezTo>
                <a:cubicBezTo>
                  <a:pt x="210212" y="203541"/>
                  <a:pt x="213856" y="210251"/>
                  <a:pt x="230805" y="216903"/>
                </a:cubicBezTo>
                <a:cubicBezTo>
                  <a:pt x="247753" y="223555"/>
                  <a:pt x="239944" y="224770"/>
                  <a:pt x="253248" y="237495"/>
                </a:cubicBezTo>
                <a:cubicBezTo>
                  <a:pt x="274026" y="258204"/>
                  <a:pt x="293647" y="280046"/>
                  <a:pt x="312018" y="302917"/>
                </a:cubicBezTo>
                <a:cubicBezTo>
                  <a:pt x="317901" y="312091"/>
                  <a:pt x="322384" y="322093"/>
                  <a:pt x="325322" y="332591"/>
                </a:cubicBezTo>
                <a:cubicBezTo>
                  <a:pt x="328330" y="341094"/>
                  <a:pt x="319249" y="345317"/>
                  <a:pt x="324108" y="352605"/>
                </a:cubicBezTo>
                <a:cubicBezTo>
                  <a:pt x="328967" y="359894"/>
                  <a:pt x="315026" y="356886"/>
                  <a:pt x="315605" y="362266"/>
                </a:cubicBezTo>
                <a:cubicBezTo>
                  <a:pt x="316183" y="367645"/>
                  <a:pt x="324108" y="395005"/>
                  <a:pt x="337470" y="396220"/>
                </a:cubicBezTo>
                <a:cubicBezTo>
                  <a:pt x="350832" y="397435"/>
                  <a:pt x="365929" y="413573"/>
                  <a:pt x="376804" y="422886"/>
                </a:cubicBezTo>
                <a:cubicBezTo>
                  <a:pt x="387679" y="432199"/>
                  <a:pt x="404048" y="430175"/>
                  <a:pt x="420418" y="436190"/>
                </a:cubicBezTo>
                <a:cubicBezTo>
                  <a:pt x="436788" y="442206"/>
                  <a:pt x="450729" y="456841"/>
                  <a:pt x="474329" y="463493"/>
                </a:cubicBezTo>
                <a:cubicBezTo>
                  <a:pt x="496044" y="469480"/>
                  <a:pt x="516833" y="478434"/>
                  <a:pt x="536107" y="490101"/>
                </a:cubicBezTo>
                <a:cubicBezTo>
                  <a:pt x="551262" y="499819"/>
                  <a:pt x="570062" y="495886"/>
                  <a:pt x="591290" y="487093"/>
                </a:cubicBezTo>
                <a:cubicBezTo>
                  <a:pt x="612519" y="478301"/>
                  <a:pt x="628831" y="489523"/>
                  <a:pt x="640921" y="494382"/>
                </a:cubicBezTo>
                <a:cubicBezTo>
                  <a:pt x="646705" y="496754"/>
                  <a:pt x="658621" y="506761"/>
                  <a:pt x="670364" y="517520"/>
                </a:cubicBezTo>
                <a:cubicBezTo>
                  <a:pt x="676935" y="507044"/>
                  <a:pt x="684327" y="497101"/>
                  <a:pt x="692460" y="487788"/>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0" name="Forma libre: forma 169">
            <a:extLst>
              <a:ext uri="{FF2B5EF4-FFF2-40B4-BE49-F238E27FC236}">
                <a16:creationId xmlns:a16="http://schemas.microsoft.com/office/drawing/2014/main" id="{E64EFC84-6816-E88A-8A29-C376B86A538F}"/>
              </a:ext>
            </a:extLst>
          </p:cNvPr>
          <p:cNvSpPr/>
          <p:nvPr/>
        </p:nvSpPr>
        <p:spPr>
          <a:xfrm>
            <a:off x="3637428" y="3986474"/>
            <a:ext cx="116671" cy="113259"/>
          </a:xfrm>
          <a:custGeom>
            <a:avLst/>
            <a:gdLst>
              <a:gd name="connsiteX0" fmla="*/ 101812 w 116671"/>
              <a:gd name="connsiteY0" fmla="*/ 75300 h 113259"/>
              <a:gd name="connsiteX1" fmla="*/ 116562 w 116671"/>
              <a:gd name="connsiteY1" fmla="*/ 60029 h 113259"/>
              <a:gd name="connsiteX2" fmla="*/ 105514 w 116671"/>
              <a:gd name="connsiteY2" fmla="*/ 53609 h 113259"/>
              <a:gd name="connsiteX3" fmla="*/ 91863 w 116671"/>
              <a:gd name="connsiteY3" fmla="*/ 55402 h 113259"/>
              <a:gd name="connsiteX4" fmla="*/ 93251 w 116671"/>
              <a:gd name="connsiteY4" fmla="*/ 218 h 113259"/>
              <a:gd name="connsiteX5" fmla="*/ 47381 w 116671"/>
              <a:gd name="connsiteY5" fmla="*/ -129 h 113259"/>
              <a:gd name="connsiteX6" fmla="*/ 38646 w 116671"/>
              <a:gd name="connsiteY6" fmla="*/ 20290 h 113259"/>
              <a:gd name="connsiteX7" fmla="*/ 58487 w 116671"/>
              <a:gd name="connsiteY7" fmla="*/ 46667 h 113259"/>
              <a:gd name="connsiteX8" fmla="*/ 22276 w 116671"/>
              <a:gd name="connsiteY8" fmla="*/ 50716 h 113259"/>
              <a:gd name="connsiteX9" fmla="*/ -110 w 116671"/>
              <a:gd name="connsiteY9" fmla="*/ 80217 h 113259"/>
              <a:gd name="connsiteX10" fmla="*/ 29854 w 116671"/>
              <a:gd name="connsiteY10" fmla="*/ 105784 h 113259"/>
              <a:gd name="connsiteX11" fmla="*/ 68031 w 116671"/>
              <a:gd name="connsiteY11" fmla="*/ 112494 h 113259"/>
              <a:gd name="connsiteX12" fmla="*/ 68899 w 116671"/>
              <a:gd name="connsiteY12" fmla="*/ 113130 h 113259"/>
              <a:gd name="connsiteX13" fmla="*/ 88334 w 116671"/>
              <a:gd name="connsiteY13" fmla="*/ 96934 h 113259"/>
              <a:gd name="connsiteX14" fmla="*/ 101812 w 116671"/>
              <a:gd name="connsiteY14" fmla="*/ 75300 h 11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671" h="113259">
                <a:moveTo>
                  <a:pt x="101812" y="75300"/>
                </a:moveTo>
                <a:cubicBezTo>
                  <a:pt x="107244" y="70730"/>
                  <a:pt x="112184" y="65617"/>
                  <a:pt x="116562" y="60029"/>
                </a:cubicBezTo>
                <a:cubicBezTo>
                  <a:pt x="107018" y="65235"/>
                  <a:pt x="104126" y="60029"/>
                  <a:pt x="105514" y="53609"/>
                </a:cubicBezTo>
                <a:lnTo>
                  <a:pt x="91863" y="55402"/>
                </a:lnTo>
                <a:lnTo>
                  <a:pt x="93251" y="218"/>
                </a:lnTo>
                <a:cubicBezTo>
                  <a:pt x="82203" y="681"/>
                  <a:pt x="51372" y="-129"/>
                  <a:pt x="47381" y="-129"/>
                </a:cubicBezTo>
                <a:cubicBezTo>
                  <a:pt x="43389" y="-129"/>
                  <a:pt x="41596" y="18555"/>
                  <a:pt x="38646" y="20290"/>
                </a:cubicBezTo>
                <a:cubicBezTo>
                  <a:pt x="35696" y="22025"/>
                  <a:pt x="61437" y="39032"/>
                  <a:pt x="58487" y="46667"/>
                </a:cubicBezTo>
                <a:cubicBezTo>
                  <a:pt x="55537" y="54303"/>
                  <a:pt x="25168" y="50138"/>
                  <a:pt x="22276" y="50716"/>
                </a:cubicBezTo>
                <a:cubicBezTo>
                  <a:pt x="14062" y="59954"/>
                  <a:pt x="6577" y="69817"/>
                  <a:pt x="-110" y="80217"/>
                </a:cubicBezTo>
                <a:cubicBezTo>
                  <a:pt x="9446" y="89235"/>
                  <a:pt x="19442" y="97767"/>
                  <a:pt x="29854" y="105784"/>
                </a:cubicBezTo>
                <a:cubicBezTo>
                  <a:pt x="41423" y="113072"/>
                  <a:pt x="60164" y="105206"/>
                  <a:pt x="68031" y="112494"/>
                </a:cubicBezTo>
                <a:lnTo>
                  <a:pt x="68899" y="113130"/>
                </a:lnTo>
                <a:cubicBezTo>
                  <a:pt x="74724" y="106987"/>
                  <a:pt x="81243" y="101556"/>
                  <a:pt x="88334" y="96934"/>
                </a:cubicBezTo>
                <a:cubicBezTo>
                  <a:pt x="94177" y="95199"/>
                  <a:pt x="89781" y="85249"/>
                  <a:pt x="101812" y="7530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1" name="Forma libre: forma 170">
            <a:extLst>
              <a:ext uri="{FF2B5EF4-FFF2-40B4-BE49-F238E27FC236}">
                <a16:creationId xmlns:a16="http://schemas.microsoft.com/office/drawing/2014/main" id="{E16F5835-27B8-8A8C-213E-4A73915B4B13}"/>
              </a:ext>
            </a:extLst>
          </p:cNvPr>
          <p:cNvSpPr/>
          <p:nvPr/>
        </p:nvSpPr>
        <p:spPr>
          <a:xfrm>
            <a:off x="3729400" y="3969458"/>
            <a:ext cx="35285" cy="72546"/>
          </a:xfrm>
          <a:custGeom>
            <a:avLst/>
            <a:gdLst>
              <a:gd name="connsiteX0" fmla="*/ 5154 w 35285"/>
              <a:gd name="connsiteY0" fmla="*/ 16887 h 72546"/>
              <a:gd name="connsiteX1" fmla="*/ 1279 w 35285"/>
              <a:gd name="connsiteY1" fmla="*/ 17234 h 72546"/>
              <a:gd name="connsiteX2" fmla="*/ -110 w 35285"/>
              <a:gd name="connsiteY2" fmla="*/ 72418 h 72546"/>
              <a:gd name="connsiteX3" fmla="*/ 13542 w 35285"/>
              <a:gd name="connsiteY3" fmla="*/ 70625 h 72546"/>
              <a:gd name="connsiteX4" fmla="*/ 22103 w 35285"/>
              <a:gd name="connsiteY4" fmla="*/ 56800 h 72546"/>
              <a:gd name="connsiteX5" fmla="*/ 29391 w 35285"/>
              <a:gd name="connsiteY5" fmla="*/ 11392 h 72546"/>
              <a:gd name="connsiteX6" fmla="*/ 35176 w 35285"/>
              <a:gd name="connsiteY6" fmla="*/ 7805 h 72546"/>
              <a:gd name="connsiteX7" fmla="*/ 22450 w 35285"/>
              <a:gd name="connsiteY7" fmla="*/ -119 h 72546"/>
              <a:gd name="connsiteX8" fmla="*/ 5154 w 35285"/>
              <a:gd name="connsiteY8" fmla="*/ 16887 h 7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85" h="72546">
                <a:moveTo>
                  <a:pt x="5154" y="16887"/>
                </a:moveTo>
                <a:cubicBezTo>
                  <a:pt x="3882" y="17147"/>
                  <a:pt x="2580" y="17263"/>
                  <a:pt x="1279" y="17234"/>
                </a:cubicBezTo>
                <a:lnTo>
                  <a:pt x="-110" y="72418"/>
                </a:lnTo>
                <a:lnTo>
                  <a:pt x="13542" y="70625"/>
                </a:lnTo>
                <a:cubicBezTo>
                  <a:pt x="14774" y="65193"/>
                  <a:pt x="17788" y="60323"/>
                  <a:pt x="22103" y="56800"/>
                </a:cubicBezTo>
                <a:cubicBezTo>
                  <a:pt x="33035" y="48354"/>
                  <a:pt x="16665" y="14400"/>
                  <a:pt x="29391" y="11392"/>
                </a:cubicBezTo>
                <a:cubicBezTo>
                  <a:pt x="31595" y="10715"/>
                  <a:pt x="33585" y="9477"/>
                  <a:pt x="35176" y="7805"/>
                </a:cubicBezTo>
                <a:cubicBezTo>
                  <a:pt x="30664" y="3525"/>
                  <a:pt x="25631" y="-350"/>
                  <a:pt x="22450" y="-119"/>
                </a:cubicBezTo>
                <a:cubicBezTo>
                  <a:pt x="15682" y="517"/>
                  <a:pt x="7468" y="15673"/>
                  <a:pt x="5154" y="1688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2" name="Forma libre: forma 171">
            <a:extLst>
              <a:ext uri="{FF2B5EF4-FFF2-40B4-BE49-F238E27FC236}">
                <a16:creationId xmlns:a16="http://schemas.microsoft.com/office/drawing/2014/main" id="{D20C9002-4A6A-535A-3FB1-51DCF96A84DB}"/>
              </a:ext>
            </a:extLst>
          </p:cNvPr>
          <p:cNvSpPr/>
          <p:nvPr/>
        </p:nvSpPr>
        <p:spPr>
          <a:xfrm>
            <a:off x="4133062" y="3921382"/>
            <a:ext cx="78586" cy="62720"/>
          </a:xfrm>
          <a:custGeom>
            <a:avLst/>
            <a:gdLst>
              <a:gd name="connsiteX0" fmla="*/ 35209 w 78586"/>
              <a:gd name="connsiteY0" fmla="*/ 1855 h 62720"/>
              <a:gd name="connsiteX1" fmla="*/ 53372 w 78586"/>
              <a:gd name="connsiteY1" fmla="*/ 39454 h 62720"/>
              <a:gd name="connsiteX2" fmla="*/ 98 w 78586"/>
              <a:gd name="connsiteY2" fmla="*/ 49172 h 62720"/>
              <a:gd name="connsiteX3" fmla="*/ 35209 w 78586"/>
              <a:gd name="connsiteY3" fmla="*/ 57617 h 62720"/>
              <a:gd name="connsiteX4" fmla="*/ 73097 w 78586"/>
              <a:gd name="connsiteY4" fmla="*/ 62592 h 62720"/>
              <a:gd name="connsiteX5" fmla="*/ 78477 w 78586"/>
              <a:gd name="connsiteY5" fmla="*/ 9491 h 62720"/>
              <a:gd name="connsiteX6" fmla="*/ 35209 w 78586"/>
              <a:gd name="connsiteY6" fmla="*/ 1855 h 62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86" h="62720">
                <a:moveTo>
                  <a:pt x="35209" y="1855"/>
                </a:moveTo>
                <a:cubicBezTo>
                  <a:pt x="23120" y="10416"/>
                  <a:pt x="53372" y="28579"/>
                  <a:pt x="53372" y="39454"/>
                </a:cubicBezTo>
                <a:cubicBezTo>
                  <a:pt x="53372" y="50329"/>
                  <a:pt x="4783" y="37429"/>
                  <a:pt x="98" y="49172"/>
                </a:cubicBezTo>
                <a:cubicBezTo>
                  <a:pt x="-2332" y="54956"/>
                  <a:pt x="17046" y="63691"/>
                  <a:pt x="35209" y="57617"/>
                </a:cubicBezTo>
                <a:cubicBezTo>
                  <a:pt x="47947" y="53533"/>
                  <a:pt x="61846" y="55355"/>
                  <a:pt x="73097" y="62592"/>
                </a:cubicBezTo>
                <a:cubicBezTo>
                  <a:pt x="74485" y="44313"/>
                  <a:pt x="76568" y="23605"/>
                  <a:pt x="78477" y="9491"/>
                </a:cubicBezTo>
                <a:cubicBezTo>
                  <a:pt x="63148" y="5384"/>
                  <a:pt x="44059" y="-4276"/>
                  <a:pt x="35209" y="1855"/>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3" name="Forma libre: forma 172">
            <a:extLst>
              <a:ext uri="{FF2B5EF4-FFF2-40B4-BE49-F238E27FC236}">
                <a16:creationId xmlns:a16="http://schemas.microsoft.com/office/drawing/2014/main" id="{7CF4B2F6-F7BF-5210-037F-96A3FC7C2B45}"/>
              </a:ext>
            </a:extLst>
          </p:cNvPr>
          <p:cNvSpPr/>
          <p:nvPr/>
        </p:nvSpPr>
        <p:spPr>
          <a:xfrm>
            <a:off x="4206095" y="3931117"/>
            <a:ext cx="92955" cy="55455"/>
          </a:xfrm>
          <a:custGeom>
            <a:avLst/>
            <a:gdLst>
              <a:gd name="connsiteX0" fmla="*/ 35927 w 92955"/>
              <a:gd name="connsiteY0" fmla="*/ 41924 h 55455"/>
              <a:gd name="connsiteX1" fmla="*/ 92846 w 92955"/>
              <a:gd name="connsiteY1" fmla="*/ 31049 h 55455"/>
              <a:gd name="connsiteX2" fmla="*/ 20136 w 92955"/>
              <a:gd name="connsiteY2" fmla="*/ 797 h 55455"/>
              <a:gd name="connsiteX3" fmla="*/ 5270 w 92955"/>
              <a:gd name="connsiteY3" fmla="*/ -129 h 55455"/>
              <a:gd name="connsiteX4" fmla="*/ -110 w 92955"/>
              <a:gd name="connsiteY4" fmla="*/ 52972 h 55455"/>
              <a:gd name="connsiteX5" fmla="*/ 1973 w 92955"/>
              <a:gd name="connsiteY5" fmla="*/ 54071 h 55455"/>
              <a:gd name="connsiteX6" fmla="*/ 35927 w 92955"/>
              <a:gd name="connsiteY6" fmla="*/ 41924 h 5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5" h="55455">
                <a:moveTo>
                  <a:pt x="35927" y="41924"/>
                </a:moveTo>
                <a:cubicBezTo>
                  <a:pt x="57735" y="34693"/>
                  <a:pt x="92846" y="47708"/>
                  <a:pt x="92846" y="31049"/>
                </a:cubicBezTo>
                <a:cubicBezTo>
                  <a:pt x="92846" y="14390"/>
                  <a:pt x="35002" y="-4062"/>
                  <a:pt x="20136" y="797"/>
                </a:cubicBezTo>
                <a:cubicBezTo>
                  <a:pt x="15190" y="1832"/>
                  <a:pt x="10053" y="1514"/>
                  <a:pt x="5270" y="-129"/>
                </a:cubicBezTo>
                <a:cubicBezTo>
                  <a:pt x="3361" y="13985"/>
                  <a:pt x="1279" y="34578"/>
                  <a:pt x="-110" y="52972"/>
                </a:cubicBezTo>
                <a:lnTo>
                  <a:pt x="1973" y="54071"/>
                </a:lnTo>
                <a:cubicBezTo>
                  <a:pt x="11864" y="58814"/>
                  <a:pt x="14294" y="49097"/>
                  <a:pt x="35927" y="4192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4" name="Forma libre: forma 173">
            <a:extLst>
              <a:ext uri="{FF2B5EF4-FFF2-40B4-BE49-F238E27FC236}">
                <a16:creationId xmlns:a16="http://schemas.microsoft.com/office/drawing/2014/main" id="{B0CE911F-2147-EB52-DC47-53B9E44D0AA0}"/>
              </a:ext>
            </a:extLst>
          </p:cNvPr>
          <p:cNvSpPr/>
          <p:nvPr/>
        </p:nvSpPr>
        <p:spPr>
          <a:xfrm>
            <a:off x="3778434" y="4066056"/>
            <a:ext cx="115615" cy="119418"/>
          </a:xfrm>
          <a:custGeom>
            <a:avLst/>
            <a:gdLst>
              <a:gd name="connsiteX0" fmla="*/ 62265 w 115615"/>
              <a:gd name="connsiteY0" fmla="*/ 112680 h 119418"/>
              <a:gd name="connsiteX1" fmla="*/ 89336 w 115615"/>
              <a:gd name="connsiteY1" fmla="*/ 117192 h 119418"/>
              <a:gd name="connsiteX2" fmla="*/ 102872 w 115615"/>
              <a:gd name="connsiteY2" fmla="*/ 118695 h 119418"/>
              <a:gd name="connsiteX3" fmla="*/ 99054 w 115615"/>
              <a:gd name="connsiteY3" fmla="*/ 112911 h 119418"/>
              <a:gd name="connsiteX4" fmla="*/ 105764 w 115615"/>
              <a:gd name="connsiteY4" fmla="*/ 77800 h 119418"/>
              <a:gd name="connsiteX5" fmla="*/ 109350 w 115615"/>
              <a:gd name="connsiteY5" fmla="*/ 31119 h 119418"/>
              <a:gd name="connsiteX6" fmla="*/ 115424 w 115615"/>
              <a:gd name="connsiteY6" fmla="*/ 2660 h 119418"/>
              <a:gd name="connsiteX7" fmla="*/ 115424 w 115615"/>
              <a:gd name="connsiteY7" fmla="*/ -117 h 119418"/>
              <a:gd name="connsiteX8" fmla="*/ 83494 w 115615"/>
              <a:gd name="connsiteY8" fmla="*/ 12725 h 119418"/>
              <a:gd name="connsiteX9" fmla="*/ 57175 w 115615"/>
              <a:gd name="connsiteY9" fmla="*/ 18509 h 119418"/>
              <a:gd name="connsiteX10" fmla="*/ 27385 w 115615"/>
              <a:gd name="connsiteY10" fmla="*/ 31351 h 119418"/>
              <a:gd name="connsiteX11" fmla="*/ 18593 w 115615"/>
              <a:gd name="connsiteY11" fmla="*/ 48299 h 119418"/>
              <a:gd name="connsiteX12" fmla="*/ 10436 w 115615"/>
              <a:gd name="connsiteY12" fmla="*/ 55934 h 119418"/>
              <a:gd name="connsiteX13" fmla="*/ 314 w 115615"/>
              <a:gd name="connsiteY13" fmla="*/ 58306 h 119418"/>
              <a:gd name="connsiteX14" fmla="*/ 4536 w 115615"/>
              <a:gd name="connsiteY14" fmla="*/ 68660 h 119418"/>
              <a:gd name="connsiteX15" fmla="*/ 37797 w 115615"/>
              <a:gd name="connsiteY15" fmla="*/ 100764 h 119418"/>
              <a:gd name="connsiteX16" fmla="*/ 47168 w 115615"/>
              <a:gd name="connsiteY16" fmla="*/ 111812 h 119418"/>
              <a:gd name="connsiteX17" fmla="*/ 62265 w 115615"/>
              <a:gd name="connsiteY17" fmla="*/ 112680 h 11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615" h="119418">
                <a:moveTo>
                  <a:pt x="62265" y="112680"/>
                </a:moveTo>
                <a:cubicBezTo>
                  <a:pt x="68049" y="115688"/>
                  <a:pt x="83320" y="112680"/>
                  <a:pt x="89336" y="117192"/>
                </a:cubicBezTo>
                <a:cubicBezTo>
                  <a:pt x="93518" y="119314"/>
                  <a:pt x="98325" y="119847"/>
                  <a:pt x="102872" y="118695"/>
                </a:cubicBezTo>
                <a:cubicBezTo>
                  <a:pt x="101078" y="116150"/>
                  <a:pt x="99748" y="114126"/>
                  <a:pt x="99054" y="112911"/>
                </a:cubicBezTo>
                <a:cubicBezTo>
                  <a:pt x="94831" y="105044"/>
                  <a:pt x="102120" y="89311"/>
                  <a:pt x="105764" y="77800"/>
                </a:cubicBezTo>
                <a:cubicBezTo>
                  <a:pt x="109408" y="66288"/>
                  <a:pt x="102698" y="38407"/>
                  <a:pt x="109350" y="31119"/>
                </a:cubicBezTo>
                <a:cubicBezTo>
                  <a:pt x="116002" y="23831"/>
                  <a:pt x="112416" y="19550"/>
                  <a:pt x="115424" y="2660"/>
                </a:cubicBezTo>
                <a:cubicBezTo>
                  <a:pt x="115534" y="1740"/>
                  <a:pt x="115534" y="803"/>
                  <a:pt x="115424" y="-117"/>
                </a:cubicBezTo>
                <a:cubicBezTo>
                  <a:pt x="101773" y="-580"/>
                  <a:pt x="87890" y="12262"/>
                  <a:pt x="83494" y="12725"/>
                </a:cubicBezTo>
                <a:cubicBezTo>
                  <a:pt x="78230" y="13303"/>
                  <a:pt x="59546" y="8618"/>
                  <a:pt x="57175" y="18509"/>
                </a:cubicBezTo>
                <a:cubicBezTo>
                  <a:pt x="54803" y="28400"/>
                  <a:pt x="43176" y="30078"/>
                  <a:pt x="27385" y="31351"/>
                </a:cubicBezTo>
                <a:cubicBezTo>
                  <a:pt x="11593" y="32623"/>
                  <a:pt x="19807" y="45985"/>
                  <a:pt x="18593" y="48299"/>
                </a:cubicBezTo>
                <a:cubicBezTo>
                  <a:pt x="16215" y="51185"/>
                  <a:pt x="13473" y="53754"/>
                  <a:pt x="10436" y="55934"/>
                </a:cubicBezTo>
                <a:lnTo>
                  <a:pt x="314" y="58306"/>
                </a:lnTo>
                <a:cubicBezTo>
                  <a:pt x="-988" y="62326"/>
                  <a:pt x="794" y="66699"/>
                  <a:pt x="4536" y="68660"/>
                </a:cubicBezTo>
                <a:cubicBezTo>
                  <a:pt x="14196" y="74040"/>
                  <a:pt x="27674" y="95326"/>
                  <a:pt x="37797" y="100764"/>
                </a:cubicBezTo>
                <a:cubicBezTo>
                  <a:pt x="42251" y="103072"/>
                  <a:pt x="45617" y="107040"/>
                  <a:pt x="47168" y="111812"/>
                </a:cubicBezTo>
                <a:cubicBezTo>
                  <a:pt x="52200" y="110979"/>
                  <a:pt x="57360" y="111274"/>
                  <a:pt x="62265" y="11268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5" name="Forma libre: forma 174">
            <a:extLst>
              <a:ext uri="{FF2B5EF4-FFF2-40B4-BE49-F238E27FC236}">
                <a16:creationId xmlns:a16="http://schemas.microsoft.com/office/drawing/2014/main" id="{354FD8E7-AD39-95E2-E0C7-2EC804421C16}"/>
              </a:ext>
            </a:extLst>
          </p:cNvPr>
          <p:cNvSpPr/>
          <p:nvPr/>
        </p:nvSpPr>
        <p:spPr>
          <a:xfrm>
            <a:off x="4149608" y="4340439"/>
            <a:ext cx="1079934" cy="1111346"/>
          </a:xfrm>
          <a:custGeom>
            <a:avLst/>
            <a:gdLst>
              <a:gd name="connsiteX0" fmla="*/ 574778 w 1079934"/>
              <a:gd name="connsiteY0" fmla="*/ 1098434 h 1111346"/>
              <a:gd name="connsiteX1" fmla="*/ 595371 w 1079934"/>
              <a:gd name="connsiteY1" fmla="*/ 1064537 h 1111346"/>
              <a:gd name="connsiteX2" fmla="*/ 609890 w 1079934"/>
              <a:gd name="connsiteY2" fmla="*/ 1031219 h 1111346"/>
              <a:gd name="connsiteX3" fmla="*/ 624408 w 1079934"/>
              <a:gd name="connsiteY3" fmla="*/ 1002297 h 1111346"/>
              <a:gd name="connsiteX4" fmla="*/ 625045 w 1079934"/>
              <a:gd name="connsiteY4" fmla="*/ 1027112 h 1111346"/>
              <a:gd name="connsiteX5" fmla="*/ 626838 w 1079934"/>
              <a:gd name="connsiteY5" fmla="*/ 1036194 h 1111346"/>
              <a:gd name="connsiteX6" fmla="*/ 662007 w 1079934"/>
              <a:gd name="connsiteY6" fmla="*/ 982861 h 1111346"/>
              <a:gd name="connsiteX7" fmla="*/ 689252 w 1079934"/>
              <a:gd name="connsiteY7" fmla="*/ 953939 h 1111346"/>
              <a:gd name="connsiteX8" fmla="*/ 697118 w 1079934"/>
              <a:gd name="connsiteY8" fmla="*/ 914605 h 1111346"/>
              <a:gd name="connsiteX9" fmla="*/ 697697 w 1079934"/>
              <a:gd name="connsiteY9" fmla="*/ 874114 h 1111346"/>
              <a:gd name="connsiteX10" fmla="*/ 706200 w 1079934"/>
              <a:gd name="connsiteY10" fmla="*/ 854158 h 1111346"/>
              <a:gd name="connsiteX11" fmla="*/ 740907 w 1079934"/>
              <a:gd name="connsiteY11" fmla="*/ 828128 h 1111346"/>
              <a:gd name="connsiteX12" fmla="*/ 776654 w 1079934"/>
              <a:gd name="connsiteY12" fmla="*/ 812336 h 1111346"/>
              <a:gd name="connsiteX13" fmla="*/ 791810 w 1079934"/>
              <a:gd name="connsiteY13" fmla="*/ 803891 h 1111346"/>
              <a:gd name="connsiteX14" fmla="*/ 813039 w 1079934"/>
              <a:gd name="connsiteY14" fmla="*/ 787521 h 1111346"/>
              <a:gd name="connsiteX15" fmla="*/ 858446 w 1079934"/>
              <a:gd name="connsiteY15" fmla="*/ 788100 h 1111346"/>
              <a:gd name="connsiteX16" fmla="*/ 882683 w 1079934"/>
              <a:gd name="connsiteY16" fmla="*/ 780233 h 1111346"/>
              <a:gd name="connsiteX17" fmla="*/ 897584 w 1079934"/>
              <a:gd name="connsiteY17" fmla="*/ 763932 h 1111346"/>
              <a:gd name="connsiteX18" fmla="*/ 897838 w 1079934"/>
              <a:gd name="connsiteY18" fmla="*/ 763921 h 1111346"/>
              <a:gd name="connsiteX19" fmla="*/ 909928 w 1079934"/>
              <a:gd name="connsiteY19" fmla="*/ 749344 h 1111346"/>
              <a:gd name="connsiteX20" fmla="*/ 920803 w 1079934"/>
              <a:gd name="connsiteY20" fmla="*/ 724529 h 1111346"/>
              <a:gd name="connsiteX21" fmla="*/ 931735 w 1079934"/>
              <a:gd name="connsiteY21" fmla="*/ 699077 h 1111346"/>
              <a:gd name="connsiteX22" fmla="*/ 942031 w 1079934"/>
              <a:gd name="connsiteY22" fmla="*/ 684500 h 1111346"/>
              <a:gd name="connsiteX23" fmla="*/ 946254 w 1079934"/>
              <a:gd name="connsiteY23" fmla="*/ 651182 h 1111346"/>
              <a:gd name="connsiteX24" fmla="*/ 960194 w 1079934"/>
              <a:gd name="connsiteY24" fmla="*/ 636663 h 1111346"/>
              <a:gd name="connsiteX25" fmla="*/ 963202 w 1079934"/>
              <a:gd name="connsiteY25" fmla="*/ 602766 h 1111346"/>
              <a:gd name="connsiteX26" fmla="*/ 963202 w 1079934"/>
              <a:gd name="connsiteY26" fmla="*/ 549434 h 1111346"/>
              <a:gd name="connsiteX27" fmla="*/ 968987 w 1079934"/>
              <a:gd name="connsiteY27" fmla="*/ 509464 h 1111346"/>
              <a:gd name="connsiteX28" fmla="*/ 967193 w 1079934"/>
              <a:gd name="connsiteY28" fmla="*/ 498531 h 1111346"/>
              <a:gd name="connsiteX29" fmla="*/ 972052 w 1079934"/>
              <a:gd name="connsiteY29" fmla="*/ 490722 h 1111346"/>
              <a:gd name="connsiteX30" fmla="*/ 989001 w 1079934"/>
              <a:gd name="connsiteY30" fmla="*/ 496159 h 1111346"/>
              <a:gd name="connsiteX31" fmla="*/ 1010808 w 1079934"/>
              <a:gd name="connsiteY31" fmla="*/ 453702 h 1111346"/>
              <a:gd name="connsiteX32" fmla="*/ 1036838 w 1079934"/>
              <a:gd name="connsiteY32" fmla="*/ 433745 h 1111346"/>
              <a:gd name="connsiteX33" fmla="*/ 1075015 w 1079934"/>
              <a:gd name="connsiteY33" fmla="*/ 379834 h 1111346"/>
              <a:gd name="connsiteX34" fmla="*/ 1069578 w 1079934"/>
              <a:gd name="connsiteY34" fmla="*/ 300472 h 1111346"/>
              <a:gd name="connsiteX35" fmla="*/ 1045977 w 1079934"/>
              <a:gd name="connsiteY35" fmla="*/ 284738 h 1111346"/>
              <a:gd name="connsiteX36" fmla="*/ 980498 w 1079934"/>
              <a:gd name="connsiteY36" fmla="*/ 249569 h 1111346"/>
              <a:gd name="connsiteX37" fmla="*/ 900557 w 1079934"/>
              <a:gd name="connsiteY37" fmla="*/ 224754 h 1111346"/>
              <a:gd name="connsiteX38" fmla="*/ 846646 w 1079934"/>
              <a:gd name="connsiteY38" fmla="*/ 212028 h 1111346"/>
              <a:gd name="connsiteX39" fmla="*/ 810898 w 1079934"/>
              <a:gd name="connsiteY39" fmla="*/ 229381 h 1111346"/>
              <a:gd name="connsiteX40" fmla="*/ 816336 w 1079934"/>
              <a:gd name="connsiteY40" fmla="*/ 203351 h 1111346"/>
              <a:gd name="connsiteX41" fmla="*/ 752128 w 1079934"/>
              <a:gd name="connsiteY41" fmla="*/ 164596 h 1111346"/>
              <a:gd name="connsiteX42" fmla="*/ 712158 w 1079934"/>
              <a:gd name="connsiteY42" fmla="*/ 176685 h 1111346"/>
              <a:gd name="connsiteX43" fmla="*/ 692780 w 1079934"/>
              <a:gd name="connsiteY43" fmla="*/ 189989 h 1111346"/>
              <a:gd name="connsiteX44" fmla="*/ 678840 w 1079934"/>
              <a:gd name="connsiteY44" fmla="*/ 190568 h 1111346"/>
              <a:gd name="connsiteX45" fmla="*/ 702440 w 1079934"/>
              <a:gd name="connsiteY45" fmla="*/ 159101 h 1111346"/>
              <a:gd name="connsiteX46" fmla="*/ 647373 w 1079934"/>
              <a:gd name="connsiteY46" fmla="*/ 144582 h 1111346"/>
              <a:gd name="connsiteX47" fmla="*/ 630019 w 1079934"/>
              <a:gd name="connsiteY47" fmla="*/ 165753 h 1111346"/>
              <a:gd name="connsiteX48" fmla="*/ 637250 w 1079934"/>
              <a:gd name="connsiteY48" fmla="*/ 143309 h 1111346"/>
              <a:gd name="connsiteX49" fmla="*/ 664552 w 1079934"/>
              <a:gd name="connsiteY49" fmla="*/ 109412 h 1111346"/>
              <a:gd name="connsiteX50" fmla="*/ 642109 w 1079934"/>
              <a:gd name="connsiteY50" fmla="*/ 80490 h 1111346"/>
              <a:gd name="connsiteX51" fmla="*/ 622557 w 1079934"/>
              <a:gd name="connsiteY51" fmla="*/ 28025 h 1111346"/>
              <a:gd name="connsiteX52" fmla="*/ 590222 w 1079934"/>
              <a:gd name="connsiteY52" fmla="*/ 71582 h 1111346"/>
              <a:gd name="connsiteX53" fmla="*/ 561300 w 1079934"/>
              <a:gd name="connsiteY53" fmla="*/ 83903 h 1111346"/>
              <a:gd name="connsiteX54" fmla="*/ 534229 w 1079934"/>
              <a:gd name="connsiteY54" fmla="*/ 75747 h 1111346"/>
              <a:gd name="connsiteX55" fmla="*/ 503919 w 1079934"/>
              <a:gd name="connsiteY55" fmla="*/ 74879 h 1111346"/>
              <a:gd name="connsiteX56" fmla="*/ 492350 w 1079934"/>
              <a:gd name="connsiteY56" fmla="*/ 92233 h 1111346"/>
              <a:gd name="connsiteX57" fmla="*/ 459552 w 1079934"/>
              <a:gd name="connsiteY57" fmla="*/ 91423 h 1111346"/>
              <a:gd name="connsiteX58" fmla="*/ 445612 w 1079934"/>
              <a:gd name="connsiteY58" fmla="*/ 98017 h 1111346"/>
              <a:gd name="connsiteX59" fmla="*/ 427564 w 1079934"/>
              <a:gd name="connsiteY59" fmla="*/ 104496 h 1111346"/>
              <a:gd name="connsiteX60" fmla="*/ 398006 w 1079934"/>
              <a:gd name="connsiteY60" fmla="*/ 94662 h 1111346"/>
              <a:gd name="connsiteX61" fmla="*/ 392221 w 1079934"/>
              <a:gd name="connsiteY61" fmla="*/ 46304 h 1111346"/>
              <a:gd name="connsiteX62" fmla="*/ 393199 w 1079934"/>
              <a:gd name="connsiteY62" fmla="*/ 25960 h 1111346"/>
              <a:gd name="connsiteX63" fmla="*/ 389734 w 1079934"/>
              <a:gd name="connsiteY63" fmla="*/ 23167 h 1111346"/>
              <a:gd name="connsiteX64" fmla="*/ 378165 w 1079934"/>
              <a:gd name="connsiteY64" fmla="*/ 29 h 1111346"/>
              <a:gd name="connsiteX65" fmla="*/ 360812 w 1079934"/>
              <a:gd name="connsiteY65" fmla="*/ 15589 h 1111346"/>
              <a:gd name="connsiteX66" fmla="*/ 327205 w 1079934"/>
              <a:gd name="connsiteY66" fmla="*/ 28719 h 1111346"/>
              <a:gd name="connsiteX67" fmla="*/ 308289 w 1079934"/>
              <a:gd name="connsiteY67" fmla="*/ 39363 h 1111346"/>
              <a:gd name="connsiteX68" fmla="*/ 297646 w 1079934"/>
              <a:gd name="connsiteY68" fmla="*/ 38553 h 1111346"/>
              <a:gd name="connsiteX69" fmla="*/ 273872 w 1079934"/>
              <a:gd name="connsiteY69" fmla="*/ 30397 h 1111346"/>
              <a:gd name="connsiteX70" fmla="*/ 255825 w 1079934"/>
              <a:gd name="connsiteY70" fmla="*/ 33636 h 1111346"/>
              <a:gd name="connsiteX71" fmla="*/ 266468 w 1079934"/>
              <a:gd name="connsiteY71" fmla="*/ 54171 h 1111346"/>
              <a:gd name="connsiteX72" fmla="*/ 273872 w 1079934"/>
              <a:gd name="connsiteY72" fmla="*/ 71524 h 1111346"/>
              <a:gd name="connsiteX73" fmla="*/ 287813 w 1079934"/>
              <a:gd name="connsiteY73" fmla="*/ 74822 h 1111346"/>
              <a:gd name="connsiteX74" fmla="*/ 284515 w 1079934"/>
              <a:gd name="connsiteY74" fmla="*/ 86390 h 1111346"/>
              <a:gd name="connsiteX75" fmla="*/ 268955 w 1079934"/>
              <a:gd name="connsiteY75" fmla="*/ 101199 h 1111346"/>
              <a:gd name="connsiteX76" fmla="*/ 250908 w 1079934"/>
              <a:gd name="connsiteY76" fmla="*/ 110164 h 1111346"/>
              <a:gd name="connsiteX77" fmla="*/ 232051 w 1079934"/>
              <a:gd name="connsiteY77" fmla="*/ 120056 h 1111346"/>
              <a:gd name="connsiteX78" fmla="*/ 217300 w 1079934"/>
              <a:gd name="connsiteY78" fmla="*/ 122485 h 1111346"/>
              <a:gd name="connsiteX79" fmla="*/ 200930 w 1079934"/>
              <a:gd name="connsiteY79" fmla="*/ 115949 h 1111346"/>
              <a:gd name="connsiteX80" fmla="*/ 180049 w 1079934"/>
              <a:gd name="connsiteY80" fmla="*/ 88357 h 1111346"/>
              <a:gd name="connsiteX81" fmla="*/ 153267 w 1079934"/>
              <a:gd name="connsiteY81" fmla="*/ 96224 h 1111346"/>
              <a:gd name="connsiteX82" fmla="*/ 112024 w 1079934"/>
              <a:gd name="connsiteY82" fmla="*/ 99232 h 1111346"/>
              <a:gd name="connsiteX83" fmla="*/ 119138 w 1079934"/>
              <a:gd name="connsiteY83" fmla="*/ 114214 h 1111346"/>
              <a:gd name="connsiteX84" fmla="*/ 124576 w 1079934"/>
              <a:gd name="connsiteY84" fmla="*/ 125435 h 1111346"/>
              <a:gd name="connsiteX85" fmla="*/ 106008 w 1079934"/>
              <a:gd name="connsiteY85" fmla="*/ 140128 h 1111346"/>
              <a:gd name="connsiteX86" fmla="*/ 123361 w 1079934"/>
              <a:gd name="connsiteY86" fmla="*/ 184437 h 1111346"/>
              <a:gd name="connsiteX87" fmla="*/ 117577 w 1079934"/>
              <a:gd name="connsiteY87" fmla="*/ 221746 h 1111346"/>
              <a:gd name="connsiteX88" fmla="*/ 107107 w 1079934"/>
              <a:gd name="connsiteY88" fmla="*/ 258824 h 1111346"/>
              <a:gd name="connsiteX89" fmla="*/ 83969 w 1079934"/>
              <a:gd name="connsiteY89" fmla="*/ 260444 h 1111346"/>
              <a:gd name="connsiteX90" fmla="*/ 50882 w 1079934"/>
              <a:gd name="connsiteY90" fmla="*/ 272649 h 1111346"/>
              <a:gd name="connsiteX91" fmla="*/ 26645 w 1079934"/>
              <a:gd name="connsiteY91" fmla="*/ 288730 h 1111346"/>
              <a:gd name="connsiteX92" fmla="*/ 17738 w 1079934"/>
              <a:gd name="connsiteY92" fmla="*/ 314644 h 1111346"/>
              <a:gd name="connsiteX93" fmla="*/ 5648 w 1079934"/>
              <a:gd name="connsiteY93" fmla="*/ 329163 h 1111346"/>
              <a:gd name="connsiteX94" fmla="*/ 1599 w 1079934"/>
              <a:gd name="connsiteY94" fmla="*/ 346921 h 1111346"/>
              <a:gd name="connsiteX95" fmla="*/ 8887 w 1079934"/>
              <a:gd name="connsiteY95" fmla="*/ 370348 h 1111346"/>
              <a:gd name="connsiteX96" fmla="*/ 20456 w 1079934"/>
              <a:gd name="connsiteY96" fmla="*/ 393486 h 1111346"/>
              <a:gd name="connsiteX97" fmla="*/ 34165 w 1079934"/>
              <a:gd name="connsiteY97" fmla="*/ 403955 h 1111346"/>
              <a:gd name="connsiteX98" fmla="*/ 48742 w 1079934"/>
              <a:gd name="connsiteY98" fmla="*/ 419284 h 1111346"/>
              <a:gd name="connsiteX99" fmla="*/ 77664 w 1079934"/>
              <a:gd name="connsiteY99" fmla="*/ 415293 h 1111346"/>
              <a:gd name="connsiteX100" fmla="*/ 89811 w 1079934"/>
              <a:gd name="connsiteY100" fmla="*/ 412864 h 1111346"/>
              <a:gd name="connsiteX101" fmla="*/ 96232 w 1079934"/>
              <a:gd name="connsiteY101" fmla="*/ 448380 h 1111346"/>
              <a:gd name="connsiteX102" fmla="*/ 131806 w 1079934"/>
              <a:gd name="connsiteY102" fmla="*/ 449190 h 1111346"/>
              <a:gd name="connsiteX103" fmla="*/ 154944 w 1079934"/>
              <a:gd name="connsiteY103" fmla="*/ 443405 h 1111346"/>
              <a:gd name="connsiteX104" fmla="*/ 178371 w 1079934"/>
              <a:gd name="connsiteY104" fmla="*/ 431316 h 1111346"/>
              <a:gd name="connsiteX105" fmla="*/ 210648 w 1079934"/>
              <a:gd name="connsiteY105" fmla="*/ 416797 h 1111346"/>
              <a:gd name="connsiteX106" fmla="*/ 236504 w 1079934"/>
              <a:gd name="connsiteY106" fmla="*/ 418359 h 1111346"/>
              <a:gd name="connsiteX107" fmla="*/ 245413 w 1079934"/>
              <a:gd name="connsiteY107" fmla="*/ 471691 h 1111346"/>
              <a:gd name="connsiteX108" fmla="*/ 277690 w 1079934"/>
              <a:gd name="connsiteY108" fmla="*/ 491069 h 1111346"/>
              <a:gd name="connsiteX109" fmla="*/ 297068 w 1079934"/>
              <a:gd name="connsiteY109" fmla="*/ 495118 h 1111346"/>
              <a:gd name="connsiteX110" fmla="*/ 308636 w 1079934"/>
              <a:gd name="connsiteY110" fmla="*/ 504778 h 1111346"/>
              <a:gd name="connsiteX111" fmla="*/ 331253 w 1079934"/>
              <a:gd name="connsiteY111" fmla="*/ 515306 h 1111346"/>
              <a:gd name="connsiteX112" fmla="*/ 361159 w 1079934"/>
              <a:gd name="connsiteY112" fmla="*/ 521784 h 1111346"/>
              <a:gd name="connsiteX113" fmla="*/ 371629 w 1079934"/>
              <a:gd name="connsiteY113" fmla="*/ 540352 h 1111346"/>
              <a:gd name="connsiteX114" fmla="*/ 375678 w 1079934"/>
              <a:gd name="connsiteY114" fmla="*/ 561350 h 1111346"/>
              <a:gd name="connsiteX115" fmla="*/ 378917 w 1079934"/>
              <a:gd name="connsiteY115" fmla="*/ 583967 h 1111346"/>
              <a:gd name="connsiteX116" fmla="*/ 408765 w 1079934"/>
              <a:gd name="connsiteY116" fmla="*/ 597676 h 1111346"/>
              <a:gd name="connsiteX117" fmla="*/ 431382 w 1079934"/>
              <a:gd name="connsiteY117" fmla="*/ 611443 h 1111346"/>
              <a:gd name="connsiteX118" fmla="*/ 447521 w 1079934"/>
              <a:gd name="connsiteY118" fmla="*/ 638109 h 1111346"/>
              <a:gd name="connsiteX119" fmla="*/ 444339 w 1079934"/>
              <a:gd name="connsiteY119" fmla="*/ 673625 h 1111346"/>
              <a:gd name="connsiteX120" fmla="*/ 436010 w 1079934"/>
              <a:gd name="connsiteY120" fmla="*/ 692194 h 1111346"/>
              <a:gd name="connsiteX121" fmla="*/ 437166 w 1079934"/>
              <a:gd name="connsiteY121" fmla="*/ 706828 h 1111346"/>
              <a:gd name="connsiteX122" fmla="*/ 442083 w 1079934"/>
              <a:gd name="connsiteY122" fmla="*/ 740378 h 1111346"/>
              <a:gd name="connsiteX123" fmla="*/ 456081 w 1079934"/>
              <a:gd name="connsiteY123" fmla="*/ 762532 h 1111346"/>
              <a:gd name="connsiteX124" fmla="*/ 479797 w 1079934"/>
              <a:gd name="connsiteY124" fmla="*/ 765020 h 1111346"/>
              <a:gd name="connsiteX125" fmla="*/ 498655 w 1079934"/>
              <a:gd name="connsiteY125" fmla="*/ 788157 h 1111346"/>
              <a:gd name="connsiteX126" fmla="*/ 512190 w 1079934"/>
              <a:gd name="connsiteY126" fmla="*/ 818410 h 1111346"/>
              <a:gd name="connsiteX127" fmla="*/ 535328 w 1079934"/>
              <a:gd name="connsiteY127" fmla="*/ 813493 h 1111346"/>
              <a:gd name="connsiteX128" fmla="*/ 532783 w 1079934"/>
              <a:gd name="connsiteY128" fmla="*/ 862371 h 1111346"/>
              <a:gd name="connsiteX129" fmla="*/ 550715 w 1079934"/>
              <a:gd name="connsiteY129" fmla="*/ 863528 h 1111346"/>
              <a:gd name="connsiteX130" fmla="*/ 555689 w 1079934"/>
              <a:gd name="connsiteY130" fmla="*/ 905292 h 1111346"/>
              <a:gd name="connsiteX131" fmla="*/ 522487 w 1079934"/>
              <a:gd name="connsiteY131" fmla="*/ 923687 h 1111346"/>
              <a:gd name="connsiteX132" fmla="*/ 475228 w 1079934"/>
              <a:gd name="connsiteY132" fmla="*/ 973433 h 1111346"/>
              <a:gd name="connsiteX133" fmla="*/ 451165 w 1079934"/>
              <a:gd name="connsiteY133" fmla="*/ 1002355 h 1111346"/>
              <a:gd name="connsiteX134" fmla="*/ 459321 w 1079934"/>
              <a:gd name="connsiteY134" fmla="*/ 1001892 h 1111346"/>
              <a:gd name="connsiteX135" fmla="*/ 482458 w 1079934"/>
              <a:gd name="connsiteY135" fmla="*/ 1010453 h 1111346"/>
              <a:gd name="connsiteX136" fmla="*/ 494721 w 1079934"/>
              <a:gd name="connsiteY136" fmla="*/ 1029542 h 1111346"/>
              <a:gd name="connsiteX137" fmla="*/ 510050 w 1079934"/>
              <a:gd name="connsiteY137" fmla="*/ 1025203 h 1111346"/>
              <a:gd name="connsiteX138" fmla="*/ 540766 w 1079934"/>
              <a:gd name="connsiteY138" fmla="*/ 1048341 h 1111346"/>
              <a:gd name="connsiteX139" fmla="*/ 559160 w 1079934"/>
              <a:gd name="connsiteY139" fmla="*/ 1069801 h 1111346"/>
              <a:gd name="connsiteX140" fmla="*/ 561994 w 1079934"/>
              <a:gd name="connsiteY140" fmla="*/ 1111218 h 1111346"/>
              <a:gd name="connsiteX141" fmla="*/ 574778 w 1079934"/>
              <a:gd name="connsiteY141" fmla="*/ 1098434 h 111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79934" h="1111346">
                <a:moveTo>
                  <a:pt x="574778" y="1098434"/>
                </a:moveTo>
                <a:cubicBezTo>
                  <a:pt x="591726" y="1086345"/>
                  <a:pt x="587504" y="1079114"/>
                  <a:pt x="595371" y="1064537"/>
                </a:cubicBezTo>
                <a:cubicBezTo>
                  <a:pt x="603237" y="1049961"/>
                  <a:pt x="596585" y="1043945"/>
                  <a:pt x="609890" y="1031219"/>
                </a:cubicBezTo>
                <a:cubicBezTo>
                  <a:pt x="623194" y="1018493"/>
                  <a:pt x="607460" y="1010048"/>
                  <a:pt x="624408" y="1002297"/>
                </a:cubicBezTo>
                <a:cubicBezTo>
                  <a:pt x="641357" y="994546"/>
                  <a:pt x="638985" y="1009585"/>
                  <a:pt x="625045" y="1027112"/>
                </a:cubicBezTo>
                <a:cubicBezTo>
                  <a:pt x="611104" y="1044639"/>
                  <a:pt x="608675" y="1049498"/>
                  <a:pt x="626838" y="1036194"/>
                </a:cubicBezTo>
                <a:cubicBezTo>
                  <a:pt x="645001" y="1022889"/>
                  <a:pt x="651711" y="1004090"/>
                  <a:pt x="662007" y="982861"/>
                </a:cubicBezTo>
                <a:cubicBezTo>
                  <a:pt x="672303" y="961632"/>
                  <a:pt x="680170" y="955038"/>
                  <a:pt x="689252" y="953939"/>
                </a:cubicBezTo>
                <a:cubicBezTo>
                  <a:pt x="698333" y="952840"/>
                  <a:pt x="698333" y="930281"/>
                  <a:pt x="697118" y="914605"/>
                </a:cubicBezTo>
                <a:cubicBezTo>
                  <a:pt x="695904" y="898929"/>
                  <a:pt x="691334" y="884295"/>
                  <a:pt x="697697" y="874114"/>
                </a:cubicBezTo>
                <a:cubicBezTo>
                  <a:pt x="704060" y="863933"/>
                  <a:pt x="697697" y="854158"/>
                  <a:pt x="706200" y="854158"/>
                </a:cubicBezTo>
                <a:cubicBezTo>
                  <a:pt x="714703" y="854158"/>
                  <a:pt x="727429" y="841432"/>
                  <a:pt x="740907" y="828128"/>
                </a:cubicBezTo>
                <a:cubicBezTo>
                  <a:pt x="754384" y="814824"/>
                  <a:pt x="762714" y="813551"/>
                  <a:pt x="776654" y="812336"/>
                </a:cubicBezTo>
                <a:cubicBezTo>
                  <a:pt x="790595" y="811121"/>
                  <a:pt x="782439" y="806552"/>
                  <a:pt x="791810" y="803891"/>
                </a:cubicBezTo>
                <a:cubicBezTo>
                  <a:pt x="801181" y="801230"/>
                  <a:pt x="806965" y="792958"/>
                  <a:pt x="813039" y="787521"/>
                </a:cubicBezTo>
                <a:cubicBezTo>
                  <a:pt x="819112" y="782084"/>
                  <a:pt x="843927" y="788100"/>
                  <a:pt x="858446" y="788100"/>
                </a:cubicBezTo>
                <a:cubicBezTo>
                  <a:pt x="872965" y="788100"/>
                  <a:pt x="882683" y="789314"/>
                  <a:pt x="882683" y="780233"/>
                </a:cubicBezTo>
                <a:cubicBezTo>
                  <a:pt x="882295" y="771614"/>
                  <a:pt x="888965" y="764314"/>
                  <a:pt x="897584" y="763932"/>
                </a:cubicBezTo>
                <a:cubicBezTo>
                  <a:pt x="897670" y="763926"/>
                  <a:pt x="897751" y="763921"/>
                  <a:pt x="897838" y="763921"/>
                </a:cubicBezTo>
                <a:cubicBezTo>
                  <a:pt x="906284" y="763921"/>
                  <a:pt x="909928" y="761491"/>
                  <a:pt x="909928" y="749344"/>
                </a:cubicBezTo>
                <a:cubicBezTo>
                  <a:pt x="909008" y="739747"/>
                  <a:pt x="913121" y="730359"/>
                  <a:pt x="920803" y="724529"/>
                </a:cubicBezTo>
                <a:cubicBezTo>
                  <a:pt x="928091" y="719091"/>
                  <a:pt x="929305" y="707175"/>
                  <a:pt x="931735" y="699077"/>
                </a:cubicBezTo>
                <a:cubicBezTo>
                  <a:pt x="934165" y="690979"/>
                  <a:pt x="942031" y="696012"/>
                  <a:pt x="942031" y="684500"/>
                </a:cubicBezTo>
                <a:cubicBezTo>
                  <a:pt x="942031" y="672989"/>
                  <a:pt x="946254" y="660263"/>
                  <a:pt x="946254" y="651182"/>
                </a:cubicBezTo>
                <a:cubicBezTo>
                  <a:pt x="946254" y="642101"/>
                  <a:pt x="955972" y="643315"/>
                  <a:pt x="960194" y="636663"/>
                </a:cubicBezTo>
                <a:cubicBezTo>
                  <a:pt x="964417" y="630011"/>
                  <a:pt x="956550" y="621566"/>
                  <a:pt x="963202" y="602766"/>
                </a:cubicBezTo>
                <a:cubicBezTo>
                  <a:pt x="969854" y="583967"/>
                  <a:pt x="963202" y="566382"/>
                  <a:pt x="963202" y="549434"/>
                </a:cubicBezTo>
                <a:cubicBezTo>
                  <a:pt x="963202" y="532486"/>
                  <a:pt x="963202" y="514727"/>
                  <a:pt x="968987" y="509464"/>
                </a:cubicBezTo>
                <a:cubicBezTo>
                  <a:pt x="974771" y="504200"/>
                  <a:pt x="972052" y="500960"/>
                  <a:pt x="967193" y="498531"/>
                </a:cubicBezTo>
                <a:cubicBezTo>
                  <a:pt x="962335" y="496102"/>
                  <a:pt x="967772" y="489449"/>
                  <a:pt x="972052" y="490722"/>
                </a:cubicBezTo>
                <a:cubicBezTo>
                  <a:pt x="976333" y="491995"/>
                  <a:pt x="981134" y="500960"/>
                  <a:pt x="989001" y="496159"/>
                </a:cubicBezTo>
                <a:cubicBezTo>
                  <a:pt x="996868" y="491358"/>
                  <a:pt x="1004156" y="470708"/>
                  <a:pt x="1010808" y="453702"/>
                </a:cubicBezTo>
                <a:cubicBezTo>
                  <a:pt x="1017460" y="436695"/>
                  <a:pt x="1028162" y="437390"/>
                  <a:pt x="1036838" y="433745"/>
                </a:cubicBezTo>
                <a:cubicBezTo>
                  <a:pt x="1045515" y="430101"/>
                  <a:pt x="1063504" y="409509"/>
                  <a:pt x="1075015" y="379834"/>
                </a:cubicBezTo>
                <a:cubicBezTo>
                  <a:pt x="1086526" y="350160"/>
                  <a:pt x="1074379" y="321065"/>
                  <a:pt x="1069578" y="300472"/>
                </a:cubicBezTo>
                <a:cubicBezTo>
                  <a:pt x="1064777" y="279880"/>
                  <a:pt x="1058009" y="284102"/>
                  <a:pt x="1045977" y="284738"/>
                </a:cubicBezTo>
                <a:cubicBezTo>
                  <a:pt x="1033946" y="285375"/>
                  <a:pt x="1010808" y="282309"/>
                  <a:pt x="980498" y="249569"/>
                </a:cubicBezTo>
                <a:cubicBezTo>
                  <a:pt x="950187" y="216829"/>
                  <a:pt x="920513" y="219317"/>
                  <a:pt x="900557" y="224754"/>
                </a:cubicBezTo>
                <a:cubicBezTo>
                  <a:pt x="880601" y="230191"/>
                  <a:pt x="860066" y="215094"/>
                  <a:pt x="846646" y="212028"/>
                </a:cubicBezTo>
                <a:cubicBezTo>
                  <a:pt x="833226" y="208963"/>
                  <a:pt x="820616" y="225969"/>
                  <a:pt x="810898" y="229381"/>
                </a:cubicBezTo>
                <a:cubicBezTo>
                  <a:pt x="801181" y="232794"/>
                  <a:pt x="815757" y="214862"/>
                  <a:pt x="816336" y="203351"/>
                </a:cubicBezTo>
                <a:cubicBezTo>
                  <a:pt x="816914" y="191840"/>
                  <a:pt x="780009" y="175413"/>
                  <a:pt x="752128" y="164596"/>
                </a:cubicBezTo>
                <a:cubicBezTo>
                  <a:pt x="724247" y="153779"/>
                  <a:pt x="712158" y="158811"/>
                  <a:pt x="712158" y="176685"/>
                </a:cubicBezTo>
                <a:cubicBezTo>
                  <a:pt x="712158" y="194559"/>
                  <a:pt x="701283" y="171190"/>
                  <a:pt x="692780" y="189989"/>
                </a:cubicBezTo>
                <a:cubicBezTo>
                  <a:pt x="684277" y="208789"/>
                  <a:pt x="668543" y="196700"/>
                  <a:pt x="678840" y="190568"/>
                </a:cubicBezTo>
                <a:cubicBezTo>
                  <a:pt x="689946" y="182950"/>
                  <a:pt x="698241" y="171896"/>
                  <a:pt x="702440" y="159101"/>
                </a:cubicBezTo>
                <a:cubicBezTo>
                  <a:pt x="706085" y="147532"/>
                  <a:pt x="662470" y="138450"/>
                  <a:pt x="647373" y="144582"/>
                </a:cubicBezTo>
                <a:cubicBezTo>
                  <a:pt x="632275" y="150713"/>
                  <a:pt x="641588" y="172463"/>
                  <a:pt x="630019" y="165753"/>
                </a:cubicBezTo>
                <a:cubicBezTo>
                  <a:pt x="618450" y="159043"/>
                  <a:pt x="627590" y="142615"/>
                  <a:pt x="637250" y="143309"/>
                </a:cubicBezTo>
                <a:cubicBezTo>
                  <a:pt x="646910" y="144003"/>
                  <a:pt x="657900" y="123989"/>
                  <a:pt x="664552" y="109412"/>
                </a:cubicBezTo>
                <a:cubicBezTo>
                  <a:pt x="671204" y="94835"/>
                  <a:pt x="652983" y="92406"/>
                  <a:pt x="642109" y="80490"/>
                </a:cubicBezTo>
                <a:cubicBezTo>
                  <a:pt x="631234" y="68574"/>
                  <a:pt x="633548" y="33579"/>
                  <a:pt x="622557" y="28025"/>
                </a:cubicBezTo>
                <a:cubicBezTo>
                  <a:pt x="610642" y="39594"/>
                  <a:pt x="594734" y="58104"/>
                  <a:pt x="590222" y="71582"/>
                </a:cubicBezTo>
                <a:cubicBezTo>
                  <a:pt x="584438" y="88936"/>
                  <a:pt x="577092" y="78986"/>
                  <a:pt x="561300" y="83903"/>
                </a:cubicBezTo>
                <a:cubicBezTo>
                  <a:pt x="545509" y="88820"/>
                  <a:pt x="538162" y="82225"/>
                  <a:pt x="534229" y="75747"/>
                </a:cubicBezTo>
                <a:cubicBezTo>
                  <a:pt x="530296" y="69268"/>
                  <a:pt x="514562" y="75747"/>
                  <a:pt x="503919" y="74879"/>
                </a:cubicBezTo>
                <a:cubicBezTo>
                  <a:pt x="493275" y="74012"/>
                  <a:pt x="499812" y="88010"/>
                  <a:pt x="492350" y="92233"/>
                </a:cubicBezTo>
                <a:cubicBezTo>
                  <a:pt x="484888" y="96455"/>
                  <a:pt x="466088" y="84019"/>
                  <a:pt x="459552" y="91423"/>
                </a:cubicBezTo>
                <a:cubicBezTo>
                  <a:pt x="453016" y="98827"/>
                  <a:pt x="448909" y="91423"/>
                  <a:pt x="445612" y="98017"/>
                </a:cubicBezTo>
                <a:cubicBezTo>
                  <a:pt x="442314" y="104611"/>
                  <a:pt x="430861" y="100447"/>
                  <a:pt x="427564" y="104496"/>
                </a:cubicBezTo>
                <a:cubicBezTo>
                  <a:pt x="424267" y="108545"/>
                  <a:pt x="412814" y="111090"/>
                  <a:pt x="398006" y="94662"/>
                </a:cubicBezTo>
                <a:cubicBezTo>
                  <a:pt x="383198" y="78234"/>
                  <a:pt x="385743" y="51163"/>
                  <a:pt x="392221" y="46304"/>
                </a:cubicBezTo>
                <a:cubicBezTo>
                  <a:pt x="398110" y="40953"/>
                  <a:pt x="398550" y="31849"/>
                  <a:pt x="393199" y="25960"/>
                </a:cubicBezTo>
                <a:cubicBezTo>
                  <a:pt x="392198" y="24856"/>
                  <a:pt x="391024" y="23913"/>
                  <a:pt x="389734" y="23167"/>
                </a:cubicBezTo>
                <a:cubicBezTo>
                  <a:pt x="380710" y="19117"/>
                  <a:pt x="389734" y="1880"/>
                  <a:pt x="378165" y="29"/>
                </a:cubicBezTo>
                <a:cubicBezTo>
                  <a:pt x="366596" y="-1822"/>
                  <a:pt x="368390" y="13159"/>
                  <a:pt x="360812" y="15589"/>
                </a:cubicBezTo>
                <a:cubicBezTo>
                  <a:pt x="353234" y="18018"/>
                  <a:pt x="335360" y="30397"/>
                  <a:pt x="327205" y="28719"/>
                </a:cubicBezTo>
                <a:cubicBezTo>
                  <a:pt x="319048" y="27042"/>
                  <a:pt x="308289" y="30397"/>
                  <a:pt x="308289" y="39363"/>
                </a:cubicBezTo>
                <a:cubicBezTo>
                  <a:pt x="308289" y="48329"/>
                  <a:pt x="299324" y="45957"/>
                  <a:pt x="297646" y="38553"/>
                </a:cubicBezTo>
                <a:cubicBezTo>
                  <a:pt x="295968" y="31149"/>
                  <a:pt x="278789" y="35256"/>
                  <a:pt x="273872" y="30397"/>
                </a:cubicBezTo>
                <a:cubicBezTo>
                  <a:pt x="268955" y="25538"/>
                  <a:pt x="245991" y="27910"/>
                  <a:pt x="255825" y="33636"/>
                </a:cubicBezTo>
                <a:cubicBezTo>
                  <a:pt x="265658" y="39363"/>
                  <a:pt x="266468" y="45205"/>
                  <a:pt x="266468" y="54171"/>
                </a:cubicBezTo>
                <a:cubicBezTo>
                  <a:pt x="266468" y="63137"/>
                  <a:pt x="273872" y="60708"/>
                  <a:pt x="273872" y="71524"/>
                </a:cubicBezTo>
                <a:cubicBezTo>
                  <a:pt x="273872" y="82341"/>
                  <a:pt x="282086" y="74822"/>
                  <a:pt x="287813" y="74822"/>
                </a:cubicBezTo>
                <a:cubicBezTo>
                  <a:pt x="293539" y="74822"/>
                  <a:pt x="293597" y="84655"/>
                  <a:pt x="284515" y="86390"/>
                </a:cubicBezTo>
                <a:cubicBezTo>
                  <a:pt x="276695" y="87489"/>
                  <a:pt x="270436" y="93442"/>
                  <a:pt x="268955" y="101199"/>
                </a:cubicBezTo>
                <a:cubicBezTo>
                  <a:pt x="266468" y="109412"/>
                  <a:pt x="258312" y="103628"/>
                  <a:pt x="250908" y="110164"/>
                </a:cubicBezTo>
                <a:cubicBezTo>
                  <a:pt x="243504" y="116701"/>
                  <a:pt x="236967" y="123295"/>
                  <a:pt x="232051" y="120056"/>
                </a:cubicBezTo>
                <a:cubicBezTo>
                  <a:pt x="227134" y="116817"/>
                  <a:pt x="223027" y="119246"/>
                  <a:pt x="217300" y="122485"/>
                </a:cubicBezTo>
                <a:cubicBezTo>
                  <a:pt x="211573" y="125724"/>
                  <a:pt x="209086" y="122485"/>
                  <a:pt x="200930" y="115949"/>
                </a:cubicBezTo>
                <a:cubicBezTo>
                  <a:pt x="194741" y="111032"/>
                  <a:pt x="190865" y="99174"/>
                  <a:pt x="180049" y="88357"/>
                </a:cubicBezTo>
                <a:cubicBezTo>
                  <a:pt x="171632" y="92476"/>
                  <a:pt x="162574" y="95136"/>
                  <a:pt x="153267" y="96224"/>
                </a:cubicBezTo>
                <a:cubicBezTo>
                  <a:pt x="143722" y="96224"/>
                  <a:pt x="113643" y="94026"/>
                  <a:pt x="112024" y="99232"/>
                </a:cubicBezTo>
                <a:cubicBezTo>
                  <a:pt x="110635" y="105271"/>
                  <a:pt x="113580" y="111472"/>
                  <a:pt x="119138" y="114214"/>
                </a:cubicBezTo>
                <a:cubicBezTo>
                  <a:pt x="124055" y="115370"/>
                  <a:pt x="134409" y="118320"/>
                  <a:pt x="124576" y="125435"/>
                </a:cubicBezTo>
                <a:cubicBezTo>
                  <a:pt x="114742" y="132550"/>
                  <a:pt x="106008" y="123006"/>
                  <a:pt x="106008" y="140128"/>
                </a:cubicBezTo>
                <a:cubicBezTo>
                  <a:pt x="106008" y="157250"/>
                  <a:pt x="128104" y="168529"/>
                  <a:pt x="123361" y="184437"/>
                </a:cubicBezTo>
                <a:cubicBezTo>
                  <a:pt x="120255" y="196665"/>
                  <a:pt x="118323" y="209153"/>
                  <a:pt x="117577" y="221746"/>
                </a:cubicBezTo>
                <a:cubicBezTo>
                  <a:pt x="117577" y="229786"/>
                  <a:pt x="114395" y="257262"/>
                  <a:pt x="107107" y="258824"/>
                </a:cubicBezTo>
                <a:cubicBezTo>
                  <a:pt x="99819" y="260386"/>
                  <a:pt x="93398" y="252404"/>
                  <a:pt x="83969" y="260444"/>
                </a:cubicBezTo>
                <a:cubicBezTo>
                  <a:pt x="74540" y="268484"/>
                  <a:pt x="62162" y="263683"/>
                  <a:pt x="50882" y="272649"/>
                </a:cubicBezTo>
                <a:cubicBezTo>
                  <a:pt x="39603" y="281615"/>
                  <a:pt x="27745" y="278434"/>
                  <a:pt x="26645" y="288730"/>
                </a:cubicBezTo>
                <a:cubicBezTo>
                  <a:pt x="25546" y="299026"/>
                  <a:pt x="15077" y="304926"/>
                  <a:pt x="17738" y="314644"/>
                </a:cubicBezTo>
                <a:cubicBezTo>
                  <a:pt x="20398" y="324362"/>
                  <a:pt x="12879" y="321874"/>
                  <a:pt x="5648" y="329163"/>
                </a:cubicBezTo>
                <a:cubicBezTo>
                  <a:pt x="-1583" y="336451"/>
                  <a:pt x="6458" y="341252"/>
                  <a:pt x="1599" y="346921"/>
                </a:cubicBezTo>
                <a:cubicBezTo>
                  <a:pt x="-3260" y="352590"/>
                  <a:pt x="3219" y="361440"/>
                  <a:pt x="8887" y="370348"/>
                </a:cubicBezTo>
                <a:cubicBezTo>
                  <a:pt x="14556" y="379256"/>
                  <a:pt x="20977" y="385677"/>
                  <a:pt x="20456" y="393486"/>
                </a:cubicBezTo>
                <a:cubicBezTo>
                  <a:pt x="19935" y="401295"/>
                  <a:pt x="26241" y="405054"/>
                  <a:pt x="34165" y="403955"/>
                </a:cubicBezTo>
                <a:cubicBezTo>
                  <a:pt x="42090" y="402856"/>
                  <a:pt x="35785" y="419284"/>
                  <a:pt x="48742" y="419284"/>
                </a:cubicBezTo>
                <a:cubicBezTo>
                  <a:pt x="61699" y="419284"/>
                  <a:pt x="74540" y="422524"/>
                  <a:pt x="77664" y="415293"/>
                </a:cubicBezTo>
                <a:cubicBezTo>
                  <a:pt x="80788" y="408062"/>
                  <a:pt x="89811" y="402336"/>
                  <a:pt x="89811" y="412864"/>
                </a:cubicBezTo>
                <a:cubicBezTo>
                  <a:pt x="89811" y="423391"/>
                  <a:pt x="87382" y="451619"/>
                  <a:pt x="96232" y="448380"/>
                </a:cubicBezTo>
                <a:cubicBezTo>
                  <a:pt x="107946" y="445436"/>
                  <a:pt x="120237" y="445713"/>
                  <a:pt x="131806" y="449190"/>
                </a:cubicBezTo>
                <a:cubicBezTo>
                  <a:pt x="139991" y="451885"/>
                  <a:pt x="148992" y="449635"/>
                  <a:pt x="154944" y="443405"/>
                </a:cubicBezTo>
                <a:cubicBezTo>
                  <a:pt x="160728" y="437621"/>
                  <a:pt x="167034" y="437621"/>
                  <a:pt x="178371" y="431316"/>
                </a:cubicBezTo>
                <a:cubicBezTo>
                  <a:pt x="189709" y="425011"/>
                  <a:pt x="200178" y="416797"/>
                  <a:pt x="210648" y="416797"/>
                </a:cubicBezTo>
                <a:cubicBezTo>
                  <a:pt x="221118" y="416797"/>
                  <a:pt x="238934" y="410318"/>
                  <a:pt x="236504" y="418359"/>
                </a:cubicBezTo>
                <a:cubicBezTo>
                  <a:pt x="234075" y="426399"/>
                  <a:pt x="232456" y="456362"/>
                  <a:pt x="245413" y="471691"/>
                </a:cubicBezTo>
                <a:cubicBezTo>
                  <a:pt x="258370" y="487020"/>
                  <a:pt x="265600" y="492689"/>
                  <a:pt x="277690" y="491069"/>
                </a:cubicBezTo>
                <a:cubicBezTo>
                  <a:pt x="289779" y="489449"/>
                  <a:pt x="288217" y="495928"/>
                  <a:pt x="297068" y="495118"/>
                </a:cubicBezTo>
                <a:cubicBezTo>
                  <a:pt x="305918" y="494308"/>
                  <a:pt x="300307" y="504778"/>
                  <a:pt x="308636" y="504778"/>
                </a:cubicBezTo>
                <a:cubicBezTo>
                  <a:pt x="316966" y="504778"/>
                  <a:pt x="331253" y="506456"/>
                  <a:pt x="331253" y="515306"/>
                </a:cubicBezTo>
                <a:cubicBezTo>
                  <a:pt x="331253" y="524156"/>
                  <a:pt x="355490" y="516925"/>
                  <a:pt x="361159" y="521784"/>
                </a:cubicBezTo>
                <a:cubicBezTo>
                  <a:pt x="366828" y="526643"/>
                  <a:pt x="373248" y="530635"/>
                  <a:pt x="371629" y="540352"/>
                </a:cubicBezTo>
                <a:cubicBezTo>
                  <a:pt x="370009" y="550070"/>
                  <a:pt x="383718" y="557301"/>
                  <a:pt x="375678" y="561350"/>
                </a:cubicBezTo>
                <a:cubicBezTo>
                  <a:pt x="367638" y="565399"/>
                  <a:pt x="378107" y="573439"/>
                  <a:pt x="378917" y="583967"/>
                </a:cubicBezTo>
                <a:cubicBezTo>
                  <a:pt x="379727" y="594495"/>
                  <a:pt x="391007" y="598486"/>
                  <a:pt x="408765" y="597676"/>
                </a:cubicBezTo>
                <a:cubicBezTo>
                  <a:pt x="426523" y="596866"/>
                  <a:pt x="431382" y="598486"/>
                  <a:pt x="431382" y="611443"/>
                </a:cubicBezTo>
                <a:cubicBezTo>
                  <a:pt x="431382" y="624400"/>
                  <a:pt x="443529" y="625962"/>
                  <a:pt x="447521" y="638109"/>
                </a:cubicBezTo>
                <a:cubicBezTo>
                  <a:pt x="451512" y="650256"/>
                  <a:pt x="442719" y="663908"/>
                  <a:pt x="444339" y="673625"/>
                </a:cubicBezTo>
                <a:cubicBezTo>
                  <a:pt x="445149" y="680868"/>
                  <a:pt x="441962" y="687983"/>
                  <a:pt x="436010" y="692194"/>
                </a:cubicBezTo>
                <a:cubicBezTo>
                  <a:pt x="442199" y="700118"/>
                  <a:pt x="442777" y="703762"/>
                  <a:pt x="437166" y="706828"/>
                </a:cubicBezTo>
                <a:cubicBezTo>
                  <a:pt x="429820" y="710877"/>
                  <a:pt x="446190" y="722389"/>
                  <a:pt x="442083" y="740378"/>
                </a:cubicBezTo>
                <a:cubicBezTo>
                  <a:pt x="437976" y="758367"/>
                  <a:pt x="437166" y="761723"/>
                  <a:pt x="456081" y="762532"/>
                </a:cubicBezTo>
                <a:cubicBezTo>
                  <a:pt x="474997" y="763342"/>
                  <a:pt x="473435" y="769126"/>
                  <a:pt x="479797" y="765020"/>
                </a:cubicBezTo>
                <a:cubicBezTo>
                  <a:pt x="486160" y="760913"/>
                  <a:pt x="496225" y="778960"/>
                  <a:pt x="498655" y="788157"/>
                </a:cubicBezTo>
                <a:cubicBezTo>
                  <a:pt x="501084" y="797354"/>
                  <a:pt x="508893" y="818410"/>
                  <a:pt x="512190" y="818410"/>
                </a:cubicBezTo>
                <a:cubicBezTo>
                  <a:pt x="515488" y="818410"/>
                  <a:pt x="525321" y="808576"/>
                  <a:pt x="535328" y="813493"/>
                </a:cubicBezTo>
                <a:cubicBezTo>
                  <a:pt x="545335" y="818410"/>
                  <a:pt x="533072" y="848894"/>
                  <a:pt x="532783" y="862371"/>
                </a:cubicBezTo>
                <a:cubicBezTo>
                  <a:pt x="538781" y="861822"/>
                  <a:pt x="544832" y="862210"/>
                  <a:pt x="550715" y="863528"/>
                </a:cubicBezTo>
                <a:cubicBezTo>
                  <a:pt x="555632" y="866016"/>
                  <a:pt x="558119" y="899161"/>
                  <a:pt x="555689" y="905292"/>
                </a:cubicBezTo>
                <a:cubicBezTo>
                  <a:pt x="553260" y="911424"/>
                  <a:pt x="532956" y="916861"/>
                  <a:pt x="522487" y="923687"/>
                </a:cubicBezTo>
                <a:cubicBezTo>
                  <a:pt x="504086" y="937534"/>
                  <a:pt x="488116" y="954344"/>
                  <a:pt x="475228" y="973433"/>
                </a:cubicBezTo>
                <a:cubicBezTo>
                  <a:pt x="468073" y="983764"/>
                  <a:pt x="460021" y="993441"/>
                  <a:pt x="451165" y="1002355"/>
                </a:cubicBezTo>
                <a:cubicBezTo>
                  <a:pt x="453878" y="1002916"/>
                  <a:pt x="456689" y="1002754"/>
                  <a:pt x="459321" y="1001892"/>
                </a:cubicBezTo>
                <a:cubicBezTo>
                  <a:pt x="465105" y="999405"/>
                  <a:pt x="473435" y="999405"/>
                  <a:pt x="482458" y="1010453"/>
                </a:cubicBezTo>
                <a:cubicBezTo>
                  <a:pt x="491482" y="1021501"/>
                  <a:pt x="491019" y="1030120"/>
                  <a:pt x="494721" y="1029542"/>
                </a:cubicBezTo>
                <a:cubicBezTo>
                  <a:pt x="498423" y="1028963"/>
                  <a:pt x="502704" y="1014791"/>
                  <a:pt x="510050" y="1025203"/>
                </a:cubicBezTo>
                <a:cubicBezTo>
                  <a:pt x="517396" y="1035615"/>
                  <a:pt x="536427" y="1043656"/>
                  <a:pt x="540766" y="1048341"/>
                </a:cubicBezTo>
                <a:cubicBezTo>
                  <a:pt x="545104" y="1053026"/>
                  <a:pt x="559160" y="1056960"/>
                  <a:pt x="559160" y="1069801"/>
                </a:cubicBezTo>
                <a:cubicBezTo>
                  <a:pt x="559160" y="1079056"/>
                  <a:pt x="554822" y="1096467"/>
                  <a:pt x="561994" y="1111218"/>
                </a:cubicBezTo>
                <a:cubicBezTo>
                  <a:pt x="565621" y="1106365"/>
                  <a:pt x="569925" y="1102061"/>
                  <a:pt x="574778" y="109843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6" name="Forma libre: forma 175">
            <a:extLst>
              <a:ext uri="{FF2B5EF4-FFF2-40B4-BE49-F238E27FC236}">
                <a16:creationId xmlns:a16="http://schemas.microsoft.com/office/drawing/2014/main" id="{638C6F39-F84C-855B-BAF0-68848E82CC2F}"/>
              </a:ext>
            </a:extLst>
          </p:cNvPr>
          <p:cNvSpPr/>
          <p:nvPr/>
        </p:nvSpPr>
        <p:spPr>
          <a:xfrm>
            <a:off x="4575792" y="5340944"/>
            <a:ext cx="136093" cy="144352"/>
          </a:xfrm>
          <a:custGeom>
            <a:avLst/>
            <a:gdLst>
              <a:gd name="connsiteX0" fmla="*/ 132976 w 136093"/>
              <a:gd name="connsiteY0" fmla="*/ 69123 h 144352"/>
              <a:gd name="connsiteX1" fmla="*/ 114582 w 136093"/>
              <a:gd name="connsiteY1" fmla="*/ 47663 h 144352"/>
              <a:gd name="connsiteX2" fmla="*/ 83867 w 136093"/>
              <a:gd name="connsiteY2" fmla="*/ 24525 h 144352"/>
              <a:gd name="connsiteX3" fmla="*/ 68538 w 136093"/>
              <a:gd name="connsiteY3" fmla="*/ 28864 h 144352"/>
              <a:gd name="connsiteX4" fmla="*/ 56275 w 136093"/>
              <a:gd name="connsiteY4" fmla="*/ 9775 h 144352"/>
              <a:gd name="connsiteX5" fmla="*/ 33137 w 136093"/>
              <a:gd name="connsiteY5" fmla="*/ 1214 h 144352"/>
              <a:gd name="connsiteX6" fmla="*/ 24981 w 136093"/>
              <a:gd name="connsiteY6" fmla="*/ 1677 h 144352"/>
              <a:gd name="connsiteX7" fmla="*/ 16536 w 136093"/>
              <a:gd name="connsiteY7" fmla="*/ 17121 h 144352"/>
              <a:gd name="connsiteX8" fmla="*/ 7338 w 136093"/>
              <a:gd name="connsiteY8" fmla="*/ 63802 h 144352"/>
              <a:gd name="connsiteX9" fmla="*/ -65 w 136093"/>
              <a:gd name="connsiteY9" fmla="*/ 99376 h 144352"/>
              <a:gd name="connsiteX10" fmla="*/ 7917 w 136093"/>
              <a:gd name="connsiteY10" fmla="*/ 115977 h 144352"/>
              <a:gd name="connsiteX11" fmla="*/ 5892 w 136093"/>
              <a:gd name="connsiteY11" fmla="*/ 127546 h 144352"/>
              <a:gd name="connsiteX12" fmla="*/ 16710 w 136093"/>
              <a:gd name="connsiteY12" fmla="*/ 132752 h 144352"/>
              <a:gd name="connsiteX13" fmla="*/ 51821 w 136093"/>
              <a:gd name="connsiteY13" fmla="*/ 141892 h 144352"/>
              <a:gd name="connsiteX14" fmla="*/ 73050 w 136093"/>
              <a:gd name="connsiteY14" fmla="*/ 141892 h 144352"/>
              <a:gd name="connsiteX15" fmla="*/ 114235 w 136093"/>
              <a:gd name="connsiteY15" fmla="*/ 136107 h 144352"/>
              <a:gd name="connsiteX16" fmla="*/ 135984 w 136093"/>
              <a:gd name="connsiteY16" fmla="*/ 110540 h 144352"/>
              <a:gd name="connsiteX17" fmla="*/ 132976 w 136093"/>
              <a:gd name="connsiteY17" fmla="*/ 69123 h 14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093" h="144352">
                <a:moveTo>
                  <a:pt x="132976" y="69123"/>
                </a:moveTo>
                <a:cubicBezTo>
                  <a:pt x="132976" y="56282"/>
                  <a:pt x="118862" y="52580"/>
                  <a:pt x="114582" y="47663"/>
                </a:cubicBezTo>
                <a:cubicBezTo>
                  <a:pt x="110302" y="42746"/>
                  <a:pt x="91444" y="34764"/>
                  <a:pt x="83867" y="24525"/>
                </a:cubicBezTo>
                <a:cubicBezTo>
                  <a:pt x="76289" y="14287"/>
                  <a:pt x="72298" y="28169"/>
                  <a:pt x="68538" y="28864"/>
                </a:cubicBezTo>
                <a:cubicBezTo>
                  <a:pt x="64778" y="29558"/>
                  <a:pt x="65472" y="20824"/>
                  <a:pt x="56275" y="9775"/>
                </a:cubicBezTo>
                <a:cubicBezTo>
                  <a:pt x="47078" y="-1273"/>
                  <a:pt x="38459" y="-1273"/>
                  <a:pt x="33137" y="1214"/>
                </a:cubicBezTo>
                <a:cubicBezTo>
                  <a:pt x="30505" y="2076"/>
                  <a:pt x="27694" y="2238"/>
                  <a:pt x="24981" y="1677"/>
                </a:cubicBezTo>
                <a:cubicBezTo>
                  <a:pt x="20527" y="5744"/>
                  <a:pt x="17554" y="11175"/>
                  <a:pt x="16536" y="17121"/>
                </a:cubicBezTo>
                <a:cubicBezTo>
                  <a:pt x="16536" y="28690"/>
                  <a:pt x="7917" y="41647"/>
                  <a:pt x="7338" y="63802"/>
                </a:cubicBezTo>
                <a:cubicBezTo>
                  <a:pt x="6760" y="85956"/>
                  <a:pt x="571" y="82196"/>
                  <a:pt x="-65" y="99376"/>
                </a:cubicBezTo>
                <a:cubicBezTo>
                  <a:pt x="-702" y="116556"/>
                  <a:pt x="5719" y="113490"/>
                  <a:pt x="7917" y="115977"/>
                </a:cubicBezTo>
                <a:cubicBezTo>
                  <a:pt x="9305" y="117308"/>
                  <a:pt x="7917" y="122745"/>
                  <a:pt x="5892" y="127546"/>
                </a:cubicBezTo>
                <a:cubicBezTo>
                  <a:pt x="8495" y="129802"/>
                  <a:pt x="11041" y="133331"/>
                  <a:pt x="16710" y="132752"/>
                </a:cubicBezTo>
                <a:cubicBezTo>
                  <a:pt x="27584" y="131537"/>
                  <a:pt x="38517" y="135818"/>
                  <a:pt x="51821" y="141892"/>
                </a:cubicBezTo>
                <a:cubicBezTo>
                  <a:pt x="65125" y="147965"/>
                  <a:pt x="60324" y="140041"/>
                  <a:pt x="73050" y="141892"/>
                </a:cubicBezTo>
                <a:cubicBezTo>
                  <a:pt x="85776" y="143743"/>
                  <a:pt x="100294" y="144900"/>
                  <a:pt x="114235" y="136107"/>
                </a:cubicBezTo>
                <a:cubicBezTo>
                  <a:pt x="123779" y="130323"/>
                  <a:pt x="128580" y="120200"/>
                  <a:pt x="135984" y="110540"/>
                </a:cubicBezTo>
                <a:cubicBezTo>
                  <a:pt x="128638" y="95558"/>
                  <a:pt x="132976" y="78205"/>
                  <a:pt x="132976" y="6912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7" name="Forma libre: forma 176">
            <a:extLst>
              <a:ext uri="{FF2B5EF4-FFF2-40B4-BE49-F238E27FC236}">
                <a16:creationId xmlns:a16="http://schemas.microsoft.com/office/drawing/2014/main" id="{C5312F8A-2CD0-8C6B-5AD1-73BCFDA3E5E7}"/>
              </a:ext>
            </a:extLst>
          </p:cNvPr>
          <p:cNvSpPr/>
          <p:nvPr/>
        </p:nvSpPr>
        <p:spPr>
          <a:xfrm>
            <a:off x="4156526" y="5096821"/>
            <a:ext cx="549024" cy="1083384"/>
          </a:xfrm>
          <a:custGeom>
            <a:avLst/>
            <a:gdLst>
              <a:gd name="connsiteX0" fmla="*/ 208011 w 549024"/>
              <a:gd name="connsiteY0" fmla="*/ 1063544 h 1083384"/>
              <a:gd name="connsiteX1" fmla="*/ 154100 w 549024"/>
              <a:gd name="connsiteY1" fmla="*/ 1027797 h 1083384"/>
              <a:gd name="connsiteX2" fmla="*/ 140796 w 549024"/>
              <a:gd name="connsiteY2" fmla="*/ 1015071 h 1083384"/>
              <a:gd name="connsiteX3" fmla="*/ 143225 w 549024"/>
              <a:gd name="connsiteY3" fmla="*/ 1003502 h 1083384"/>
              <a:gd name="connsiteX4" fmla="*/ 133623 w 549024"/>
              <a:gd name="connsiteY4" fmla="*/ 988752 h 1083384"/>
              <a:gd name="connsiteX5" fmla="*/ 133623 w 549024"/>
              <a:gd name="connsiteY5" fmla="*/ 1078699 h 1083384"/>
              <a:gd name="connsiteX6" fmla="*/ 179899 w 549024"/>
              <a:gd name="connsiteY6" fmla="*/ 1081129 h 1083384"/>
              <a:gd name="connsiteX7" fmla="*/ 192335 w 549024"/>
              <a:gd name="connsiteY7" fmla="*/ 1081129 h 1083384"/>
              <a:gd name="connsiteX8" fmla="*/ 226232 w 549024"/>
              <a:gd name="connsiteY8" fmla="*/ 1072047 h 1083384"/>
              <a:gd name="connsiteX9" fmla="*/ 208011 w 549024"/>
              <a:gd name="connsiteY9" fmla="*/ 1063544 h 1083384"/>
              <a:gd name="connsiteX10" fmla="*/ 543508 w 549024"/>
              <a:gd name="connsiteY10" fmla="*/ 107031 h 1083384"/>
              <a:gd name="connsiteX11" fmla="*/ 525576 w 549024"/>
              <a:gd name="connsiteY11" fmla="*/ 105874 h 1083384"/>
              <a:gd name="connsiteX12" fmla="*/ 525576 w 549024"/>
              <a:gd name="connsiteY12" fmla="*/ 108708 h 1083384"/>
              <a:gd name="connsiteX13" fmla="*/ 511635 w 549024"/>
              <a:gd name="connsiteY13" fmla="*/ 148852 h 1083384"/>
              <a:gd name="connsiteX14" fmla="*/ 490291 w 549024"/>
              <a:gd name="connsiteY14" fmla="*/ 159553 h 1083384"/>
              <a:gd name="connsiteX15" fmla="*/ 466517 w 549024"/>
              <a:gd name="connsiteY15" fmla="*/ 164413 h 1083384"/>
              <a:gd name="connsiteX16" fmla="*/ 440256 w 549024"/>
              <a:gd name="connsiteY16" fmla="*/ 161983 h 1083384"/>
              <a:gd name="connsiteX17" fmla="*/ 414862 w 549024"/>
              <a:gd name="connsiteY17" fmla="*/ 156199 h 1083384"/>
              <a:gd name="connsiteX18" fmla="*/ 423886 w 549024"/>
              <a:gd name="connsiteY18" fmla="*/ 138093 h 1083384"/>
              <a:gd name="connsiteX19" fmla="*/ 445172 w 549024"/>
              <a:gd name="connsiteY19" fmla="*/ 101247 h 1083384"/>
              <a:gd name="connsiteX20" fmla="*/ 394385 w 549024"/>
              <a:gd name="connsiteY20" fmla="*/ 75795 h 1083384"/>
              <a:gd name="connsiteX21" fmla="*/ 364017 w 549024"/>
              <a:gd name="connsiteY21" fmla="*/ 60235 h 1083384"/>
              <a:gd name="connsiteX22" fmla="*/ 333649 w 549024"/>
              <a:gd name="connsiteY22" fmla="*/ 41378 h 1083384"/>
              <a:gd name="connsiteX23" fmla="*/ 295760 w 549024"/>
              <a:gd name="connsiteY23" fmla="*/ 2564 h 1083384"/>
              <a:gd name="connsiteX24" fmla="*/ 268747 w 549024"/>
              <a:gd name="connsiteY24" fmla="*/ 2564 h 1083384"/>
              <a:gd name="connsiteX25" fmla="*/ 252609 w 549024"/>
              <a:gd name="connsiteY25" fmla="*/ 18703 h 1083384"/>
              <a:gd name="connsiteX26" fmla="*/ 221142 w 549024"/>
              <a:gd name="connsiteY26" fmla="*/ 5746 h 1083384"/>
              <a:gd name="connsiteX27" fmla="*/ 196905 w 549024"/>
              <a:gd name="connsiteY27" fmla="*/ 6613 h 1083384"/>
              <a:gd name="connsiteX28" fmla="*/ 176891 w 549024"/>
              <a:gd name="connsiteY28" fmla="*/ 23099 h 1083384"/>
              <a:gd name="connsiteX29" fmla="*/ 171106 w 549024"/>
              <a:gd name="connsiteY29" fmla="*/ 55087 h 1083384"/>
              <a:gd name="connsiteX30" fmla="*/ 139986 w 549024"/>
              <a:gd name="connsiteY30" fmla="*/ 79671 h 1083384"/>
              <a:gd name="connsiteX31" fmla="*/ 138308 w 549024"/>
              <a:gd name="connsiteY31" fmla="*/ 99396 h 1083384"/>
              <a:gd name="connsiteX32" fmla="*/ 140796 w 549024"/>
              <a:gd name="connsiteY32" fmla="*/ 128838 h 1083384"/>
              <a:gd name="connsiteX33" fmla="*/ 141606 w 549024"/>
              <a:gd name="connsiteY33" fmla="*/ 146943 h 1083384"/>
              <a:gd name="connsiteX34" fmla="*/ 125236 w 549024"/>
              <a:gd name="connsiteY34" fmla="*/ 160016 h 1083384"/>
              <a:gd name="connsiteX35" fmla="*/ 117022 w 549024"/>
              <a:gd name="connsiteY35" fmla="*/ 183154 h 1083384"/>
              <a:gd name="connsiteX36" fmla="*/ 104701 w 549024"/>
              <a:gd name="connsiteY36" fmla="*/ 207738 h 1083384"/>
              <a:gd name="connsiteX37" fmla="*/ 97355 w 549024"/>
              <a:gd name="connsiteY37" fmla="*/ 222546 h 1083384"/>
              <a:gd name="connsiteX38" fmla="*/ 97355 w 549024"/>
              <a:gd name="connsiteY38" fmla="*/ 250427 h 1083384"/>
              <a:gd name="connsiteX39" fmla="*/ 85786 w 549024"/>
              <a:gd name="connsiteY39" fmla="*/ 271714 h 1083384"/>
              <a:gd name="connsiteX40" fmla="*/ 85786 w 549024"/>
              <a:gd name="connsiteY40" fmla="*/ 301272 h 1083384"/>
              <a:gd name="connsiteX41" fmla="*/ 94809 w 549024"/>
              <a:gd name="connsiteY41" fmla="*/ 328343 h 1083384"/>
              <a:gd name="connsiteX42" fmla="*/ 101346 w 549024"/>
              <a:gd name="connsiteY42" fmla="*/ 352059 h 1083384"/>
              <a:gd name="connsiteX43" fmla="*/ 94000 w 549024"/>
              <a:gd name="connsiteY43" fmla="*/ 375197 h 1083384"/>
              <a:gd name="connsiteX44" fmla="*/ 85786 w 549024"/>
              <a:gd name="connsiteY44" fmla="*/ 394864 h 1083384"/>
              <a:gd name="connsiteX45" fmla="*/ 85786 w 549024"/>
              <a:gd name="connsiteY45" fmla="*/ 429571 h 1083384"/>
              <a:gd name="connsiteX46" fmla="*/ 65309 w 549024"/>
              <a:gd name="connsiteY46" fmla="*/ 456642 h 1083384"/>
              <a:gd name="connsiteX47" fmla="*/ 66119 w 549024"/>
              <a:gd name="connsiteY47" fmla="*/ 492737 h 1083384"/>
              <a:gd name="connsiteX48" fmla="*/ 72655 w 549024"/>
              <a:gd name="connsiteY48" fmla="*/ 508297 h 1083384"/>
              <a:gd name="connsiteX49" fmla="*/ 57095 w 549024"/>
              <a:gd name="connsiteY49" fmla="*/ 518998 h 1083384"/>
              <a:gd name="connsiteX50" fmla="*/ 55418 w 549024"/>
              <a:gd name="connsiteY50" fmla="*/ 539475 h 1083384"/>
              <a:gd name="connsiteX51" fmla="*/ 48072 w 549024"/>
              <a:gd name="connsiteY51" fmla="*/ 556828 h 1083384"/>
              <a:gd name="connsiteX52" fmla="*/ 40667 w 549024"/>
              <a:gd name="connsiteY52" fmla="*/ 575685 h 1083384"/>
              <a:gd name="connsiteX53" fmla="*/ 46452 w 549024"/>
              <a:gd name="connsiteY53" fmla="*/ 594543 h 1083384"/>
              <a:gd name="connsiteX54" fmla="*/ 44774 w 549024"/>
              <a:gd name="connsiteY54" fmla="*/ 624043 h 1083384"/>
              <a:gd name="connsiteX55" fmla="*/ 40667 w 549024"/>
              <a:gd name="connsiteY55" fmla="*/ 652965 h 1083384"/>
              <a:gd name="connsiteX56" fmla="*/ 43155 w 549024"/>
              <a:gd name="connsiteY56" fmla="*/ 667716 h 1083384"/>
              <a:gd name="connsiteX57" fmla="*/ 47262 w 549024"/>
              <a:gd name="connsiteY57" fmla="*/ 685069 h 1083384"/>
              <a:gd name="connsiteX58" fmla="*/ 55418 w 549024"/>
              <a:gd name="connsiteY58" fmla="*/ 698951 h 1083384"/>
              <a:gd name="connsiteX59" fmla="*/ 59525 w 549024"/>
              <a:gd name="connsiteY59" fmla="*/ 711272 h 1083384"/>
              <a:gd name="connsiteX60" fmla="*/ 48881 w 549024"/>
              <a:gd name="connsiteY60" fmla="*/ 717057 h 1083384"/>
              <a:gd name="connsiteX61" fmla="*/ 52988 w 549024"/>
              <a:gd name="connsiteY61" fmla="*/ 735104 h 1083384"/>
              <a:gd name="connsiteX62" fmla="*/ 48881 w 549024"/>
              <a:gd name="connsiteY62" fmla="*/ 756449 h 1083384"/>
              <a:gd name="connsiteX63" fmla="*/ 48072 w 549024"/>
              <a:gd name="connsiteY63" fmla="*/ 777735 h 1083384"/>
              <a:gd name="connsiteX64" fmla="*/ 39857 w 549024"/>
              <a:gd name="connsiteY64" fmla="*/ 796593 h 1083384"/>
              <a:gd name="connsiteX65" fmla="*/ 28289 w 549024"/>
              <a:gd name="connsiteY65" fmla="*/ 814640 h 1083384"/>
              <a:gd name="connsiteX66" fmla="*/ 29098 w 549024"/>
              <a:gd name="connsiteY66" fmla="*/ 835985 h 1083384"/>
              <a:gd name="connsiteX67" fmla="*/ 17530 w 549024"/>
              <a:gd name="connsiteY67" fmla="*/ 854842 h 1083384"/>
              <a:gd name="connsiteX68" fmla="*/ 2779 w 549024"/>
              <a:gd name="connsiteY68" fmla="*/ 872831 h 1083384"/>
              <a:gd name="connsiteX69" fmla="*/ 3589 w 549024"/>
              <a:gd name="connsiteY69" fmla="*/ 898283 h 1083384"/>
              <a:gd name="connsiteX70" fmla="*/ 8506 w 549024"/>
              <a:gd name="connsiteY70" fmla="*/ 916330 h 1083384"/>
              <a:gd name="connsiteX71" fmla="*/ 33958 w 549024"/>
              <a:gd name="connsiteY71" fmla="*/ 924544 h 1083384"/>
              <a:gd name="connsiteX72" fmla="*/ 35577 w 549024"/>
              <a:gd name="connsiteY72" fmla="*/ 955722 h 1083384"/>
              <a:gd name="connsiteX73" fmla="*/ 48708 w 549024"/>
              <a:gd name="connsiteY73" fmla="*/ 967291 h 1083384"/>
              <a:gd name="connsiteX74" fmla="*/ 97123 w 549024"/>
              <a:gd name="connsiteY74" fmla="*/ 966481 h 1083384"/>
              <a:gd name="connsiteX75" fmla="*/ 111816 w 549024"/>
              <a:gd name="connsiteY75" fmla="*/ 974985 h 1083384"/>
              <a:gd name="connsiteX76" fmla="*/ 137730 w 549024"/>
              <a:gd name="connsiteY76" fmla="*/ 978397 h 1083384"/>
              <a:gd name="connsiteX77" fmla="*/ 123211 w 549024"/>
              <a:gd name="connsiteY77" fmla="*/ 953004 h 1083384"/>
              <a:gd name="connsiteX78" fmla="*/ 120145 w 549024"/>
              <a:gd name="connsiteY78" fmla="*/ 932353 h 1083384"/>
              <a:gd name="connsiteX79" fmla="*/ 125583 w 549024"/>
              <a:gd name="connsiteY79" fmla="*/ 906902 h 1083384"/>
              <a:gd name="connsiteX80" fmla="*/ 140160 w 549024"/>
              <a:gd name="connsiteY80" fmla="*/ 896027 h 1083384"/>
              <a:gd name="connsiteX81" fmla="*/ 157108 w 549024"/>
              <a:gd name="connsiteY81" fmla="*/ 876649 h 1083384"/>
              <a:gd name="connsiteX82" fmla="*/ 176486 w 549024"/>
              <a:gd name="connsiteY82" fmla="*/ 846339 h 1083384"/>
              <a:gd name="connsiteX83" fmla="*/ 208589 w 549024"/>
              <a:gd name="connsiteY83" fmla="*/ 819673 h 1083384"/>
              <a:gd name="connsiteX84" fmla="*/ 213448 w 549024"/>
              <a:gd name="connsiteY84" fmla="*/ 793064 h 1083384"/>
              <a:gd name="connsiteX85" fmla="*/ 186203 w 549024"/>
              <a:gd name="connsiteY85" fmla="*/ 785776 h 1083384"/>
              <a:gd name="connsiteX86" fmla="*/ 167404 w 549024"/>
              <a:gd name="connsiteY86" fmla="*/ 744012 h 1083384"/>
              <a:gd name="connsiteX87" fmla="*/ 212233 w 549024"/>
              <a:gd name="connsiteY87" fmla="*/ 718561 h 1083384"/>
              <a:gd name="connsiteX88" fmla="*/ 218886 w 549024"/>
              <a:gd name="connsiteY88" fmla="*/ 703984 h 1083384"/>
              <a:gd name="connsiteX89" fmla="*/ 226174 w 549024"/>
              <a:gd name="connsiteY89" fmla="*/ 685242 h 1083384"/>
              <a:gd name="connsiteX90" fmla="*/ 237049 w 549024"/>
              <a:gd name="connsiteY90" fmla="*/ 657304 h 1083384"/>
              <a:gd name="connsiteX91" fmla="*/ 244337 w 549024"/>
              <a:gd name="connsiteY91" fmla="*/ 648280 h 1083384"/>
              <a:gd name="connsiteX92" fmla="*/ 245552 w 549024"/>
              <a:gd name="connsiteY92" fmla="*/ 637348 h 1083384"/>
              <a:gd name="connsiteX93" fmla="*/ 260707 w 549024"/>
              <a:gd name="connsiteY93" fmla="*/ 646429 h 1083384"/>
              <a:gd name="connsiteX94" fmla="*/ 271582 w 549024"/>
              <a:gd name="connsiteY94" fmla="*/ 625258 h 1083384"/>
              <a:gd name="connsiteX95" fmla="*/ 252840 w 549024"/>
              <a:gd name="connsiteY95" fmla="*/ 630117 h 1083384"/>
              <a:gd name="connsiteX96" fmla="*/ 237685 w 549024"/>
              <a:gd name="connsiteY96" fmla="*/ 622829 h 1083384"/>
              <a:gd name="connsiteX97" fmla="*/ 233462 w 549024"/>
              <a:gd name="connsiteY97" fmla="*/ 602236 h 1083384"/>
              <a:gd name="connsiteX98" fmla="*/ 232248 w 549024"/>
              <a:gd name="connsiteY98" fmla="*/ 576784 h 1083384"/>
              <a:gd name="connsiteX99" fmla="*/ 275862 w 549024"/>
              <a:gd name="connsiteY99" fmla="*/ 588353 h 1083384"/>
              <a:gd name="connsiteX100" fmla="*/ 307329 w 549024"/>
              <a:gd name="connsiteY100" fmla="*/ 572620 h 1083384"/>
              <a:gd name="connsiteX101" fmla="*/ 309759 w 549024"/>
              <a:gd name="connsiteY101" fmla="*/ 546590 h 1083384"/>
              <a:gd name="connsiteX102" fmla="*/ 308544 w 549024"/>
              <a:gd name="connsiteY102" fmla="*/ 527154 h 1083384"/>
              <a:gd name="connsiteX103" fmla="*/ 318262 w 549024"/>
              <a:gd name="connsiteY103" fmla="*/ 516279 h 1083384"/>
              <a:gd name="connsiteX104" fmla="*/ 388485 w 549024"/>
              <a:gd name="connsiteY104" fmla="*/ 512057 h 1083384"/>
              <a:gd name="connsiteX105" fmla="*/ 440545 w 549024"/>
              <a:gd name="connsiteY105" fmla="*/ 486605 h 1083384"/>
              <a:gd name="connsiteX106" fmla="*/ 465360 w 549024"/>
              <a:gd name="connsiteY106" fmla="*/ 450857 h 1083384"/>
              <a:gd name="connsiteX107" fmla="*/ 453791 w 549024"/>
              <a:gd name="connsiteY107" fmla="*/ 432694 h 1083384"/>
              <a:gd name="connsiteX108" fmla="*/ 448932 w 549024"/>
              <a:gd name="connsiteY108" fmla="*/ 409036 h 1083384"/>
              <a:gd name="connsiteX109" fmla="*/ 433777 w 549024"/>
              <a:gd name="connsiteY109" fmla="*/ 392666 h 1083384"/>
              <a:gd name="connsiteX110" fmla="*/ 414399 w 549024"/>
              <a:gd name="connsiteY110" fmla="*/ 373924 h 1083384"/>
              <a:gd name="connsiteX111" fmla="*/ 424175 w 549024"/>
              <a:gd name="connsiteY111" fmla="*/ 372305 h 1083384"/>
              <a:gd name="connsiteX112" fmla="*/ 426200 w 549024"/>
              <a:gd name="connsiteY112" fmla="*/ 360736 h 1083384"/>
              <a:gd name="connsiteX113" fmla="*/ 418217 w 549024"/>
              <a:gd name="connsiteY113" fmla="*/ 344135 h 1083384"/>
              <a:gd name="connsiteX114" fmla="*/ 425621 w 549024"/>
              <a:gd name="connsiteY114" fmla="*/ 308560 h 1083384"/>
              <a:gd name="connsiteX115" fmla="*/ 434818 w 549024"/>
              <a:gd name="connsiteY115" fmla="*/ 261880 h 1083384"/>
              <a:gd name="connsiteX116" fmla="*/ 467327 w 549024"/>
              <a:gd name="connsiteY116" fmla="*/ 217745 h 1083384"/>
              <a:gd name="connsiteX117" fmla="*/ 514585 w 549024"/>
              <a:gd name="connsiteY117" fmla="*/ 167999 h 1083384"/>
              <a:gd name="connsiteX118" fmla="*/ 547788 w 549024"/>
              <a:gd name="connsiteY118" fmla="*/ 149604 h 1083384"/>
              <a:gd name="connsiteX119" fmla="*/ 543623 w 549024"/>
              <a:gd name="connsiteY119" fmla="*/ 107031 h 108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49024" h="1083384">
                <a:moveTo>
                  <a:pt x="208011" y="1063544"/>
                </a:moveTo>
                <a:cubicBezTo>
                  <a:pt x="192856" y="1062966"/>
                  <a:pt x="163181" y="1035142"/>
                  <a:pt x="154100" y="1027797"/>
                </a:cubicBezTo>
                <a:cubicBezTo>
                  <a:pt x="145018" y="1020450"/>
                  <a:pt x="151670" y="1013278"/>
                  <a:pt x="140796" y="1015071"/>
                </a:cubicBezTo>
                <a:cubicBezTo>
                  <a:pt x="129921" y="1016864"/>
                  <a:pt x="137152" y="1006625"/>
                  <a:pt x="143225" y="1003502"/>
                </a:cubicBezTo>
                <a:cubicBezTo>
                  <a:pt x="149299" y="1000378"/>
                  <a:pt x="141027" y="990429"/>
                  <a:pt x="133623" y="988752"/>
                </a:cubicBezTo>
                <a:cubicBezTo>
                  <a:pt x="132813" y="1005006"/>
                  <a:pt x="129458" y="1078005"/>
                  <a:pt x="133623" y="1078699"/>
                </a:cubicBezTo>
                <a:cubicBezTo>
                  <a:pt x="137788" y="1079394"/>
                  <a:pt x="170181" y="1074939"/>
                  <a:pt x="179899" y="1081129"/>
                </a:cubicBezTo>
                <a:cubicBezTo>
                  <a:pt x="183543" y="1082344"/>
                  <a:pt x="188517" y="1085236"/>
                  <a:pt x="192335" y="1081129"/>
                </a:cubicBezTo>
                <a:cubicBezTo>
                  <a:pt x="198119" y="1074477"/>
                  <a:pt x="216572" y="1078121"/>
                  <a:pt x="226232" y="1072047"/>
                </a:cubicBezTo>
                <a:cubicBezTo>
                  <a:pt x="235892" y="1065974"/>
                  <a:pt x="223166" y="1064180"/>
                  <a:pt x="208011" y="1063544"/>
                </a:cubicBezTo>
                <a:close/>
                <a:moveTo>
                  <a:pt x="543508" y="107031"/>
                </a:moveTo>
                <a:cubicBezTo>
                  <a:pt x="537625" y="105712"/>
                  <a:pt x="531574" y="105324"/>
                  <a:pt x="525576" y="105874"/>
                </a:cubicBezTo>
                <a:cubicBezTo>
                  <a:pt x="525484" y="106817"/>
                  <a:pt x="525484" y="107765"/>
                  <a:pt x="525576" y="108708"/>
                </a:cubicBezTo>
                <a:cubicBezTo>
                  <a:pt x="527196" y="120277"/>
                  <a:pt x="519792" y="149662"/>
                  <a:pt x="511635" y="148852"/>
                </a:cubicBezTo>
                <a:cubicBezTo>
                  <a:pt x="503479" y="148043"/>
                  <a:pt x="496885" y="161173"/>
                  <a:pt x="490291" y="159553"/>
                </a:cubicBezTo>
                <a:cubicBezTo>
                  <a:pt x="483697" y="157934"/>
                  <a:pt x="474731" y="169387"/>
                  <a:pt x="466517" y="164413"/>
                </a:cubicBezTo>
                <a:cubicBezTo>
                  <a:pt x="458303" y="159438"/>
                  <a:pt x="446850" y="166032"/>
                  <a:pt x="440256" y="161983"/>
                </a:cubicBezTo>
                <a:cubicBezTo>
                  <a:pt x="433661" y="157934"/>
                  <a:pt x="414862" y="161173"/>
                  <a:pt x="414862" y="156199"/>
                </a:cubicBezTo>
                <a:cubicBezTo>
                  <a:pt x="414862" y="151224"/>
                  <a:pt x="423886" y="152902"/>
                  <a:pt x="423886" y="138093"/>
                </a:cubicBezTo>
                <a:cubicBezTo>
                  <a:pt x="423886" y="123285"/>
                  <a:pt x="448469" y="106915"/>
                  <a:pt x="445172" y="101247"/>
                </a:cubicBezTo>
                <a:cubicBezTo>
                  <a:pt x="441875" y="95578"/>
                  <a:pt x="400112" y="83199"/>
                  <a:pt x="394385" y="75795"/>
                </a:cubicBezTo>
                <a:cubicBezTo>
                  <a:pt x="387051" y="66390"/>
                  <a:pt x="375939" y="60698"/>
                  <a:pt x="364017" y="60235"/>
                </a:cubicBezTo>
                <a:cubicBezTo>
                  <a:pt x="347589" y="58615"/>
                  <a:pt x="348457" y="50401"/>
                  <a:pt x="333649" y="41378"/>
                </a:cubicBezTo>
                <a:cubicBezTo>
                  <a:pt x="318736" y="30885"/>
                  <a:pt x="305889" y="17725"/>
                  <a:pt x="295760" y="2564"/>
                </a:cubicBezTo>
                <a:cubicBezTo>
                  <a:pt x="285754" y="1523"/>
                  <a:pt x="271582" y="-560"/>
                  <a:pt x="268747" y="2564"/>
                </a:cubicBezTo>
                <a:cubicBezTo>
                  <a:pt x="264756" y="7423"/>
                  <a:pt x="258277" y="30040"/>
                  <a:pt x="252609" y="18703"/>
                </a:cubicBezTo>
                <a:cubicBezTo>
                  <a:pt x="246940" y="7365"/>
                  <a:pt x="233231" y="7423"/>
                  <a:pt x="221142" y="5746"/>
                </a:cubicBezTo>
                <a:cubicBezTo>
                  <a:pt x="209052" y="4068"/>
                  <a:pt x="209573" y="-7096"/>
                  <a:pt x="196905" y="6613"/>
                </a:cubicBezTo>
                <a:cubicBezTo>
                  <a:pt x="190895" y="12866"/>
                  <a:pt x="184179" y="18396"/>
                  <a:pt x="176891" y="23099"/>
                </a:cubicBezTo>
                <a:cubicBezTo>
                  <a:pt x="176572" y="33991"/>
                  <a:pt x="174623" y="44773"/>
                  <a:pt x="171106" y="55087"/>
                </a:cubicBezTo>
                <a:cubicBezTo>
                  <a:pt x="167867" y="60871"/>
                  <a:pt x="140796" y="73134"/>
                  <a:pt x="139986" y="79671"/>
                </a:cubicBezTo>
                <a:cubicBezTo>
                  <a:pt x="139176" y="86207"/>
                  <a:pt x="143225" y="95231"/>
                  <a:pt x="138308" y="99396"/>
                </a:cubicBezTo>
                <a:cubicBezTo>
                  <a:pt x="133392" y="103560"/>
                  <a:pt x="149877" y="123922"/>
                  <a:pt x="140796" y="128838"/>
                </a:cubicBezTo>
                <a:cubicBezTo>
                  <a:pt x="131714" y="133755"/>
                  <a:pt x="147332" y="142027"/>
                  <a:pt x="141606" y="146943"/>
                </a:cubicBezTo>
                <a:cubicBezTo>
                  <a:pt x="135879" y="151860"/>
                  <a:pt x="125236" y="154290"/>
                  <a:pt x="125236" y="160016"/>
                </a:cubicBezTo>
                <a:cubicBezTo>
                  <a:pt x="125236" y="165743"/>
                  <a:pt x="124368" y="179684"/>
                  <a:pt x="117022" y="183154"/>
                </a:cubicBezTo>
                <a:cubicBezTo>
                  <a:pt x="109675" y="186625"/>
                  <a:pt x="104701" y="198772"/>
                  <a:pt x="104701" y="207738"/>
                </a:cubicBezTo>
                <a:cubicBezTo>
                  <a:pt x="104701" y="216704"/>
                  <a:pt x="93132" y="211035"/>
                  <a:pt x="97355" y="222546"/>
                </a:cubicBezTo>
                <a:cubicBezTo>
                  <a:pt x="101577" y="234057"/>
                  <a:pt x="106320" y="247940"/>
                  <a:pt x="97355" y="250427"/>
                </a:cubicBezTo>
                <a:cubicBezTo>
                  <a:pt x="88389" y="252914"/>
                  <a:pt x="90760" y="271714"/>
                  <a:pt x="85786" y="271714"/>
                </a:cubicBezTo>
                <a:cubicBezTo>
                  <a:pt x="80811" y="271714"/>
                  <a:pt x="78382" y="291438"/>
                  <a:pt x="85786" y="301272"/>
                </a:cubicBezTo>
                <a:cubicBezTo>
                  <a:pt x="91929" y="308931"/>
                  <a:pt x="95128" y="318533"/>
                  <a:pt x="94809" y="328343"/>
                </a:cubicBezTo>
                <a:cubicBezTo>
                  <a:pt x="94809" y="337309"/>
                  <a:pt x="104643" y="342284"/>
                  <a:pt x="101346" y="352059"/>
                </a:cubicBezTo>
                <a:cubicBezTo>
                  <a:pt x="98049" y="361835"/>
                  <a:pt x="99726" y="370974"/>
                  <a:pt x="94000" y="375197"/>
                </a:cubicBezTo>
                <a:cubicBezTo>
                  <a:pt x="88273" y="379420"/>
                  <a:pt x="93190" y="391625"/>
                  <a:pt x="85786" y="394864"/>
                </a:cubicBezTo>
                <a:cubicBezTo>
                  <a:pt x="78382" y="398103"/>
                  <a:pt x="91570" y="424423"/>
                  <a:pt x="85786" y="429571"/>
                </a:cubicBezTo>
                <a:cubicBezTo>
                  <a:pt x="80001" y="434719"/>
                  <a:pt x="65309" y="438594"/>
                  <a:pt x="65309" y="456642"/>
                </a:cubicBezTo>
                <a:cubicBezTo>
                  <a:pt x="65309" y="474689"/>
                  <a:pt x="68085" y="484928"/>
                  <a:pt x="66119" y="492737"/>
                </a:cubicBezTo>
                <a:cubicBezTo>
                  <a:pt x="64441" y="499331"/>
                  <a:pt x="74275" y="497596"/>
                  <a:pt x="72655" y="508297"/>
                </a:cubicBezTo>
                <a:cubicBezTo>
                  <a:pt x="71036" y="518998"/>
                  <a:pt x="57905" y="512404"/>
                  <a:pt x="57095" y="518998"/>
                </a:cubicBezTo>
                <a:cubicBezTo>
                  <a:pt x="56285" y="525592"/>
                  <a:pt x="60334" y="538665"/>
                  <a:pt x="55418" y="539475"/>
                </a:cubicBezTo>
                <a:cubicBezTo>
                  <a:pt x="50501" y="540285"/>
                  <a:pt x="48072" y="545259"/>
                  <a:pt x="48072" y="556828"/>
                </a:cubicBezTo>
                <a:cubicBezTo>
                  <a:pt x="48072" y="568397"/>
                  <a:pt x="41477" y="569901"/>
                  <a:pt x="40667" y="575685"/>
                </a:cubicBezTo>
                <a:cubicBezTo>
                  <a:pt x="39857" y="581470"/>
                  <a:pt x="46452" y="587948"/>
                  <a:pt x="46452" y="594543"/>
                </a:cubicBezTo>
                <a:cubicBezTo>
                  <a:pt x="46452" y="601137"/>
                  <a:pt x="50501" y="623465"/>
                  <a:pt x="44774" y="624043"/>
                </a:cubicBezTo>
                <a:cubicBezTo>
                  <a:pt x="39047" y="624622"/>
                  <a:pt x="35751" y="649495"/>
                  <a:pt x="40667" y="652965"/>
                </a:cubicBezTo>
                <a:cubicBezTo>
                  <a:pt x="44988" y="656615"/>
                  <a:pt x="46041" y="662851"/>
                  <a:pt x="43155" y="667716"/>
                </a:cubicBezTo>
                <a:cubicBezTo>
                  <a:pt x="40667" y="672632"/>
                  <a:pt x="54723" y="677491"/>
                  <a:pt x="47262" y="685069"/>
                </a:cubicBezTo>
                <a:cubicBezTo>
                  <a:pt x="39799" y="692647"/>
                  <a:pt x="45700" y="701902"/>
                  <a:pt x="55418" y="698951"/>
                </a:cubicBezTo>
                <a:cubicBezTo>
                  <a:pt x="63631" y="696522"/>
                  <a:pt x="68548" y="711272"/>
                  <a:pt x="59525" y="711272"/>
                </a:cubicBezTo>
                <a:cubicBezTo>
                  <a:pt x="50501" y="711272"/>
                  <a:pt x="41477" y="711272"/>
                  <a:pt x="48881" y="717057"/>
                </a:cubicBezTo>
                <a:cubicBezTo>
                  <a:pt x="56285" y="722841"/>
                  <a:pt x="63631" y="730997"/>
                  <a:pt x="52988" y="735104"/>
                </a:cubicBezTo>
                <a:cubicBezTo>
                  <a:pt x="42345" y="739211"/>
                  <a:pt x="51368" y="746673"/>
                  <a:pt x="48881" y="756449"/>
                </a:cubicBezTo>
                <a:cubicBezTo>
                  <a:pt x="46394" y="766224"/>
                  <a:pt x="56285" y="775248"/>
                  <a:pt x="48072" y="777735"/>
                </a:cubicBezTo>
                <a:cubicBezTo>
                  <a:pt x="39857" y="780223"/>
                  <a:pt x="51368" y="795089"/>
                  <a:pt x="39857" y="796593"/>
                </a:cubicBezTo>
                <a:cubicBezTo>
                  <a:pt x="28346" y="798097"/>
                  <a:pt x="35751" y="808914"/>
                  <a:pt x="28289" y="814640"/>
                </a:cubicBezTo>
                <a:cubicBezTo>
                  <a:pt x="20827" y="820367"/>
                  <a:pt x="38122" y="830258"/>
                  <a:pt x="29098" y="835985"/>
                </a:cubicBezTo>
                <a:cubicBezTo>
                  <a:pt x="20075" y="841711"/>
                  <a:pt x="26611" y="854842"/>
                  <a:pt x="17530" y="854842"/>
                </a:cubicBezTo>
                <a:cubicBezTo>
                  <a:pt x="8448" y="854842"/>
                  <a:pt x="3589" y="867105"/>
                  <a:pt x="2779" y="872831"/>
                </a:cubicBezTo>
                <a:cubicBezTo>
                  <a:pt x="1969" y="878558"/>
                  <a:pt x="-3757" y="890185"/>
                  <a:pt x="3589" y="898283"/>
                </a:cubicBezTo>
                <a:cubicBezTo>
                  <a:pt x="10935" y="906381"/>
                  <a:pt x="1969" y="913091"/>
                  <a:pt x="8506" y="916330"/>
                </a:cubicBezTo>
                <a:cubicBezTo>
                  <a:pt x="15042" y="919570"/>
                  <a:pt x="37428" y="914653"/>
                  <a:pt x="33958" y="924544"/>
                </a:cubicBezTo>
                <a:cubicBezTo>
                  <a:pt x="30487" y="934436"/>
                  <a:pt x="31470" y="955722"/>
                  <a:pt x="35577" y="955722"/>
                </a:cubicBezTo>
                <a:cubicBezTo>
                  <a:pt x="39684" y="955722"/>
                  <a:pt x="42171" y="967985"/>
                  <a:pt x="48708" y="967291"/>
                </a:cubicBezTo>
                <a:cubicBezTo>
                  <a:pt x="55244" y="966597"/>
                  <a:pt x="84803" y="963242"/>
                  <a:pt x="97123" y="966481"/>
                </a:cubicBezTo>
                <a:cubicBezTo>
                  <a:pt x="102630" y="968101"/>
                  <a:pt x="107668" y="971016"/>
                  <a:pt x="111816" y="974985"/>
                </a:cubicBezTo>
                <a:cubicBezTo>
                  <a:pt x="118873" y="971861"/>
                  <a:pt x="134259" y="981868"/>
                  <a:pt x="137730" y="978397"/>
                </a:cubicBezTo>
                <a:cubicBezTo>
                  <a:pt x="141201" y="974927"/>
                  <a:pt x="122575" y="958441"/>
                  <a:pt x="123211" y="953004"/>
                </a:cubicBezTo>
                <a:cubicBezTo>
                  <a:pt x="123847" y="947566"/>
                  <a:pt x="120145" y="938427"/>
                  <a:pt x="120145" y="932353"/>
                </a:cubicBezTo>
                <a:cubicBezTo>
                  <a:pt x="120145" y="926279"/>
                  <a:pt x="117137" y="913033"/>
                  <a:pt x="125583" y="906902"/>
                </a:cubicBezTo>
                <a:cubicBezTo>
                  <a:pt x="134028" y="900770"/>
                  <a:pt x="134722" y="894812"/>
                  <a:pt x="140160" y="896027"/>
                </a:cubicBezTo>
                <a:cubicBezTo>
                  <a:pt x="145597" y="897242"/>
                  <a:pt x="156472" y="891168"/>
                  <a:pt x="157108" y="876649"/>
                </a:cubicBezTo>
                <a:cubicBezTo>
                  <a:pt x="157744" y="862130"/>
                  <a:pt x="164396" y="856635"/>
                  <a:pt x="176486" y="846339"/>
                </a:cubicBezTo>
                <a:cubicBezTo>
                  <a:pt x="189674" y="835117"/>
                  <a:pt x="211597" y="824532"/>
                  <a:pt x="208589" y="819673"/>
                </a:cubicBezTo>
                <a:cubicBezTo>
                  <a:pt x="205581" y="814814"/>
                  <a:pt x="213448" y="799080"/>
                  <a:pt x="213448" y="793064"/>
                </a:cubicBezTo>
                <a:cubicBezTo>
                  <a:pt x="213448" y="787049"/>
                  <a:pt x="192856" y="788205"/>
                  <a:pt x="186203" y="785776"/>
                </a:cubicBezTo>
                <a:cubicBezTo>
                  <a:pt x="179551" y="783346"/>
                  <a:pt x="155315" y="766398"/>
                  <a:pt x="167404" y="744012"/>
                </a:cubicBezTo>
                <a:cubicBezTo>
                  <a:pt x="179494" y="721627"/>
                  <a:pt x="204945" y="719139"/>
                  <a:pt x="212233" y="718561"/>
                </a:cubicBezTo>
                <a:cubicBezTo>
                  <a:pt x="219522" y="717982"/>
                  <a:pt x="212870" y="707628"/>
                  <a:pt x="218886" y="703984"/>
                </a:cubicBezTo>
                <a:cubicBezTo>
                  <a:pt x="224901" y="700340"/>
                  <a:pt x="226174" y="694324"/>
                  <a:pt x="226174" y="685242"/>
                </a:cubicBezTo>
                <a:cubicBezTo>
                  <a:pt x="226174" y="674888"/>
                  <a:pt x="226174" y="658576"/>
                  <a:pt x="237049" y="657304"/>
                </a:cubicBezTo>
                <a:cubicBezTo>
                  <a:pt x="247923" y="656031"/>
                  <a:pt x="250989" y="650073"/>
                  <a:pt x="244337" y="648280"/>
                </a:cubicBezTo>
                <a:cubicBezTo>
                  <a:pt x="237685" y="646487"/>
                  <a:pt x="234677" y="638562"/>
                  <a:pt x="245552" y="637348"/>
                </a:cubicBezTo>
                <a:cubicBezTo>
                  <a:pt x="256426" y="636133"/>
                  <a:pt x="252840" y="646429"/>
                  <a:pt x="260707" y="646429"/>
                </a:cubicBezTo>
                <a:cubicBezTo>
                  <a:pt x="268574" y="646429"/>
                  <a:pt x="281878" y="633125"/>
                  <a:pt x="271582" y="625258"/>
                </a:cubicBezTo>
                <a:cubicBezTo>
                  <a:pt x="261285" y="617391"/>
                  <a:pt x="258277" y="628902"/>
                  <a:pt x="252840" y="630117"/>
                </a:cubicBezTo>
                <a:cubicBezTo>
                  <a:pt x="247403" y="631332"/>
                  <a:pt x="243122" y="622829"/>
                  <a:pt x="237685" y="622829"/>
                </a:cubicBezTo>
                <a:cubicBezTo>
                  <a:pt x="232248" y="622829"/>
                  <a:pt x="235834" y="607673"/>
                  <a:pt x="233462" y="602236"/>
                </a:cubicBezTo>
                <a:cubicBezTo>
                  <a:pt x="231091" y="596799"/>
                  <a:pt x="227389" y="583437"/>
                  <a:pt x="232248" y="576784"/>
                </a:cubicBezTo>
                <a:cubicBezTo>
                  <a:pt x="237107" y="570133"/>
                  <a:pt x="257641" y="587081"/>
                  <a:pt x="275862" y="588353"/>
                </a:cubicBezTo>
                <a:cubicBezTo>
                  <a:pt x="294083" y="589626"/>
                  <a:pt x="307329" y="579272"/>
                  <a:pt x="307329" y="572620"/>
                </a:cubicBezTo>
                <a:cubicBezTo>
                  <a:pt x="307329" y="565968"/>
                  <a:pt x="298826" y="553820"/>
                  <a:pt x="309759" y="546590"/>
                </a:cubicBezTo>
                <a:cubicBezTo>
                  <a:pt x="320691" y="539359"/>
                  <a:pt x="311610" y="536814"/>
                  <a:pt x="308544" y="527154"/>
                </a:cubicBezTo>
                <a:cubicBezTo>
                  <a:pt x="305479" y="517494"/>
                  <a:pt x="313403" y="511420"/>
                  <a:pt x="318262" y="516279"/>
                </a:cubicBezTo>
                <a:cubicBezTo>
                  <a:pt x="323121" y="521138"/>
                  <a:pt x="358753" y="518073"/>
                  <a:pt x="388485" y="512057"/>
                </a:cubicBezTo>
                <a:cubicBezTo>
                  <a:pt x="418217" y="506041"/>
                  <a:pt x="438810" y="495108"/>
                  <a:pt x="440545" y="486605"/>
                </a:cubicBezTo>
                <a:cubicBezTo>
                  <a:pt x="442280" y="478102"/>
                  <a:pt x="461137" y="458146"/>
                  <a:pt x="465360" y="450857"/>
                </a:cubicBezTo>
                <a:cubicBezTo>
                  <a:pt x="469583" y="443569"/>
                  <a:pt x="465996" y="434488"/>
                  <a:pt x="453791" y="432694"/>
                </a:cubicBezTo>
                <a:cubicBezTo>
                  <a:pt x="441586" y="430901"/>
                  <a:pt x="442222" y="416903"/>
                  <a:pt x="448932" y="409036"/>
                </a:cubicBezTo>
                <a:cubicBezTo>
                  <a:pt x="455642" y="401169"/>
                  <a:pt x="445288" y="393881"/>
                  <a:pt x="433777" y="392666"/>
                </a:cubicBezTo>
                <a:cubicBezTo>
                  <a:pt x="422266" y="391451"/>
                  <a:pt x="404103" y="383585"/>
                  <a:pt x="414399" y="373924"/>
                </a:cubicBezTo>
                <a:cubicBezTo>
                  <a:pt x="419316" y="369239"/>
                  <a:pt x="421745" y="370165"/>
                  <a:pt x="424175" y="372305"/>
                </a:cubicBezTo>
                <a:cubicBezTo>
                  <a:pt x="425910" y="367620"/>
                  <a:pt x="427588" y="362182"/>
                  <a:pt x="426200" y="360736"/>
                </a:cubicBezTo>
                <a:cubicBezTo>
                  <a:pt x="423770" y="358249"/>
                  <a:pt x="417638" y="361314"/>
                  <a:pt x="418217" y="344135"/>
                </a:cubicBezTo>
                <a:cubicBezTo>
                  <a:pt x="418795" y="326955"/>
                  <a:pt x="424985" y="330657"/>
                  <a:pt x="425621" y="308560"/>
                </a:cubicBezTo>
                <a:cubicBezTo>
                  <a:pt x="426257" y="286464"/>
                  <a:pt x="434818" y="273854"/>
                  <a:pt x="434818" y="261880"/>
                </a:cubicBezTo>
                <a:cubicBezTo>
                  <a:pt x="434818" y="249906"/>
                  <a:pt x="455700" y="236776"/>
                  <a:pt x="467327" y="217745"/>
                </a:cubicBezTo>
                <a:cubicBezTo>
                  <a:pt x="480214" y="198656"/>
                  <a:pt x="496185" y="181847"/>
                  <a:pt x="514585" y="167999"/>
                </a:cubicBezTo>
                <a:cubicBezTo>
                  <a:pt x="525055" y="161231"/>
                  <a:pt x="545301" y="155736"/>
                  <a:pt x="547788" y="149604"/>
                </a:cubicBezTo>
                <a:cubicBezTo>
                  <a:pt x="550275" y="143473"/>
                  <a:pt x="548540" y="109518"/>
                  <a:pt x="543623" y="10703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8" name="Forma libre: forma 177">
            <a:extLst>
              <a:ext uri="{FF2B5EF4-FFF2-40B4-BE49-F238E27FC236}">
                <a16:creationId xmlns:a16="http://schemas.microsoft.com/office/drawing/2014/main" id="{85D15651-859B-7D38-79F7-08EBB13A3759}"/>
              </a:ext>
            </a:extLst>
          </p:cNvPr>
          <p:cNvSpPr/>
          <p:nvPr/>
        </p:nvSpPr>
        <p:spPr>
          <a:xfrm>
            <a:off x="4098761" y="4970210"/>
            <a:ext cx="237599" cy="1230210"/>
          </a:xfrm>
          <a:custGeom>
            <a:avLst/>
            <a:gdLst>
              <a:gd name="connsiteX0" fmla="*/ 107109 w 237599"/>
              <a:gd name="connsiteY0" fmla="*/ 1093034 h 1230210"/>
              <a:gd name="connsiteX1" fmla="*/ 93978 w 237599"/>
              <a:gd name="connsiteY1" fmla="*/ 1081465 h 1230210"/>
              <a:gd name="connsiteX2" fmla="*/ 92359 w 237599"/>
              <a:gd name="connsiteY2" fmla="*/ 1050288 h 1230210"/>
              <a:gd name="connsiteX3" fmla="*/ 66907 w 237599"/>
              <a:gd name="connsiteY3" fmla="*/ 1042073 h 1230210"/>
              <a:gd name="connsiteX4" fmla="*/ 61991 w 237599"/>
              <a:gd name="connsiteY4" fmla="*/ 1024026 h 1230210"/>
              <a:gd name="connsiteX5" fmla="*/ 61181 w 237599"/>
              <a:gd name="connsiteY5" fmla="*/ 998575 h 1230210"/>
              <a:gd name="connsiteX6" fmla="*/ 75931 w 237599"/>
              <a:gd name="connsiteY6" fmla="*/ 980585 h 1230210"/>
              <a:gd name="connsiteX7" fmla="*/ 87500 w 237599"/>
              <a:gd name="connsiteY7" fmla="*/ 961728 h 1230210"/>
              <a:gd name="connsiteX8" fmla="*/ 86690 w 237599"/>
              <a:gd name="connsiteY8" fmla="*/ 940383 h 1230210"/>
              <a:gd name="connsiteX9" fmla="*/ 98259 w 237599"/>
              <a:gd name="connsiteY9" fmla="*/ 922336 h 1230210"/>
              <a:gd name="connsiteX10" fmla="*/ 106473 w 237599"/>
              <a:gd name="connsiteY10" fmla="*/ 903479 h 1230210"/>
              <a:gd name="connsiteX11" fmla="*/ 107283 w 237599"/>
              <a:gd name="connsiteY11" fmla="*/ 882192 h 1230210"/>
              <a:gd name="connsiteX12" fmla="*/ 111389 w 237599"/>
              <a:gd name="connsiteY12" fmla="*/ 860848 h 1230210"/>
              <a:gd name="connsiteX13" fmla="*/ 107283 w 237599"/>
              <a:gd name="connsiteY13" fmla="*/ 842800 h 1230210"/>
              <a:gd name="connsiteX14" fmla="*/ 117926 w 237599"/>
              <a:gd name="connsiteY14" fmla="*/ 837016 h 1230210"/>
              <a:gd name="connsiteX15" fmla="*/ 113819 w 237599"/>
              <a:gd name="connsiteY15" fmla="*/ 824695 h 1230210"/>
              <a:gd name="connsiteX16" fmla="*/ 105663 w 237599"/>
              <a:gd name="connsiteY16" fmla="*/ 810812 h 1230210"/>
              <a:gd name="connsiteX17" fmla="*/ 101556 w 237599"/>
              <a:gd name="connsiteY17" fmla="*/ 793459 h 1230210"/>
              <a:gd name="connsiteX18" fmla="*/ 99069 w 237599"/>
              <a:gd name="connsiteY18" fmla="*/ 778709 h 1230210"/>
              <a:gd name="connsiteX19" fmla="*/ 103176 w 237599"/>
              <a:gd name="connsiteY19" fmla="*/ 749786 h 1230210"/>
              <a:gd name="connsiteX20" fmla="*/ 104853 w 237599"/>
              <a:gd name="connsiteY20" fmla="*/ 720286 h 1230210"/>
              <a:gd name="connsiteX21" fmla="*/ 99069 w 237599"/>
              <a:gd name="connsiteY21" fmla="*/ 701429 h 1230210"/>
              <a:gd name="connsiteX22" fmla="*/ 106473 w 237599"/>
              <a:gd name="connsiteY22" fmla="*/ 682571 h 1230210"/>
              <a:gd name="connsiteX23" fmla="*/ 113819 w 237599"/>
              <a:gd name="connsiteY23" fmla="*/ 665218 h 1230210"/>
              <a:gd name="connsiteX24" fmla="*/ 115497 w 237599"/>
              <a:gd name="connsiteY24" fmla="*/ 644741 h 1230210"/>
              <a:gd name="connsiteX25" fmla="*/ 131057 w 237599"/>
              <a:gd name="connsiteY25" fmla="*/ 634040 h 1230210"/>
              <a:gd name="connsiteX26" fmla="*/ 124520 w 237599"/>
              <a:gd name="connsiteY26" fmla="*/ 618480 h 1230210"/>
              <a:gd name="connsiteX27" fmla="*/ 123710 w 237599"/>
              <a:gd name="connsiteY27" fmla="*/ 582385 h 1230210"/>
              <a:gd name="connsiteX28" fmla="*/ 144187 w 237599"/>
              <a:gd name="connsiteY28" fmla="*/ 555314 h 1230210"/>
              <a:gd name="connsiteX29" fmla="*/ 144187 w 237599"/>
              <a:gd name="connsiteY29" fmla="*/ 520607 h 1230210"/>
              <a:gd name="connsiteX30" fmla="*/ 152401 w 237599"/>
              <a:gd name="connsiteY30" fmla="*/ 500940 h 1230210"/>
              <a:gd name="connsiteX31" fmla="*/ 159747 w 237599"/>
              <a:gd name="connsiteY31" fmla="*/ 477802 h 1230210"/>
              <a:gd name="connsiteX32" fmla="*/ 153211 w 237599"/>
              <a:gd name="connsiteY32" fmla="*/ 454086 h 1230210"/>
              <a:gd name="connsiteX33" fmla="*/ 144187 w 237599"/>
              <a:gd name="connsiteY33" fmla="*/ 427015 h 1230210"/>
              <a:gd name="connsiteX34" fmla="*/ 144187 w 237599"/>
              <a:gd name="connsiteY34" fmla="*/ 397457 h 1230210"/>
              <a:gd name="connsiteX35" fmla="*/ 155756 w 237599"/>
              <a:gd name="connsiteY35" fmla="*/ 376170 h 1230210"/>
              <a:gd name="connsiteX36" fmla="*/ 155756 w 237599"/>
              <a:gd name="connsiteY36" fmla="*/ 348289 h 1230210"/>
              <a:gd name="connsiteX37" fmla="*/ 163102 w 237599"/>
              <a:gd name="connsiteY37" fmla="*/ 333481 h 1230210"/>
              <a:gd name="connsiteX38" fmla="*/ 175423 w 237599"/>
              <a:gd name="connsiteY38" fmla="*/ 308897 h 1230210"/>
              <a:gd name="connsiteX39" fmla="*/ 183637 w 237599"/>
              <a:gd name="connsiteY39" fmla="*/ 285759 h 1230210"/>
              <a:gd name="connsiteX40" fmla="*/ 200007 w 237599"/>
              <a:gd name="connsiteY40" fmla="*/ 272687 h 1230210"/>
              <a:gd name="connsiteX41" fmla="*/ 199197 w 237599"/>
              <a:gd name="connsiteY41" fmla="*/ 254582 h 1230210"/>
              <a:gd name="connsiteX42" fmla="*/ 196710 w 237599"/>
              <a:gd name="connsiteY42" fmla="*/ 225139 h 1230210"/>
              <a:gd name="connsiteX43" fmla="*/ 198387 w 237599"/>
              <a:gd name="connsiteY43" fmla="*/ 205414 h 1230210"/>
              <a:gd name="connsiteX44" fmla="*/ 229507 w 237599"/>
              <a:gd name="connsiteY44" fmla="*/ 180830 h 1230210"/>
              <a:gd name="connsiteX45" fmla="*/ 235292 w 237599"/>
              <a:gd name="connsiteY45" fmla="*/ 148842 h 1230210"/>
              <a:gd name="connsiteX46" fmla="*/ 217939 w 237599"/>
              <a:gd name="connsiteY46" fmla="*/ 154106 h 1230210"/>
              <a:gd name="connsiteX47" fmla="*/ 211518 w 237599"/>
              <a:gd name="connsiteY47" fmla="*/ 124316 h 1230210"/>
              <a:gd name="connsiteX48" fmla="*/ 201800 w 237599"/>
              <a:gd name="connsiteY48" fmla="*/ 99269 h 1230210"/>
              <a:gd name="connsiteX49" fmla="*/ 192082 w 237599"/>
              <a:gd name="connsiteY49" fmla="*/ 76595 h 1230210"/>
              <a:gd name="connsiteX50" fmla="*/ 197867 w 237599"/>
              <a:gd name="connsiteY50" fmla="*/ 57274 h 1230210"/>
              <a:gd name="connsiteX51" fmla="*/ 186298 w 237599"/>
              <a:gd name="connsiteY51" fmla="*/ 41888 h 1230210"/>
              <a:gd name="connsiteX52" fmla="*/ 179819 w 237599"/>
              <a:gd name="connsiteY52" fmla="*/ 12966 h 1230210"/>
              <a:gd name="connsiteX53" fmla="*/ 167730 w 237599"/>
              <a:gd name="connsiteY53" fmla="*/ 876 h 1230210"/>
              <a:gd name="connsiteX54" fmla="*/ 156161 w 237599"/>
              <a:gd name="connsiteY54" fmla="*/ 22684 h 1230210"/>
              <a:gd name="connsiteX55" fmla="*/ 150376 w 237599"/>
              <a:gd name="connsiteY55" fmla="*/ 26964 h 1230210"/>
              <a:gd name="connsiteX56" fmla="*/ 150376 w 237599"/>
              <a:gd name="connsiteY56" fmla="*/ 51548 h 1230210"/>
              <a:gd name="connsiteX57" fmla="*/ 152228 w 237599"/>
              <a:gd name="connsiteY57" fmla="*/ 121829 h 1230210"/>
              <a:gd name="connsiteX58" fmla="*/ 141295 w 237599"/>
              <a:gd name="connsiteY58" fmla="*/ 163014 h 1230210"/>
              <a:gd name="connsiteX59" fmla="*/ 144939 w 237599"/>
              <a:gd name="connsiteY59" fmla="*/ 178747 h 1230210"/>
              <a:gd name="connsiteX60" fmla="*/ 141931 w 237599"/>
              <a:gd name="connsiteY60" fmla="*/ 215132 h 1230210"/>
              <a:gd name="connsiteX61" fmla="*/ 129784 w 237599"/>
              <a:gd name="connsiteY61" fmla="*/ 277488 h 1230210"/>
              <a:gd name="connsiteX62" fmla="*/ 122553 w 237599"/>
              <a:gd name="connsiteY62" fmla="*/ 306005 h 1230210"/>
              <a:gd name="connsiteX63" fmla="*/ 110406 w 237599"/>
              <a:gd name="connsiteY63" fmla="*/ 329605 h 1230210"/>
              <a:gd name="connsiteX64" fmla="*/ 120702 w 237599"/>
              <a:gd name="connsiteY64" fmla="*/ 362345 h 1230210"/>
              <a:gd name="connsiteX65" fmla="*/ 110406 w 237599"/>
              <a:gd name="connsiteY65" fmla="*/ 392019 h 1230210"/>
              <a:gd name="connsiteX66" fmla="*/ 110406 w 237599"/>
              <a:gd name="connsiteY66" fmla="*/ 452004 h 1230210"/>
              <a:gd name="connsiteX67" fmla="*/ 104622 w 237599"/>
              <a:gd name="connsiteY67" fmla="*/ 470746 h 1230210"/>
              <a:gd name="connsiteX68" fmla="*/ 94904 w 237599"/>
              <a:gd name="connsiteY68" fmla="*/ 504700 h 1230210"/>
              <a:gd name="connsiteX69" fmla="*/ 73733 w 237599"/>
              <a:gd name="connsiteY69" fmla="*/ 562834 h 1230210"/>
              <a:gd name="connsiteX70" fmla="*/ 61007 w 237599"/>
              <a:gd name="connsiteY70" fmla="*/ 584583 h 1230210"/>
              <a:gd name="connsiteX71" fmla="*/ 57363 w 237599"/>
              <a:gd name="connsiteY71" fmla="*/ 604597 h 1230210"/>
              <a:gd name="connsiteX72" fmla="*/ 61007 w 237599"/>
              <a:gd name="connsiteY72" fmla="*/ 639304 h 1230210"/>
              <a:gd name="connsiteX73" fmla="*/ 62164 w 237599"/>
              <a:gd name="connsiteY73" fmla="*/ 667185 h 1230210"/>
              <a:gd name="connsiteX74" fmla="*/ 53719 w 237599"/>
              <a:gd name="connsiteY74" fmla="*/ 690322 h 1230210"/>
              <a:gd name="connsiteX75" fmla="*/ 50075 w 237599"/>
              <a:gd name="connsiteY75" fmla="*/ 722426 h 1230210"/>
              <a:gd name="connsiteX76" fmla="*/ 47645 w 237599"/>
              <a:gd name="connsiteY76" fmla="*/ 738796 h 1230210"/>
              <a:gd name="connsiteX77" fmla="*/ 36076 w 237599"/>
              <a:gd name="connsiteY77" fmla="*/ 768470 h 1230210"/>
              <a:gd name="connsiteX78" fmla="*/ 48802 w 237599"/>
              <a:gd name="connsiteY78" fmla="*/ 786691 h 1230210"/>
              <a:gd name="connsiteX79" fmla="*/ 60949 w 237599"/>
              <a:gd name="connsiteY79" fmla="*/ 737581 h 1230210"/>
              <a:gd name="connsiteX80" fmla="*/ 71246 w 237599"/>
              <a:gd name="connsiteY80" fmla="*/ 727285 h 1230210"/>
              <a:gd name="connsiteX81" fmla="*/ 78476 w 237599"/>
              <a:gd name="connsiteY81" fmla="*/ 737581 h 1230210"/>
              <a:gd name="connsiteX82" fmla="*/ 80327 w 237599"/>
              <a:gd name="connsiteY82" fmla="*/ 749671 h 1230210"/>
              <a:gd name="connsiteX83" fmla="*/ 77898 w 237599"/>
              <a:gd name="connsiteY83" fmla="*/ 772808 h 1230210"/>
              <a:gd name="connsiteX84" fmla="*/ 71246 w 237599"/>
              <a:gd name="connsiteY84" fmla="*/ 794558 h 1230210"/>
              <a:gd name="connsiteX85" fmla="*/ 66387 w 237599"/>
              <a:gd name="connsiteY85" fmla="*/ 811911 h 1230210"/>
              <a:gd name="connsiteX86" fmla="*/ 67601 w 237599"/>
              <a:gd name="connsiteY86" fmla="*/ 825215 h 1230210"/>
              <a:gd name="connsiteX87" fmla="*/ 66965 w 237599"/>
              <a:gd name="connsiteY87" fmla="*/ 836784 h 1230210"/>
              <a:gd name="connsiteX88" fmla="*/ 68180 w 237599"/>
              <a:gd name="connsiteY88" fmla="*/ 853096 h 1230210"/>
              <a:gd name="connsiteX89" fmla="*/ 54239 w 237599"/>
              <a:gd name="connsiteY89" fmla="*/ 860963 h 1230210"/>
              <a:gd name="connsiteX90" fmla="*/ 56669 w 237599"/>
              <a:gd name="connsiteY90" fmla="*/ 879184 h 1230210"/>
              <a:gd name="connsiteX91" fmla="*/ 39316 w 237599"/>
              <a:gd name="connsiteY91" fmla="*/ 871896 h 1230210"/>
              <a:gd name="connsiteX92" fmla="*/ 51405 w 237599"/>
              <a:gd name="connsiteY92" fmla="*/ 853732 h 1230210"/>
              <a:gd name="connsiteX93" fmla="*/ 36828 w 237599"/>
              <a:gd name="connsiteY93" fmla="*/ 833719 h 1230210"/>
              <a:gd name="connsiteX94" fmla="*/ 45968 w 237599"/>
              <a:gd name="connsiteY94" fmla="*/ 855526 h 1230210"/>
              <a:gd name="connsiteX95" fmla="*/ 31391 w 237599"/>
              <a:gd name="connsiteY95" fmla="*/ 862178 h 1230210"/>
              <a:gd name="connsiteX96" fmla="*/ 15657 w 237599"/>
              <a:gd name="connsiteY96" fmla="*/ 873747 h 1230210"/>
              <a:gd name="connsiteX97" fmla="*/ 16872 w 237599"/>
              <a:gd name="connsiteY97" fmla="*/ 887109 h 1230210"/>
              <a:gd name="connsiteX98" fmla="*/ -77 w 237599"/>
              <a:gd name="connsiteY98" fmla="*/ 903421 h 1230210"/>
              <a:gd name="connsiteX99" fmla="*/ 6576 w 237599"/>
              <a:gd name="connsiteY99" fmla="*/ 904636 h 1230210"/>
              <a:gd name="connsiteX100" fmla="*/ 19301 w 237599"/>
              <a:gd name="connsiteY100" fmla="*/ 904636 h 1230210"/>
              <a:gd name="connsiteX101" fmla="*/ 35035 w 237599"/>
              <a:gd name="connsiteY101" fmla="*/ 906486 h 1230210"/>
              <a:gd name="connsiteX102" fmla="*/ 37465 w 237599"/>
              <a:gd name="connsiteY102" fmla="*/ 920369 h 1230210"/>
              <a:gd name="connsiteX103" fmla="*/ 29019 w 237599"/>
              <a:gd name="connsiteY103" fmla="*/ 937375 h 1230210"/>
              <a:gd name="connsiteX104" fmla="*/ 54413 w 237599"/>
              <a:gd name="connsiteY104" fmla="*/ 939805 h 1230210"/>
              <a:gd name="connsiteX105" fmla="*/ 55049 w 237599"/>
              <a:gd name="connsiteY105" fmla="*/ 950680 h 1230210"/>
              <a:gd name="connsiteX106" fmla="*/ 36828 w 237599"/>
              <a:gd name="connsiteY106" fmla="*/ 946457 h 1230210"/>
              <a:gd name="connsiteX107" fmla="*/ 20516 w 237599"/>
              <a:gd name="connsiteY107" fmla="*/ 947672 h 1230210"/>
              <a:gd name="connsiteX108" fmla="*/ 2353 w 237599"/>
              <a:gd name="connsiteY108" fmla="*/ 962827 h 1230210"/>
              <a:gd name="connsiteX109" fmla="*/ 12649 w 237599"/>
              <a:gd name="connsiteY109" fmla="*/ 974916 h 1230210"/>
              <a:gd name="connsiteX110" fmla="*/ 25953 w 237599"/>
              <a:gd name="connsiteY110" fmla="*/ 966471 h 1230210"/>
              <a:gd name="connsiteX111" fmla="*/ 37522 w 237599"/>
              <a:gd name="connsiteY111" fmla="*/ 967628 h 1230210"/>
              <a:gd name="connsiteX112" fmla="*/ 23582 w 237599"/>
              <a:gd name="connsiteY112" fmla="*/ 979197 h 1230210"/>
              <a:gd name="connsiteX113" fmla="*/ 9063 w 237599"/>
              <a:gd name="connsiteY113" fmla="*/ 995509 h 1230210"/>
              <a:gd name="connsiteX114" fmla="*/ 7443 w 237599"/>
              <a:gd name="connsiteY114" fmla="*/ 1004608 h 1230210"/>
              <a:gd name="connsiteX115" fmla="*/ 14847 w 237599"/>
              <a:gd name="connsiteY115" fmla="*/ 1007078 h 1230210"/>
              <a:gd name="connsiteX116" fmla="*/ 21557 w 237599"/>
              <a:gd name="connsiteY116" fmla="*/ 1015581 h 1230210"/>
              <a:gd name="connsiteX117" fmla="*/ 30002 w 237599"/>
              <a:gd name="connsiteY117" fmla="*/ 1004648 h 1230210"/>
              <a:gd name="connsiteX118" fmla="*/ 41571 w 237599"/>
              <a:gd name="connsiteY118" fmla="*/ 991923 h 1230210"/>
              <a:gd name="connsiteX119" fmla="*/ 37927 w 237599"/>
              <a:gd name="connsiteY119" fmla="*/ 1011300 h 1230210"/>
              <a:gd name="connsiteX120" fmla="*/ 33647 w 237599"/>
              <a:gd name="connsiteY120" fmla="*/ 1031893 h 1230210"/>
              <a:gd name="connsiteX121" fmla="*/ 26358 w 237599"/>
              <a:gd name="connsiteY121" fmla="*/ 1042189 h 1230210"/>
              <a:gd name="connsiteX122" fmla="*/ 17335 w 237599"/>
              <a:gd name="connsiteY122" fmla="*/ 1049478 h 1230210"/>
              <a:gd name="connsiteX123" fmla="*/ 16698 w 237599"/>
              <a:gd name="connsiteY123" fmla="*/ 1065848 h 1230210"/>
              <a:gd name="connsiteX124" fmla="*/ 31217 w 237599"/>
              <a:gd name="connsiteY124" fmla="*/ 1061567 h 1230210"/>
              <a:gd name="connsiteX125" fmla="*/ 45158 w 237599"/>
              <a:gd name="connsiteY125" fmla="*/ 1062204 h 1230210"/>
              <a:gd name="connsiteX126" fmla="*/ 50942 w 237599"/>
              <a:gd name="connsiteY126" fmla="*/ 1071285 h 1230210"/>
              <a:gd name="connsiteX127" fmla="*/ 38217 w 237599"/>
              <a:gd name="connsiteY127" fmla="*/ 1084011 h 1230210"/>
              <a:gd name="connsiteX128" fmla="*/ 54528 w 237599"/>
              <a:gd name="connsiteY128" fmla="*/ 1085862 h 1230210"/>
              <a:gd name="connsiteX129" fmla="*/ 63668 w 237599"/>
              <a:gd name="connsiteY129" fmla="*/ 1082796 h 1230210"/>
              <a:gd name="connsiteX130" fmla="*/ 81021 w 237599"/>
              <a:gd name="connsiteY130" fmla="*/ 1088581 h 1230210"/>
              <a:gd name="connsiteX131" fmla="*/ 56784 w 237599"/>
              <a:gd name="connsiteY131" fmla="*/ 1098240 h 1230210"/>
              <a:gd name="connsiteX132" fmla="*/ 48918 w 237599"/>
              <a:gd name="connsiteY132" fmla="*/ 1114610 h 1230210"/>
              <a:gd name="connsiteX133" fmla="*/ 68932 w 237599"/>
              <a:gd name="connsiteY133" fmla="*/ 1107958 h 1230210"/>
              <a:gd name="connsiteX134" fmla="*/ 110695 w 237599"/>
              <a:gd name="connsiteY134" fmla="*/ 1110388 h 1230210"/>
              <a:gd name="connsiteX135" fmla="*/ 93747 w 237599"/>
              <a:gd name="connsiteY135" fmla="*/ 1115825 h 1230210"/>
              <a:gd name="connsiteX136" fmla="*/ 76799 w 237599"/>
              <a:gd name="connsiteY136" fmla="*/ 1118891 h 1230210"/>
              <a:gd name="connsiteX137" fmla="*/ 61644 w 237599"/>
              <a:gd name="connsiteY137" fmla="*/ 1128551 h 1230210"/>
              <a:gd name="connsiteX138" fmla="*/ 62222 w 237599"/>
              <a:gd name="connsiteY138" fmla="*/ 1139483 h 1230210"/>
              <a:gd name="connsiteX139" fmla="*/ 87095 w 237599"/>
              <a:gd name="connsiteY139" fmla="*/ 1129129 h 1230210"/>
              <a:gd name="connsiteX140" fmla="*/ 117984 w 237599"/>
              <a:gd name="connsiteY140" fmla="*/ 1123345 h 1230210"/>
              <a:gd name="connsiteX141" fmla="*/ 97391 w 237599"/>
              <a:gd name="connsiteY141" fmla="*/ 1134914 h 1230210"/>
              <a:gd name="connsiteX142" fmla="*/ 83451 w 237599"/>
              <a:gd name="connsiteY142" fmla="*/ 1148276 h 1230210"/>
              <a:gd name="connsiteX143" fmla="*/ 54528 w 237599"/>
              <a:gd name="connsiteY143" fmla="*/ 1144632 h 1230210"/>
              <a:gd name="connsiteX144" fmla="*/ 57594 w 237599"/>
              <a:gd name="connsiteY144" fmla="*/ 1162795 h 1230210"/>
              <a:gd name="connsiteX145" fmla="*/ 81195 w 237599"/>
              <a:gd name="connsiteY145" fmla="*/ 1168579 h 1230210"/>
              <a:gd name="connsiteX146" fmla="*/ 98548 w 237599"/>
              <a:gd name="connsiteY146" fmla="*/ 1175809 h 1230210"/>
              <a:gd name="connsiteX147" fmla="*/ 93689 w 237599"/>
              <a:gd name="connsiteY147" fmla="*/ 1166728 h 1230210"/>
              <a:gd name="connsiteX148" fmla="*/ 104622 w 237599"/>
              <a:gd name="connsiteY148" fmla="*/ 1158861 h 1230210"/>
              <a:gd name="connsiteX149" fmla="*/ 125290 w 237599"/>
              <a:gd name="connsiteY149" fmla="*/ 1150844 h 1230210"/>
              <a:gd name="connsiteX150" fmla="*/ 125793 w 237599"/>
              <a:gd name="connsiteY150" fmla="*/ 1139483 h 1230210"/>
              <a:gd name="connsiteX151" fmla="*/ 150029 w 237599"/>
              <a:gd name="connsiteY151" fmla="*/ 1113396 h 1230210"/>
              <a:gd name="connsiteX152" fmla="*/ 146385 w 237599"/>
              <a:gd name="connsiteY152" fmla="*/ 1126758 h 1230210"/>
              <a:gd name="connsiteX153" fmla="*/ 142163 w 237599"/>
              <a:gd name="connsiteY153" fmla="*/ 1142491 h 1230210"/>
              <a:gd name="connsiteX154" fmla="*/ 166978 w 237599"/>
              <a:gd name="connsiteY154" fmla="*/ 1143706 h 1230210"/>
              <a:gd name="connsiteX155" fmla="*/ 151823 w 237599"/>
              <a:gd name="connsiteY155" fmla="*/ 1155911 h 1230210"/>
              <a:gd name="connsiteX156" fmla="*/ 153037 w 237599"/>
              <a:gd name="connsiteY156" fmla="*/ 1175231 h 1230210"/>
              <a:gd name="connsiteX157" fmla="*/ 141469 w 237599"/>
              <a:gd name="connsiteY157" fmla="*/ 1152788 h 1230210"/>
              <a:gd name="connsiteX158" fmla="*/ 136031 w 237599"/>
              <a:gd name="connsiteY158" fmla="*/ 1169794 h 1230210"/>
              <a:gd name="connsiteX159" fmla="*/ 122727 w 237599"/>
              <a:gd name="connsiteY159" fmla="*/ 1164935 h 1230210"/>
              <a:gd name="connsiteX160" fmla="*/ 115439 w 237599"/>
              <a:gd name="connsiteY160" fmla="*/ 1175231 h 1230210"/>
              <a:gd name="connsiteX161" fmla="*/ 101498 w 237599"/>
              <a:gd name="connsiteY161" fmla="*/ 1186106 h 1230210"/>
              <a:gd name="connsiteX162" fmla="*/ 121512 w 237599"/>
              <a:gd name="connsiteY162" fmla="*/ 1190386 h 1230210"/>
              <a:gd name="connsiteX163" fmla="*/ 135453 w 237599"/>
              <a:gd name="connsiteY163" fmla="*/ 1214623 h 1230210"/>
              <a:gd name="connsiteX164" fmla="*/ 145113 w 237599"/>
              <a:gd name="connsiteY164" fmla="*/ 1193394 h 1230210"/>
              <a:gd name="connsiteX165" fmla="*/ 164490 w 237599"/>
              <a:gd name="connsiteY165" fmla="*/ 1218846 h 1230210"/>
              <a:gd name="connsiteX166" fmla="*/ 174208 w 237599"/>
              <a:gd name="connsiteY166" fmla="*/ 1209186 h 1230210"/>
              <a:gd name="connsiteX167" fmla="*/ 202668 w 237599"/>
              <a:gd name="connsiteY167" fmla="*/ 1229778 h 1230210"/>
              <a:gd name="connsiteX168" fmla="*/ 199024 w 237599"/>
              <a:gd name="connsiteY168" fmla="*/ 1211558 h 1230210"/>
              <a:gd name="connsiteX169" fmla="*/ 214757 w 237599"/>
              <a:gd name="connsiteY169" fmla="*/ 1211558 h 1230210"/>
              <a:gd name="connsiteX170" fmla="*/ 232978 w 237599"/>
              <a:gd name="connsiteY170" fmla="*/ 1209186 h 1230210"/>
              <a:gd name="connsiteX171" fmla="*/ 237490 w 237599"/>
              <a:gd name="connsiteY171" fmla="*/ 1207393 h 1230210"/>
              <a:gd name="connsiteX172" fmla="*/ 191214 w 237599"/>
              <a:gd name="connsiteY172" fmla="*/ 1204963 h 1230210"/>
              <a:gd name="connsiteX173" fmla="*/ 191214 w 237599"/>
              <a:gd name="connsiteY173" fmla="*/ 1115015 h 1230210"/>
              <a:gd name="connsiteX174" fmla="*/ 189306 w 237599"/>
              <a:gd name="connsiteY174" fmla="*/ 1114668 h 1230210"/>
              <a:gd name="connsiteX175" fmla="*/ 166862 w 237599"/>
              <a:gd name="connsiteY175" fmla="*/ 1104314 h 1230210"/>
              <a:gd name="connsiteX176" fmla="*/ 170044 w 237599"/>
              <a:gd name="connsiteY176" fmla="*/ 1100323 h 1230210"/>
              <a:gd name="connsiteX177" fmla="*/ 155351 w 237599"/>
              <a:gd name="connsiteY177" fmla="*/ 1091820 h 1230210"/>
              <a:gd name="connsiteX178" fmla="*/ 107109 w 237599"/>
              <a:gd name="connsiteY178" fmla="*/ 1093034 h 1230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237599" h="1230210">
                <a:moveTo>
                  <a:pt x="107109" y="1093034"/>
                </a:moveTo>
                <a:cubicBezTo>
                  <a:pt x="100573" y="1093844"/>
                  <a:pt x="98085" y="1081465"/>
                  <a:pt x="93978" y="1081465"/>
                </a:cubicBezTo>
                <a:cubicBezTo>
                  <a:pt x="89872" y="1081465"/>
                  <a:pt x="89062" y="1060121"/>
                  <a:pt x="92359" y="1050288"/>
                </a:cubicBezTo>
                <a:cubicBezTo>
                  <a:pt x="95656" y="1040454"/>
                  <a:pt x="73502" y="1045371"/>
                  <a:pt x="66907" y="1042073"/>
                </a:cubicBezTo>
                <a:cubicBezTo>
                  <a:pt x="60313" y="1038776"/>
                  <a:pt x="69394" y="1032182"/>
                  <a:pt x="61991" y="1024026"/>
                </a:cubicBezTo>
                <a:cubicBezTo>
                  <a:pt x="54586" y="1015870"/>
                  <a:pt x="60371" y="1004301"/>
                  <a:pt x="61181" y="998575"/>
                </a:cubicBezTo>
                <a:cubicBezTo>
                  <a:pt x="61991" y="992848"/>
                  <a:pt x="66965" y="980585"/>
                  <a:pt x="75931" y="980585"/>
                </a:cubicBezTo>
                <a:cubicBezTo>
                  <a:pt x="84897" y="980585"/>
                  <a:pt x="78418" y="967455"/>
                  <a:pt x="87500" y="961728"/>
                </a:cubicBezTo>
                <a:cubicBezTo>
                  <a:pt x="96581" y="956001"/>
                  <a:pt x="79286" y="946110"/>
                  <a:pt x="86690" y="940383"/>
                </a:cubicBezTo>
                <a:cubicBezTo>
                  <a:pt x="94094" y="934657"/>
                  <a:pt x="86690" y="924013"/>
                  <a:pt x="98259" y="922336"/>
                </a:cubicBezTo>
                <a:cubicBezTo>
                  <a:pt x="109828" y="920658"/>
                  <a:pt x="98259" y="905966"/>
                  <a:pt x="106473" y="903479"/>
                </a:cubicBezTo>
                <a:cubicBezTo>
                  <a:pt x="114687" y="900992"/>
                  <a:pt x="104853" y="891910"/>
                  <a:pt x="107283" y="882192"/>
                </a:cubicBezTo>
                <a:cubicBezTo>
                  <a:pt x="109712" y="872474"/>
                  <a:pt x="100746" y="864839"/>
                  <a:pt x="111389" y="860848"/>
                </a:cubicBezTo>
                <a:cubicBezTo>
                  <a:pt x="122033" y="856856"/>
                  <a:pt x="114687" y="848585"/>
                  <a:pt x="107283" y="842800"/>
                </a:cubicBezTo>
                <a:cubicBezTo>
                  <a:pt x="99878" y="837016"/>
                  <a:pt x="108960" y="837016"/>
                  <a:pt x="117926" y="837016"/>
                </a:cubicBezTo>
                <a:cubicBezTo>
                  <a:pt x="126892" y="837016"/>
                  <a:pt x="122033" y="822265"/>
                  <a:pt x="113819" y="824695"/>
                </a:cubicBezTo>
                <a:cubicBezTo>
                  <a:pt x="104101" y="827645"/>
                  <a:pt x="98259" y="818158"/>
                  <a:pt x="105663" y="810812"/>
                </a:cubicBezTo>
                <a:cubicBezTo>
                  <a:pt x="113067" y="803466"/>
                  <a:pt x="99069" y="798491"/>
                  <a:pt x="101556" y="793459"/>
                </a:cubicBezTo>
                <a:cubicBezTo>
                  <a:pt x="104442" y="788594"/>
                  <a:pt x="103390" y="782358"/>
                  <a:pt x="99069" y="778709"/>
                </a:cubicBezTo>
                <a:cubicBezTo>
                  <a:pt x="94152" y="775411"/>
                  <a:pt x="97449" y="750828"/>
                  <a:pt x="103176" y="749786"/>
                </a:cubicBezTo>
                <a:cubicBezTo>
                  <a:pt x="108902" y="748745"/>
                  <a:pt x="104853" y="726649"/>
                  <a:pt x="104853" y="720286"/>
                </a:cubicBezTo>
                <a:cubicBezTo>
                  <a:pt x="104853" y="713923"/>
                  <a:pt x="98259" y="707155"/>
                  <a:pt x="99069" y="701429"/>
                </a:cubicBezTo>
                <a:cubicBezTo>
                  <a:pt x="99878" y="695702"/>
                  <a:pt x="106473" y="693967"/>
                  <a:pt x="106473" y="682571"/>
                </a:cubicBezTo>
                <a:cubicBezTo>
                  <a:pt x="106473" y="671176"/>
                  <a:pt x="108960" y="666143"/>
                  <a:pt x="113819" y="665218"/>
                </a:cubicBezTo>
                <a:cubicBezTo>
                  <a:pt x="118678" y="664292"/>
                  <a:pt x="114687" y="651277"/>
                  <a:pt x="115497" y="644741"/>
                </a:cubicBezTo>
                <a:cubicBezTo>
                  <a:pt x="116306" y="638205"/>
                  <a:pt x="129437" y="644741"/>
                  <a:pt x="131057" y="634040"/>
                </a:cubicBezTo>
                <a:cubicBezTo>
                  <a:pt x="132676" y="623339"/>
                  <a:pt x="122843" y="625074"/>
                  <a:pt x="124520" y="618480"/>
                </a:cubicBezTo>
                <a:cubicBezTo>
                  <a:pt x="126487" y="610671"/>
                  <a:pt x="123710" y="600490"/>
                  <a:pt x="123710" y="582385"/>
                </a:cubicBezTo>
                <a:cubicBezTo>
                  <a:pt x="123710" y="564280"/>
                  <a:pt x="138461" y="560289"/>
                  <a:pt x="144187" y="555314"/>
                </a:cubicBezTo>
                <a:cubicBezTo>
                  <a:pt x="149914" y="550339"/>
                  <a:pt x="136783" y="524194"/>
                  <a:pt x="144187" y="520607"/>
                </a:cubicBezTo>
                <a:cubicBezTo>
                  <a:pt x="151591" y="517021"/>
                  <a:pt x="146617" y="505105"/>
                  <a:pt x="152401" y="500940"/>
                </a:cubicBezTo>
                <a:cubicBezTo>
                  <a:pt x="158186" y="496776"/>
                  <a:pt x="156508" y="487867"/>
                  <a:pt x="159747" y="477802"/>
                </a:cubicBezTo>
                <a:cubicBezTo>
                  <a:pt x="162986" y="467738"/>
                  <a:pt x="153211" y="463052"/>
                  <a:pt x="153211" y="454086"/>
                </a:cubicBezTo>
                <a:cubicBezTo>
                  <a:pt x="153529" y="444276"/>
                  <a:pt x="150330" y="434674"/>
                  <a:pt x="144187" y="427015"/>
                </a:cubicBezTo>
                <a:cubicBezTo>
                  <a:pt x="136783" y="417182"/>
                  <a:pt x="139270" y="397457"/>
                  <a:pt x="144187" y="397457"/>
                </a:cubicBezTo>
                <a:cubicBezTo>
                  <a:pt x="149104" y="397457"/>
                  <a:pt x="146617" y="378657"/>
                  <a:pt x="155756" y="376170"/>
                </a:cubicBezTo>
                <a:cubicBezTo>
                  <a:pt x="164895" y="373683"/>
                  <a:pt x="159805" y="359742"/>
                  <a:pt x="155756" y="348289"/>
                </a:cubicBezTo>
                <a:cubicBezTo>
                  <a:pt x="151707" y="336836"/>
                  <a:pt x="163102" y="342505"/>
                  <a:pt x="163102" y="333481"/>
                </a:cubicBezTo>
                <a:cubicBezTo>
                  <a:pt x="163102" y="324457"/>
                  <a:pt x="168019" y="312194"/>
                  <a:pt x="175423" y="308897"/>
                </a:cubicBezTo>
                <a:cubicBezTo>
                  <a:pt x="182827" y="305600"/>
                  <a:pt x="183637" y="291544"/>
                  <a:pt x="183637" y="285759"/>
                </a:cubicBezTo>
                <a:cubicBezTo>
                  <a:pt x="183637" y="279975"/>
                  <a:pt x="194280" y="277546"/>
                  <a:pt x="200007" y="272687"/>
                </a:cubicBezTo>
                <a:cubicBezTo>
                  <a:pt x="205733" y="267828"/>
                  <a:pt x="190173" y="259556"/>
                  <a:pt x="199197" y="254582"/>
                </a:cubicBezTo>
                <a:cubicBezTo>
                  <a:pt x="208221" y="249607"/>
                  <a:pt x="191793" y="229188"/>
                  <a:pt x="196710" y="225139"/>
                </a:cubicBezTo>
                <a:cubicBezTo>
                  <a:pt x="201627" y="221089"/>
                  <a:pt x="197520" y="211950"/>
                  <a:pt x="198387" y="205414"/>
                </a:cubicBezTo>
                <a:cubicBezTo>
                  <a:pt x="199255" y="198877"/>
                  <a:pt x="226268" y="186557"/>
                  <a:pt x="229507" y="180830"/>
                </a:cubicBezTo>
                <a:cubicBezTo>
                  <a:pt x="233024" y="170516"/>
                  <a:pt x="234974" y="159734"/>
                  <a:pt x="235292" y="148842"/>
                </a:cubicBezTo>
                <a:cubicBezTo>
                  <a:pt x="226847" y="154337"/>
                  <a:pt x="219500" y="157287"/>
                  <a:pt x="217939" y="154106"/>
                </a:cubicBezTo>
                <a:cubicBezTo>
                  <a:pt x="215509" y="148322"/>
                  <a:pt x="218748" y="131489"/>
                  <a:pt x="211518" y="124316"/>
                </a:cubicBezTo>
                <a:cubicBezTo>
                  <a:pt x="204287" y="117143"/>
                  <a:pt x="209089" y="102451"/>
                  <a:pt x="201800" y="99269"/>
                </a:cubicBezTo>
                <a:cubicBezTo>
                  <a:pt x="194512" y="96088"/>
                  <a:pt x="185662" y="81453"/>
                  <a:pt x="192082" y="76595"/>
                </a:cubicBezTo>
                <a:cubicBezTo>
                  <a:pt x="198503" y="71735"/>
                  <a:pt x="192082" y="62076"/>
                  <a:pt x="197867" y="57274"/>
                </a:cubicBezTo>
                <a:cubicBezTo>
                  <a:pt x="203651" y="52474"/>
                  <a:pt x="194627" y="51490"/>
                  <a:pt x="186298" y="41888"/>
                </a:cubicBezTo>
                <a:cubicBezTo>
                  <a:pt x="177968" y="32286"/>
                  <a:pt x="189537" y="20081"/>
                  <a:pt x="179819" y="12966"/>
                </a:cubicBezTo>
                <a:cubicBezTo>
                  <a:pt x="170102" y="5851"/>
                  <a:pt x="170159" y="-3173"/>
                  <a:pt x="167730" y="876"/>
                </a:cubicBezTo>
                <a:cubicBezTo>
                  <a:pt x="165300" y="4925"/>
                  <a:pt x="164490" y="18634"/>
                  <a:pt x="156161" y="22684"/>
                </a:cubicBezTo>
                <a:cubicBezTo>
                  <a:pt x="154090" y="23904"/>
                  <a:pt x="152152" y="25339"/>
                  <a:pt x="150376" y="26964"/>
                </a:cubicBezTo>
                <a:cubicBezTo>
                  <a:pt x="150376" y="33674"/>
                  <a:pt x="148005" y="44954"/>
                  <a:pt x="150376" y="51548"/>
                </a:cubicBezTo>
                <a:cubicBezTo>
                  <a:pt x="154021" y="60687"/>
                  <a:pt x="156161" y="104880"/>
                  <a:pt x="152228" y="121829"/>
                </a:cubicBezTo>
                <a:cubicBezTo>
                  <a:pt x="149428" y="135769"/>
                  <a:pt x="145778" y="149524"/>
                  <a:pt x="141295" y="163014"/>
                </a:cubicBezTo>
                <a:cubicBezTo>
                  <a:pt x="137709" y="173310"/>
                  <a:pt x="149798" y="173947"/>
                  <a:pt x="144939" y="178747"/>
                </a:cubicBezTo>
                <a:cubicBezTo>
                  <a:pt x="140080" y="183549"/>
                  <a:pt x="141931" y="195754"/>
                  <a:pt x="141931" y="215132"/>
                </a:cubicBezTo>
                <a:cubicBezTo>
                  <a:pt x="141931" y="234509"/>
                  <a:pt x="130363" y="267192"/>
                  <a:pt x="129784" y="277488"/>
                </a:cubicBezTo>
                <a:cubicBezTo>
                  <a:pt x="129206" y="287784"/>
                  <a:pt x="121339" y="294436"/>
                  <a:pt x="122553" y="306005"/>
                </a:cubicBezTo>
                <a:cubicBezTo>
                  <a:pt x="123768" y="317574"/>
                  <a:pt x="116769" y="324168"/>
                  <a:pt x="110406" y="329605"/>
                </a:cubicBezTo>
                <a:cubicBezTo>
                  <a:pt x="104043" y="335043"/>
                  <a:pt x="121339" y="352743"/>
                  <a:pt x="120702" y="362345"/>
                </a:cubicBezTo>
                <a:cubicBezTo>
                  <a:pt x="120066" y="371947"/>
                  <a:pt x="107398" y="376228"/>
                  <a:pt x="110406" y="392019"/>
                </a:cubicBezTo>
                <a:cubicBezTo>
                  <a:pt x="114224" y="411629"/>
                  <a:pt x="110406" y="445294"/>
                  <a:pt x="110406" y="452004"/>
                </a:cubicBezTo>
                <a:cubicBezTo>
                  <a:pt x="110406" y="458714"/>
                  <a:pt x="102539" y="457789"/>
                  <a:pt x="104622" y="470746"/>
                </a:cubicBezTo>
                <a:cubicBezTo>
                  <a:pt x="106704" y="483703"/>
                  <a:pt x="96697" y="486479"/>
                  <a:pt x="94904" y="504700"/>
                </a:cubicBezTo>
                <a:cubicBezTo>
                  <a:pt x="93111" y="522921"/>
                  <a:pt x="79170" y="548893"/>
                  <a:pt x="73733" y="562834"/>
                </a:cubicBezTo>
                <a:cubicBezTo>
                  <a:pt x="68295" y="576774"/>
                  <a:pt x="67948" y="584583"/>
                  <a:pt x="61007" y="584583"/>
                </a:cubicBezTo>
                <a:cubicBezTo>
                  <a:pt x="54066" y="584583"/>
                  <a:pt x="51926" y="592508"/>
                  <a:pt x="57363" y="604597"/>
                </a:cubicBezTo>
                <a:cubicBezTo>
                  <a:pt x="62800" y="616687"/>
                  <a:pt x="53719" y="627041"/>
                  <a:pt x="61007" y="639304"/>
                </a:cubicBezTo>
                <a:cubicBezTo>
                  <a:pt x="68295" y="651567"/>
                  <a:pt x="65808" y="655616"/>
                  <a:pt x="62164" y="667185"/>
                </a:cubicBezTo>
                <a:cubicBezTo>
                  <a:pt x="58520" y="678754"/>
                  <a:pt x="53719" y="679216"/>
                  <a:pt x="53719" y="690322"/>
                </a:cubicBezTo>
                <a:cubicBezTo>
                  <a:pt x="53719" y="701429"/>
                  <a:pt x="45216" y="710337"/>
                  <a:pt x="50075" y="722426"/>
                </a:cubicBezTo>
                <a:cubicBezTo>
                  <a:pt x="54933" y="734515"/>
                  <a:pt x="53719" y="738796"/>
                  <a:pt x="47645" y="738796"/>
                </a:cubicBezTo>
                <a:cubicBezTo>
                  <a:pt x="41571" y="738796"/>
                  <a:pt x="38564" y="748514"/>
                  <a:pt x="36076" y="768470"/>
                </a:cubicBezTo>
                <a:cubicBezTo>
                  <a:pt x="33589" y="788426"/>
                  <a:pt x="34283" y="787848"/>
                  <a:pt x="48802" y="786691"/>
                </a:cubicBezTo>
                <a:cubicBezTo>
                  <a:pt x="63321" y="785534"/>
                  <a:pt x="51868" y="737581"/>
                  <a:pt x="60949" y="737581"/>
                </a:cubicBezTo>
                <a:cubicBezTo>
                  <a:pt x="70031" y="737581"/>
                  <a:pt x="62106" y="729657"/>
                  <a:pt x="71246" y="727285"/>
                </a:cubicBezTo>
                <a:cubicBezTo>
                  <a:pt x="80385" y="724913"/>
                  <a:pt x="72402" y="735730"/>
                  <a:pt x="78476" y="737581"/>
                </a:cubicBezTo>
                <a:cubicBezTo>
                  <a:pt x="84550" y="739432"/>
                  <a:pt x="88772" y="744233"/>
                  <a:pt x="80327" y="749671"/>
                </a:cubicBezTo>
                <a:cubicBezTo>
                  <a:pt x="71882" y="755108"/>
                  <a:pt x="82120" y="766041"/>
                  <a:pt x="77898" y="772808"/>
                </a:cubicBezTo>
                <a:cubicBezTo>
                  <a:pt x="73675" y="779576"/>
                  <a:pt x="67601" y="786749"/>
                  <a:pt x="71246" y="794558"/>
                </a:cubicBezTo>
                <a:cubicBezTo>
                  <a:pt x="74890" y="802367"/>
                  <a:pt x="66965" y="801846"/>
                  <a:pt x="66387" y="811911"/>
                </a:cubicBezTo>
                <a:cubicBezTo>
                  <a:pt x="65808" y="821976"/>
                  <a:pt x="71824" y="822844"/>
                  <a:pt x="67601" y="825215"/>
                </a:cubicBezTo>
                <a:cubicBezTo>
                  <a:pt x="63379" y="827587"/>
                  <a:pt x="73039" y="835570"/>
                  <a:pt x="66965" y="836784"/>
                </a:cubicBezTo>
                <a:cubicBezTo>
                  <a:pt x="60892" y="837999"/>
                  <a:pt x="64536" y="845866"/>
                  <a:pt x="68180" y="853096"/>
                </a:cubicBezTo>
                <a:cubicBezTo>
                  <a:pt x="71824" y="860327"/>
                  <a:pt x="60313" y="856104"/>
                  <a:pt x="54239" y="860963"/>
                </a:cubicBezTo>
                <a:cubicBezTo>
                  <a:pt x="48166" y="865822"/>
                  <a:pt x="60024" y="872532"/>
                  <a:pt x="56669" y="879184"/>
                </a:cubicBezTo>
                <a:cubicBezTo>
                  <a:pt x="53314" y="885836"/>
                  <a:pt x="43365" y="875540"/>
                  <a:pt x="39316" y="871896"/>
                </a:cubicBezTo>
                <a:cubicBezTo>
                  <a:pt x="35267" y="868251"/>
                  <a:pt x="45968" y="860963"/>
                  <a:pt x="51405" y="853732"/>
                </a:cubicBezTo>
                <a:cubicBezTo>
                  <a:pt x="56842" y="846502"/>
                  <a:pt x="45968" y="830074"/>
                  <a:pt x="36828" y="833719"/>
                </a:cubicBezTo>
                <a:cubicBezTo>
                  <a:pt x="27689" y="837363"/>
                  <a:pt x="45968" y="847601"/>
                  <a:pt x="45968" y="855526"/>
                </a:cubicBezTo>
                <a:cubicBezTo>
                  <a:pt x="45968" y="863450"/>
                  <a:pt x="30812" y="853732"/>
                  <a:pt x="31391" y="862178"/>
                </a:cubicBezTo>
                <a:cubicBezTo>
                  <a:pt x="31969" y="870623"/>
                  <a:pt x="21095" y="867673"/>
                  <a:pt x="15657" y="873747"/>
                </a:cubicBezTo>
                <a:cubicBezTo>
                  <a:pt x="10220" y="879820"/>
                  <a:pt x="22946" y="885316"/>
                  <a:pt x="16872" y="887109"/>
                </a:cubicBezTo>
                <a:cubicBezTo>
                  <a:pt x="10798" y="888902"/>
                  <a:pt x="502" y="897405"/>
                  <a:pt x="-77" y="903421"/>
                </a:cubicBezTo>
                <a:cubicBezTo>
                  <a:pt x="-655" y="909437"/>
                  <a:pt x="6576" y="910709"/>
                  <a:pt x="6576" y="904636"/>
                </a:cubicBezTo>
                <a:cubicBezTo>
                  <a:pt x="6576" y="898562"/>
                  <a:pt x="16293" y="896769"/>
                  <a:pt x="19301" y="904636"/>
                </a:cubicBezTo>
                <a:cubicBezTo>
                  <a:pt x="22309" y="912502"/>
                  <a:pt x="26532" y="904636"/>
                  <a:pt x="35035" y="906486"/>
                </a:cubicBezTo>
                <a:cubicBezTo>
                  <a:pt x="43538" y="908338"/>
                  <a:pt x="42323" y="921005"/>
                  <a:pt x="37465" y="920369"/>
                </a:cubicBezTo>
                <a:cubicBezTo>
                  <a:pt x="32606" y="919733"/>
                  <a:pt x="27804" y="928294"/>
                  <a:pt x="29019" y="937375"/>
                </a:cubicBezTo>
                <a:cubicBezTo>
                  <a:pt x="30234" y="946457"/>
                  <a:pt x="47182" y="937375"/>
                  <a:pt x="54413" y="939805"/>
                </a:cubicBezTo>
                <a:cubicBezTo>
                  <a:pt x="61644" y="942235"/>
                  <a:pt x="59272" y="954902"/>
                  <a:pt x="55049" y="950680"/>
                </a:cubicBezTo>
                <a:cubicBezTo>
                  <a:pt x="50827" y="946457"/>
                  <a:pt x="41109" y="939111"/>
                  <a:pt x="36828" y="946457"/>
                </a:cubicBezTo>
                <a:cubicBezTo>
                  <a:pt x="32548" y="953803"/>
                  <a:pt x="25953" y="950101"/>
                  <a:pt x="20516" y="947672"/>
                </a:cubicBezTo>
                <a:cubicBezTo>
                  <a:pt x="15079" y="945242"/>
                  <a:pt x="-4299" y="957968"/>
                  <a:pt x="2353" y="962827"/>
                </a:cubicBezTo>
                <a:cubicBezTo>
                  <a:pt x="9005" y="967686"/>
                  <a:pt x="8138" y="975495"/>
                  <a:pt x="12649" y="974916"/>
                </a:cubicBezTo>
                <a:cubicBezTo>
                  <a:pt x="18093" y="974147"/>
                  <a:pt x="22940" y="971070"/>
                  <a:pt x="25953" y="966471"/>
                </a:cubicBezTo>
                <a:cubicBezTo>
                  <a:pt x="28383" y="961554"/>
                  <a:pt x="36828" y="956753"/>
                  <a:pt x="37522" y="967628"/>
                </a:cubicBezTo>
                <a:cubicBezTo>
                  <a:pt x="38217" y="978503"/>
                  <a:pt x="25953" y="973065"/>
                  <a:pt x="23582" y="979197"/>
                </a:cubicBezTo>
                <a:cubicBezTo>
                  <a:pt x="20325" y="985861"/>
                  <a:pt x="15305" y="991506"/>
                  <a:pt x="9063" y="995509"/>
                </a:cubicBezTo>
                <a:cubicBezTo>
                  <a:pt x="6101" y="997574"/>
                  <a:pt x="5378" y="1001652"/>
                  <a:pt x="7443" y="1004608"/>
                </a:cubicBezTo>
                <a:cubicBezTo>
                  <a:pt x="9098" y="1006980"/>
                  <a:pt x="12106" y="1007980"/>
                  <a:pt x="14847" y="1007078"/>
                </a:cubicBezTo>
                <a:cubicBezTo>
                  <a:pt x="20632" y="1004012"/>
                  <a:pt x="13054" y="1014366"/>
                  <a:pt x="21557" y="1015581"/>
                </a:cubicBezTo>
                <a:cubicBezTo>
                  <a:pt x="30060" y="1016796"/>
                  <a:pt x="31854" y="1010722"/>
                  <a:pt x="30002" y="1004648"/>
                </a:cubicBezTo>
                <a:cubicBezTo>
                  <a:pt x="28151" y="998575"/>
                  <a:pt x="34283" y="985270"/>
                  <a:pt x="41571" y="991923"/>
                </a:cubicBezTo>
                <a:cubicBezTo>
                  <a:pt x="48860" y="998575"/>
                  <a:pt x="37927" y="1005285"/>
                  <a:pt x="37927" y="1011300"/>
                </a:cubicBezTo>
                <a:cubicBezTo>
                  <a:pt x="37927" y="1017316"/>
                  <a:pt x="33647" y="1025241"/>
                  <a:pt x="33647" y="1031893"/>
                </a:cubicBezTo>
                <a:cubicBezTo>
                  <a:pt x="33647" y="1038545"/>
                  <a:pt x="25780" y="1034901"/>
                  <a:pt x="26358" y="1042189"/>
                </a:cubicBezTo>
                <a:cubicBezTo>
                  <a:pt x="26937" y="1049478"/>
                  <a:pt x="9410" y="1044619"/>
                  <a:pt x="17335" y="1049478"/>
                </a:cubicBezTo>
                <a:cubicBezTo>
                  <a:pt x="25259" y="1054336"/>
                  <a:pt x="12476" y="1061047"/>
                  <a:pt x="16698" y="1065848"/>
                </a:cubicBezTo>
                <a:cubicBezTo>
                  <a:pt x="20921" y="1070649"/>
                  <a:pt x="24565" y="1059196"/>
                  <a:pt x="31217" y="1061567"/>
                </a:cubicBezTo>
                <a:cubicBezTo>
                  <a:pt x="37870" y="1063939"/>
                  <a:pt x="36655" y="1065848"/>
                  <a:pt x="45158" y="1062204"/>
                </a:cubicBezTo>
                <a:cubicBezTo>
                  <a:pt x="53661" y="1058559"/>
                  <a:pt x="58520" y="1068855"/>
                  <a:pt x="50942" y="1071285"/>
                </a:cubicBezTo>
                <a:cubicBezTo>
                  <a:pt x="43365" y="1073715"/>
                  <a:pt x="34572" y="1082854"/>
                  <a:pt x="38217" y="1084011"/>
                </a:cubicBezTo>
                <a:cubicBezTo>
                  <a:pt x="41861" y="1085168"/>
                  <a:pt x="52157" y="1078226"/>
                  <a:pt x="54528" y="1085862"/>
                </a:cubicBezTo>
                <a:cubicBezTo>
                  <a:pt x="56900" y="1093497"/>
                  <a:pt x="63032" y="1091299"/>
                  <a:pt x="63668" y="1082796"/>
                </a:cubicBezTo>
                <a:cubicBezTo>
                  <a:pt x="64304" y="1074293"/>
                  <a:pt x="78765" y="1081581"/>
                  <a:pt x="81021" y="1088581"/>
                </a:cubicBezTo>
                <a:cubicBezTo>
                  <a:pt x="83277" y="1095579"/>
                  <a:pt x="65866" y="1100149"/>
                  <a:pt x="56784" y="1098240"/>
                </a:cubicBezTo>
                <a:cubicBezTo>
                  <a:pt x="47703" y="1096331"/>
                  <a:pt x="42844" y="1106743"/>
                  <a:pt x="48918" y="1114610"/>
                </a:cubicBezTo>
                <a:cubicBezTo>
                  <a:pt x="54991" y="1122477"/>
                  <a:pt x="62222" y="1114610"/>
                  <a:pt x="68932" y="1107958"/>
                </a:cubicBezTo>
                <a:cubicBezTo>
                  <a:pt x="75642" y="1101306"/>
                  <a:pt x="108266" y="1103100"/>
                  <a:pt x="110695" y="1110388"/>
                </a:cubicBezTo>
                <a:cubicBezTo>
                  <a:pt x="113125" y="1117676"/>
                  <a:pt x="95540" y="1111602"/>
                  <a:pt x="93747" y="1115825"/>
                </a:cubicBezTo>
                <a:cubicBezTo>
                  <a:pt x="91954" y="1120048"/>
                  <a:pt x="78592" y="1123692"/>
                  <a:pt x="76799" y="1118891"/>
                </a:cubicBezTo>
                <a:cubicBezTo>
                  <a:pt x="75006" y="1114090"/>
                  <a:pt x="62222" y="1120684"/>
                  <a:pt x="61644" y="1128551"/>
                </a:cubicBezTo>
                <a:cubicBezTo>
                  <a:pt x="61065" y="1136418"/>
                  <a:pt x="51347" y="1136418"/>
                  <a:pt x="62222" y="1139483"/>
                </a:cubicBezTo>
                <a:cubicBezTo>
                  <a:pt x="73097" y="1142549"/>
                  <a:pt x="70146" y="1127915"/>
                  <a:pt x="87095" y="1129129"/>
                </a:cubicBezTo>
                <a:cubicBezTo>
                  <a:pt x="104043" y="1130344"/>
                  <a:pt x="113125" y="1113396"/>
                  <a:pt x="117984" y="1123345"/>
                </a:cubicBezTo>
                <a:cubicBezTo>
                  <a:pt x="122843" y="1133294"/>
                  <a:pt x="104043" y="1140698"/>
                  <a:pt x="97391" y="1134914"/>
                </a:cubicBezTo>
                <a:cubicBezTo>
                  <a:pt x="90739" y="1129129"/>
                  <a:pt x="82872" y="1139194"/>
                  <a:pt x="83451" y="1148276"/>
                </a:cubicBezTo>
                <a:cubicBezTo>
                  <a:pt x="84029" y="1157357"/>
                  <a:pt x="64073" y="1145846"/>
                  <a:pt x="54528" y="1144632"/>
                </a:cubicBezTo>
                <a:cubicBezTo>
                  <a:pt x="44984" y="1143417"/>
                  <a:pt x="49091" y="1153713"/>
                  <a:pt x="57594" y="1162795"/>
                </a:cubicBezTo>
                <a:cubicBezTo>
                  <a:pt x="66097" y="1171876"/>
                  <a:pt x="70898" y="1161638"/>
                  <a:pt x="81195" y="1168579"/>
                </a:cubicBezTo>
                <a:cubicBezTo>
                  <a:pt x="91491" y="1175520"/>
                  <a:pt x="91491" y="1182462"/>
                  <a:pt x="98548" y="1175809"/>
                </a:cubicBezTo>
                <a:cubicBezTo>
                  <a:pt x="105605" y="1169158"/>
                  <a:pt x="98548" y="1170025"/>
                  <a:pt x="93689" y="1166728"/>
                </a:cubicBezTo>
                <a:cubicBezTo>
                  <a:pt x="88830" y="1163431"/>
                  <a:pt x="93111" y="1153424"/>
                  <a:pt x="104622" y="1158861"/>
                </a:cubicBezTo>
                <a:cubicBezTo>
                  <a:pt x="112541" y="1162355"/>
                  <a:pt x="121796" y="1158763"/>
                  <a:pt x="125290" y="1150844"/>
                </a:cubicBezTo>
                <a:cubicBezTo>
                  <a:pt x="126874" y="1147252"/>
                  <a:pt x="127054" y="1143197"/>
                  <a:pt x="125793" y="1139483"/>
                </a:cubicBezTo>
                <a:cubicBezTo>
                  <a:pt x="122148" y="1124964"/>
                  <a:pt x="136089" y="1118255"/>
                  <a:pt x="150029" y="1113396"/>
                </a:cubicBezTo>
                <a:cubicBezTo>
                  <a:pt x="163970" y="1108537"/>
                  <a:pt x="156682" y="1122535"/>
                  <a:pt x="146385" y="1126758"/>
                </a:cubicBezTo>
                <a:cubicBezTo>
                  <a:pt x="136089" y="1130980"/>
                  <a:pt x="134296" y="1134046"/>
                  <a:pt x="142163" y="1142491"/>
                </a:cubicBezTo>
                <a:cubicBezTo>
                  <a:pt x="150029" y="1150937"/>
                  <a:pt x="160326" y="1137054"/>
                  <a:pt x="166978" y="1143706"/>
                </a:cubicBezTo>
                <a:cubicBezTo>
                  <a:pt x="173630" y="1150358"/>
                  <a:pt x="154888" y="1149143"/>
                  <a:pt x="151823" y="1155911"/>
                </a:cubicBezTo>
                <a:cubicBezTo>
                  <a:pt x="148757" y="1162679"/>
                  <a:pt x="163391" y="1170372"/>
                  <a:pt x="153037" y="1175231"/>
                </a:cubicBezTo>
                <a:cubicBezTo>
                  <a:pt x="142683" y="1180090"/>
                  <a:pt x="147600" y="1155217"/>
                  <a:pt x="141469" y="1152788"/>
                </a:cubicBezTo>
                <a:cubicBezTo>
                  <a:pt x="135337" y="1150358"/>
                  <a:pt x="129900" y="1155911"/>
                  <a:pt x="136031" y="1169794"/>
                </a:cubicBezTo>
                <a:cubicBezTo>
                  <a:pt x="142163" y="1183677"/>
                  <a:pt x="128743" y="1171587"/>
                  <a:pt x="122727" y="1164935"/>
                </a:cubicBezTo>
                <a:cubicBezTo>
                  <a:pt x="116711" y="1158283"/>
                  <a:pt x="108150" y="1167943"/>
                  <a:pt x="115439" y="1175231"/>
                </a:cubicBezTo>
                <a:cubicBezTo>
                  <a:pt x="122727" y="1182520"/>
                  <a:pt x="101498" y="1174595"/>
                  <a:pt x="101498" y="1186106"/>
                </a:cubicBezTo>
                <a:cubicBezTo>
                  <a:pt x="101498" y="1197617"/>
                  <a:pt x="110580" y="1187957"/>
                  <a:pt x="121512" y="1190386"/>
                </a:cubicBezTo>
                <a:cubicBezTo>
                  <a:pt x="132445" y="1192816"/>
                  <a:pt x="127297" y="1208607"/>
                  <a:pt x="135453" y="1214623"/>
                </a:cubicBezTo>
                <a:cubicBezTo>
                  <a:pt x="143609" y="1220639"/>
                  <a:pt x="136609" y="1195188"/>
                  <a:pt x="145113" y="1193394"/>
                </a:cubicBezTo>
                <a:cubicBezTo>
                  <a:pt x="153616" y="1191601"/>
                  <a:pt x="145749" y="1212772"/>
                  <a:pt x="164490" y="1218846"/>
                </a:cubicBezTo>
                <a:cubicBezTo>
                  <a:pt x="183232" y="1224920"/>
                  <a:pt x="165705" y="1215259"/>
                  <a:pt x="174208" y="1209186"/>
                </a:cubicBezTo>
                <a:cubicBezTo>
                  <a:pt x="182712" y="1203112"/>
                  <a:pt x="193586" y="1227291"/>
                  <a:pt x="202668" y="1229778"/>
                </a:cubicBezTo>
                <a:cubicBezTo>
                  <a:pt x="211749" y="1232266"/>
                  <a:pt x="205676" y="1218846"/>
                  <a:pt x="199024" y="1211558"/>
                </a:cubicBezTo>
                <a:cubicBezTo>
                  <a:pt x="192371" y="1204269"/>
                  <a:pt x="205676" y="1208607"/>
                  <a:pt x="214757" y="1211558"/>
                </a:cubicBezTo>
                <a:cubicBezTo>
                  <a:pt x="223839" y="1214507"/>
                  <a:pt x="231127" y="1215780"/>
                  <a:pt x="232978" y="1209186"/>
                </a:cubicBezTo>
                <a:cubicBezTo>
                  <a:pt x="233614" y="1206641"/>
                  <a:pt x="235350" y="1206698"/>
                  <a:pt x="237490" y="1207393"/>
                </a:cubicBezTo>
                <a:cubicBezTo>
                  <a:pt x="228004" y="1201203"/>
                  <a:pt x="195900" y="1205715"/>
                  <a:pt x="191214" y="1204963"/>
                </a:cubicBezTo>
                <a:cubicBezTo>
                  <a:pt x="186529" y="1204211"/>
                  <a:pt x="190231" y="1131617"/>
                  <a:pt x="191214" y="1115015"/>
                </a:cubicBezTo>
                <a:cubicBezTo>
                  <a:pt x="190596" y="1114819"/>
                  <a:pt x="189954" y="1114697"/>
                  <a:pt x="189306" y="1114668"/>
                </a:cubicBezTo>
                <a:cubicBezTo>
                  <a:pt x="181439" y="1114668"/>
                  <a:pt x="163854" y="1116462"/>
                  <a:pt x="166862" y="1104314"/>
                </a:cubicBezTo>
                <a:cubicBezTo>
                  <a:pt x="167244" y="1102561"/>
                  <a:pt x="168424" y="1101086"/>
                  <a:pt x="170044" y="1100323"/>
                </a:cubicBezTo>
                <a:cubicBezTo>
                  <a:pt x="165896" y="1096355"/>
                  <a:pt x="160858" y="1093439"/>
                  <a:pt x="155351" y="1091820"/>
                </a:cubicBezTo>
                <a:cubicBezTo>
                  <a:pt x="143262" y="1088985"/>
                  <a:pt x="113645" y="1092225"/>
                  <a:pt x="107109" y="109303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79" name="Forma libre: forma 178">
            <a:extLst>
              <a:ext uri="{FF2B5EF4-FFF2-40B4-BE49-F238E27FC236}">
                <a16:creationId xmlns:a16="http://schemas.microsoft.com/office/drawing/2014/main" id="{8B7512CE-20F1-5191-24D9-FCAC46F3D444}"/>
              </a:ext>
            </a:extLst>
          </p:cNvPr>
          <p:cNvSpPr/>
          <p:nvPr/>
        </p:nvSpPr>
        <p:spPr>
          <a:xfrm>
            <a:off x="4452454" y="5022631"/>
            <a:ext cx="235939" cy="239946"/>
          </a:xfrm>
          <a:custGeom>
            <a:avLst/>
            <a:gdLst>
              <a:gd name="connsiteX0" fmla="*/ 232309 w 235939"/>
              <a:gd name="connsiteY0" fmla="*/ 131186 h 239946"/>
              <a:gd name="connsiteX1" fmla="*/ 209171 w 235939"/>
              <a:gd name="connsiteY1" fmla="*/ 136102 h 239946"/>
              <a:gd name="connsiteX2" fmla="*/ 196041 w 235939"/>
              <a:gd name="connsiteY2" fmla="*/ 105792 h 239946"/>
              <a:gd name="connsiteX3" fmla="*/ 177183 w 235939"/>
              <a:gd name="connsiteY3" fmla="*/ 82654 h 239946"/>
              <a:gd name="connsiteX4" fmla="*/ 153467 w 235939"/>
              <a:gd name="connsiteY4" fmla="*/ 80167 h 239946"/>
              <a:gd name="connsiteX5" fmla="*/ 139469 w 235939"/>
              <a:gd name="connsiteY5" fmla="*/ 58013 h 239946"/>
              <a:gd name="connsiteX6" fmla="*/ 134552 w 235939"/>
              <a:gd name="connsiteY6" fmla="*/ 24463 h 239946"/>
              <a:gd name="connsiteX7" fmla="*/ 133395 w 235939"/>
              <a:gd name="connsiteY7" fmla="*/ 9829 h 239946"/>
              <a:gd name="connsiteX8" fmla="*/ 128768 w 235939"/>
              <a:gd name="connsiteY8" fmla="*/ 11506 h 239946"/>
              <a:gd name="connsiteX9" fmla="*/ 102969 w 235939"/>
              <a:gd name="connsiteY9" fmla="*/ -63 h 239946"/>
              <a:gd name="connsiteX10" fmla="*/ 71444 w 235939"/>
              <a:gd name="connsiteY10" fmla="*/ 3176 h 239946"/>
              <a:gd name="connsiteX11" fmla="*/ 38299 w 235939"/>
              <a:gd name="connsiteY11" fmla="*/ 8961 h 239946"/>
              <a:gd name="connsiteX12" fmla="*/ 17302 w 235939"/>
              <a:gd name="connsiteY12" fmla="*/ 34760 h 239946"/>
              <a:gd name="connsiteX13" fmla="*/ 9261 w 235939"/>
              <a:gd name="connsiteY13" fmla="*/ 76754 h 239946"/>
              <a:gd name="connsiteX14" fmla="*/ -110 w 235939"/>
              <a:gd name="connsiteY14" fmla="*/ 76754 h 239946"/>
              <a:gd name="connsiteX15" fmla="*/ 37778 w 235939"/>
              <a:gd name="connsiteY15" fmla="*/ 115568 h 239946"/>
              <a:gd name="connsiteX16" fmla="*/ 68147 w 235939"/>
              <a:gd name="connsiteY16" fmla="*/ 134425 h 239946"/>
              <a:gd name="connsiteX17" fmla="*/ 98515 w 235939"/>
              <a:gd name="connsiteY17" fmla="*/ 149985 h 239946"/>
              <a:gd name="connsiteX18" fmla="*/ 149302 w 235939"/>
              <a:gd name="connsiteY18" fmla="*/ 175437 h 239946"/>
              <a:gd name="connsiteX19" fmla="*/ 128016 w 235939"/>
              <a:gd name="connsiteY19" fmla="*/ 212284 h 239946"/>
              <a:gd name="connsiteX20" fmla="*/ 118992 w 235939"/>
              <a:gd name="connsiteY20" fmla="*/ 230389 h 239946"/>
              <a:gd name="connsiteX21" fmla="*/ 144386 w 235939"/>
              <a:gd name="connsiteY21" fmla="*/ 236173 h 239946"/>
              <a:gd name="connsiteX22" fmla="*/ 170647 w 235939"/>
              <a:gd name="connsiteY22" fmla="*/ 238603 h 239946"/>
              <a:gd name="connsiteX23" fmla="*/ 194421 w 235939"/>
              <a:gd name="connsiteY23" fmla="*/ 233744 h 239946"/>
              <a:gd name="connsiteX24" fmla="*/ 215765 w 235939"/>
              <a:gd name="connsiteY24" fmla="*/ 223043 h 239946"/>
              <a:gd name="connsiteX25" fmla="*/ 229706 w 235939"/>
              <a:gd name="connsiteY25" fmla="*/ 182899 h 239946"/>
              <a:gd name="connsiteX26" fmla="*/ 232309 w 235939"/>
              <a:gd name="connsiteY26" fmla="*/ 131186 h 23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5939" h="239946">
                <a:moveTo>
                  <a:pt x="232309" y="131186"/>
                </a:moveTo>
                <a:cubicBezTo>
                  <a:pt x="222476" y="126269"/>
                  <a:pt x="212642" y="136102"/>
                  <a:pt x="209171" y="136102"/>
                </a:cubicBezTo>
                <a:cubicBezTo>
                  <a:pt x="205701" y="136102"/>
                  <a:pt x="198528" y="114816"/>
                  <a:pt x="196041" y="105792"/>
                </a:cubicBezTo>
                <a:cubicBezTo>
                  <a:pt x="193553" y="96768"/>
                  <a:pt x="183778" y="78721"/>
                  <a:pt x="177183" y="82654"/>
                </a:cubicBezTo>
                <a:cubicBezTo>
                  <a:pt x="170589" y="86588"/>
                  <a:pt x="172266" y="80977"/>
                  <a:pt x="153467" y="80167"/>
                </a:cubicBezTo>
                <a:cubicBezTo>
                  <a:pt x="134668" y="79357"/>
                  <a:pt x="135420" y="76118"/>
                  <a:pt x="139469" y="58013"/>
                </a:cubicBezTo>
                <a:cubicBezTo>
                  <a:pt x="143518" y="39907"/>
                  <a:pt x="127206" y="28512"/>
                  <a:pt x="134552" y="24463"/>
                </a:cubicBezTo>
                <a:cubicBezTo>
                  <a:pt x="140337" y="21340"/>
                  <a:pt x="139585" y="17753"/>
                  <a:pt x="133395" y="9829"/>
                </a:cubicBezTo>
                <a:cubicBezTo>
                  <a:pt x="132042" y="10812"/>
                  <a:pt x="130439" y="11390"/>
                  <a:pt x="128768" y="11506"/>
                </a:cubicBezTo>
                <a:cubicBezTo>
                  <a:pt x="122347" y="11506"/>
                  <a:pt x="114249" y="-63"/>
                  <a:pt x="102969" y="-63"/>
                </a:cubicBezTo>
                <a:cubicBezTo>
                  <a:pt x="91689" y="-63"/>
                  <a:pt x="79484" y="-873"/>
                  <a:pt x="71444" y="3176"/>
                </a:cubicBezTo>
                <a:cubicBezTo>
                  <a:pt x="63404" y="7226"/>
                  <a:pt x="48306" y="2366"/>
                  <a:pt x="38299" y="8961"/>
                </a:cubicBezTo>
                <a:cubicBezTo>
                  <a:pt x="28292" y="15555"/>
                  <a:pt x="16550" y="29091"/>
                  <a:pt x="17302" y="34760"/>
                </a:cubicBezTo>
                <a:cubicBezTo>
                  <a:pt x="18054" y="40428"/>
                  <a:pt x="14062" y="75251"/>
                  <a:pt x="9261" y="76754"/>
                </a:cubicBezTo>
                <a:cubicBezTo>
                  <a:pt x="6155" y="77205"/>
                  <a:pt x="2997" y="77205"/>
                  <a:pt x="-110" y="76754"/>
                </a:cubicBezTo>
                <a:cubicBezTo>
                  <a:pt x="10019" y="91915"/>
                  <a:pt x="22866" y="105075"/>
                  <a:pt x="37778" y="115568"/>
                </a:cubicBezTo>
                <a:cubicBezTo>
                  <a:pt x="52587" y="124592"/>
                  <a:pt x="51719" y="132921"/>
                  <a:pt x="68147" y="134425"/>
                </a:cubicBezTo>
                <a:cubicBezTo>
                  <a:pt x="80069" y="134888"/>
                  <a:pt x="91181" y="140580"/>
                  <a:pt x="98515" y="149985"/>
                </a:cubicBezTo>
                <a:cubicBezTo>
                  <a:pt x="104299" y="157389"/>
                  <a:pt x="146063" y="169652"/>
                  <a:pt x="149302" y="175437"/>
                </a:cubicBezTo>
                <a:cubicBezTo>
                  <a:pt x="152542" y="181221"/>
                  <a:pt x="128016" y="197533"/>
                  <a:pt x="128016" y="212284"/>
                </a:cubicBezTo>
                <a:cubicBezTo>
                  <a:pt x="128016" y="227034"/>
                  <a:pt x="118992" y="225472"/>
                  <a:pt x="118992" y="230389"/>
                </a:cubicBezTo>
                <a:cubicBezTo>
                  <a:pt x="118992" y="235306"/>
                  <a:pt x="137849" y="232008"/>
                  <a:pt x="144386" y="236173"/>
                </a:cubicBezTo>
                <a:cubicBezTo>
                  <a:pt x="150922" y="240338"/>
                  <a:pt x="162433" y="233744"/>
                  <a:pt x="170647" y="238603"/>
                </a:cubicBezTo>
                <a:cubicBezTo>
                  <a:pt x="178861" y="243461"/>
                  <a:pt x="188000" y="232066"/>
                  <a:pt x="194421" y="233744"/>
                </a:cubicBezTo>
                <a:cubicBezTo>
                  <a:pt x="200841" y="235421"/>
                  <a:pt x="207552" y="222175"/>
                  <a:pt x="215765" y="223043"/>
                </a:cubicBezTo>
                <a:cubicBezTo>
                  <a:pt x="223979" y="223910"/>
                  <a:pt x="231326" y="194120"/>
                  <a:pt x="229706" y="182899"/>
                </a:cubicBezTo>
                <a:cubicBezTo>
                  <a:pt x="228086" y="171677"/>
                  <a:pt x="242142" y="136218"/>
                  <a:pt x="232309" y="13118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0" name="Forma libre: forma 179">
            <a:extLst>
              <a:ext uri="{FF2B5EF4-FFF2-40B4-BE49-F238E27FC236}">
                <a16:creationId xmlns:a16="http://schemas.microsoft.com/office/drawing/2014/main" id="{4E58B7A9-DE7E-BC89-3B5D-49AB219B5B6D}"/>
              </a:ext>
            </a:extLst>
          </p:cNvPr>
          <p:cNvSpPr/>
          <p:nvPr/>
        </p:nvSpPr>
        <p:spPr>
          <a:xfrm>
            <a:off x="3820138" y="4177539"/>
            <a:ext cx="88290" cy="73284"/>
          </a:xfrm>
          <a:custGeom>
            <a:avLst/>
            <a:gdLst>
              <a:gd name="connsiteX0" fmla="*/ 84016 w 88290"/>
              <a:gd name="connsiteY0" fmla="*/ 58289 h 73284"/>
              <a:gd name="connsiteX1" fmla="*/ 88181 w 88290"/>
              <a:gd name="connsiteY1" fmla="*/ 40936 h 73284"/>
              <a:gd name="connsiteX2" fmla="*/ 61168 w 88290"/>
              <a:gd name="connsiteY2" fmla="*/ 7212 h 73284"/>
              <a:gd name="connsiteX3" fmla="*/ 47632 w 88290"/>
              <a:gd name="connsiteY3" fmla="*/ 5709 h 73284"/>
              <a:gd name="connsiteX4" fmla="*/ 20561 w 88290"/>
              <a:gd name="connsiteY4" fmla="*/ 1197 h 73284"/>
              <a:gd name="connsiteX5" fmla="*/ 5521 w 88290"/>
              <a:gd name="connsiteY5" fmla="*/ 329 h 73284"/>
              <a:gd name="connsiteX6" fmla="*/ 3439 w 88290"/>
              <a:gd name="connsiteY6" fmla="*/ 11088 h 73284"/>
              <a:gd name="connsiteX7" fmla="*/ 10727 w 88290"/>
              <a:gd name="connsiteY7" fmla="*/ 34689 h 73284"/>
              <a:gd name="connsiteX8" fmla="*/ 26461 w 88290"/>
              <a:gd name="connsiteY8" fmla="*/ 31681 h 73284"/>
              <a:gd name="connsiteX9" fmla="*/ 38608 w 88290"/>
              <a:gd name="connsiteY9" fmla="*/ 41977 h 73284"/>
              <a:gd name="connsiteX10" fmla="*/ 57986 w 88290"/>
              <a:gd name="connsiteY10" fmla="*/ 58925 h 73284"/>
              <a:gd name="connsiteX11" fmla="*/ 73720 w 88290"/>
              <a:gd name="connsiteY11" fmla="*/ 72866 h 73284"/>
              <a:gd name="connsiteX12" fmla="*/ 80603 w 88290"/>
              <a:gd name="connsiteY12" fmla="*/ 73155 h 73284"/>
              <a:gd name="connsiteX13" fmla="*/ 84016 w 88290"/>
              <a:gd name="connsiteY13" fmla="*/ 58289 h 73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290" h="73284">
                <a:moveTo>
                  <a:pt x="84016" y="58289"/>
                </a:moveTo>
                <a:cubicBezTo>
                  <a:pt x="83027" y="52181"/>
                  <a:pt x="84531" y="45928"/>
                  <a:pt x="88181" y="40936"/>
                </a:cubicBezTo>
                <a:cubicBezTo>
                  <a:pt x="78457" y="30293"/>
                  <a:pt x="69433" y="19025"/>
                  <a:pt x="61168" y="7212"/>
                </a:cubicBezTo>
                <a:cubicBezTo>
                  <a:pt x="56621" y="8364"/>
                  <a:pt x="51814" y="7831"/>
                  <a:pt x="47632" y="5709"/>
                </a:cubicBezTo>
                <a:cubicBezTo>
                  <a:pt x="41847" y="1197"/>
                  <a:pt x="26577" y="4205"/>
                  <a:pt x="20561" y="1197"/>
                </a:cubicBezTo>
                <a:cubicBezTo>
                  <a:pt x="15673" y="-203"/>
                  <a:pt x="10536" y="-498"/>
                  <a:pt x="5521" y="329"/>
                </a:cubicBezTo>
                <a:cubicBezTo>
                  <a:pt x="7234" y="3985"/>
                  <a:pt x="6395" y="8335"/>
                  <a:pt x="3439" y="11088"/>
                </a:cubicBezTo>
                <a:cubicBezTo>
                  <a:pt x="-1998" y="14733"/>
                  <a:pt x="-2345" y="29251"/>
                  <a:pt x="10727" y="34689"/>
                </a:cubicBezTo>
                <a:cubicBezTo>
                  <a:pt x="23800" y="40126"/>
                  <a:pt x="19809" y="31681"/>
                  <a:pt x="26461" y="31681"/>
                </a:cubicBezTo>
                <a:cubicBezTo>
                  <a:pt x="33113" y="31681"/>
                  <a:pt x="32535" y="41977"/>
                  <a:pt x="38608" y="41977"/>
                </a:cubicBezTo>
                <a:cubicBezTo>
                  <a:pt x="44682" y="41977"/>
                  <a:pt x="58565" y="49207"/>
                  <a:pt x="57986" y="58925"/>
                </a:cubicBezTo>
                <a:cubicBezTo>
                  <a:pt x="57408" y="68643"/>
                  <a:pt x="62845" y="72866"/>
                  <a:pt x="73720" y="72866"/>
                </a:cubicBezTo>
                <a:cubicBezTo>
                  <a:pt x="76016" y="72814"/>
                  <a:pt x="78318" y="72912"/>
                  <a:pt x="80603" y="73155"/>
                </a:cubicBezTo>
                <a:cubicBezTo>
                  <a:pt x="82223" y="66908"/>
                  <a:pt x="84942" y="61586"/>
                  <a:pt x="84016" y="5828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1" name="Forma libre: forma 180">
            <a:extLst>
              <a:ext uri="{FF2B5EF4-FFF2-40B4-BE49-F238E27FC236}">
                <a16:creationId xmlns:a16="http://schemas.microsoft.com/office/drawing/2014/main" id="{F136CD1F-5959-2C58-BBB3-39B264705AD9}"/>
              </a:ext>
            </a:extLst>
          </p:cNvPr>
          <p:cNvSpPr/>
          <p:nvPr/>
        </p:nvSpPr>
        <p:spPr>
          <a:xfrm>
            <a:off x="3900562" y="4216207"/>
            <a:ext cx="159476" cy="68257"/>
          </a:xfrm>
          <a:custGeom>
            <a:avLst/>
            <a:gdLst>
              <a:gd name="connsiteX0" fmla="*/ 142303 w 159476"/>
              <a:gd name="connsiteY0" fmla="*/ 19620 h 68257"/>
              <a:gd name="connsiteX1" fmla="*/ 104184 w 159476"/>
              <a:gd name="connsiteY1" fmla="*/ 1457 h 68257"/>
              <a:gd name="connsiteX2" fmla="*/ 65370 w 159476"/>
              <a:gd name="connsiteY2" fmla="*/ 16034 h 68257"/>
              <a:gd name="connsiteX3" fmla="*/ 21755 w 159476"/>
              <a:gd name="connsiteY3" fmla="*/ 14819 h 68257"/>
              <a:gd name="connsiteX4" fmla="*/ 7757 w 159476"/>
              <a:gd name="connsiteY4" fmla="*/ 2267 h 68257"/>
              <a:gd name="connsiteX5" fmla="*/ 3593 w 159476"/>
              <a:gd name="connsiteY5" fmla="*/ 19620 h 68257"/>
              <a:gd name="connsiteX6" fmla="*/ -110 w 159476"/>
              <a:gd name="connsiteY6" fmla="*/ 34660 h 68257"/>
              <a:gd name="connsiteX7" fmla="*/ 35117 w 159476"/>
              <a:gd name="connsiteY7" fmla="*/ 50567 h 68257"/>
              <a:gd name="connsiteX8" fmla="*/ 55074 w 159476"/>
              <a:gd name="connsiteY8" fmla="*/ 63871 h 68257"/>
              <a:gd name="connsiteX9" fmla="*/ 76303 w 159476"/>
              <a:gd name="connsiteY9" fmla="*/ 58434 h 68257"/>
              <a:gd name="connsiteX10" fmla="*/ 68436 w 159476"/>
              <a:gd name="connsiteY10" fmla="*/ 43279 h 68257"/>
              <a:gd name="connsiteX11" fmla="*/ 82955 w 159476"/>
              <a:gd name="connsiteY11" fmla="*/ 29917 h 68257"/>
              <a:gd name="connsiteX12" fmla="*/ 113265 w 159476"/>
              <a:gd name="connsiteY12" fmla="*/ 20257 h 68257"/>
              <a:gd name="connsiteX13" fmla="*/ 121132 w 159476"/>
              <a:gd name="connsiteY13" fmla="*/ 39056 h 68257"/>
              <a:gd name="connsiteX14" fmla="*/ 137213 w 159476"/>
              <a:gd name="connsiteY14" fmla="*/ 67458 h 68257"/>
              <a:gd name="connsiteX15" fmla="*/ 155607 w 159476"/>
              <a:gd name="connsiteY15" fmla="*/ 49584 h 68257"/>
              <a:gd name="connsiteX16" fmla="*/ 159367 w 159476"/>
              <a:gd name="connsiteY16" fmla="*/ 41023 h 68257"/>
              <a:gd name="connsiteX17" fmla="*/ 142303 w 159476"/>
              <a:gd name="connsiteY17" fmla="*/ 19620 h 68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476" h="68257">
                <a:moveTo>
                  <a:pt x="142303" y="19620"/>
                </a:moveTo>
                <a:cubicBezTo>
                  <a:pt x="132643" y="5101"/>
                  <a:pt x="115058" y="6316"/>
                  <a:pt x="104184" y="1457"/>
                </a:cubicBezTo>
                <a:cubicBezTo>
                  <a:pt x="93309" y="-3401"/>
                  <a:pt x="79311" y="3308"/>
                  <a:pt x="65370" y="16034"/>
                </a:cubicBezTo>
                <a:cubicBezTo>
                  <a:pt x="51430" y="28760"/>
                  <a:pt x="33903" y="21471"/>
                  <a:pt x="21755" y="14819"/>
                </a:cubicBezTo>
                <a:cubicBezTo>
                  <a:pt x="16550" y="11279"/>
                  <a:pt x="11841" y="7062"/>
                  <a:pt x="7757" y="2267"/>
                </a:cubicBezTo>
                <a:cubicBezTo>
                  <a:pt x="4101" y="7259"/>
                  <a:pt x="2603" y="13512"/>
                  <a:pt x="3593" y="19620"/>
                </a:cubicBezTo>
                <a:cubicBezTo>
                  <a:pt x="4518" y="22918"/>
                  <a:pt x="1799" y="28239"/>
                  <a:pt x="-110" y="34660"/>
                </a:cubicBezTo>
                <a:cubicBezTo>
                  <a:pt x="11922" y="36164"/>
                  <a:pt x="27540" y="41428"/>
                  <a:pt x="35117" y="50567"/>
                </a:cubicBezTo>
                <a:cubicBezTo>
                  <a:pt x="44199" y="61442"/>
                  <a:pt x="49636" y="54154"/>
                  <a:pt x="55074" y="63871"/>
                </a:cubicBezTo>
                <a:cubicBezTo>
                  <a:pt x="60511" y="73589"/>
                  <a:pt x="73237" y="64450"/>
                  <a:pt x="76303" y="58434"/>
                </a:cubicBezTo>
                <a:cubicBezTo>
                  <a:pt x="79368" y="52418"/>
                  <a:pt x="69651" y="49931"/>
                  <a:pt x="68436" y="43279"/>
                </a:cubicBezTo>
                <a:cubicBezTo>
                  <a:pt x="67221" y="36627"/>
                  <a:pt x="80525" y="39056"/>
                  <a:pt x="82955" y="29917"/>
                </a:cubicBezTo>
                <a:cubicBezTo>
                  <a:pt x="85384" y="20777"/>
                  <a:pt x="104762" y="16612"/>
                  <a:pt x="113265" y="20257"/>
                </a:cubicBezTo>
                <a:cubicBezTo>
                  <a:pt x="121768" y="23901"/>
                  <a:pt x="128999" y="29917"/>
                  <a:pt x="121132" y="39056"/>
                </a:cubicBezTo>
                <a:cubicBezTo>
                  <a:pt x="115347" y="45824"/>
                  <a:pt x="127206" y="57971"/>
                  <a:pt x="137213" y="67458"/>
                </a:cubicBezTo>
                <a:cubicBezTo>
                  <a:pt x="143014" y="61170"/>
                  <a:pt x="149158" y="55200"/>
                  <a:pt x="155607" y="49584"/>
                </a:cubicBezTo>
                <a:cubicBezTo>
                  <a:pt x="157800" y="47241"/>
                  <a:pt x="159124" y="44222"/>
                  <a:pt x="159367" y="41023"/>
                </a:cubicBezTo>
                <a:cubicBezTo>
                  <a:pt x="154566" y="38767"/>
                  <a:pt x="149071" y="29743"/>
                  <a:pt x="142303" y="1962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2" name="Forma libre: forma 181">
            <a:extLst>
              <a:ext uri="{FF2B5EF4-FFF2-40B4-BE49-F238E27FC236}">
                <a16:creationId xmlns:a16="http://schemas.microsoft.com/office/drawing/2014/main" id="{9802408F-31AE-30F7-3702-6EC6DB5880D5}"/>
              </a:ext>
            </a:extLst>
          </p:cNvPr>
          <p:cNvSpPr/>
          <p:nvPr/>
        </p:nvSpPr>
        <p:spPr>
          <a:xfrm>
            <a:off x="4009772" y="4139924"/>
            <a:ext cx="325401" cy="459974"/>
          </a:xfrm>
          <a:custGeom>
            <a:avLst/>
            <a:gdLst>
              <a:gd name="connsiteX0" fmla="*/ 49983 w 325401"/>
              <a:gd name="connsiteY0" fmla="*/ 333297 h 459974"/>
              <a:gd name="connsiteX1" fmla="*/ 70808 w 325401"/>
              <a:gd name="connsiteY1" fmla="*/ 333297 h 459974"/>
              <a:gd name="connsiteX2" fmla="*/ 90417 w 325401"/>
              <a:gd name="connsiteY2" fmla="*/ 348510 h 459974"/>
              <a:gd name="connsiteX3" fmla="*/ 91631 w 325401"/>
              <a:gd name="connsiteY3" fmla="*/ 349841 h 459974"/>
              <a:gd name="connsiteX4" fmla="*/ 115116 w 325401"/>
              <a:gd name="connsiteY4" fmla="*/ 349089 h 459974"/>
              <a:gd name="connsiteX5" fmla="*/ 131313 w 325401"/>
              <a:gd name="connsiteY5" fmla="*/ 371937 h 459974"/>
              <a:gd name="connsiteX6" fmla="*/ 148666 w 325401"/>
              <a:gd name="connsiteY6" fmla="*/ 389291 h 459974"/>
              <a:gd name="connsiteX7" fmla="*/ 159078 w 325401"/>
              <a:gd name="connsiteY7" fmla="*/ 406644 h 459974"/>
              <a:gd name="connsiteX8" fmla="*/ 190487 w 325401"/>
              <a:gd name="connsiteY8" fmla="*/ 410461 h 459974"/>
              <a:gd name="connsiteX9" fmla="*/ 206626 w 325401"/>
              <a:gd name="connsiteY9" fmla="*/ 408495 h 459974"/>
              <a:gd name="connsiteX10" fmla="*/ 224673 w 325401"/>
              <a:gd name="connsiteY10" fmla="*/ 407569 h 459974"/>
              <a:gd name="connsiteX11" fmla="*/ 244688 w 325401"/>
              <a:gd name="connsiteY11" fmla="*/ 423708 h 459974"/>
              <a:gd name="connsiteX12" fmla="*/ 230400 w 325401"/>
              <a:gd name="connsiteY12" fmla="*/ 446845 h 459974"/>
              <a:gd name="connsiteX13" fmla="*/ 246654 w 325401"/>
              <a:gd name="connsiteY13" fmla="*/ 459803 h 459974"/>
              <a:gd name="connsiteX14" fmla="*/ 247984 w 325401"/>
              <a:gd name="connsiteY14" fmla="*/ 459803 h 459974"/>
              <a:gd name="connsiteX15" fmla="*/ 258454 w 325401"/>
              <a:gd name="connsiteY15" fmla="*/ 422724 h 459974"/>
              <a:gd name="connsiteX16" fmla="*/ 264239 w 325401"/>
              <a:gd name="connsiteY16" fmla="*/ 385415 h 459974"/>
              <a:gd name="connsiteX17" fmla="*/ 246886 w 325401"/>
              <a:gd name="connsiteY17" fmla="*/ 341106 h 459974"/>
              <a:gd name="connsiteX18" fmla="*/ 265453 w 325401"/>
              <a:gd name="connsiteY18" fmla="*/ 326414 h 459974"/>
              <a:gd name="connsiteX19" fmla="*/ 260016 w 325401"/>
              <a:gd name="connsiteY19" fmla="*/ 315192 h 459974"/>
              <a:gd name="connsiteX20" fmla="*/ 252901 w 325401"/>
              <a:gd name="connsiteY20" fmla="*/ 300210 h 459974"/>
              <a:gd name="connsiteX21" fmla="*/ 294144 w 325401"/>
              <a:gd name="connsiteY21" fmla="*/ 297202 h 459974"/>
              <a:gd name="connsiteX22" fmla="*/ 324744 w 325401"/>
              <a:gd name="connsiteY22" fmla="*/ 287079 h 459974"/>
              <a:gd name="connsiteX23" fmla="*/ 319827 w 325401"/>
              <a:gd name="connsiteY23" fmla="*/ 273139 h 459974"/>
              <a:gd name="connsiteX24" fmla="*/ 320926 w 325401"/>
              <a:gd name="connsiteY24" fmla="*/ 252662 h 459974"/>
              <a:gd name="connsiteX25" fmla="*/ 310283 w 325401"/>
              <a:gd name="connsiteY25" fmla="*/ 231665 h 459974"/>
              <a:gd name="connsiteX26" fmla="*/ 316819 w 325401"/>
              <a:gd name="connsiteY26" fmla="*/ 181629 h 459974"/>
              <a:gd name="connsiteX27" fmla="*/ 284831 w 325401"/>
              <a:gd name="connsiteY27" fmla="*/ 173184 h 459974"/>
              <a:gd name="connsiteX28" fmla="*/ 246596 w 325401"/>
              <a:gd name="connsiteY28" fmla="*/ 156525 h 459974"/>
              <a:gd name="connsiteX29" fmla="*/ 199916 w 325401"/>
              <a:gd name="connsiteY29" fmla="*/ 152418 h 459974"/>
              <a:gd name="connsiteX30" fmla="*/ 182158 w 325401"/>
              <a:gd name="connsiteY30" fmla="*/ 116323 h 459974"/>
              <a:gd name="connsiteX31" fmla="*/ 170126 w 325401"/>
              <a:gd name="connsiteY31" fmla="*/ 98334 h 459974"/>
              <a:gd name="connsiteX32" fmla="*/ 157285 w 325401"/>
              <a:gd name="connsiteY32" fmla="*/ 92549 h 459974"/>
              <a:gd name="connsiteX33" fmla="*/ 161392 w 325401"/>
              <a:gd name="connsiteY33" fmla="*/ 79997 h 459974"/>
              <a:gd name="connsiteX34" fmla="*/ 165499 w 325401"/>
              <a:gd name="connsiteY34" fmla="*/ 59751 h 459974"/>
              <a:gd name="connsiteX35" fmla="*/ 189504 w 325401"/>
              <a:gd name="connsiteY35" fmla="*/ 28863 h 459974"/>
              <a:gd name="connsiteX36" fmla="*/ 197833 w 325401"/>
              <a:gd name="connsiteY36" fmla="*/ 23599 h 459974"/>
              <a:gd name="connsiteX37" fmla="*/ 204486 w 325401"/>
              <a:gd name="connsiteY37" fmla="*/ 18277 h 459974"/>
              <a:gd name="connsiteX38" fmla="*/ 211138 w 325401"/>
              <a:gd name="connsiteY38" fmla="*/ 1271 h 459974"/>
              <a:gd name="connsiteX39" fmla="*/ 180249 w 325401"/>
              <a:gd name="connsiteY39" fmla="*/ 15848 h 459974"/>
              <a:gd name="connsiteX40" fmla="*/ 156590 w 325401"/>
              <a:gd name="connsiteY40" fmla="*/ 29788 h 459974"/>
              <a:gd name="connsiteX41" fmla="*/ 131775 w 325401"/>
              <a:gd name="connsiteY41" fmla="*/ 37655 h 459974"/>
              <a:gd name="connsiteX42" fmla="*/ 119050 w 325401"/>
              <a:gd name="connsiteY42" fmla="*/ 35862 h 459974"/>
              <a:gd name="connsiteX43" fmla="*/ 93598 w 325401"/>
              <a:gd name="connsiteY43" fmla="*/ 59462 h 459974"/>
              <a:gd name="connsiteX44" fmla="*/ 83880 w 325401"/>
              <a:gd name="connsiteY44" fmla="*/ 85550 h 459974"/>
              <a:gd name="connsiteX45" fmla="*/ 56636 w 325401"/>
              <a:gd name="connsiteY45" fmla="*/ 117017 h 459974"/>
              <a:gd name="connsiteX46" fmla="*/ 50851 w 325401"/>
              <a:gd name="connsiteY46" fmla="*/ 118406 h 459974"/>
              <a:gd name="connsiteX47" fmla="*/ 47091 w 325401"/>
              <a:gd name="connsiteY47" fmla="*/ 126967 h 459974"/>
              <a:gd name="connsiteX48" fmla="*/ 28697 w 325401"/>
              <a:gd name="connsiteY48" fmla="*/ 144841 h 459974"/>
              <a:gd name="connsiteX49" fmla="*/ 37431 w 325401"/>
              <a:gd name="connsiteY49" fmla="*/ 153344 h 459974"/>
              <a:gd name="connsiteX50" fmla="*/ 42869 w 325401"/>
              <a:gd name="connsiteY50" fmla="*/ 174573 h 459974"/>
              <a:gd name="connsiteX51" fmla="*/ 42869 w 325401"/>
              <a:gd name="connsiteY51" fmla="*/ 189728 h 459974"/>
              <a:gd name="connsiteX52" fmla="*/ 47727 w 325401"/>
              <a:gd name="connsiteY52" fmla="*/ 232127 h 459974"/>
              <a:gd name="connsiteX53" fmla="*/ 41654 w 325401"/>
              <a:gd name="connsiteY53" fmla="*/ 255728 h 459974"/>
              <a:gd name="connsiteX54" fmla="*/ 19268 w 325401"/>
              <a:gd name="connsiteY54" fmla="*/ 273891 h 459974"/>
              <a:gd name="connsiteX55" fmla="*/ 5328 w 325401"/>
              <a:gd name="connsiteY55" fmla="*/ 291244 h 459974"/>
              <a:gd name="connsiteX56" fmla="*/ -110 w 325401"/>
              <a:gd name="connsiteY56" fmla="*/ 302813 h 459974"/>
              <a:gd name="connsiteX57" fmla="*/ 33613 w 325401"/>
              <a:gd name="connsiteY57" fmla="*/ 321728 h 459974"/>
              <a:gd name="connsiteX58" fmla="*/ 49983 w 325401"/>
              <a:gd name="connsiteY58" fmla="*/ 333297 h 45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25401" h="459974">
                <a:moveTo>
                  <a:pt x="49983" y="333297"/>
                </a:moveTo>
                <a:cubicBezTo>
                  <a:pt x="57561" y="337751"/>
                  <a:pt x="68320" y="336479"/>
                  <a:pt x="70808" y="333297"/>
                </a:cubicBezTo>
                <a:cubicBezTo>
                  <a:pt x="73295" y="330116"/>
                  <a:pt x="80294" y="337115"/>
                  <a:pt x="90417" y="348510"/>
                </a:cubicBezTo>
                <a:lnTo>
                  <a:pt x="91631" y="349841"/>
                </a:lnTo>
                <a:cubicBezTo>
                  <a:pt x="100077" y="347990"/>
                  <a:pt x="110836" y="346428"/>
                  <a:pt x="115116" y="349089"/>
                </a:cubicBezTo>
                <a:cubicBezTo>
                  <a:pt x="122752" y="353890"/>
                  <a:pt x="120901" y="371012"/>
                  <a:pt x="131313" y="371937"/>
                </a:cubicBezTo>
                <a:cubicBezTo>
                  <a:pt x="141724" y="372863"/>
                  <a:pt x="149360" y="383506"/>
                  <a:pt x="148666" y="389291"/>
                </a:cubicBezTo>
                <a:cubicBezTo>
                  <a:pt x="147972" y="395075"/>
                  <a:pt x="160235" y="397851"/>
                  <a:pt x="159078" y="406644"/>
                </a:cubicBezTo>
                <a:cubicBezTo>
                  <a:pt x="157921" y="415436"/>
                  <a:pt x="186670" y="413296"/>
                  <a:pt x="190487" y="410461"/>
                </a:cubicBezTo>
                <a:cubicBezTo>
                  <a:pt x="195126" y="406968"/>
                  <a:pt x="201281" y="406222"/>
                  <a:pt x="206626" y="408495"/>
                </a:cubicBezTo>
                <a:cubicBezTo>
                  <a:pt x="211369" y="411387"/>
                  <a:pt x="219930" y="405660"/>
                  <a:pt x="224673" y="407569"/>
                </a:cubicBezTo>
                <a:cubicBezTo>
                  <a:pt x="229417" y="409478"/>
                  <a:pt x="248447" y="417114"/>
                  <a:pt x="244688" y="423708"/>
                </a:cubicBezTo>
                <a:cubicBezTo>
                  <a:pt x="240928" y="430302"/>
                  <a:pt x="227334" y="441061"/>
                  <a:pt x="230400" y="446845"/>
                </a:cubicBezTo>
                <a:cubicBezTo>
                  <a:pt x="232656" y="451357"/>
                  <a:pt x="242605" y="454192"/>
                  <a:pt x="246654" y="459803"/>
                </a:cubicBezTo>
                <a:cubicBezTo>
                  <a:pt x="247094" y="459860"/>
                  <a:pt x="247545" y="459860"/>
                  <a:pt x="247984" y="459803"/>
                </a:cubicBezTo>
                <a:cubicBezTo>
                  <a:pt x="255273" y="458241"/>
                  <a:pt x="258454" y="430881"/>
                  <a:pt x="258454" y="422724"/>
                </a:cubicBezTo>
                <a:cubicBezTo>
                  <a:pt x="259200" y="410132"/>
                  <a:pt x="261138" y="397643"/>
                  <a:pt x="264239" y="385415"/>
                </a:cubicBezTo>
                <a:cubicBezTo>
                  <a:pt x="268809" y="369508"/>
                  <a:pt x="246886" y="358344"/>
                  <a:pt x="246886" y="341106"/>
                </a:cubicBezTo>
                <a:cubicBezTo>
                  <a:pt x="246886" y="323869"/>
                  <a:pt x="255620" y="333529"/>
                  <a:pt x="265453" y="326414"/>
                </a:cubicBezTo>
                <a:cubicBezTo>
                  <a:pt x="275287" y="319299"/>
                  <a:pt x="264933" y="316349"/>
                  <a:pt x="260016" y="315192"/>
                </a:cubicBezTo>
                <a:cubicBezTo>
                  <a:pt x="254457" y="312450"/>
                  <a:pt x="251513" y="306249"/>
                  <a:pt x="252901" y="300210"/>
                </a:cubicBezTo>
                <a:cubicBezTo>
                  <a:pt x="254521" y="295004"/>
                  <a:pt x="284600" y="297202"/>
                  <a:pt x="294144" y="297202"/>
                </a:cubicBezTo>
                <a:cubicBezTo>
                  <a:pt x="304921" y="295913"/>
                  <a:pt x="315327" y="292471"/>
                  <a:pt x="324744" y="287079"/>
                </a:cubicBezTo>
                <a:cubicBezTo>
                  <a:pt x="326346" y="281856"/>
                  <a:pt x="324351" y="276199"/>
                  <a:pt x="319827" y="273139"/>
                </a:cubicBezTo>
                <a:cubicBezTo>
                  <a:pt x="312423" y="267355"/>
                  <a:pt x="315200" y="259256"/>
                  <a:pt x="320926" y="252662"/>
                </a:cubicBezTo>
                <a:cubicBezTo>
                  <a:pt x="326653" y="246068"/>
                  <a:pt x="317397" y="239532"/>
                  <a:pt x="310283" y="231665"/>
                </a:cubicBezTo>
                <a:cubicBezTo>
                  <a:pt x="303168" y="223798"/>
                  <a:pt x="308605" y="194991"/>
                  <a:pt x="316819" y="181629"/>
                </a:cubicBezTo>
                <a:cubicBezTo>
                  <a:pt x="325033" y="168267"/>
                  <a:pt x="300160" y="171275"/>
                  <a:pt x="284831" y="173184"/>
                </a:cubicBezTo>
                <a:cubicBezTo>
                  <a:pt x="269988" y="175128"/>
                  <a:pt x="255284" y="168719"/>
                  <a:pt x="246596" y="156525"/>
                </a:cubicBezTo>
                <a:cubicBezTo>
                  <a:pt x="236763" y="143915"/>
                  <a:pt x="223458" y="151897"/>
                  <a:pt x="199916" y="152418"/>
                </a:cubicBezTo>
                <a:cubicBezTo>
                  <a:pt x="176373" y="152939"/>
                  <a:pt x="181059" y="126446"/>
                  <a:pt x="182158" y="116323"/>
                </a:cubicBezTo>
                <a:cubicBezTo>
                  <a:pt x="183257" y="106201"/>
                  <a:pt x="170126" y="104755"/>
                  <a:pt x="170126" y="98334"/>
                </a:cubicBezTo>
                <a:cubicBezTo>
                  <a:pt x="170126" y="91913"/>
                  <a:pt x="163301" y="91740"/>
                  <a:pt x="157285" y="92549"/>
                </a:cubicBezTo>
                <a:cubicBezTo>
                  <a:pt x="151269" y="93359"/>
                  <a:pt x="157285" y="85203"/>
                  <a:pt x="161392" y="79997"/>
                </a:cubicBezTo>
                <a:cubicBezTo>
                  <a:pt x="165499" y="74791"/>
                  <a:pt x="165209" y="70684"/>
                  <a:pt x="165499" y="59751"/>
                </a:cubicBezTo>
                <a:cubicBezTo>
                  <a:pt x="165788" y="48819"/>
                  <a:pt x="181579" y="39564"/>
                  <a:pt x="189504" y="28863"/>
                </a:cubicBezTo>
                <a:cubicBezTo>
                  <a:pt x="191667" y="26289"/>
                  <a:pt x="194577" y="24443"/>
                  <a:pt x="197833" y="23599"/>
                </a:cubicBezTo>
                <a:cubicBezTo>
                  <a:pt x="198898" y="20730"/>
                  <a:pt x="201455" y="18688"/>
                  <a:pt x="204486" y="18277"/>
                </a:cubicBezTo>
                <a:cubicBezTo>
                  <a:pt x="216575" y="15848"/>
                  <a:pt x="222649" y="7981"/>
                  <a:pt x="211138" y="1271"/>
                </a:cubicBezTo>
                <a:cubicBezTo>
                  <a:pt x="199627" y="-5439"/>
                  <a:pt x="192975" y="14055"/>
                  <a:pt x="180249" y="15848"/>
                </a:cubicBezTo>
                <a:cubicBezTo>
                  <a:pt x="167523" y="17641"/>
                  <a:pt x="165094" y="25508"/>
                  <a:pt x="156590" y="29788"/>
                </a:cubicBezTo>
                <a:cubicBezTo>
                  <a:pt x="148088" y="34069"/>
                  <a:pt x="132354" y="30366"/>
                  <a:pt x="131775" y="37655"/>
                </a:cubicBezTo>
                <a:cubicBezTo>
                  <a:pt x="131197" y="44943"/>
                  <a:pt x="126280" y="37655"/>
                  <a:pt x="119050" y="35862"/>
                </a:cubicBezTo>
                <a:cubicBezTo>
                  <a:pt x="111819" y="34069"/>
                  <a:pt x="93020" y="50381"/>
                  <a:pt x="93598" y="59462"/>
                </a:cubicBezTo>
                <a:cubicBezTo>
                  <a:pt x="94177" y="68544"/>
                  <a:pt x="97242" y="76816"/>
                  <a:pt x="83880" y="85550"/>
                </a:cubicBezTo>
                <a:cubicBezTo>
                  <a:pt x="70518" y="94285"/>
                  <a:pt x="62709" y="109729"/>
                  <a:pt x="56636" y="117017"/>
                </a:cubicBezTo>
                <a:cubicBezTo>
                  <a:pt x="55346" y="118891"/>
                  <a:pt x="52853" y="119487"/>
                  <a:pt x="50851" y="118406"/>
                </a:cubicBezTo>
                <a:cubicBezTo>
                  <a:pt x="50608" y="121604"/>
                  <a:pt x="49284" y="124624"/>
                  <a:pt x="47091" y="126967"/>
                </a:cubicBezTo>
                <a:cubicBezTo>
                  <a:pt x="40642" y="132583"/>
                  <a:pt x="34499" y="138553"/>
                  <a:pt x="28697" y="144841"/>
                </a:cubicBezTo>
                <a:cubicBezTo>
                  <a:pt x="32110" y="148080"/>
                  <a:pt x="35291" y="151030"/>
                  <a:pt x="37431" y="153344"/>
                </a:cubicBezTo>
                <a:cubicBezTo>
                  <a:pt x="45934" y="162425"/>
                  <a:pt x="40439" y="169714"/>
                  <a:pt x="42869" y="174573"/>
                </a:cubicBezTo>
                <a:cubicBezTo>
                  <a:pt x="45298" y="179431"/>
                  <a:pt x="47727" y="186662"/>
                  <a:pt x="42869" y="189728"/>
                </a:cubicBezTo>
                <a:cubicBezTo>
                  <a:pt x="38010" y="192793"/>
                  <a:pt x="42290" y="226054"/>
                  <a:pt x="47727" y="232127"/>
                </a:cubicBezTo>
                <a:cubicBezTo>
                  <a:pt x="53165" y="238201"/>
                  <a:pt x="47727" y="243696"/>
                  <a:pt x="41654" y="255728"/>
                </a:cubicBezTo>
                <a:cubicBezTo>
                  <a:pt x="35580" y="267760"/>
                  <a:pt x="30085" y="273081"/>
                  <a:pt x="19268" y="273891"/>
                </a:cubicBezTo>
                <a:cubicBezTo>
                  <a:pt x="8451" y="274701"/>
                  <a:pt x="8972" y="291244"/>
                  <a:pt x="5328" y="291244"/>
                </a:cubicBezTo>
                <a:cubicBezTo>
                  <a:pt x="1684" y="291244"/>
                  <a:pt x="295" y="297376"/>
                  <a:pt x="-110" y="302813"/>
                </a:cubicBezTo>
                <a:cubicBezTo>
                  <a:pt x="10071" y="311374"/>
                  <a:pt x="28350" y="321728"/>
                  <a:pt x="33613" y="321728"/>
                </a:cubicBezTo>
                <a:cubicBezTo>
                  <a:pt x="38877" y="321728"/>
                  <a:pt x="42406" y="328901"/>
                  <a:pt x="49983" y="33329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3" name="Forma libre: forma 182">
            <a:extLst>
              <a:ext uri="{FF2B5EF4-FFF2-40B4-BE49-F238E27FC236}">
                <a16:creationId xmlns:a16="http://schemas.microsoft.com/office/drawing/2014/main" id="{BAA56232-B7C5-41A1-2933-2E2FF506509D}"/>
              </a:ext>
            </a:extLst>
          </p:cNvPr>
          <p:cNvSpPr/>
          <p:nvPr/>
        </p:nvSpPr>
        <p:spPr>
          <a:xfrm>
            <a:off x="4267123" y="4754873"/>
            <a:ext cx="331613" cy="371963"/>
          </a:xfrm>
          <a:custGeom>
            <a:avLst/>
            <a:gdLst>
              <a:gd name="connsiteX0" fmla="*/ 330411 w 331613"/>
              <a:gd name="connsiteY0" fmla="*/ 223676 h 371963"/>
              <a:gd name="connsiteX1" fmla="*/ 314272 w 331613"/>
              <a:gd name="connsiteY1" fmla="*/ 197009 h 371963"/>
              <a:gd name="connsiteX2" fmla="*/ 291655 w 331613"/>
              <a:gd name="connsiteY2" fmla="*/ 183242 h 371963"/>
              <a:gd name="connsiteX3" fmla="*/ 261807 w 331613"/>
              <a:gd name="connsiteY3" fmla="*/ 169533 h 371963"/>
              <a:gd name="connsiteX4" fmla="*/ 258568 w 331613"/>
              <a:gd name="connsiteY4" fmla="*/ 146916 h 371963"/>
              <a:gd name="connsiteX5" fmla="*/ 254519 w 331613"/>
              <a:gd name="connsiteY5" fmla="*/ 125919 h 371963"/>
              <a:gd name="connsiteX6" fmla="*/ 244049 w 331613"/>
              <a:gd name="connsiteY6" fmla="*/ 107350 h 371963"/>
              <a:gd name="connsiteX7" fmla="*/ 214144 w 331613"/>
              <a:gd name="connsiteY7" fmla="*/ 100872 h 371963"/>
              <a:gd name="connsiteX8" fmla="*/ 191527 w 331613"/>
              <a:gd name="connsiteY8" fmla="*/ 90345 h 371963"/>
              <a:gd name="connsiteX9" fmla="*/ 179958 w 331613"/>
              <a:gd name="connsiteY9" fmla="*/ 80684 h 371963"/>
              <a:gd name="connsiteX10" fmla="*/ 160580 w 331613"/>
              <a:gd name="connsiteY10" fmla="*/ 76635 h 371963"/>
              <a:gd name="connsiteX11" fmla="*/ 128303 w 331613"/>
              <a:gd name="connsiteY11" fmla="*/ 57257 h 371963"/>
              <a:gd name="connsiteX12" fmla="*/ 119395 w 331613"/>
              <a:gd name="connsiteY12" fmla="*/ 3925 h 371963"/>
              <a:gd name="connsiteX13" fmla="*/ 93539 w 331613"/>
              <a:gd name="connsiteY13" fmla="*/ 2363 h 371963"/>
              <a:gd name="connsiteX14" fmla="*/ 61261 w 331613"/>
              <a:gd name="connsiteY14" fmla="*/ 16882 h 371963"/>
              <a:gd name="connsiteX15" fmla="*/ 37834 w 331613"/>
              <a:gd name="connsiteY15" fmla="*/ 28971 h 371963"/>
              <a:gd name="connsiteX16" fmla="*/ 14697 w 331613"/>
              <a:gd name="connsiteY16" fmla="*/ 34756 h 371963"/>
              <a:gd name="connsiteX17" fmla="*/ 5557 w 331613"/>
              <a:gd name="connsiteY17" fmla="*/ 32674 h 371963"/>
              <a:gd name="connsiteX18" fmla="*/ 24415 w 331613"/>
              <a:gd name="connsiteY18" fmla="*/ 71140 h 371963"/>
              <a:gd name="connsiteX19" fmla="*/ 17126 w 331613"/>
              <a:gd name="connsiteY19" fmla="*/ 85659 h 371963"/>
              <a:gd name="connsiteX20" fmla="*/ 19555 w 331613"/>
              <a:gd name="connsiteY20" fmla="*/ 124415 h 371963"/>
              <a:gd name="connsiteX21" fmla="*/ 13077 w 331613"/>
              <a:gd name="connsiteY21" fmla="*/ 147032 h 371963"/>
              <a:gd name="connsiteX22" fmla="*/ 6598 w 331613"/>
              <a:gd name="connsiteY22" fmla="*/ 170517 h 371963"/>
              <a:gd name="connsiteX23" fmla="*/ 17126 w 331613"/>
              <a:gd name="connsiteY23" fmla="*/ 183358 h 371963"/>
              <a:gd name="connsiteX24" fmla="*/ 2607 w 331613"/>
              <a:gd name="connsiteY24" fmla="*/ 205165 h 371963"/>
              <a:gd name="connsiteX25" fmla="*/ 294 w 331613"/>
              <a:gd name="connsiteY25" fmla="*/ 216387 h 371963"/>
              <a:gd name="connsiteX26" fmla="*/ 11457 w 331613"/>
              <a:gd name="connsiteY26" fmla="*/ 229402 h 371963"/>
              <a:gd name="connsiteX27" fmla="*/ 17936 w 331613"/>
              <a:gd name="connsiteY27" fmla="*/ 258324 h 371963"/>
              <a:gd name="connsiteX28" fmla="*/ 29505 w 331613"/>
              <a:gd name="connsiteY28" fmla="*/ 273711 h 371963"/>
              <a:gd name="connsiteX29" fmla="*/ 23720 w 331613"/>
              <a:gd name="connsiteY29" fmla="*/ 293031 h 371963"/>
              <a:gd name="connsiteX30" fmla="*/ 33438 w 331613"/>
              <a:gd name="connsiteY30" fmla="*/ 315706 h 371963"/>
              <a:gd name="connsiteX31" fmla="*/ 43156 w 331613"/>
              <a:gd name="connsiteY31" fmla="*/ 340752 h 371963"/>
              <a:gd name="connsiteX32" fmla="*/ 49577 w 331613"/>
              <a:gd name="connsiteY32" fmla="*/ 370542 h 371963"/>
              <a:gd name="connsiteX33" fmla="*/ 86771 w 331613"/>
              <a:gd name="connsiteY33" fmla="*/ 348793 h 371963"/>
              <a:gd name="connsiteX34" fmla="*/ 111008 w 331613"/>
              <a:gd name="connsiteY34" fmla="*/ 347925 h 371963"/>
              <a:gd name="connsiteX35" fmla="*/ 142475 w 331613"/>
              <a:gd name="connsiteY35" fmla="*/ 360882 h 371963"/>
              <a:gd name="connsiteX36" fmla="*/ 158613 w 331613"/>
              <a:gd name="connsiteY36" fmla="*/ 344744 h 371963"/>
              <a:gd name="connsiteX37" fmla="*/ 194997 w 331613"/>
              <a:gd name="connsiteY37" fmla="*/ 344744 h 371963"/>
              <a:gd name="connsiteX38" fmla="*/ 203038 w 331613"/>
              <a:gd name="connsiteY38" fmla="*/ 302749 h 371963"/>
              <a:gd name="connsiteX39" fmla="*/ 224035 w 331613"/>
              <a:gd name="connsiteY39" fmla="*/ 276950 h 371963"/>
              <a:gd name="connsiteX40" fmla="*/ 257180 w 331613"/>
              <a:gd name="connsiteY40" fmla="*/ 271166 h 371963"/>
              <a:gd name="connsiteX41" fmla="*/ 288705 w 331613"/>
              <a:gd name="connsiteY41" fmla="*/ 267926 h 371963"/>
              <a:gd name="connsiteX42" fmla="*/ 314504 w 331613"/>
              <a:gd name="connsiteY42" fmla="*/ 279495 h 371963"/>
              <a:gd name="connsiteX43" fmla="*/ 327461 w 331613"/>
              <a:gd name="connsiteY43" fmla="*/ 259250 h 371963"/>
              <a:gd name="connsiteX44" fmla="*/ 330411 w 331613"/>
              <a:gd name="connsiteY44" fmla="*/ 223676 h 37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31613" h="371963">
                <a:moveTo>
                  <a:pt x="330411" y="223676"/>
                </a:moveTo>
                <a:cubicBezTo>
                  <a:pt x="326420" y="211528"/>
                  <a:pt x="314272" y="209909"/>
                  <a:pt x="314272" y="197009"/>
                </a:cubicBezTo>
                <a:cubicBezTo>
                  <a:pt x="314272" y="184110"/>
                  <a:pt x="309413" y="182490"/>
                  <a:pt x="291655" y="183242"/>
                </a:cubicBezTo>
                <a:cubicBezTo>
                  <a:pt x="273897" y="183994"/>
                  <a:pt x="262733" y="180003"/>
                  <a:pt x="261807" y="169533"/>
                </a:cubicBezTo>
                <a:cubicBezTo>
                  <a:pt x="260882" y="159063"/>
                  <a:pt x="250239" y="150965"/>
                  <a:pt x="258568" y="146916"/>
                </a:cubicBezTo>
                <a:cubicBezTo>
                  <a:pt x="266898" y="142867"/>
                  <a:pt x="252784" y="135347"/>
                  <a:pt x="254519" y="125919"/>
                </a:cubicBezTo>
                <a:cubicBezTo>
                  <a:pt x="256255" y="116490"/>
                  <a:pt x="249660" y="112152"/>
                  <a:pt x="244049" y="107350"/>
                </a:cubicBezTo>
                <a:cubicBezTo>
                  <a:pt x="238438" y="102550"/>
                  <a:pt x="214144" y="109780"/>
                  <a:pt x="214144" y="100872"/>
                </a:cubicBezTo>
                <a:cubicBezTo>
                  <a:pt x="214144" y="91964"/>
                  <a:pt x="199567" y="90345"/>
                  <a:pt x="191527" y="90345"/>
                </a:cubicBezTo>
                <a:cubicBezTo>
                  <a:pt x="183486" y="90345"/>
                  <a:pt x="189097" y="79874"/>
                  <a:pt x="179958" y="80684"/>
                </a:cubicBezTo>
                <a:cubicBezTo>
                  <a:pt x="170818" y="81494"/>
                  <a:pt x="172727" y="74900"/>
                  <a:pt x="160580" y="76635"/>
                </a:cubicBezTo>
                <a:cubicBezTo>
                  <a:pt x="148433" y="78371"/>
                  <a:pt x="141202" y="72644"/>
                  <a:pt x="128303" y="57257"/>
                </a:cubicBezTo>
                <a:cubicBezTo>
                  <a:pt x="115403" y="41871"/>
                  <a:pt x="116734" y="12023"/>
                  <a:pt x="119395" y="3925"/>
                </a:cubicBezTo>
                <a:cubicBezTo>
                  <a:pt x="122056" y="-4173"/>
                  <a:pt x="104066" y="2363"/>
                  <a:pt x="93539" y="2363"/>
                </a:cubicBezTo>
                <a:cubicBezTo>
                  <a:pt x="83011" y="2363"/>
                  <a:pt x="72541" y="10404"/>
                  <a:pt x="61261" y="16882"/>
                </a:cubicBezTo>
                <a:cubicBezTo>
                  <a:pt x="49982" y="23361"/>
                  <a:pt x="43503" y="23361"/>
                  <a:pt x="37834" y="28971"/>
                </a:cubicBezTo>
                <a:cubicBezTo>
                  <a:pt x="31882" y="35201"/>
                  <a:pt x="22882" y="37451"/>
                  <a:pt x="14697" y="34756"/>
                </a:cubicBezTo>
                <a:cubicBezTo>
                  <a:pt x="11735" y="33738"/>
                  <a:pt x="8669" y="33038"/>
                  <a:pt x="5557" y="32674"/>
                </a:cubicBezTo>
                <a:cubicBezTo>
                  <a:pt x="10358" y="44590"/>
                  <a:pt x="21811" y="64083"/>
                  <a:pt x="24415" y="71140"/>
                </a:cubicBezTo>
                <a:cubicBezTo>
                  <a:pt x="27596" y="79990"/>
                  <a:pt x="20365" y="82420"/>
                  <a:pt x="17126" y="85659"/>
                </a:cubicBezTo>
                <a:cubicBezTo>
                  <a:pt x="13887" y="88898"/>
                  <a:pt x="18746" y="117936"/>
                  <a:pt x="19555" y="124415"/>
                </a:cubicBezTo>
                <a:cubicBezTo>
                  <a:pt x="20365" y="130893"/>
                  <a:pt x="7987" y="142983"/>
                  <a:pt x="13077" y="147032"/>
                </a:cubicBezTo>
                <a:cubicBezTo>
                  <a:pt x="18167" y="151081"/>
                  <a:pt x="6598" y="163170"/>
                  <a:pt x="6598" y="170517"/>
                </a:cubicBezTo>
                <a:cubicBezTo>
                  <a:pt x="6598" y="177863"/>
                  <a:pt x="17126" y="177747"/>
                  <a:pt x="17126" y="183358"/>
                </a:cubicBezTo>
                <a:cubicBezTo>
                  <a:pt x="17126" y="188969"/>
                  <a:pt x="8218" y="201926"/>
                  <a:pt x="2607" y="205165"/>
                </a:cubicBezTo>
                <a:cubicBezTo>
                  <a:pt x="-401" y="206843"/>
                  <a:pt x="-458" y="211470"/>
                  <a:pt x="294" y="216387"/>
                </a:cubicBezTo>
                <a:cubicBezTo>
                  <a:pt x="1971" y="215866"/>
                  <a:pt x="3186" y="223213"/>
                  <a:pt x="11457" y="229402"/>
                </a:cubicBezTo>
                <a:cubicBezTo>
                  <a:pt x="21175" y="236691"/>
                  <a:pt x="9838" y="248838"/>
                  <a:pt x="17936" y="258324"/>
                </a:cubicBezTo>
                <a:cubicBezTo>
                  <a:pt x="26034" y="267811"/>
                  <a:pt x="34884" y="268794"/>
                  <a:pt x="29505" y="273711"/>
                </a:cubicBezTo>
                <a:cubicBezTo>
                  <a:pt x="24125" y="278628"/>
                  <a:pt x="30315" y="288172"/>
                  <a:pt x="23720" y="293031"/>
                </a:cubicBezTo>
                <a:cubicBezTo>
                  <a:pt x="17126" y="297890"/>
                  <a:pt x="26150" y="312409"/>
                  <a:pt x="33438" y="315706"/>
                </a:cubicBezTo>
                <a:cubicBezTo>
                  <a:pt x="40727" y="319003"/>
                  <a:pt x="35868" y="333464"/>
                  <a:pt x="43156" y="340752"/>
                </a:cubicBezTo>
                <a:cubicBezTo>
                  <a:pt x="50444" y="348041"/>
                  <a:pt x="47147" y="364931"/>
                  <a:pt x="49577" y="370542"/>
                </a:cubicBezTo>
                <a:cubicBezTo>
                  <a:pt x="52006" y="376153"/>
                  <a:pt x="73813" y="362502"/>
                  <a:pt x="86771" y="348793"/>
                </a:cubicBezTo>
                <a:cubicBezTo>
                  <a:pt x="99728" y="335084"/>
                  <a:pt x="98860" y="346363"/>
                  <a:pt x="111008" y="347925"/>
                </a:cubicBezTo>
                <a:cubicBezTo>
                  <a:pt x="123155" y="349487"/>
                  <a:pt x="136806" y="349602"/>
                  <a:pt x="142475" y="360882"/>
                </a:cubicBezTo>
                <a:cubicBezTo>
                  <a:pt x="148144" y="372162"/>
                  <a:pt x="154622" y="349602"/>
                  <a:pt x="158613" y="344744"/>
                </a:cubicBezTo>
                <a:cubicBezTo>
                  <a:pt x="162605" y="339885"/>
                  <a:pt x="190139" y="346363"/>
                  <a:pt x="194997" y="344744"/>
                </a:cubicBezTo>
                <a:cubicBezTo>
                  <a:pt x="199856" y="343124"/>
                  <a:pt x="203848" y="308417"/>
                  <a:pt x="203038" y="302749"/>
                </a:cubicBezTo>
                <a:cubicBezTo>
                  <a:pt x="202228" y="297080"/>
                  <a:pt x="214607" y="283371"/>
                  <a:pt x="224035" y="276950"/>
                </a:cubicBezTo>
                <a:cubicBezTo>
                  <a:pt x="233464" y="270529"/>
                  <a:pt x="249082" y="275330"/>
                  <a:pt x="257180" y="271166"/>
                </a:cubicBezTo>
                <a:cubicBezTo>
                  <a:pt x="265278" y="267001"/>
                  <a:pt x="277367" y="267926"/>
                  <a:pt x="288705" y="267926"/>
                </a:cubicBezTo>
                <a:cubicBezTo>
                  <a:pt x="300043" y="267926"/>
                  <a:pt x="308083" y="279495"/>
                  <a:pt x="314504" y="279495"/>
                </a:cubicBezTo>
                <a:cubicBezTo>
                  <a:pt x="320924" y="279495"/>
                  <a:pt x="329080" y="268910"/>
                  <a:pt x="327461" y="259250"/>
                </a:cubicBezTo>
                <a:cubicBezTo>
                  <a:pt x="325841" y="249590"/>
                  <a:pt x="334460" y="235765"/>
                  <a:pt x="330411" y="22367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4" name="Forma libre: forma 183">
            <a:extLst>
              <a:ext uri="{FF2B5EF4-FFF2-40B4-BE49-F238E27FC236}">
                <a16:creationId xmlns:a16="http://schemas.microsoft.com/office/drawing/2014/main" id="{C9CB6BAA-38C6-575F-E7AA-40D62C9F9E54}"/>
              </a:ext>
            </a:extLst>
          </p:cNvPr>
          <p:cNvSpPr/>
          <p:nvPr/>
        </p:nvSpPr>
        <p:spPr>
          <a:xfrm>
            <a:off x="3944751" y="4487258"/>
            <a:ext cx="347637" cy="510334"/>
          </a:xfrm>
          <a:custGeom>
            <a:avLst/>
            <a:gdLst>
              <a:gd name="connsiteX0" fmla="*/ 321682 w 347637"/>
              <a:gd name="connsiteY0" fmla="*/ 484812 h 510334"/>
              <a:gd name="connsiteX1" fmla="*/ 322608 w 347637"/>
              <a:gd name="connsiteY1" fmla="*/ 483886 h 510334"/>
              <a:gd name="connsiteX2" fmla="*/ 324922 w 347637"/>
              <a:gd name="connsiteY2" fmla="*/ 472664 h 510334"/>
              <a:gd name="connsiteX3" fmla="*/ 339440 w 347637"/>
              <a:gd name="connsiteY3" fmla="*/ 450857 h 510334"/>
              <a:gd name="connsiteX4" fmla="*/ 328913 w 347637"/>
              <a:gd name="connsiteY4" fmla="*/ 438016 h 510334"/>
              <a:gd name="connsiteX5" fmla="*/ 335392 w 347637"/>
              <a:gd name="connsiteY5" fmla="*/ 414531 h 510334"/>
              <a:gd name="connsiteX6" fmla="*/ 341870 w 347637"/>
              <a:gd name="connsiteY6" fmla="*/ 391914 h 510334"/>
              <a:gd name="connsiteX7" fmla="*/ 339440 w 347637"/>
              <a:gd name="connsiteY7" fmla="*/ 353158 h 510334"/>
              <a:gd name="connsiteX8" fmla="*/ 346729 w 347637"/>
              <a:gd name="connsiteY8" fmla="*/ 338639 h 510334"/>
              <a:gd name="connsiteX9" fmla="*/ 327872 w 347637"/>
              <a:gd name="connsiteY9" fmla="*/ 300172 h 510334"/>
              <a:gd name="connsiteX10" fmla="*/ 301437 w 347637"/>
              <a:gd name="connsiteY10" fmla="*/ 301445 h 510334"/>
              <a:gd name="connsiteX11" fmla="*/ 295016 w 347637"/>
              <a:gd name="connsiteY11" fmla="*/ 265929 h 510334"/>
              <a:gd name="connsiteX12" fmla="*/ 282869 w 347637"/>
              <a:gd name="connsiteY12" fmla="*/ 268358 h 510334"/>
              <a:gd name="connsiteX13" fmla="*/ 253947 w 347637"/>
              <a:gd name="connsiteY13" fmla="*/ 272349 h 510334"/>
              <a:gd name="connsiteX14" fmla="*/ 239370 w 347637"/>
              <a:gd name="connsiteY14" fmla="*/ 257021 h 510334"/>
              <a:gd name="connsiteX15" fmla="*/ 225661 w 347637"/>
              <a:gd name="connsiteY15" fmla="*/ 246551 h 510334"/>
              <a:gd name="connsiteX16" fmla="*/ 214092 w 347637"/>
              <a:gd name="connsiteY16" fmla="*/ 223413 h 510334"/>
              <a:gd name="connsiteX17" fmla="*/ 206803 w 347637"/>
              <a:gd name="connsiteY17" fmla="*/ 199986 h 510334"/>
              <a:gd name="connsiteX18" fmla="*/ 210853 w 347637"/>
              <a:gd name="connsiteY18" fmla="*/ 182228 h 510334"/>
              <a:gd name="connsiteX19" fmla="*/ 222942 w 347637"/>
              <a:gd name="connsiteY19" fmla="*/ 167709 h 510334"/>
              <a:gd name="connsiteX20" fmla="*/ 231850 w 347637"/>
              <a:gd name="connsiteY20" fmla="*/ 141795 h 510334"/>
              <a:gd name="connsiteX21" fmla="*/ 256087 w 347637"/>
              <a:gd name="connsiteY21" fmla="*/ 125714 h 510334"/>
              <a:gd name="connsiteX22" fmla="*/ 289174 w 347637"/>
              <a:gd name="connsiteY22" fmla="*/ 113509 h 510334"/>
              <a:gd name="connsiteX23" fmla="*/ 311270 w 347637"/>
              <a:gd name="connsiteY23" fmla="*/ 112005 h 510334"/>
              <a:gd name="connsiteX24" fmla="*/ 295016 w 347637"/>
              <a:gd name="connsiteY24" fmla="*/ 99048 h 510334"/>
              <a:gd name="connsiteX25" fmla="*/ 309304 w 347637"/>
              <a:gd name="connsiteY25" fmla="*/ 75910 h 510334"/>
              <a:gd name="connsiteX26" fmla="*/ 289289 w 347637"/>
              <a:gd name="connsiteY26" fmla="*/ 59772 h 510334"/>
              <a:gd name="connsiteX27" fmla="*/ 271242 w 347637"/>
              <a:gd name="connsiteY27" fmla="*/ 60697 h 510334"/>
              <a:gd name="connsiteX28" fmla="*/ 255104 w 347637"/>
              <a:gd name="connsiteY28" fmla="*/ 62664 h 510334"/>
              <a:gd name="connsiteX29" fmla="*/ 223694 w 347637"/>
              <a:gd name="connsiteY29" fmla="*/ 58846 h 510334"/>
              <a:gd name="connsiteX30" fmla="*/ 213282 w 347637"/>
              <a:gd name="connsiteY30" fmla="*/ 41493 h 510334"/>
              <a:gd name="connsiteX31" fmla="*/ 195929 w 347637"/>
              <a:gd name="connsiteY31" fmla="*/ 24140 h 510334"/>
              <a:gd name="connsiteX32" fmla="*/ 179732 w 347637"/>
              <a:gd name="connsiteY32" fmla="*/ 1291 h 510334"/>
              <a:gd name="connsiteX33" fmla="*/ 156248 w 347637"/>
              <a:gd name="connsiteY33" fmla="*/ 2043 h 510334"/>
              <a:gd name="connsiteX34" fmla="*/ 162610 w 347637"/>
              <a:gd name="connsiteY34" fmla="*/ 21537 h 510334"/>
              <a:gd name="connsiteX35" fmla="*/ 147455 w 347637"/>
              <a:gd name="connsiteY35" fmla="*/ 49302 h 510334"/>
              <a:gd name="connsiteX36" fmla="*/ 93776 w 347637"/>
              <a:gd name="connsiteY36" fmla="*/ 78224 h 510334"/>
              <a:gd name="connsiteX37" fmla="*/ 69134 w 347637"/>
              <a:gd name="connsiteY37" fmla="*/ 121839 h 510334"/>
              <a:gd name="connsiteX38" fmla="*/ 49525 w 347637"/>
              <a:gd name="connsiteY38" fmla="*/ 123053 h 510334"/>
              <a:gd name="connsiteX39" fmla="*/ 28701 w 347637"/>
              <a:gd name="connsiteY39" fmla="*/ 117269 h 510334"/>
              <a:gd name="connsiteX40" fmla="*/ 28701 w 347637"/>
              <a:gd name="connsiteY40" fmla="*/ 103386 h 510334"/>
              <a:gd name="connsiteX41" fmla="*/ 23437 w 347637"/>
              <a:gd name="connsiteY41" fmla="*/ 89330 h 510334"/>
              <a:gd name="connsiteX42" fmla="*/ 820 w 347637"/>
              <a:gd name="connsiteY42" fmla="*/ 113220 h 510334"/>
              <a:gd name="connsiteX43" fmla="*/ 11116 w 347637"/>
              <a:gd name="connsiteY43" fmla="*/ 150761 h 510334"/>
              <a:gd name="connsiteX44" fmla="*/ 2613 w 347637"/>
              <a:gd name="connsiteY44" fmla="*/ 158049 h 510334"/>
              <a:gd name="connsiteX45" fmla="*/ 32287 w 347637"/>
              <a:gd name="connsiteY45" fmla="*/ 181650 h 510334"/>
              <a:gd name="connsiteX46" fmla="*/ 59590 w 347637"/>
              <a:gd name="connsiteY46" fmla="*/ 219190 h 510334"/>
              <a:gd name="connsiteX47" fmla="*/ 78968 w 347637"/>
              <a:gd name="connsiteY47" fmla="*/ 260954 h 510334"/>
              <a:gd name="connsiteX48" fmla="*/ 121368 w 347637"/>
              <a:gd name="connsiteY48" fmla="*/ 341531 h 510334"/>
              <a:gd name="connsiteX49" fmla="*/ 137679 w 347637"/>
              <a:gd name="connsiteY49" fmla="*/ 376701 h 510334"/>
              <a:gd name="connsiteX50" fmla="*/ 147976 w 347637"/>
              <a:gd name="connsiteY50" fmla="*/ 401516 h 510334"/>
              <a:gd name="connsiteX51" fmla="*/ 191012 w 347637"/>
              <a:gd name="connsiteY51" fmla="*/ 431884 h 510334"/>
              <a:gd name="connsiteX52" fmla="*/ 269796 w 347637"/>
              <a:gd name="connsiteY52" fmla="*/ 480242 h 510334"/>
              <a:gd name="connsiteX53" fmla="*/ 302478 w 347637"/>
              <a:gd name="connsiteY53" fmla="*/ 505115 h 510334"/>
              <a:gd name="connsiteX54" fmla="*/ 304040 w 347637"/>
              <a:gd name="connsiteY54" fmla="*/ 510205 h 510334"/>
              <a:gd name="connsiteX55" fmla="*/ 309824 w 347637"/>
              <a:gd name="connsiteY55" fmla="*/ 505925 h 510334"/>
              <a:gd name="connsiteX56" fmla="*/ 321682 w 347637"/>
              <a:gd name="connsiteY56" fmla="*/ 484812 h 51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47637" h="510334">
                <a:moveTo>
                  <a:pt x="321682" y="484812"/>
                </a:moveTo>
                <a:cubicBezTo>
                  <a:pt x="321873" y="484407"/>
                  <a:pt x="322203" y="484077"/>
                  <a:pt x="322608" y="483886"/>
                </a:cubicBezTo>
                <a:cubicBezTo>
                  <a:pt x="321856" y="478969"/>
                  <a:pt x="321914" y="474342"/>
                  <a:pt x="324922" y="472664"/>
                </a:cubicBezTo>
                <a:cubicBezTo>
                  <a:pt x="330706" y="469425"/>
                  <a:pt x="339440" y="456526"/>
                  <a:pt x="339440" y="450857"/>
                </a:cubicBezTo>
                <a:cubicBezTo>
                  <a:pt x="339440" y="445188"/>
                  <a:pt x="328913" y="445073"/>
                  <a:pt x="328913" y="438016"/>
                </a:cubicBezTo>
                <a:cubicBezTo>
                  <a:pt x="328913" y="430959"/>
                  <a:pt x="340482" y="418580"/>
                  <a:pt x="335392" y="414531"/>
                </a:cubicBezTo>
                <a:cubicBezTo>
                  <a:pt x="330301" y="410482"/>
                  <a:pt x="342680" y="398334"/>
                  <a:pt x="341870" y="391914"/>
                </a:cubicBezTo>
                <a:cubicBezTo>
                  <a:pt x="341060" y="385493"/>
                  <a:pt x="336086" y="356339"/>
                  <a:pt x="339440" y="353158"/>
                </a:cubicBezTo>
                <a:cubicBezTo>
                  <a:pt x="342795" y="349977"/>
                  <a:pt x="349910" y="347374"/>
                  <a:pt x="346729" y="338639"/>
                </a:cubicBezTo>
                <a:cubicBezTo>
                  <a:pt x="344126" y="331582"/>
                  <a:pt x="332673" y="312088"/>
                  <a:pt x="327872" y="300172"/>
                </a:cubicBezTo>
                <a:cubicBezTo>
                  <a:pt x="319068" y="298761"/>
                  <a:pt x="310067" y="299195"/>
                  <a:pt x="301437" y="301445"/>
                </a:cubicBezTo>
                <a:cubicBezTo>
                  <a:pt x="292587" y="304684"/>
                  <a:pt x="295016" y="276399"/>
                  <a:pt x="295016" y="265929"/>
                </a:cubicBezTo>
                <a:cubicBezTo>
                  <a:pt x="295016" y="255459"/>
                  <a:pt x="286108" y="261070"/>
                  <a:pt x="282869" y="268358"/>
                </a:cubicBezTo>
                <a:cubicBezTo>
                  <a:pt x="279630" y="275647"/>
                  <a:pt x="266730" y="272349"/>
                  <a:pt x="253947" y="272349"/>
                </a:cubicBezTo>
                <a:cubicBezTo>
                  <a:pt x="241163" y="272349"/>
                  <a:pt x="247468" y="256211"/>
                  <a:pt x="239370" y="257021"/>
                </a:cubicBezTo>
                <a:cubicBezTo>
                  <a:pt x="231272" y="257830"/>
                  <a:pt x="224851" y="254591"/>
                  <a:pt x="225661" y="246551"/>
                </a:cubicBezTo>
                <a:cubicBezTo>
                  <a:pt x="226471" y="238511"/>
                  <a:pt x="219876" y="231974"/>
                  <a:pt x="214092" y="223413"/>
                </a:cubicBezTo>
                <a:cubicBezTo>
                  <a:pt x="208307" y="214852"/>
                  <a:pt x="201945" y="205655"/>
                  <a:pt x="206803" y="199986"/>
                </a:cubicBezTo>
                <a:cubicBezTo>
                  <a:pt x="211663" y="194317"/>
                  <a:pt x="203564" y="189459"/>
                  <a:pt x="210853" y="182228"/>
                </a:cubicBezTo>
                <a:cubicBezTo>
                  <a:pt x="218141" y="174998"/>
                  <a:pt x="225372" y="177369"/>
                  <a:pt x="222942" y="167709"/>
                </a:cubicBezTo>
                <a:cubicBezTo>
                  <a:pt x="220513" y="158049"/>
                  <a:pt x="231040" y="152322"/>
                  <a:pt x="231850" y="141795"/>
                </a:cubicBezTo>
                <a:cubicBezTo>
                  <a:pt x="232660" y="131267"/>
                  <a:pt x="244749" y="134564"/>
                  <a:pt x="256087" y="125714"/>
                </a:cubicBezTo>
                <a:cubicBezTo>
                  <a:pt x="267425" y="116864"/>
                  <a:pt x="279225" y="121607"/>
                  <a:pt x="289174" y="113509"/>
                </a:cubicBezTo>
                <a:cubicBezTo>
                  <a:pt x="299123" y="105411"/>
                  <a:pt x="304503" y="112526"/>
                  <a:pt x="311270" y="112005"/>
                </a:cubicBezTo>
                <a:cubicBezTo>
                  <a:pt x="307221" y="106221"/>
                  <a:pt x="297272" y="103560"/>
                  <a:pt x="295016" y="99048"/>
                </a:cubicBezTo>
                <a:cubicBezTo>
                  <a:pt x="292182" y="93264"/>
                  <a:pt x="305486" y="82909"/>
                  <a:pt x="309304" y="75910"/>
                </a:cubicBezTo>
                <a:cubicBezTo>
                  <a:pt x="313121" y="68911"/>
                  <a:pt x="294091" y="61681"/>
                  <a:pt x="289289" y="59772"/>
                </a:cubicBezTo>
                <a:cubicBezTo>
                  <a:pt x="284488" y="57863"/>
                  <a:pt x="275985" y="63590"/>
                  <a:pt x="271242" y="60697"/>
                </a:cubicBezTo>
                <a:cubicBezTo>
                  <a:pt x="265897" y="58424"/>
                  <a:pt x="259743" y="59170"/>
                  <a:pt x="255104" y="62664"/>
                </a:cubicBezTo>
                <a:cubicBezTo>
                  <a:pt x="251286" y="65498"/>
                  <a:pt x="222769" y="67407"/>
                  <a:pt x="223694" y="58846"/>
                </a:cubicBezTo>
                <a:cubicBezTo>
                  <a:pt x="224620" y="50285"/>
                  <a:pt x="212125" y="47277"/>
                  <a:pt x="213282" y="41493"/>
                </a:cubicBezTo>
                <a:cubicBezTo>
                  <a:pt x="214439" y="35709"/>
                  <a:pt x="206630" y="25297"/>
                  <a:pt x="195929" y="24140"/>
                </a:cubicBezTo>
                <a:cubicBezTo>
                  <a:pt x="185228" y="22983"/>
                  <a:pt x="187368" y="6092"/>
                  <a:pt x="179732" y="1291"/>
                </a:cubicBezTo>
                <a:cubicBezTo>
                  <a:pt x="175452" y="-1370"/>
                  <a:pt x="164693" y="192"/>
                  <a:pt x="156248" y="2043"/>
                </a:cubicBezTo>
                <a:cubicBezTo>
                  <a:pt x="165387" y="12340"/>
                  <a:pt x="168626" y="16678"/>
                  <a:pt x="162610" y="21537"/>
                </a:cubicBezTo>
                <a:cubicBezTo>
                  <a:pt x="154570" y="27957"/>
                  <a:pt x="162610" y="29056"/>
                  <a:pt x="147455" y="49302"/>
                </a:cubicBezTo>
                <a:cubicBezTo>
                  <a:pt x="132300" y="69547"/>
                  <a:pt x="106386" y="74522"/>
                  <a:pt x="93776" y="78224"/>
                </a:cubicBezTo>
                <a:cubicBezTo>
                  <a:pt x="81166" y="81926"/>
                  <a:pt x="76076" y="105353"/>
                  <a:pt x="69134" y="121839"/>
                </a:cubicBezTo>
                <a:cubicBezTo>
                  <a:pt x="62193" y="138324"/>
                  <a:pt x="56524" y="132540"/>
                  <a:pt x="49525" y="123053"/>
                </a:cubicBezTo>
                <a:cubicBezTo>
                  <a:pt x="42526" y="113567"/>
                  <a:pt x="36915" y="124962"/>
                  <a:pt x="28701" y="117269"/>
                </a:cubicBezTo>
                <a:cubicBezTo>
                  <a:pt x="20487" y="109576"/>
                  <a:pt x="24305" y="109691"/>
                  <a:pt x="28701" y="103386"/>
                </a:cubicBezTo>
                <a:cubicBezTo>
                  <a:pt x="31072" y="99973"/>
                  <a:pt x="28701" y="94536"/>
                  <a:pt x="23437" y="89330"/>
                </a:cubicBezTo>
                <a:cubicBezTo>
                  <a:pt x="14413" y="91181"/>
                  <a:pt x="5274" y="103676"/>
                  <a:pt x="820" y="113220"/>
                </a:cubicBezTo>
                <a:cubicBezTo>
                  <a:pt x="-3634" y="122764"/>
                  <a:pt x="9265" y="143472"/>
                  <a:pt x="11116" y="150761"/>
                </a:cubicBezTo>
                <a:cubicBezTo>
                  <a:pt x="12967" y="158049"/>
                  <a:pt x="3828" y="151339"/>
                  <a:pt x="2613" y="158049"/>
                </a:cubicBezTo>
                <a:cubicBezTo>
                  <a:pt x="1398" y="164759"/>
                  <a:pt x="22627" y="174361"/>
                  <a:pt x="32287" y="181650"/>
                </a:cubicBezTo>
                <a:cubicBezTo>
                  <a:pt x="41947" y="188938"/>
                  <a:pt x="50451" y="209531"/>
                  <a:pt x="59590" y="219190"/>
                </a:cubicBezTo>
                <a:cubicBezTo>
                  <a:pt x="68729" y="228851"/>
                  <a:pt x="69250" y="237354"/>
                  <a:pt x="78968" y="260954"/>
                </a:cubicBezTo>
                <a:cubicBezTo>
                  <a:pt x="88686" y="284555"/>
                  <a:pt x="107890" y="324583"/>
                  <a:pt x="121368" y="341531"/>
                </a:cubicBezTo>
                <a:cubicBezTo>
                  <a:pt x="134845" y="358480"/>
                  <a:pt x="140745" y="371842"/>
                  <a:pt x="137679" y="376701"/>
                </a:cubicBezTo>
                <a:cubicBezTo>
                  <a:pt x="134614" y="381559"/>
                  <a:pt x="138316" y="394864"/>
                  <a:pt x="147976" y="401516"/>
                </a:cubicBezTo>
                <a:cubicBezTo>
                  <a:pt x="157636" y="408168"/>
                  <a:pt x="165329" y="418869"/>
                  <a:pt x="191012" y="431884"/>
                </a:cubicBezTo>
                <a:cubicBezTo>
                  <a:pt x="216695" y="444899"/>
                  <a:pt x="263086" y="468731"/>
                  <a:pt x="269796" y="480242"/>
                </a:cubicBezTo>
                <a:cubicBezTo>
                  <a:pt x="276506" y="491753"/>
                  <a:pt x="298255" y="502685"/>
                  <a:pt x="302478" y="505115"/>
                </a:cubicBezTo>
                <a:cubicBezTo>
                  <a:pt x="303635" y="505809"/>
                  <a:pt x="303982" y="507718"/>
                  <a:pt x="304040" y="510205"/>
                </a:cubicBezTo>
                <a:cubicBezTo>
                  <a:pt x="305816" y="508580"/>
                  <a:pt x="307753" y="507145"/>
                  <a:pt x="309824" y="505925"/>
                </a:cubicBezTo>
                <a:cubicBezTo>
                  <a:pt x="318443" y="502570"/>
                  <a:pt x="319253" y="488861"/>
                  <a:pt x="321682" y="48481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5" name="Forma libre: forma 184">
            <a:extLst>
              <a:ext uri="{FF2B5EF4-FFF2-40B4-BE49-F238E27FC236}">
                <a16:creationId xmlns:a16="http://schemas.microsoft.com/office/drawing/2014/main" id="{0FA5328D-CC7E-928C-4C95-3EAFFFDDC82B}"/>
              </a:ext>
            </a:extLst>
          </p:cNvPr>
          <p:cNvSpPr/>
          <p:nvPr/>
        </p:nvSpPr>
        <p:spPr>
          <a:xfrm>
            <a:off x="4164103" y="4147629"/>
            <a:ext cx="375869" cy="316083"/>
          </a:xfrm>
          <a:custGeom>
            <a:avLst/>
            <a:gdLst>
              <a:gd name="connsiteX0" fmla="*/ 34652 w 375869"/>
              <a:gd name="connsiteY0" fmla="*/ 20059 h 316083"/>
              <a:gd name="connsiteX1" fmla="*/ 10647 w 375869"/>
              <a:gd name="connsiteY1" fmla="*/ 50948 h 316083"/>
              <a:gd name="connsiteX2" fmla="*/ 6540 w 375869"/>
              <a:gd name="connsiteY2" fmla="*/ 71193 h 316083"/>
              <a:gd name="connsiteX3" fmla="*/ 2433 w 375869"/>
              <a:gd name="connsiteY3" fmla="*/ 83745 h 316083"/>
              <a:gd name="connsiteX4" fmla="*/ 15274 w 375869"/>
              <a:gd name="connsiteY4" fmla="*/ 89530 h 316083"/>
              <a:gd name="connsiteX5" fmla="*/ 27306 w 375869"/>
              <a:gd name="connsiteY5" fmla="*/ 107519 h 316083"/>
              <a:gd name="connsiteX6" fmla="*/ 45064 w 375869"/>
              <a:gd name="connsiteY6" fmla="*/ 143614 h 316083"/>
              <a:gd name="connsiteX7" fmla="*/ 91745 w 375869"/>
              <a:gd name="connsiteY7" fmla="*/ 147721 h 316083"/>
              <a:gd name="connsiteX8" fmla="*/ 129979 w 375869"/>
              <a:gd name="connsiteY8" fmla="*/ 164380 h 316083"/>
              <a:gd name="connsiteX9" fmla="*/ 161968 w 375869"/>
              <a:gd name="connsiteY9" fmla="*/ 172826 h 316083"/>
              <a:gd name="connsiteX10" fmla="*/ 155431 w 375869"/>
              <a:gd name="connsiteY10" fmla="*/ 222861 h 316083"/>
              <a:gd name="connsiteX11" fmla="*/ 166074 w 375869"/>
              <a:gd name="connsiteY11" fmla="*/ 243859 h 316083"/>
              <a:gd name="connsiteX12" fmla="*/ 164975 w 375869"/>
              <a:gd name="connsiteY12" fmla="*/ 264335 h 316083"/>
              <a:gd name="connsiteX13" fmla="*/ 169892 w 375869"/>
              <a:gd name="connsiteY13" fmla="*/ 278276 h 316083"/>
              <a:gd name="connsiteX14" fmla="*/ 166074 w 375869"/>
              <a:gd name="connsiteY14" fmla="*/ 280532 h 316083"/>
              <a:gd name="connsiteX15" fmla="*/ 186956 w 375869"/>
              <a:gd name="connsiteY15" fmla="*/ 308123 h 316083"/>
              <a:gd name="connsiteX16" fmla="*/ 203326 w 375869"/>
              <a:gd name="connsiteY16" fmla="*/ 314660 h 316083"/>
              <a:gd name="connsiteX17" fmla="*/ 218076 w 375869"/>
              <a:gd name="connsiteY17" fmla="*/ 312230 h 316083"/>
              <a:gd name="connsiteX18" fmla="*/ 236934 w 375869"/>
              <a:gd name="connsiteY18" fmla="*/ 302339 h 316083"/>
              <a:gd name="connsiteX19" fmla="*/ 254981 w 375869"/>
              <a:gd name="connsiteY19" fmla="*/ 293373 h 316083"/>
              <a:gd name="connsiteX20" fmla="*/ 270541 w 375869"/>
              <a:gd name="connsiteY20" fmla="*/ 278565 h 316083"/>
              <a:gd name="connsiteX21" fmla="*/ 273838 w 375869"/>
              <a:gd name="connsiteY21" fmla="*/ 266996 h 316083"/>
              <a:gd name="connsiteX22" fmla="*/ 259898 w 375869"/>
              <a:gd name="connsiteY22" fmla="*/ 263699 h 316083"/>
              <a:gd name="connsiteX23" fmla="*/ 252494 w 375869"/>
              <a:gd name="connsiteY23" fmla="*/ 246346 h 316083"/>
              <a:gd name="connsiteX24" fmla="*/ 241850 w 375869"/>
              <a:gd name="connsiteY24" fmla="*/ 225811 h 316083"/>
              <a:gd name="connsiteX25" fmla="*/ 259898 w 375869"/>
              <a:gd name="connsiteY25" fmla="*/ 222572 h 316083"/>
              <a:gd name="connsiteX26" fmla="*/ 283672 w 375869"/>
              <a:gd name="connsiteY26" fmla="*/ 230728 h 316083"/>
              <a:gd name="connsiteX27" fmla="*/ 294315 w 375869"/>
              <a:gd name="connsiteY27" fmla="*/ 231538 h 316083"/>
              <a:gd name="connsiteX28" fmla="*/ 313230 w 375869"/>
              <a:gd name="connsiteY28" fmla="*/ 220894 h 316083"/>
              <a:gd name="connsiteX29" fmla="*/ 346838 w 375869"/>
              <a:gd name="connsiteY29" fmla="*/ 207763 h 316083"/>
              <a:gd name="connsiteX30" fmla="*/ 354184 w 375869"/>
              <a:gd name="connsiteY30" fmla="*/ 197988 h 316083"/>
              <a:gd name="connsiteX31" fmla="*/ 336252 w 375869"/>
              <a:gd name="connsiteY31" fmla="*/ 175949 h 316083"/>
              <a:gd name="connsiteX32" fmla="*/ 339260 w 375869"/>
              <a:gd name="connsiteY32" fmla="*/ 161257 h 316083"/>
              <a:gd name="connsiteX33" fmla="*/ 351986 w 375869"/>
              <a:gd name="connsiteY33" fmla="*/ 148473 h 316083"/>
              <a:gd name="connsiteX34" fmla="*/ 355919 w 375869"/>
              <a:gd name="connsiteY34" fmla="*/ 133781 h 316083"/>
              <a:gd name="connsiteX35" fmla="*/ 365753 w 375869"/>
              <a:gd name="connsiteY35" fmla="*/ 115097 h 316083"/>
              <a:gd name="connsiteX36" fmla="*/ 375760 w 375869"/>
              <a:gd name="connsiteY36" fmla="*/ 102024 h 316083"/>
              <a:gd name="connsiteX37" fmla="*/ 336137 w 375869"/>
              <a:gd name="connsiteY37" fmla="*/ 97975 h 316083"/>
              <a:gd name="connsiteX38" fmla="*/ 343425 w 375869"/>
              <a:gd name="connsiteY38" fmla="*/ 75589 h 316083"/>
              <a:gd name="connsiteX39" fmla="*/ 302934 w 375869"/>
              <a:gd name="connsiteY39" fmla="*/ 60434 h 316083"/>
              <a:gd name="connsiteX40" fmla="*/ 306578 w 375869"/>
              <a:gd name="connsiteY40" fmla="*/ 45337 h 316083"/>
              <a:gd name="connsiteX41" fmla="*/ 283441 w 375869"/>
              <a:gd name="connsiteY41" fmla="*/ 38627 h 316083"/>
              <a:gd name="connsiteX42" fmla="*/ 230744 w 375869"/>
              <a:gd name="connsiteY42" fmla="*/ 57426 h 316083"/>
              <a:gd name="connsiteX43" fmla="*/ 179263 w 375869"/>
              <a:gd name="connsiteY43" fmla="*/ 42271 h 316083"/>
              <a:gd name="connsiteX44" fmla="*/ 143515 w 375869"/>
              <a:gd name="connsiteY44" fmla="*/ 36197 h 316083"/>
              <a:gd name="connsiteX45" fmla="*/ 122286 w 375869"/>
              <a:gd name="connsiteY45" fmla="*/ 15027 h 316083"/>
              <a:gd name="connsiteX46" fmla="*/ 99148 w 375869"/>
              <a:gd name="connsiteY46" fmla="*/ -129 h 316083"/>
              <a:gd name="connsiteX47" fmla="*/ 91282 w 375869"/>
              <a:gd name="connsiteY47" fmla="*/ 17224 h 316083"/>
              <a:gd name="connsiteX48" fmla="*/ 54319 w 375869"/>
              <a:gd name="connsiteY48" fmla="*/ 38395 h 316083"/>
              <a:gd name="connsiteX49" fmla="*/ 63401 w 375869"/>
              <a:gd name="connsiteY49" fmla="*/ 78366 h 316083"/>
              <a:gd name="connsiteX50" fmla="*/ 34479 w 375869"/>
              <a:gd name="connsiteY50" fmla="*/ 68706 h 316083"/>
              <a:gd name="connsiteX51" fmla="*/ 46568 w 375869"/>
              <a:gd name="connsiteY51" fmla="*/ 32958 h 316083"/>
              <a:gd name="connsiteX52" fmla="*/ 42982 w 375869"/>
              <a:gd name="connsiteY52" fmla="*/ 14043 h 316083"/>
              <a:gd name="connsiteX53" fmla="*/ 34652 w 375869"/>
              <a:gd name="connsiteY53" fmla="*/ 20059 h 31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75869" h="316083">
                <a:moveTo>
                  <a:pt x="34652" y="20059"/>
                </a:moveTo>
                <a:cubicBezTo>
                  <a:pt x="26728" y="30760"/>
                  <a:pt x="10936" y="40015"/>
                  <a:pt x="10647" y="50948"/>
                </a:cubicBezTo>
                <a:cubicBezTo>
                  <a:pt x="10358" y="61880"/>
                  <a:pt x="10647" y="65987"/>
                  <a:pt x="6540" y="71193"/>
                </a:cubicBezTo>
                <a:cubicBezTo>
                  <a:pt x="2433" y="76399"/>
                  <a:pt x="-3583" y="84324"/>
                  <a:pt x="2433" y="83745"/>
                </a:cubicBezTo>
                <a:cubicBezTo>
                  <a:pt x="8449" y="83167"/>
                  <a:pt x="15274" y="83167"/>
                  <a:pt x="15274" y="89530"/>
                </a:cubicBezTo>
                <a:cubicBezTo>
                  <a:pt x="15274" y="95893"/>
                  <a:pt x="28405" y="97455"/>
                  <a:pt x="27306" y="107519"/>
                </a:cubicBezTo>
                <a:cubicBezTo>
                  <a:pt x="26207" y="117584"/>
                  <a:pt x="21521" y="144135"/>
                  <a:pt x="45064" y="143614"/>
                </a:cubicBezTo>
                <a:cubicBezTo>
                  <a:pt x="68607" y="143094"/>
                  <a:pt x="81911" y="135111"/>
                  <a:pt x="91745" y="147721"/>
                </a:cubicBezTo>
                <a:cubicBezTo>
                  <a:pt x="100427" y="159915"/>
                  <a:pt x="115137" y="166324"/>
                  <a:pt x="129979" y="164380"/>
                </a:cubicBezTo>
                <a:cubicBezTo>
                  <a:pt x="145308" y="162472"/>
                  <a:pt x="170123" y="159464"/>
                  <a:pt x="161968" y="172826"/>
                </a:cubicBezTo>
                <a:cubicBezTo>
                  <a:pt x="153811" y="186188"/>
                  <a:pt x="148316" y="214936"/>
                  <a:pt x="155431" y="222861"/>
                </a:cubicBezTo>
                <a:cubicBezTo>
                  <a:pt x="162546" y="230786"/>
                  <a:pt x="171801" y="237322"/>
                  <a:pt x="166074" y="243859"/>
                </a:cubicBezTo>
                <a:cubicBezTo>
                  <a:pt x="160348" y="250395"/>
                  <a:pt x="157571" y="258609"/>
                  <a:pt x="164975" y="264335"/>
                </a:cubicBezTo>
                <a:cubicBezTo>
                  <a:pt x="169499" y="267401"/>
                  <a:pt x="171494" y="273053"/>
                  <a:pt x="169892" y="278276"/>
                </a:cubicBezTo>
                <a:cubicBezTo>
                  <a:pt x="168787" y="279282"/>
                  <a:pt x="167486" y="280046"/>
                  <a:pt x="166074" y="280532"/>
                </a:cubicBezTo>
                <a:cubicBezTo>
                  <a:pt x="176891" y="291348"/>
                  <a:pt x="180767" y="303206"/>
                  <a:pt x="186956" y="308123"/>
                </a:cubicBezTo>
                <a:cubicBezTo>
                  <a:pt x="195112" y="314660"/>
                  <a:pt x="197599" y="317957"/>
                  <a:pt x="203326" y="314660"/>
                </a:cubicBezTo>
                <a:cubicBezTo>
                  <a:pt x="209053" y="311363"/>
                  <a:pt x="213160" y="308875"/>
                  <a:pt x="218076" y="312230"/>
                </a:cubicBezTo>
                <a:cubicBezTo>
                  <a:pt x="222993" y="315585"/>
                  <a:pt x="229645" y="308933"/>
                  <a:pt x="236934" y="302339"/>
                </a:cubicBezTo>
                <a:cubicBezTo>
                  <a:pt x="244222" y="295745"/>
                  <a:pt x="252494" y="301587"/>
                  <a:pt x="254981" y="293373"/>
                </a:cubicBezTo>
                <a:cubicBezTo>
                  <a:pt x="256462" y="285616"/>
                  <a:pt x="262721" y="279664"/>
                  <a:pt x="270541" y="278565"/>
                </a:cubicBezTo>
                <a:cubicBezTo>
                  <a:pt x="279565" y="276945"/>
                  <a:pt x="279565" y="266996"/>
                  <a:pt x="273838" y="266996"/>
                </a:cubicBezTo>
                <a:cubicBezTo>
                  <a:pt x="268112" y="266996"/>
                  <a:pt x="259898" y="274342"/>
                  <a:pt x="259898" y="263699"/>
                </a:cubicBezTo>
                <a:cubicBezTo>
                  <a:pt x="259898" y="253056"/>
                  <a:pt x="252494" y="255485"/>
                  <a:pt x="252494" y="246346"/>
                </a:cubicBezTo>
                <a:cubicBezTo>
                  <a:pt x="252494" y="237206"/>
                  <a:pt x="251684" y="231538"/>
                  <a:pt x="241850" y="225811"/>
                </a:cubicBezTo>
                <a:cubicBezTo>
                  <a:pt x="232017" y="220084"/>
                  <a:pt x="254981" y="217597"/>
                  <a:pt x="259898" y="222572"/>
                </a:cubicBezTo>
                <a:cubicBezTo>
                  <a:pt x="264815" y="227546"/>
                  <a:pt x="282052" y="223381"/>
                  <a:pt x="283672" y="230728"/>
                </a:cubicBezTo>
                <a:cubicBezTo>
                  <a:pt x="285291" y="238074"/>
                  <a:pt x="294315" y="240561"/>
                  <a:pt x="294315" y="231538"/>
                </a:cubicBezTo>
                <a:cubicBezTo>
                  <a:pt x="294315" y="222514"/>
                  <a:pt x="305016" y="219275"/>
                  <a:pt x="313230" y="220894"/>
                </a:cubicBezTo>
                <a:cubicBezTo>
                  <a:pt x="321444" y="222514"/>
                  <a:pt x="339434" y="210251"/>
                  <a:pt x="346838" y="207763"/>
                </a:cubicBezTo>
                <a:cubicBezTo>
                  <a:pt x="350656" y="206491"/>
                  <a:pt x="352102" y="201979"/>
                  <a:pt x="354184" y="197988"/>
                </a:cubicBezTo>
                <a:cubicBezTo>
                  <a:pt x="348776" y="190196"/>
                  <a:pt x="342783" y="182827"/>
                  <a:pt x="336252" y="175949"/>
                </a:cubicBezTo>
                <a:cubicBezTo>
                  <a:pt x="330468" y="171032"/>
                  <a:pt x="340243" y="168140"/>
                  <a:pt x="339260" y="161257"/>
                </a:cubicBezTo>
                <a:cubicBezTo>
                  <a:pt x="338277" y="154373"/>
                  <a:pt x="339260" y="149688"/>
                  <a:pt x="351986" y="148473"/>
                </a:cubicBezTo>
                <a:cubicBezTo>
                  <a:pt x="364712" y="147259"/>
                  <a:pt x="362803" y="137714"/>
                  <a:pt x="355919" y="133781"/>
                </a:cubicBezTo>
                <a:cubicBezTo>
                  <a:pt x="349036" y="129847"/>
                  <a:pt x="358869" y="119030"/>
                  <a:pt x="365753" y="115097"/>
                </a:cubicBezTo>
                <a:cubicBezTo>
                  <a:pt x="370108" y="111626"/>
                  <a:pt x="373544" y="107137"/>
                  <a:pt x="375760" y="102024"/>
                </a:cubicBezTo>
                <a:cubicBezTo>
                  <a:pt x="362913" y="98259"/>
                  <a:pt x="349481" y="96888"/>
                  <a:pt x="336137" y="97975"/>
                </a:cubicBezTo>
                <a:cubicBezTo>
                  <a:pt x="325840" y="98611"/>
                  <a:pt x="342788" y="86406"/>
                  <a:pt x="343425" y="75589"/>
                </a:cubicBezTo>
                <a:cubicBezTo>
                  <a:pt x="344061" y="64772"/>
                  <a:pt x="314503" y="62864"/>
                  <a:pt x="302934" y="60434"/>
                </a:cubicBezTo>
                <a:cubicBezTo>
                  <a:pt x="291365" y="58005"/>
                  <a:pt x="294431" y="45915"/>
                  <a:pt x="306578" y="45337"/>
                </a:cubicBezTo>
                <a:cubicBezTo>
                  <a:pt x="318725" y="44758"/>
                  <a:pt x="299926" y="36197"/>
                  <a:pt x="283441" y="38627"/>
                </a:cubicBezTo>
                <a:cubicBezTo>
                  <a:pt x="265034" y="42219"/>
                  <a:pt x="247270" y="48553"/>
                  <a:pt x="230744" y="57426"/>
                </a:cubicBezTo>
                <a:cubicBezTo>
                  <a:pt x="217382" y="64657"/>
                  <a:pt x="194360" y="36197"/>
                  <a:pt x="179263" y="42271"/>
                </a:cubicBezTo>
                <a:cubicBezTo>
                  <a:pt x="164165" y="48345"/>
                  <a:pt x="142879" y="48055"/>
                  <a:pt x="143515" y="36197"/>
                </a:cubicBezTo>
                <a:cubicBezTo>
                  <a:pt x="144151" y="24339"/>
                  <a:pt x="137441" y="13812"/>
                  <a:pt x="122286" y="15027"/>
                </a:cubicBezTo>
                <a:cubicBezTo>
                  <a:pt x="107131" y="16241"/>
                  <a:pt x="110717" y="-129"/>
                  <a:pt x="99148" y="-129"/>
                </a:cubicBezTo>
                <a:cubicBezTo>
                  <a:pt x="87580" y="-129"/>
                  <a:pt x="99148" y="13812"/>
                  <a:pt x="91282" y="17224"/>
                </a:cubicBezTo>
                <a:cubicBezTo>
                  <a:pt x="83415" y="20637"/>
                  <a:pt x="56170" y="27521"/>
                  <a:pt x="54319" y="38395"/>
                </a:cubicBezTo>
                <a:cubicBezTo>
                  <a:pt x="52468" y="49270"/>
                  <a:pt x="68896" y="67318"/>
                  <a:pt x="63401" y="78366"/>
                </a:cubicBezTo>
                <a:cubicBezTo>
                  <a:pt x="57905" y="89414"/>
                  <a:pt x="39800" y="80217"/>
                  <a:pt x="34479" y="68706"/>
                </a:cubicBezTo>
                <a:cubicBezTo>
                  <a:pt x="29157" y="57195"/>
                  <a:pt x="50212" y="39784"/>
                  <a:pt x="46568" y="32958"/>
                </a:cubicBezTo>
                <a:cubicBezTo>
                  <a:pt x="43086" y="27312"/>
                  <a:pt x="41808" y="20574"/>
                  <a:pt x="42982" y="14043"/>
                </a:cubicBezTo>
                <a:cubicBezTo>
                  <a:pt x="39627" y="15090"/>
                  <a:pt x="36700" y="17201"/>
                  <a:pt x="34652" y="2005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6" name="Forma libre: forma 185">
            <a:extLst>
              <a:ext uri="{FF2B5EF4-FFF2-40B4-BE49-F238E27FC236}">
                <a16:creationId xmlns:a16="http://schemas.microsoft.com/office/drawing/2014/main" id="{93714635-34D7-D1A6-47D8-50874B574433}"/>
              </a:ext>
            </a:extLst>
          </p:cNvPr>
          <p:cNvSpPr/>
          <p:nvPr/>
        </p:nvSpPr>
        <p:spPr>
          <a:xfrm>
            <a:off x="4589079" y="4312670"/>
            <a:ext cx="113089" cy="120388"/>
          </a:xfrm>
          <a:custGeom>
            <a:avLst/>
            <a:gdLst>
              <a:gd name="connsiteX0" fmla="*/ 24131 w 113089"/>
              <a:gd name="connsiteY0" fmla="*/ 23229 h 120388"/>
              <a:gd name="connsiteX1" fmla="*/ 11405 w 113089"/>
              <a:gd name="connsiteY1" fmla="*/ 35954 h 120388"/>
              <a:gd name="connsiteX2" fmla="*/ 588 w 113089"/>
              <a:gd name="connsiteY2" fmla="*/ 59555 h 120388"/>
              <a:gd name="connsiteX3" fmla="*/ 23205 w 113089"/>
              <a:gd name="connsiteY3" fmla="*/ 88014 h 120388"/>
              <a:gd name="connsiteX4" fmla="*/ 39344 w 113089"/>
              <a:gd name="connsiteY4" fmla="*/ 118672 h 120388"/>
              <a:gd name="connsiteX5" fmla="*/ 53053 w 113089"/>
              <a:gd name="connsiteY5" fmla="*/ 119540 h 120388"/>
              <a:gd name="connsiteX6" fmla="*/ 64622 w 113089"/>
              <a:gd name="connsiteY6" fmla="*/ 102186 h 120388"/>
              <a:gd name="connsiteX7" fmla="*/ 94932 w 113089"/>
              <a:gd name="connsiteY7" fmla="*/ 103054 h 120388"/>
              <a:gd name="connsiteX8" fmla="*/ 97593 w 113089"/>
              <a:gd name="connsiteY8" fmla="*/ 106525 h 120388"/>
              <a:gd name="connsiteX9" fmla="*/ 105691 w 113089"/>
              <a:gd name="connsiteY9" fmla="*/ 93799 h 120388"/>
              <a:gd name="connsiteX10" fmla="*/ 102741 w 113089"/>
              <a:gd name="connsiteY10" fmla="*/ 57473 h 120388"/>
              <a:gd name="connsiteX11" fmla="*/ 107658 w 113089"/>
              <a:gd name="connsiteY11" fmla="*/ 25080 h 120388"/>
              <a:gd name="connsiteX12" fmla="*/ 112980 w 113089"/>
              <a:gd name="connsiteY12" fmla="*/ 11024 h 120388"/>
              <a:gd name="connsiteX13" fmla="*/ 85677 w 113089"/>
              <a:gd name="connsiteY13" fmla="*/ 4834 h 120388"/>
              <a:gd name="connsiteX14" fmla="*/ 50565 w 113089"/>
              <a:gd name="connsiteY14" fmla="*/ 5413 h 120388"/>
              <a:gd name="connsiteX15" fmla="*/ 29915 w 113089"/>
              <a:gd name="connsiteY15" fmla="*/ 4834 h 120388"/>
              <a:gd name="connsiteX16" fmla="*/ 27254 w 113089"/>
              <a:gd name="connsiteY16" fmla="*/ 5586 h 120388"/>
              <a:gd name="connsiteX17" fmla="*/ 24131 w 113089"/>
              <a:gd name="connsiteY17" fmla="*/ 23229 h 12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3089" h="120388">
                <a:moveTo>
                  <a:pt x="24131" y="23229"/>
                </a:moveTo>
                <a:cubicBezTo>
                  <a:pt x="28122" y="31038"/>
                  <a:pt x="19272" y="34798"/>
                  <a:pt x="11405" y="35954"/>
                </a:cubicBezTo>
                <a:cubicBezTo>
                  <a:pt x="3538" y="37111"/>
                  <a:pt x="5620" y="54638"/>
                  <a:pt x="588" y="59555"/>
                </a:cubicBezTo>
                <a:cubicBezTo>
                  <a:pt x="-4444" y="64472"/>
                  <a:pt x="19272" y="76908"/>
                  <a:pt x="23205" y="88014"/>
                </a:cubicBezTo>
                <a:cubicBezTo>
                  <a:pt x="27943" y="98559"/>
                  <a:pt x="33334" y="108798"/>
                  <a:pt x="39344" y="118672"/>
                </a:cubicBezTo>
                <a:cubicBezTo>
                  <a:pt x="43699" y="120436"/>
                  <a:pt x="48512" y="120737"/>
                  <a:pt x="53053" y="119540"/>
                </a:cubicBezTo>
                <a:cubicBezTo>
                  <a:pt x="60457" y="115432"/>
                  <a:pt x="53863" y="101492"/>
                  <a:pt x="64622" y="102186"/>
                </a:cubicBezTo>
                <a:cubicBezTo>
                  <a:pt x="75381" y="102880"/>
                  <a:pt x="90883" y="96402"/>
                  <a:pt x="94932" y="103054"/>
                </a:cubicBezTo>
                <a:cubicBezTo>
                  <a:pt x="95748" y="104269"/>
                  <a:pt x="96633" y="105426"/>
                  <a:pt x="97593" y="106525"/>
                </a:cubicBezTo>
                <a:cubicBezTo>
                  <a:pt x="101063" y="101376"/>
                  <a:pt x="104708" y="95708"/>
                  <a:pt x="105691" y="93799"/>
                </a:cubicBezTo>
                <a:cubicBezTo>
                  <a:pt x="107924" y="81640"/>
                  <a:pt x="106906" y="69111"/>
                  <a:pt x="102741" y="57473"/>
                </a:cubicBezTo>
                <a:cubicBezTo>
                  <a:pt x="97824" y="45904"/>
                  <a:pt x="101758" y="29997"/>
                  <a:pt x="107658" y="25080"/>
                </a:cubicBezTo>
                <a:cubicBezTo>
                  <a:pt x="110226" y="20736"/>
                  <a:pt x="112025" y="15981"/>
                  <a:pt x="112980" y="11024"/>
                </a:cubicBezTo>
                <a:cubicBezTo>
                  <a:pt x="104494" y="6836"/>
                  <a:pt x="95140" y="4713"/>
                  <a:pt x="85677" y="4834"/>
                </a:cubicBezTo>
                <a:cubicBezTo>
                  <a:pt x="71158" y="6685"/>
                  <a:pt x="56003" y="13338"/>
                  <a:pt x="50565" y="5413"/>
                </a:cubicBezTo>
                <a:cubicBezTo>
                  <a:pt x="45128" y="-2512"/>
                  <a:pt x="37203" y="-1239"/>
                  <a:pt x="29915" y="4834"/>
                </a:cubicBezTo>
                <a:cubicBezTo>
                  <a:pt x="29198" y="5494"/>
                  <a:pt x="28209" y="5771"/>
                  <a:pt x="27254" y="5586"/>
                </a:cubicBezTo>
                <a:cubicBezTo>
                  <a:pt x="24709" y="12817"/>
                  <a:pt x="22164" y="19006"/>
                  <a:pt x="24131" y="2322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7" name="Forma libre: forma 186">
            <a:extLst>
              <a:ext uri="{FF2B5EF4-FFF2-40B4-BE49-F238E27FC236}">
                <a16:creationId xmlns:a16="http://schemas.microsoft.com/office/drawing/2014/main" id="{CD7FB60F-A5B4-EC40-1962-656A1CB104FE}"/>
              </a:ext>
            </a:extLst>
          </p:cNvPr>
          <p:cNvSpPr/>
          <p:nvPr/>
        </p:nvSpPr>
        <p:spPr>
          <a:xfrm>
            <a:off x="4498599" y="4250707"/>
            <a:ext cx="130106" cy="197268"/>
          </a:xfrm>
          <a:custGeom>
            <a:avLst/>
            <a:gdLst>
              <a:gd name="connsiteX0" fmla="*/ 31257 w 130106"/>
              <a:gd name="connsiteY0" fmla="*/ 12539 h 197268"/>
              <a:gd name="connsiteX1" fmla="*/ 21423 w 130106"/>
              <a:gd name="connsiteY1" fmla="*/ 31223 h 197268"/>
              <a:gd name="connsiteX2" fmla="*/ 17490 w 130106"/>
              <a:gd name="connsiteY2" fmla="*/ 45915 h 197268"/>
              <a:gd name="connsiteX3" fmla="*/ 4764 w 130106"/>
              <a:gd name="connsiteY3" fmla="*/ 58699 h 197268"/>
              <a:gd name="connsiteX4" fmla="*/ 1756 w 130106"/>
              <a:gd name="connsiteY4" fmla="*/ 73391 h 197268"/>
              <a:gd name="connsiteX5" fmla="*/ 19688 w 130106"/>
              <a:gd name="connsiteY5" fmla="*/ 95430 h 197268"/>
              <a:gd name="connsiteX6" fmla="*/ 29522 w 130106"/>
              <a:gd name="connsiteY6" fmla="*/ 89645 h 197268"/>
              <a:gd name="connsiteX7" fmla="*/ 41091 w 130106"/>
              <a:gd name="connsiteY7" fmla="*/ 112783 h 197268"/>
              <a:gd name="connsiteX8" fmla="*/ 46372 w 130106"/>
              <a:gd name="connsiteY8" fmla="*/ 132456 h 197268"/>
              <a:gd name="connsiteX9" fmla="*/ 43578 w 130106"/>
              <a:gd name="connsiteY9" fmla="*/ 135921 h 197268"/>
              <a:gd name="connsiteX10" fmla="*/ 49362 w 130106"/>
              <a:gd name="connsiteY10" fmla="*/ 184279 h 197268"/>
              <a:gd name="connsiteX11" fmla="*/ 78921 w 130106"/>
              <a:gd name="connsiteY11" fmla="*/ 194112 h 197268"/>
              <a:gd name="connsiteX12" fmla="*/ 96968 w 130106"/>
              <a:gd name="connsiteY12" fmla="*/ 187634 h 197268"/>
              <a:gd name="connsiteX13" fmla="*/ 110909 w 130106"/>
              <a:gd name="connsiteY13" fmla="*/ 181039 h 197268"/>
              <a:gd name="connsiteX14" fmla="*/ 129997 w 130106"/>
              <a:gd name="connsiteY14" fmla="*/ 181039 h 197268"/>
              <a:gd name="connsiteX15" fmla="*/ 113858 w 130106"/>
              <a:gd name="connsiteY15" fmla="*/ 150382 h 197268"/>
              <a:gd name="connsiteX16" fmla="*/ 91241 w 130106"/>
              <a:gd name="connsiteY16" fmla="*/ 121923 h 197268"/>
              <a:gd name="connsiteX17" fmla="*/ 102058 w 130106"/>
              <a:gd name="connsiteY17" fmla="*/ 98322 h 197268"/>
              <a:gd name="connsiteX18" fmla="*/ 114784 w 130106"/>
              <a:gd name="connsiteY18" fmla="*/ 85596 h 197268"/>
              <a:gd name="connsiteX19" fmla="*/ 117850 w 130106"/>
              <a:gd name="connsiteY19" fmla="*/ 68243 h 197268"/>
              <a:gd name="connsiteX20" fmla="*/ 92688 w 130106"/>
              <a:gd name="connsiteY20" fmla="*/ 45684 h 197268"/>
              <a:gd name="connsiteX21" fmla="*/ 78527 w 130106"/>
              <a:gd name="connsiteY21" fmla="*/ 32085 h 197268"/>
              <a:gd name="connsiteX22" fmla="*/ 78747 w 130106"/>
              <a:gd name="connsiteY22" fmla="*/ 29314 h 197268"/>
              <a:gd name="connsiteX23" fmla="*/ 51502 w 130106"/>
              <a:gd name="connsiteY23" fmla="*/ 6176 h 197268"/>
              <a:gd name="connsiteX24" fmla="*/ 41438 w 130106"/>
              <a:gd name="connsiteY24" fmla="*/ -129 h 197268"/>
              <a:gd name="connsiteX25" fmla="*/ 31257 w 130106"/>
              <a:gd name="connsiteY25" fmla="*/ 12539 h 19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106" h="197268">
                <a:moveTo>
                  <a:pt x="31257" y="12539"/>
                </a:moveTo>
                <a:cubicBezTo>
                  <a:pt x="24373" y="16472"/>
                  <a:pt x="14540" y="27289"/>
                  <a:pt x="21423" y="31223"/>
                </a:cubicBezTo>
                <a:cubicBezTo>
                  <a:pt x="28307" y="35156"/>
                  <a:pt x="30216" y="44932"/>
                  <a:pt x="17490" y="45915"/>
                </a:cubicBezTo>
                <a:cubicBezTo>
                  <a:pt x="4764" y="46898"/>
                  <a:pt x="3781" y="51700"/>
                  <a:pt x="4764" y="58699"/>
                </a:cubicBezTo>
                <a:cubicBezTo>
                  <a:pt x="5747" y="65698"/>
                  <a:pt x="-4086" y="68475"/>
                  <a:pt x="1756" y="73391"/>
                </a:cubicBezTo>
                <a:cubicBezTo>
                  <a:pt x="8287" y="80269"/>
                  <a:pt x="14280" y="87638"/>
                  <a:pt x="19688" y="95430"/>
                </a:cubicBezTo>
                <a:cubicBezTo>
                  <a:pt x="21100" y="91346"/>
                  <a:pt x="25270" y="88899"/>
                  <a:pt x="29522" y="89645"/>
                </a:cubicBezTo>
                <a:cubicBezTo>
                  <a:pt x="41091" y="91265"/>
                  <a:pt x="32009" y="108503"/>
                  <a:pt x="41091" y="112783"/>
                </a:cubicBezTo>
                <a:cubicBezTo>
                  <a:pt x="47980" y="116757"/>
                  <a:pt x="50346" y="125567"/>
                  <a:pt x="46372" y="132456"/>
                </a:cubicBezTo>
                <a:cubicBezTo>
                  <a:pt x="45626" y="133752"/>
                  <a:pt x="44683" y="134920"/>
                  <a:pt x="43578" y="135921"/>
                </a:cubicBezTo>
                <a:cubicBezTo>
                  <a:pt x="36984" y="140780"/>
                  <a:pt x="34496" y="167909"/>
                  <a:pt x="49362" y="184279"/>
                </a:cubicBezTo>
                <a:cubicBezTo>
                  <a:pt x="64228" y="200649"/>
                  <a:pt x="75623" y="198219"/>
                  <a:pt x="78921" y="194112"/>
                </a:cubicBezTo>
                <a:cubicBezTo>
                  <a:pt x="82218" y="190005"/>
                  <a:pt x="93671" y="194112"/>
                  <a:pt x="96968" y="187634"/>
                </a:cubicBezTo>
                <a:cubicBezTo>
                  <a:pt x="100265" y="181155"/>
                  <a:pt x="104372" y="188386"/>
                  <a:pt x="110909" y="181039"/>
                </a:cubicBezTo>
                <a:cubicBezTo>
                  <a:pt x="114668" y="176759"/>
                  <a:pt x="122478" y="179073"/>
                  <a:pt x="129997" y="181039"/>
                </a:cubicBezTo>
                <a:cubicBezTo>
                  <a:pt x="123987" y="171166"/>
                  <a:pt x="118596" y="160927"/>
                  <a:pt x="113858" y="150382"/>
                </a:cubicBezTo>
                <a:cubicBezTo>
                  <a:pt x="109925" y="139565"/>
                  <a:pt x="86382" y="126839"/>
                  <a:pt x="91241" y="121923"/>
                </a:cubicBezTo>
                <a:cubicBezTo>
                  <a:pt x="96100" y="117006"/>
                  <a:pt x="94192" y="99305"/>
                  <a:pt x="102058" y="98322"/>
                </a:cubicBezTo>
                <a:cubicBezTo>
                  <a:pt x="109925" y="97339"/>
                  <a:pt x="118775" y="93405"/>
                  <a:pt x="114784" y="85596"/>
                </a:cubicBezTo>
                <a:cubicBezTo>
                  <a:pt x="112817" y="81605"/>
                  <a:pt x="115362" y="75184"/>
                  <a:pt x="117850" y="68243"/>
                </a:cubicBezTo>
                <a:cubicBezTo>
                  <a:pt x="110330" y="67491"/>
                  <a:pt x="99108" y="45684"/>
                  <a:pt x="92688" y="45684"/>
                </a:cubicBezTo>
                <a:cubicBezTo>
                  <a:pt x="85023" y="45840"/>
                  <a:pt x="78683" y="39755"/>
                  <a:pt x="78527" y="32085"/>
                </a:cubicBezTo>
                <a:cubicBezTo>
                  <a:pt x="78504" y="31159"/>
                  <a:pt x="78579" y="30228"/>
                  <a:pt x="78747" y="29314"/>
                </a:cubicBezTo>
                <a:cubicBezTo>
                  <a:pt x="80540" y="19075"/>
                  <a:pt x="61799" y="17745"/>
                  <a:pt x="51502" y="6176"/>
                </a:cubicBezTo>
                <a:cubicBezTo>
                  <a:pt x="48714" y="3284"/>
                  <a:pt x="45255" y="1120"/>
                  <a:pt x="41438" y="-129"/>
                </a:cubicBezTo>
                <a:cubicBezTo>
                  <a:pt x="39118" y="4852"/>
                  <a:pt x="35624" y="9201"/>
                  <a:pt x="31257" y="1253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8" name="Forma libre: forma 187">
            <a:extLst>
              <a:ext uri="{FF2B5EF4-FFF2-40B4-BE49-F238E27FC236}">
                <a16:creationId xmlns:a16="http://schemas.microsoft.com/office/drawing/2014/main" id="{ACB16C6B-0E3B-30A2-D97E-7BEF147DBBB5}"/>
              </a:ext>
            </a:extLst>
          </p:cNvPr>
          <p:cNvSpPr/>
          <p:nvPr/>
        </p:nvSpPr>
        <p:spPr>
          <a:xfrm>
            <a:off x="4686723" y="4324169"/>
            <a:ext cx="85667" cy="101679"/>
          </a:xfrm>
          <a:custGeom>
            <a:avLst/>
            <a:gdLst>
              <a:gd name="connsiteX0" fmla="*/ 5039 w 85667"/>
              <a:gd name="connsiteY0" fmla="*/ 46089 h 101679"/>
              <a:gd name="connsiteX1" fmla="*/ 7989 w 85667"/>
              <a:gd name="connsiteY1" fmla="*/ 82415 h 101679"/>
              <a:gd name="connsiteX2" fmla="*/ -110 w 85667"/>
              <a:gd name="connsiteY2" fmla="*/ 95141 h 101679"/>
              <a:gd name="connsiteX3" fmla="*/ 24301 w 85667"/>
              <a:gd name="connsiteY3" fmla="*/ 99826 h 101679"/>
              <a:gd name="connsiteX4" fmla="*/ 53223 w 85667"/>
              <a:gd name="connsiteY4" fmla="*/ 87505 h 101679"/>
              <a:gd name="connsiteX5" fmla="*/ 85558 w 85667"/>
              <a:gd name="connsiteY5" fmla="*/ 43948 h 101679"/>
              <a:gd name="connsiteX6" fmla="*/ 85153 w 85667"/>
              <a:gd name="connsiteY6" fmla="*/ 43948 h 101679"/>
              <a:gd name="connsiteX7" fmla="*/ 38473 w 85667"/>
              <a:gd name="connsiteY7" fmla="*/ 7622 h 101679"/>
              <a:gd name="connsiteX8" fmla="*/ 15335 w 85667"/>
              <a:gd name="connsiteY8" fmla="*/ -129 h 101679"/>
              <a:gd name="connsiteX9" fmla="*/ 10013 w 85667"/>
              <a:gd name="connsiteY9" fmla="*/ 13927 h 101679"/>
              <a:gd name="connsiteX10" fmla="*/ 5039 w 85667"/>
              <a:gd name="connsiteY10" fmla="*/ 46089 h 10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667" h="101679">
                <a:moveTo>
                  <a:pt x="5039" y="46089"/>
                </a:moveTo>
                <a:cubicBezTo>
                  <a:pt x="9203" y="57727"/>
                  <a:pt x="10222" y="70256"/>
                  <a:pt x="7989" y="82415"/>
                </a:cubicBezTo>
                <a:cubicBezTo>
                  <a:pt x="7006" y="84324"/>
                  <a:pt x="3361" y="89993"/>
                  <a:pt x="-110" y="95141"/>
                </a:cubicBezTo>
                <a:cubicBezTo>
                  <a:pt x="4345" y="100173"/>
                  <a:pt x="11459" y="103875"/>
                  <a:pt x="24301" y="99826"/>
                </a:cubicBezTo>
                <a:cubicBezTo>
                  <a:pt x="39861" y="94909"/>
                  <a:pt x="47439" y="104743"/>
                  <a:pt x="53223" y="87505"/>
                </a:cubicBezTo>
                <a:cubicBezTo>
                  <a:pt x="57735" y="74027"/>
                  <a:pt x="73642" y="55749"/>
                  <a:pt x="85558" y="43948"/>
                </a:cubicBezTo>
                <a:lnTo>
                  <a:pt x="85153" y="43948"/>
                </a:lnTo>
                <a:cubicBezTo>
                  <a:pt x="73584" y="39090"/>
                  <a:pt x="56231" y="11267"/>
                  <a:pt x="38473" y="7622"/>
                </a:cubicBezTo>
                <a:cubicBezTo>
                  <a:pt x="30560" y="5684"/>
                  <a:pt x="22820" y="3093"/>
                  <a:pt x="15335" y="-129"/>
                </a:cubicBezTo>
                <a:cubicBezTo>
                  <a:pt x="14380" y="4828"/>
                  <a:pt x="12582" y="9583"/>
                  <a:pt x="10013" y="13927"/>
                </a:cubicBezTo>
                <a:cubicBezTo>
                  <a:pt x="4055" y="18612"/>
                  <a:pt x="122" y="34288"/>
                  <a:pt x="5039" y="4608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89" name="Forma libre: forma 188">
            <a:extLst>
              <a:ext uri="{FF2B5EF4-FFF2-40B4-BE49-F238E27FC236}">
                <a16:creationId xmlns:a16="http://schemas.microsoft.com/office/drawing/2014/main" id="{ADCEC664-95A8-6D3D-8977-E79AF27F575E}"/>
              </a:ext>
            </a:extLst>
          </p:cNvPr>
          <p:cNvSpPr/>
          <p:nvPr/>
        </p:nvSpPr>
        <p:spPr>
          <a:xfrm>
            <a:off x="3857837" y="3833819"/>
            <a:ext cx="280662" cy="91346"/>
          </a:xfrm>
          <a:custGeom>
            <a:avLst/>
            <a:gdLst>
              <a:gd name="connsiteX0" fmla="*/ 229278 w 280662"/>
              <a:gd name="connsiteY0" fmla="*/ 55521 h 91346"/>
              <a:gd name="connsiteX1" fmla="*/ 97220 w 280662"/>
              <a:gd name="connsiteY1" fmla="*/ 2189 h 91346"/>
              <a:gd name="connsiteX2" fmla="*/ 273 w 280662"/>
              <a:gd name="connsiteY2" fmla="*/ 36143 h 91346"/>
              <a:gd name="connsiteX3" fmla="*/ 47531 w 280662"/>
              <a:gd name="connsiteY3" fmla="*/ 14336 h 91346"/>
              <a:gd name="connsiteX4" fmla="*/ 74198 w 280662"/>
              <a:gd name="connsiteY4" fmla="*/ 25211 h 91346"/>
              <a:gd name="connsiteX5" fmla="*/ 120473 w 280662"/>
              <a:gd name="connsiteY5" fmla="*/ 36143 h 91346"/>
              <a:gd name="connsiteX6" fmla="*/ 178317 w 280662"/>
              <a:gd name="connsiteY6" fmla="*/ 66454 h 91346"/>
              <a:gd name="connsiteX7" fmla="*/ 191622 w 280662"/>
              <a:gd name="connsiteY7" fmla="*/ 88261 h 91346"/>
              <a:gd name="connsiteX8" fmla="*/ 280123 w 280662"/>
              <a:gd name="connsiteY8" fmla="*/ 85832 h 91346"/>
              <a:gd name="connsiteX9" fmla="*/ 229278 w 280662"/>
              <a:gd name="connsiteY9" fmla="*/ 55521 h 9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62" h="91346">
                <a:moveTo>
                  <a:pt x="229278" y="55521"/>
                </a:moveTo>
                <a:cubicBezTo>
                  <a:pt x="211115" y="55521"/>
                  <a:pt x="151709" y="14336"/>
                  <a:pt x="97220" y="2189"/>
                </a:cubicBezTo>
                <a:cubicBezTo>
                  <a:pt x="42730" y="-9958"/>
                  <a:pt x="-4875" y="29260"/>
                  <a:pt x="273" y="36143"/>
                </a:cubicBezTo>
                <a:cubicBezTo>
                  <a:pt x="7561" y="45803"/>
                  <a:pt x="34227" y="23996"/>
                  <a:pt x="47531" y="14336"/>
                </a:cubicBezTo>
                <a:cubicBezTo>
                  <a:pt x="60836" y="4676"/>
                  <a:pt x="72983" y="19195"/>
                  <a:pt x="74198" y="25211"/>
                </a:cubicBezTo>
                <a:cubicBezTo>
                  <a:pt x="75412" y="31227"/>
                  <a:pt x="92361" y="34929"/>
                  <a:pt x="120473" y="36143"/>
                </a:cubicBezTo>
                <a:cubicBezTo>
                  <a:pt x="148586" y="37358"/>
                  <a:pt x="151940" y="60380"/>
                  <a:pt x="178317" y="66454"/>
                </a:cubicBezTo>
                <a:cubicBezTo>
                  <a:pt x="204694" y="72527"/>
                  <a:pt x="178317" y="83460"/>
                  <a:pt x="191622" y="88261"/>
                </a:cubicBezTo>
                <a:cubicBezTo>
                  <a:pt x="204926" y="93062"/>
                  <a:pt x="275264" y="91848"/>
                  <a:pt x="280123" y="85832"/>
                </a:cubicBezTo>
                <a:cubicBezTo>
                  <a:pt x="284982" y="79816"/>
                  <a:pt x="247441" y="55521"/>
                  <a:pt x="229278" y="55521"/>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0" name="Forma libre: forma 189">
            <a:extLst>
              <a:ext uri="{FF2B5EF4-FFF2-40B4-BE49-F238E27FC236}">
                <a16:creationId xmlns:a16="http://schemas.microsoft.com/office/drawing/2014/main" id="{89DA09CF-4364-2F35-F505-193069DD44A6}"/>
              </a:ext>
            </a:extLst>
          </p:cNvPr>
          <p:cNvSpPr/>
          <p:nvPr/>
        </p:nvSpPr>
        <p:spPr>
          <a:xfrm>
            <a:off x="4025062" y="3968505"/>
            <a:ext cx="56342" cy="18724"/>
          </a:xfrm>
          <a:custGeom>
            <a:avLst/>
            <a:gdLst>
              <a:gd name="connsiteX0" fmla="*/ 275 w 56342"/>
              <a:gd name="connsiteY0" fmla="*/ 4536 h 18724"/>
              <a:gd name="connsiteX1" fmla="*/ 55979 w 56342"/>
              <a:gd name="connsiteY1" fmla="*/ 14254 h 18724"/>
              <a:gd name="connsiteX2" fmla="*/ 275 w 56342"/>
              <a:gd name="connsiteY2" fmla="*/ 4536 h 18724"/>
            </a:gdLst>
            <a:ahLst/>
            <a:cxnLst>
              <a:cxn ang="0">
                <a:pos x="connsiteX0" y="connsiteY0"/>
              </a:cxn>
              <a:cxn ang="0">
                <a:pos x="connsiteX1" y="connsiteY1"/>
              </a:cxn>
              <a:cxn ang="0">
                <a:pos x="connsiteX2" y="connsiteY2"/>
              </a:cxn>
            </a:cxnLst>
            <a:rect l="l" t="t" r="r" b="b"/>
            <a:pathLst>
              <a:path w="56342" h="18724">
                <a:moveTo>
                  <a:pt x="275" y="4536"/>
                </a:moveTo>
                <a:cubicBezTo>
                  <a:pt x="5076" y="13039"/>
                  <a:pt x="51121" y="25186"/>
                  <a:pt x="55979" y="14254"/>
                </a:cubicBezTo>
                <a:cubicBezTo>
                  <a:pt x="60838" y="3321"/>
                  <a:pt x="-5740" y="-6108"/>
                  <a:pt x="275" y="453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1" name="Forma libre: forma 190">
            <a:extLst>
              <a:ext uri="{FF2B5EF4-FFF2-40B4-BE49-F238E27FC236}">
                <a16:creationId xmlns:a16="http://schemas.microsoft.com/office/drawing/2014/main" id="{448D8184-3E3A-9C66-B467-F5416859E1F8}"/>
              </a:ext>
            </a:extLst>
          </p:cNvPr>
          <p:cNvSpPr/>
          <p:nvPr/>
        </p:nvSpPr>
        <p:spPr>
          <a:xfrm>
            <a:off x="4335461" y="3964500"/>
            <a:ext cx="46443" cy="20297"/>
          </a:xfrm>
          <a:custGeom>
            <a:avLst/>
            <a:gdLst>
              <a:gd name="connsiteX0" fmla="*/ 1195 w 46443"/>
              <a:gd name="connsiteY0" fmla="*/ 10855 h 20297"/>
              <a:gd name="connsiteX1" fmla="*/ 46024 w 46443"/>
              <a:gd name="connsiteY1" fmla="*/ 10855 h 20297"/>
              <a:gd name="connsiteX2" fmla="*/ 1195 w 46443"/>
              <a:gd name="connsiteY2" fmla="*/ 10855 h 20297"/>
            </a:gdLst>
            <a:ahLst/>
            <a:cxnLst>
              <a:cxn ang="0">
                <a:pos x="connsiteX0" y="connsiteY0"/>
              </a:cxn>
              <a:cxn ang="0">
                <a:pos x="connsiteX1" y="connsiteY1"/>
              </a:cxn>
              <a:cxn ang="0">
                <a:pos x="connsiteX2" y="connsiteY2"/>
              </a:cxn>
            </a:cxnLst>
            <a:rect l="l" t="t" r="r" b="b"/>
            <a:pathLst>
              <a:path w="46443" h="20297">
                <a:moveTo>
                  <a:pt x="1195" y="10855"/>
                </a:moveTo>
                <a:cubicBezTo>
                  <a:pt x="12127" y="27862"/>
                  <a:pt x="43306" y="17681"/>
                  <a:pt x="46024" y="10855"/>
                </a:cubicBezTo>
                <a:cubicBezTo>
                  <a:pt x="51172" y="-1292"/>
                  <a:pt x="-9680" y="-6093"/>
                  <a:pt x="1195" y="1085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2" name="Forma libre: forma 191">
            <a:extLst>
              <a:ext uri="{FF2B5EF4-FFF2-40B4-BE49-F238E27FC236}">
                <a16:creationId xmlns:a16="http://schemas.microsoft.com/office/drawing/2014/main" id="{357FB4FA-E36E-B9BB-18D1-B6A5787A47D0}"/>
              </a:ext>
            </a:extLst>
          </p:cNvPr>
          <p:cNvSpPr/>
          <p:nvPr/>
        </p:nvSpPr>
        <p:spPr>
          <a:xfrm>
            <a:off x="4506671" y="6033726"/>
            <a:ext cx="84933" cy="34972"/>
          </a:xfrm>
          <a:custGeom>
            <a:avLst/>
            <a:gdLst>
              <a:gd name="connsiteX0" fmla="*/ 84442 w 84933"/>
              <a:gd name="connsiteY0" fmla="*/ 13380 h 34972"/>
              <a:gd name="connsiteX1" fmla="*/ 39612 w 84933"/>
              <a:gd name="connsiteY1" fmla="*/ 33973 h 34972"/>
              <a:gd name="connsiteX2" fmla="*/ 84442 w 84933"/>
              <a:gd name="connsiteY2" fmla="*/ 13380 h 34972"/>
              <a:gd name="connsiteX3" fmla="*/ 34754 w 84933"/>
              <a:gd name="connsiteY3" fmla="*/ 18 h 34972"/>
              <a:gd name="connsiteX4" fmla="*/ 3286 w 84933"/>
              <a:gd name="connsiteY4" fmla="*/ 31543 h 34972"/>
              <a:gd name="connsiteX5" fmla="*/ 34754 w 84933"/>
              <a:gd name="connsiteY5" fmla="*/ 18 h 3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933" h="34972">
                <a:moveTo>
                  <a:pt x="84442" y="13380"/>
                </a:moveTo>
                <a:cubicBezTo>
                  <a:pt x="74724" y="-4783"/>
                  <a:pt x="29895" y="29114"/>
                  <a:pt x="39612" y="33973"/>
                </a:cubicBezTo>
                <a:cubicBezTo>
                  <a:pt x="49330" y="38832"/>
                  <a:pt x="89127" y="22173"/>
                  <a:pt x="84442" y="13380"/>
                </a:cubicBezTo>
                <a:close/>
                <a:moveTo>
                  <a:pt x="34754" y="18"/>
                </a:moveTo>
                <a:cubicBezTo>
                  <a:pt x="21450" y="-2353"/>
                  <a:pt x="-10539" y="24602"/>
                  <a:pt x="3286" y="31543"/>
                </a:cubicBezTo>
                <a:cubicBezTo>
                  <a:pt x="17111" y="38485"/>
                  <a:pt x="48058" y="2448"/>
                  <a:pt x="34754" y="1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3" name="Forma libre: forma 192">
            <a:extLst>
              <a:ext uri="{FF2B5EF4-FFF2-40B4-BE49-F238E27FC236}">
                <a16:creationId xmlns:a16="http://schemas.microsoft.com/office/drawing/2014/main" id="{5B670FAC-1E3D-1BC7-0661-941B3BE6F065}"/>
              </a:ext>
            </a:extLst>
          </p:cNvPr>
          <p:cNvSpPr/>
          <p:nvPr/>
        </p:nvSpPr>
        <p:spPr>
          <a:xfrm>
            <a:off x="3953085" y="4441825"/>
            <a:ext cx="157864" cy="178508"/>
          </a:xfrm>
          <a:custGeom>
            <a:avLst/>
            <a:gdLst>
              <a:gd name="connsiteX0" fmla="*/ 147103 w 157864"/>
              <a:gd name="connsiteY0" fmla="*/ 46609 h 178508"/>
              <a:gd name="connsiteX1" fmla="*/ 127494 w 157864"/>
              <a:gd name="connsiteY1" fmla="*/ 31396 h 178508"/>
              <a:gd name="connsiteX2" fmla="*/ 106670 w 157864"/>
              <a:gd name="connsiteY2" fmla="*/ 31396 h 178508"/>
              <a:gd name="connsiteX3" fmla="*/ 89317 w 157864"/>
              <a:gd name="connsiteY3" fmla="*/ 18786 h 178508"/>
              <a:gd name="connsiteX4" fmla="*/ 55593 w 157864"/>
              <a:gd name="connsiteY4" fmla="*/ -129 h 178508"/>
              <a:gd name="connsiteX5" fmla="*/ 55593 w 157864"/>
              <a:gd name="connsiteY5" fmla="*/ 3631 h 178508"/>
              <a:gd name="connsiteX6" fmla="*/ 36794 w 157864"/>
              <a:gd name="connsiteY6" fmla="*/ 13291 h 178508"/>
              <a:gd name="connsiteX7" fmla="*/ 27713 w 157864"/>
              <a:gd name="connsiteY7" fmla="*/ 33247 h 178508"/>
              <a:gd name="connsiteX8" fmla="*/ 15623 w 157864"/>
              <a:gd name="connsiteY8" fmla="*/ 49617 h 178508"/>
              <a:gd name="connsiteX9" fmla="*/ 8335 w 157864"/>
              <a:gd name="connsiteY9" fmla="*/ 64194 h 178508"/>
              <a:gd name="connsiteX10" fmla="*/ 2550 w 157864"/>
              <a:gd name="connsiteY10" fmla="*/ 82993 h 178508"/>
              <a:gd name="connsiteX11" fmla="*/ 757 w 157864"/>
              <a:gd name="connsiteY11" fmla="*/ 101156 h 178508"/>
              <a:gd name="connsiteX12" fmla="*/ 16491 w 157864"/>
              <a:gd name="connsiteY12" fmla="*/ 115097 h 178508"/>
              <a:gd name="connsiteX13" fmla="*/ 29853 w 157864"/>
              <a:gd name="connsiteY13" fmla="*/ 118105 h 178508"/>
              <a:gd name="connsiteX14" fmla="*/ 17705 w 157864"/>
              <a:gd name="connsiteY14" fmla="*/ 135111 h 178508"/>
              <a:gd name="connsiteX15" fmla="*/ 15507 w 157864"/>
              <a:gd name="connsiteY15" fmla="*/ 135458 h 178508"/>
              <a:gd name="connsiteX16" fmla="*/ 20771 w 157864"/>
              <a:gd name="connsiteY16" fmla="*/ 149514 h 178508"/>
              <a:gd name="connsiteX17" fmla="*/ 20771 w 157864"/>
              <a:gd name="connsiteY17" fmla="*/ 163397 h 178508"/>
              <a:gd name="connsiteX18" fmla="*/ 41595 w 157864"/>
              <a:gd name="connsiteY18" fmla="*/ 169181 h 178508"/>
              <a:gd name="connsiteX19" fmla="*/ 61204 w 157864"/>
              <a:gd name="connsiteY19" fmla="*/ 167967 h 178508"/>
              <a:gd name="connsiteX20" fmla="*/ 85846 w 157864"/>
              <a:gd name="connsiteY20" fmla="*/ 124352 h 178508"/>
              <a:gd name="connsiteX21" fmla="*/ 139525 w 157864"/>
              <a:gd name="connsiteY21" fmla="*/ 95430 h 178508"/>
              <a:gd name="connsiteX22" fmla="*/ 154681 w 157864"/>
              <a:gd name="connsiteY22" fmla="*/ 67664 h 178508"/>
              <a:gd name="connsiteX23" fmla="*/ 147103 w 157864"/>
              <a:gd name="connsiteY23" fmla="*/ 46609 h 17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7864" h="178508">
                <a:moveTo>
                  <a:pt x="147103" y="46609"/>
                </a:moveTo>
                <a:cubicBezTo>
                  <a:pt x="136980" y="35040"/>
                  <a:pt x="129750" y="28272"/>
                  <a:pt x="127494" y="31396"/>
                </a:cubicBezTo>
                <a:cubicBezTo>
                  <a:pt x="125238" y="34520"/>
                  <a:pt x="114247" y="35850"/>
                  <a:pt x="106670" y="31396"/>
                </a:cubicBezTo>
                <a:cubicBezTo>
                  <a:pt x="99092" y="26942"/>
                  <a:pt x="95101" y="18786"/>
                  <a:pt x="89317" y="18786"/>
                </a:cubicBezTo>
                <a:cubicBezTo>
                  <a:pt x="83532" y="18786"/>
                  <a:pt x="65774" y="8432"/>
                  <a:pt x="55593" y="-129"/>
                </a:cubicBezTo>
                <a:cubicBezTo>
                  <a:pt x="55507" y="1120"/>
                  <a:pt x="55507" y="2381"/>
                  <a:pt x="55593" y="3631"/>
                </a:cubicBezTo>
                <a:cubicBezTo>
                  <a:pt x="56172" y="9068"/>
                  <a:pt x="47090" y="12712"/>
                  <a:pt x="36794" y="13291"/>
                </a:cubicBezTo>
                <a:cubicBezTo>
                  <a:pt x="26498" y="13869"/>
                  <a:pt x="27713" y="25438"/>
                  <a:pt x="27713" y="33247"/>
                </a:cubicBezTo>
                <a:cubicBezTo>
                  <a:pt x="27713" y="41056"/>
                  <a:pt x="19267" y="41172"/>
                  <a:pt x="15623" y="49617"/>
                </a:cubicBezTo>
                <a:cubicBezTo>
                  <a:pt x="11979" y="58062"/>
                  <a:pt x="16838" y="59971"/>
                  <a:pt x="8335" y="64194"/>
                </a:cubicBezTo>
                <a:cubicBezTo>
                  <a:pt x="-168" y="68416"/>
                  <a:pt x="-2540" y="75763"/>
                  <a:pt x="2550" y="82993"/>
                </a:cubicBezTo>
                <a:cubicBezTo>
                  <a:pt x="7640" y="90224"/>
                  <a:pt x="1972" y="96934"/>
                  <a:pt x="757" y="101156"/>
                </a:cubicBezTo>
                <a:cubicBezTo>
                  <a:pt x="-458" y="105379"/>
                  <a:pt x="8045" y="107230"/>
                  <a:pt x="16491" y="115097"/>
                </a:cubicBezTo>
                <a:cubicBezTo>
                  <a:pt x="24936" y="122963"/>
                  <a:pt x="26209" y="112089"/>
                  <a:pt x="29853" y="118105"/>
                </a:cubicBezTo>
                <a:cubicBezTo>
                  <a:pt x="33497" y="124120"/>
                  <a:pt x="27423" y="135111"/>
                  <a:pt x="17705" y="135111"/>
                </a:cubicBezTo>
                <a:cubicBezTo>
                  <a:pt x="16959" y="135140"/>
                  <a:pt x="16225" y="135255"/>
                  <a:pt x="15507" y="135458"/>
                </a:cubicBezTo>
                <a:cubicBezTo>
                  <a:pt x="20540" y="140664"/>
                  <a:pt x="23143" y="146101"/>
                  <a:pt x="20771" y="149514"/>
                </a:cubicBezTo>
                <a:cubicBezTo>
                  <a:pt x="16375" y="155819"/>
                  <a:pt x="12557" y="155819"/>
                  <a:pt x="20771" y="163397"/>
                </a:cubicBezTo>
                <a:cubicBezTo>
                  <a:pt x="28985" y="170974"/>
                  <a:pt x="34654" y="159579"/>
                  <a:pt x="41595" y="169181"/>
                </a:cubicBezTo>
                <a:cubicBezTo>
                  <a:pt x="48536" y="178783"/>
                  <a:pt x="54263" y="184336"/>
                  <a:pt x="61204" y="167967"/>
                </a:cubicBezTo>
                <a:cubicBezTo>
                  <a:pt x="68146" y="151596"/>
                  <a:pt x="73236" y="128170"/>
                  <a:pt x="85846" y="124352"/>
                </a:cubicBezTo>
                <a:cubicBezTo>
                  <a:pt x="98456" y="120534"/>
                  <a:pt x="124370" y="115560"/>
                  <a:pt x="139525" y="95430"/>
                </a:cubicBezTo>
                <a:cubicBezTo>
                  <a:pt x="154681" y="75300"/>
                  <a:pt x="146640" y="74085"/>
                  <a:pt x="154681" y="67664"/>
                </a:cubicBezTo>
                <a:cubicBezTo>
                  <a:pt x="160986" y="62343"/>
                  <a:pt x="157168" y="57947"/>
                  <a:pt x="147103" y="4660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3C229C"/>
              </a:solidFill>
              <a:effectLst/>
              <a:uLnTx/>
              <a:uFillTx/>
              <a:latin typeface="Poppins Light"/>
              <a:ea typeface="+mn-ea"/>
              <a:cs typeface="+mn-cs"/>
            </a:endParaRPr>
          </a:p>
        </p:txBody>
      </p:sp>
      <p:sp>
        <p:nvSpPr>
          <p:cNvPr id="194" name="Forma libre: forma 193">
            <a:extLst>
              <a:ext uri="{FF2B5EF4-FFF2-40B4-BE49-F238E27FC236}">
                <a16:creationId xmlns:a16="http://schemas.microsoft.com/office/drawing/2014/main" id="{45917B0D-24B3-FE37-932C-900410F29E83}"/>
              </a:ext>
            </a:extLst>
          </p:cNvPr>
          <p:cNvSpPr/>
          <p:nvPr/>
        </p:nvSpPr>
        <p:spPr>
          <a:xfrm>
            <a:off x="4184214" y="1348185"/>
            <a:ext cx="1673335" cy="1247585"/>
          </a:xfrm>
          <a:custGeom>
            <a:avLst/>
            <a:gdLst>
              <a:gd name="connsiteX0" fmla="*/ 1579113 w 1673335"/>
              <a:gd name="connsiteY0" fmla="*/ 113663 h 1247585"/>
              <a:gd name="connsiteX1" fmla="*/ 1523351 w 1673335"/>
              <a:gd name="connsiteY1" fmla="*/ 139461 h 1247585"/>
              <a:gd name="connsiteX2" fmla="*/ 1467647 w 1673335"/>
              <a:gd name="connsiteY2" fmla="*/ 142700 h 1247585"/>
              <a:gd name="connsiteX3" fmla="*/ 1443410 w 1673335"/>
              <a:gd name="connsiteY3" fmla="*/ 133792 h 1247585"/>
              <a:gd name="connsiteX4" fmla="*/ 1390078 w 1673335"/>
              <a:gd name="connsiteY4" fmla="*/ 169367 h 1247585"/>
              <a:gd name="connsiteX5" fmla="*/ 1343802 w 1673335"/>
              <a:gd name="connsiteY5" fmla="*/ 199214 h 1247585"/>
              <a:gd name="connsiteX6" fmla="*/ 1389037 w 1673335"/>
              <a:gd name="connsiteY6" fmla="*/ 142700 h 1247585"/>
              <a:gd name="connsiteX7" fmla="*/ 1372088 w 1673335"/>
              <a:gd name="connsiteY7" fmla="*/ 103135 h 1247585"/>
              <a:gd name="connsiteX8" fmla="*/ 1337382 w 1673335"/>
              <a:gd name="connsiteY8" fmla="*/ 124942 h 1247585"/>
              <a:gd name="connsiteX9" fmla="*/ 1250152 w 1673335"/>
              <a:gd name="connsiteY9" fmla="*/ 152418 h 1247585"/>
              <a:gd name="connsiteX10" fmla="*/ 1306724 w 1673335"/>
              <a:gd name="connsiteY10" fmla="*/ 116844 h 1247585"/>
              <a:gd name="connsiteX11" fmla="*/ 1196068 w 1673335"/>
              <a:gd name="connsiteY11" fmla="*/ 113663 h 1247585"/>
              <a:gd name="connsiteX12" fmla="*/ 1101551 w 1673335"/>
              <a:gd name="connsiteY12" fmla="*/ 128182 h 1247585"/>
              <a:gd name="connsiteX13" fmla="*/ 1206596 w 1673335"/>
              <a:gd name="connsiteY13" fmla="*/ 100705 h 1247585"/>
              <a:gd name="connsiteX14" fmla="*/ 1335010 w 1673335"/>
              <a:gd name="connsiteY14" fmla="*/ 91797 h 1247585"/>
              <a:gd name="connsiteX15" fmla="*/ 1410902 w 1673335"/>
              <a:gd name="connsiteY15" fmla="*/ 70800 h 1247585"/>
              <a:gd name="connsiteX16" fmla="*/ 1359999 w 1673335"/>
              <a:gd name="connsiteY16" fmla="*/ 50612 h 1247585"/>
              <a:gd name="connsiteX17" fmla="*/ 1322863 w 1673335"/>
              <a:gd name="connsiteY17" fmla="*/ 39333 h 1247585"/>
              <a:gd name="connsiteX18" fmla="*/ 1289776 w 1673335"/>
              <a:gd name="connsiteY18" fmla="*/ 19955 h 1247585"/>
              <a:gd name="connsiteX19" fmla="*/ 1213017 w 1673335"/>
              <a:gd name="connsiteY19" fmla="*/ 10237 h 1247585"/>
              <a:gd name="connsiteX20" fmla="*/ 1129836 w 1673335"/>
              <a:gd name="connsiteY20" fmla="*/ 577 h 1247585"/>
              <a:gd name="connsiteX21" fmla="*/ 1015941 w 1673335"/>
              <a:gd name="connsiteY21" fmla="*/ 3758 h 1247585"/>
              <a:gd name="connsiteX22" fmla="*/ 977185 w 1673335"/>
              <a:gd name="connsiteY22" fmla="*/ 10237 h 1247585"/>
              <a:gd name="connsiteX23" fmla="*/ 950519 w 1673335"/>
              <a:gd name="connsiteY23" fmla="*/ 23194 h 1247585"/>
              <a:gd name="connsiteX24" fmla="*/ 931141 w 1673335"/>
              <a:gd name="connsiteY24" fmla="*/ 33664 h 1247585"/>
              <a:gd name="connsiteX25" fmla="*/ 889146 w 1673335"/>
              <a:gd name="connsiteY25" fmla="*/ 24756 h 1247585"/>
              <a:gd name="connsiteX26" fmla="*/ 814816 w 1673335"/>
              <a:gd name="connsiteY26" fmla="*/ 24756 h 1247585"/>
              <a:gd name="connsiteX27" fmla="*/ 724348 w 1673335"/>
              <a:gd name="connsiteY27" fmla="*/ 35284 h 1247585"/>
              <a:gd name="connsiteX28" fmla="*/ 751824 w 1673335"/>
              <a:gd name="connsiteY28" fmla="*/ 60330 h 1247585"/>
              <a:gd name="connsiteX29" fmla="*/ 703350 w 1673335"/>
              <a:gd name="connsiteY29" fmla="*/ 74849 h 1247585"/>
              <a:gd name="connsiteX30" fmla="*/ 772763 w 1673335"/>
              <a:gd name="connsiteY30" fmla="*/ 118464 h 1247585"/>
              <a:gd name="connsiteX31" fmla="*/ 737247 w 1673335"/>
              <a:gd name="connsiteY31" fmla="*/ 111985 h 1247585"/>
              <a:gd name="connsiteX32" fmla="*/ 676684 w 1673335"/>
              <a:gd name="connsiteY32" fmla="*/ 89426 h 1247585"/>
              <a:gd name="connsiteX33" fmla="*/ 603164 w 1673335"/>
              <a:gd name="connsiteY33" fmla="*/ 73229 h 1247585"/>
              <a:gd name="connsiteX34" fmla="*/ 636251 w 1673335"/>
              <a:gd name="connsiteY34" fmla="*/ 111233 h 1247585"/>
              <a:gd name="connsiteX35" fmla="*/ 598305 w 1673335"/>
              <a:gd name="connsiteY35" fmla="*/ 112795 h 1247585"/>
              <a:gd name="connsiteX36" fmla="*/ 548270 w 1673335"/>
              <a:gd name="connsiteY36" fmla="*/ 85377 h 1247585"/>
              <a:gd name="connsiteX37" fmla="*/ 545840 w 1673335"/>
              <a:gd name="connsiteY37" fmla="*/ 120083 h 1247585"/>
              <a:gd name="connsiteX38" fmla="*/ 523223 w 1673335"/>
              <a:gd name="connsiteY38" fmla="*/ 138651 h 1247585"/>
              <a:gd name="connsiteX39" fmla="*/ 508647 w 1673335"/>
              <a:gd name="connsiteY39" fmla="*/ 82947 h 1247585"/>
              <a:gd name="connsiteX40" fmla="*/ 425466 w 1673335"/>
              <a:gd name="connsiteY40" fmla="*/ 95846 h 1247585"/>
              <a:gd name="connsiteX41" fmla="*/ 392322 w 1673335"/>
              <a:gd name="connsiteY41" fmla="*/ 113663 h 1247585"/>
              <a:gd name="connsiteX42" fmla="*/ 374564 w 1673335"/>
              <a:gd name="connsiteY42" fmla="*/ 119447 h 1247585"/>
              <a:gd name="connsiteX43" fmla="*/ 313191 w 1673335"/>
              <a:gd name="connsiteY43" fmla="*/ 127545 h 1247585"/>
              <a:gd name="connsiteX44" fmla="*/ 321289 w 1673335"/>
              <a:gd name="connsiteY44" fmla="*/ 168730 h 1247585"/>
              <a:gd name="connsiteX45" fmla="*/ 268766 w 1673335"/>
              <a:gd name="connsiteY45" fmla="*/ 160632 h 1247585"/>
              <a:gd name="connsiteX46" fmla="*/ 145211 w 1673335"/>
              <a:gd name="connsiteY46" fmla="*/ 227674 h 1247585"/>
              <a:gd name="connsiteX47" fmla="*/ 212253 w 1673335"/>
              <a:gd name="connsiteY47" fmla="*/ 238201 h 1247585"/>
              <a:gd name="connsiteX48" fmla="*/ 189635 w 1673335"/>
              <a:gd name="connsiteY48" fmla="*/ 288237 h 1247585"/>
              <a:gd name="connsiteX49" fmla="*/ 104026 w 1673335"/>
              <a:gd name="connsiteY49" fmla="*/ 303623 h 1247585"/>
              <a:gd name="connsiteX50" fmla="*/ -94 w 1673335"/>
              <a:gd name="connsiteY50" fmla="*/ 344114 h 1247585"/>
              <a:gd name="connsiteX51" fmla="*/ 16102 w 1673335"/>
              <a:gd name="connsiteY51" fmla="*/ 364302 h 1247585"/>
              <a:gd name="connsiteX52" fmla="*/ 61337 w 1673335"/>
              <a:gd name="connsiteY52" fmla="*/ 377201 h 1247585"/>
              <a:gd name="connsiteX53" fmla="*/ 135609 w 1673335"/>
              <a:gd name="connsiteY53" fmla="*/ 382986 h 1247585"/>
              <a:gd name="connsiteX54" fmla="*/ 178413 w 1673335"/>
              <a:gd name="connsiteY54" fmla="*/ 399124 h 1247585"/>
              <a:gd name="connsiteX55" fmla="*/ 104951 w 1673335"/>
              <a:gd name="connsiteY55" fmla="*/ 403983 h 1247585"/>
              <a:gd name="connsiteX56" fmla="*/ 37910 w 1673335"/>
              <a:gd name="connsiteY56" fmla="*/ 416824 h 1247585"/>
              <a:gd name="connsiteX57" fmla="*/ 87135 w 1673335"/>
              <a:gd name="connsiteY57" fmla="*/ 429782 h 1247585"/>
              <a:gd name="connsiteX58" fmla="*/ 88003 w 1673335"/>
              <a:gd name="connsiteY58" fmla="*/ 451589 h 1247585"/>
              <a:gd name="connsiteX59" fmla="*/ 120280 w 1673335"/>
              <a:gd name="connsiteY59" fmla="*/ 469347 h 1247585"/>
              <a:gd name="connsiteX60" fmla="*/ 164704 w 1673335"/>
              <a:gd name="connsiteY60" fmla="*/ 474206 h 1247585"/>
              <a:gd name="connsiteX61" fmla="*/ 192180 w 1673335"/>
              <a:gd name="connsiteY61" fmla="*/ 470967 h 1247585"/>
              <a:gd name="connsiteX62" fmla="*/ 228507 w 1673335"/>
              <a:gd name="connsiteY62" fmla="*/ 464546 h 1247585"/>
              <a:gd name="connsiteX63" fmla="*/ 261593 w 1673335"/>
              <a:gd name="connsiteY63" fmla="*/ 458067 h 1247585"/>
              <a:gd name="connsiteX64" fmla="*/ 349633 w 1673335"/>
              <a:gd name="connsiteY64" fmla="*/ 481494 h 1247585"/>
              <a:gd name="connsiteX65" fmla="*/ 393305 w 1673335"/>
              <a:gd name="connsiteY65" fmla="*/ 509722 h 1247585"/>
              <a:gd name="connsiteX66" fmla="*/ 431251 w 1673335"/>
              <a:gd name="connsiteY66" fmla="*/ 546107 h 1247585"/>
              <a:gd name="connsiteX67" fmla="*/ 456298 w 1673335"/>
              <a:gd name="connsiteY67" fmla="*/ 590531 h 1247585"/>
              <a:gd name="connsiteX68" fmla="*/ 475675 w 1673335"/>
              <a:gd name="connsiteY68" fmla="*/ 620379 h 1247585"/>
              <a:gd name="connsiteX69" fmla="*/ 489384 w 1673335"/>
              <a:gd name="connsiteY69" fmla="*/ 648664 h 1247585"/>
              <a:gd name="connsiteX70" fmla="*/ 475675 w 1673335"/>
              <a:gd name="connsiteY70" fmla="*/ 682619 h 1247585"/>
              <a:gd name="connsiteX71" fmla="*/ 488574 w 1673335"/>
              <a:gd name="connsiteY71" fmla="*/ 719755 h 1247585"/>
              <a:gd name="connsiteX72" fmla="*/ 529817 w 1673335"/>
              <a:gd name="connsiteY72" fmla="*/ 701997 h 1247585"/>
              <a:gd name="connsiteX73" fmla="*/ 539478 w 1673335"/>
              <a:gd name="connsiteY73" fmla="*/ 729415 h 1247585"/>
              <a:gd name="connsiteX74" fmla="*/ 592000 w 1673335"/>
              <a:gd name="connsiteY74" fmla="*/ 754462 h 1247585"/>
              <a:gd name="connsiteX75" fmla="*/ 580431 w 1673335"/>
              <a:gd name="connsiteY75" fmla="*/ 766030 h 1247585"/>
              <a:gd name="connsiteX76" fmla="*/ 507721 w 1673335"/>
              <a:gd name="connsiteY76" fmla="*/ 760246 h 1247585"/>
              <a:gd name="connsiteX77" fmla="*/ 581241 w 1673335"/>
              <a:gd name="connsiteY77" fmla="*/ 794143 h 1247585"/>
              <a:gd name="connsiteX78" fmla="*/ 605478 w 1673335"/>
              <a:gd name="connsiteY78" fmla="*/ 822429 h 1247585"/>
              <a:gd name="connsiteX79" fmla="*/ 599693 w 1673335"/>
              <a:gd name="connsiteY79" fmla="*/ 860374 h 1247585"/>
              <a:gd name="connsiteX80" fmla="*/ 564987 w 1673335"/>
              <a:gd name="connsiteY80" fmla="*/ 861994 h 1247585"/>
              <a:gd name="connsiteX81" fmla="*/ 543179 w 1673335"/>
              <a:gd name="connsiteY81" fmla="*/ 881372 h 1247585"/>
              <a:gd name="connsiteX82" fmla="*/ 520562 w 1673335"/>
              <a:gd name="connsiteY82" fmla="*/ 921863 h 1247585"/>
              <a:gd name="connsiteX83" fmla="*/ 547171 w 1673335"/>
              <a:gd name="connsiteY83" fmla="*/ 945290 h 1247585"/>
              <a:gd name="connsiteX84" fmla="*/ 526231 w 1673335"/>
              <a:gd name="connsiteY84" fmla="*/ 969469 h 1247585"/>
              <a:gd name="connsiteX85" fmla="*/ 564177 w 1673335"/>
              <a:gd name="connsiteY85" fmla="*/ 1009092 h 1247585"/>
              <a:gd name="connsiteX86" fmla="*/ 568978 w 1673335"/>
              <a:gd name="connsiteY86" fmla="*/ 1055946 h 1247585"/>
              <a:gd name="connsiteX87" fmla="*/ 585174 w 1673335"/>
              <a:gd name="connsiteY87" fmla="*/ 1070465 h 1247585"/>
              <a:gd name="connsiteX88" fmla="*/ 598884 w 1673335"/>
              <a:gd name="connsiteY88" fmla="*/ 1097941 h 1247585"/>
              <a:gd name="connsiteX89" fmla="*/ 619881 w 1673335"/>
              <a:gd name="connsiteY89" fmla="*/ 1121368 h 1247585"/>
              <a:gd name="connsiteX90" fmla="*/ 632838 w 1673335"/>
              <a:gd name="connsiteY90" fmla="*/ 1154455 h 1247585"/>
              <a:gd name="connsiteX91" fmla="*/ 663496 w 1673335"/>
              <a:gd name="connsiteY91" fmla="*/ 1186790 h 1247585"/>
              <a:gd name="connsiteX92" fmla="*/ 694211 w 1673335"/>
              <a:gd name="connsiteY92" fmla="*/ 1206978 h 1247585"/>
              <a:gd name="connsiteX93" fmla="*/ 720819 w 1673335"/>
              <a:gd name="connsiteY93" fmla="*/ 1215018 h 1247585"/>
              <a:gd name="connsiteX94" fmla="*/ 753154 w 1673335"/>
              <a:gd name="connsiteY94" fmla="*/ 1228785 h 1247585"/>
              <a:gd name="connsiteX95" fmla="*/ 800818 w 1673335"/>
              <a:gd name="connsiteY95" fmla="*/ 1247353 h 1247585"/>
              <a:gd name="connsiteX96" fmla="*/ 821006 w 1673335"/>
              <a:gd name="connsiteY96" fmla="*/ 1226355 h 1247585"/>
              <a:gd name="connsiteX97" fmla="*/ 834773 w 1673335"/>
              <a:gd name="connsiteY97" fmla="*/ 1183551 h 1247585"/>
              <a:gd name="connsiteX98" fmla="*/ 832285 w 1673335"/>
              <a:gd name="connsiteY98" fmla="*/ 1140746 h 1247585"/>
              <a:gd name="connsiteX99" fmla="*/ 846052 w 1673335"/>
              <a:gd name="connsiteY99" fmla="*/ 1126979 h 1247585"/>
              <a:gd name="connsiteX100" fmla="*/ 867050 w 1673335"/>
              <a:gd name="connsiteY100" fmla="*/ 1108411 h 1247585"/>
              <a:gd name="connsiteX101" fmla="*/ 878329 w 1673335"/>
              <a:gd name="connsiteY101" fmla="*/ 1087413 h 1247585"/>
              <a:gd name="connsiteX102" fmla="*/ 879139 w 1673335"/>
              <a:gd name="connsiteY102" fmla="*/ 1068035 h 1247585"/>
              <a:gd name="connsiteX103" fmla="*/ 889667 w 1673335"/>
              <a:gd name="connsiteY103" fmla="*/ 1055136 h 1247585"/>
              <a:gd name="connsiteX104" fmla="*/ 883882 w 1673335"/>
              <a:gd name="connsiteY104" fmla="*/ 1034949 h 1247585"/>
              <a:gd name="connsiteX105" fmla="*/ 887932 w 1673335"/>
              <a:gd name="connsiteY105" fmla="*/ 1024421 h 1247585"/>
              <a:gd name="connsiteX106" fmla="*/ 903260 w 1673335"/>
              <a:gd name="connsiteY106" fmla="*/ 1017190 h 1247585"/>
              <a:gd name="connsiteX107" fmla="*/ 929117 w 1673335"/>
              <a:gd name="connsiteY107" fmla="*/ 1000994 h 1247585"/>
              <a:gd name="connsiteX108" fmla="*/ 951734 w 1673335"/>
              <a:gd name="connsiteY108" fmla="*/ 977567 h 1247585"/>
              <a:gd name="connsiteX109" fmla="*/ 965963 w 1673335"/>
              <a:gd name="connsiteY109" fmla="*/ 976294 h 1247585"/>
              <a:gd name="connsiteX110" fmla="*/ 971748 w 1673335"/>
              <a:gd name="connsiteY110" fmla="*/ 990813 h 1247585"/>
              <a:gd name="connsiteX111" fmla="*/ 1022651 w 1673335"/>
              <a:gd name="connsiteY111" fmla="*/ 980344 h 1247585"/>
              <a:gd name="connsiteX112" fmla="*/ 1083214 w 1673335"/>
              <a:gd name="connsiteY112" fmla="*/ 927821 h 1247585"/>
              <a:gd name="connsiteX113" fmla="*/ 1117169 w 1673335"/>
              <a:gd name="connsiteY113" fmla="*/ 893924 h 1247585"/>
              <a:gd name="connsiteX114" fmla="*/ 1142967 w 1673335"/>
              <a:gd name="connsiteY114" fmla="*/ 883454 h 1247585"/>
              <a:gd name="connsiteX115" fmla="*/ 1169633 w 1673335"/>
              <a:gd name="connsiteY115" fmla="*/ 876976 h 1247585"/>
              <a:gd name="connsiteX116" fmla="*/ 1210124 w 1673335"/>
              <a:gd name="connsiteY116" fmla="*/ 868126 h 1247585"/>
              <a:gd name="connsiteX117" fmla="*/ 1307881 w 1673335"/>
              <a:gd name="connsiteY117" fmla="*/ 841459 h 1247585"/>
              <a:gd name="connsiteX118" fmla="*/ 1385392 w 1673335"/>
              <a:gd name="connsiteY118" fmla="*/ 800968 h 1247585"/>
              <a:gd name="connsiteX119" fmla="*/ 1395920 w 1673335"/>
              <a:gd name="connsiteY119" fmla="*/ 787259 h 1247585"/>
              <a:gd name="connsiteX120" fmla="*/ 1347447 w 1673335"/>
              <a:gd name="connsiteY120" fmla="*/ 789689 h 1247585"/>
              <a:gd name="connsiteX121" fmla="*/ 1286883 w 1673335"/>
              <a:gd name="connsiteY121" fmla="*/ 782400 h 1247585"/>
              <a:gd name="connsiteX122" fmla="*/ 1294924 w 1673335"/>
              <a:gd name="connsiteY122" fmla="*/ 764642 h 1247585"/>
              <a:gd name="connsiteX123" fmla="*/ 1299841 w 1673335"/>
              <a:gd name="connsiteY123" fmla="*/ 738786 h 1247585"/>
              <a:gd name="connsiteX124" fmla="*/ 1338538 w 1673335"/>
              <a:gd name="connsiteY124" fmla="*/ 751685 h 1247585"/>
              <a:gd name="connsiteX125" fmla="*/ 1398350 w 1673335"/>
              <a:gd name="connsiteY125" fmla="*/ 771873 h 1247585"/>
              <a:gd name="connsiteX126" fmla="*/ 1408009 w 1673335"/>
              <a:gd name="connsiteY126" fmla="*/ 735547 h 1247585"/>
              <a:gd name="connsiteX127" fmla="*/ 1336919 w 1673335"/>
              <a:gd name="connsiteY127" fmla="*/ 672554 h 1247585"/>
              <a:gd name="connsiteX128" fmla="*/ 1377410 w 1673335"/>
              <a:gd name="connsiteY128" fmla="*/ 677413 h 1247585"/>
              <a:gd name="connsiteX129" fmla="*/ 1403266 w 1673335"/>
              <a:gd name="connsiteY129" fmla="*/ 649127 h 1247585"/>
              <a:gd name="connsiteX130" fmla="*/ 1337787 w 1673335"/>
              <a:gd name="connsiteY130" fmla="*/ 648317 h 1247585"/>
              <a:gd name="connsiteX131" fmla="*/ 1325697 w 1673335"/>
              <a:gd name="connsiteY131" fmla="*/ 630559 h 1247585"/>
              <a:gd name="connsiteX132" fmla="*/ 1336225 w 1673335"/>
              <a:gd name="connsiteY132" fmla="*/ 607942 h 1247585"/>
              <a:gd name="connsiteX133" fmla="*/ 1396788 w 1673335"/>
              <a:gd name="connsiteY133" fmla="*/ 625700 h 1247585"/>
              <a:gd name="connsiteX134" fmla="*/ 1443063 w 1673335"/>
              <a:gd name="connsiteY134" fmla="*/ 614421 h 1247585"/>
              <a:gd name="connsiteX135" fmla="*/ 1406737 w 1673335"/>
              <a:gd name="connsiteY135" fmla="*/ 580466 h 1247585"/>
              <a:gd name="connsiteX136" fmla="*/ 1467300 w 1673335"/>
              <a:gd name="connsiteY136" fmla="*/ 574682 h 1247585"/>
              <a:gd name="connsiteX137" fmla="*/ 1474530 w 1673335"/>
              <a:gd name="connsiteY137" fmla="*/ 556114 h 1247585"/>
              <a:gd name="connsiteX138" fmla="*/ 1425305 w 1673335"/>
              <a:gd name="connsiteY138" fmla="*/ 525456 h 1247585"/>
              <a:gd name="connsiteX139" fmla="*/ 1472911 w 1673335"/>
              <a:gd name="connsiteY139" fmla="*/ 517358 h 1247585"/>
              <a:gd name="connsiteX140" fmla="*/ 1460011 w 1673335"/>
              <a:gd name="connsiteY140" fmla="*/ 467323 h 1247585"/>
              <a:gd name="connsiteX141" fmla="*/ 1411538 w 1673335"/>
              <a:gd name="connsiteY141" fmla="*/ 455175 h 1247585"/>
              <a:gd name="connsiteX142" fmla="*/ 1391350 w 1673335"/>
              <a:gd name="connsiteY142" fmla="*/ 434178 h 1247585"/>
              <a:gd name="connsiteX143" fmla="*/ 1428544 w 1673335"/>
              <a:gd name="connsiteY143" fmla="*/ 429319 h 1247585"/>
              <a:gd name="connsiteX144" fmla="*/ 1502816 w 1673335"/>
              <a:gd name="connsiteY144" fmla="*/ 429319 h 1247585"/>
              <a:gd name="connsiteX145" fmla="*/ 1485868 w 1673335"/>
              <a:gd name="connsiteY145" fmla="*/ 400397 h 1247585"/>
              <a:gd name="connsiteX146" fmla="*/ 1440634 w 1673335"/>
              <a:gd name="connsiteY146" fmla="*/ 390679 h 1247585"/>
              <a:gd name="connsiteX147" fmla="*/ 1477770 w 1673335"/>
              <a:gd name="connsiteY147" fmla="*/ 382638 h 1247585"/>
              <a:gd name="connsiteX148" fmla="*/ 1422875 w 1673335"/>
              <a:gd name="connsiteY148" fmla="*/ 370491 h 1247585"/>
              <a:gd name="connsiteX149" fmla="*/ 1401068 w 1673335"/>
              <a:gd name="connsiteY149" fmla="*/ 372111 h 1247585"/>
              <a:gd name="connsiteX150" fmla="*/ 1418017 w 1673335"/>
              <a:gd name="connsiteY150" fmla="*/ 321208 h 1247585"/>
              <a:gd name="connsiteX151" fmla="*/ 1466490 w 1673335"/>
              <a:gd name="connsiteY151" fmla="*/ 284072 h 1247585"/>
              <a:gd name="connsiteX152" fmla="*/ 1511724 w 1673335"/>
              <a:gd name="connsiteY152" fmla="*/ 256596 h 1247585"/>
              <a:gd name="connsiteX153" fmla="*/ 1493098 w 1673335"/>
              <a:gd name="connsiteY153" fmla="*/ 234788 h 1247585"/>
              <a:gd name="connsiteX154" fmla="*/ 1447922 w 1673335"/>
              <a:gd name="connsiteY154" fmla="*/ 249307 h 1247585"/>
              <a:gd name="connsiteX155" fmla="*/ 1485058 w 1673335"/>
              <a:gd name="connsiteY155" fmla="*/ 226690 h 1247585"/>
              <a:gd name="connsiteX156" fmla="*/ 1553719 w 1673335"/>
              <a:gd name="connsiteY156" fmla="*/ 217030 h 1247585"/>
              <a:gd name="connsiteX157" fmla="*/ 1503626 w 1673335"/>
              <a:gd name="connsiteY157" fmla="*/ 204883 h 1247585"/>
              <a:gd name="connsiteX158" fmla="*/ 1516583 w 1673335"/>
              <a:gd name="connsiteY158" fmla="*/ 196033 h 1247585"/>
              <a:gd name="connsiteX159" fmla="*/ 1576336 w 1673335"/>
              <a:gd name="connsiteY159" fmla="*/ 183885 h 1247585"/>
              <a:gd name="connsiteX160" fmla="*/ 1611853 w 1673335"/>
              <a:gd name="connsiteY160" fmla="*/ 168557 h 1247585"/>
              <a:gd name="connsiteX161" fmla="*/ 1673226 w 1673335"/>
              <a:gd name="connsiteY161" fmla="*/ 140271 h 1247585"/>
              <a:gd name="connsiteX162" fmla="*/ 1579113 w 1673335"/>
              <a:gd name="connsiteY162" fmla="*/ 113663 h 1247585"/>
              <a:gd name="connsiteX163" fmla="*/ 572622 w 1673335"/>
              <a:gd name="connsiteY163" fmla="*/ 817107 h 1247585"/>
              <a:gd name="connsiteX164" fmla="*/ 550815 w 1673335"/>
              <a:gd name="connsiteY164" fmla="*/ 796919 h 1247585"/>
              <a:gd name="connsiteX165" fmla="*/ 497541 w 1673335"/>
              <a:gd name="connsiteY165" fmla="*/ 787259 h 1247585"/>
              <a:gd name="connsiteX166" fmla="*/ 493491 w 1673335"/>
              <a:gd name="connsiteY166" fmla="*/ 810686 h 1247585"/>
              <a:gd name="connsiteX167" fmla="*/ 523397 w 1673335"/>
              <a:gd name="connsiteY167" fmla="*/ 828444 h 1247585"/>
              <a:gd name="connsiteX168" fmla="*/ 572622 w 1673335"/>
              <a:gd name="connsiteY168" fmla="*/ 817107 h 124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673335" h="1247585">
                <a:moveTo>
                  <a:pt x="1579113" y="113663"/>
                </a:moveTo>
                <a:cubicBezTo>
                  <a:pt x="1549208" y="113663"/>
                  <a:pt x="1524971" y="118464"/>
                  <a:pt x="1523351" y="139461"/>
                </a:cubicBezTo>
                <a:cubicBezTo>
                  <a:pt x="1521731" y="160459"/>
                  <a:pt x="1483786" y="135470"/>
                  <a:pt x="1467647" y="142700"/>
                </a:cubicBezTo>
                <a:cubicBezTo>
                  <a:pt x="1451508" y="149931"/>
                  <a:pt x="1459549" y="125752"/>
                  <a:pt x="1443410" y="133792"/>
                </a:cubicBezTo>
                <a:cubicBezTo>
                  <a:pt x="1427272" y="141833"/>
                  <a:pt x="1409513" y="161268"/>
                  <a:pt x="1390078" y="169367"/>
                </a:cubicBezTo>
                <a:cubicBezTo>
                  <a:pt x="1370642" y="177465"/>
                  <a:pt x="1356181" y="197595"/>
                  <a:pt x="1343802" y="199214"/>
                </a:cubicBezTo>
                <a:cubicBezTo>
                  <a:pt x="1331424" y="200834"/>
                  <a:pt x="1369659" y="162078"/>
                  <a:pt x="1389037" y="142700"/>
                </a:cubicBezTo>
                <a:cubicBezTo>
                  <a:pt x="1408414" y="123323"/>
                  <a:pt x="1397945" y="100705"/>
                  <a:pt x="1372088" y="103135"/>
                </a:cubicBezTo>
                <a:cubicBezTo>
                  <a:pt x="1346232" y="105564"/>
                  <a:pt x="1351900" y="121703"/>
                  <a:pt x="1337382" y="124942"/>
                </a:cubicBezTo>
                <a:cubicBezTo>
                  <a:pt x="1322863" y="128182"/>
                  <a:pt x="1253392" y="162888"/>
                  <a:pt x="1250152" y="152418"/>
                </a:cubicBezTo>
                <a:cubicBezTo>
                  <a:pt x="1246913" y="141948"/>
                  <a:pt x="1307534" y="124132"/>
                  <a:pt x="1306724" y="116844"/>
                </a:cubicBezTo>
                <a:cubicBezTo>
                  <a:pt x="1305914" y="109556"/>
                  <a:pt x="1229965" y="108804"/>
                  <a:pt x="1196068" y="113663"/>
                </a:cubicBezTo>
                <a:cubicBezTo>
                  <a:pt x="1162171" y="118522"/>
                  <a:pt x="1102360" y="137841"/>
                  <a:pt x="1101551" y="128182"/>
                </a:cubicBezTo>
                <a:cubicBezTo>
                  <a:pt x="1100741" y="118522"/>
                  <a:pt x="1170964" y="105044"/>
                  <a:pt x="1206596" y="100705"/>
                </a:cubicBezTo>
                <a:cubicBezTo>
                  <a:pt x="1242228" y="96367"/>
                  <a:pt x="1307534" y="103135"/>
                  <a:pt x="1335010" y="91797"/>
                </a:cubicBezTo>
                <a:cubicBezTo>
                  <a:pt x="1362486" y="80460"/>
                  <a:pt x="1403671" y="79708"/>
                  <a:pt x="1410902" y="70800"/>
                </a:cubicBezTo>
                <a:cubicBezTo>
                  <a:pt x="1418132" y="61892"/>
                  <a:pt x="1379434" y="49802"/>
                  <a:pt x="1359999" y="50612"/>
                </a:cubicBezTo>
                <a:cubicBezTo>
                  <a:pt x="1340563" y="51422"/>
                  <a:pt x="1321301" y="48993"/>
                  <a:pt x="1322863" y="39333"/>
                </a:cubicBezTo>
                <a:cubicBezTo>
                  <a:pt x="1324424" y="29673"/>
                  <a:pt x="1292957" y="27185"/>
                  <a:pt x="1289776" y="19955"/>
                </a:cubicBezTo>
                <a:cubicBezTo>
                  <a:pt x="1286594" y="12724"/>
                  <a:pt x="1226147" y="18335"/>
                  <a:pt x="1213017" y="10237"/>
                </a:cubicBezTo>
                <a:cubicBezTo>
                  <a:pt x="1199886" y="2139"/>
                  <a:pt x="1162113" y="-1853"/>
                  <a:pt x="1129836" y="577"/>
                </a:cubicBezTo>
                <a:cubicBezTo>
                  <a:pt x="1097559" y="3006"/>
                  <a:pt x="1031501" y="2197"/>
                  <a:pt x="1015941" y="3758"/>
                </a:cubicBezTo>
                <a:cubicBezTo>
                  <a:pt x="1000381" y="5320"/>
                  <a:pt x="990894" y="11047"/>
                  <a:pt x="977185" y="10237"/>
                </a:cubicBezTo>
                <a:cubicBezTo>
                  <a:pt x="963476" y="9427"/>
                  <a:pt x="942479" y="14286"/>
                  <a:pt x="950519" y="23194"/>
                </a:cubicBezTo>
                <a:cubicBezTo>
                  <a:pt x="965154" y="39217"/>
                  <a:pt x="928712" y="45811"/>
                  <a:pt x="931141" y="33664"/>
                </a:cubicBezTo>
                <a:cubicBezTo>
                  <a:pt x="933571" y="21517"/>
                  <a:pt x="899674" y="15906"/>
                  <a:pt x="889146" y="24756"/>
                </a:cubicBezTo>
                <a:cubicBezTo>
                  <a:pt x="877173" y="34936"/>
                  <a:pt x="822915" y="14286"/>
                  <a:pt x="814816" y="24756"/>
                </a:cubicBezTo>
                <a:cubicBezTo>
                  <a:pt x="806718" y="35226"/>
                  <a:pt x="742974" y="32044"/>
                  <a:pt x="724348" y="35284"/>
                </a:cubicBezTo>
                <a:cubicBezTo>
                  <a:pt x="705722" y="38523"/>
                  <a:pt x="753270" y="52232"/>
                  <a:pt x="751824" y="60330"/>
                </a:cubicBezTo>
                <a:cubicBezTo>
                  <a:pt x="750378" y="68428"/>
                  <a:pt x="691261" y="60330"/>
                  <a:pt x="703350" y="74849"/>
                </a:cubicBezTo>
                <a:cubicBezTo>
                  <a:pt x="715440" y="89368"/>
                  <a:pt x="754254" y="99896"/>
                  <a:pt x="772763" y="118464"/>
                </a:cubicBezTo>
                <a:cubicBezTo>
                  <a:pt x="791274" y="137032"/>
                  <a:pt x="758245" y="125752"/>
                  <a:pt x="737247" y="111985"/>
                </a:cubicBezTo>
                <a:cubicBezTo>
                  <a:pt x="716250" y="98218"/>
                  <a:pt x="689583" y="103135"/>
                  <a:pt x="676684" y="89426"/>
                </a:cubicBezTo>
                <a:cubicBezTo>
                  <a:pt x="663785" y="75717"/>
                  <a:pt x="615254" y="65189"/>
                  <a:pt x="603164" y="73229"/>
                </a:cubicBezTo>
                <a:cubicBezTo>
                  <a:pt x="588761" y="82889"/>
                  <a:pt x="636251" y="100705"/>
                  <a:pt x="636251" y="111233"/>
                </a:cubicBezTo>
                <a:cubicBezTo>
                  <a:pt x="636251" y="121761"/>
                  <a:pt x="603974" y="108804"/>
                  <a:pt x="598305" y="112795"/>
                </a:cubicBezTo>
                <a:cubicBezTo>
                  <a:pt x="592637" y="116786"/>
                  <a:pt x="564409" y="85377"/>
                  <a:pt x="548270" y="85377"/>
                </a:cubicBezTo>
                <a:cubicBezTo>
                  <a:pt x="532131" y="85377"/>
                  <a:pt x="545840" y="99896"/>
                  <a:pt x="545840" y="120083"/>
                </a:cubicBezTo>
                <a:cubicBezTo>
                  <a:pt x="545840" y="140271"/>
                  <a:pt x="514315" y="152418"/>
                  <a:pt x="523223" y="138651"/>
                </a:cubicBezTo>
                <a:cubicBezTo>
                  <a:pt x="532131" y="124884"/>
                  <a:pt x="525595" y="89426"/>
                  <a:pt x="508647" y="82947"/>
                </a:cubicBezTo>
                <a:cubicBezTo>
                  <a:pt x="491698" y="76469"/>
                  <a:pt x="448083" y="96656"/>
                  <a:pt x="425466" y="95846"/>
                </a:cubicBezTo>
                <a:cubicBezTo>
                  <a:pt x="402849" y="95037"/>
                  <a:pt x="373002" y="102325"/>
                  <a:pt x="392322" y="113663"/>
                </a:cubicBezTo>
                <a:cubicBezTo>
                  <a:pt x="411642" y="125000"/>
                  <a:pt x="391570" y="131363"/>
                  <a:pt x="374564" y="119447"/>
                </a:cubicBezTo>
                <a:cubicBezTo>
                  <a:pt x="357557" y="107531"/>
                  <a:pt x="301911" y="119447"/>
                  <a:pt x="313191" y="127545"/>
                </a:cubicBezTo>
                <a:cubicBezTo>
                  <a:pt x="324470" y="135643"/>
                  <a:pt x="328577" y="159013"/>
                  <a:pt x="321289" y="168730"/>
                </a:cubicBezTo>
                <a:cubicBezTo>
                  <a:pt x="314000" y="178448"/>
                  <a:pt x="290574" y="159013"/>
                  <a:pt x="268766" y="160632"/>
                </a:cubicBezTo>
                <a:cubicBezTo>
                  <a:pt x="246959" y="162252"/>
                  <a:pt x="138732" y="213965"/>
                  <a:pt x="145211" y="227674"/>
                </a:cubicBezTo>
                <a:cubicBezTo>
                  <a:pt x="151689" y="241383"/>
                  <a:pt x="197734" y="230103"/>
                  <a:pt x="212253" y="238201"/>
                </a:cubicBezTo>
                <a:cubicBezTo>
                  <a:pt x="226771" y="246300"/>
                  <a:pt x="207393" y="276147"/>
                  <a:pt x="189635" y="288237"/>
                </a:cubicBezTo>
                <a:cubicBezTo>
                  <a:pt x="171877" y="300326"/>
                  <a:pt x="105646" y="289104"/>
                  <a:pt x="104026" y="303623"/>
                </a:cubicBezTo>
                <a:cubicBezTo>
                  <a:pt x="102406" y="318142"/>
                  <a:pt x="-94" y="320572"/>
                  <a:pt x="-94" y="344114"/>
                </a:cubicBezTo>
                <a:cubicBezTo>
                  <a:pt x="-482" y="353942"/>
                  <a:pt x="6425" y="362549"/>
                  <a:pt x="16102" y="364302"/>
                </a:cubicBezTo>
                <a:cubicBezTo>
                  <a:pt x="30621" y="367426"/>
                  <a:pt x="48380" y="362682"/>
                  <a:pt x="61337" y="377201"/>
                </a:cubicBezTo>
                <a:cubicBezTo>
                  <a:pt x="74294" y="391720"/>
                  <a:pt x="110562" y="392588"/>
                  <a:pt x="135609" y="382986"/>
                </a:cubicBezTo>
                <a:cubicBezTo>
                  <a:pt x="160656" y="373383"/>
                  <a:pt x="179223" y="384547"/>
                  <a:pt x="178413" y="399124"/>
                </a:cubicBezTo>
                <a:cubicBezTo>
                  <a:pt x="177604" y="413701"/>
                  <a:pt x="121900" y="393340"/>
                  <a:pt x="104951" y="403983"/>
                </a:cubicBezTo>
                <a:cubicBezTo>
                  <a:pt x="88003" y="414626"/>
                  <a:pt x="35538" y="405545"/>
                  <a:pt x="37910" y="416824"/>
                </a:cubicBezTo>
                <a:cubicBezTo>
                  <a:pt x="40281" y="428104"/>
                  <a:pt x="66138" y="425733"/>
                  <a:pt x="87135" y="429782"/>
                </a:cubicBezTo>
                <a:cubicBezTo>
                  <a:pt x="108133" y="433831"/>
                  <a:pt x="88755" y="442739"/>
                  <a:pt x="88003" y="451589"/>
                </a:cubicBezTo>
                <a:cubicBezTo>
                  <a:pt x="87251" y="460439"/>
                  <a:pt x="99282" y="458819"/>
                  <a:pt x="120280" y="469347"/>
                </a:cubicBezTo>
                <a:cubicBezTo>
                  <a:pt x="141277" y="479875"/>
                  <a:pt x="175984" y="486353"/>
                  <a:pt x="164704" y="474206"/>
                </a:cubicBezTo>
                <a:cubicBezTo>
                  <a:pt x="153425" y="462059"/>
                  <a:pt x="186512" y="463678"/>
                  <a:pt x="192180" y="470967"/>
                </a:cubicBezTo>
                <a:cubicBezTo>
                  <a:pt x="197849" y="478255"/>
                  <a:pt x="213178" y="460439"/>
                  <a:pt x="228507" y="464546"/>
                </a:cubicBezTo>
                <a:cubicBezTo>
                  <a:pt x="243835" y="468653"/>
                  <a:pt x="249504" y="449969"/>
                  <a:pt x="261593" y="458067"/>
                </a:cubicBezTo>
                <a:cubicBezTo>
                  <a:pt x="273683" y="466166"/>
                  <a:pt x="330313" y="470967"/>
                  <a:pt x="349633" y="481494"/>
                </a:cubicBezTo>
                <a:cubicBezTo>
                  <a:pt x="368952" y="492022"/>
                  <a:pt x="395908" y="494394"/>
                  <a:pt x="393305" y="509722"/>
                </a:cubicBezTo>
                <a:cubicBezTo>
                  <a:pt x="390702" y="525051"/>
                  <a:pt x="409443" y="536389"/>
                  <a:pt x="431251" y="546107"/>
                </a:cubicBezTo>
                <a:cubicBezTo>
                  <a:pt x="448292" y="553985"/>
                  <a:pt x="458380" y="571876"/>
                  <a:pt x="456298" y="590531"/>
                </a:cubicBezTo>
                <a:cubicBezTo>
                  <a:pt x="455488" y="604240"/>
                  <a:pt x="479435" y="613958"/>
                  <a:pt x="475675" y="620379"/>
                </a:cubicBezTo>
                <a:cubicBezTo>
                  <a:pt x="471916" y="626799"/>
                  <a:pt x="474865" y="635765"/>
                  <a:pt x="489384" y="648664"/>
                </a:cubicBezTo>
                <a:cubicBezTo>
                  <a:pt x="503903" y="661564"/>
                  <a:pt x="466767" y="671282"/>
                  <a:pt x="475675" y="682619"/>
                </a:cubicBezTo>
                <a:cubicBezTo>
                  <a:pt x="484583" y="693957"/>
                  <a:pt x="462718" y="715706"/>
                  <a:pt x="488574" y="719755"/>
                </a:cubicBezTo>
                <a:cubicBezTo>
                  <a:pt x="514431" y="723804"/>
                  <a:pt x="510382" y="701997"/>
                  <a:pt x="529817" y="701997"/>
                </a:cubicBezTo>
                <a:cubicBezTo>
                  <a:pt x="549253" y="701997"/>
                  <a:pt x="529008" y="718945"/>
                  <a:pt x="539478" y="729415"/>
                </a:cubicBezTo>
                <a:cubicBezTo>
                  <a:pt x="549947" y="739885"/>
                  <a:pt x="571755" y="737513"/>
                  <a:pt x="592000" y="754462"/>
                </a:cubicBezTo>
                <a:cubicBezTo>
                  <a:pt x="612246" y="771410"/>
                  <a:pt x="599231" y="779508"/>
                  <a:pt x="580431" y="766030"/>
                </a:cubicBezTo>
                <a:cubicBezTo>
                  <a:pt x="561632" y="752553"/>
                  <a:pt x="507721" y="755503"/>
                  <a:pt x="507721" y="760246"/>
                </a:cubicBezTo>
                <a:cubicBezTo>
                  <a:pt x="507721" y="764989"/>
                  <a:pt x="567532" y="799002"/>
                  <a:pt x="581241" y="794143"/>
                </a:cubicBezTo>
                <a:cubicBezTo>
                  <a:pt x="594950" y="789284"/>
                  <a:pt x="613518" y="814388"/>
                  <a:pt x="605478" y="822429"/>
                </a:cubicBezTo>
                <a:cubicBezTo>
                  <a:pt x="597437" y="830469"/>
                  <a:pt x="601429" y="850715"/>
                  <a:pt x="599693" y="860374"/>
                </a:cubicBezTo>
                <a:cubicBezTo>
                  <a:pt x="597958" y="870035"/>
                  <a:pt x="577886" y="860374"/>
                  <a:pt x="564987" y="861994"/>
                </a:cubicBezTo>
                <a:cubicBezTo>
                  <a:pt x="552088" y="863614"/>
                  <a:pt x="543179" y="867779"/>
                  <a:pt x="543179" y="881372"/>
                </a:cubicBezTo>
                <a:cubicBezTo>
                  <a:pt x="543179" y="894965"/>
                  <a:pt x="522992" y="904799"/>
                  <a:pt x="520562" y="921863"/>
                </a:cubicBezTo>
                <a:cubicBezTo>
                  <a:pt x="518133" y="938927"/>
                  <a:pt x="536701" y="938002"/>
                  <a:pt x="547171" y="945290"/>
                </a:cubicBezTo>
                <a:cubicBezTo>
                  <a:pt x="557641" y="952578"/>
                  <a:pt x="527851" y="957379"/>
                  <a:pt x="526231" y="969469"/>
                </a:cubicBezTo>
                <a:cubicBezTo>
                  <a:pt x="524612" y="981558"/>
                  <a:pt x="553649" y="1003423"/>
                  <a:pt x="564177" y="1009092"/>
                </a:cubicBezTo>
                <a:cubicBezTo>
                  <a:pt x="574705" y="1014761"/>
                  <a:pt x="564987" y="1042237"/>
                  <a:pt x="568978" y="1055946"/>
                </a:cubicBezTo>
                <a:cubicBezTo>
                  <a:pt x="572969" y="1069655"/>
                  <a:pt x="586794" y="1052707"/>
                  <a:pt x="585174" y="1070465"/>
                </a:cubicBezTo>
                <a:cubicBezTo>
                  <a:pt x="583555" y="1088223"/>
                  <a:pt x="598074" y="1087413"/>
                  <a:pt x="598884" y="1097941"/>
                </a:cubicBezTo>
                <a:cubicBezTo>
                  <a:pt x="599693" y="1108469"/>
                  <a:pt x="624740" y="1106791"/>
                  <a:pt x="619881" y="1121368"/>
                </a:cubicBezTo>
                <a:cubicBezTo>
                  <a:pt x="615022" y="1135945"/>
                  <a:pt x="627169" y="1146415"/>
                  <a:pt x="632838" y="1154455"/>
                </a:cubicBezTo>
                <a:cubicBezTo>
                  <a:pt x="638507" y="1162495"/>
                  <a:pt x="659447" y="1176262"/>
                  <a:pt x="663496" y="1186790"/>
                </a:cubicBezTo>
                <a:cubicBezTo>
                  <a:pt x="667545" y="1197318"/>
                  <a:pt x="679634" y="1210969"/>
                  <a:pt x="694211" y="1206978"/>
                </a:cubicBezTo>
                <a:cubicBezTo>
                  <a:pt x="708788" y="1202986"/>
                  <a:pt x="709540" y="1216637"/>
                  <a:pt x="720819" y="1215018"/>
                </a:cubicBezTo>
                <a:cubicBezTo>
                  <a:pt x="732099" y="1213398"/>
                  <a:pt x="749742" y="1219877"/>
                  <a:pt x="753154" y="1228785"/>
                </a:cubicBezTo>
                <a:cubicBezTo>
                  <a:pt x="756567" y="1237693"/>
                  <a:pt x="791100" y="1245733"/>
                  <a:pt x="800818" y="1247353"/>
                </a:cubicBezTo>
                <a:cubicBezTo>
                  <a:pt x="810536" y="1248973"/>
                  <a:pt x="812387" y="1231214"/>
                  <a:pt x="821006" y="1226355"/>
                </a:cubicBezTo>
                <a:cubicBezTo>
                  <a:pt x="829624" y="1221497"/>
                  <a:pt x="826790" y="1185864"/>
                  <a:pt x="834773" y="1183551"/>
                </a:cubicBezTo>
                <a:cubicBezTo>
                  <a:pt x="842755" y="1181237"/>
                  <a:pt x="840557" y="1143985"/>
                  <a:pt x="832285" y="1140746"/>
                </a:cubicBezTo>
                <a:cubicBezTo>
                  <a:pt x="824014" y="1137507"/>
                  <a:pt x="827426" y="1124549"/>
                  <a:pt x="846052" y="1126979"/>
                </a:cubicBezTo>
                <a:cubicBezTo>
                  <a:pt x="864678" y="1129408"/>
                  <a:pt x="858142" y="1110840"/>
                  <a:pt x="867050" y="1108411"/>
                </a:cubicBezTo>
                <a:cubicBezTo>
                  <a:pt x="875958" y="1105982"/>
                  <a:pt x="871909" y="1089033"/>
                  <a:pt x="878329" y="1087413"/>
                </a:cubicBezTo>
                <a:cubicBezTo>
                  <a:pt x="884750" y="1085794"/>
                  <a:pt x="884114" y="1074514"/>
                  <a:pt x="879139" y="1068035"/>
                </a:cubicBezTo>
                <a:cubicBezTo>
                  <a:pt x="874165" y="1061557"/>
                  <a:pt x="879949" y="1056756"/>
                  <a:pt x="889667" y="1055136"/>
                </a:cubicBezTo>
                <a:cubicBezTo>
                  <a:pt x="899385" y="1053517"/>
                  <a:pt x="896955" y="1039808"/>
                  <a:pt x="883882" y="1034949"/>
                </a:cubicBezTo>
                <a:cubicBezTo>
                  <a:pt x="870810" y="1030090"/>
                  <a:pt x="875032" y="1015571"/>
                  <a:pt x="887932" y="1024421"/>
                </a:cubicBezTo>
                <a:cubicBezTo>
                  <a:pt x="900831" y="1033271"/>
                  <a:pt x="910549" y="1026850"/>
                  <a:pt x="903260" y="1017190"/>
                </a:cubicBezTo>
                <a:cubicBezTo>
                  <a:pt x="895972" y="1007530"/>
                  <a:pt x="912168" y="1002614"/>
                  <a:pt x="929117" y="1000994"/>
                </a:cubicBezTo>
                <a:cubicBezTo>
                  <a:pt x="946065" y="999374"/>
                  <a:pt x="954973" y="990524"/>
                  <a:pt x="951734" y="977567"/>
                </a:cubicBezTo>
                <a:cubicBezTo>
                  <a:pt x="948494" y="964610"/>
                  <a:pt x="971748" y="964726"/>
                  <a:pt x="965963" y="976294"/>
                </a:cubicBezTo>
                <a:cubicBezTo>
                  <a:pt x="960179" y="987863"/>
                  <a:pt x="963534" y="998912"/>
                  <a:pt x="971748" y="990813"/>
                </a:cubicBezTo>
                <a:cubicBezTo>
                  <a:pt x="979962" y="982715"/>
                  <a:pt x="994886" y="988442"/>
                  <a:pt x="1022651" y="980344"/>
                </a:cubicBezTo>
                <a:cubicBezTo>
                  <a:pt x="1050416" y="972245"/>
                  <a:pt x="1076735" y="949686"/>
                  <a:pt x="1083214" y="927821"/>
                </a:cubicBezTo>
                <a:cubicBezTo>
                  <a:pt x="1089693" y="905956"/>
                  <a:pt x="1121160" y="908501"/>
                  <a:pt x="1117169" y="893924"/>
                </a:cubicBezTo>
                <a:cubicBezTo>
                  <a:pt x="1113177" y="879347"/>
                  <a:pt x="1122953" y="873737"/>
                  <a:pt x="1142967" y="883454"/>
                </a:cubicBezTo>
                <a:cubicBezTo>
                  <a:pt x="1162981" y="893172"/>
                  <a:pt x="1147016" y="876976"/>
                  <a:pt x="1169633" y="876976"/>
                </a:cubicBezTo>
                <a:cubicBezTo>
                  <a:pt x="1192250" y="876976"/>
                  <a:pt x="1188201" y="868878"/>
                  <a:pt x="1210124" y="868126"/>
                </a:cubicBezTo>
                <a:cubicBezTo>
                  <a:pt x="1232047" y="867374"/>
                  <a:pt x="1288503" y="857598"/>
                  <a:pt x="1307881" y="841459"/>
                </a:cubicBezTo>
                <a:cubicBezTo>
                  <a:pt x="1327259" y="825321"/>
                  <a:pt x="1368444" y="811554"/>
                  <a:pt x="1385392" y="800968"/>
                </a:cubicBezTo>
                <a:cubicBezTo>
                  <a:pt x="1402341" y="790383"/>
                  <a:pt x="1406448" y="781591"/>
                  <a:pt x="1395920" y="787259"/>
                </a:cubicBezTo>
                <a:cubicBezTo>
                  <a:pt x="1385392" y="792928"/>
                  <a:pt x="1363585" y="793680"/>
                  <a:pt x="1347447" y="789689"/>
                </a:cubicBezTo>
                <a:cubicBezTo>
                  <a:pt x="1331308" y="785697"/>
                  <a:pt x="1305452" y="771873"/>
                  <a:pt x="1286883" y="782400"/>
                </a:cubicBezTo>
                <a:cubicBezTo>
                  <a:pt x="1268316" y="792928"/>
                  <a:pt x="1279595" y="767072"/>
                  <a:pt x="1294924" y="764642"/>
                </a:cubicBezTo>
                <a:cubicBezTo>
                  <a:pt x="1310253" y="762213"/>
                  <a:pt x="1303832" y="754924"/>
                  <a:pt x="1299841" y="738786"/>
                </a:cubicBezTo>
                <a:cubicBezTo>
                  <a:pt x="1295850" y="722647"/>
                  <a:pt x="1325639" y="733001"/>
                  <a:pt x="1338538" y="751685"/>
                </a:cubicBezTo>
                <a:cubicBezTo>
                  <a:pt x="1352248" y="770323"/>
                  <a:pt x="1376149" y="778392"/>
                  <a:pt x="1398350" y="771873"/>
                </a:cubicBezTo>
                <a:cubicBezTo>
                  <a:pt x="1420157" y="765452"/>
                  <a:pt x="1399159" y="747694"/>
                  <a:pt x="1408009" y="735547"/>
                </a:cubicBezTo>
                <a:cubicBezTo>
                  <a:pt x="1416860" y="723399"/>
                  <a:pt x="1341026" y="685511"/>
                  <a:pt x="1336919" y="672554"/>
                </a:cubicBezTo>
                <a:cubicBezTo>
                  <a:pt x="1332812" y="659597"/>
                  <a:pt x="1356297" y="668505"/>
                  <a:pt x="1377410" y="677413"/>
                </a:cubicBezTo>
                <a:cubicBezTo>
                  <a:pt x="1398523" y="686321"/>
                  <a:pt x="1403266" y="660465"/>
                  <a:pt x="1403266" y="649127"/>
                </a:cubicBezTo>
                <a:cubicBezTo>
                  <a:pt x="1403266" y="637790"/>
                  <a:pt x="1358032" y="637038"/>
                  <a:pt x="1337787" y="648317"/>
                </a:cubicBezTo>
                <a:cubicBezTo>
                  <a:pt x="1317541" y="659597"/>
                  <a:pt x="1298221" y="633798"/>
                  <a:pt x="1325697" y="630559"/>
                </a:cubicBezTo>
                <a:cubicBezTo>
                  <a:pt x="1353173" y="627320"/>
                  <a:pt x="1328126" y="615982"/>
                  <a:pt x="1336225" y="607942"/>
                </a:cubicBezTo>
                <a:cubicBezTo>
                  <a:pt x="1344323" y="599902"/>
                  <a:pt x="1378972" y="631369"/>
                  <a:pt x="1396788" y="625700"/>
                </a:cubicBezTo>
                <a:cubicBezTo>
                  <a:pt x="1414604" y="620032"/>
                  <a:pt x="1427445" y="626510"/>
                  <a:pt x="1443063" y="614421"/>
                </a:cubicBezTo>
                <a:cubicBezTo>
                  <a:pt x="1458681" y="602331"/>
                  <a:pt x="1415587" y="590994"/>
                  <a:pt x="1406737" y="580466"/>
                </a:cubicBezTo>
                <a:cubicBezTo>
                  <a:pt x="1397887" y="569938"/>
                  <a:pt x="1451103" y="574045"/>
                  <a:pt x="1467300" y="574682"/>
                </a:cubicBezTo>
                <a:cubicBezTo>
                  <a:pt x="1483496" y="575318"/>
                  <a:pt x="1487487" y="551544"/>
                  <a:pt x="1474530" y="556114"/>
                </a:cubicBezTo>
                <a:cubicBezTo>
                  <a:pt x="1461573" y="560683"/>
                  <a:pt x="1415587" y="539975"/>
                  <a:pt x="1425305" y="525456"/>
                </a:cubicBezTo>
                <a:cubicBezTo>
                  <a:pt x="1435023" y="510937"/>
                  <a:pt x="1452723" y="527886"/>
                  <a:pt x="1472911" y="517358"/>
                </a:cubicBezTo>
                <a:cubicBezTo>
                  <a:pt x="1493098" y="506830"/>
                  <a:pt x="1474530" y="467323"/>
                  <a:pt x="1460011" y="467323"/>
                </a:cubicBezTo>
                <a:cubicBezTo>
                  <a:pt x="1445493" y="467323"/>
                  <a:pt x="1411538" y="462464"/>
                  <a:pt x="1411538" y="455175"/>
                </a:cubicBezTo>
                <a:cubicBezTo>
                  <a:pt x="1411538" y="447887"/>
                  <a:pt x="1383310" y="441466"/>
                  <a:pt x="1391350" y="434178"/>
                </a:cubicBezTo>
                <a:cubicBezTo>
                  <a:pt x="1399391" y="426889"/>
                  <a:pt x="1409976" y="443086"/>
                  <a:pt x="1428544" y="429319"/>
                </a:cubicBezTo>
                <a:cubicBezTo>
                  <a:pt x="1447112" y="415552"/>
                  <a:pt x="1485868" y="432558"/>
                  <a:pt x="1502816" y="429319"/>
                </a:cubicBezTo>
                <a:cubicBezTo>
                  <a:pt x="1519765" y="426080"/>
                  <a:pt x="1495586" y="394612"/>
                  <a:pt x="1485868" y="400397"/>
                </a:cubicBezTo>
                <a:cubicBezTo>
                  <a:pt x="1476150" y="406181"/>
                  <a:pt x="1443063" y="407627"/>
                  <a:pt x="1440634" y="390679"/>
                </a:cubicBezTo>
                <a:cubicBezTo>
                  <a:pt x="1438204" y="373731"/>
                  <a:pt x="1472101" y="390679"/>
                  <a:pt x="1477770" y="382638"/>
                </a:cubicBezTo>
                <a:cubicBezTo>
                  <a:pt x="1483439" y="374598"/>
                  <a:pt x="1430916" y="353716"/>
                  <a:pt x="1422875" y="370491"/>
                </a:cubicBezTo>
                <a:cubicBezTo>
                  <a:pt x="1414835" y="387266"/>
                  <a:pt x="1385682" y="381771"/>
                  <a:pt x="1401068" y="372111"/>
                </a:cubicBezTo>
                <a:cubicBezTo>
                  <a:pt x="1416455" y="362451"/>
                  <a:pt x="1419636" y="334917"/>
                  <a:pt x="1418017" y="321208"/>
                </a:cubicBezTo>
                <a:cubicBezTo>
                  <a:pt x="1416397" y="307499"/>
                  <a:pt x="1472969" y="306689"/>
                  <a:pt x="1466490" y="284072"/>
                </a:cubicBezTo>
                <a:cubicBezTo>
                  <a:pt x="1460011" y="261455"/>
                  <a:pt x="1493098" y="256596"/>
                  <a:pt x="1511724" y="256596"/>
                </a:cubicBezTo>
                <a:cubicBezTo>
                  <a:pt x="1530350" y="256596"/>
                  <a:pt x="1510915" y="232417"/>
                  <a:pt x="1493098" y="234788"/>
                </a:cubicBezTo>
                <a:cubicBezTo>
                  <a:pt x="1475282" y="237160"/>
                  <a:pt x="1456772" y="257406"/>
                  <a:pt x="1447922" y="249307"/>
                </a:cubicBezTo>
                <a:cubicBezTo>
                  <a:pt x="1439072" y="241209"/>
                  <a:pt x="1468862" y="226690"/>
                  <a:pt x="1485058" y="226690"/>
                </a:cubicBezTo>
                <a:cubicBezTo>
                  <a:pt x="1501254" y="226690"/>
                  <a:pt x="1539952" y="225071"/>
                  <a:pt x="1553719" y="217030"/>
                </a:cubicBezTo>
                <a:cubicBezTo>
                  <a:pt x="1567486" y="208990"/>
                  <a:pt x="1529482" y="201644"/>
                  <a:pt x="1503626" y="204883"/>
                </a:cubicBezTo>
                <a:cubicBezTo>
                  <a:pt x="1477770" y="208122"/>
                  <a:pt x="1477770" y="196843"/>
                  <a:pt x="1516583" y="196033"/>
                </a:cubicBezTo>
                <a:cubicBezTo>
                  <a:pt x="1555397" y="195223"/>
                  <a:pt x="1548860" y="187125"/>
                  <a:pt x="1576336" y="183885"/>
                </a:cubicBezTo>
                <a:cubicBezTo>
                  <a:pt x="1603813" y="180646"/>
                  <a:pt x="1594904" y="169367"/>
                  <a:pt x="1611853" y="168557"/>
                </a:cubicBezTo>
                <a:cubicBezTo>
                  <a:pt x="1628801" y="167747"/>
                  <a:pt x="1673226" y="149179"/>
                  <a:pt x="1673226" y="140271"/>
                </a:cubicBezTo>
                <a:cubicBezTo>
                  <a:pt x="1673226" y="131363"/>
                  <a:pt x="1608729" y="113663"/>
                  <a:pt x="1579113" y="113663"/>
                </a:cubicBezTo>
                <a:close/>
                <a:moveTo>
                  <a:pt x="572622" y="817107"/>
                </a:moveTo>
                <a:cubicBezTo>
                  <a:pt x="573432" y="804208"/>
                  <a:pt x="558913" y="812306"/>
                  <a:pt x="550815" y="796919"/>
                </a:cubicBezTo>
                <a:cubicBezTo>
                  <a:pt x="542717" y="781533"/>
                  <a:pt x="501532" y="775286"/>
                  <a:pt x="497541" y="787259"/>
                </a:cubicBezTo>
                <a:cubicBezTo>
                  <a:pt x="495921" y="792118"/>
                  <a:pt x="482964" y="799349"/>
                  <a:pt x="493491" y="810686"/>
                </a:cubicBezTo>
                <a:cubicBezTo>
                  <a:pt x="504019" y="822024"/>
                  <a:pt x="511250" y="817107"/>
                  <a:pt x="523397" y="828444"/>
                </a:cubicBezTo>
                <a:cubicBezTo>
                  <a:pt x="535544" y="839782"/>
                  <a:pt x="571639" y="830064"/>
                  <a:pt x="572622" y="817107"/>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5" name="Forma libre: forma 194">
            <a:extLst>
              <a:ext uri="{FF2B5EF4-FFF2-40B4-BE49-F238E27FC236}">
                <a16:creationId xmlns:a16="http://schemas.microsoft.com/office/drawing/2014/main" id="{2158A903-A392-F394-460A-5113C13F14E2}"/>
              </a:ext>
            </a:extLst>
          </p:cNvPr>
          <p:cNvSpPr/>
          <p:nvPr/>
        </p:nvSpPr>
        <p:spPr>
          <a:xfrm>
            <a:off x="1568165" y="2079137"/>
            <a:ext cx="2774326" cy="1878994"/>
          </a:xfrm>
          <a:custGeom>
            <a:avLst/>
            <a:gdLst>
              <a:gd name="connsiteX0" fmla="*/ 1039236 w 2774326"/>
              <a:gd name="connsiteY0" fmla="*/ 689528 h 1878994"/>
              <a:gd name="connsiteX1" fmla="*/ 1013379 w 2774326"/>
              <a:gd name="connsiteY1" fmla="*/ 660606 h 1878994"/>
              <a:gd name="connsiteX2" fmla="*/ 964964 w 2774326"/>
              <a:gd name="connsiteY2" fmla="*/ 603224 h 1878994"/>
              <a:gd name="connsiteX3" fmla="*/ 905962 w 2774326"/>
              <a:gd name="connsiteY3" fmla="*/ 536241 h 1878994"/>
              <a:gd name="connsiteX4" fmla="*/ 869116 w 2774326"/>
              <a:gd name="connsiteY4" fmla="*/ 534563 h 1878994"/>
              <a:gd name="connsiteX5" fmla="*/ 844069 w 2774326"/>
              <a:gd name="connsiteY5" fmla="*/ 553941 h 1878994"/>
              <a:gd name="connsiteX6" fmla="*/ 823072 w 2774326"/>
              <a:gd name="connsiteY6" fmla="*/ 540232 h 1878994"/>
              <a:gd name="connsiteX7" fmla="*/ 795595 w 2774326"/>
              <a:gd name="connsiteY7" fmla="*/ 512756 h 1878994"/>
              <a:gd name="connsiteX8" fmla="*/ 777028 w 2774326"/>
              <a:gd name="connsiteY8" fmla="*/ 499047 h 1878994"/>
              <a:gd name="connsiteX9" fmla="*/ 751981 w 2774326"/>
              <a:gd name="connsiteY9" fmla="*/ 503848 h 1878994"/>
              <a:gd name="connsiteX10" fmla="*/ 737462 w 2774326"/>
              <a:gd name="connsiteY10" fmla="*/ 500898 h 1878994"/>
              <a:gd name="connsiteX11" fmla="*/ 737462 w 2774326"/>
              <a:gd name="connsiteY11" fmla="*/ 82105 h 1878994"/>
              <a:gd name="connsiteX12" fmla="*/ 724910 w 2774326"/>
              <a:gd name="connsiteY12" fmla="*/ 79502 h 1878994"/>
              <a:gd name="connsiteX13" fmla="*/ 667413 w 2774326"/>
              <a:gd name="connsiteY13" fmla="*/ 63768 h 1878994"/>
              <a:gd name="connsiteX14" fmla="*/ 615931 w 2774326"/>
              <a:gd name="connsiteY14" fmla="*/ 65562 h 1878994"/>
              <a:gd name="connsiteX15" fmla="*/ 572895 w 2774326"/>
              <a:gd name="connsiteY15" fmla="*/ 59488 h 1878994"/>
              <a:gd name="connsiteX16" fmla="*/ 514762 w 2774326"/>
              <a:gd name="connsiteY16" fmla="*/ 42539 h 1878994"/>
              <a:gd name="connsiteX17" fmla="*/ 445348 w 2774326"/>
              <a:gd name="connsiteY17" fmla="*/ 47398 h 1878994"/>
              <a:gd name="connsiteX18" fmla="*/ 427995 w 2774326"/>
              <a:gd name="connsiteY18" fmla="*/ 39532 h 1878994"/>
              <a:gd name="connsiteX19" fmla="*/ 419492 w 2774326"/>
              <a:gd name="connsiteY19" fmla="*/ 25591 h 1878994"/>
              <a:gd name="connsiteX20" fmla="*/ 372233 w 2774326"/>
              <a:gd name="connsiteY20" fmla="*/ 26169 h 1878994"/>
              <a:gd name="connsiteX21" fmla="*/ 358929 w 2774326"/>
              <a:gd name="connsiteY21" fmla="*/ 15295 h 1878994"/>
              <a:gd name="connsiteX22" fmla="*/ 344989 w 2774326"/>
              <a:gd name="connsiteY22" fmla="*/ 18939 h 1878994"/>
              <a:gd name="connsiteX23" fmla="*/ 323881 w 2774326"/>
              <a:gd name="connsiteY23" fmla="*/ 22670 h 1878994"/>
              <a:gd name="connsiteX24" fmla="*/ 323760 w 2774326"/>
              <a:gd name="connsiteY24" fmla="*/ 22583 h 1878994"/>
              <a:gd name="connsiteX25" fmla="*/ 334692 w 2774326"/>
              <a:gd name="connsiteY25" fmla="*/ 10436 h 1878994"/>
              <a:gd name="connsiteX26" fmla="*/ 312885 w 2774326"/>
              <a:gd name="connsiteY26" fmla="*/ 140 h 1878994"/>
              <a:gd name="connsiteX27" fmla="*/ 284426 w 2774326"/>
              <a:gd name="connsiteY27" fmla="*/ 17493 h 1878994"/>
              <a:gd name="connsiteX28" fmla="*/ 241389 w 2774326"/>
              <a:gd name="connsiteY28" fmla="*/ 26574 h 1878994"/>
              <a:gd name="connsiteX29" fmla="*/ 215938 w 2774326"/>
              <a:gd name="connsiteY29" fmla="*/ 34441 h 1878994"/>
              <a:gd name="connsiteX30" fmla="*/ 222012 w 2774326"/>
              <a:gd name="connsiteY30" fmla="*/ 48960 h 1878994"/>
              <a:gd name="connsiteX31" fmla="*/ 201997 w 2774326"/>
              <a:gd name="connsiteY31" fmla="*/ 46589 h 1878994"/>
              <a:gd name="connsiteX32" fmla="*/ 162027 w 2774326"/>
              <a:gd name="connsiteY32" fmla="*/ 53819 h 1878994"/>
              <a:gd name="connsiteX33" fmla="*/ 129924 w 2774326"/>
              <a:gd name="connsiteY33" fmla="*/ 80485 h 1878994"/>
              <a:gd name="connsiteX34" fmla="*/ 118355 w 2774326"/>
              <a:gd name="connsiteY34" fmla="*/ 109407 h 1878994"/>
              <a:gd name="connsiteX35" fmla="*/ 48594 w 2774326"/>
              <a:gd name="connsiteY35" fmla="*/ 123869 h 1878994"/>
              <a:gd name="connsiteX36" fmla="*/ 41364 w 2774326"/>
              <a:gd name="connsiteY36" fmla="*/ 140817 h 1878994"/>
              <a:gd name="connsiteX37" fmla="*/ 71616 w 2774326"/>
              <a:gd name="connsiteY37" fmla="*/ 160195 h 1878994"/>
              <a:gd name="connsiteX38" fmla="*/ 116446 w 2774326"/>
              <a:gd name="connsiteY38" fmla="*/ 207454 h 1878994"/>
              <a:gd name="connsiteX39" fmla="*/ 162721 w 2774326"/>
              <a:gd name="connsiteY39" fmla="*/ 208668 h 1878994"/>
              <a:gd name="connsiteX40" fmla="*/ 171803 w 2774326"/>
              <a:gd name="connsiteY40" fmla="*/ 232269 h 1878994"/>
              <a:gd name="connsiteX41" fmla="*/ 200725 w 2774326"/>
              <a:gd name="connsiteY41" fmla="*/ 238053 h 1878994"/>
              <a:gd name="connsiteX42" fmla="*/ 168043 w 2774326"/>
              <a:gd name="connsiteY42" fmla="*/ 247135 h 1878994"/>
              <a:gd name="connsiteX43" fmla="*/ 144905 w 2774326"/>
              <a:gd name="connsiteY43" fmla="*/ 253787 h 1878994"/>
              <a:gd name="connsiteX44" fmla="*/ 109794 w 2774326"/>
              <a:gd name="connsiteY44" fmla="*/ 252630 h 1878994"/>
              <a:gd name="connsiteX45" fmla="*/ 109794 w 2774326"/>
              <a:gd name="connsiteY45" fmla="*/ 233831 h 1878994"/>
              <a:gd name="connsiteX46" fmla="*/ 75897 w 2774326"/>
              <a:gd name="connsiteY46" fmla="*/ 235045 h 1878994"/>
              <a:gd name="connsiteX47" fmla="*/ 60742 w 2774326"/>
              <a:gd name="connsiteY47" fmla="*/ 251357 h 1878994"/>
              <a:gd name="connsiteX48" fmla="*/ 37083 w 2774326"/>
              <a:gd name="connsiteY48" fmla="*/ 253787 h 1878994"/>
              <a:gd name="connsiteX49" fmla="*/ 179 w 2774326"/>
              <a:gd name="connsiteY49" fmla="*/ 274958 h 1878994"/>
              <a:gd name="connsiteX50" fmla="*/ 39513 w 2774326"/>
              <a:gd name="connsiteY50" fmla="*/ 290749 h 1878994"/>
              <a:gd name="connsiteX51" fmla="*/ 34654 w 2774326"/>
              <a:gd name="connsiteY51" fmla="*/ 304053 h 1878994"/>
              <a:gd name="connsiteX52" fmla="*/ 55304 w 2774326"/>
              <a:gd name="connsiteY52" fmla="*/ 324068 h 1878994"/>
              <a:gd name="connsiteX53" fmla="*/ 113438 w 2774326"/>
              <a:gd name="connsiteY53" fmla="*/ 324068 h 1878994"/>
              <a:gd name="connsiteX54" fmla="*/ 138253 w 2774326"/>
              <a:gd name="connsiteY54" fmla="*/ 327076 h 1878994"/>
              <a:gd name="connsiteX55" fmla="*/ 186727 w 2774326"/>
              <a:gd name="connsiteY55" fmla="*/ 310127 h 1878994"/>
              <a:gd name="connsiteX56" fmla="*/ 178860 w 2774326"/>
              <a:gd name="connsiteY56" fmla="*/ 328927 h 1878994"/>
              <a:gd name="connsiteX57" fmla="*/ 181868 w 2774326"/>
              <a:gd name="connsiteY57" fmla="*/ 365253 h 1878994"/>
              <a:gd name="connsiteX58" fmla="*/ 148549 w 2774326"/>
              <a:gd name="connsiteY58" fmla="*/ 367682 h 1878994"/>
              <a:gd name="connsiteX59" fmla="*/ 134030 w 2774326"/>
              <a:gd name="connsiteY59" fmla="*/ 390068 h 1878994"/>
              <a:gd name="connsiteX60" fmla="*/ 99324 w 2774326"/>
              <a:gd name="connsiteY60" fmla="*/ 380408 h 1878994"/>
              <a:gd name="connsiteX61" fmla="*/ 88391 w 2774326"/>
              <a:gd name="connsiteY61" fmla="*/ 408289 h 1878994"/>
              <a:gd name="connsiteX62" fmla="*/ 61147 w 2774326"/>
              <a:gd name="connsiteY62" fmla="*/ 428245 h 1878994"/>
              <a:gd name="connsiteX63" fmla="*/ 47842 w 2774326"/>
              <a:gd name="connsiteY63" fmla="*/ 452482 h 1878994"/>
              <a:gd name="connsiteX64" fmla="*/ 72658 w 2774326"/>
              <a:gd name="connsiteY64" fmla="*/ 468852 h 1878994"/>
              <a:gd name="connsiteX65" fmla="*/ 71443 w 2774326"/>
              <a:gd name="connsiteY65" fmla="*/ 494882 h 1878994"/>
              <a:gd name="connsiteX66" fmla="*/ 105398 w 2774326"/>
              <a:gd name="connsiteY66" fmla="*/ 526985 h 1878994"/>
              <a:gd name="connsiteX67" fmla="*/ 137501 w 2774326"/>
              <a:gd name="connsiteY67" fmla="*/ 522184 h 1878994"/>
              <a:gd name="connsiteX68" fmla="*/ 151442 w 2774326"/>
              <a:gd name="connsiteY68" fmla="*/ 510615 h 1878994"/>
              <a:gd name="connsiteX69" fmla="*/ 162316 w 2774326"/>
              <a:gd name="connsiteY69" fmla="*/ 541447 h 1878994"/>
              <a:gd name="connsiteX70" fmla="*/ 159887 w 2774326"/>
              <a:gd name="connsiteY70" fmla="*/ 568749 h 1878994"/>
              <a:gd name="connsiteX71" fmla="*/ 189619 w 2774326"/>
              <a:gd name="connsiteY71" fmla="*/ 565105 h 1878994"/>
              <a:gd name="connsiteX72" fmla="*/ 227160 w 2774326"/>
              <a:gd name="connsiteY72" fmla="*/ 568113 h 1878994"/>
              <a:gd name="connsiteX73" fmla="*/ 244108 w 2774326"/>
              <a:gd name="connsiteY73" fmla="*/ 573897 h 1878994"/>
              <a:gd name="connsiteX74" fmla="*/ 255677 w 2774326"/>
              <a:gd name="connsiteY74" fmla="*/ 559957 h 1878994"/>
              <a:gd name="connsiteX75" fmla="*/ 285351 w 2774326"/>
              <a:gd name="connsiteY75" fmla="*/ 562965 h 1878994"/>
              <a:gd name="connsiteX76" fmla="*/ 285987 w 2774326"/>
              <a:gd name="connsiteY76" fmla="*/ 575690 h 1878994"/>
              <a:gd name="connsiteX77" fmla="*/ 276270 w 2774326"/>
              <a:gd name="connsiteY77" fmla="*/ 619305 h 1878994"/>
              <a:gd name="connsiteX78" fmla="*/ 242951 w 2774326"/>
              <a:gd name="connsiteY78" fmla="*/ 648227 h 1878994"/>
              <a:gd name="connsiteX79" fmla="*/ 196676 w 2774326"/>
              <a:gd name="connsiteY79" fmla="*/ 684611 h 1878994"/>
              <a:gd name="connsiteX80" fmla="*/ 154276 w 2774326"/>
              <a:gd name="connsiteY80" fmla="*/ 688776 h 1878994"/>
              <a:gd name="connsiteX81" fmla="*/ 134262 w 2774326"/>
              <a:gd name="connsiteY81" fmla="*/ 718508 h 1878994"/>
              <a:gd name="connsiteX82" fmla="*/ 167002 w 2774326"/>
              <a:gd name="connsiteY82" fmla="*/ 701155 h 1878994"/>
              <a:gd name="connsiteX83" fmla="*/ 176662 w 2774326"/>
              <a:gd name="connsiteY83" fmla="*/ 700576 h 1878994"/>
              <a:gd name="connsiteX84" fmla="*/ 199105 w 2774326"/>
              <a:gd name="connsiteY84" fmla="*/ 693288 h 1878994"/>
              <a:gd name="connsiteX85" fmla="*/ 219119 w 2774326"/>
              <a:gd name="connsiteY85" fmla="*/ 690858 h 1878994"/>
              <a:gd name="connsiteX86" fmla="*/ 243356 w 2774326"/>
              <a:gd name="connsiteY86" fmla="*/ 681140 h 1878994"/>
              <a:gd name="connsiteX87" fmla="*/ 259668 w 2774326"/>
              <a:gd name="connsiteY87" fmla="*/ 664828 h 1878994"/>
              <a:gd name="connsiteX88" fmla="*/ 309356 w 2774326"/>
              <a:gd name="connsiteY88" fmla="*/ 636311 h 1878994"/>
              <a:gd name="connsiteX89" fmla="*/ 320289 w 2774326"/>
              <a:gd name="connsiteY89" fmla="*/ 621792 h 1878994"/>
              <a:gd name="connsiteX90" fmla="*/ 350542 w 2774326"/>
              <a:gd name="connsiteY90" fmla="*/ 602993 h 1878994"/>
              <a:gd name="connsiteX91" fmla="*/ 371134 w 2774326"/>
              <a:gd name="connsiteY91" fmla="*/ 595126 h 1878994"/>
              <a:gd name="connsiteX92" fmla="*/ 380852 w 2774326"/>
              <a:gd name="connsiteY92" fmla="*/ 575112 h 1878994"/>
              <a:gd name="connsiteX93" fmla="*/ 394792 w 2774326"/>
              <a:gd name="connsiteY93" fmla="*/ 561171 h 1878994"/>
              <a:gd name="connsiteX94" fmla="*/ 372985 w 2774326"/>
              <a:gd name="connsiteY94" fmla="*/ 550297 h 1878994"/>
              <a:gd name="connsiteX95" fmla="*/ 395371 w 2774326"/>
              <a:gd name="connsiteY95" fmla="*/ 530919 h 1878994"/>
              <a:gd name="connsiteX96" fmla="*/ 413534 w 2774326"/>
              <a:gd name="connsiteY96" fmla="*/ 514549 h 1878994"/>
              <a:gd name="connsiteX97" fmla="*/ 431697 w 2774326"/>
              <a:gd name="connsiteY97" fmla="*/ 494593 h 1878994"/>
              <a:gd name="connsiteX98" fmla="*/ 445638 w 2774326"/>
              <a:gd name="connsiteY98" fmla="*/ 478223 h 1878994"/>
              <a:gd name="connsiteX99" fmla="*/ 469296 w 2774326"/>
              <a:gd name="connsiteY99" fmla="*/ 461853 h 1878994"/>
              <a:gd name="connsiteX100" fmla="*/ 485666 w 2774326"/>
              <a:gd name="connsiteY100" fmla="*/ 468563 h 1878994"/>
              <a:gd name="connsiteX101" fmla="*/ 486244 w 2774326"/>
              <a:gd name="connsiteY101" fmla="*/ 478801 h 1878994"/>
              <a:gd name="connsiteX102" fmla="*/ 457785 w 2774326"/>
              <a:gd name="connsiteY102" fmla="*/ 484585 h 1878994"/>
              <a:gd name="connsiteX103" fmla="*/ 446852 w 2774326"/>
              <a:gd name="connsiteY103" fmla="*/ 509401 h 1878994"/>
              <a:gd name="connsiteX104" fmla="*/ 448703 w 2774326"/>
              <a:gd name="connsiteY104" fmla="*/ 529415 h 1878994"/>
              <a:gd name="connsiteX105" fmla="*/ 438986 w 2774326"/>
              <a:gd name="connsiteY105" fmla="*/ 541504 h 1878994"/>
              <a:gd name="connsiteX106" fmla="*/ 449860 w 2774326"/>
              <a:gd name="connsiteY106" fmla="*/ 550586 h 1878994"/>
              <a:gd name="connsiteX107" fmla="*/ 503771 w 2774326"/>
              <a:gd name="connsiteY107" fmla="*/ 520912 h 1878994"/>
              <a:gd name="connsiteX108" fmla="*/ 543163 w 2774326"/>
              <a:gd name="connsiteY108" fmla="*/ 519119 h 1878994"/>
              <a:gd name="connsiteX109" fmla="*/ 543799 w 2774326"/>
              <a:gd name="connsiteY109" fmla="*/ 505178 h 1878994"/>
              <a:gd name="connsiteX110" fmla="*/ 531652 w 2774326"/>
              <a:gd name="connsiteY110" fmla="*/ 488808 h 1878994"/>
              <a:gd name="connsiteX111" fmla="*/ 540791 w 2774326"/>
              <a:gd name="connsiteY111" fmla="*/ 475504 h 1878994"/>
              <a:gd name="connsiteX112" fmla="*/ 555889 w 2774326"/>
              <a:gd name="connsiteY112" fmla="*/ 474289 h 1878994"/>
              <a:gd name="connsiteX113" fmla="*/ 575903 w 2774326"/>
              <a:gd name="connsiteY113" fmla="*/ 481520 h 1878994"/>
              <a:gd name="connsiteX114" fmla="*/ 597074 w 2774326"/>
              <a:gd name="connsiteY114" fmla="*/ 486379 h 1878994"/>
              <a:gd name="connsiteX115" fmla="*/ 584985 w 2774326"/>
              <a:gd name="connsiteY115" fmla="*/ 495460 h 1878994"/>
              <a:gd name="connsiteX116" fmla="*/ 587992 w 2774326"/>
              <a:gd name="connsiteY116" fmla="*/ 505178 h 1878994"/>
              <a:gd name="connsiteX117" fmla="*/ 609800 w 2774326"/>
              <a:gd name="connsiteY117" fmla="*/ 500955 h 1878994"/>
              <a:gd name="connsiteX118" fmla="*/ 626170 w 2774326"/>
              <a:gd name="connsiteY118" fmla="*/ 498468 h 1878994"/>
              <a:gd name="connsiteX119" fmla="*/ 632243 w 2774326"/>
              <a:gd name="connsiteY119" fmla="*/ 503963 h 1878994"/>
              <a:gd name="connsiteX120" fmla="*/ 663132 w 2774326"/>
              <a:gd name="connsiteY120" fmla="*/ 513623 h 1878994"/>
              <a:gd name="connsiteX121" fmla="*/ 722480 w 2774326"/>
              <a:gd name="connsiteY121" fmla="*/ 511830 h 1878994"/>
              <a:gd name="connsiteX122" fmla="*/ 746717 w 2774326"/>
              <a:gd name="connsiteY122" fmla="*/ 528200 h 1878994"/>
              <a:gd name="connsiteX123" fmla="*/ 780035 w 2774326"/>
              <a:gd name="connsiteY123" fmla="*/ 517268 h 1878994"/>
              <a:gd name="connsiteX124" fmla="*/ 774598 w 2774326"/>
              <a:gd name="connsiteY124" fmla="*/ 534216 h 1878994"/>
              <a:gd name="connsiteX125" fmla="*/ 787902 w 2774326"/>
              <a:gd name="connsiteY125" fmla="*/ 543934 h 1878994"/>
              <a:gd name="connsiteX126" fmla="*/ 820006 w 2774326"/>
              <a:gd name="connsiteY126" fmla="*/ 559667 h 1878994"/>
              <a:gd name="connsiteX127" fmla="*/ 852109 w 2774326"/>
              <a:gd name="connsiteY127" fmla="*/ 585697 h 1878994"/>
              <a:gd name="connsiteX128" fmla="*/ 867901 w 2774326"/>
              <a:gd name="connsiteY128" fmla="*/ 572393 h 1878994"/>
              <a:gd name="connsiteX129" fmla="*/ 889708 w 2774326"/>
              <a:gd name="connsiteY129" fmla="*/ 583962 h 1878994"/>
              <a:gd name="connsiteX130" fmla="*/ 892080 w 2774326"/>
              <a:gd name="connsiteY130" fmla="*/ 560824 h 1878994"/>
              <a:gd name="connsiteX131" fmla="*/ 903012 w 2774326"/>
              <a:gd name="connsiteY131" fmla="*/ 563254 h 1878994"/>
              <a:gd name="connsiteX132" fmla="*/ 904806 w 2774326"/>
              <a:gd name="connsiteY132" fmla="*/ 599002 h 1878994"/>
              <a:gd name="connsiteX133" fmla="*/ 884849 w 2774326"/>
              <a:gd name="connsiteY133" fmla="*/ 594779 h 1878994"/>
              <a:gd name="connsiteX134" fmla="*/ 866050 w 2774326"/>
              <a:gd name="connsiteY134" fmla="*/ 599580 h 1878994"/>
              <a:gd name="connsiteX135" fmla="*/ 888493 w 2774326"/>
              <a:gd name="connsiteY135" fmla="*/ 626246 h 1878994"/>
              <a:gd name="connsiteX136" fmla="*/ 896939 w 2774326"/>
              <a:gd name="connsiteY136" fmla="*/ 645046 h 1878994"/>
              <a:gd name="connsiteX137" fmla="*/ 909665 w 2774326"/>
              <a:gd name="connsiteY137" fmla="*/ 660779 h 1878994"/>
              <a:gd name="connsiteX138" fmla="*/ 907235 w 2774326"/>
              <a:gd name="connsiteY138" fmla="*/ 631105 h 1878994"/>
              <a:gd name="connsiteX139" fmla="*/ 911515 w 2774326"/>
              <a:gd name="connsiteY139" fmla="*/ 612942 h 1878994"/>
              <a:gd name="connsiteX140" fmla="*/ 915102 w 2774326"/>
              <a:gd name="connsiteY140" fmla="*/ 632320 h 1878994"/>
              <a:gd name="connsiteX141" fmla="*/ 931472 w 2774326"/>
              <a:gd name="connsiteY141" fmla="*/ 623238 h 1878994"/>
              <a:gd name="connsiteX142" fmla="*/ 930893 w 2774326"/>
              <a:gd name="connsiteY142" fmla="*/ 597151 h 1878994"/>
              <a:gd name="connsiteX143" fmla="*/ 947205 w 2774326"/>
              <a:gd name="connsiteY143" fmla="*/ 615950 h 1878994"/>
              <a:gd name="connsiteX144" fmla="*/ 938124 w 2774326"/>
              <a:gd name="connsiteY144" fmla="*/ 634749 h 1878994"/>
              <a:gd name="connsiteX145" fmla="*/ 922969 w 2774326"/>
              <a:gd name="connsiteY145" fmla="*/ 642038 h 1878994"/>
              <a:gd name="connsiteX146" fmla="*/ 926034 w 2774326"/>
              <a:gd name="connsiteY146" fmla="*/ 670497 h 1878994"/>
              <a:gd name="connsiteX147" fmla="*/ 936909 w 2774326"/>
              <a:gd name="connsiteY147" fmla="*/ 660779 h 1878994"/>
              <a:gd name="connsiteX148" fmla="*/ 954262 w 2774326"/>
              <a:gd name="connsiteY148" fmla="*/ 657135 h 1878994"/>
              <a:gd name="connsiteX149" fmla="*/ 977400 w 2774326"/>
              <a:gd name="connsiteY149" fmla="*/ 675298 h 1878994"/>
              <a:gd name="connsiteX150" fmla="*/ 966525 w 2774326"/>
              <a:gd name="connsiteY150" fmla="*/ 661994 h 1878994"/>
              <a:gd name="connsiteX151" fmla="*/ 967104 w 2774326"/>
              <a:gd name="connsiteY151" fmla="*/ 646839 h 1878994"/>
              <a:gd name="connsiteX152" fmla="*/ 988275 w 2774326"/>
              <a:gd name="connsiteY152" fmla="*/ 674141 h 1878994"/>
              <a:gd name="connsiteX153" fmla="*/ 974334 w 2774326"/>
              <a:gd name="connsiteY153" fmla="*/ 688082 h 1878994"/>
              <a:gd name="connsiteX154" fmla="*/ 950734 w 2774326"/>
              <a:gd name="connsiteY154" fmla="*/ 676513 h 1878994"/>
              <a:gd name="connsiteX155" fmla="*/ 954378 w 2774326"/>
              <a:gd name="connsiteY155" fmla="*/ 697684 h 1878994"/>
              <a:gd name="connsiteX156" fmla="*/ 954957 w 2774326"/>
              <a:gd name="connsiteY156" fmla="*/ 724350 h 1878994"/>
              <a:gd name="connsiteX157" fmla="*/ 964038 w 2774326"/>
              <a:gd name="connsiteY157" fmla="*/ 715269 h 1878994"/>
              <a:gd name="connsiteX158" fmla="*/ 979193 w 2774326"/>
              <a:gd name="connsiteY158" fmla="*/ 720706 h 1878994"/>
              <a:gd name="connsiteX159" fmla="*/ 985267 w 2774326"/>
              <a:gd name="connsiteY159" fmla="*/ 705551 h 1878994"/>
              <a:gd name="connsiteX160" fmla="*/ 999207 w 2774326"/>
              <a:gd name="connsiteY160" fmla="*/ 710410 h 1878994"/>
              <a:gd name="connsiteX161" fmla="*/ 1011933 w 2774326"/>
              <a:gd name="connsiteY161" fmla="*/ 703758 h 1878994"/>
              <a:gd name="connsiteX162" fmla="*/ 1014363 w 2774326"/>
              <a:gd name="connsiteY162" fmla="*/ 723135 h 1878994"/>
              <a:gd name="connsiteX163" fmla="*/ 1025931 w 2774326"/>
              <a:gd name="connsiteY163" fmla="*/ 724929 h 1878994"/>
              <a:gd name="connsiteX164" fmla="*/ 1025931 w 2774326"/>
              <a:gd name="connsiteY164" fmla="*/ 728052 h 1878994"/>
              <a:gd name="connsiteX165" fmla="*/ 1044557 w 2774326"/>
              <a:gd name="connsiteY165" fmla="*/ 714864 h 1878994"/>
              <a:gd name="connsiteX166" fmla="*/ 1039236 w 2774326"/>
              <a:gd name="connsiteY166" fmla="*/ 689528 h 1878994"/>
              <a:gd name="connsiteX167" fmla="*/ 17127 w 2774326"/>
              <a:gd name="connsiteY167" fmla="*/ 775542 h 1878994"/>
              <a:gd name="connsiteX168" fmla="*/ 31646 w 2774326"/>
              <a:gd name="connsiteY168" fmla="*/ 754950 h 1878994"/>
              <a:gd name="connsiteX169" fmla="*/ 17127 w 2774326"/>
              <a:gd name="connsiteY169" fmla="*/ 775542 h 1878994"/>
              <a:gd name="connsiteX170" fmla="*/ 120090 w 2774326"/>
              <a:gd name="connsiteY170" fmla="*/ 720995 h 1878994"/>
              <a:gd name="connsiteX171" fmla="*/ 83764 w 2774326"/>
              <a:gd name="connsiteY171" fmla="*/ 739216 h 1878994"/>
              <a:gd name="connsiteX172" fmla="*/ 105571 w 2774326"/>
              <a:gd name="connsiteY172" fmla="*/ 731986 h 1878994"/>
              <a:gd name="connsiteX173" fmla="*/ 120090 w 2774326"/>
              <a:gd name="connsiteY173" fmla="*/ 720995 h 1878994"/>
              <a:gd name="connsiteX174" fmla="*/ 427243 w 2774326"/>
              <a:gd name="connsiteY174" fmla="*/ 578640 h 1878994"/>
              <a:gd name="connsiteX175" fmla="*/ 406014 w 2774326"/>
              <a:gd name="connsiteY175" fmla="*/ 586507 h 1878994"/>
              <a:gd name="connsiteX176" fmla="*/ 381778 w 2774326"/>
              <a:gd name="connsiteY176" fmla="*/ 614388 h 1878994"/>
              <a:gd name="connsiteX177" fmla="*/ 361821 w 2774326"/>
              <a:gd name="connsiteY177" fmla="*/ 621677 h 1878994"/>
              <a:gd name="connsiteX178" fmla="*/ 373390 w 2774326"/>
              <a:gd name="connsiteY178" fmla="*/ 642905 h 1878994"/>
              <a:gd name="connsiteX179" fmla="*/ 387909 w 2774326"/>
              <a:gd name="connsiteY179" fmla="*/ 642905 h 1878994"/>
              <a:gd name="connsiteX180" fmla="*/ 423657 w 2774326"/>
              <a:gd name="connsiteY180" fmla="*/ 617396 h 1878994"/>
              <a:gd name="connsiteX181" fmla="*/ 413361 w 2774326"/>
              <a:gd name="connsiteY181" fmla="*/ 601084 h 1878994"/>
              <a:gd name="connsiteX182" fmla="*/ 432738 w 2774326"/>
              <a:gd name="connsiteY182" fmla="*/ 592002 h 1878994"/>
              <a:gd name="connsiteX183" fmla="*/ 427243 w 2774326"/>
              <a:gd name="connsiteY183" fmla="*/ 578640 h 1878994"/>
              <a:gd name="connsiteX184" fmla="*/ 41364 w 2774326"/>
              <a:gd name="connsiteY184" fmla="*/ 507203 h 1878994"/>
              <a:gd name="connsiteX185" fmla="*/ 17127 w 2774326"/>
              <a:gd name="connsiteY185" fmla="*/ 515648 h 1878994"/>
              <a:gd name="connsiteX186" fmla="*/ 55304 w 2774326"/>
              <a:gd name="connsiteY186" fmla="*/ 527217 h 1878994"/>
              <a:gd name="connsiteX187" fmla="*/ 60742 w 2774326"/>
              <a:gd name="connsiteY187" fmla="*/ 508475 h 1878994"/>
              <a:gd name="connsiteX188" fmla="*/ 41364 w 2774326"/>
              <a:gd name="connsiteY188" fmla="*/ 507203 h 1878994"/>
              <a:gd name="connsiteX189" fmla="*/ 336370 w 2774326"/>
              <a:gd name="connsiteY189" fmla="*/ 1844736 h 1878994"/>
              <a:gd name="connsiteX190" fmla="*/ 337758 w 2774326"/>
              <a:gd name="connsiteY190" fmla="*/ 1878170 h 1878994"/>
              <a:gd name="connsiteX191" fmla="*/ 357367 w 2774326"/>
              <a:gd name="connsiteY191" fmla="*/ 1867006 h 1878994"/>
              <a:gd name="connsiteX192" fmla="*/ 336485 w 2774326"/>
              <a:gd name="connsiteY192" fmla="*/ 1844736 h 1878994"/>
              <a:gd name="connsiteX193" fmla="*/ 316356 w 2774326"/>
              <a:gd name="connsiteY193" fmla="*/ 1821599 h 1878994"/>
              <a:gd name="connsiteX194" fmla="*/ 319016 w 2774326"/>
              <a:gd name="connsiteY194" fmla="*/ 1834961 h 1878994"/>
              <a:gd name="connsiteX195" fmla="*/ 316471 w 2774326"/>
              <a:gd name="connsiteY195" fmla="*/ 1821599 h 1878994"/>
              <a:gd name="connsiteX196" fmla="*/ 221896 w 2774326"/>
              <a:gd name="connsiteY196" fmla="*/ 1790883 h 1878994"/>
              <a:gd name="connsiteX197" fmla="*/ 237977 w 2774326"/>
              <a:gd name="connsiteY197" fmla="*/ 1789495 h 1878994"/>
              <a:gd name="connsiteX198" fmla="*/ 222012 w 2774326"/>
              <a:gd name="connsiteY198" fmla="*/ 1790883 h 1878994"/>
              <a:gd name="connsiteX199" fmla="*/ 264701 w 2774326"/>
              <a:gd name="connsiteY199" fmla="*/ 1809104 h 1878994"/>
              <a:gd name="connsiteX200" fmla="*/ 281591 w 2774326"/>
              <a:gd name="connsiteY200" fmla="*/ 1811765 h 1878994"/>
              <a:gd name="connsiteX201" fmla="*/ 264816 w 2774326"/>
              <a:gd name="connsiteY201" fmla="*/ 1809104 h 1878994"/>
              <a:gd name="connsiteX202" fmla="*/ 2750732 w 2774326"/>
              <a:gd name="connsiteY202" fmla="*/ 998069 h 1878994"/>
              <a:gd name="connsiteX203" fmla="*/ 2714406 w 2774326"/>
              <a:gd name="connsiteY203" fmla="*/ 987600 h 1878994"/>
              <a:gd name="connsiteX204" fmla="*/ 2679700 w 2774326"/>
              <a:gd name="connsiteY204" fmla="*/ 1036015 h 1878994"/>
              <a:gd name="connsiteX205" fmla="*/ 2645745 w 2774326"/>
              <a:gd name="connsiteY205" fmla="*/ 1071532 h 1878994"/>
              <a:gd name="connsiteX206" fmla="*/ 2552037 w 2774326"/>
              <a:gd name="connsiteY206" fmla="*/ 1072399 h 1878994"/>
              <a:gd name="connsiteX207" fmla="*/ 2515480 w 2774326"/>
              <a:gd name="connsiteY207" fmla="*/ 1099991 h 1878994"/>
              <a:gd name="connsiteX208" fmla="*/ 2516521 w 2774326"/>
              <a:gd name="connsiteY208" fmla="*/ 1101437 h 1878994"/>
              <a:gd name="connsiteX209" fmla="*/ 2463189 w 2774326"/>
              <a:gd name="connsiteY209" fmla="*/ 1128103 h 1878994"/>
              <a:gd name="connsiteX210" fmla="*/ 2441497 w 2774326"/>
              <a:gd name="connsiteY210" fmla="*/ 1130186 h 1878994"/>
              <a:gd name="connsiteX211" fmla="*/ 2443001 w 2774326"/>
              <a:gd name="connsiteY211" fmla="*/ 1141003 h 1878994"/>
              <a:gd name="connsiteX212" fmla="*/ 2434903 w 2774326"/>
              <a:gd name="connsiteY212" fmla="*/ 1147828 h 1878994"/>
              <a:gd name="connsiteX213" fmla="*/ 2372373 w 2774326"/>
              <a:gd name="connsiteY213" fmla="*/ 1186295 h 1878994"/>
              <a:gd name="connsiteX214" fmla="*/ 2317826 w 2774326"/>
              <a:gd name="connsiteY214" fmla="*/ 1174147 h 1878994"/>
              <a:gd name="connsiteX215" fmla="*/ 2338418 w 2774326"/>
              <a:gd name="connsiteY215" fmla="*/ 1168074 h 1878994"/>
              <a:gd name="connsiteX216" fmla="*/ 2349409 w 2774326"/>
              <a:gd name="connsiteY216" fmla="*/ 1165008 h 1878994"/>
              <a:gd name="connsiteX217" fmla="*/ 2345013 w 2774326"/>
              <a:gd name="connsiteY217" fmla="*/ 1143548 h 1878994"/>
              <a:gd name="connsiteX218" fmla="*/ 2334774 w 2774326"/>
              <a:gd name="connsiteY218" fmla="*/ 1108841 h 1878994"/>
              <a:gd name="connsiteX219" fmla="*/ 2305852 w 2774326"/>
              <a:gd name="connsiteY219" fmla="*/ 1113642 h 1878994"/>
              <a:gd name="connsiteX220" fmla="*/ 2316785 w 2774326"/>
              <a:gd name="connsiteY220" fmla="*/ 1064012 h 1878994"/>
              <a:gd name="connsiteX221" fmla="*/ 2274385 w 2774326"/>
              <a:gd name="connsiteY221" fmla="*/ 1059153 h 1878994"/>
              <a:gd name="connsiteX222" fmla="*/ 2246504 w 2774326"/>
              <a:gd name="connsiteY222" fmla="*/ 1079745 h 1878994"/>
              <a:gd name="connsiteX223" fmla="*/ 2239273 w 2774326"/>
              <a:gd name="connsiteY223" fmla="*/ 1137937 h 1878994"/>
              <a:gd name="connsiteX224" fmla="*/ 2219838 w 2774326"/>
              <a:gd name="connsiteY224" fmla="*/ 1177907 h 1878994"/>
              <a:gd name="connsiteX225" fmla="*/ 2199303 w 2774326"/>
              <a:gd name="connsiteY225" fmla="*/ 1125847 h 1878994"/>
              <a:gd name="connsiteX226" fmla="*/ 2205087 w 2774326"/>
              <a:gd name="connsiteY226" fmla="*/ 1078646 h 1878994"/>
              <a:gd name="connsiteX227" fmla="*/ 2246272 w 2774326"/>
              <a:gd name="connsiteY227" fmla="*/ 1043477 h 1878994"/>
              <a:gd name="connsiteX228" fmla="*/ 2303249 w 2774326"/>
              <a:gd name="connsiteY228" fmla="*/ 1032545 h 1878994"/>
              <a:gd name="connsiteX229" fmla="*/ 2306315 w 2774326"/>
              <a:gd name="connsiteY229" fmla="*/ 1029421 h 1878994"/>
              <a:gd name="connsiteX230" fmla="*/ 2290755 w 2774326"/>
              <a:gd name="connsiteY230" fmla="*/ 1018604 h 1878994"/>
              <a:gd name="connsiteX231" fmla="*/ 2287458 w 2774326"/>
              <a:gd name="connsiteY231" fmla="*/ 1022885 h 1878994"/>
              <a:gd name="connsiteX232" fmla="*/ 2262006 w 2774326"/>
              <a:gd name="connsiteY232" fmla="*/ 1011952 h 1878994"/>
              <a:gd name="connsiteX233" fmla="*/ 2211161 w 2774326"/>
              <a:gd name="connsiteY233" fmla="*/ 1021670 h 1878994"/>
              <a:gd name="connsiteX234" fmla="*/ 2190568 w 2774326"/>
              <a:gd name="connsiteY234" fmla="*/ 1004721 h 1878994"/>
              <a:gd name="connsiteX235" fmla="*/ 2180850 w 2774326"/>
              <a:gd name="connsiteY235" fmla="*/ 990145 h 1878994"/>
              <a:gd name="connsiteX236" fmla="*/ 2119073 w 2774326"/>
              <a:gd name="connsiteY236" fmla="*/ 1015596 h 1878994"/>
              <a:gd name="connsiteX237" fmla="*/ 2083961 w 2774326"/>
              <a:gd name="connsiteY237" fmla="*/ 1009812 h 1878994"/>
              <a:gd name="connsiteX238" fmla="*/ 2138451 w 2774326"/>
              <a:gd name="connsiteY238" fmla="*/ 974642 h 1878994"/>
              <a:gd name="connsiteX239" fmla="*/ 2152507 w 2774326"/>
              <a:gd name="connsiteY239" fmla="*/ 969205 h 1878994"/>
              <a:gd name="connsiteX240" fmla="*/ 2113404 w 2774326"/>
              <a:gd name="connsiteY240" fmla="*/ 963768 h 1878994"/>
              <a:gd name="connsiteX241" fmla="*/ 2089977 w 2774326"/>
              <a:gd name="connsiteY241" fmla="*/ 959719 h 1878994"/>
              <a:gd name="connsiteX242" fmla="*/ 2067360 w 2774326"/>
              <a:gd name="connsiteY242" fmla="*/ 950810 h 1878994"/>
              <a:gd name="connsiteX243" fmla="*/ 2042371 w 2774326"/>
              <a:gd name="connsiteY243" fmla="*/ 950001 h 1878994"/>
              <a:gd name="connsiteX244" fmla="*/ 2019233 w 2774326"/>
              <a:gd name="connsiteY244" fmla="*/ 941960 h 1878994"/>
              <a:gd name="connsiteX245" fmla="*/ 2007665 w 2774326"/>
              <a:gd name="connsiteY245" fmla="*/ 920905 h 1878994"/>
              <a:gd name="connsiteX246" fmla="*/ 1998294 w 2774326"/>
              <a:gd name="connsiteY246" fmla="*/ 933168 h 1878994"/>
              <a:gd name="connsiteX247" fmla="*/ 1245393 w 2774326"/>
              <a:gd name="connsiteY247" fmla="*/ 937217 h 1878994"/>
              <a:gd name="connsiteX248" fmla="*/ 1248054 w 2774326"/>
              <a:gd name="connsiteY248" fmla="*/ 940746 h 1878994"/>
              <a:gd name="connsiteX249" fmla="*/ 1252855 w 2774326"/>
              <a:gd name="connsiteY249" fmla="*/ 969205 h 1878994"/>
              <a:gd name="connsiteX250" fmla="*/ 1244409 w 2774326"/>
              <a:gd name="connsiteY250" fmla="*/ 997086 h 1878994"/>
              <a:gd name="connsiteX251" fmla="*/ 1236404 w 2774326"/>
              <a:gd name="connsiteY251" fmla="*/ 990590 h 1878994"/>
              <a:gd name="connsiteX252" fmla="*/ 1240765 w 2774326"/>
              <a:gd name="connsiteY252" fmla="*/ 983145 h 1878994"/>
              <a:gd name="connsiteX253" fmla="*/ 1237121 w 2774326"/>
              <a:gd name="connsiteY253" fmla="*/ 966197 h 1878994"/>
              <a:gd name="connsiteX254" fmla="*/ 1231857 w 2774326"/>
              <a:gd name="connsiteY254" fmla="*/ 956248 h 1878994"/>
              <a:gd name="connsiteX255" fmla="*/ 1188705 w 2774326"/>
              <a:gd name="connsiteY255" fmla="*/ 956248 h 1878994"/>
              <a:gd name="connsiteX256" fmla="*/ 1189284 w 2774326"/>
              <a:gd name="connsiteY256" fmla="*/ 958446 h 1878994"/>
              <a:gd name="connsiteX257" fmla="*/ 1203224 w 2774326"/>
              <a:gd name="connsiteY257" fmla="*/ 994772 h 1878994"/>
              <a:gd name="connsiteX258" fmla="*/ 1215314 w 2774326"/>
              <a:gd name="connsiteY258" fmla="*/ 1020224 h 1878994"/>
              <a:gd name="connsiteX259" fmla="*/ 1215314 w 2774326"/>
              <a:gd name="connsiteY259" fmla="*/ 1029247 h 1878994"/>
              <a:gd name="connsiteX260" fmla="*/ 1209876 w 2774326"/>
              <a:gd name="connsiteY260" fmla="*/ 1054121 h 1878994"/>
              <a:gd name="connsiteX261" fmla="*/ 1205654 w 2774326"/>
              <a:gd name="connsiteY261" fmla="*/ 1121393 h 1878994"/>
              <a:gd name="connsiteX262" fmla="*/ 1198365 w 2774326"/>
              <a:gd name="connsiteY262" fmla="*/ 1163793 h 1878994"/>
              <a:gd name="connsiteX263" fmla="*/ 1207447 w 2774326"/>
              <a:gd name="connsiteY263" fmla="*/ 1207986 h 1878994"/>
              <a:gd name="connsiteX264" fmla="*/ 1210455 w 2774326"/>
              <a:gd name="connsiteY264" fmla="*/ 1243734 h 1878994"/>
              <a:gd name="connsiteX265" fmla="*/ 1218958 w 2774326"/>
              <a:gd name="connsiteY265" fmla="*/ 1279424 h 1878994"/>
              <a:gd name="connsiteX266" fmla="*/ 1239550 w 2774326"/>
              <a:gd name="connsiteY266" fmla="*/ 1303082 h 1878994"/>
              <a:gd name="connsiteX267" fmla="*/ 1253491 w 2774326"/>
              <a:gd name="connsiteY267" fmla="*/ 1318238 h 1878994"/>
              <a:gd name="connsiteX268" fmla="*/ 1264366 w 2774326"/>
              <a:gd name="connsiteY268" fmla="*/ 1335186 h 1878994"/>
              <a:gd name="connsiteX269" fmla="*/ 1268010 w 2774326"/>
              <a:gd name="connsiteY269" fmla="*/ 1356357 h 1878994"/>
              <a:gd name="connsiteX270" fmla="*/ 1296469 w 2774326"/>
              <a:gd name="connsiteY270" fmla="*/ 1387304 h 1878994"/>
              <a:gd name="connsiteX271" fmla="*/ 1310467 w 2774326"/>
              <a:gd name="connsiteY271" fmla="*/ 1412697 h 1878994"/>
              <a:gd name="connsiteX272" fmla="*/ 1344364 w 2774326"/>
              <a:gd name="connsiteY272" fmla="*/ 1426696 h 1878994"/>
              <a:gd name="connsiteX273" fmla="*/ 1367502 w 2774326"/>
              <a:gd name="connsiteY273" fmla="*/ 1431497 h 1878994"/>
              <a:gd name="connsiteX274" fmla="*/ 1392896 w 2774326"/>
              <a:gd name="connsiteY274" fmla="*/ 1461807 h 1878994"/>
              <a:gd name="connsiteX275" fmla="*/ 1399085 w 2774326"/>
              <a:gd name="connsiteY275" fmla="*/ 1479160 h 1878994"/>
              <a:gd name="connsiteX276" fmla="*/ 1461904 w 2774326"/>
              <a:gd name="connsiteY276" fmla="*/ 1470889 h 1878994"/>
              <a:gd name="connsiteX277" fmla="*/ 1492272 w 2774326"/>
              <a:gd name="connsiteY277" fmla="*/ 1487085 h 1878994"/>
              <a:gd name="connsiteX278" fmla="*/ 1562842 w 2774326"/>
              <a:gd name="connsiteY278" fmla="*/ 1511669 h 1878994"/>
              <a:gd name="connsiteX279" fmla="*/ 1640527 w 2774326"/>
              <a:gd name="connsiteY279" fmla="*/ 1511033 h 1878994"/>
              <a:gd name="connsiteX280" fmla="*/ 1649551 w 2774326"/>
              <a:gd name="connsiteY280" fmla="*/ 1499464 h 1878994"/>
              <a:gd name="connsiteX281" fmla="*/ 1692240 w 2774326"/>
              <a:gd name="connsiteY281" fmla="*/ 1499464 h 1878994"/>
              <a:gd name="connsiteX282" fmla="*/ 1723302 w 2774326"/>
              <a:gd name="connsiteY282" fmla="*/ 1527345 h 1878994"/>
              <a:gd name="connsiteX283" fmla="*/ 1740656 w 2774326"/>
              <a:gd name="connsiteY283" fmla="*/ 1548689 h 1878994"/>
              <a:gd name="connsiteX284" fmla="*/ 1750373 w 2774326"/>
              <a:gd name="connsiteY284" fmla="*/ 1566042 h 1878994"/>
              <a:gd name="connsiteX285" fmla="*/ 1782130 w 2774326"/>
              <a:gd name="connsiteY285" fmla="*/ 1582239 h 1878994"/>
              <a:gd name="connsiteX286" fmla="*/ 1803474 w 2774326"/>
              <a:gd name="connsiteY286" fmla="*/ 1557019 h 1878994"/>
              <a:gd name="connsiteX287" fmla="*/ 1852006 w 2774326"/>
              <a:gd name="connsiteY287" fmla="*/ 1584784 h 1878994"/>
              <a:gd name="connsiteX288" fmla="*/ 1877862 w 2774326"/>
              <a:gd name="connsiteY288" fmla="*/ 1621689 h 1878994"/>
              <a:gd name="connsiteX289" fmla="*/ 1884341 w 2774326"/>
              <a:gd name="connsiteY289" fmla="*/ 1642397 h 1878994"/>
              <a:gd name="connsiteX290" fmla="*/ 1892092 w 2774326"/>
              <a:gd name="connsiteY290" fmla="*/ 1659230 h 1878994"/>
              <a:gd name="connsiteX291" fmla="*/ 1930327 w 2774326"/>
              <a:gd name="connsiteY291" fmla="*/ 1672823 h 1878994"/>
              <a:gd name="connsiteX292" fmla="*/ 1941896 w 2774326"/>
              <a:gd name="connsiteY292" fmla="*/ 1677046 h 1878994"/>
              <a:gd name="connsiteX293" fmla="*/ 1934029 w 2774326"/>
              <a:gd name="connsiteY293" fmla="*/ 1641818 h 1878994"/>
              <a:gd name="connsiteX294" fmla="*/ 1940681 w 2774326"/>
              <a:gd name="connsiteY294" fmla="*/ 1615788 h 1878994"/>
              <a:gd name="connsiteX295" fmla="*/ 1960637 w 2774326"/>
              <a:gd name="connsiteY295" fmla="*/ 1598840 h 1878994"/>
              <a:gd name="connsiteX296" fmla="*/ 1977007 w 2774326"/>
              <a:gd name="connsiteY296" fmla="*/ 1593056 h 1878994"/>
              <a:gd name="connsiteX297" fmla="*/ 2003674 w 2774326"/>
              <a:gd name="connsiteY297" fmla="*/ 1570612 h 1878994"/>
              <a:gd name="connsiteX298" fmla="*/ 2016978 w 2774326"/>
              <a:gd name="connsiteY298" fmla="*/ 1565175 h 1878994"/>
              <a:gd name="connsiteX299" fmla="*/ 2033926 w 2774326"/>
              <a:gd name="connsiteY299" fmla="*/ 1554300 h 1878994"/>
              <a:gd name="connsiteX300" fmla="*/ 2047866 w 2774326"/>
              <a:gd name="connsiteY300" fmla="*/ 1555515 h 1878994"/>
              <a:gd name="connsiteX301" fmla="*/ 2061228 w 2774326"/>
              <a:gd name="connsiteY301" fmla="*/ 1558523 h 1878994"/>
              <a:gd name="connsiteX302" fmla="*/ 2083614 w 2774326"/>
              <a:gd name="connsiteY302" fmla="*/ 1559159 h 1878994"/>
              <a:gd name="connsiteX303" fmla="*/ 2101777 w 2774326"/>
              <a:gd name="connsiteY303" fmla="*/ 1567604 h 1878994"/>
              <a:gd name="connsiteX304" fmla="*/ 2124915 w 2774326"/>
              <a:gd name="connsiteY304" fmla="*/ 1574314 h 1878994"/>
              <a:gd name="connsiteX305" fmla="*/ 2137062 w 2774326"/>
              <a:gd name="connsiteY305" fmla="*/ 1564596 h 1878994"/>
              <a:gd name="connsiteX306" fmla="*/ 2161299 w 2774326"/>
              <a:gd name="connsiteY306" fmla="*/ 1581545 h 1878994"/>
              <a:gd name="connsiteX307" fmla="*/ 2155225 w 2774326"/>
              <a:gd name="connsiteY307" fmla="*/ 1567604 h 1878994"/>
              <a:gd name="connsiteX308" fmla="*/ 2149788 w 2774326"/>
              <a:gd name="connsiteY308" fmla="*/ 1552449 h 1878994"/>
              <a:gd name="connsiteX309" fmla="*/ 2173389 w 2774326"/>
              <a:gd name="connsiteY309" fmla="*/ 1540360 h 1878994"/>
              <a:gd name="connsiteX310" fmla="*/ 2192766 w 2774326"/>
              <a:gd name="connsiteY310" fmla="*/ 1536137 h 1878994"/>
              <a:gd name="connsiteX311" fmla="*/ 2203699 w 2774326"/>
              <a:gd name="connsiteY311" fmla="*/ 1543368 h 1878994"/>
              <a:gd name="connsiteX312" fmla="*/ 2240025 w 2774326"/>
              <a:gd name="connsiteY312" fmla="*/ 1539145 h 1878994"/>
              <a:gd name="connsiteX313" fmla="*/ 2265477 w 2774326"/>
              <a:gd name="connsiteY313" fmla="*/ 1557366 h 1878994"/>
              <a:gd name="connsiteX314" fmla="*/ 2284276 w 2774326"/>
              <a:gd name="connsiteY314" fmla="*/ 1560374 h 1878994"/>
              <a:gd name="connsiteX315" fmla="*/ 2309670 w 2774326"/>
              <a:gd name="connsiteY315" fmla="*/ 1551871 h 1878994"/>
              <a:gd name="connsiteX316" fmla="*/ 2336972 w 2774326"/>
              <a:gd name="connsiteY316" fmla="*/ 1582123 h 1878994"/>
              <a:gd name="connsiteX317" fmla="*/ 2337551 w 2774326"/>
              <a:gd name="connsiteY317" fmla="*/ 1613070 h 1878994"/>
              <a:gd name="connsiteX318" fmla="*/ 2349119 w 2774326"/>
              <a:gd name="connsiteY318" fmla="*/ 1640314 h 1878994"/>
              <a:gd name="connsiteX319" fmla="*/ 2360052 w 2774326"/>
              <a:gd name="connsiteY319" fmla="*/ 1668774 h 1878994"/>
              <a:gd name="connsiteX320" fmla="*/ 2378794 w 2774326"/>
              <a:gd name="connsiteY320" fmla="*/ 1692374 h 1878994"/>
              <a:gd name="connsiteX321" fmla="*/ 2399386 w 2774326"/>
              <a:gd name="connsiteY321" fmla="*/ 1696018 h 1878994"/>
              <a:gd name="connsiteX322" fmla="*/ 2411534 w 2774326"/>
              <a:gd name="connsiteY322" fmla="*/ 1663915 h 1878994"/>
              <a:gd name="connsiteX323" fmla="*/ 2396378 w 2774326"/>
              <a:gd name="connsiteY323" fmla="*/ 1608790 h 1878994"/>
              <a:gd name="connsiteX324" fmla="*/ 2388511 w 2774326"/>
              <a:gd name="connsiteY324" fmla="*/ 1582760 h 1878994"/>
              <a:gd name="connsiteX325" fmla="*/ 2373356 w 2774326"/>
              <a:gd name="connsiteY325" fmla="*/ 1529427 h 1878994"/>
              <a:gd name="connsiteX326" fmla="*/ 2405460 w 2774326"/>
              <a:gd name="connsiteY326" fmla="*/ 1472508 h 1878994"/>
              <a:gd name="connsiteX327" fmla="*/ 2429696 w 2774326"/>
              <a:gd name="connsiteY327" fmla="*/ 1458568 h 1878994"/>
              <a:gd name="connsiteX328" fmla="*/ 2452082 w 2774326"/>
              <a:gd name="connsiteY328" fmla="*/ 1436760 h 1878994"/>
              <a:gd name="connsiteX329" fmla="*/ 2468452 w 2774326"/>
              <a:gd name="connsiteY329" fmla="*/ 1430976 h 1878994"/>
              <a:gd name="connsiteX330" fmla="*/ 2497374 w 2774326"/>
              <a:gd name="connsiteY330" fmla="*/ 1410962 h 1878994"/>
              <a:gd name="connsiteX331" fmla="*/ 2499804 w 2774326"/>
              <a:gd name="connsiteY331" fmla="*/ 1392799 h 1878994"/>
              <a:gd name="connsiteX332" fmla="*/ 2506456 w 2774326"/>
              <a:gd name="connsiteY332" fmla="*/ 1383081 h 1878994"/>
              <a:gd name="connsiteX333" fmla="*/ 2525197 w 2774326"/>
              <a:gd name="connsiteY333" fmla="*/ 1384296 h 1878994"/>
              <a:gd name="connsiteX334" fmla="*/ 2531908 w 2774326"/>
              <a:gd name="connsiteY334" fmla="*/ 1367984 h 1878994"/>
              <a:gd name="connsiteX335" fmla="*/ 2523404 w 2774326"/>
              <a:gd name="connsiteY335" fmla="*/ 1358844 h 1878994"/>
              <a:gd name="connsiteX336" fmla="*/ 2513744 w 2774326"/>
              <a:gd name="connsiteY336" fmla="*/ 1340103 h 1878994"/>
              <a:gd name="connsiteX337" fmla="*/ 2513108 w 2774326"/>
              <a:gd name="connsiteY337" fmla="*/ 1326741 h 1878994"/>
              <a:gd name="connsiteX338" fmla="*/ 2495755 w 2774326"/>
              <a:gd name="connsiteY338" fmla="*/ 1303603 h 1878994"/>
              <a:gd name="connsiteX339" fmla="*/ 2506687 w 2774326"/>
              <a:gd name="connsiteY339" fmla="*/ 1293885 h 1878994"/>
              <a:gd name="connsiteX340" fmla="*/ 2510910 w 2774326"/>
              <a:gd name="connsiteY340" fmla="*/ 1258195 h 1878994"/>
              <a:gd name="connsiteX341" fmla="*/ 2519992 w 2774326"/>
              <a:gd name="connsiteY341" fmla="*/ 1258195 h 1878994"/>
              <a:gd name="connsiteX342" fmla="*/ 2517620 w 2774326"/>
              <a:gd name="connsiteY342" fmla="*/ 1284804 h 1878994"/>
              <a:gd name="connsiteX343" fmla="*/ 2524850 w 2774326"/>
              <a:gd name="connsiteY343" fmla="*/ 1317543 h 1878994"/>
              <a:gd name="connsiteX344" fmla="*/ 2536998 w 2774326"/>
              <a:gd name="connsiteY344" fmla="*/ 1309677 h 1878994"/>
              <a:gd name="connsiteX345" fmla="*/ 2541220 w 2774326"/>
              <a:gd name="connsiteY345" fmla="*/ 1273929 h 1878994"/>
              <a:gd name="connsiteX346" fmla="*/ 2542435 w 2774326"/>
              <a:gd name="connsiteY346" fmla="*/ 1262360 h 1878994"/>
              <a:gd name="connsiteX347" fmla="*/ 2561813 w 2774326"/>
              <a:gd name="connsiteY347" fmla="*/ 1261145 h 1878994"/>
              <a:gd name="connsiteX348" fmla="*/ 2576332 w 2774326"/>
              <a:gd name="connsiteY348" fmla="*/ 1227191 h 1878994"/>
              <a:gd name="connsiteX349" fmla="*/ 2591487 w 2774326"/>
              <a:gd name="connsiteY349" fmla="*/ 1219382 h 1878994"/>
              <a:gd name="connsiteX350" fmla="*/ 2631457 w 2774326"/>
              <a:gd name="connsiteY350" fmla="*/ 1208449 h 1878994"/>
              <a:gd name="connsiteX351" fmla="*/ 2589694 w 2774326"/>
              <a:gd name="connsiteY351" fmla="*/ 1207234 h 1878994"/>
              <a:gd name="connsiteX352" fmla="*/ 2633887 w 2774326"/>
              <a:gd name="connsiteY352" fmla="*/ 1193294 h 1878994"/>
              <a:gd name="connsiteX353" fmla="*/ 2647249 w 2774326"/>
              <a:gd name="connsiteY353" fmla="*/ 1181725 h 1878994"/>
              <a:gd name="connsiteX354" fmla="*/ 2670387 w 2774326"/>
              <a:gd name="connsiteY354" fmla="*/ 1183518 h 1878994"/>
              <a:gd name="connsiteX355" fmla="*/ 2663156 w 2774326"/>
              <a:gd name="connsiteY355" fmla="*/ 1162347 h 1878994"/>
              <a:gd name="connsiteX356" fmla="*/ 2666801 w 2774326"/>
              <a:gd name="connsiteY356" fmla="*/ 1148407 h 1878994"/>
              <a:gd name="connsiteX357" fmla="*/ 2684154 w 2774326"/>
              <a:gd name="connsiteY357" fmla="*/ 1118732 h 1878994"/>
              <a:gd name="connsiteX358" fmla="*/ 2699945 w 2774326"/>
              <a:gd name="connsiteY358" fmla="*/ 1109015 h 1878994"/>
              <a:gd name="connsiteX359" fmla="*/ 2719902 w 2774326"/>
              <a:gd name="connsiteY359" fmla="*/ 1089058 h 1878994"/>
              <a:gd name="connsiteX360" fmla="*/ 2753856 w 2774326"/>
              <a:gd name="connsiteY360" fmla="*/ 1090273 h 1878994"/>
              <a:gd name="connsiteX361" fmla="*/ 2774217 w 2774326"/>
              <a:gd name="connsiteY361" fmla="*/ 1074945 h 1878994"/>
              <a:gd name="connsiteX362" fmla="*/ 2750732 w 2774326"/>
              <a:gd name="connsiteY362" fmla="*/ 998069 h 187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Lst>
            <a:rect l="l" t="t" r="r" b="b"/>
            <a:pathLst>
              <a:path w="2774326" h="1878994">
                <a:moveTo>
                  <a:pt x="1039236" y="689528"/>
                </a:moveTo>
                <a:cubicBezTo>
                  <a:pt x="1043285" y="679000"/>
                  <a:pt x="1044095" y="672579"/>
                  <a:pt x="1013379" y="660606"/>
                </a:cubicBezTo>
                <a:cubicBezTo>
                  <a:pt x="982664" y="648632"/>
                  <a:pt x="985961" y="640418"/>
                  <a:pt x="964964" y="603224"/>
                </a:cubicBezTo>
                <a:cubicBezTo>
                  <a:pt x="943966" y="566030"/>
                  <a:pt x="905962" y="549950"/>
                  <a:pt x="905962" y="536241"/>
                </a:cubicBezTo>
                <a:cubicBezTo>
                  <a:pt x="905962" y="522531"/>
                  <a:pt x="869116" y="523978"/>
                  <a:pt x="869116" y="534563"/>
                </a:cubicBezTo>
                <a:cubicBezTo>
                  <a:pt x="869116" y="545148"/>
                  <a:pt x="852977" y="548272"/>
                  <a:pt x="844069" y="553941"/>
                </a:cubicBezTo>
                <a:cubicBezTo>
                  <a:pt x="835161" y="559610"/>
                  <a:pt x="831170" y="550702"/>
                  <a:pt x="823072" y="540232"/>
                </a:cubicBezTo>
                <a:cubicBezTo>
                  <a:pt x="814973" y="529762"/>
                  <a:pt x="795595" y="519234"/>
                  <a:pt x="795595" y="512756"/>
                </a:cubicBezTo>
                <a:cubicBezTo>
                  <a:pt x="795595" y="506277"/>
                  <a:pt x="790737" y="492568"/>
                  <a:pt x="777028" y="499047"/>
                </a:cubicBezTo>
                <a:cubicBezTo>
                  <a:pt x="763318" y="505525"/>
                  <a:pt x="756030" y="499047"/>
                  <a:pt x="751981" y="503848"/>
                </a:cubicBezTo>
                <a:cubicBezTo>
                  <a:pt x="747932" y="508649"/>
                  <a:pt x="737462" y="500898"/>
                  <a:pt x="737462" y="500898"/>
                </a:cubicBezTo>
                <a:lnTo>
                  <a:pt x="737462" y="82105"/>
                </a:lnTo>
                <a:cubicBezTo>
                  <a:pt x="733187" y="81752"/>
                  <a:pt x="728971" y="80879"/>
                  <a:pt x="724910" y="79502"/>
                </a:cubicBezTo>
                <a:cubicBezTo>
                  <a:pt x="707557" y="72850"/>
                  <a:pt x="681295" y="60702"/>
                  <a:pt x="667413" y="63768"/>
                </a:cubicBezTo>
                <a:cubicBezTo>
                  <a:pt x="653530" y="66834"/>
                  <a:pt x="625591" y="70420"/>
                  <a:pt x="615931" y="65562"/>
                </a:cubicBezTo>
                <a:cubicBezTo>
                  <a:pt x="602627" y="58909"/>
                  <a:pt x="587518" y="56775"/>
                  <a:pt x="572895" y="59488"/>
                </a:cubicBezTo>
                <a:cubicBezTo>
                  <a:pt x="552939" y="62554"/>
                  <a:pt x="540213" y="48613"/>
                  <a:pt x="514762" y="42539"/>
                </a:cubicBezTo>
                <a:cubicBezTo>
                  <a:pt x="489310" y="36466"/>
                  <a:pt x="453562" y="44391"/>
                  <a:pt x="445348" y="47398"/>
                </a:cubicBezTo>
                <a:cubicBezTo>
                  <a:pt x="437135" y="50406"/>
                  <a:pt x="438638" y="38317"/>
                  <a:pt x="427995" y="39532"/>
                </a:cubicBezTo>
                <a:cubicBezTo>
                  <a:pt x="417352" y="40746"/>
                  <a:pt x="425566" y="34673"/>
                  <a:pt x="419492" y="25591"/>
                </a:cubicBezTo>
                <a:cubicBezTo>
                  <a:pt x="413418" y="16510"/>
                  <a:pt x="383166" y="24955"/>
                  <a:pt x="372233" y="26169"/>
                </a:cubicBezTo>
                <a:cubicBezTo>
                  <a:pt x="361301" y="27384"/>
                  <a:pt x="358293" y="20732"/>
                  <a:pt x="358929" y="15295"/>
                </a:cubicBezTo>
                <a:cubicBezTo>
                  <a:pt x="359565" y="9857"/>
                  <a:pt x="349211" y="11651"/>
                  <a:pt x="344989" y="18939"/>
                </a:cubicBezTo>
                <a:cubicBezTo>
                  <a:pt x="340193" y="25799"/>
                  <a:pt x="330742" y="27471"/>
                  <a:pt x="323881" y="22670"/>
                </a:cubicBezTo>
                <a:cubicBezTo>
                  <a:pt x="323841" y="22641"/>
                  <a:pt x="323800" y="22612"/>
                  <a:pt x="323760" y="22583"/>
                </a:cubicBezTo>
                <a:cubicBezTo>
                  <a:pt x="318959" y="17724"/>
                  <a:pt x="334056" y="15873"/>
                  <a:pt x="334692" y="10436"/>
                </a:cubicBezTo>
                <a:cubicBezTo>
                  <a:pt x="335329" y="4999"/>
                  <a:pt x="318959" y="1991"/>
                  <a:pt x="312885" y="140"/>
                </a:cubicBezTo>
                <a:cubicBezTo>
                  <a:pt x="306811" y="-1711"/>
                  <a:pt x="297151" y="6213"/>
                  <a:pt x="284426" y="17493"/>
                </a:cubicBezTo>
                <a:cubicBezTo>
                  <a:pt x="271700" y="28773"/>
                  <a:pt x="252900" y="27789"/>
                  <a:pt x="241389" y="26574"/>
                </a:cubicBezTo>
                <a:cubicBezTo>
                  <a:pt x="229878" y="25360"/>
                  <a:pt x="215359" y="27789"/>
                  <a:pt x="215938" y="34441"/>
                </a:cubicBezTo>
                <a:cubicBezTo>
                  <a:pt x="216516" y="41093"/>
                  <a:pt x="230515" y="40515"/>
                  <a:pt x="222012" y="48960"/>
                </a:cubicBezTo>
                <a:cubicBezTo>
                  <a:pt x="213509" y="57405"/>
                  <a:pt x="210443" y="37391"/>
                  <a:pt x="201997" y="46589"/>
                </a:cubicBezTo>
                <a:cubicBezTo>
                  <a:pt x="193552" y="55786"/>
                  <a:pt x="168101" y="55034"/>
                  <a:pt x="162027" y="53819"/>
                </a:cubicBezTo>
                <a:cubicBezTo>
                  <a:pt x="155953" y="52604"/>
                  <a:pt x="135997" y="74412"/>
                  <a:pt x="129924" y="80485"/>
                </a:cubicBezTo>
                <a:cubicBezTo>
                  <a:pt x="123850" y="86559"/>
                  <a:pt x="134782" y="92054"/>
                  <a:pt x="118355" y="109407"/>
                </a:cubicBezTo>
                <a:cubicBezTo>
                  <a:pt x="101927" y="126761"/>
                  <a:pt x="57676" y="123869"/>
                  <a:pt x="48594" y="123869"/>
                </a:cubicBezTo>
                <a:cubicBezTo>
                  <a:pt x="39513" y="123869"/>
                  <a:pt x="46165" y="134165"/>
                  <a:pt x="41364" y="140817"/>
                </a:cubicBezTo>
                <a:cubicBezTo>
                  <a:pt x="36563" y="147469"/>
                  <a:pt x="46801" y="153543"/>
                  <a:pt x="71616" y="160195"/>
                </a:cubicBezTo>
                <a:cubicBezTo>
                  <a:pt x="96432" y="166847"/>
                  <a:pt x="113438" y="199529"/>
                  <a:pt x="116446" y="207454"/>
                </a:cubicBezTo>
                <a:cubicBezTo>
                  <a:pt x="119454" y="215378"/>
                  <a:pt x="150400" y="206875"/>
                  <a:pt x="162721" y="208668"/>
                </a:cubicBezTo>
                <a:cubicBezTo>
                  <a:pt x="175042" y="210461"/>
                  <a:pt x="161506" y="227468"/>
                  <a:pt x="171803" y="232269"/>
                </a:cubicBezTo>
                <a:cubicBezTo>
                  <a:pt x="182099" y="237070"/>
                  <a:pt x="197891" y="229897"/>
                  <a:pt x="200725" y="238053"/>
                </a:cubicBezTo>
                <a:cubicBezTo>
                  <a:pt x="203559" y="246209"/>
                  <a:pt x="180132" y="238053"/>
                  <a:pt x="168043" y="247135"/>
                </a:cubicBezTo>
                <a:cubicBezTo>
                  <a:pt x="155953" y="256216"/>
                  <a:pt x="149880" y="260497"/>
                  <a:pt x="144905" y="253787"/>
                </a:cubicBezTo>
                <a:cubicBezTo>
                  <a:pt x="139931" y="247077"/>
                  <a:pt x="120090" y="251357"/>
                  <a:pt x="109794" y="252630"/>
                </a:cubicBezTo>
                <a:cubicBezTo>
                  <a:pt x="99497" y="253903"/>
                  <a:pt x="109215" y="239846"/>
                  <a:pt x="109794" y="233831"/>
                </a:cubicBezTo>
                <a:cubicBezTo>
                  <a:pt x="110372" y="227815"/>
                  <a:pt x="95853" y="223534"/>
                  <a:pt x="75897" y="235045"/>
                </a:cubicBezTo>
                <a:cubicBezTo>
                  <a:pt x="55941" y="246556"/>
                  <a:pt x="63171" y="242276"/>
                  <a:pt x="60742" y="251357"/>
                </a:cubicBezTo>
                <a:cubicBezTo>
                  <a:pt x="58312" y="260439"/>
                  <a:pt x="49809" y="245920"/>
                  <a:pt x="37083" y="253787"/>
                </a:cubicBezTo>
                <a:cubicBezTo>
                  <a:pt x="24358" y="261654"/>
                  <a:pt x="3765" y="267149"/>
                  <a:pt x="179" y="274958"/>
                </a:cubicBezTo>
                <a:cubicBezTo>
                  <a:pt x="-3408" y="282767"/>
                  <a:pt x="27423" y="288320"/>
                  <a:pt x="39513" y="290749"/>
                </a:cubicBezTo>
                <a:cubicBezTo>
                  <a:pt x="51602" y="293179"/>
                  <a:pt x="24994" y="301046"/>
                  <a:pt x="34654" y="304053"/>
                </a:cubicBezTo>
                <a:cubicBezTo>
                  <a:pt x="44314" y="307061"/>
                  <a:pt x="40438" y="316201"/>
                  <a:pt x="55304" y="324068"/>
                </a:cubicBezTo>
                <a:cubicBezTo>
                  <a:pt x="70170" y="331934"/>
                  <a:pt x="104356" y="324068"/>
                  <a:pt x="113438" y="324068"/>
                </a:cubicBezTo>
                <a:cubicBezTo>
                  <a:pt x="122519" y="324068"/>
                  <a:pt x="130791" y="335000"/>
                  <a:pt x="138253" y="327076"/>
                </a:cubicBezTo>
                <a:cubicBezTo>
                  <a:pt x="145715" y="319151"/>
                  <a:pt x="172960" y="297401"/>
                  <a:pt x="186727" y="310127"/>
                </a:cubicBezTo>
                <a:cubicBezTo>
                  <a:pt x="200494" y="322853"/>
                  <a:pt x="171571" y="321060"/>
                  <a:pt x="178860" y="328927"/>
                </a:cubicBezTo>
                <a:cubicBezTo>
                  <a:pt x="186148" y="336793"/>
                  <a:pt x="195230" y="355593"/>
                  <a:pt x="181868" y="365253"/>
                </a:cubicBezTo>
                <a:cubicBezTo>
                  <a:pt x="168506" y="374913"/>
                  <a:pt x="155838" y="368261"/>
                  <a:pt x="148549" y="367682"/>
                </a:cubicBezTo>
                <a:cubicBezTo>
                  <a:pt x="141261" y="367104"/>
                  <a:pt x="145541" y="381044"/>
                  <a:pt x="134030" y="390068"/>
                </a:cubicBezTo>
                <a:cubicBezTo>
                  <a:pt x="122519" y="399092"/>
                  <a:pt x="114016" y="380408"/>
                  <a:pt x="99324" y="380408"/>
                </a:cubicBezTo>
                <a:cubicBezTo>
                  <a:pt x="84631" y="380408"/>
                  <a:pt x="87755" y="399207"/>
                  <a:pt x="88391" y="408289"/>
                </a:cubicBezTo>
                <a:cubicBezTo>
                  <a:pt x="89028" y="417370"/>
                  <a:pt x="66642" y="406438"/>
                  <a:pt x="61147" y="428245"/>
                </a:cubicBezTo>
                <a:cubicBezTo>
                  <a:pt x="55651" y="450053"/>
                  <a:pt x="32687" y="431311"/>
                  <a:pt x="47842" y="452482"/>
                </a:cubicBezTo>
                <a:cubicBezTo>
                  <a:pt x="62998" y="473653"/>
                  <a:pt x="60568" y="460349"/>
                  <a:pt x="72658" y="468852"/>
                </a:cubicBezTo>
                <a:cubicBezTo>
                  <a:pt x="84747" y="477355"/>
                  <a:pt x="59353" y="492452"/>
                  <a:pt x="71443" y="494882"/>
                </a:cubicBezTo>
                <a:cubicBezTo>
                  <a:pt x="83532" y="497311"/>
                  <a:pt x="96894" y="519119"/>
                  <a:pt x="105398" y="526985"/>
                </a:cubicBezTo>
                <a:cubicBezTo>
                  <a:pt x="113901" y="534852"/>
                  <a:pt x="124775" y="522763"/>
                  <a:pt x="137501" y="522184"/>
                </a:cubicBezTo>
                <a:cubicBezTo>
                  <a:pt x="150227" y="521606"/>
                  <a:pt x="144153" y="503963"/>
                  <a:pt x="151442" y="510615"/>
                </a:cubicBezTo>
                <a:cubicBezTo>
                  <a:pt x="158730" y="517268"/>
                  <a:pt x="168795" y="536645"/>
                  <a:pt x="162316" y="541447"/>
                </a:cubicBezTo>
                <a:cubicBezTo>
                  <a:pt x="155838" y="546248"/>
                  <a:pt x="161102" y="561461"/>
                  <a:pt x="159887" y="568749"/>
                </a:cubicBezTo>
                <a:cubicBezTo>
                  <a:pt x="158672" y="576037"/>
                  <a:pt x="187768" y="573608"/>
                  <a:pt x="189619" y="565105"/>
                </a:cubicBezTo>
                <a:cubicBezTo>
                  <a:pt x="191470" y="556602"/>
                  <a:pt x="214434" y="554172"/>
                  <a:pt x="227160" y="568113"/>
                </a:cubicBezTo>
                <a:cubicBezTo>
                  <a:pt x="239885" y="582053"/>
                  <a:pt x="244108" y="584483"/>
                  <a:pt x="244108" y="573897"/>
                </a:cubicBezTo>
                <a:cubicBezTo>
                  <a:pt x="244108" y="563312"/>
                  <a:pt x="255041" y="550759"/>
                  <a:pt x="255677" y="559957"/>
                </a:cubicBezTo>
                <a:cubicBezTo>
                  <a:pt x="256313" y="569154"/>
                  <a:pt x="266552" y="571526"/>
                  <a:pt x="285351" y="562965"/>
                </a:cubicBezTo>
                <a:cubicBezTo>
                  <a:pt x="304150" y="554404"/>
                  <a:pt x="295647" y="563601"/>
                  <a:pt x="285987" y="575690"/>
                </a:cubicBezTo>
                <a:cubicBezTo>
                  <a:pt x="272567" y="592407"/>
                  <a:pt x="285987" y="616876"/>
                  <a:pt x="276270" y="619305"/>
                </a:cubicBezTo>
                <a:cubicBezTo>
                  <a:pt x="266552" y="621734"/>
                  <a:pt x="258916" y="646549"/>
                  <a:pt x="242951" y="648227"/>
                </a:cubicBezTo>
                <a:cubicBezTo>
                  <a:pt x="226986" y="649905"/>
                  <a:pt x="200551" y="679694"/>
                  <a:pt x="196676" y="684611"/>
                </a:cubicBezTo>
                <a:cubicBezTo>
                  <a:pt x="192800" y="689528"/>
                  <a:pt x="159135" y="674835"/>
                  <a:pt x="154276" y="688776"/>
                </a:cubicBezTo>
                <a:cubicBezTo>
                  <a:pt x="149417" y="702716"/>
                  <a:pt x="128940" y="713128"/>
                  <a:pt x="134262" y="718508"/>
                </a:cubicBezTo>
                <a:cubicBezTo>
                  <a:pt x="137906" y="722152"/>
                  <a:pt x="165787" y="708212"/>
                  <a:pt x="167002" y="701155"/>
                </a:cubicBezTo>
                <a:cubicBezTo>
                  <a:pt x="168216" y="694098"/>
                  <a:pt x="171861" y="695370"/>
                  <a:pt x="176662" y="700576"/>
                </a:cubicBezTo>
                <a:cubicBezTo>
                  <a:pt x="181463" y="705782"/>
                  <a:pt x="193668" y="698147"/>
                  <a:pt x="199105" y="693288"/>
                </a:cubicBezTo>
                <a:cubicBezTo>
                  <a:pt x="204543" y="688429"/>
                  <a:pt x="213624" y="690280"/>
                  <a:pt x="219119" y="690858"/>
                </a:cubicBezTo>
                <a:cubicBezTo>
                  <a:pt x="224615" y="691437"/>
                  <a:pt x="226986" y="684206"/>
                  <a:pt x="243356" y="681140"/>
                </a:cubicBezTo>
                <a:cubicBezTo>
                  <a:pt x="259726" y="678075"/>
                  <a:pt x="256024" y="673274"/>
                  <a:pt x="259668" y="664828"/>
                </a:cubicBezTo>
                <a:cubicBezTo>
                  <a:pt x="263312" y="656383"/>
                  <a:pt x="302068" y="638162"/>
                  <a:pt x="309356" y="636311"/>
                </a:cubicBezTo>
                <a:cubicBezTo>
                  <a:pt x="316645" y="634460"/>
                  <a:pt x="312364" y="622429"/>
                  <a:pt x="320289" y="621792"/>
                </a:cubicBezTo>
                <a:cubicBezTo>
                  <a:pt x="328214" y="621156"/>
                  <a:pt x="340245" y="611496"/>
                  <a:pt x="350542" y="602993"/>
                </a:cubicBezTo>
                <a:cubicBezTo>
                  <a:pt x="360838" y="594490"/>
                  <a:pt x="363267" y="598134"/>
                  <a:pt x="371134" y="595126"/>
                </a:cubicBezTo>
                <a:cubicBezTo>
                  <a:pt x="379001" y="592118"/>
                  <a:pt x="372985" y="576327"/>
                  <a:pt x="380852" y="575112"/>
                </a:cubicBezTo>
                <a:cubicBezTo>
                  <a:pt x="388256" y="574441"/>
                  <a:pt x="394122" y="568575"/>
                  <a:pt x="394792" y="561171"/>
                </a:cubicBezTo>
                <a:cubicBezTo>
                  <a:pt x="394792" y="554519"/>
                  <a:pt x="374778" y="554519"/>
                  <a:pt x="372985" y="550297"/>
                </a:cubicBezTo>
                <a:cubicBezTo>
                  <a:pt x="371192" y="546074"/>
                  <a:pt x="388719" y="530283"/>
                  <a:pt x="395371" y="530919"/>
                </a:cubicBezTo>
                <a:cubicBezTo>
                  <a:pt x="404585" y="530566"/>
                  <a:pt x="412227" y="523677"/>
                  <a:pt x="413534" y="514549"/>
                </a:cubicBezTo>
                <a:cubicBezTo>
                  <a:pt x="414170" y="504889"/>
                  <a:pt x="423830" y="502980"/>
                  <a:pt x="431697" y="494593"/>
                </a:cubicBezTo>
                <a:cubicBezTo>
                  <a:pt x="439564" y="486205"/>
                  <a:pt x="437771" y="478801"/>
                  <a:pt x="445638" y="478223"/>
                </a:cubicBezTo>
                <a:cubicBezTo>
                  <a:pt x="453504" y="477644"/>
                  <a:pt x="460793" y="466654"/>
                  <a:pt x="469296" y="461853"/>
                </a:cubicBezTo>
                <a:cubicBezTo>
                  <a:pt x="477799" y="457052"/>
                  <a:pt x="469296" y="467637"/>
                  <a:pt x="485666" y="468563"/>
                </a:cubicBezTo>
                <a:cubicBezTo>
                  <a:pt x="502036" y="469488"/>
                  <a:pt x="498334" y="484296"/>
                  <a:pt x="486244" y="478801"/>
                </a:cubicBezTo>
                <a:cubicBezTo>
                  <a:pt x="474155" y="473306"/>
                  <a:pt x="468891" y="474000"/>
                  <a:pt x="457785" y="484585"/>
                </a:cubicBezTo>
                <a:cubicBezTo>
                  <a:pt x="446679" y="495171"/>
                  <a:pt x="455355" y="497890"/>
                  <a:pt x="446852" y="509401"/>
                </a:cubicBezTo>
                <a:cubicBezTo>
                  <a:pt x="438349" y="520912"/>
                  <a:pt x="437771" y="528200"/>
                  <a:pt x="448703" y="529415"/>
                </a:cubicBezTo>
                <a:cubicBezTo>
                  <a:pt x="459636" y="530630"/>
                  <a:pt x="449282" y="538496"/>
                  <a:pt x="438986" y="541504"/>
                </a:cubicBezTo>
                <a:cubicBezTo>
                  <a:pt x="428689" y="544512"/>
                  <a:pt x="435978" y="550586"/>
                  <a:pt x="449860" y="550586"/>
                </a:cubicBezTo>
                <a:cubicBezTo>
                  <a:pt x="463743" y="550586"/>
                  <a:pt x="484567" y="530572"/>
                  <a:pt x="503771" y="520912"/>
                </a:cubicBezTo>
                <a:cubicBezTo>
                  <a:pt x="522975" y="511252"/>
                  <a:pt x="537726" y="520912"/>
                  <a:pt x="543163" y="519119"/>
                </a:cubicBezTo>
                <a:cubicBezTo>
                  <a:pt x="548600" y="517325"/>
                  <a:pt x="537379" y="508186"/>
                  <a:pt x="543799" y="505178"/>
                </a:cubicBezTo>
                <a:cubicBezTo>
                  <a:pt x="550220" y="502170"/>
                  <a:pt x="535933" y="500319"/>
                  <a:pt x="531652" y="488808"/>
                </a:cubicBezTo>
                <a:cubicBezTo>
                  <a:pt x="527372" y="477297"/>
                  <a:pt x="538362" y="484585"/>
                  <a:pt x="540791" y="475504"/>
                </a:cubicBezTo>
                <a:cubicBezTo>
                  <a:pt x="543221" y="466422"/>
                  <a:pt x="549873" y="469720"/>
                  <a:pt x="555889" y="474289"/>
                </a:cubicBezTo>
                <a:cubicBezTo>
                  <a:pt x="561905" y="478859"/>
                  <a:pt x="570466" y="470009"/>
                  <a:pt x="575903" y="481520"/>
                </a:cubicBezTo>
                <a:cubicBezTo>
                  <a:pt x="581340" y="493031"/>
                  <a:pt x="587472" y="478512"/>
                  <a:pt x="597074" y="486379"/>
                </a:cubicBezTo>
                <a:cubicBezTo>
                  <a:pt x="606676" y="494246"/>
                  <a:pt x="595281" y="493031"/>
                  <a:pt x="584985" y="495460"/>
                </a:cubicBezTo>
                <a:cubicBezTo>
                  <a:pt x="574688" y="497890"/>
                  <a:pt x="580126" y="511830"/>
                  <a:pt x="587992" y="505178"/>
                </a:cubicBezTo>
                <a:cubicBezTo>
                  <a:pt x="595859" y="498526"/>
                  <a:pt x="602511" y="494246"/>
                  <a:pt x="609800" y="500955"/>
                </a:cubicBezTo>
                <a:cubicBezTo>
                  <a:pt x="617088" y="507665"/>
                  <a:pt x="620096" y="504542"/>
                  <a:pt x="626170" y="498468"/>
                </a:cubicBezTo>
                <a:cubicBezTo>
                  <a:pt x="632243" y="492394"/>
                  <a:pt x="632243" y="499104"/>
                  <a:pt x="632243" y="503963"/>
                </a:cubicBezTo>
                <a:cubicBezTo>
                  <a:pt x="632243" y="508822"/>
                  <a:pt x="644969" y="510615"/>
                  <a:pt x="663132" y="513623"/>
                </a:cubicBezTo>
                <a:cubicBezTo>
                  <a:pt x="681295" y="516631"/>
                  <a:pt x="713977" y="512409"/>
                  <a:pt x="722480" y="511830"/>
                </a:cubicBezTo>
                <a:cubicBezTo>
                  <a:pt x="730983" y="511252"/>
                  <a:pt x="727918" y="524556"/>
                  <a:pt x="746717" y="528200"/>
                </a:cubicBezTo>
                <a:cubicBezTo>
                  <a:pt x="765516" y="531844"/>
                  <a:pt x="770318" y="509401"/>
                  <a:pt x="780035" y="517268"/>
                </a:cubicBezTo>
                <a:cubicBezTo>
                  <a:pt x="789753" y="525134"/>
                  <a:pt x="780035" y="528200"/>
                  <a:pt x="774598" y="534216"/>
                </a:cubicBezTo>
                <a:cubicBezTo>
                  <a:pt x="769161" y="540232"/>
                  <a:pt x="780383" y="540926"/>
                  <a:pt x="787902" y="543934"/>
                </a:cubicBezTo>
                <a:cubicBezTo>
                  <a:pt x="795422" y="546942"/>
                  <a:pt x="812139" y="551801"/>
                  <a:pt x="820006" y="559667"/>
                </a:cubicBezTo>
                <a:cubicBezTo>
                  <a:pt x="827873" y="567534"/>
                  <a:pt x="832732" y="576037"/>
                  <a:pt x="852109" y="585697"/>
                </a:cubicBezTo>
                <a:cubicBezTo>
                  <a:pt x="871487" y="595357"/>
                  <a:pt x="852746" y="561461"/>
                  <a:pt x="867901" y="572393"/>
                </a:cubicBezTo>
                <a:cubicBezTo>
                  <a:pt x="883056" y="583326"/>
                  <a:pt x="877561" y="572972"/>
                  <a:pt x="889708" y="583962"/>
                </a:cubicBezTo>
                <a:cubicBezTo>
                  <a:pt x="901856" y="594952"/>
                  <a:pt x="897575" y="579103"/>
                  <a:pt x="892080" y="560824"/>
                </a:cubicBezTo>
                <a:cubicBezTo>
                  <a:pt x="886585" y="542546"/>
                  <a:pt x="897864" y="554751"/>
                  <a:pt x="903012" y="563254"/>
                </a:cubicBezTo>
                <a:cubicBezTo>
                  <a:pt x="908161" y="571757"/>
                  <a:pt x="908450" y="588069"/>
                  <a:pt x="904806" y="599002"/>
                </a:cubicBezTo>
                <a:cubicBezTo>
                  <a:pt x="901161" y="609934"/>
                  <a:pt x="882998" y="600795"/>
                  <a:pt x="884849" y="594779"/>
                </a:cubicBezTo>
                <a:cubicBezTo>
                  <a:pt x="886700" y="588763"/>
                  <a:pt x="866686" y="591135"/>
                  <a:pt x="866050" y="599580"/>
                </a:cubicBezTo>
                <a:cubicBezTo>
                  <a:pt x="865413" y="608025"/>
                  <a:pt x="878776" y="624453"/>
                  <a:pt x="888493" y="626246"/>
                </a:cubicBezTo>
                <a:cubicBezTo>
                  <a:pt x="898211" y="628039"/>
                  <a:pt x="890865" y="643252"/>
                  <a:pt x="896939" y="645046"/>
                </a:cubicBezTo>
                <a:cubicBezTo>
                  <a:pt x="905268" y="647533"/>
                  <a:pt x="904806" y="663267"/>
                  <a:pt x="909665" y="660779"/>
                </a:cubicBezTo>
                <a:cubicBezTo>
                  <a:pt x="914523" y="658292"/>
                  <a:pt x="912730" y="639608"/>
                  <a:pt x="907235" y="631105"/>
                </a:cubicBezTo>
                <a:cubicBezTo>
                  <a:pt x="901740" y="622602"/>
                  <a:pt x="904227" y="610513"/>
                  <a:pt x="911515" y="612942"/>
                </a:cubicBezTo>
                <a:cubicBezTo>
                  <a:pt x="918804" y="615372"/>
                  <a:pt x="911515" y="628097"/>
                  <a:pt x="915102" y="632320"/>
                </a:cubicBezTo>
                <a:cubicBezTo>
                  <a:pt x="918688" y="636543"/>
                  <a:pt x="922969" y="628097"/>
                  <a:pt x="931472" y="623238"/>
                </a:cubicBezTo>
                <a:cubicBezTo>
                  <a:pt x="939975" y="618379"/>
                  <a:pt x="927828" y="604439"/>
                  <a:pt x="930893" y="597151"/>
                </a:cubicBezTo>
                <a:cubicBezTo>
                  <a:pt x="933959" y="589862"/>
                  <a:pt x="943619" y="603224"/>
                  <a:pt x="947205" y="615950"/>
                </a:cubicBezTo>
                <a:cubicBezTo>
                  <a:pt x="950792" y="628676"/>
                  <a:pt x="938124" y="628097"/>
                  <a:pt x="938124" y="634749"/>
                </a:cubicBezTo>
                <a:cubicBezTo>
                  <a:pt x="938124" y="641401"/>
                  <a:pt x="926555" y="638394"/>
                  <a:pt x="922969" y="642038"/>
                </a:cubicBezTo>
                <a:cubicBezTo>
                  <a:pt x="919382" y="645682"/>
                  <a:pt x="921175" y="669861"/>
                  <a:pt x="926034" y="670497"/>
                </a:cubicBezTo>
                <a:cubicBezTo>
                  <a:pt x="930893" y="671133"/>
                  <a:pt x="933901" y="650483"/>
                  <a:pt x="936909" y="660779"/>
                </a:cubicBezTo>
                <a:cubicBezTo>
                  <a:pt x="939917" y="671076"/>
                  <a:pt x="951486" y="647475"/>
                  <a:pt x="954262" y="657135"/>
                </a:cubicBezTo>
                <a:cubicBezTo>
                  <a:pt x="957039" y="666795"/>
                  <a:pt x="971616" y="677786"/>
                  <a:pt x="977400" y="675298"/>
                </a:cubicBezTo>
                <a:cubicBezTo>
                  <a:pt x="983185" y="672811"/>
                  <a:pt x="974971" y="662630"/>
                  <a:pt x="966525" y="661994"/>
                </a:cubicBezTo>
                <a:cubicBezTo>
                  <a:pt x="958080" y="661358"/>
                  <a:pt x="959237" y="647475"/>
                  <a:pt x="967104" y="646839"/>
                </a:cubicBezTo>
                <a:cubicBezTo>
                  <a:pt x="974971" y="646202"/>
                  <a:pt x="988911" y="666853"/>
                  <a:pt x="988275" y="674141"/>
                </a:cubicBezTo>
                <a:cubicBezTo>
                  <a:pt x="987638" y="681430"/>
                  <a:pt x="981044" y="680793"/>
                  <a:pt x="974334" y="688082"/>
                </a:cubicBezTo>
                <a:cubicBezTo>
                  <a:pt x="967624" y="695370"/>
                  <a:pt x="958601" y="675934"/>
                  <a:pt x="950734" y="676513"/>
                </a:cubicBezTo>
                <a:cubicBezTo>
                  <a:pt x="942867" y="677091"/>
                  <a:pt x="950734" y="689181"/>
                  <a:pt x="954378" y="697684"/>
                </a:cubicBezTo>
                <a:cubicBezTo>
                  <a:pt x="958022" y="706187"/>
                  <a:pt x="944660" y="717698"/>
                  <a:pt x="954957" y="724350"/>
                </a:cubicBezTo>
                <a:cubicBezTo>
                  <a:pt x="965253" y="731002"/>
                  <a:pt x="962245" y="720127"/>
                  <a:pt x="964038" y="715269"/>
                </a:cubicBezTo>
                <a:cubicBezTo>
                  <a:pt x="965831" y="710410"/>
                  <a:pt x="973756" y="716425"/>
                  <a:pt x="979193" y="720706"/>
                </a:cubicBezTo>
                <a:cubicBezTo>
                  <a:pt x="984631" y="724987"/>
                  <a:pt x="985267" y="710988"/>
                  <a:pt x="985267" y="705551"/>
                </a:cubicBezTo>
                <a:cubicBezTo>
                  <a:pt x="985267" y="700113"/>
                  <a:pt x="994348" y="703121"/>
                  <a:pt x="999207" y="710410"/>
                </a:cubicBezTo>
                <a:cubicBezTo>
                  <a:pt x="1004066" y="717698"/>
                  <a:pt x="1004645" y="702543"/>
                  <a:pt x="1011933" y="703758"/>
                </a:cubicBezTo>
                <a:cubicBezTo>
                  <a:pt x="1019222" y="704972"/>
                  <a:pt x="1014363" y="716425"/>
                  <a:pt x="1014363" y="723135"/>
                </a:cubicBezTo>
                <a:cubicBezTo>
                  <a:pt x="1014363" y="729845"/>
                  <a:pt x="1027088" y="717698"/>
                  <a:pt x="1025931" y="724929"/>
                </a:cubicBezTo>
                <a:cubicBezTo>
                  <a:pt x="1025793" y="725964"/>
                  <a:pt x="1025793" y="727017"/>
                  <a:pt x="1025931" y="728052"/>
                </a:cubicBezTo>
                <a:cubicBezTo>
                  <a:pt x="1032641" y="723193"/>
                  <a:pt x="1039583" y="718277"/>
                  <a:pt x="1044557" y="714864"/>
                </a:cubicBezTo>
                <a:cubicBezTo>
                  <a:pt x="1057804" y="705666"/>
                  <a:pt x="1035187" y="699998"/>
                  <a:pt x="1039236" y="689528"/>
                </a:cubicBezTo>
                <a:close/>
                <a:moveTo>
                  <a:pt x="17127" y="775542"/>
                </a:moveTo>
                <a:cubicBezTo>
                  <a:pt x="31646" y="769758"/>
                  <a:pt x="37720" y="762238"/>
                  <a:pt x="31646" y="754950"/>
                </a:cubicBezTo>
                <a:cubicBezTo>
                  <a:pt x="25572" y="747661"/>
                  <a:pt x="5905" y="780170"/>
                  <a:pt x="17127" y="775542"/>
                </a:cubicBezTo>
                <a:close/>
                <a:moveTo>
                  <a:pt x="120090" y="720995"/>
                </a:moveTo>
                <a:cubicBezTo>
                  <a:pt x="106786" y="716136"/>
                  <a:pt x="71674" y="737481"/>
                  <a:pt x="83764" y="739216"/>
                </a:cubicBezTo>
                <a:cubicBezTo>
                  <a:pt x="92209" y="740373"/>
                  <a:pt x="95853" y="731986"/>
                  <a:pt x="105571" y="731986"/>
                </a:cubicBezTo>
                <a:cubicBezTo>
                  <a:pt x="115289" y="731986"/>
                  <a:pt x="133394" y="725854"/>
                  <a:pt x="120090" y="720995"/>
                </a:cubicBezTo>
                <a:close/>
                <a:moveTo>
                  <a:pt x="427243" y="578640"/>
                </a:moveTo>
                <a:cubicBezTo>
                  <a:pt x="427822" y="571988"/>
                  <a:pt x="418104" y="572567"/>
                  <a:pt x="406014" y="586507"/>
                </a:cubicBezTo>
                <a:cubicBezTo>
                  <a:pt x="393925" y="600448"/>
                  <a:pt x="383629" y="607736"/>
                  <a:pt x="381778" y="614388"/>
                </a:cubicBezTo>
                <a:cubicBezTo>
                  <a:pt x="379926" y="621040"/>
                  <a:pt x="366044" y="613173"/>
                  <a:pt x="361821" y="621677"/>
                </a:cubicBezTo>
                <a:cubicBezTo>
                  <a:pt x="357599" y="630180"/>
                  <a:pt x="364771" y="648921"/>
                  <a:pt x="373390" y="642905"/>
                </a:cubicBezTo>
                <a:cubicBezTo>
                  <a:pt x="382009" y="636890"/>
                  <a:pt x="382472" y="642905"/>
                  <a:pt x="387909" y="642905"/>
                </a:cubicBezTo>
                <a:cubicBezTo>
                  <a:pt x="393346" y="642905"/>
                  <a:pt x="418162" y="625899"/>
                  <a:pt x="423657" y="617396"/>
                </a:cubicBezTo>
                <a:cubicBezTo>
                  <a:pt x="429152" y="608893"/>
                  <a:pt x="413939" y="606521"/>
                  <a:pt x="413361" y="601084"/>
                </a:cubicBezTo>
                <a:cubicBezTo>
                  <a:pt x="412782" y="595647"/>
                  <a:pt x="426086" y="595647"/>
                  <a:pt x="432738" y="592002"/>
                </a:cubicBezTo>
                <a:cubicBezTo>
                  <a:pt x="439390" y="588358"/>
                  <a:pt x="426607" y="585292"/>
                  <a:pt x="427243" y="578640"/>
                </a:cubicBezTo>
                <a:close/>
                <a:moveTo>
                  <a:pt x="41364" y="507203"/>
                </a:moveTo>
                <a:cubicBezTo>
                  <a:pt x="40149" y="497485"/>
                  <a:pt x="14061" y="506566"/>
                  <a:pt x="17127" y="515648"/>
                </a:cubicBezTo>
                <a:cubicBezTo>
                  <a:pt x="20193" y="524729"/>
                  <a:pt x="44719" y="530687"/>
                  <a:pt x="55304" y="527217"/>
                </a:cubicBezTo>
                <a:cubicBezTo>
                  <a:pt x="64386" y="524209"/>
                  <a:pt x="67394" y="514491"/>
                  <a:pt x="60742" y="508475"/>
                </a:cubicBezTo>
                <a:cubicBezTo>
                  <a:pt x="54090" y="502460"/>
                  <a:pt x="42579" y="516863"/>
                  <a:pt x="41364" y="507203"/>
                </a:cubicBezTo>
                <a:close/>
                <a:moveTo>
                  <a:pt x="336370" y="1844736"/>
                </a:moveTo>
                <a:cubicBezTo>
                  <a:pt x="321272" y="1846529"/>
                  <a:pt x="329602" y="1884417"/>
                  <a:pt x="337758" y="1878170"/>
                </a:cubicBezTo>
                <a:cubicBezTo>
                  <a:pt x="343542" y="1873716"/>
                  <a:pt x="354244" y="1872848"/>
                  <a:pt x="357367" y="1867006"/>
                </a:cubicBezTo>
                <a:cubicBezTo>
                  <a:pt x="361648" y="1859197"/>
                  <a:pt x="351699" y="1843001"/>
                  <a:pt x="336485" y="1844736"/>
                </a:cubicBezTo>
                <a:close/>
                <a:moveTo>
                  <a:pt x="316356" y="1821599"/>
                </a:moveTo>
                <a:cubicBezTo>
                  <a:pt x="307448" y="1822871"/>
                  <a:pt x="313232" y="1838952"/>
                  <a:pt x="319016" y="1834961"/>
                </a:cubicBezTo>
                <a:cubicBezTo>
                  <a:pt x="328966" y="1827846"/>
                  <a:pt x="325379" y="1820268"/>
                  <a:pt x="316471" y="1821599"/>
                </a:cubicBezTo>
                <a:close/>
                <a:moveTo>
                  <a:pt x="221896" y="1790883"/>
                </a:moveTo>
                <a:cubicBezTo>
                  <a:pt x="229936" y="1799329"/>
                  <a:pt x="235721" y="1797073"/>
                  <a:pt x="237977" y="1789495"/>
                </a:cubicBezTo>
                <a:cubicBezTo>
                  <a:pt x="240233" y="1781917"/>
                  <a:pt x="213451" y="1781744"/>
                  <a:pt x="222012" y="1790883"/>
                </a:cubicBezTo>
                <a:close/>
                <a:moveTo>
                  <a:pt x="264701" y="1809104"/>
                </a:moveTo>
                <a:cubicBezTo>
                  <a:pt x="270485" y="1818012"/>
                  <a:pt x="276732" y="1819805"/>
                  <a:pt x="281591" y="1811765"/>
                </a:cubicBezTo>
                <a:cubicBezTo>
                  <a:pt x="286450" y="1803724"/>
                  <a:pt x="258049" y="1798692"/>
                  <a:pt x="264816" y="1809104"/>
                </a:cubicBezTo>
                <a:close/>
                <a:moveTo>
                  <a:pt x="2750732" y="998069"/>
                </a:moveTo>
                <a:cubicBezTo>
                  <a:pt x="2749923" y="989971"/>
                  <a:pt x="2725686" y="996450"/>
                  <a:pt x="2714406" y="987600"/>
                </a:cubicBezTo>
                <a:cubicBezTo>
                  <a:pt x="2703127" y="978749"/>
                  <a:pt x="2683691" y="1019067"/>
                  <a:pt x="2679700" y="1036015"/>
                </a:cubicBezTo>
                <a:cubicBezTo>
                  <a:pt x="2675708" y="1052964"/>
                  <a:pt x="2645745" y="1071532"/>
                  <a:pt x="2645745" y="1071532"/>
                </a:cubicBezTo>
                <a:cubicBezTo>
                  <a:pt x="2645745" y="1071532"/>
                  <a:pt x="2559326" y="1072399"/>
                  <a:pt x="2552037" y="1072399"/>
                </a:cubicBezTo>
                <a:cubicBezTo>
                  <a:pt x="2547005" y="1072399"/>
                  <a:pt x="2527164" y="1089753"/>
                  <a:pt x="2515480" y="1099991"/>
                </a:cubicBezTo>
                <a:cubicBezTo>
                  <a:pt x="2515867" y="1100442"/>
                  <a:pt x="2516214" y="1100928"/>
                  <a:pt x="2516521" y="1101437"/>
                </a:cubicBezTo>
                <a:cubicBezTo>
                  <a:pt x="2525255" y="1117229"/>
                  <a:pt x="2493383" y="1126889"/>
                  <a:pt x="2463189" y="1128103"/>
                </a:cubicBezTo>
                <a:cubicBezTo>
                  <a:pt x="2455923" y="1128375"/>
                  <a:pt x="2448681" y="1129069"/>
                  <a:pt x="2441497" y="1130186"/>
                </a:cubicBezTo>
                <a:cubicBezTo>
                  <a:pt x="2442636" y="1133674"/>
                  <a:pt x="2443145" y="1137335"/>
                  <a:pt x="2443001" y="1141003"/>
                </a:cubicBezTo>
                <a:cubicBezTo>
                  <a:pt x="2443001" y="1142969"/>
                  <a:pt x="2439530" y="1145341"/>
                  <a:pt x="2434903" y="1147828"/>
                </a:cubicBezTo>
                <a:cubicBezTo>
                  <a:pt x="2430275" y="1157199"/>
                  <a:pt x="2393139" y="1175304"/>
                  <a:pt x="2372373" y="1186295"/>
                </a:cubicBezTo>
                <a:cubicBezTo>
                  <a:pt x="2349235" y="1198384"/>
                  <a:pt x="2317826" y="1192079"/>
                  <a:pt x="2317826" y="1174147"/>
                </a:cubicBezTo>
                <a:cubicBezTo>
                  <a:pt x="2317826" y="1156216"/>
                  <a:pt x="2334774" y="1159628"/>
                  <a:pt x="2338418" y="1168074"/>
                </a:cubicBezTo>
                <a:cubicBezTo>
                  <a:pt x="2339749" y="1171255"/>
                  <a:pt x="2343856" y="1168941"/>
                  <a:pt x="2349409" y="1165008"/>
                </a:cubicBezTo>
                <a:cubicBezTo>
                  <a:pt x="2344550" y="1158992"/>
                  <a:pt x="2342907" y="1150992"/>
                  <a:pt x="2345013" y="1143548"/>
                </a:cubicBezTo>
                <a:cubicBezTo>
                  <a:pt x="2338071" y="1140540"/>
                  <a:pt x="2348830" y="1113411"/>
                  <a:pt x="2334774" y="1108841"/>
                </a:cubicBezTo>
                <a:cubicBezTo>
                  <a:pt x="2320718" y="1104271"/>
                  <a:pt x="2303307" y="1129434"/>
                  <a:pt x="2305852" y="1113642"/>
                </a:cubicBezTo>
                <a:cubicBezTo>
                  <a:pt x="2308397" y="1097851"/>
                  <a:pt x="2330147" y="1084720"/>
                  <a:pt x="2316785" y="1064012"/>
                </a:cubicBezTo>
                <a:cubicBezTo>
                  <a:pt x="2303423" y="1043304"/>
                  <a:pt x="2279244" y="1043419"/>
                  <a:pt x="2274385" y="1059153"/>
                </a:cubicBezTo>
                <a:cubicBezTo>
                  <a:pt x="2269526" y="1074887"/>
                  <a:pt x="2252578" y="1067656"/>
                  <a:pt x="2246504" y="1079745"/>
                </a:cubicBezTo>
                <a:cubicBezTo>
                  <a:pt x="2238290" y="1097972"/>
                  <a:pt x="2235768" y="1118253"/>
                  <a:pt x="2239273" y="1137937"/>
                </a:cubicBezTo>
                <a:cubicBezTo>
                  <a:pt x="2244074" y="1157315"/>
                  <a:pt x="2238059" y="1166859"/>
                  <a:pt x="2219838" y="1177907"/>
                </a:cubicBezTo>
                <a:cubicBezTo>
                  <a:pt x="2201617" y="1188956"/>
                  <a:pt x="2192188" y="1161248"/>
                  <a:pt x="2199303" y="1125847"/>
                </a:cubicBezTo>
                <a:cubicBezTo>
                  <a:pt x="2204104" y="1101611"/>
                  <a:pt x="2217466" y="1078646"/>
                  <a:pt x="2205087" y="1078646"/>
                </a:cubicBezTo>
                <a:cubicBezTo>
                  <a:pt x="2192709" y="1078646"/>
                  <a:pt x="2220821" y="1049724"/>
                  <a:pt x="2246272" y="1043477"/>
                </a:cubicBezTo>
                <a:cubicBezTo>
                  <a:pt x="2271724" y="1037230"/>
                  <a:pt x="2303249" y="1039833"/>
                  <a:pt x="2303249" y="1032545"/>
                </a:cubicBezTo>
                <a:cubicBezTo>
                  <a:pt x="2303249" y="1031098"/>
                  <a:pt x="2304406" y="1030115"/>
                  <a:pt x="2306315" y="1029421"/>
                </a:cubicBezTo>
                <a:cubicBezTo>
                  <a:pt x="2301323" y="1025545"/>
                  <a:pt x="2296128" y="1021930"/>
                  <a:pt x="2290755" y="1018604"/>
                </a:cubicBezTo>
                <a:cubicBezTo>
                  <a:pt x="2290199" y="1020380"/>
                  <a:pt x="2289031" y="1021895"/>
                  <a:pt x="2287458" y="1022885"/>
                </a:cubicBezTo>
                <a:cubicBezTo>
                  <a:pt x="2277508" y="1029826"/>
                  <a:pt x="2280227" y="1011952"/>
                  <a:pt x="2262006" y="1011952"/>
                </a:cubicBezTo>
                <a:cubicBezTo>
                  <a:pt x="2243785" y="1011952"/>
                  <a:pt x="2225680" y="1028900"/>
                  <a:pt x="2211161" y="1021670"/>
                </a:cubicBezTo>
                <a:cubicBezTo>
                  <a:pt x="2196642" y="1014439"/>
                  <a:pt x="2203873" y="1004721"/>
                  <a:pt x="2190568" y="1004721"/>
                </a:cubicBezTo>
                <a:cubicBezTo>
                  <a:pt x="2177264" y="1004721"/>
                  <a:pt x="2200228" y="979270"/>
                  <a:pt x="2180850" y="990145"/>
                </a:cubicBezTo>
                <a:cubicBezTo>
                  <a:pt x="2161473" y="1001019"/>
                  <a:pt x="2132377" y="1027744"/>
                  <a:pt x="2119073" y="1015596"/>
                </a:cubicBezTo>
                <a:cubicBezTo>
                  <a:pt x="2105769" y="1003449"/>
                  <a:pt x="2093621" y="1019240"/>
                  <a:pt x="2083961" y="1009812"/>
                </a:cubicBezTo>
                <a:cubicBezTo>
                  <a:pt x="2074301" y="1000383"/>
                  <a:pt x="2117858" y="973428"/>
                  <a:pt x="2138451" y="974642"/>
                </a:cubicBezTo>
                <a:cubicBezTo>
                  <a:pt x="2143657" y="974683"/>
                  <a:pt x="2148683" y="972739"/>
                  <a:pt x="2152507" y="969205"/>
                </a:cubicBezTo>
                <a:cubicBezTo>
                  <a:pt x="2141632" y="965272"/>
                  <a:pt x="2119304" y="956537"/>
                  <a:pt x="2113404" y="963768"/>
                </a:cubicBezTo>
                <a:cubicBezTo>
                  <a:pt x="2106116" y="972618"/>
                  <a:pt x="2095646" y="966949"/>
                  <a:pt x="2089977" y="959719"/>
                </a:cubicBezTo>
                <a:cubicBezTo>
                  <a:pt x="2084308" y="952488"/>
                  <a:pt x="2077078" y="962090"/>
                  <a:pt x="2067360" y="950810"/>
                </a:cubicBezTo>
                <a:cubicBezTo>
                  <a:pt x="2057642" y="939531"/>
                  <a:pt x="2047982" y="947571"/>
                  <a:pt x="2042371" y="950001"/>
                </a:cubicBezTo>
                <a:cubicBezTo>
                  <a:pt x="2036760" y="952430"/>
                  <a:pt x="2029414" y="945952"/>
                  <a:pt x="2019233" y="941960"/>
                </a:cubicBezTo>
                <a:cubicBezTo>
                  <a:pt x="2009053" y="937969"/>
                  <a:pt x="2016804" y="927384"/>
                  <a:pt x="2007665" y="920905"/>
                </a:cubicBezTo>
                <a:cubicBezTo>
                  <a:pt x="1998525" y="914427"/>
                  <a:pt x="1998294" y="933168"/>
                  <a:pt x="1998294" y="933168"/>
                </a:cubicBezTo>
                <a:lnTo>
                  <a:pt x="1245393" y="937217"/>
                </a:lnTo>
                <a:cubicBezTo>
                  <a:pt x="1246168" y="938472"/>
                  <a:pt x="1247059" y="939658"/>
                  <a:pt x="1248054" y="940746"/>
                </a:cubicBezTo>
                <a:cubicBezTo>
                  <a:pt x="1257135" y="950406"/>
                  <a:pt x="1249847" y="957694"/>
                  <a:pt x="1252855" y="969205"/>
                </a:cubicBezTo>
                <a:cubicBezTo>
                  <a:pt x="1255862" y="980716"/>
                  <a:pt x="1253491" y="997086"/>
                  <a:pt x="1244409" y="997086"/>
                </a:cubicBezTo>
                <a:cubicBezTo>
                  <a:pt x="1240406" y="997503"/>
                  <a:pt x="1236820" y="994593"/>
                  <a:pt x="1236404" y="990590"/>
                </a:cubicBezTo>
                <a:cubicBezTo>
                  <a:pt x="1236074" y="987426"/>
                  <a:pt x="1237838" y="984407"/>
                  <a:pt x="1240765" y="983145"/>
                </a:cubicBezTo>
                <a:cubicBezTo>
                  <a:pt x="1247417" y="979501"/>
                  <a:pt x="1243773" y="966197"/>
                  <a:pt x="1237121" y="966197"/>
                </a:cubicBezTo>
                <a:cubicBezTo>
                  <a:pt x="1233245" y="966197"/>
                  <a:pt x="1231684" y="961570"/>
                  <a:pt x="1231857" y="956248"/>
                </a:cubicBezTo>
                <a:cubicBezTo>
                  <a:pt x="1219479" y="959719"/>
                  <a:pt x="1205307" y="958099"/>
                  <a:pt x="1188705" y="956248"/>
                </a:cubicBezTo>
                <a:cubicBezTo>
                  <a:pt x="1189018" y="956942"/>
                  <a:pt x="1189214" y="957688"/>
                  <a:pt x="1189284" y="958446"/>
                </a:cubicBezTo>
                <a:cubicBezTo>
                  <a:pt x="1190707" y="971559"/>
                  <a:pt x="1195514" y="984077"/>
                  <a:pt x="1203224" y="994772"/>
                </a:cubicBezTo>
                <a:cubicBezTo>
                  <a:pt x="1212884" y="1007498"/>
                  <a:pt x="1206232" y="1015365"/>
                  <a:pt x="1215314" y="1020224"/>
                </a:cubicBezTo>
                <a:cubicBezTo>
                  <a:pt x="1224395" y="1025083"/>
                  <a:pt x="1223817" y="1030520"/>
                  <a:pt x="1215314" y="1029247"/>
                </a:cubicBezTo>
                <a:cubicBezTo>
                  <a:pt x="1206811" y="1027975"/>
                  <a:pt x="1212884" y="1035957"/>
                  <a:pt x="1209876" y="1054121"/>
                </a:cubicBezTo>
                <a:cubicBezTo>
                  <a:pt x="1206869" y="1072284"/>
                  <a:pt x="1207447" y="1109825"/>
                  <a:pt x="1205654" y="1121393"/>
                </a:cubicBezTo>
                <a:cubicBezTo>
                  <a:pt x="1203860" y="1132962"/>
                  <a:pt x="1190498" y="1151646"/>
                  <a:pt x="1198365" y="1163793"/>
                </a:cubicBezTo>
                <a:cubicBezTo>
                  <a:pt x="1207366" y="1176641"/>
                  <a:pt x="1210651" y="1192634"/>
                  <a:pt x="1207447" y="1207986"/>
                </a:cubicBezTo>
                <a:cubicBezTo>
                  <a:pt x="1203224" y="1223142"/>
                  <a:pt x="1203803" y="1232223"/>
                  <a:pt x="1210455" y="1243734"/>
                </a:cubicBezTo>
                <a:cubicBezTo>
                  <a:pt x="1217107" y="1255245"/>
                  <a:pt x="1211669" y="1275259"/>
                  <a:pt x="1218958" y="1279424"/>
                </a:cubicBezTo>
                <a:cubicBezTo>
                  <a:pt x="1227577" y="1285590"/>
                  <a:pt x="1234634" y="1293694"/>
                  <a:pt x="1239550" y="1303082"/>
                </a:cubicBezTo>
                <a:cubicBezTo>
                  <a:pt x="1246203" y="1314015"/>
                  <a:pt x="1252276" y="1307363"/>
                  <a:pt x="1253491" y="1318238"/>
                </a:cubicBezTo>
                <a:cubicBezTo>
                  <a:pt x="1254706" y="1329112"/>
                  <a:pt x="1254706" y="1330963"/>
                  <a:pt x="1264366" y="1335186"/>
                </a:cubicBezTo>
                <a:cubicBezTo>
                  <a:pt x="1274026" y="1339409"/>
                  <a:pt x="1268010" y="1350341"/>
                  <a:pt x="1268010" y="1356357"/>
                </a:cubicBezTo>
                <a:cubicBezTo>
                  <a:pt x="1268010" y="1362373"/>
                  <a:pt x="1280736" y="1373363"/>
                  <a:pt x="1296469" y="1387304"/>
                </a:cubicBezTo>
                <a:cubicBezTo>
                  <a:pt x="1312203" y="1401244"/>
                  <a:pt x="1298899" y="1412697"/>
                  <a:pt x="1310467" y="1412697"/>
                </a:cubicBezTo>
                <a:cubicBezTo>
                  <a:pt x="1322036" y="1412697"/>
                  <a:pt x="1332853" y="1419407"/>
                  <a:pt x="1344364" y="1426696"/>
                </a:cubicBezTo>
                <a:cubicBezTo>
                  <a:pt x="1355875" y="1433984"/>
                  <a:pt x="1359462" y="1429703"/>
                  <a:pt x="1367502" y="1431497"/>
                </a:cubicBezTo>
                <a:cubicBezTo>
                  <a:pt x="1375542" y="1433290"/>
                  <a:pt x="1389888" y="1450296"/>
                  <a:pt x="1392896" y="1461807"/>
                </a:cubicBezTo>
                <a:cubicBezTo>
                  <a:pt x="1394429" y="1467771"/>
                  <a:pt x="1396499" y="1473578"/>
                  <a:pt x="1399085" y="1479160"/>
                </a:cubicBezTo>
                <a:lnTo>
                  <a:pt x="1461904" y="1470889"/>
                </a:lnTo>
                <a:cubicBezTo>
                  <a:pt x="1461904" y="1470889"/>
                  <a:pt x="1481282" y="1484540"/>
                  <a:pt x="1492272" y="1487085"/>
                </a:cubicBezTo>
                <a:cubicBezTo>
                  <a:pt x="1503263" y="1489630"/>
                  <a:pt x="1562842" y="1511669"/>
                  <a:pt x="1562842" y="1511669"/>
                </a:cubicBezTo>
                <a:lnTo>
                  <a:pt x="1640527" y="1511033"/>
                </a:lnTo>
                <a:lnTo>
                  <a:pt x="1649551" y="1499464"/>
                </a:lnTo>
                <a:lnTo>
                  <a:pt x="1692240" y="1499464"/>
                </a:lnTo>
                <a:cubicBezTo>
                  <a:pt x="1692240" y="1499464"/>
                  <a:pt x="1719427" y="1526014"/>
                  <a:pt x="1723302" y="1527345"/>
                </a:cubicBezTo>
                <a:cubicBezTo>
                  <a:pt x="1727178" y="1528675"/>
                  <a:pt x="1740656" y="1540938"/>
                  <a:pt x="1740656" y="1548689"/>
                </a:cubicBezTo>
                <a:cubicBezTo>
                  <a:pt x="1740251" y="1555867"/>
                  <a:pt x="1744039" y="1562636"/>
                  <a:pt x="1750373" y="1566042"/>
                </a:cubicBezTo>
                <a:cubicBezTo>
                  <a:pt x="1756852" y="1569282"/>
                  <a:pt x="1778891" y="1583396"/>
                  <a:pt x="1782130" y="1582239"/>
                </a:cubicBezTo>
                <a:cubicBezTo>
                  <a:pt x="1785369" y="1581082"/>
                  <a:pt x="1791790" y="1556325"/>
                  <a:pt x="1803474" y="1557019"/>
                </a:cubicBezTo>
                <a:cubicBezTo>
                  <a:pt x="1815159" y="1557713"/>
                  <a:pt x="1846800" y="1566679"/>
                  <a:pt x="1852006" y="1584784"/>
                </a:cubicBezTo>
                <a:cubicBezTo>
                  <a:pt x="1856980" y="1599274"/>
                  <a:pt x="1865946" y="1612063"/>
                  <a:pt x="1877862" y="1621689"/>
                </a:cubicBezTo>
                <a:cubicBezTo>
                  <a:pt x="1883068" y="1625564"/>
                  <a:pt x="1880465" y="1636555"/>
                  <a:pt x="1884341" y="1642397"/>
                </a:cubicBezTo>
                <a:cubicBezTo>
                  <a:pt x="1888216" y="1648239"/>
                  <a:pt x="1887580" y="1659230"/>
                  <a:pt x="1892092" y="1659230"/>
                </a:cubicBezTo>
                <a:cubicBezTo>
                  <a:pt x="1896604" y="1659230"/>
                  <a:pt x="1919973" y="1673459"/>
                  <a:pt x="1930327" y="1672823"/>
                </a:cubicBezTo>
                <a:cubicBezTo>
                  <a:pt x="1934503" y="1673118"/>
                  <a:pt x="1938512" y="1674581"/>
                  <a:pt x="1941896" y="1677046"/>
                </a:cubicBezTo>
                <a:cubicBezTo>
                  <a:pt x="1943168" y="1655470"/>
                  <a:pt x="1920898" y="1651768"/>
                  <a:pt x="1934029" y="1641818"/>
                </a:cubicBezTo>
                <a:cubicBezTo>
                  <a:pt x="1949126" y="1630250"/>
                  <a:pt x="1933393" y="1620648"/>
                  <a:pt x="1940681" y="1615788"/>
                </a:cubicBezTo>
                <a:cubicBezTo>
                  <a:pt x="1947969" y="1610930"/>
                  <a:pt x="1960637" y="1606071"/>
                  <a:pt x="1960637" y="1598840"/>
                </a:cubicBezTo>
                <a:cubicBezTo>
                  <a:pt x="1960637" y="1591610"/>
                  <a:pt x="1967289" y="1591552"/>
                  <a:pt x="1977007" y="1593056"/>
                </a:cubicBezTo>
                <a:cubicBezTo>
                  <a:pt x="1986725" y="1594560"/>
                  <a:pt x="2004888" y="1577322"/>
                  <a:pt x="2003674" y="1570612"/>
                </a:cubicBezTo>
                <a:cubicBezTo>
                  <a:pt x="2002459" y="1563902"/>
                  <a:pt x="2005467" y="1562803"/>
                  <a:pt x="2016978" y="1565175"/>
                </a:cubicBezTo>
                <a:cubicBezTo>
                  <a:pt x="2028489" y="1567547"/>
                  <a:pt x="2026695" y="1551871"/>
                  <a:pt x="2033926" y="1554300"/>
                </a:cubicBezTo>
                <a:cubicBezTo>
                  <a:pt x="2041156" y="1556730"/>
                  <a:pt x="2047288" y="1560952"/>
                  <a:pt x="2047866" y="1555515"/>
                </a:cubicBezTo>
                <a:cubicBezTo>
                  <a:pt x="2048445" y="1550077"/>
                  <a:pt x="2055733" y="1551234"/>
                  <a:pt x="2061228" y="1558523"/>
                </a:cubicBezTo>
                <a:cubicBezTo>
                  <a:pt x="2066724" y="1565811"/>
                  <a:pt x="2082399" y="1567604"/>
                  <a:pt x="2083614" y="1559159"/>
                </a:cubicBezTo>
                <a:cubicBezTo>
                  <a:pt x="2084829" y="1550714"/>
                  <a:pt x="2093910" y="1559159"/>
                  <a:pt x="2101777" y="1567604"/>
                </a:cubicBezTo>
                <a:cubicBezTo>
                  <a:pt x="2109644" y="1576049"/>
                  <a:pt x="2113346" y="1573678"/>
                  <a:pt x="2124915" y="1574314"/>
                </a:cubicBezTo>
                <a:cubicBezTo>
                  <a:pt x="2136484" y="1574950"/>
                  <a:pt x="2136484" y="1571885"/>
                  <a:pt x="2137062" y="1564596"/>
                </a:cubicBezTo>
                <a:cubicBezTo>
                  <a:pt x="2137641" y="1557308"/>
                  <a:pt x="2149788" y="1580330"/>
                  <a:pt x="2161299" y="1581545"/>
                </a:cubicBezTo>
                <a:cubicBezTo>
                  <a:pt x="2172810" y="1582760"/>
                  <a:pt x="2163671" y="1574314"/>
                  <a:pt x="2155225" y="1567604"/>
                </a:cubicBezTo>
                <a:cubicBezTo>
                  <a:pt x="2146780" y="1560894"/>
                  <a:pt x="2157019" y="1557944"/>
                  <a:pt x="2149788" y="1552449"/>
                </a:cubicBezTo>
                <a:cubicBezTo>
                  <a:pt x="2142558" y="1546954"/>
                  <a:pt x="2158870" y="1539723"/>
                  <a:pt x="2173389" y="1540360"/>
                </a:cubicBezTo>
                <a:cubicBezTo>
                  <a:pt x="2187907" y="1540996"/>
                  <a:pt x="2187329" y="1544582"/>
                  <a:pt x="2192766" y="1536137"/>
                </a:cubicBezTo>
                <a:cubicBezTo>
                  <a:pt x="2198204" y="1527692"/>
                  <a:pt x="2203699" y="1536137"/>
                  <a:pt x="2203699" y="1543368"/>
                </a:cubicBezTo>
                <a:cubicBezTo>
                  <a:pt x="2203699" y="1550598"/>
                  <a:pt x="2227299" y="1539145"/>
                  <a:pt x="2240025" y="1539145"/>
                </a:cubicBezTo>
                <a:cubicBezTo>
                  <a:pt x="2252751" y="1539145"/>
                  <a:pt x="2264262" y="1550020"/>
                  <a:pt x="2265477" y="1557366"/>
                </a:cubicBezTo>
                <a:cubicBezTo>
                  <a:pt x="2266691" y="1564712"/>
                  <a:pt x="2275194" y="1568183"/>
                  <a:pt x="2284276" y="1560374"/>
                </a:cubicBezTo>
                <a:cubicBezTo>
                  <a:pt x="2293358" y="1552565"/>
                  <a:pt x="2301224" y="1543368"/>
                  <a:pt x="2309670" y="1551871"/>
                </a:cubicBezTo>
                <a:cubicBezTo>
                  <a:pt x="2318115" y="1560374"/>
                  <a:pt x="2326676" y="1571885"/>
                  <a:pt x="2336972" y="1582123"/>
                </a:cubicBezTo>
                <a:cubicBezTo>
                  <a:pt x="2347268" y="1592362"/>
                  <a:pt x="2332113" y="1605261"/>
                  <a:pt x="2337551" y="1613070"/>
                </a:cubicBezTo>
                <a:cubicBezTo>
                  <a:pt x="2342988" y="1620879"/>
                  <a:pt x="2336972" y="1631811"/>
                  <a:pt x="2349119" y="1640314"/>
                </a:cubicBezTo>
                <a:cubicBezTo>
                  <a:pt x="2361267" y="1648818"/>
                  <a:pt x="2350334" y="1666344"/>
                  <a:pt x="2360052" y="1668774"/>
                </a:cubicBezTo>
                <a:cubicBezTo>
                  <a:pt x="2369770" y="1671203"/>
                  <a:pt x="2377405" y="1686127"/>
                  <a:pt x="2378794" y="1692374"/>
                </a:cubicBezTo>
                <a:cubicBezTo>
                  <a:pt x="2380182" y="1698622"/>
                  <a:pt x="2398172" y="1706315"/>
                  <a:pt x="2399386" y="1696018"/>
                </a:cubicBezTo>
                <a:cubicBezTo>
                  <a:pt x="2400601" y="1685722"/>
                  <a:pt x="2410319" y="1673633"/>
                  <a:pt x="2411534" y="1663915"/>
                </a:cubicBezTo>
                <a:cubicBezTo>
                  <a:pt x="2412748" y="1654197"/>
                  <a:pt x="2404245" y="1619722"/>
                  <a:pt x="2396378" y="1608790"/>
                </a:cubicBezTo>
                <a:cubicBezTo>
                  <a:pt x="2388511" y="1597857"/>
                  <a:pt x="2398172" y="1595485"/>
                  <a:pt x="2388511" y="1582760"/>
                </a:cubicBezTo>
                <a:cubicBezTo>
                  <a:pt x="2378088" y="1566968"/>
                  <a:pt x="2372795" y="1548342"/>
                  <a:pt x="2373356" y="1529427"/>
                </a:cubicBezTo>
                <a:cubicBezTo>
                  <a:pt x="2373935" y="1511264"/>
                  <a:pt x="2395164" y="1481590"/>
                  <a:pt x="2405460" y="1472508"/>
                </a:cubicBezTo>
                <a:cubicBezTo>
                  <a:pt x="2415756" y="1463427"/>
                  <a:pt x="2427267" y="1468286"/>
                  <a:pt x="2429696" y="1458568"/>
                </a:cubicBezTo>
                <a:cubicBezTo>
                  <a:pt x="2432126" y="1448850"/>
                  <a:pt x="2444852" y="1436760"/>
                  <a:pt x="2452082" y="1436760"/>
                </a:cubicBezTo>
                <a:cubicBezTo>
                  <a:pt x="2459313" y="1436760"/>
                  <a:pt x="2467238" y="1438612"/>
                  <a:pt x="2468452" y="1430976"/>
                </a:cubicBezTo>
                <a:cubicBezTo>
                  <a:pt x="2469667" y="1423341"/>
                  <a:pt x="2481756" y="1413623"/>
                  <a:pt x="2497374" y="1410962"/>
                </a:cubicBezTo>
                <a:cubicBezTo>
                  <a:pt x="2512992" y="1408301"/>
                  <a:pt x="2504027" y="1400029"/>
                  <a:pt x="2499804" y="1392799"/>
                </a:cubicBezTo>
                <a:cubicBezTo>
                  <a:pt x="2495581" y="1385568"/>
                  <a:pt x="2503390" y="1378222"/>
                  <a:pt x="2506456" y="1383081"/>
                </a:cubicBezTo>
                <a:cubicBezTo>
                  <a:pt x="2509522" y="1387940"/>
                  <a:pt x="2519182" y="1388518"/>
                  <a:pt x="2525197" y="1384296"/>
                </a:cubicBezTo>
                <a:cubicBezTo>
                  <a:pt x="2531213" y="1380073"/>
                  <a:pt x="2545212" y="1368562"/>
                  <a:pt x="2531908" y="1367984"/>
                </a:cubicBezTo>
                <a:cubicBezTo>
                  <a:pt x="2518603" y="1367405"/>
                  <a:pt x="2515538" y="1361910"/>
                  <a:pt x="2523404" y="1358844"/>
                </a:cubicBezTo>
                <a:cubicBezTo>
                  <a:pt x="2531271" y="1355778"/>
                  <a:pt x="2524619" y="1341491"/>
                  <a:pt x="2513744" y="1340103"/>
                </a:cubicBezTo>
                <a:cubicBezTo>
                  <a:pt x="2502870" y="1338714"/>
                  <a:pt x="2506456" y="1333393"/>
                  <a:pt x="2513108" y="1326741"/>
                </a:cubicBezTo>
                <a:cubicBezTo>
                  <a:pt x="2519760" y="1320088"/>
                  <a:pt x="2503390" y="1309387"/>
                  <a:pt x="2495755" y="1303603"/>
                </a:cubicBezTo>
                <a:cubicBezTo>
                  <a:pt x="2488119" y="1297819"/>
                  <a:pt x="2500614" y="1295100"/>
                  <a:pt x="2506687" y="1293885"/>
                </a:cubicBezTo>
                <a:cubicBezTo>
                  <a:pt x="2512761" y="1292670"/>
                  <a:pt x="2507902" y="1264963"/>
                  <a:pt x="2510910" y="1258195"/>
                </a:cubicBezTo>
                <a:cubicBezTo>
                  <a:pt x="2513918" y="1251427"/>
                  <a:pt x="2524214" y="1251543"/>
                  <a:pt x="2519992" y="1258195"/>
                </a:cubicBezTo>
                <a:cubicBezTo>
                  <a:pt x="2515769" y="1264847"/>
                  <a:pt x="2509695" y="1275548"/>
                  <a:pt x="2517620" y="1284804"/>
                </a:cubicBezTo>
                <a:cubicBezTo>
                  <a:pt x="2525573" y="1293711"/>
                  <a:pt x="2528315" y="1306113"/>
                  <a:pt x="2524850" y="1317543"/>
                </a:cubicBezTo>
                <a:cubicBezTo>
                  <a:pt x="2521842" y="1331484"/>
                  <a:pt x="2527916" y="1327840"/>
                  <a:pt x="2536998" y="1309677"/>
                </a:cubicBezTo>
                <a:cubicBezTo>
                  <a:pt x="2546079" y="1291513"/>
                  <a:pt x="2547294" y="1275780"/>
                  <a:pt x="2541220" y="1273929"/>
                </a:cubicBezTo>
                <a:cubicBezTo>
                  <a:pt x="2535147" y="1272078"/>
                  <a:pt x="2535436" y="1253972"/>
                  <a:pt x="2542435" y="1262360"/>
                </a:cubicBezTo>
                <a:cubicBezTo>
                  <a:pt x="2549434" y="1270747"/>
                  <a:pt x="2551517" y="1272078"/>
                  <a:pt x="2561813" y="1261145"/>
                </a:cubicBezTo>
                <a:cubicBezTo>
                  <a:pt x="2572109" y="1250213"/>
                  <a:pt x="2583042" y="1231471"/>
                  <a:pt x="2576332" y="1227191"/>
                </a:cubicBezTo>
                <a:cubicBezTo>
                  <a:pt x="2569622" y="1222910"/>
                  <a:pt x="2579398" y="1218745"/>
                  <a:pt x="2591487" y="1219382"/>
                </a:cubicBezTo>
                <a:cubicBezTo>
                  <a:pt x="2603576" y="1220018"/>
                  <a:pt x="2629664" y="1212035"/>
                  <a:pt x="2631457" y="1208449"/>
                </a:cubicBezTo>
                <a:cubicBezTo>
                  <a:pt x="2637242" y="1196880"/>
                  <a:pt x="2589694" y="1213886"/>
                  <a:pt x="2589694" y="1207234"/>
                </a:cubicBezTo>
                <a:cubicBezTo>
                  <a:pt x="2589694" y="1200582"/>
                  <a:pt x="2619946" y="1193872"/>
                  <a:pt x="2633887" y="1193294"/>
                </a:cubicBezTo>
                <a:cubicBezTo>
                  <a:pt x="2647827" y="1192715"/>
                  <a:pt x="2641175" y="1173916"/>
                  <a:pt x="2647249" y="1181725"/>
                </a:cubicBezTo>
                <a:cubicBezTo>
                  <a:pt x="2653323" y="1189534"/>
                  <a:pt x="2662346" y="1188377"/>
                  <a:pt x="2670387" y="1183518"/>
                </a:cubicBezTo>
                <a:cubicBezTo>
                  <a:pt x="2678427" y="1178659"/>
                  <a:pt x="2672238" y="1164777"/>
                  <a:pt x="2663156" y="1162347"/>
                </a:cubicBezTo>
                <a:cubicBezTo>
                  <a:pt x="2654075" y="1159918"/>
                  <a:pt x="2669808" y="1153844"/>
                  <a:pt x="2666801" y="1148407"/>
                </a:cubicBezTo>
                <a:cubicBezTo>
                  <a:pt x="2663792" y="1142969"/>
                  <a:pt x="2672585" y="1121162"/>
                  <a:pt x="2684154" y="1118732"/>
                </a:cubicBezTo>
                <a:cubicBezTo>
                  <a:pt x="2695723" y="1116303"/>
                  <a:pt x="2689938" y="1109015"/>
                  <a:pt x="2699945" y="1109015"/>
                </a:cubicBezTo>
                <a:cubicBezTo>
                  <a:pt x="2709952" y="1109015"/>
                  <a:pt x="2711514" y="1097446"/>
                  <a:pt x="2719902" y="1089058"/>
                </a:cubicBezTo>
                <a:cubicBezTo>
                  <a:pt x="2728289" y="1080671"/>
                  <a:pt x="2740494" y="1102363"/>
                  <a:pt x="2753856" y="1090273"/>
                </a:cubicBezTo>
                <a:cubicBezTo>
                  <a:pt x="2760225" y="1084633"/>
                  <a:pt x="2767033" y="1079508"/>
                  <a:pt x="2774217" y="1074945"/>
                </a:cubicBezTo>
                <a:cubicBezTo>
                  <a:pt x="2742692" y="1033007"/>
                  <a:pt x="2751484" y="1005531"/>
                  <a:pt x="2750732" y="99806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6" name="Forma libre: forma 195">
            <a:extLst>
              <a:ext uri="{FF2B5EF4-FFF2-40B4-BE49-F238E27FC236}">
                <a16:creationId xmlns:a16="http://schemas.microsoft.com/office/drawing/2014/main" id="{B60436B4-DF5E-49B9-4F71-00647C6AE474}"/>
              </a:ext>
            </a:extLst>
          </p:cNvPr>
          <p:cNvSpPr/>
          <p:nvPr/>
        </p:nvSpPr>
        <p:spPr>
          <a:xfrm>
            <a:off x="5933706" y="3193256"/>
            <a:ext cx="346190" cy="248418"/>
          </a:xfrm>
          <a:custGeom>
            <a:avLst/>
            <a:gdLst>
              <a:gd name="connsiteX0" fmla="*/ 343510 w 346190"/>
              <a:gd name="connsiteY0" fmla="*/ 44411 h 248418"/>
              <a:gd name="connsiteX1" fmla="*/ 315455 w 346190"/>
              <a:gd name="connsiteY1" fmla="*/ 43601 h 248418"/>
              <a:gd name="connsiteX2" fmla="*/ 283005 w 346190"/>
              <a:gd name="connsiteY2" fmla="*/ 35734 h 248418"/>
              <a:gd name="connsiteX3" fmla="*/ 270221 w 346190"/>
              <a:gd name="connsiteY3" fmla="*/ 32784 h 248418"/>
              <a:gd name="connsiteX4" fmla="*/ 248587 w 346190"/>
              <a:gd name="connsiteY4" fmla="*/ 34751 h 248418"/>
              <a:gd name="connsiteX5" fmla="*/ 222094 w 346190"/>
              <a:gd name="connsiteY5" fmla="*/ 22025 h 248418"/>
              <a:gd name="connsiteX6" fmla="*/ 206592 w 346190"/>
              <a:gd name="connsiteY6" fmla="*/ 14274 h 248418"/>
              <a:gd name="connsiteX7" fmla="*/ 159333 w 346190"/>
              <a:gd name="connsiteY7" fmla="*/ 9126 h 248418"/>
              <a:gd name="connsiteX8" fmla="*/ 69212 w 346190"/>
              <a:gd name="connsiteY8" fmla="*/ 8316 h 248418"/>
              <a:gd name="connsiteX9" fmla="*/ 36125 w 346190"/>
              <a:gd name="connsiteY9" fmla="*/ -129 h 248418"/>
              <a:gd name="connsiteX10" fmla="*/ 13508 w 346190"/>
              <a:gd name="connsiteY10" fmla="*/ 13985 h 248418"/>
              <a:gd name="connsiteX11" fmla="*/ 7723 w 346190"/>
              <a:gd name="connsiteY11" fmla="*/ 33768 h 248418"/>
              <a:gd name="connsiteX12" fmla="*/ 12698 w 346190"/>
              <a:gd name="connsiteY12" fmla="*/ 60434 h 248418"/>
              <a:gd name="connsiteX13" fmla="*/ 19929 w 346190"/>
              <a:gd name="connsiteY13" fmla="*/ 57368 h 248418"/>
              <a:gd name="connsiteX14" fmla="*/ 29762 w 346190"/>
              <a:gd name="connsiteY14" fmla="*/ 58351 h 248418"/>
              <a:gd name="connsiteX15" fmla="*/ 46479 w 346190"/>
              <a:gd name="connsiteY15" fmla="*/ 62343 h 248418"/>
              <a:gd name="connsiteX16" fmla="*/ 57296 w 346190"/>
              <a:gd name="connsiteY16" fmla="*/ 62343 h 248418"/>
              <a:gd name="connsiteX17" fmla="*/ 74013 w 346190"/>
              <a:gd name="connsiteY17" fmla="*/ 65235 h 248418"/>
              <a:gd name="connsiteX18" fmla="*/ 80839 w 346190"/>
              <a:gd name="connsiteY18" fmla="*/ 76052 h 248418"/>
              <a:gd name="connsiteX19" fmla="*/ 63138 w 346190"/>
              <a:gd name="connsiteY19" fmla="*/ 91785 h 248418"/>
              <a:gd name="connsiteX20" fmla="*/ 65105 w 346190"/>
              <a:gd name="connsiteY20" fmla="*/ 117295 h 248418"/>
              <a:gd name="connsiteX21" fmla="*/ 60246 w 346190"/>
              <a:gd name="connsiteY21" fmla="*/ 135979 h 248418"/>
              <a:gd name="connsiteX22" fmla="*/ 53363 w 346190"/>
              <a:gd name="connsiteY22" fmla="*/ 146795 h 248418"/>
              <a:gd name="connsiteX23" fmla="*/ 61229 w 346190"/>
              <a:gd name="connsiteY23" fmla="*/ 161546 h 248418"/>
              <a:gd name="connsiteX24" fmla="*/ 54346 w 346190"/>
              <a:gd name="connsiteY24" fmla="*/ 176296 h 248418"/>
              <a:gd name="connsiteX25" fmla="*/ 60130 w 346190"/>
              <a:gd name="connsiteY25" fmla="*/ 190063 h 248418"/>
              <a:gd name="connsiteX26" fmla="*/ 49313 w 346190"/>
              <a:gd name="connsiteY26" fmla="*/ 206722 h 248418"/>
              <a:gd name="connsiteX27" fmla="*/ 53247 w 346190"/>
              <a:gd name="connsiteY27" fmla="*/ 215630 h 248418"/>
              <a:gd name="connsiteX28" fmla="*/ 67766 w 346190"/>
              <a:gd name="connsiteY28" fmla="*/ 216729 h 248418"/>
              <a:gd name="connsiteX29" fmla="*/ 100911 w 346190"/>
              <a:gd name="connsiteY29" fmla="*/ 248197 h 248418"/>
              <a:gd name="connsiteX30" fmla="*/ 107389 w 346190"/>
              <a:gd name="connsiteY30" fmla="*/ 239288 h 248418"/>
              <a:gd name="connsiteX31" fmla="*/ 123123 w 346190"/>
              <a:gd name="connsiteY31" fmla="*/ 238536 h 248418"/>
              <a:gd name="connsiteX32" fmla="*/ 148170 w 346190"/>
              <a:gd name="connsiteY32" fmla="*/ 228819 h 248418"/>
              <a:gd name="connsiteX33" fmla="*/ 182876 w 346190"/>
              <a:gd name="connsiteY33" fmla="*/ 227604 h 248418"/>
              <a:gd name="connsiteX34" fmla="*/ 202659 w 346190"/>
              <a:gd name="connsiteY34" fmla="*/ 217886 h 248418"/>
              <a:gd name="connsiteX35" fmla="*/ 224061 w 346190"/>
              <a:gd name="connsiteY35" fmla="*/ 203367 h 248418"/>
              <a:gd name="connsiteX36" fmla="*/ 234184 w 346190"/>
              <a:gd name="connsiteY36" fmla="*/ 184047 h 248418"/>
              <a:gd name="connsiteX37" fmla="*/ 254372 w 346190"/>
              <a:gd name="connsiteY37" fmla="*/ 162992 h 248418"/>
              <a:gd name="connsiteX38" fmla="*/ 254777 w 346190"/>
              <a:gd name="connsiteY38" fmla="*/ 123021 h 248418"/>
              <a:gd name="connsiteX39" fmla="*/ 277393 w 346190"/>
              <a:gd name="connsiteY39" fmla="*/ 96355 h 248418"/>
              <a:gd name="connsiteX40" fmla="*/ 302440 w 346190"/>
              <a:gd name="connsiteY40" fmla="*/ 82993 h 248418"/>
              <a:gd name="connsiteX41" fmla="*/ 332346 w 346190"/>
              <a:gd name="connsiteY41" fmla="*/ 67260 h 248418"/>
              <a:gd name="connsiteX42" fmla="*/ 343510 w 346190"/>
              <a:gd name="connsiteY42" fmla="*/ 44411 h 248418"/>
              <a:gd name="connsiteX43" fmla="*/ 345881 w 346190"/>
              <a:gd name="connsiteY43" fmla="*/ 132681 h 248418"/>
              <a:gd name="connsiteX44" fmla="*/ 322049 w 346190"/>
              <a:gd name="connsiteY44" fmla="*/ 140780 h 248418"/>
              <a:gd name="connsiteX45" fmla="*/ 345881 w 346190"/>
              <a:gd name="connsiteY45" fmla="*/ 132681 h 24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6190" h="248418">
                <a:moveTo>
                  <a:pt x="343510" y="44411"/>
                </a:moveTo>
                <a:cubicBezTo>
                  <a:pt x="334150" y="44926"/>
                  <a:pt x="324768" y="44660"/>
                  <a:pt x="315455" y="43601"/>
                </a:cubicBezTo>
                <a:cubicBezTo>
                  <a:pt x="306605" y="41635"/>
                  <a:pt x="287921" y="40651"/>
                  <a:pt x="283005" y="35734"/>
                </a:cubicBezTo>
                <a:cubicBezTo>
                  <a:pt x="278088" y="30818"/>
                  <a:pt x="270221" y="26942"/>
                  <a:pt x="270221" y="32784"/>
                </a:cubicBezTo>
                <a:cubicBezTo>
                  <a:pt x="270221" y="38627"/>
                  <a:pt x="256454" y="39668"/>
                  <a:pt x="248587" y="34751"/>
                </a:cubicBezTo>
                <a:cubicBezTo>
                  <a:pt x="240720" y="29834"/>
                  <a:pt x="227995" y="25959"/>
                  <a:pt x="222094" y="22025"/>
                </a:cubicBezTo>
                <a:cubicBezTo>
                  <a:pt x="218971" y="19943"/>
                  <a:pt x="212608" y="17340"/>
                  <a:pt x="206592" y="14274"/>
                </a:cubicBezTo>
                <a:cubicBezTo>
                  <a:pt x="198378" y="15894"/>
                  <a:pt x="174836" y="7217"/>
                  <a:pt x="159333" y="9126"/>
                </a:cubicBezTo>
                <a:cubicBezTo>
                  <a:pt x="142732" y="11151"/>
                  <a:pt x="89920" y="6697"/>
                  <a:pt x="69212" y="8316"/>
                </a:cubicBezTo>
                <a:cubicBezTo>
                  <a:pt x="48504" y="9936"/>
                  <a:pt x="47405" y="-129"/>
                  <a:pt x="36125" y="-129"/>
                </a:cubicBezTo>
                <a:cubicBezTo>
                  <a:pt x="24845" y="-129"/>
                  <a:pt x="29647" y="13580"/>
                  <a:pt x="13508" y="13985"/>
                </a:cubicBezTo>
                <a:cubicBezTo>
                  <a:pt x="-2631" y="14390"/>
                  <a:pt x="-4250" y="24455"/>
                  <a:pt x="7723" y="33768"/>
                </a:cubicBezTo>
                <a:cubicBezTo>
                  <a:pt x="14434" y="39089"/>
                  <a:pt x="13508" y="50253"/>
                  <a:pt x="12698" y="60434"/>
                </a:cubicBezTo>
                <a:cubicBezTo>
                  <a:pt x="15411" y="60382"/>
                  <a:pt x="18003" y="59283"/>
                  <a:pt x="19929" y="57368"/>
                </a:cubicBezTo>
                <a:cubicBezTo>
                  <a:pt x="24845" y="51584"/>
                  <a:pt x="29762" y="52451"/>
                  <a:pt x="29762" y="58351"/>
                </a:cubicBezTo>
                <a:cubicBezTo>
                  <a:pt x="29762" y="64252"/>
                  <a:pt x="40579" y="62343"/>
                  <a:pt x="46479" y="62343"/>
                </a:cubicBezTo>
                <a:cubicBezTo>
                  <a:pt x="52379" y="62343"/>
                  <a:pt x="50355" y="67260"/>
                  <a:pt x="57296" y="62343"/>
                </a:cubicBezTo>
                <a:cubicBezTo>
                  <a:pt x="64237" y="57426"/>
                  <a:pt x="74013" y="59335"/>
                  <a:pt x="74013" y="65235"/>
                </a:cubicBezTo>
                <a:cubicBezTo>
                  <a:pt x="74013" y="71135"/>
                  <a:pt x="88705" y="68185"/>
                  <a:pt x="80839" y="76052"/>
                </a:cubicBezTo>
                <a:cubicBezTo>
                  <a:pt x="72972" y="83919"/>
                  <a:pt x="63138" y="85885"/>
                  <a:pt x="63138" y="91785"/>
                </a:cubicBezTo>
                <a:cubicBezTo>
                  <a:pt x="63138" y="97686"/>
                  <a:pt x="71989" y="110411"/>
                  <a:pt x="65105" y="117295"/>
                </a:cubicBezTo>
                <a:cubicBezTo>
                  <a:pt x="58222" y="124178"/>
                  <a:pt x="67130" y="135979"/>
                  <a:pt x="60246" y="135979"/>
                </a:cubicBezTo>
                <a:cubicBezTo>
                  <a:pt x="53363" y="135979"/>
                  <a:pt x="45496" y="138929"/>
                  <a:pt x="53363" y="146795"/>
                </a:cubicBezTo>
                <a:cubicBezTo>
                  <a:pt x="61229" y="154662"/>
                  <a:pt x="67130" y="161546"/>
                  <a:pt x="61229" y="161546"/>
                </a:cubicBezTo>
                <a:cubicBezTo>
                  <a:pt x="55330" y="161546"/>
                  <a:pt x="51396" y="173115"/>
                  <a:pt x="54346" y="176296"/>
                </a:cubicBezTo>
                <a:cubicBezTo>
                  <a:pt x="57296" y="179477"/>
                  <a:pt x="71063" y="187865"/>
                  <a:pt x="60130" y="190063"/>
                </a:cubicBezTo>
                <a:cubicBezTo>
                  <a:pt x="49198" y="192261"/>
                  <a:pt x="49313" y="200880"/>
                  <a:pt x="49313" y="206722"/>
                </a:cubicBezTo>
                <a:cubicBezTo>
                  <a:pt x="49875" y="209967"/>
                  <a:pt x="51222" y="213027"/>
                  <a:pt x="53247" y="215630"/>
                </a:cubicBezTo>
                <a:cubicBezTo>
                  <a:pt x="58083" y="214473"/>
                  <a:pt x="63162" y="214855"/>
                  <a:pt x="67766" y="216729"/>
                </a:cubicBezTo>
                <a:cubicBezTo>
                  <a:pt x="79335" y="221935"/>
                  <a:pt x="85640" y="250105"/>
                  <a:pt x="100911" y="248197"/>
                </a:cubicBezTo>
                <a:cubicBezTo>
                  <a:pt x="107389" y="247387"/>
                  <a:pt x="104150" y="242412"/>
                  <a:pt x="107389" y="239288"/>
                </a:cubicBezTo>
                <a:cubicBezTo>
                  <a:pt x="110629" y="236165"/>
                  <a:pt x="116644" y="238536"/>
                  <a:pt x="123123" y="238536"/>
                </a:cubicBezTo>
                <a:cubicBezTo>
                  <a:pt x="129601" y="238536"/>
                  <a:pt x="132841" y="229224"/>
                  <a:pt x="148170" y="228819"/>
                </a:cubicBezTo>
                <a:cubicBezTo>
                  <a:pt x="163498" y="228414"/>
                  <a:pt x="173216" y="227199"/>
                  <a:pt x="182876" y="227604"/>
                </a:cubicBezTo>
                <a:cubicBezTo>
                  <a:pt x="192536" y="228009"/>
                  <a:pt x="200229" y="224769"/>
                  <a:pt x="202659" y="217886"/>
                </a:cubicBezTo>
                <a:cubicBezTo>
                  <a:pt x="206714" y="209591"/>
                  <a:pt x="214858" y="204067"/>
                  <a:pt x="224061" y="203367"/>
                </a:cubicBezTo>
                <a:cubicBezTo>
                  <a:pt x="234994" y="201748"/>
                  <a:pt x="233374" y="190410"/>
                  <a:pt x="234184" y="184047"/>
                </a:cubicBezTo>
                <a:cubicBezTo>
                  <a:pt x="234994" y="177684"/>
                  <a:pt x="253157" y="167851"/>
                  <a:pt x="254372" y="162992"/>
                </a:cubicBezTo>
                <a:cubicBezTo>
                  <a:pt x="255586" y="158133"/>
                  <a:pt x="243844" y="139565"/>
                  <a:pt x="254777" y="123021"/>
                </a:cubicBezTo>
                <a:cubicBezTo>
                  <a:pt x="265709" y="106478"/>
                  <a:pt x="277393" y="105668"/>
                  <a:pt x="277393" y="96355"/>
                </a:cubicBezTo>
                <a:cubicBezTo>
                  <a:pt x="277393" y="87042"/>
                  <a:pt x="288962" y="84786"/>
                  <a:pt x="302440" y="82993"/>
                </a:cubicBezTo>
                <a:cubicBezTo>
                  <a:pt x="315918" y="81200"/>
                  <a:pt x="320603" y="72118"/>
                  <a:pt x="332346" y="67260"/>
                </a:cubicBezTo>
                <a:cubicBezTo>
                  <a:pt x="342006" y="63210"/>
                  <a:pt x="345476" y="55980"/>
                  <a:pt x="343510" y="44411"/>
                </a:cubicBezTo>
                <a:close/>
                <a:moveTo>
                  <a:pt x="345881" y="132681"/>
                </a:moveTo>
                <a:cubicBezTo>
                  <a:pt x="343857" y="118972"/>
                  <a:pt x="316091" y="136846"/>
                  <a:pt x="322049" y="140780"/>
                </a:cubicBezTo>
                <a:cubicBezTo>
                  <a:pt x="334197" y="148878"/>
                  <a:pt x="347906" y="146448"/>
                  <a:pt x="345881" y="13268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7" name="Forma libre: forma 196">
            <a:extLst>
              <a:ext uri="{FF2B5EF4-FFF2-40B4-BE49-F238E27FC236}">
                <a16:creationId xmlns:a16="http://schemas.microsoft.com/office/drawing/2014/main" id="{A1DFDDB9-BE11-1151-3F54-140E36B3A564}"/>
              </a:ext>
            </a:extLst>
          </p:cNvPr>
          <p:cNvSpPr/>
          <p:nvPr/>
        </p:nvSpPr>
        <p:spPr>
          <a:xfrm>
            <a:off x="6540714" y="3085505"/>
            <a:ext cx="91832" cy="50426"/>
          </a:xfrm>
          <a:custGeom>
            <a:avLst/>
            <a:gdLst>
              <a:gd name="connsiteX0" fmla="*/ 98 w 91832"/>
              <a:gd name="connsiteY0" fmla="*/ 44398 h 50426"/>
              <a:gd name="connsiteX1" fmla="*/ 17451 w 91832"/>
              <a:gd name="connsiteY1" fmla="*/ 42200 h 50426"/>
              <a:gd name="connsiteX2" fmla="*/ 22137 w 91832"/>
              <a:gd name="connsiteY2" fmla="*/ 50298 h 50426"/>
              <a:gd name="connsiteX3" fmla="*/ 41399 w 91832"/>
              <a:gd name="connsiteY3" fmla="*/ 46596 h 50426"/>
              <a:gd name="connsiteX4" fmla="*/ 58405 w 91832"/>
              <a:gd name="connsiteY4" fmla="*/ 47232 h 50426"/>
              <a:gd name="connsiteX5" fmla="*/ 68065 w 91832"/>
              <a:gd name="connsiteY5" fmla="*/ 35085 h 50426"/>
              <a:gd name="connsiteX6" fmla="*/ 74717 w 91832"/>
              <a:gd name="connsiteY6" fmla="*/ 21780 h 50426"/>
              <a:gd name="connsiteX7" fmla="*/ 91723 w 91832"/>
              <a:gd name="connsiteY7" fmla="*/ 10212 h 50426"/>
              <a:gd name="connsiteX8" fmla="*/ 85014 w 91832"/>
              <a:gd name="connsiteY8" fmla="*/ -85 h 50426"/>
              <a:gd name="connsiteX9" fmla="*/ 66214 w 91832"/>
              <a:gd name="connsiteY9" fmla="*/ 5700 h 50426"/>
              <a:gd name="connsiteX10" fmla="*/ 42672 w 91832"/>
              <a:gd name="connsiteY10" fmla="*/ 14203 h 50426"/>
              <a:gd name="connsiteX11" fmla="*/ 12361 w 91832"/>
              <a:gd name="connsiteY11" fmla="*/ 8766 h 50426"/>
              <a:gd name="connsiteX12" fmla="*/ 1371 w 91832"/>
              <a:gd name="connsiteY12" fmla="*/ 7898 h 50426"/>
              <a:gd name="connsiteX13" fmla="*/ 98 w 91832"/>
              <a:gd name="connsiteY13" fmla="*/ 44398 h 5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832" h="50426">
                <a:moveTo>
                  <a:pt x="98" y="44398"/>
                </a:moveTo>
                <a:cubicBezTo>
                  <a:pt x="5506" y="41858"/>
                  <a:pt x="11580" y="41089"/>
                  <a:pt x="17451" y="42200"/>
                </a:cubicBezTo>
                <a:cubicBezTo>
                  <a:pt x="20575" y="43414"/>
                  <a:pt x="21558" y="46769"/>
                  <a:pt x="22137" y="50298"/>
                </a:cubicBezTo>
                <a:cubicBezTo>
                  <a:pt x="28638" y="49517"/>
                  <a:pt x="35071" y="48279"/>
                  <a:pt x="41399" y="46596"/>
                </a:cubicBezTo>
                <a:cubicBezTo>
                  <a:pt x="46258" y="44803"/>
                  <a:pt x="57191" y="50818"/>
                  <a:pt x="58405" y="47232"/>
                </a:cubicBezTo>
                <a:cubicBezTo>
                  <a:pt x="59620" y="43646"/>
                  <a:pt x="63206" y="35085"/>
                  <a:pt x="68065" y="35085"/>
                </a:cubicBezTo>
                <a:cubicBezTo>
                  <a:pt x="72924" y="35085"/>
                  <a:pt x="69858" y="22359"/>
                  <a:pt x="74717" y="21780"/>
                </a:cubicBezTo>
                <a:cubicBezTo>
                  <a:pt x="79576" y="21202"/>
                  <a:pt x="91723" y="10212"/>
                  <a:pt x="91723" y="10212"/>
                </a:cubicBezTo>
                <a:cubicBezTo>
                  <a:pt x="91723" y="10212"/>
                  <a:pt x="86864" y="552"/>
                  <a:pt x="85014" y="-85"/>
                </a:cubicBezTo>
                <a:cubicBezTo>
                  <a:pt x="83163" y="-721"/>
                  <a:pt x="77147" y="5700"/>
                  <a:pt x="66214" y="5700"/>
                </a:cubicBezTo>
                <a:cubicBezTo>
                  <a:pt x="55282" y="5700"/>
                  <a:pt x="47472" y="14203"/>
                  <a:pt x="42672" y="14203"/>
                </a:cubicBezTo>
                <a:cubicBezTo>
                  <a:pt x="37870" y="14203"/>
                  <a:pt x="22599" y="9344"/>
                  <a:pt x="12361" y="8766"/>
                </a:cubicBezTo>
                <a:cubicBezTo>
                  <a:pt x="8717" y="8766"/>
                  <a:pt x="4957" y="8245"/>
                  <a:pt x="1371" y="7898"/>
                </a:cubicBezTo>
                <a:cubicBezTo>
                  <a:pt x="17" y="20016"/>
                  <a:pt x="-411" y="32216"/>
                  <a:pt x="98" y="44398"/>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8" name="Forma libre: forma 197">
            <a:extLst>
              <a:ext uri="{FF2B5EF4-FFF2-40B4-BE49-F238E27FC236}">
                <a16:creationId xmlns:a16="http://schemas.microsoft.com/office/drawing/2014/main" id="{5EB3A5AD-BA2F-3460-BC35-BF60CE9017A6}"/>
              </a:ext>
            </a:extLst>
          </p:cNvPr>
          <p:cNvSpPr/>
          <p:nvPr/>
        </p:nvSpPr>
        <p:spPr>
          <a:xfrm>
            <a:off x="6729725" y="3258388"/>
            <a:ext cx="173533" cy="216352"/>
          </a:xfrm>
          <a:custGeom>
            <a:avLst/>
            <a:gdLst>
              <a:gd name="connsiteX0" fmla="*/ 170762 w 173533"/>
              <a:gd name="connsiteY0" fmla="*/ -129 h 216352"/>
              <a:gd name="connsiteX1" fmla="*/ 157632 w 173533"/>
              <a:gd name="connsiteY1" fmla="*/ 6176 h 216352"/>
              <a:gd name="connsiteX2" fmla="*/ 147162 w 173533"/>
              <a:gd name="connsiteY2" fmla="*/ 12655 h 216352"/>
              <a:gd name="connsiteX3" fmla="*/ 118240 w 173533"/>
              <a:gd name="connsiteY3" fmla="*/ 7796 h 216352"/>
              <a:gd name="connsiteX4" fmla="*/ 81567 w 173533"/>
              <a:gd name="connsiteY4" fmla="*/ 7391 h 216352"/>
              <a:gd name="connsiteX5" fmla="*/ 81046 w 173533"/>
              <a:gd name="connsiteY5" fmla="*/ 8606 h 216352"/>
              <a:gd name="connsiteX6" fmla="*/ 55595 w 173533"/>
              <a:gd name="connsiteY6" fmla="*/ 20174 h 216352"/>
              <a:gd name="connsiteX7" fmla="*/ 42927 w 173533"/>
              <a:gd name="connsiteY7" fmla="*/ 28041 h 216352"/>
              <a:gd name="connsiteX8" fmla="*/ 24127 w 173533"/>
              <a:gd name="connsiteY8" fmla="*/ 30471 h 216352"/>
              <a:gd name="connsiteX9" fmla="*/ 14467 w 173533"/>
              <a:gd name="connsiteY9" fmla="*/ 46262 h 216352"/>
              <a:gd name="connsiteX10" fmla="*/ 7757 w 173533"/>
              <a:gd name="connsiteY10" fmla="*/ 56559 h 216352"/>
              <a:gd name="connsiteX11" fmla="*/ -110 w 173533"/>
              <a:gd name="connsiteY11" fmla="*/ 71251 h 216352"/>
              <a:gd name="connsiteX12" fmla="*/ 1105 w 173533"/>
              <a:gd name="connsiteY12" fmla="*/ 71887 h 216352"/>
              <a:gd name="connsiteX13" fmla="*/ 15624 w 173533"/>
              <a:gd name="connsiteY13" fmla="*/ 95314 h 216352"/>
              <a:gd name="connsiteX14" fmla="*/ 35002 w 173533"/>
              <a:gd name="connsiteY14" fmla="*/ 101793 h 216352"/>
              <a:gd name="connsiteX15" fmla="*/ 59644 w 173533"/>
              <a:gd name="connsiteY15" fmla="*/ 110643 h 216352"/>
              <a:gd name="connsiteX16" fmla="*/ 30722 w 173533"/>
              <a:gd name="connsiteY16" fmla="*/ 113072 h 216352"/>
              <a:gd name="connsiteX17" fmla="*/ 36506 w 173533"/>
              <a:gd name="connsiteY17" fmla="*/ 136210 h 216352"/>
              <a:gd name="connsiteX18" fmla="*/ 48480 w 173533"/>
              <a:gd name="connsiteY18" fmla="*/ 154865 h 216352"/>
              <a:gd name="connsiteX19" fmla="*/ 50678 w 173533"/>
              <a:gd name="connsiteY19" fmla="*/ 155183 h 216352"/>
              <a:gd name="connsiteX20" fmla="*/ 76129 w 173533"/>
              <a:gd name="connsiteY20" fmla="*/ 167272 h 216352"/>
              <a:gd name="connsiteX21" fmla="*/ 71270 w 173533"/>
              <a:gd name="connsiteY21" fmla="*/ 139796 h 216352"/>
              <a:gd name="connsiteX22" fmla="*/ 90243 w 173533"/>
              <a:gd name="connsiteY22" fmla="*/ 138987 h 216352"/>
              <a:gd name="connsiteX23" fmla="*/ 77749 w 173533"/>
              <a:gd name="connsiteY23" fmla="*/ 128054 h 216352"/>
              <a:gd name="connsiteX24" fmla="*/ 87409 w 173533"/>
              <a:gd name="connsiteY24" fmla="*/ 122848 h 216352"/>
              <a:gd name="connsiteX25" fmla="*/ 107192 w 173533"/>
              <a:gd name="connsiteY25" fmla="*/ 120418 h 216352"/>
              <a:gd name="connsiteX26" fmla="*/ 98284 w 173533"/>
              <a:gd name="connsiteY26" fmla="*/ 98206 h 216352"/>
              <a:gd name="connsiteX27" fmla="*/ 75667 w 173533"/>
              <a:gd name="connsiteY27" fmla="*/ 98958 h 216352"/>
              <a:gd name="connsiteX28" fmla="*/ 84575 w 173533"/>
              <a:gd name="connsiteY28" fmla="*/ 84439 h 216352"/>
              <a:gd name="connsiteX29" fmla="*/ 62362 w 173533"/>
              <a:gd name="connsiteY29" fmla="*/ 53782 h 216352"/>
              <a:gd name="connsiteX30" fmla="*/ 76476 w 173533"/>
              <a:gd name="connsiteY30" fmla="*/ 46089 h 216352"/>
              <a:gd name="connsiteX31" fmla="*/ 98284 w 173533"/>
              <a:gd name="connsiteY31" fmla="*/ 49328 h 216352"/>
              <a:gd name="connsiteX32" fmla="*/ 103547 w 173533"/>
              <a:gd name="connsiteY32" fmla="*/ 28735 h 216352"/>
              <a:gd name="connsiteX33" fmla="*/ 120149 w 173533"/>
              <a:gd name="connsiteY33" fmla="*/ 33999 h 216352"/>
              <a:gd name="connsiteX34" fmla="*/ 140684 w 173533"/>
              <a:gd name="connsiteY34" fmla="*/ 23876 h 216352"/>
              <a:gd name="connsiteX35" fmla="*/ 159194 w 173533"/>
              <a:gd name="connsiteY35" fmla="*/ 32669 h 216352"/>
              <a:gd name="connsiteX36" fmla="*/ 165556 w 173533"/>
              <a:gd name="connsiteY36" fmla="*/ 23298 h 216352"/>
              <a:gd name="connsiteX37" fmla="*/ 173424 w 173533"/>
              <a:gd name="connsiteY37" fmla="*/ 10572 h 216352"/>
              <a:gd name="connsiteX38" fmla="*/ 170762 w 173533"/>
              <a:gd name="connsiteY38" fmla="*/ -129 h 216352"/>
              <a:gd name="connsiteX39" fmla="*/ 147914 w 173533"/>
              <a:gd name="connsiteY39" fmla="*/ 203714 h 216352"/>
              <a:gd name="connsiteX40" fmla="*/ 104704 w 173533"/>
              <a:gd name="connsiteY40" fmla="*/ 198855 h 216352"/>
              <a:gd name="connsiteX41" fmla="*/ 88161 w 173533"/>
              <a:gd name="connsiteY41" fmla="*/ 205681 h 216352"/>
              <a:gd name="connsiteX42" fmla="*/ 128131 w 173533"/>
              <a:gd name="connsiteY42" fmla="*/ 216209 h 216352"/>
              <a:gd name="connsiteX43" fmla="*/ 164920 w 173533"/>
              <a:gd name="connsiteY43" fmla="*/ 204640 h 216352"/>
              <a:gd name="connsiteX44" fmla="*/ 147914 w 173533"/>
              <a:gd name="connsiteY44" fmla="*/ 203714 h 21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3533" h="216352">
                <a:moveTo>
                  <a:pt x="170762" y="-129"/>
                </a:moveTo>
                <a:cubicBezTo>
                  <a:pt x="164978" y="507"/>
                  <a:pt x="156243" y="2763"/>
                  <a:pt x="157632" y="6176"/>
                </a:cubicBezTo>
                <a:cubicBezTo>
                  <a:pt x="159021" y="9589"/>
                  <a:pt x="153583" y="12655"/>
                  <a:pt x="147162" y="12655"/>
                </a:cubicBezTo>
                <a:cubicBezTo>
                  <a:pt x="147162" y="12655"/>
                  <a:pt x="124487" y="11035"/>
                  <a:pt x="118240" y="7796"/>
                </a:cubicBezTo>
                <a:cubicBezTo>
                  <a:pt x="113323" y="5366"/>
                  <a:pt x="91747" y="6581"/>
                  <a:pt x="81567" y="7391"/>
                </a:cubicBezTo>
                <a:cubicBezTo>
                  <a:pt x="81509" y="7836"/>
                  <a:pt x="81335" y="8264"/>
                  <a:pt x="81046" y="8606"/>
                </a:cubicBezTo>
                <a:cubicBezTo>
                  <a:pt x="78616" y="12250"/>
                  <a:pt x="59239" y="22141"/>
                  <a:pt x="55595" y="20174"/>
                </a:cubicBezTo>
                <a:cubicBezTo>
                  <a:pt x="51950" y="18208"/>
                  <a:pt x="50157" y="26248"/>
                  <a:pt x="42927" y="28041"/>
                </a:cubicBezTo>
                <a:cubicBezTo>
                  <a:pt x="35696" y="29834"/>
                  <a:pt x="24706" y="27463"/>
                  <a:pt x="24127" y="30471"/>
                </a:cubicBezTo>
                <a:cubicBezTo>
                  <a:pt x="21987" y="36324"/>
                  <a:pt x="18690" y="41692"/>
                  <a:pt x="14467" y="46262"/>
                </a:cubicBezTo>
                <a:cubicBezTo>
                  <a:pt x="10187" y="50485"/>
                  <a:pt x="13831" y="55344"/>
                  <a:pt x="7757" y="56559"/>
                </a:cubicBezTo>
                <a:cubicBezTo>
                  <a:pt x="3766" y="57368"/>
                  <a:pt x="1973" y="64772"/>
                  <a:pt x="-110" y="71251"/>
                </a:cubicBezTo>
                <a:cubicBezTo>
                  <a:pt x="295" y="71505"/>
                  <a:pt x="700" y="71720"/>
                  <a:pt x="1105" y="71887"/>
                </a:cubicBezTo>
                <a:cubicBezTo>
                  <a:pt x="10649" y="75555"/>
                  <a:pt x="16608" y="85134"/>
                  <a:pt x="15624" y="95314"/>
                </a:cubicBezTo>
                <a:cubicBezTo>
                  <a:pt x="14467" y="105437"/>
                  <a:pt x="28581" y="109081"/>
                  <a:pt x="35002" y="101793"/>
                </a:cubicBezTo>
                <a:cubicBezTo>
                  <a:pt x="41423" y="94504"/>
                  <a:pt x="59644" y="105842"/>
                  <a:pt x="59644" y="110643"/>
                </a:cubicBezTo>
                <a:cubicBezTo>
                  <a:pt x="59644" y="115444"/>
                  <a:pt x="41076" y="105437"/>
                  <a:pt x="30722" y="113072"/>
                </a:cubicBezTo>
                <a:cubicBezTo>
                  <a:pt x="20368" y="120708"/>
                  <a:pt x="38820" y="127996"/>
                  <a:pt x="36506" y="136210"/>
                </a:cubicBezTo>
                <a:cubicBezTo>
                  <a:pt x="34655" y="144667"/>
                  <a:pt x="40034" y="153020"/>
                  <a:pt x="48480" y="154865"/>
                </a:cubicBezTo>
                <a:cubicBezTo>
                  <a:pt x="49232" y="155021"/>
                  <a:pt x="49926" y="155131"/>
                  <a:pt x="50678" y="155183"/>
                </a:cubicBezTo>
                <a:cubicBezTo>
                  <a:pt x="59991" y="154778"/>
                  <a:pt x="70461" y="170107"/>
                  <a:pt x="76129" y="167272"/>
                </a:cubicBezTo>
                <a:cubicBezTo>
                  <a:pt x="81798" y="164438"/>
                  <a:pt x="69246" y="143036"/>
                  <a:pt x="71270" y="139796"/>
                </a:cubicBezTo>
                <a:cubicBezTo>
                  <a:pt x="73295" y="136557"/>
                  <a:pt x="84575" y="145581"/>
                  <a:pt x="90243" y="138987"/>
                </a:cubicBezTo>
                <a:cubicBezTo>
                  <a:pt x="95912" y="132392"/>
                  <a:pt x="86194" y="127707"/>
                  <a:pt x="77749" y="128054"/>
                </a:cubicBezTo>
                <a:cubicBezTo>
                  <a:pt x="69304" y="128401"/>
                  <a:pt x="77286" y="116485"/>
                  <a:pt x="87409" y="122848"/>
                </a:cubicBezTo>
                <a:cubicBezTo>
                  <a:pt x="97532" y="129211"/>
                  <a:pt x="102333" y="121228"/>
                  <a:pt x="107192" y="120418"/>
                </a:cubicBezTo>
                <a:cubicBezTo>
                  <a:pt x="112051" y="119609"/>
                  <a:pt x="113265" y="102255"/>
                  <a:pt x="98284" y="98206"/>
                </a:cubicBezTo>
                <a:cubicBezTo>
                  <a:pt x="83302" y="94157"/>
                  <a:pt x="85384" y="109139"/>
                  <a:pt x="75667" y="98958"/>
                </a:cubicBezTo>
                <a:cubicBezTo>
                  <a:pt x="65949" y="88778"/>
                  <a:pt x="84575" y="93174"/>
                  <a:pt x="84575" y="84439"/>
                </a:cubicBezTo>
                <a:cubicBezTo>
                  <a:pt x="84575" y="75705"/>
                  <a:pt x="69651" y="63847"/>
                  <a:pt x="62362" y="53782"/>
                </a:cubicBezTo>
                <a:cubicBezTo>
                  <a:pt x="55074" y="43717"/>
                  <a:pt x="72485" y="38858"/>
                  <a:pt x="76476" y="46089"/>
                </a:cubicBezTo>
                <a:cubicBezTo>
                  <a:pt x="80468" y="53319"/>
                  <a:pt x="91458" y="52162"/>
                  <a:pt x="98284" y="49328"/>
                </a:cubicBezTo>
                <a:cubicBezTo>
                  <a:pt x="105109" y="46493"/>
                  <a:pt x="91053" y="33594"/>
                  <a:pt x="103547" y="28735"/>
                </a:cubicBezTo>
                <a:cubicBezTo>
                  <a:pt x="116042" y="23876"/>
                  <a:pt x="116100" y="32379"/>
                  <a:pt x="120149" y="33999"/>
                </a:cubicBezTo>
                <a:cubicBezTo>
                  <a:pt x="124198" y="35619"/>
                  <a:pt x="127784" y="23876"/>
                  <a:pt x="140684" y="23876"/>
                </a:cubicBezTo>
                <a:cubicBezTo>
                  <a:pt x="147625" y="24773"/>
                  <a:pt x="154103" y="27850"/>
                  <a:pt x="159194" y="32669"/>
                </a:cubicBezTo>
                <a:cubicBezTo>
                  <a:pt x="162664" y="28793"/>
                  <a:pt x="165556" y="26537"/>
                  <a:pt x="165556" y="23298"/>
                </a:cubicBezTo>
                <a:cubicBezTo>
                  <a:pt x="165556" y="19075"/>
                  <a:pt x="173424" y="17224"/>
                  <a:pt x="173424" y="10572"/>
                </a:cubicBezTo>
                <a:cubicBezTo>
                  <a:pt x="172960" y="6917"/>
                  <a:pt x="172035" y="3324"/>
                  <a:pt x="170762" y="-129"/>
                </a:cubicBezTo>
                <a:close/>
                <a:moveTo>
                  <a:pt x="147914" y="203714"/>
                </a:moveTo>
                <a:cubicBezTo>
                  <a:pt x="141436" y="200070"/>
                  <a:pt x="112398" y="206144"/>
                  <a:pt x="104704" y="198855"/>
                </a:cubicBezTo>
                <a:cubicBezTo>
                  <a:pt x="97011" y="191567"/>
                  <a:pt x="81567" y="204640"/>
                  <a:pt x="88161" y="205681"/>
                </a:cubicBezTo>
                <a:cubicBezTo>
                  <a:pt x="97821" y="207301"/>
                  <a:pt x="112398" y="215804"/>
                  <a:pt x="128131" y="216209"/>
                </a:cubicBezTo>
                <a:cubicBezTo>
                  <a:pt x="143865" y="216614"/>
                  <a:pt x="165267" y="208920"/>
                  <a:pt x="164920" y="204640"/>
                </a:cubicBezTo>
                <a:cubicBezTo>
                  <a:pt x="164573" y="200359"/>
                  <a:pt x="154393" y="207301"/>
                  <a:pt x="147914" y="20371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199" name="Forma libre: forma 198">
            <a:extLst>
              <a:ext uri="{FF2B5EF4-FFF2-40B4-BE49-F238E27FC236}">
                <a16:creationId xmlns:a16="http://schemas.microsoft.com/office/drawing/2014/main" id="{F4EFB0A8-B641-BAD7-712B-1F6C69DFC1C5}"/>
              </a:ext>
            </a:extLst>
          </p:cNvPr>
          <p:cNvSpPr/>
          <p:nvPr/>
        </p:nvSpPr>
        <p:spPr>
          <a:xfrm>
            <a:off x="7056655" y="3449015"/>
            <a:ext cx="63181" cy="35812"/>
          </a:xfrm>
          <a:custGeom>
            <a:avLst/>
            <a:gdLst>
              <a:gd name="connsiteX0" fmla="*/ 42875 w 63181"/>
              <a:gd name="connsiteY0" fmla="*/ 24368 h 35812"/>
              <a:gd name="connsiteX1" fmla="*/ 57394 w 63181"/>
              <a:gd name="connsiteY1" fmla="*/ 7014 h 35812"/>
              <a:gd name="connsiteX2" fmla="*/ 56988 w 63181"/>
              <a:gd name="connsiteY2" fmla="*/ 1750 h 35812"/>
              <a:gd name="connsiteX3" fmla="*/ 18233 w 63181"/>
              <a:gd name="connsiteY3" fmla="*/ 13319 h 35812"/>
              <a:gd name="connsiteX4" fmla="*/ 5738 w 63181"/>
              <a:gd name="connsiteY4" fmla="*/ 32755 h 35812"/>
              <a:gd name="connsiteX5" fmla="*/ 42875 w 63181"/>
              <a:gd name="connsiteY5" fmla="*/ 24368 h 3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81" h="35812">
                <a:moveTo>
                  <a:pt x="42875" y="24368"/>
                </a:moveTo>
                <a:cubicBezTo>
                  <a:pt x="42065" y="19914"/>
                  <a:pt x="48139" y="10601"/>
                  <a:pt x="57394" y="7014"/>
                </a:cubicBezTo>
                <a:cubicBezTo>
                  <a:pt x="66649" y="3428"/>
                  <a:pt x="63178" y="-3455"/>
                  <a:pt x="56988" y="1750"/>
                </a:cubicBezTo>
                <a:cubicBezTo>
                  <a:pt x="50799" y="6956"/>
                  <a:pt x="36396" y="12683"/>
                  <a:pt x="18233" y="13319"/>
                </a:cubicBezTo>
                <a:cubicBezTo>
                  <a:pt x="70" y="13956"/>
                  <a:pt x="-5599" y="26103"/>
                  <a:pt x="5738" y="32755"/>
                </a:cubicBezTo>
                <a:cubicBezTo>
                  <a:pt x="20084" y="41316"/>
                  <a:pt x="43511" y="28822"/>
                  <a:pt x="42875" y="2436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0" name="Forma libre: forma 199">
            <a:extLst>
              <a:ext uri="{FF2B5EF4-FFF2-40B4-BE49-F238E27FC236}">
                <a16:creationId xmlns:a16="http://schemas.microsoft.com/office/drawing/2014/main" id="{90D4969C-57B2-BE4F-A527-A8A0B6C2A4E4}"/>
              </a:ext>
            </a:extLst>
          </p:cNvPr>
          <p:cNvSpPr/>
          <p:nvPr/>
        </p:nvSpPr>
        <p:spPr>
          <a:xfrm>
            <a:off x="5524917" y="2308010"/>
            <a:ext cx="289336" cy="140642"/>
          </a:xfrm>
          <a:custGeom>
            <a:avLst/>
            <a:gdLst>
              <a:gd name="connsiteX0" fmla="*/ 245410 w 289336"/>
              <a:gd name="connsiteY0" fmla="*/ 102021 h 140642"/>
              <a:gd name="connsiteX1" fmla="*/ 267217 w 289336"/>
              <a:gd name="connsiteY1" fmla="*/ 84667 h 140642"/>
              <a:gd name="connsiteX2" fmla="*/ 288214 w 289336"/>
              <a:gd name="connsiteY2" fmla="*/ 64480 h 140642"/>
              <a:gd name="connsiteX3" fmla="*/ 274100 w 289336"/>
              <a:gd name="connsiteY3" fmla="*/ 41863 h 140642"/>
              <a:gd name="connsiteX4" fmla="*/ 259177 w 289336"/>
              <a:gd name="connsiteY4" fmla="*/ 28558 h 140642"/>
              <a:gd name="connsiteX5" fmla="*/ 254318 w 289336"/>
              <a:gd name="connsiteY5" fmla="*/ 11610 h 140642"/>
              <a:gd name="connsiteX6" fmla="*/ 235692 w 289336"/>
              <a:gd name="connsiteY6" fmla="*/ 12825 h 140642"/>
              <a:gd name="connsiteX7" fmla="*/ 209488 w 289336"/>
              <a:gd name="connsiteY7" fmla="*/ 273 h 140642"/>
              <a:gd name="connsiteX8" fmla="*/ 206249 w 289336"/>
              <a:gd name="connsiteY8" fmla="*/ 16816 h 140642"/>
              <a:gd name="connsiteX9" fmla="*/ 190111 w 289336"/>
              <a:gd name="connsiteY9" fmla="*/ 18031 h 140642"/>
              <a:gd name="connsiteX10" fmla="*/ 179178 w 289336"/>
              <a:gd name="connsiteY10" fmla="*/ 18436 h 140642"/>
              <a:gd name="connsiteX11" fmla="*/ 163444 w 289336"/>
              <a:gd name="connsiteY11" fmla="*/ 20865 h 140642"/>
              <a:gd name="connsiteX12" fmla="*/ 149330 w 289336"/>
              <a:gd name="connsiteY12" fmla="*/ 16006 h 140642"/>
              <a:gd name="connsiteX13" fmla="*/ 131109 w 289336"/>
              <a:gd name="connsiteY13" fmla="*/ 28558 h 140642"/>
              <a:gd name="connsiteX14" fmla="*/ 120235 w 289336"/>
              <a:gd name="connsiteY14" fmla="*/ 22774 h 140642"/>
              <a:gd name="connsiteX15" fmla="*/ 107683 w 289336"/>
              <a:gd name="connsiteY15" fmla="*/ 31277 h 140642"/>
              <a:gd name="connsiteX16" fmla="*/ 104096 w 289336"/>
              <a:gd name="connsiteY16" fmla="*/ 43714 h 140642"/>
              <a:gd name="connsiteX17" fmla="*/ 86280 w 289336"/>
              <a:gd name="connsiteY17" fmla="*/ 51870 h 140642"/>
              <a:gd name="connsiteX18" fmla="*/ 79050 w 289336"/>
              <a:gd name="connsiteY18" fmla="*/ 30062 h 140642"/>
              <a:gd name="connsiteX19" fmla="*/ 37459 w 289336"/>
              <a:gd name="connsiteY19" fmla="*/ 2528 h 140642"/>
              <a:gd name="connsiteX20" fmla="*/ 41509 w 289336"/>
              <a:gd name="connsiteY20" fmla="*/ 17915 h 140642"/>
              <a:gd name="connsiteX21" fmla="*/ 31386 w 289336"/>
              <a:gd name="connsiteY21" fmla="*/ 17105 h 140642"/>
              <a:gd name="connsiteX22" fmla="*/ 13628 w 289336"/>
              <a:gd name="connsiteY22" fmla="*/ 23989 h 140642"/>
              <a:gd name="connsiteX23" fmla="*/ -81 w 289336"/>
              <a:gd name="connsiteY23" fmla="*/ 42152 h 140642"/>
              <a:gd name="connsiteX24" fmla="*/ 26122 w 289336"/>
              <a:gd name="connsiteY24" fmla="*/ 48630 h 140642"/>
              <a:gd name="connsiteX25" fmla="*/ 59267 w 289336"/>
              <a:gd name="connsiteY25" fmla="*/ 48630 h 140642"/>
              <a:gd name="connsiteX26" fmla="*/ 54003 w 289336"/>
              <a:gd name="connsiteY26" fmla="*/ 61935 h 140642"/>
              <a:gd name="connsiteX27" fmla="*/ 39889 w 289336"/>
              <a:gd name="connsiteY27" fmla="*/ 69628 h 140642"/>
              <a:gd name="connsiteX28" fmla="*/ 8769 w 289336"/>
              <a:gd name="connsiteY28" fmla="*/ 78073 h 140642"/>
              <a:gd name="connsiteX29" fmla="*/ 48334 w 289336"/>
              <a:gd name="connsiteY29" fmla="*/ 78941 h 140642"/>
              <a:gd name="connsiteX30" fmla="*/ 58052 w 289336"/>
              <a:gd name="connsiteY30" fmla="*/ 89006 h 140642"/>
              <a:gd name="connsiteX31" fmla="*/ 66092 w 289336"/>
              <a:gd name="connsiteY31" fmla="*/ 98261 h 140642"/>
              <a:gd name="connsiteX32" fmla="*/ 56837 w 289336"/>
              <a:gd name="connsiteY32" fmla="*/ 110813 h 140642"/>
              <a:gd name="connsiteX33" fmla="*/ 43070 w 289336"/>
              <a:gd name="connsiteY33" fmla="*/ 119721 h 140642"/>
              <a:gd name="connsiteX34" fmla="*/ 77777 w 289336"/>
              <a:gd name="connsiteY34" fmla="*/ 118506 h 140642"/>
              <a:gd name="connsiteX35" fmla="*/ 127407 w 289336"/>
              <a:gd name="connsiteY35" fmla="*/ 138289 h 140642"/>
              <a:gd name="connsiteX36" fmla="*/ 174666 w 289336"/>
              <a:gd name="connsiteY36" fmla="*/ 127357 h 140642"/>
              <a:gd name="connsiteX37" fmla="*/ 208621 w 289336"/>
              <a:gd name="connsiteY37" fmla="*/ 116077 h 140642"/>
              <a:gd name="connsiteX38" fmla="*/ 245410 w 289336"/>
              <a:gd name="connsiteY38" fmla="*/ 102021 h 14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89336" h="140642">
                <a:moveTo>
                  <a:pt x="245410" y="102021"/>
                </a:moveTo>
                <a:cubicBezTo>
                  <a:pt x="261143" y="101211"/>
                  <a:pt x="260796" y="83858"/>
                  <a:pt x="267217" y="84667"/>
                </a:cubicBezTo>
                <a:cubicBezTo>
                  <a:pt x="273638" y="85477"/>
                  <a:pt x="284223" y="72578"/>
                  <a:pt x="288214" y="64480"/>
                </a:cubicBezTo>
                <a:cubicBezTo>
                  <a:pt x="292206" y="56381"/>
                  <a:pt x="283761" y="41863"/>
                  <a:pt x="274100" y="41863"/>
                </a:cubicBezTo>
                <a:cubicBezTo>
                  <a:pt x="264440" y="41863"/>
                  <a:pt x="257152" y="34227"/>
                  <a:pt x="259177" y="28558"/>
                </a:cubicBezTo>
                <a:cubicBezTo>
                  <a:pt x="261201" y="22890"/>
                  <a:pt x="253913" y="15601"/>
                  <a:pt x="254318" y="11610"/>
                </a:cubicBezTo>
                <a:cubicBezTo>
                  <a:pt x="254723" y="7619"/>
                  <a:pt x="242171" y="11147"/>
                  <a:pt x="235692" y="12825"/>
                </a:cubicBezTo>
                <a:cubicBezTo>
                  <a:pt x="229213" y="14502"/>
                  <a:pt x="215562" y="-2967"/>
                  <a:pt x="209488" y="273"/>
                </a:cubicBezTo>
                <a:cubicBezTo>
                  <a:pt x="203415" y="3512"/>
                  <a:pt x="207869" y="11841"/>
                  <a:pt x="206249" y="16816"/>
                </a:cubicBezTo>
                <a:cubicBezTo>
                  <a:pt x="204629" y="21791"/>
                  <a:pt x="190111" y="12362"/>
                  <a:pt x="190111" y="18031"/>
                </a:cubicBezTo>
                <a:cubicBezTo>
                  <a:pt x="190111" y="23700"/>
                  <a:pt x="184326" y="24452"/>
                  <a:pt x="179178" y="18436"/>
                </a:cubicBezTo>
                <a:cubicBezTo>
                  <a:pt x="174030" y="12420"/>
                  <a:pt x="163039" y="16006"/>
                  <a:pt x="163444" y="20865"/>
                </a:cubicBezTo>
                <a:cubicBezTo>
                  <a:pt x="163849" y="25724"/>
                  <a:pt x="158585" y="21675"/>
                  <a:pt x="149330" y="16006"/>
                </a:cubicBezTo>
                <a:cubicBezTo>
                  <a:pt x="140075" y="10337"/>
                  <a:pt x="130300" y="22485"/>
                  <a:pt x="131109" y="28558"/>
                </a:cubicBezTo>
                <a:cubicBezTo>
                  <a:pt x="131919" y="34632"/>
                  <a:pt x="127870" y="36194"/>
                  <a:pt x="120235" y="22774"/>
                </a:cubicBezTo>
                <a:cubicBezTo>
                  <a:pt x="112599" y="9354"/>
                  <a:pt x="103633" y="23989"/>
                  <a:pt x="107683" y="31277"/>
                </a:cubicBezTo>
                <a:cubicBezTo>
                  <a:pt x="111731" y="38566"/>
                  <a:pt x="110112" y="47416"/>
                  <a:pt x="104096" y="43714"/>
                </a:cubicBezTo>
                <a:cubicBezTo>
                  <a:pt x="98080" y="40012"/>
                  <a:pt x="89924" y="46143"/>
                  <a:pt x="86280" y="51870"/>
                </a:cubicBezTo>
                <a:cubicBezTo>
                  <a:pt x="82636" y="57596"/>
                  <a:pt x="69737" y="35268"/>
                  <a:pt x="79050" y="30062"/>
                </a:cubicBezTo>
                <a:cubicBezTo>
                  <a:pt x="88362" y="24856"/>
                  <a:pt x="49549" y="2528"/>
                  <a:pt x="37459" y="2528"/>
                </a:cubicBezTo>
                <a:cubicBezTo>
                  <a:pt x="25370" y="2528"/>
                  <a:pt x="33410" y="11494"/>
                  <a:pt x="41509" y="17915"/>
                </a:cubicBezTo>
                <a:cubicBezTo>
                  <a:pt x="49607" y="24336"/>
                  <a:pt x="35724" y="22774"/>
                  <a:pt x="31386" y="17105"/>
                </a:cubicBezTo>
                <a:cubicBezTo>
                  <a:pt x="27048" y="11437"/>
                  <a:pt x="18429" y="15890"/>
                  <a:pt x="13628" y="23989"/>
                </a:cubicBezTo>
                <a:cubicBezTo>
                  <a:pt x="8827" y="32087"/>
                  <a:pt x="671" y="36483"/>
                  <a:pt x="-81" y="42152"/>
                </a:cubicBezTo>
                <a:cubicBezTo>
                  <a:pt x="-833" y="47821"/>
                  <a:pt x="13628" y="53721"/>
                  <a:pt x="26122" y="48630"/>
                </a:cubicBezTo>
                <a:cubicBezTo>
                  <a:pt x="38616" y="43540"/>
                  <a:pt x="52788" y="42557"/>
                  <a:pt x="59267" y="48630"/>
                </a:cubicBezTo>
                <a:cubicBezTo>
                  <a:pt x="65745" y="54704"/>
                  <a:pt x="47698" y="57076"/>
                  <a:pt x="54003" y="61935"/>
                </a:cubicBezTo>
                <a:cubicBezTo>
                  <a:pt x="60308" y="66794"/>
                  <a:pt x="55218" y="70843"/>
                  <a:pt x="39889" y="69628"/>
                </a:cubicBezTo>
                <a:cubicBezTo>
                  <a:pt x="24560" y="68413"/>
                  <a:pt x="5934" y="72867"/>
                  <a:pt x="8769" y="78073"/>
                </a:cubicBezTo>
                <a:cubicBezTo>
                  <a:pt x="11603" y="83279"/>
                  <a:pt x="47929" y="73677"/>
                  <a:pt x="48334" y="78941"/>
                </a:cubicBezTo>
                <a:cubicBezTo>
                  <a:pt x="48739" y="84205"/>
                  <a:pt x="48334" y="93055"/>
                  <a:pt x="58052" y="89006"/>
                </a:cubicBezTo>
                <a:cubicBezTo>
                  <a:pt x="67770" y="84957"/>
                  <a:pt x="61291" y="96294"/>
                  <a:pt x="66092" y="98261"/>
                </a:cubicBezTo>
                <a:cubicBezTo>
                  <a:pt x="70893" y="100228"/>
                  <a:pt x="69737" y="109830"/>
                  <a:pt x="56837" y="110813"/>
                </a:cubicBezTo>
                <a:cubicBezTo>
                  <a:pt x="43938" y="111796"/>
                  <a:pt x="37575" y="114226"/>
                  <a:pt x="43070" y="119721"/>
                </a:cubicBezTo>
                <a:cubicBezTo>
                  <a:pt x="49954" y="126547"/>
                  <a:pt x="64126" y="121688"/>
                  <a:pt x="77777" y="118506"/>
                </a:cubicBezTo>
                <a:cubicBezTo>
                  <a:pt x="91428" y="115325"/>
                  <a:pt x="111269" y="131811"/>
                  <a:pt x="127407" y="138289"/>
                </a:cubicBezTo>
                <a:cubicBezTo>
                  <a:pt x="143546" y="144768"/>
                  <a:pt x="171427" y="135860"/>
                  <a:pt x="174666" y="127357"/>
                </a:cubicBezTo>
                <a:cubicBezTo>
                  <a:pt x="177905" y="118853"/>
                  <a:pt x="199713" y="122093"/>
                  <a:pt x="208621" y="116077"/>
                </a:cubicBezTo>
                <a:cubicBezTo>
                  <a:pt x="219310" y="108008"/>
                  <a:pt x="232065" y="103131"/>
                  <a:pt x="245410" y="102021"/>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1" name="Forma libre: forma 200">
            <a:extLst>
              <a:ext uri="{FF2B5EF4-FFF2-40B4-BE49-F238E27FC236}">
                <a16:creationId xmlns:a16="http://schemas.microsoft.com/office/drawing/2014/main" id="{11984332-0301-DB57-6880-0EE4D01BC78C}"/>
              </a:ext>
            </a:extLst>
          </p:cNvPr>
          <p:cNvSpPr/>
          <p:nvPr/>
        </p:nvSpPr>
        <p:spPr>
          <a:xfrm>
            <a:off x="5903174" y="2784930"/>
            <a:ext cx="115038" cy="136283"/>
          </a:xfrm>
          <a:custGeom>
            <a:avLst/>
            <a:gdLst>
              <a:gd name="connsiteX0" fmla="*/ 107785 w 115038"/>
              <a:gd name="connsiteY0" fmla="*/ 41753 h 136283"/>
              <a:gd name="connsiteX1" fmla="*/ 98761 w 115038"/>
              <a:gd name="connsiteY1" fmla="*/ 33481 h 136283"/>
              <a:gd name="connsiteX2" fmla="*/ 82912 w 115038"/>
              <a:gd name="connsiteY2" fmla="*/ 38398 h 136283"/>
              <a:gd name="connsiteX3" fmla="*/ 65559 w 115038"/>
              <a:gd name="connsiteY3" fmla="*/ 34754 h 136283"/>
              <a:gd name="connsiteX4" fmla="*/ 71690 w 115038"/>
              <a:gd name="connsiteY4" fmla="*/ 18846 h 136283"/>
              <a:gd name="connsiteX5" fmla="*/ 79094 w 115038"/>
              <a:gd name="connsiteY5" fmla="*/ 3286 h 136283"/>
              <a:gd name="connsiteX6" fmla="*/ 75739 w 115038"/>
              <a:gd name="connsiteY6" fmla="*/ 2708 h 136283"/>
              <a:gd name="connsiteX7" fmla="*/ 48263 w 115038"/>
              <a:gd name="connsiteY7" fmla="*/ 8492 h 136283"/>
              <a:gd name="connsiteX8" fmla="*/ 61162 w 115038"/>
              <a:gd name="connsiteY8" fmla="*/ 21449 h 136283"/>
              <a:gd name="connsiteX9" fmla="*/ 38950 w 115038"/>
              <a:gd name="connsiteY9" fmla="*/ 33018 h 136283"/>
              <a:gd name="connsiteX10" fmla="*/ 10028 w 115038"/>
              <a:gd name="connsiteY10" fmla="*/ 33423 h 136283"/>
              <a:gd name="connsiteX11" fmla="*/ 13210 w 115038"/>
              <a:gd name="connsiteY11" fmla="*/ 54074 h 136283"/>
              <a:gd name="connsiteX12" fmla="*/ 25762 w 115038"/>
              <a:gd name="connsiteY12" fmla="*/ 73451 h 136283"/>
              <a:gd name="connsiteX13" fmla="*/ 18473 w 115038"/>
              <a:gd name="connsiteY13" fmla="*/ 96589 h 136283"/>
              <a:gd name="connsiteX14" fmla="*/ 310 w 115038"/>
              <a:gd name="connsiteY14" fmla="*/ 114347 h 136283"/>
              <a:gd name="connsiteX15" fmla="*/ 27381 w 115038"/>
              <a:gd name="connsiteY15" fmla="*/ 136155 h 136283"/>
              <a:gd name="connsiteX16" fmla="*/ 74640 w 115038"/>
              <a:gd name="connsiteY16" fmla="*/ 116777 h 136283"/>
              <a:gd name="connsiteX17" fmla="*/ 108132 w 115038"/>
              <a:gd name="connsiteY17" fmla="*/ 109893 h 136283"/>
              <a:gd name="connsiteX18" fmla="*/ 108132 w 115038"/>
              <a:gd name="connsiteY18" fmla="*/ 46265 h 136283"/>
              <a:gd name="connsiteX19" fmla="*/ 107785 w 115038"/>
              <a:gd name="connsiteY19" fmla="*/ 41753 h 136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5038" h="136283">
                <a:moveTo>
                  <a:pt x="107785" y="41753"/>
                </a:moveTo>
                <a:cubicBezTo>
                  <a:pt x="104465" y="39358"/>
                  <a:pt x="101433" y="36581"/>
                  <a:pt x="98761" y="33481"/>
                </a:cubicBezTo>
                <a:cubicBezTo>
                  <a:pt x="88349" y="21334"/>
                  <a:pt x="84069" y="31052"/>
                  <a:pt x="82912" y="38398"/>
                </a:cubicBezTo>
                <a:cubicBezTo>
                  <a:pt x="81755" y="45744"/>
                  <a:pt x="71921" y="35968"/>
                  <a:pt x="65559" y="34754"/>
                </a:cubicBezTo>
                <a:cubicBezTo>
                  <a:pt x="59195" y="33539"/>
                  <a:pt x="67410" y="21912"/>
                  <a:pt x="71690" y="18846"/>
                </a:cubicBezTo>
                <a:cubicBezTo>
                  <a:pt x="75745" y="14578"/>
                  <a:pt x="78336" y="9129"/>
                  <a:pt x="79094" y="3286"/>
                </a:cubicBezTo>
                <a:cubicBezTo>
                  <a:pt x="77949" y="3292"/>
                  <a:pt x="76815" y="3095"/>
                  <a:pt x="75739" y="2708"/>
                </a:cubicBezTo>
                <a:cubicBezTo>
                  <a:pt x="64170" y="-1746"/>
                  <a:pt x="48668" y="-1746"/>
                  <a:pt x="48263" y="8492"/>
                </a:cubicBezTo>
                <a:cubicBezTo>
                  <a:pt x="47858" y="18731"/>
                  <a:pt x="60757" y="15029"/>
                  <a:pt x="61162" y="21449"/>
                </a:cubicBezTo>
                <a:cubicBezTo>
                  <a:pt x="61567" y="27870"/>
                  <a:pt x="48263" y="26251"/>
                  <a:pt x="38950" y="33018"/>
                </a:cubicBezTo>
                <a:cubicBezTo>
                  <a:pt x="29637" y="39786"/>
                  <a:pt x="19572" y="28622"/>
                  <a:pt x="10028" y="33423"/>
                </a:cubicBezTo>
                <a:cubicBezTo>
                  <a:pt x="484" y="38224"/>
                  <a:pt x="20498" y="43951"/>
                  <a:pt x="13210" y="54074"/>
                </a:cubicBezTo>
                <a:cubicBezTo>
                  <a:pt x="5921" y="64196"/>
                  <a:pt x="13614" y="63734"/>
                  <a:pt x="25762" y="73451"/>
                </a:cubicBezTo>
                <a:cubicBezTo>
                  <a:pt x="37909" y="83169"/>
                  <a:pt x="18473" y="85541"/>
                  <a:pt x="18473" y="96589"/>
                </a:cubicBezTo>
                <a:cubicBezTo>
                  <a:pt x="18473" y="107637"/>
                  <a:pt x="3549" y="107059"/>
                  <a:pt x="310" y="114347"/>
                </a:cubicBezTo>
                <a:cubicBezTo>
                  <a:pt x="-2929" y="121636"/>
                  <a:pt x="13210" y="136155"/>
                  <a:pt x="27381" y="136155"/>
                </a:cubicBezTo>
                <a:cubicBezTo>
                  <a:pt x="44775" y="134795"/>
                  <a:pt x="61301" y="128022"/>
                  <a:pt x="74640" y="116777"/>
                </a:cubicBezTo>
                <a:cubicBezTo>
                  <a:pt x="88349" y="103820"/>
                  <a:pt x="95638" y="116314"/>
                  <a:pt x="108132" y="109893"/>
                </a:cubicBezTo>
                <a:cubicBezTo>
                  <a:pt x="120626" y="103473"/>
                  <a:pt x="112991" y="56214"/>
                  <a:pt x="108132" y="46265"/>
                </a:cubicBezTo>
                <a:cubicBezTo>
                  <a:pt x="107345" y="44888"/>
                  <a:pt x="107212" y="43234"/>
                  <a:pt x="107785" y="4175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2" name="Forma libre: forma 201">
            <a:extLst>
              <a:ext uri="{FF2B5EF4-FFF2-40B4-BE49-F238E27FC236}">
                <a16:creationId xmlns:a16="http://schemas.microsoft.com/office/drawing/2014/main" id="{F3C07D8C-4F48-5799-9130-66C61EF5BBE6}"/>
              </a:ext>
            </a:extLst>
          </p:cNvPr>
          <p:cNvSpPr/>
          <p:nvPr/>
        </p:nvSpPr>
        <p:spPr>
          <a:xfrm>
            <a:off x="5966864" y="2562201"/>
            <a:ext cx="270913" cy="414468"/>
          </a:xfrm>
          <a:custGeom>
            <a:avLst/>
            <a:gdLst>
              <a:gd name="connsiteX0" fmla="*/ 49821 w 270913"/>
              <a:gd name="connsiteY0" fmla="*/ 220579 h 414468"/>
              <a:gd name="connsiteX1" fmla="*/ 15635 w 270913"/>
              <a:gd name="connsiteY1" fmla="*/ 226016 h 414468"/>
              <a:gd name="connsiteX2" fmla="*/ 8231 w 270913"/>
              <a:gd name="connsiteY2" fmla="*/ 241576 h 414468"/>
              <a:gd name="connsiteX3" fmla="*/ 2099 w 270913"/>
              <a:gd name="connsiteY3" fmla="*/ 257483 h 414468"/>
              <a:gd name="connsiteX4" fmla="*/ 19452 w 270913"/>
              <a:gd name="connsiteY4" fmla="*/ 261127 h 414468"/>
              <a:gd name="connsiteX5" fmla="*/ 35302 w 270913"/>
              <a:gd name="connsiteY5" fmla="*/ 256211 h 414468"/>
              <a:gd name="connsiteX6" fmla="*/ 44325 w 270913"/>
              <a:gd name="connsiteY6" fmla="*/ 264483 h 414468"/>
              <a:gd name="connsiteX7" fmla="*/ 65381 w 270913"/>
              <a:gd name="connsiteY7" fmla="*/ 251294 h 414468"/>
              <a:gd name="connsiteX8" fmla="*/ 49821 w 270913"/>
              <a:gd name="connsiteY8" fmla="*/ 220579 h 414468"/>
              <a:gd name="connsiteX9" fmla="*/ 270786 w 270913"/>
              <a:gd name="connsiteY9" fmla="*/ 320765 h 414468"/>
              <a:gd name="connsiteX10" fmla="*/ 241864 w 270913"/>
              <a:gd name="connsiteY10" fmla="*/ 306593 h 414468"/>
              <a:gd name="connsiteX11" fmla="*/ 228502 w 270913"/>
              <a:gd name="connsiteY11" fmla="*/ 305031 h 414468"/>
              <a:gd name="connsiteX12" fmla="*/ 228155 w 270913"/>
              <a:gd name="connsiteY12" fmla="*/ 290050 h 414468"/>
              <a:gd name="connsiteX13" fmla="*/ 219247 w 270913"/>
              <a:gd name="connsiteY13" fmla="*/ 275126 h 414468"/>
              <a:gd name="connsiteX14" fmla="*/ 198654 w 270913"/>
              <a:gd name="connsiteY14" fmla="*/ 241981 h 414468"/>
              <a:gd name="connsiteX15" fmla="*/ 180491 w 270913"/>
              <a:gd name="connsiteY15" fmla="*/ 208894 h 414468"/>
              <a:gd name="connsiteX16" fmla="*/ 162328 w 270913"/>
              <a:gd name="connsiteY16" fmla="*/ 195127 h 414468"/>
              <a:gd name="connsiteX17" fmla="*/ 137686 w 270913"/>
              <a:gd name="connsiteY17" fmla="*/ 191078 h 414468"/>
              <a:gd name="connsiteX18" fmla="*/ 147346 w 270913"/>
              <a:gd name="connsiteY18" fmla="*/ 173320 h 414468"/>
              <a:gd name="connsiteX19" fmla="*/ 168401 w 270913"/>
              <a:gd name="connsiteY19" fmla="*/ 125714 h 414468"/>
              <a:gd name="connsiteX20" fmla="*/ 117903 w 270913"/>
              <a:gd name="connsiteY20" fmla="*/ 123285 h 414468"/>
              <a:gd name="connsiteX21" fmla="*/ 108591 w 270913"/>
              <a:gd name="connsiteY21" fmla="*/ 114377 h 414468"/>
              <a:gd name="connsiteX22" fmla="*/ 129183 w 270913"/>
              <a:gd name="connsiteY22" fmla="*/ 91759 h 414468"/>
              <a:gd name="connsiteX23" fmla="*/ 133232 w 270913"/>
              <a:gd name="connsiteY23" fmla="*/ 75621 h 414468"/>
              <a:gd name="connsiteX24" fmla="*/ 121085 w 270913"/>
              <a:gd name="connsiteY24" fmla="*/ 86496 h 414468"/>
              <a:gd name="connsiteX25" fmla="*/ 91642 w 270913"/>
              <a:gd name="connsiteY25" fmla="*/ 86900 h 414468"/>
              <a:gd name="connsiteX26" fmla="*/ 74694 w 270913"/>
              <a:gd name="connsiteY26" fmla="*/ 110038 h 414468"/>
              <a:gd name="connsiteX27" fmla="*/ 62546 w 270913"/>
              <a:gd name="connsiteY27" fmla="*/ 128606 h 414468"/>
              <a:gd name="connsiteX28" fmla="*/ 55721 w 270913"/>
              <a:gd name="connsiteY28" fmla="*/ 136300 h 414468"/>
              <a:gd name="connsiteX29" fmla="*/ 39120 w 270913"/>
              <a:gd name="connsiteY29" fmla="*/ 130226 h 414468"/>
              <a:gd name="connsiteX30" fmla="*/ 58902 w 270913"/>
              <a:gd name="connsiteY30" fmla="*/ 146422 h 414468"/>
              <a:gd name="connsiteX31" fmla="*/ 48837 w 270913"/>
              <a:gd name="connsiteY31" fmla="*/ 166552 h 414468"/>
              <a:gd name="connsiteX32" fmla="*/ 63356 w 270913"/>
              <a:gd name="connsiteY32" fmla="*/ 181129 h 414468"/>
              <a:gd name="connsiteX33" fmla="*/ 40739 w 270913"/>
              <a:gd name="connsiteY33" fmla="*/ 198077 h 414468"/>
              <a:gd name="connsiteX34" fmla="*/ 60117 w 270913"/>
              <a:gd name="connsiteY34" fmla="*/ 191194 h 414468"/>
              <a:gd name="connsiteX35" fmla="*/ 71686 w 270913"/>
              <a:gd name="connsiteY35" fmla="*/ 207795 h 414468"/>
              <a:gd name="connsiteX36" fmla="*/ 87419 w 270913"/>
              <a:gd name="connsiteY36" fmla="*/ 186393 h 414468"/>
              <a:gd name="connsiteX37" fmla="*/ 89502 w 270913"/>
              <a:gd name="connsiteY37" fmla="*/ 205366 h 414468"/>
              <a:gd name="connsiteX38" fmla="*/ 79784 w 270913"/>
              <a:gd name="connsiteY38" fmla="*/ 232842 h 414468"/>
              <a:gd name="connsiteX39" fmla="*/ 118945 w 270913"/>
              <a:gd name="connsiteY39" fmla="*/ 229197 h 414468"/>
              <a:gd name="connsiteX40" fmla="*/ 126233 w 270913"/>
              <a:gd name="connsiteY40" fmla="*/ 237238 h 414468"/>
              <a:gd name="connsiteX41" fmla="*/ 130687 w 270913"/>
              <a:gd name="connsiteY41" fmla="*/ 254244 h 414468"/>
              <a:gd name="connsiteX42" fmla="*/ 137918 w 270913"/>
              <a:gd name="connsiteY42" fmla="*/ 264309 h 414468"/>
              <a:gd name="connsiteX43" fmla="*/ 135430 w 270913"/>
              <a:gd name="connsiteY43" fmla="*/ 288661 h 414468"/>
              <a:gd name="connsiteX44" fmla="*/ 107549 w 270913"/>
              <a:gd name="connsiteY44" fmla="*/ 289876 h 414468"/>
              <a:gd name="connsiteX45" fmla="*/ 99104 w 270913"/>
              <a:gd name="connsiteY45" fmla="*/ 294272 h 414468"/>
              <a:gd name="connsiteX46" fmla="*/ 91006 w 270913"/>
              <a:gd name="connsiteY46" fmla="*/ 311279 h 414468"/>
              <a:gd name="connsiteX47" fmla="*/ 107145 w 270913"/>
              <a:gd name="connsiteY47" fmla="*/ 321806 h 414468"/>
              <a:gd name="connsiteX48" fmla="*/ 80941 w 270913"/>
              <a:gd name="connsiteY48" fmla="*/ 340316 h 414468"/>
              <a:gd name="connsiteX49" fmla="*/ 91411 w 270913"/>
              <a:gd name="connsiteY49" fmla="*/ 351885 h 414468"/>
              <a:gd name="connsiteX50" fmla="*/ 107549 w 270913"/>
              <a:gd name="connsiteY50" fmla="*/ 355529 h 414468"/>
              <a:gd name="connsiteX51" fmla="*/ 136472 w 270913"/>
              <a:gd name="connsiteY51" fmla="*/ 359579 h 414468"/>
              <a:gd name="connsiteX52" fmla="*/ 138901 w 270913"/>
              <a:gd name="connsiteY52" fmla="*/ 366462 h 414468"/>
              <a:gd name="connsiteX53" fmla="*/ 108591 w 270913"/>
              <a:gd name="connsiteY53" fmla="*/ 370511 h 414468"/>
              <a:gd name="connsiteX54" fmla="*/ 73884 w 270913"/>
              <a:gd name="connsiteY54" fmla="*/ 413316 h 414468"/>
              <a:gd name="connsiteX55" fmla="*/ 94072 w 270913"/>
              <a:gd name="connsiteY55" fmla="*/ 401747 h 414468"/>
              <a:gd name="connsiteX56" fmla="*/ 114259 w 270913"/>
              <a:gd name="connsiteY56" fmla="*/ 405738 h 414468"/>
              <a:gd name="connsiteX57" fmla="*/ 126406 w 270913"/>
              <a:gd name="connsiteY57" fmla="*/ 393649 h 414468"/>
              <a:gd name="connsiteX58" fmla="*/ 146189 w 270913"/>
              <a:gd name="connsiteY58" fmla="*/ 390872 h 414468"/>
              <a:gd name="connsiteX59" fmla="*/ 167534 w 270913"/>
              <a:gd name="connsiteY59" fmla="*/ 384799 h 414468"/>
              <a:gd name="connsiteX60" fmla="*/ 189399 w 270913"/>
              <a:gd name="connsiteY60" fmla="*/ 390005 h 414468"/>
              <a:gd name="connsiteX61" fmla="*/ 220056 w 270913"/>
              <a:gd name="connsiteY61" fmla="*/ 384220 h 414468"/>
              <a:gd name="connsiteX62" fmla="*/ 258002 w 270913"/>
              <a:gd name="connsiteY62" fmla="*/ 368486 h 414468"/>
              <a:gd name="connsiteX63" fmla="*/ 246433 w 270913"/>
              <a:gd name="connsiteY63" fmla="*/ 362702 h 414468"/>
              <a:gd name="connsiteX64" fmla="*/ 248458 w 270913"/>
              <a:gd name="connsiteY64" fmla="*/ 346564 h 414468"/>
              <a:gd name="connsiteX65" fmla="*/ 270786 w 270913"/>
              <a:gd name="connsiteY65" fmla="*/ 320765 h 414468"/>
              <a:gd name="connsiteX66" fmla="*/ 27840 w 270913"/>
              <a:gd name="connsiteY66" fmla="*/ 118021 h 414468"/>
              <a:gd name="connsiteX67" fmla="*/ 46003 w 270913"/>
              <a:gd name="connsiteY67" fmla="*/ 93784 h 414468"/>
              <a:gd name="connsiteX68" fmla="*/ 27840 w 270913"/>
              <a:gd name="connsiteY68" fmla="*/ 118021 h 414468"/>
              <a:gd name="connsiteX69" fmla="*/ 184019 w 270913"/>
              <a:gd name="connsiteY69" fmla="*/ 30387 h 414468"/>
              <a:gd name="connsiteX70" fmla="*/ 188474 w 270913"/>
              <a:gd name="connsiteY70" fmla="*/ 76 h 414468"/>
              <a:gd name="connsiteX71" fmla="*/ 184309 w 270913"/>
              <a:gd name="connsiteY71" fmla="*/ 30387 h 41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70913" h="414468">
                <a:moveTo>
                  <a:pt x="49821" y="220579"/>
                </a:moveTo>
                <a:cubicBezTo>
                  <a:pt x="39640" y="210745"/>
                  <a:pt x="26683" y="226363"/>
                  <a:pt x="15635" y="226016"/>
                </a:cubicBezTo>
                <a:cubicBezTo>
                  <a:pt x="14877" y="231858"/>
                  <a:pt x="12285" y="237307"/>
                  <a:pt x="8231" y="241576"/>
                </a:cubicBezTo>
                <a:cubicBezTo>
                  <a:pt x="3950" y="244642"/>
                  <a:pt x="-3974" y="256211"/>
                  <a:pt x="2099" y="257483"/>
                </a:cubicBezTo>
                <a:cubicBezTo>
                  <a:pt x="8173" y="258756"/>
                  <a:pt x="17948" y="268416"/>
                  <a:pt x="19452" y="261127"/>
                </a:cubicBezTo>
                <a:cubicBezTo>
                  <a:pt x="20956" y="253839"/>
                  <a:pt x="24890" y="244064"/>
                  <a:pt x="35302" y="256211"/>
                </a:cubicBezTo>
                <a:cubicBezTo>
                  <a:pt x="37974" y="259311"/>
                  <a:pt x="41005" y="262088"/>
                  <a:pt x="44325" y="264483"/>
                </a:cubicBezTo>
                <a:cubicBezTo>
                  <a:pt x="46003" y="258698"/>
                  <a:pt x="58786" y="257946"/>
                  <a:pt x="65381" y="251294"/>
                </a:cubicBezTo>
                <a:cubicBezTo>
                  <a:pt x="73248" y="243196"/>
                  <a:pt x="61100" y="231511"/>
                  <a:pt x="49821" y="220579"/>
                </a:cubicBezTo>
                <a:close/>
                <a:moveTo>
                  <a:pt x="270786" y="320765"/>
                </a:moveTo>
                <a:cubicBezTo>
                  <a:pt x="271596" y="308618"/>
                  <a:pt x="244930" y="300172"/>
                  <a:pt x="241864" y="306593"/>
                </a:cubicBezTo>
                <a:cubicBezTo>
                  <a:pt x="238798" y="313014"/>
                  <a:pt x="233013" y="312378"/>
                  <a:pt x="228502" y="305031"/>
                </a:cubicBezTo>
                <a:cubicBezTo>
                  <a:pt x="223990" y="297685"/>
                  <a:pt x="232609" y="290860"/>
                  <a:pt x="228155" y="290050"/>
                </a:cubicBezTo>
                <a:cubicBezTo>
                  <a:pt x="222630" y="287128"/>
                  <a:pt x="219195" y="281373"/>
                  <a:pt x="219247" y="275126"/>
                </a:cubicBezTo>
                <a:cubicBezTo>
                  <a:pt x="220461" y="271077"/>
                  <a:pt x="212421" y="245278"/>
                  <a:pt x="198654" y="241981"/>
                </a:cubicBezTo>
                <a:cubicBezTo>
                  <a:pt x="184887" y="238684"/>
                  <a:pt x="182920" y="219364"/>
                  <a:pt x="180491" y="208894"/>
                </a:cubicBezTo>
                <a:cubicBezTo>
                  <a:pt x="178061" y="198424"/>
                  <a:pt x="168922" y="204035"/>
                  <a:pt x="162328" y="195127"/>
                </a:cubicBezTo>
                <a:cubicBezTo>
                  <a:pt x="155734" y="186219"/>
                  <a:pt x="143760" y="190731"/>
                  <a:pt x="137686" y="191078"/>
                </a:cubicBezTo>
                <a:cubicBezTo>
                  <a:pt x="131613" y="191425"/>
                  <a:pt x="137686" y="179798"/>
                  <a:pt x="147346" y="173320"/>
                </a:cubicBezTo>
                <a:cubicBezTo>
                  <a:pt x="157006" y="166841"/>
                  <a:pt x="168401" y="132540"/>
                  <a:pt x="168401" y="125714"/>
                </a:cubicBezTo>
                <a:cubicBezTo>
                  <a:pt x="168401" y="118888"/>
                  <a:pt x="126001" y="119178"/>
                  <a:pt x="117903" y="123285"/>
                </a:cubicBezTo>
                <a:cubicBezTo>
                  <a:pt x="109805" y="127391"/>
                  <a:pt x="101765" y="117211"/>
                  <a:pt x="108591" y="114377"/>
                </a:cubicBezTo>
                <a:cubicBezTo>
                  <a:pt x="115416" y="111542"/>
                  <a:pt x="129993" y="97428"/>
                  <a:pt x="129183" y="91759"/>
                </a:cubicBezTo>
                <a:cubicBezTo>
                  <a:pt x="128373" y="86091"/>
                  <a:pt x="139306" y="80885"/>
                  <a:pt x="133232" y="75621"/>
                </a:cubicBezTo>
                <a:cubicBezTo>
                  <a:pt x="127158" y="70357"/>
                  <a:pt x="126349" y="82504"/>
                  <a:pt x="121085" y="86496"/>
                </a:cubicBezTo>
                <a:cubicBezTo>
                  <a:pt x="115821" y="90487"/>
                  <a:pt x="104137" y="89330"/>
                  <a:pt x="91642" y="86900"/>
                </a:cubicBezTo>
                <a:cubicBezTo>
                  <a:pt x="79148" y="84471"/>
                  <a:pt x="74289" y="102229"/>
                  <a:pt x="74694" y="110038"/>
                </a:cubicBezTo>
                <a:cubicBezTo>
                  <a:pt x="75099" y="117847"/>
                  <a:pt x="60117" y="122186"/>
                  <a:pt x="62546" y="128606"/>
                </a:cubicBezTo>
                <a:cubicBezTo>
                  <a:pt x="64976" y="135027"/>
                  <a:pt x="59770" y="140175"/>
                  <a:pt x="55721" y="136300"/>
                </a:cubicBezTo>
                <a:cubicBezTo>
                  <a:pt x="51672" y="132424"/>
                  <a:pt x="47218" y="123747"/>
                  <a:pt x="39120" y="130226"/>
                </a:cubicBezTo>
                <a:cubicBezTo>
                  <a:pt x="31021" y="136705"/>
                  <a:pt x="48432" y="145208"/>
                  <a:pt x="58902" y="146422"/>
                </a:cubicBezTo>
                <a:cubicBezTo>
                  <a:pt x="69372" y="147637"/>
                  <a:pt x="50862" y="155272"/>
                  <a:pt x="48837" y="166552"/>
                </a:cubicBezTo>
                <a:cubicBezTo>
                  <a:pt x="46813" y="177832"/>
                  <a:pt x="62546" y="173031"/>
                  <a:pt x="63356" y="181129"/>
                </a:cubicBezTo>
                <a:cubicBezTo>
                  <a:pt x="64166" y="189227"/>
                  <a:pt x="40739" y="190384"/>
                  <a:pt x="40739" y="198077"/>
                </a:cubicBezTo>
                <a:cubicBezTo>
                  <a:pt x="40739" y="205771"/>
                  <a:pt x="54101" y="194433"/>
                  <a:pt x="60117" y="191194"/>
                </a:cubicBezTo>
                <a:cubicBezTo>
                  <a:pt x="66133" y="187954"/>
                  <a:pt x="56936" y="210167"/>
                  <a:pt x="71686" y="207795"/>
                </a:cubicBezTo>
                <a:cubicBezTo>
                  <a:pt x="86436" y="205423"/>
                  <a:pt x="82156" y="185583"/>
                  <a:pt x="87419" y="186393"/>
                </a:cubicBezTo>
                <a:cubicBezTo>
                  <a:pt x="92683" y="187202"/>
                  <a:pt x="84990" y="196863"/>
                  <a:pt x="89502" y="205366"/>
                </a:cubicBezTo>
                <a:cubicBezTo>
                  <a:pt x="94014" y="213869"/>
                  <a:pt x="78974" y="226768"/>
                  <a:pt x="79784" y="232842"/>
                </a:cubicBezTo>
                <a:cubicBezTo>
                  <a:pt x="80594" y="238915"/>
                  <a:pt x="109632" y="238626"/>
                  <a:pt x="118945" y="229197"/>
                </a:cubicBezTo>
                <a:cubicBezTo>
                  <a:pt x="128257" y="219769"/>
                  <a:pt x="132654" y="230007"/>
                  <a:pt x="126233" y="237238"/>
                </a:cubicBezTo>
                <a:cubicBezTo>
                  <a:pt x="119812" y="244468"/>
                  <a:pt x="122589" y="251410"/>
                  <a:pt x="130687" y="254244"/>
                </a:cubicBezTo>
                <a:cubicBezTo>
                  <a:pt x="138785" y="257078"/>
                  <a:pt x="141562" y="257830"/>
                  <a:pt x="137918" y="264309"/>
                </a:cubicBezTo>
                <a:cubicBezTo>
                  <a:pt x="134274" y="270788"/>
                  <a:pt x="137744" y="282877"/>
                  <a:pt x="135430" y="288661"/>
                </a:cubicBezTo>
                <a:cubicBezTo>
                  <a:pt x="133117" y="294446"/>
                  <a:pt x="108359" y="293925"/>
                  <a:pt x="107549" y="289876"/>
                </a:cubicBezTo>
                <a:cubicBezTo>
                  <a:pt x="106740" y="285827"/>
                  <a:pt x="96270" y="288661"/>
                  <a:pt x="99104" y="294272"/>
                </a:cubicBezTo>
                <a:cubicBezTo>
                  <a:pt x="101938" y="299883"/>
                  <a:pt x="90196" y="305841"/>
                  <a:pt x="91006" y="311279"/>
                </a:cubicBezTo>
                <a:cubicBezTo>
                  <a:pt x="91816" y="316716"/>
                  <a:pt x="106797" y="315328"/>
                  <a:pt x="107145" y="321806"/>
                </a:cubicBezTo>
                <a:cubicBezTo>
                  <a:pt x="107492" y="328285"/>
                  <a:pt x="96270" y="335920"/>
                  <a:pt x="80941" y="340316"/>
                </a:cubicBezTo>
                <a:cubicBezTo>
                  <a:pt x="65612" y="344713"/>
                  <a:pt x="84122" y="356918"/>
                  <a:pt x="91411" y="351885"/>
                </a:cubicBezTo>
                <a:cubicBezTo>
                  <a:pt x="98699" y="346853"/>
                  <a:pt x="97195" y="355529"/>
                  <a:pt x="107549" y="355529"/>
                </a:cubicBezTo>
                <a:cubicBezTo>
                  <a:pt x="117903" y="355529"/>
                  <a:pt x="124555" y="364033"/>
                  <a:pt x="136472" y="359579"/>
                </a:cubicBezTo>
                <a:cubicBezTo>
                  <a:pt x="148388" y="355124"/>
                  <a:pt x="148040" y="359579"/>
                  <a:pt x="138901" y="366462"/>
                </a:cubicBezTo>
                <a:cubicBezTo>
                  <a:pt x="129761" y="373346"/>
                  <a:pt x="116689" y="366057"/>
                  <a:pt x="108591" y="370511"/>
                </a:cubicBezTo>
                <a:cubicBezTo>
                  <a:pt x="100492" y="374965"/>
                  <a:pt x="67695" y="405680"/>
                  <a:pt x="73884" y="413316"/>
                </a:cubicBezTo>
                <a:cubicBezTo>
                  <a:pt x="77528" y="417712"/>
                  <a:pt x="82329" y="406837"/>
                  <a:pt x="94072" y="401747"/>
                </a:cubicBezTo>
                <a:cubicBezTo>
                  <a:pt x="105814" y="396657"/>
                  <a:pt x="107781" y="404986"/>
                  <a:pt x="114259" y="405738"/>
                </a:cubicBezTo>
                <a:cubicBezTo>
                  <a:pt x="120738" y="406490"/>
                  <a:pt x="121143" y="392492"/>
                  <a:pt x="126406" y="393649"/>
                </a:cubicBezTo>
                <a:cubicBezTo>
                  <a:pt x="131670" y="394806"/>
                  <a:pt x="136472" y="389253"/>
                  <a:pt x="146189" y="390872"/>
                </a:cubicBezTo>
                <a:cubicBezTo>
                  <a:pt x="153860" y="392255"/>
                  <a:pt x="161738" y="390010"/>
                  <a:pt x="167534" y="384799"/>
                </a:cubicBezTo>
                <a:cubicBezTo>
                  <a:pt x="172451" y="380750"/>
                  <a:pt x="185350" y="392839"/>
                  <a:pt x="189399" y="390005"/>
                </a:cubicBezTo>
                <a:cubicBezTo>
                  <a:pt x="199140" y="386077"/>
                  <a:pt x="209558" y="384110"/>
                  <a:pt x="220056" y="384220"/>
                </a:cubicBezTo>
                <a:cubicBezTo>
                  <a:pt x="228907" y="384625"/>
                  <a:pt x="251987" y="374097"/>
                  <a:pt x="258002" y="368486"/>
                </a:cubicBezTo>
                <a:cubicBezTo>
                  <a:pt x="264018" y="362876"/>
                  <a:pt x="254416" y="361603"/>
                  <a:pt x="246433" y="362702"/>
                </a:cubicBezTo>
                <a:cubicBezTo>
                  <a:pt x="238451" y="363801"/>
                  <a:pt x="239955" y="354604"/>
                  <a:pt x="248458" y="346564"/>
                </a:cubicBezTo>
                <a:cubicBezTo>
                  <a:pt x="256961" y="338523"/>
                  <a:pt x="269918" y="332855"/>
                  <a:pt x="270786" y="320765"/>
                </a:cubicBezTo>
                <a:close/>
                <a:moveTo>
                  <a:pt x="27840" y="118021"/>
                </a:moveTo>
                <a:cubicBezTo>
                  <a:pt x="38773" y="117616"/>
                  <a:pt x="51267" y="99048"/>
                  <a:pt x="46003" y="93784"/>
                </a:cubicBezTo>
                <a:cubicBezTo>
                  <a:pt x="40739" y="88520"/>
                  <a:pt x="19915" y="118310"/>
                  <a:pt x="27840" y="118021"/>
                </a:cubicBezTo>
                <a:close/>
                <a:moveTo>
                  <a:pt x="184019" y="30387"/>
                </a:moveTo>
                <a:cubicBezTo>
                  <a:pt x="190903" y="23503"/>
                  <a:pt x="198943" y="-2700"/>
                  <a:pt x="188474" y="76"/>
                </a:cubicBezTo>
                <a:cubicBezTo>
                  <a:pt x="178004" y="2853"/>
                  <a:pt x="181301" y="33395"/>
                  <a:pt x="184309" y="3038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3" name="Forma libre: forma 202">
            <a:extLst>
              <a:ext uri="{FF2B5EF4-FFF2-40B4-BE49-F238E27FC236}">
                <a16:creationId xmlns:a16="http://schemas.microsoft.com/office/drawing/2014/main" id="{1269932F-8034-FFAF-325E-3821E91AAFE4}"/>
              </a:ext>
            </a:extLst>
          </p:cNvPr>
          <p:cNvSpPr/>
          <p:nvPr/>
        </p:nvSpPr>
        <p:spPr>
          <a:xfrm>
            <a:off x="5966864" y="2562201"/>
            <a:ext cx="270913" cy="414468"/>
          </a:xfrm>
          <a:custGeom>
            <a:avLst/>
            <a:gdLst>
              <a:gd name="connsiteX0" fmla="*/ 49821 w 270913"/>
              <a:gd name="connsiteY0" fmla="*/ 220579 h 414468"/>
              <a:gd name="connsiteX1" fmla="*/ 15635 w 270913"/>
              <a:gd name="connsiteY1" fmla="*/ 226016 h 414468"/>
              <a:gd name="connsiteX2" fmla="*/ 8231 w 270913"/>
              <a:gd name="connsiteY2" fmla="*/ 241576 h 414468"/>
              <a:gd name="connsiteX3" fmla="*/ 2099 w 270913"/>
              <a:gd name="connsiteY3" fmla="*/ 257483 h 414468"/>
              <a:gd name="connsiteX4" fmla="*/ 19452 w 270913"/>
              <a:gd name="connsiteY4" fmla="*/ 261127 h 414468"/>
              <a:gd name="connsiteX5" fmla="*/ 35302 w 270913"/>
              <a:gd name="connsiteY5" fmla="*/ 256211 h 414468"/>
              <a:gd name="connsiteX6" fmla="*/ 44325 w 270913"/>
              <a:gd name="connsiteY6" fmla="*/ 264483 h 414468"/>
              <a:gd name="connsiteX7" fmla="*/ 65381 w 270913"/>
              <a:gd name="connsiteY7" fmla="*/ 251294 h 414468"/>
              <a:gd name="connsiteX8" fmla="*/ 49821 w 270913"/>
              <a:gd name="connsiteY8" fmla="*/ 220579 h 414468"/>
              <a:gd name="connsiteX9" fmla="*/ 270786 w 270913"/>
              <a:gd name="connsiteY9" fmla="*/ 320765 h 414468"/>
              <a:gd name="connsiteX10" fmla="*/ 241864 w 270913"/>
              <a:gd name="connsiteY10" fmla="*/ 306593 h 414468"/>
              <a:gd name="connsiteX11" fmla="*/ 228502 w 270913"/>
              <a:gd name="connsiteY11" fmla="*/ 305031 h 414468"/>
              <a:gd name="connsiteX12" fmla="*/ 228155 w 270913"/>
              <a:gd name="connsiteY12" fmla="*/ 290050 h 414468"/>
              <a:gd name="connsiteX13" fmla="*/ 219247 w 270913"/>
              <a:gd name="connsiteY13" fmla="*/ 275126 h 414468"/>
              <a:gd name="connsiteX14" fmla="*/ 198654 w 270913"/>
              <a:gd name="connsiteY14" fmla="*/ 241981 h 414468"/>
              <a:gd name="connsiteX15" fmla="*/ 180491 w 270913"/>
              <a:gd name="connsiteY15" fmla="*/ 208894 h 414468"/>
              <a:gd name="connsiteX16" fmla="*/ 162328 w 270913"/>
              <a:gd name="connsiteY16" fmla="*/ 195127 h 414468"/>
              <a:gd name="connsiteX17" fmla="*/ 137686 w 270913"/>
              <a:gd name="connsiteY17" fmla="*/ 191078 h 414468"/>
              <a:gd name="connsiteX18" fmla="*/ 147346 w 270913"/>
              <a:gd name="connsiteY18" fmla="*/ 173320 h 414468"/>
              <a:gd name="connsiteX19" fmla="*/ 168401 w 270913"/>
              <a:gd name="connsiteY19" fmla="*/ 125714 h 414468"/>
              <a:gd name="connsiteX20" fmla="*/ 117903 w 270913"/>
              <a:gd name="connsiteY20" fmla="*/ 123285 h 414468"/>
              <a:gd name="connsiteX21" fmla="*/ 108591 w 270913"/>
              <a:gd name="connsiteY21" fmla="*/ 114377 h 414468"/>
              <a:gd name="connsiteX22" fmla="*/ 129183 w 270913"/>
              <a:gd name="connsiteY22" fmla="*/ 91759 h 414468"/>
              <a:gd name="connsiteX23" fmla="*/ 133232 w 270913"/>
              <a:gd name="connsiteY23" fmla="*/ 75621 h 414468"/>
              <a:gd name="connsiteX24" fmla="*/ 121085 w 270913"/>
              <a:gd name="connsiteY24" fmla="*/ 86496 h 414468"/>
              <a:gd name="connsiteX25" fmla="*/ 91642 w 270913"/>
              <a:gd name="connsiteY25" fmla="*/ 86900 h 414468"/>
              <a:gd name="connsiteX26" fmla="*/ 74694 w 270913"/>
              <a:gd name="connsiteY26" fmla="*/ 110038 h 414468"/>
              <a:gd name="connsiteX27" fmla="*/ 62546 w 270913"/>
              <a:gd name="connsiteY27" fmla="*/ 128606 h 414468"/>
              <a:gd name="connsiteX28" fmla="*/ 55721 w 270913"/>
              <a:gd name="connsiteY28" fmla="*/ 136300 h 414468"/>
              <a:gd name="connsiteX29" fmla="*/ 39120 w 270913"/>
              <a:gd name="connsiteY29" fmla="*/ 130226 h 414468"/>
              <a:gd name="connsiteX30" fmla="*/ 58902 w 270913"/>
              <a:gd name="connsiteY30" fmla="*/ 146422 h 414468"/>
              <a:gd name="connsiteX31" fmla="*/ 48837 w 270913"/>
              <a:gd name="connsiteY31" fmla="*/ 166552 h 414468"/>
              <a:gd name="connsiteX32" fmla="*/ 63356 w 270913"/>
              <a:gd name="connsiteY32" fmla="*/ 181129 h 414468"/>
              <a:gd name="connsiteX33" fmla="*/ 40739 w 270913"/>
              <a:gd name="connsiteY33" fmla="*/ 198077 h 414468"/>
              <a:gd name="connsiteX34" fmla="*/ 60117 w 270913"/>
              <a:gd name="connsiteY34" fmla="*/ 191194 h 414468"/>
              <a:gd name="connsiteX35" fmla="*/ 71686 w 270913"/>
              <a:gd name="connsiteY35" fmla="*/ 207795 h 414468"/>
              <a:gd name="connsiteX36" fmla="*/ 87419 w 270913"/>
              <a:gd name="connsiteY36" fmla="*/ 186393 h 414468"/>
              <a:gd name="connsiteX37" fmla="*/ 89502 w 270913"/>
              <a:gd name="connsiteY37" fmla="*/ 205366 h 414468"/>
              <a:gd name="connsiteX38" fmla="*/ 79784 w 270913"/>
              <a:gd name="connsiteY38" fmla="*/ 232842 h 414468"/>
              <a:gd name="connsiteX39" fmla="*/ 118945 w 270913"/>
              <a:gd name="connsiteY39" fmla="*/ 229197 h 414468"/>
              <a:gd name="connsiteX40" fmla="*/ 126233 w 270913"/>
              <a:gd name="connsiteY40" fmla="*/ 237238 h 414468"/>
              <a:gd name="connsiteX41" fmla="*/ 130687 w 270913"/>
              <a:gd name="connsiteY41" fmla="*/ 254244 h 414468"/>
              <a:gd name="connsiteX42" fmla="*/ 137918 w 270913"/>
              <a:gd name="connsiteY42" fmla="*/ 264309 h 414468"/>
              <a:gd name="connsiteX43" fmla="*/ 135430 w 270913"/>
              <a:gd name="connsiteY43" fmla="*/ 288661 h 414468"/>
              <a:gd name="connsiteX44" fmla="*/ 107549 w 270913"/>
              <a:gd name="connsiteY44" fmla="*/ 289876 h 414468"/>
              <a:gd name="connsiteX45" fmla="*/ 99104 w 270913"/>
              <a:gd name="connsiteY45" fmla="*/ 294272 h 414468"/>
              <a:gd name="connsiteX46" fmla="*/ 91006 w 270913"/>
              <a:gd name="connsiteY46" fmla="*/ 311279 h 414468"/>
              <a:gd name="connsiteX47" fmla="*/ 107145 w 270913"/>
              <a:gd name="connsiteY47" fmla="*/ 321806 h 414468"/>
              <a:gd name="connsiteX48" fmla="*/ 80941 w 270913"/>
              <a:gd name="connsiteY48" fmla="*/ 340316 h 414468"/>
              <a:gd name="connsiteX49" fmla="*/ 91411 w 270913"/>
              <a:gd name="connsiteY49" fmla="*/ 351885 h 414468"/>
              <a:gd name="connsiteX50" fmla="*/ 107549 w 270913"/>
              <a:gd name="connsiteY50" fmla="*/ 355529 h 414468"/>
              <a:gd name="connsiteX51" fmla="*/ 136472 w 270913"/>
              <a:gd name="connsiteY51" fmla="*/ 359579 h 414468"/>
              <a:gd name="connsiteX52" fmla="*/ 138901 w 270913"/>
              <a:gd name="connsiteY52" fmla="*/ 366462 h 414468"/>
              <a:gd name="connsiteX53" fmla="*/ 108591 w 270913"/>
              <a:gd name="connsiteY53" fmla="*/ 370511 h 414468"/>
              <a:gd name="connsiteX54" fmla="*/ 73884 w 270913"/>
              <a:gd name="connsiteY54" fmla="*/ 413316 h 414468"/>
              <a:gd name="connsiteX55" fmla="*/ 94072 w 270913"/>
              <a:gd name="connsiteY55" fmla="*/ 401747 h 414468"/>
              <a:gd name="connsiteX56" fmla="*/ 114259 w 270913"/>
              <a:gd name="connsiteY56" fmla="*/ 405738 h 414468"/>
              <a:gd name="connsiteX57" fmla="*/ 126406 w 270913"/>
              <a:gd name="connsiteY57" fmla="*/ 393649 h 414468"/>
              <a:gd name="connsiteX58" fmla="*/ 146189 w 270913"/>
              <a:gd name="connsiteY58" fmla="*/ 390872 h 414468"/>
              <a:gd name="connsiteX59" fmla="*/ 167534 w 270913"/>
              <a:gd name="connsiteY59" fmla="*/ 384799 h 414468"/>
              <a:gd name="connsiteX60" fmla="*/ 189399 w 270913"/>
              <a:gd name="connsiteY60" fmla="*/ 390005 h 414468"/>
              <a:gd name="connsiteX61" fmla="*/ 220056 w 270913"/>
              <a:gd name="connsiteY61" fmla="*/ 384220 h 414468"/>
              <a:gd name="connsiteX62" fmla="*/ 258002 w 270913"/>
              <a:gd name="connsiteY62" fmla="*/ 368486 h 414468"/>
              <a:gd name="connsiteX63" fmla="*/ 246433 w 270913"/>
              <a:gd name="connsiteY63" fmla="*/ 362702 h 414468"/>
              <a:gd name="connsiteX64" fmla="*/ 248458 w 270913"/>
              <a:gd name="connsiteY64" fmla="*/ 346564 h 414468"/>
              <a:gd name="connsiteX65" fmla="*/ 270786 w 270913"/>
              <a:gd name="connsiteY65" fmla="*/ 320765 h 414468"/>
              <a:gd name="connsiteX66" fmla="*/ 27840 w 270913"/>
              <a:gd name="connsiteY66" fmla="*/ 118021 h 414468"/>
              <a:gd name="connsiteX67" fmla="*/ 46003 w 270913"/>
              <a:gd name="connsiteY67" fmla="*/ 93784 h 414468"/>
              <a:gd name="connsiteX68" fmla="*/ 27840 w 270913"/>
              <a:gd name="connsiteY68" fmla="*/ 118021 h 414468"/>
              <a:gd name="connsiteX69" fmla="*/ 184019 w 270913"/>
              <a:gd name="connsiteY69" fmla="*/ 30387 h 414468"/>
              <a:gd name="connsiteX70" fmla="*/ 188474 w 270913"/>
              <a:gd name="connsiteY70" fmla="*/ 76 h 414468"/>
              <a:gd name="connsiteX71" fmla="*/ 184309 w 270913"/>
              <a:gd name="connsiteY71" fmla="*/ 30387 h 41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70913" h="414468">
                <a:moveTo>
                  <a:pt x="49821" y="220579"/>
                </a:moveTo>
                <a:cubicBezTo>
                  <a:pt x="39640" y="210745"/>
                  <a:pt x="26683" y="226363"/>
                  <a:pt x="15635" y="226016"/>
                </a:cubicBezTo>
                <a:cubicBezTo>
                  <a:pt x="14877" y="231858"/>
                  <a:pt x="12285" y="237307"/>
                  <a:pt x="8231" y="241576"/>
                </a:cubicBezTo>
                <a:cubicBezTo>
                  <a:pt x="3950" y="244642"/>
                  <a:pt x="-3974" y="256211"/>
                  <a:pt x="2099" y="257483"/>
                </a:cubicBezTo>
                <a:cubicBezTo>
                  <a:pt x="8173" y="258756"/>
                  <a:pt x="17948" y="268416"/>
                  <a:pt x="19452" y="261127"/>
                </a:cubicBezTo>
                <a:cubicBezTo>
                  <a:pt x="20956" y="253839"/>
                  <a:pt x="24890" y="244064"/>
                  <a:pt x="35302" y="256211"/>
                </a:cubicBezTo>
                <a:cubicBezTo>
                  <a:pt x="37974" y="259311"/>
                  <a:pt x="41005" y="262088"/>
                  <a:pt x="44325" y="264483"/>
                </a:cubicBezTo>
                <a:cubicBezTo>
                  <a:pt x="46003" y="258698"/>
                  <a:pt x="58786" y="257946"/>
                  <a:pt x="65381" y="251294"/>
                </a:cubicBezTo>
                <a:cubicBezTo>
                  <a:pt x="73248" y="243196"/>
                  <a:pt x="61100" y="231511"/>
                  <a:pt x="49821" y="220579"/>
                </a:cubicBezTo>
                <a:close/>
                <a:moveTo>
                  <a:pt x="270786" y="320765"/>
                </a:moveTo>
                <a:cubicBezTo>
                  <a:pt x="271596" y="308618"/>
                  <a:pt x="244930" y="300172"/>
                  <a:pt x="241864" y="306593"/>
                </a:cubicBezTo>
                <a:cubicBezTo>
                  <a:pt x="238798" y="313014"/>
                  <a:pt x="233013" y="312378"/>
                  <a:pt x="228502" y="305031"/>
                </a:cubicBezTo>
                <a:cubicBezTo>
                  <a:pt x="223990" y="297685"/>
                  <a:pt x="232609" y="290860"/>
                  <a:pt x="228155" y="290050"/>
                </a:cubicBezTo>
                <a:cubicBezTo>
                  <a:pt x="222630" y="287128"/>
                  <a:pt x="219195" y="281373"/>
                  <a:pt x="219247" y="275126"/>
                </a:cubicBezTo>
                <a:cubicBezTo>
                  <a:pt x="220461" y="271077"/>
                  <a:pt x="212421" y="245278"/>
                  <a:pt x="198654" y="241981"/>
                </a:cubicBezTo>
                <a:cubicBezTo>
                  <a:pt x="184887" y="238684"/>
                  <a:pt x="182920" y="219364"/>
                  <a:pt x="180491" y="208894"/>
                </a:cubicBezTo>
                <a:cubicBezTo>
                  <a:pt x="178061" y="198424"/>
                  <a:pt x="168922" y="204035"/>
                  <a:pt x="162328" y="195127"/>
                </a:cubicBezTo>
                <a:cubicBezTo>
                  <a:pt x="155734" y="186219"/>
                  <a:pt x="143760" y="190731"/>
                  <a:pt x="137686" y="191078"/>
                </a:cubicBezTo>
                <a:cubicBezTo>
                  <a:pt x="131613" y="191425"/>
                  <a:pt x="137686" y="179798"/>
                  <a:pt x="147346" y="173320"/>
                </a:cubicBezTo>
                <a:cubicBezTo>
                  <a:pt x="157006" y="166841"/>
                  <a:pt x="168401" y="132540"/>
                  <a:pt x="168401" y="125714"/>
                </a:cubicBezTo>
                <a:cubicBezTo>
                  <a:pt x="168401" y="118888"/>
                  <a:pt x="126001" y="119178"/>
                  <a:pt x="117903" y="123285"/>
                </a:cubicBezTo>
                <a:cubicBezTo>
                  <a:pt x="109805" y="127391"/>
                  <a:pt x="101765" y="117211"/>
                  <a:pt x="108591" y="114377"/>
                </a:cubicBezTo>
                <a:cubicBezTo>
                  <a:pt x="115416" y="111542"/>
                  <a:pt x="129993" y="97428"/>
                  <a:pt x="129183" y="91759"/>
                </a:cubicBezTo>
                <a:cubicBezTo>
                  <a:pt x="128373" y="86091"/>
                  <a:pt x="139306" y="80885"/>
                  <a:pt x="133232" y="75621"/>
                </a:cubicBezTo>
                <a:cubicBezTo>
                  <a:pt x="127158" y="70357"/>
                  <a:pt x="126349" y="82504"/>
                  <a:pt x="121085" y="86496"/>
                </a:cubicBezTo>
                <a:cubicBezTo>
                  <a:pt x="115821" y="90487"/>
                  <a:pt x="104137" y="89330"/>
                  <a:pt x="91642" y="86900"/>
                </a:cubicBezTo>
                <a:cubicBezTo>
                  <a:pt x="79148" y="84471"/>
                  <a:pt x="74289" y="102229"/>
                  <a:pt x="74694" y="110038"/>
                </a:cubicBezTo>
                <a:cubicBezTo>
                  <a:pt x="75099" y="117847"/>
                  <a:pt x="60117" y="122186"/>
                  <a:pt x="62546" y="128606"/>
                </a:cubicBezTo>
                <a:cubicBezTo>
                  <a:pt x="64976" y="135027"/>
                  <a:pt x="59770" y="140175"/>
                  <a:pt x="55721" y="136300"/>
                </a:cubicBezTo>
                <a:cubicBezTo>
                  <a:pt x="51672" y="132424"/>
                  <a:pt x="47218" y="123747"/>
                  <a:pt x="39120" y="130226"/>
                </a:cubicBezTo>
                <a:cubicBezTo>
                  <a:pt x="31021" y="136705"/>
                  <a:pt x="48432" y="145208"/>
                  <a:pt x="58902" y="146422"/>
                </a:cubicBezTo>
                <a:cubicBezTo>
                  <a:pt x="69372" y="147637"/>
                  <a:pt x="50862" y="155272"/>
                  <a:pt x="48837" y="166552"/>
                </a:cubicBezTo>
                <a:cubicBezTo>
                  <a:pt x="46813" y="177832"/>
                  <a:pt x="62546" y="173031"/>
                  <a:pt x="63356" y="181129"/>
                </a:cubicBezTo>
                <a:cubicBezTo>
                  <a:pt x="64166" y="189227"/>
                  <a:pt x="40739" y="190384"/>
                  <a:pt x="40739" y="198077"/>
                </a:cubicBezTo>
                <a:cubicBezTo>
                  <a:pt x="40739" y="205771"/>
                  <a:pt x="54101" y="194433"/>
                  <a:pt x="60117" y="191194"/>
                </a:cubicBezTo>
                <a:cubicBezTo>
                  <a:pt x="66133" y="187954"/>
                  <a:pt x="56936" y="210167"/>
                  <a:pt x="71686" y="207795"/>
                </a:cubicBezTo>
                <a:cubicBezTo>
                  <a:pt x="86436" y="205423"/>
                  <a:pt x="82156" y="185583"/>
                  <a:pt x="87419" y="186393"/>
                </a:cubicBezTo>
                <a:cubicBezTo>
                  <a:pt x="92683" y="187202"/>
                  <a:pt x="84990" y="196863"/>
                  <a:pt x="89502" y="205366"/>
                </a:cubicBezTo>
                <a:cubicBezTo>
                  <a:pt x="94014" y="213869"/>
                  <a:pt x="78974" y="226768"/>
                  <a:pt x="79784" y="232842"/>
                </a:cubicBezTo>
                <a:cubicBezTo>
                  <a:pt x="80594" y="238915"/>
                  <a:pt x="109632" y="238626"/>
                  <a:pt x="118945" y="229197"/>
                </a:cubicBezTo>
                <a:cubicBezTo>
                  <a:pt x="128257" y="219769"/>
                  <a:pt x="132654" y="230007"/>
                  <a:pt x="126233" y="237238"/>
                </a:cubicBezTo>
                <a:cubicBezTo>
                  <a:pt x="119812" y="244468"/>
                  <a:pt x="122589" y="251410"/>
                  <a:pt x="130687" y="254244"/>
                </a:cubicBezTo>
                <a:cubicBezTo>
                  <a:pt x="138785" y="257078"/>
                  <a:pt x="141562" y="257830"/>
                  <a:pt x="137918" y="264309"/>
                </a:cubicBezTo>
                <a:cubicBezTo>
                  <a:pt x="134274" y="270788"/>
                  <a:pt x="137744" y="282877"/>
                  <a:pt x="135430" y="288661"/>
                </a:cubicBezTo>
                <a:cubicBezTo>
                  <a:pt x="133117" y="294446"/>
                  <a:pt x="108359" y="293925"/>
                  <a:pt x="107549" y="289876"/>
                </a:cubicBezTo>
                <a:cubicBezTo>
                  <a:pt x="106740" y="285827"/>
                  <a:pt x="96270" y="288661"/>
                  <a:pt x="99104" y="294272"/>
                </a:cubicBezTo>
                <a:cubicBezTo>
                  <a:pt x="101938" y="299883"/>
                  <a:pt x="90196" y="305841"/>
                  <a:pt x="91006" y="311279"/>
                </a:cubicBezTo>
                <a:cubicBezTo>
                  <a:pt x="91816" y="316716"/>
                  <a:pt x="106797" y="315328"/>
                  <a:pt x="107145" y="321806"/>
                </a:cubicBezTo>
                <a:cubicBezTo>
                  <a:pt x="107492" y="328285"/>
                  <a:pt x="96270" y="335920"/>
                  <a:pt x="80941" y="340316"/>
                </a:cubicBezTo>
                <a:cubicBezTo>
                  <a:pt x="65612" y="344713"/>
                  <a:pt x="84122" y="356918"/>
                  <a:pt x="91411" y="351885"/>
                </a:cubicBezTo>
                <a:cubicBezTo>
                  <a:pt x="98699" y="346853"/>
                  <a:pt x="97195" y="355529"/>
                  <a:pt x="107549" y="355529"/>
                </a:cubicBezTo>
                <a:cubicBezTo>
                  <a:pt x="117903" y="355529"/>
                  <a:pt x="124555" y="364033"/>
                  <a:pt x="136472" y="359579"/>
                </a:cubicBezTo>
                <a:cubicBezTo>
                  <a:pt x="148388" y="355124"/>
                  <a:pt x="148040" y="359579"/>
                  <a:pt x="138901" y="366462"/>
                </a:cubicBezTo>
                <a:cubicBezTo>
                  <a:pt x="129761" y="373346"/>
                  <a:pt x="116689" y="366057"/>
                  <a:pt x="108591" y="370511"/>
                </a:cubicBezTo>
                <a:cubicBezTo>
                  <a:pt x="100492" y="374965"/>
                  <a:pt x="67695" y="405680"/>
                  <a:pt x="73884" y="413316"/>
                </a:cubicBezTo>
                <a:cubicBezTo>
                  <a:pt x="77528" y="417712"/>
                  <a:pt x="82329" y="406837"/>
                  <a:pt x="94072" y="401747"/>
                </a:cubicBezTo>
                <a:cubicBezTo>
                  <a:pt x="105814" y="396657"/>
                  <a:pt x="107781" y="404986"/>
                  <a:pt x="114259" y="405738"/>
                </a:cubicBezTo>
                <a:cubicBezTo>
                  <a:pt x="120738" y="406490"/>
                  <a:pt x="121143" y="392492"/>
                  <a:pt x="126406" y="393649"/>
                </a:cubicBezTo>
                <a:cubicBezTo>
                  <a:pt x="131670" y="394806"/>
                  <a:pt x="136472" y="389253"/>
                  <a:pt x="146189" y="390872"/>
                </a:cubicBezTo>
                <a:cubicBezTo>
                  <a:pt x="153860" y="392255"/>
                  <a:pt x="161738" y="390010"/>
                  <a:pt x="167534" y="384799"/>
                </a:cubicBezTo>
                <a:cubicBezTo>
                  <a:pt x="172451" y="380750"/>
                  <a:pt x="185350" y="392839"/>
                  <a:pt x="189399" y="390005"/>
                </a:cubicBezTo>
                <a:cubicBezTo>
                  <a:pt x="199140" y="386077"/>
                  <a:pt x="209558" y="384110"/>
                  <a:pt x="220056" y="384220"/>
                </a:cubicBezTo>
                <a:cubicBezTo>
                  <a:pt x="228907" y="384625"/>
                  <a:pt x="251987" y="374097"/>
                  <a:pt x="258002" y="368486"/>
                </a:cubicBezTo>
                <a:cubicBezTo>
                  <a:pt x="264018" y="362876"/>
                  <a:pt x="254416" y="361603"/>
                  <a:pt x="246433" y="362702"/>
                </a:cubicBezTo>
                <a:cubicBezTo>
                  <a:pt x="238451" y="363801"/>
                  <a:pt x="239955" y="354604"/>
                  <a:pt x="248458" y="346564"/>
                </a:cubicBezTo>
                <a:cubicBezTo>
                  <a:pt x="256961" y="338523"/>
                  <a:pt x="269918" y="332855"/>
                  <a:pt x="270786" y="320765"/>
                </a:cubicBezTo>
                <a:close/>
                <a:moveTo>
                  <a:pt x="27840" y="118021"/>
                </a:moveTo>
                <a:cubicBezTo>
                  <a:pt x="38773" y="117616"/>
                  <a:pt x="51267" y="99048"/>
                  <a:pt x="46003" y="93784"/>
                </a:cubicBezTo>
                <a:cubicBezTo>
                  <a:pt x="40739" y="88520"/>
                  <a:pt x="19915" y="118310"/>
                  <a:pt x="27840" y="118021"/>
                </a:cubicBezTo>
                <a:close/>
                <a:moveTo>
                  <a:pt x="184019" y="30387"/>
                </a:moveTo>
                <a:cubicBezTo>
                  <a:pt x="190903" y="23503"/>
                  <a:pt x="198943" y="-2700"/>
                  <a:pt x="188474" y="76"/>
                </a:cubicBezTo>
                <a:cubicBezTo>
                  <a:pt x="178004" y="2853"/>
                  <a:pt x="181301" y="33395"/>
                  <a:pt x="184309" y="3038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4" name="Forma libre: forma 203">
            <a:extLst>
              <a:ext uri="{FF2B5EF4-FFF2-40B4-BE49-F238E27FC236}">
                <a16:creationId xmlns:a16="http://schemas.microsoft.com/office/drawing/2014/main" id="{2A38E1A6-E191-0A7E-C280-AF6036AABB95}"/>
              </a:ext>
            </a:extLst>
          </p:cNvPr>
          <p:cNvSpPr/>
          <p:nvPr/>
        </p:nvSpPr>
        <p:spPr>
          <a:xfrm>
            <a:off x="6409365" y="2683695"/>
            <a:ext cx="126309" cy="120711"/>
          </a:xfrm>
          <a:custGeom>
            <a:avLst/>
            <a:gdLst>
              <a:gd name="connsiteX0" fmla="*/ 64464 w 126309"/>
              <a:gd name="connsiteY0" fmla="*/ 43785 h 120711"/>
              <a:gd name="connsiteX1" fmla="*/ 63654 w 126309"/>
              <a:gd name="connsiteY1" fmla="*/ 24812 h 120711"/>
              <a:gd name="connsiteX2" fmla="*/ 66488 w 126309"/>
              <a:gd name="connsiteY2" fmla="*/ 1385 h 120711"/>
              <a:gd name="connsiteX3" fmla="*/ 46706 w 126309"/>
              <a:gd name="connsiteY3" fmla="*/ 12260 h 120711"/>
              <a:gd name="connsiteX4" fmla="*/ 30567 w 126309"/>
              <a:gd name="connsiteY4" fmla="*/ 20763 h 120711"/>
              <a:gd name="connsiteX5" fmla="*/ 31782 w 126309"/>
              <a:gd name="connsiteY5" fmla="*/ 32853 h 120711"/>
              <a:gd name="connsiteX6" fmla="*/ 15990 w 126309"/>
              <a:gd name="connsiteY6" fmla="*/ 24812 h 120711"/>
              <a:gd name="connsiteX7" fmla="*/ 2281 w 126309"/>
              <a:gd name="connsiteY7" fmla="*/ 44595 h 120711"/>
              <a:gd name="connsiteX8" fmla="*/ 2281 w 126309"/>
              <a:gd name="connsiteY8" fmla="*/ 75657 h 120711"/>
              <a:gd name="connsiteX9" fmla="*/ 12751 w 126309"/>
              <a:gd name="connsiteY9" fmla="*/ 99489 h 120711"/>
              <a:gd name="connsiteX10" fmla="*/ 16974 w 126309"/>
              <a:gd name="connsiteY10" fmla="*/ 111579 h 120711"/>
              <a:gd name="connsiteX11" fmla="*/ 41847 w 126309"/>
              <a:gd name="connsiteY11" fmla="*/ 114008 h 120711"/>
              <a:gd name="connsiteX12" fmla="*/ 51969 w 126309"/>
              <a:gd name="connsiteY12" fmla="*/ 114008 h 120711"/>
              <a:gd name="connsiteX13" fmla="*/ 41037 w 126309"/>
              <a:gd name="connsiteY13" fmla="*/ 99316 h 120711"/>
              <a:gd name="connsiteX14" fmla="*/ 55209 w 126309"/>
              <a:gd name="connsiteY14" fmla="*/ 102150 h 120711"/>
              <a:gd name="connsiteX15" fmla="*/ 74587 w 126309"/>
              <a:gd name="connsiteY15" fmla="*/ 101745 h 120711"/>
              <a:gd name="connsiteX16" fmla="*/ 64869 w 126309"/>
              <a:gd name="connsiteY16" fmla="*/ 84797 h 120711"/>
              <a:gd name="connsiteX17" fmla="*/ 52374 w 126309"/>
              <a:gd name="connsiteY17" fmla="*/ 83177 h 120711"/>
              <a:gd name="connsiteX18" fmla="*/ 60010 w 126309"/>
              <a:gd name="connsiteY18" fmla="*/ 66229 h 120711"/>
              <a:gd name="connsiteX19" fmla="*/ 77363 w 126309"/>
              <a:gd name="connsiteY19" fmla="*/ 56916 h 120711"/>
              <a:gd name="connsiteX20" fmla="*/ 64464 w 126309"/>
              <a:gd name="connsiteY20" fmla="*/ 43785 h 120711"/>
              <a:gd name="connsiteX21" fmla="*/ 125489 w 126309"/>
              <a:gd name="connsiteY21" fmla="*/ 68369 h 120711"/>
              <a:gd name="connsiteX22" fmla="*/ 116119 w 126309"/>
              <a:gd name="connsiteY22" fmla="*/ 74848 h 120711"/>
              <a:gd name="connsiteX23" fmla="*/ 106863 w 126309"/>
              <a:gd name="connsiteY23" fmla="*/ 68369 h 120711"/>
              <a:gd name="connsiteX24" fmla="*/ 89106 w 126309"/>
              <a:gd name="connsiteY24" fmla="*/ 76062 h 120711"/>
              <a:gd name="connsiteX25" fmla="*/ 99633 w 126309"/>
              <a:gd name="connsiteY25" fmla="*/ 101109 h 120711"/>
              <a:gd name="connsiteX26" fmla="*/ 91940 w 126309"/>
              <a:gd name="connsiteY26" fmla="*/ 108397 h 120711"/>
              <a:gd name="connsiteX27" fmla="*/ 99170 w 126309"/>
              <a:gd name="connsiteY27" fmla="*/ 120487 h 120711"/>
              <a:gd name="connsiteX28" fmla="*/ 119011 w 126309"/>
              <a:gd name="connsiteY28" fmla="*/ 97870 h 120711"/>
              <a:gd name="connsiteX29" fmla="*/ 125489 w 126309"/>
              <a:gd name="connsiteY29" fmla="*/ 68369 h 12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6309" h="120711">
                <a:moveTo>
                  <a:pt x="64464" y="43785"/>
                </a:moveTo>
                <a:cubicBezTo>
                  <a:pt x="60415" y="41761"/>
                  <a:pt x="58679" y="28803"/>
                  <a:pt x="63654" y="24812"/>
                </a:cubicBezTo>
                <a:cubicBezTo>
                  <a:pt x="68628" y="20821"/>
                  <a:pt x="70537" y="5377"/>
                  <a:pt x="66488" y="1385"/>
                </a:cubicBezTo>
                <a:cubicBezTo>
                  <a:pt x="62439" y="-2606"/>
                  <a:pt x="47920" y="1385"/>
                  <a:pt x="46706" y="12260"/>
                </a:cubicBezTo>
                <a:cubicBezTo>
                  <a:pt x="45491" y="23135"/>
                  <a:pt x="33806" y="18045"/>
                  <a:pt x="30567" y="20763"/>
                </a:cubicBezTo>
                <a:cubicBezTo>
                  <a:pt x="27328" y="23482"/>
                  <a:pt x="36988" y="27994"/>
                  <a:pt x="31782" y="32853"/>
                </a:cubicBezTo>
                <a:cubicBezTo>
                  <a:pt x="26576" y="37712"/>
                  <a:pt x="24493" y="25564"/>
                  <a:pt x="15990" y="24812"/>
                </a:cubicBezTo>
                <a:cubicBezTo>
                  <a:pt x="7487" y="24060"/>
                  <a:pt x="6735" y="37712"/>
                  <a:pt x="2281" y="44595"/>
                </a:cubicBezTo>
                <a:cubicBezTo>
                  <a:pt x="-2173" y="51479"/>
                  <a:pt x="661" y="65998"/>
                  <a:pt x="2281" y="75657"/>
                </a:cubicBezTo>
                <a:cubicBezTo>
                  <a:pt x="3901" y="85317"/>
                  <a:pt x="15643" y="91391"/>
                  <a:pt x="12751" y="99489"/>
                </a:cubicBezTo>
                <a:cubicBezTo>
                  <a:pt x="11478" y="103249"/>
                  <a:pt x="14139" y="107472"/>
                  <a:pt x="16974" y="111579"/>
                </a:cubicBezTo>
                <a:cubicBezTo>
                  <a:pt x="25326" y="111475"/>
                  <a:pt x="33667" y="112290"/>
                  <a:pt x="41847" y="114008"/>
                </a:cubicBezTo>
                <a:cubicBezTo>
                  <a:pt x="45190" y="114645"/>
                  <a:pt x="48626" y="114645"/>
                  <a:pt x="51969" y="114008"/>
                </a:cubicBezTo>
                <a:cubicBezTo>
                  <a:pt x="48441" y="108224"/>
                  <a:pt x="40400" y="103538"/>
                  <a:pt x="41037" y="99316"/>
                </a:cubicBezTo>
                <a:cubicBezTo>
                  <a:pt x="41847" y="93531"/>
                  <a:pt x="49540" y="97291"/>
                  <a:pt x="55209" y="102150"/>
                </a:cubicBezTo>
                <a:cubicBezTo>
                  <a:pt x="60877" y="107009"/>
                  <a:pt x="73372" y="107935"/>
                  <a:pt x="74587" y="101745"/>
                </a:cubicBezTo>
                <a:cubicBezTo>
                  <a:pt x="75281" y="98043"/>
                  <a:pt x="72562" y="80748"/>
                  <a:pt x="64869" y="84797"/>
                </a:cubicBezTo>
                <a:cubicBezTo>
                  <a:pt x="57175" y="88846"/>
                  <a:pt x="55209" y="87226"/>
                  <a:pt x="52374" y="83177"/>
                </a:cubicBezTo>
                <a:cubicBezTo>
                  <a:pt x="49540" y="79128"/>
                  <a:pt x="58159" y="72650"/>
                  <a:pt x="60010" y="66229"/>
                </a:cubicBezTo>
                <a:cubicBezTo>
                  <a:pt x="61861" y="59808"/>
                  <a:pt x="75339" y="62122"/>
                  <a:pt x="77363" y="56916"/>
                </a:cubicBezTo>
                <a:cubicBezTo>
                  <a:pt x="79387" y="51710"/>
                  <a:pt x="68513" y="45694"/>
                  <a:pt x="64464" y="43785"/>
                </a:cubicBezTo>
                <a:close/>
                <a:moveTo>
                  <a:pt x="125489" y="68369"/>
                </a:moveTo>
                <a:cubicBezTo>
                  <a:pt x="122250" y="66402"/>
                  <a:pt x="119705" y="74154"/>
                  <a:pt x="116119" y="74848"/>
                </a:cubicBezTo>
                <a:cubicBezTo>
                  <a:pt x="112532" y="75542"/>
                  <a:pt x="108483" y="59519"/>
                  <a:pt x="106863" y="68369"/>
                </a:cubicBezTo>
                <a:cubicBezTo>
                  <a:pt x="105244" y="77219"/>
                  <a:pt x="97204" y="64783"/>
                  <a:pt x="89106" y="76062"/>
                </a:cubicBezTo>
                <a:cubicBezTo>
                  <a:pt x="81007" y="87342"/>
                  <a:pt x="93964" y="97523"/>
                  <a:pt x="99633" y="101109"/>
                </a:cubicBezTo>
                <a:cubicBezTo>
                  <a:pt x="105302" y="104695"/>
                  <a:pt x="99170" y="110017"/>
                  <a:pt x="91940" y="108397"/>
                </a:cubicBezTo>
                <a:cubicBezTo>
                  <a:pt x="84709" y="106778"/>
                  <a:pt x="89106" y="118867"/>
                  <a:pt x="99170" y="120487"/>
                </a:cubicBezTo>
                <a:cubicBezTo>
                  <a:pt x="109235" y="122106"/>
                  <a:pt x="120168" y="102728"/>
                  <a:pt x="119011" y="97870"/>
                </a:cubicBezTo>
                <a:cubicBezTo>
                  <a:pt x="117854" y="93011"/>
                  <a:pt x="129076" y="70799"/>
                  <a:pt x="125489" y="6836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5" name="Forma libre: forma 204">
            <a:extLst>
              <a:ext uri="{FF2B5EF4-FFF2-40B4-BE49-F238E27FC236}">
                <a16:creationId xmlns:a16="http://schemas.microsoft.com/office/drawing/2014/main" id="{EB8BA3EA-1ADA-53BC-A72B-2AEA5A14F8F0}"/>
              </a:ext>
            </a:extLst>
          </p:cNvPr>
          <p:cNvSpPr/>
          <p:nvPr/>
        </p:nvSpPr>
        <p:spPr>
          <a:xfrm>
            <a:off x="6496674" y="2186999"/>
            <a:ext cx="341046" cy="589268"/>
          </a:xfrm>
          <a:custGeom>
            <a:avLst/>
            <a:gdLst>
              <a:gd name="connsiteX0" fmla="*/ 336773 w 341046"/>
              <a:gd name="connsiteY0" fmla="*/ 135514 h 589268"/>
              <a:gd name="connsiteX1" fmla="*/ 331567 w 341046"/>
              <a:gd name="connsiteY1" fmla="*/ 121284 h 589268"/>
              <a:gd name="connsiteX2" fmla="*/ 332839 w 341046"/>
              <a:gd name="connsiteY2" fmla="*/ 98146 h 589268"/>
              <a:gd name="connsiteX3" fmla="*/ 326361 w 341046"/>
              <a:gd name="connsiteY3" fmla="*/ 73505 h 589268"/>
              <a:gd name="connsiteX4" fmla="*/ 325088 w 341046"/>
              <a:gd name="connsiteY4" fmla="*/ 47533 h 589268"/>
              <a:gd name="connsiteX5" fmla="*/ 286159 w 341046"/>
              <a:gd name="connsiteY5" fmla="*/ 24395 h 589268"/>
              <a:gd name="connsiteX6" fmla="*/ 253709 w 341046"/>
              <a:gd name="connsiteY6" fmla="*/ 1257 h 589268"/>
              <a:gd name="connsiteX7" fmla="*/ 238148 w 341046"/>
              <a:gd name="connsiteY7" fmla="*/ 21965 h 589268"/>
              <a:gd name="connsiteX8" fmla="*/ 219927 w 341046"/>
              <a:gd name="connsiteY8" fmla="*/ 27171 h 589268"/>
              <a:gd name="connsiteX9" fmla="*/ 191410 w 341046"/>
              <a:gd name="connsiteY9" fmla="*/ 21965 h 589268"/>
              <a:gd name="connsiteX10" fmla="*/ 184932 w 341046"/>
              <a:gd name="connsiteY10" fmla="*/ 41459 h 589268"/>
              <a:gd name="connsiteX11" fmla="*/ 164165 w 341046"/>
              <a:gd name="connsiteY11" fmla="*/ 49210 h 589268"/>
              <a:gd name="connsiteX12" fmla="*/ 143457 w 341046"/>
              <a:gd name="connsiteY12" fmla="*/ 64828 h 589268"/>
              <a:gd name="connsiteX13" fmla="*/ 135648 w 341046"/>
              <a:gd name="connsiteY13" fmla="*/ 84264 h 589268"/>
              <a:gd name="connsiteX14" fmla="*/ 129112 w 341046"/>
              <a:gd name="connsiteY14" fmla="*/ 98551 h 589268"/>
              <a:gd name="connsiteX15" fmla="*/ 114882 w 341046"/>
              <a:gd name="connsiteY15" fmla="*/ 119317 h 589268"/>
              <a:gd name="connsiteX16" fmla="*/ 109676 w 341046"/>
              <a:gd name="connsiteY16" fmla="*/ 134877 h 589268"/>
              <a:gd name="connsiteX17" fmla="*/ 88910 w 341046"/>
              <a:gd name="connsiteY17" fmla="*/ 140026 h 589268"/>
              <a:gd name="connsiteX18" fmla="*/ 87637 w 341046"/>
              <a:gd name="connsiteY18" fmla="*/ 164725 h 589268"/>
              <a:gd name="connsiteX19" fmla="*/ 69474 w 341046"/>
              <a:gd name="connsiteY19" fmla="*/ 199432 h 589268"/>
              <a:gd name="connsiteX20" fmla="*/ 75953 w 341046"/>
              <a:gd name="connsiteY20" fmla="*/ 213719 h 589268"/>
              <a:gd name="connsiteX21" fmla="*/ 75953 w 341046"/>
              <a:gd name="connsiteY21" fmla="*/ 229279 h 589268"/>
              <a:gd name="connsiteX22" fmla="*/ 57790 w 341046"/>
              <a:gd name="connsiteY22" fmla="*/ 230610 h 589268"/>
              <a:gd name="connsiteX23" fmla="*/ 30545 w 341046"/>
              <a:gd name="connsiteY23" fmla="*/ 248773 h 589268"/>
              <a:gd name="connsiteX24" fmla="*/ 27942 w 341046"/>
              <a:gd name="connsiteY24" fmla="*/ 276018 h 589268"/>
              <a:gd name="connsiteX25" fmla="*/ 27942 w 341046"/>
              <a:gd name="connsiteY25" fmla="*/ 303320 h 589268"/>
              <a:gd name="connsiteX26" fmla="*/ 26670 w 341046"/>
              <a:gd name="connsiteY26" fmla="*/ 329234 h 589268"/>
              <a:gd name="connsiteX27" fmla="*/ 44833 w 341046"/>
              <a:gd name="connsiteY27" fmla="*/ 348670 h 589268"/>
              <a:gd name="connsiteX28" fmla="*/ 34421 w 341046"/>
              <a:gd name="connsiteY28" fmla="*/ 362958 h 589268"/>
              <a:gd name="connsiteX29" fmla="*/ 35751 w 341046"/>
              <a:gd name="connsiteY29" fmla="*/ 375973 h 589268"/>
              <a:gd name="connsiteX30" fmla="*/ 37024 w 341046"/>
              <a:gd name="connsiteY30" fmla="*/ 401887 h 589268"/>
              <a:gd name="connsiteX31" fmla="*/ 18861 w 341046"/>
              <a:gd name="connsiteY31" fmla="*/ 408365 h 589268"/>
              <a:gd name="connsiteX32" fmla="*/ 14985 w 341046"/>
              <a:gd name="connsiteY32" fmla="*/ 430404 h 589268"/>
              <a:gd name="connsiteX33" fmla="*/ 8449 w 341046"/>
              <a:gd name="connsiteY33" fmla="*/ 448567 h 589268"/>
              <a:gd name="connsiteX34" fmla="*/ -54 w 341046"/>
              <a:gd name="connsiteY34" fmla="*/ 447352 h 589268"/>
              <a:gd name="connsiteX35" fmla="*/ -54 w 341046"/>
              <a:gd name="connsiteY35" fmla="*/ 449955 h 589268"/>
              <a:gd name="connsiteX36" fmla="*/ 12093 w 341046"/>
              <a:gd name="connsiteY36" fmla="*/ 477374 h 589268"/>
              <a:gd name="connsiteX37" fmla="*/ 21753 w 341046"/>
              <a:gd name="connsiteY37" fmla="*/ 505659 h 589268"/>
              <a:gd name="connsiteX38" fmla="*/ 35462 w 341046"/>
              <a:gd name="connsiteY38" fmla="*/ 530301 h 589268"/>
              <a:gd name="connsiteX39" fmla="*/ 41246 w 341046"/>
              <a:gd name="connsiteY39" fmla="*/ 550894 h 589268"/>
              <a:gd name="connsiteX40" fmla="*/ 48940 w 341046"/>
              <a:gd name="connsiteY40" fmla="*/ 563446 h 589268"/>
              <a:gd name="connsiteX41" fmla="*/ 49287 w 341046"/>
              <a:gd name="connsiteY41" fmla="*/ 586584 h 589268"/>
              <a:gd name="connsiteX42" fmla="*/ 70747 w 341046"/>
              <a:gd name="connsiteY42" fmla="*/ 586179 h 589268"/>
              <a:gd name="connsiteX43" fmla="*/ 80812 w 341046"/>
              <a:gd name="connsiteY43" fmla="*/ 569982 h 589268"/>
              <a:gd name="connsiteX44" fmla="*/ 89315 w 341046"/>
              <a:gd name="connsiteY44" fmla="*/ 561132 h 589268"/>
              <a:gd name="connsiteX45" fmla="*/ 111874 w 341046"/>
              <a:gd name="connsiteY45" fmla="*/ 559050 h 589268"/>
              <a:gd name="connsiteX46" fmla="*/ 127666 w 341046"/>
              <a:gd name="connsiteY46" fmla="*/ 546555 h 589268"/>
              <a:gd name="connsiteX47" fmla="*/ 137384 w 341046"/>
              <a:gd name="connsiteY47" fmla="*/ 550605 h 589268"/>
              <a:gd name="connsiteX48" fmla="*/ 152712 w 341046"/>
              <a:gd name="connsiteY48" fmla="*/ 524748 h 589268"/>
              <a:gd name="connsiteX49" fmla="*/ 142994 w 341046"/>
              <a:gd name="connsiteY49" fmla="*/ 526368 h 589268"/>
              <a:gd name="connsiteX50" fmla="*/ 142590 w 341046"/>
              <a:gd name="connsiteY50" fmla="*/ 507395 h 589268"/>
              <a:gd name="connsiteX51" fmla="*/ 147044 w 341046"/>
              <a:gd name="connsiteY51" fmla="*/ 468639 h 589268"/>
              <a:gd name="connsiteX52" fmla="*/ 162372 w 341046"/>
              <a:gd name="connsiteY52" fmla="*/ 452096 h 589268"/>
              <a:gd name="connsiteX53" fmla="*/ 187072 w 341046"/>
              <a:gd name="connsiteY53" fmla="*/ 428958 h 589268"/>
              <a:gd name="connsiteX54" fmla="*/ 203210 w 341046"/>
              <a:gd name="connsiteY54" fmla="*/ 406746 h 589268"/>
              <a:gd name="connsiteX55" fmla="*/ 177354 w 341046"/>
              <a:gd name="connsiteY55" fmla="*/ 377823 h 589268"/>
              <a:gd name="connsiteX56" fmla="*/ 157976 w 341046"/>
              <a:gd name="connsiteY56" fmla="*/ 372618 h 589268"/>
              <a:gd name="connsiteX57" fmla="*/ 154737 w 341046"/>
              <a:gd name="connsiteY57" fmla="*/ 341902 h 589268"/>
              <a:gd name="connsiteX58" fmla="*/ 164802 w 341046"/>
              <a:gd name="connsiteY58" fmla="*/ 315236 h 589268"/>
              <a:gd name="connsiteX59" fmla="*/ 172090 w 341046"/>
              <a:gd name="connsiteY59" fmla="*/ 294239 h 589268"/>
              <a:gd name="connsiteX60" fmla="*/ 184990 w 341046"/>
              <a:gd name="connsiteY60" fmla="*/ 281744 h 589268"/>
              <a:gd name="connsiteX61" fmla="*/ 204020 w 341046"/>
              <a:gd name="connsiteY61" fmla="*/ 260342 h 589268"/>
              <a:gd name="connsiteX62" fmla="*/ 229819 w 341046"/>
              <a:gd name="connsiteY62" fmla="*/ 245418 h 589268"/>
              <a:gd name="connsiteX63" fmla="*/ 271814 w 341046"/>
              <a:gd name="connsiteY63" fmla="*/ 213893 h 589268"/>
              <a:gd name="connsiteX64" fmla="*/ 268980 w 341046"/>
              <a:gd name="connsiteY64" fmla="*/ 187632 h 589268"/>
              <a:gd name="connsiteX65" fmla="*/ 279507 w 341046"/>
              <a:gd name="connsiteY65" fmla="*/ 165419 h 589268"/>
              <a:gd name="connsiteX66" fmla="*/ 297265 w 341046"/>
              <a:gd name="connsiteY66" fmla="*/ 151305 h 589268"/>
              <a:gd name="connsiteX67" fmla="*/ 326187 w 341046"/>
              <a:gd name="connsiteY67" fmla="*/ 148471 h 589268"/>
              <a:gd name="connsiteX68" fmla="*/ 340937 w 341046"/>
              <a:gd name="connsiteY68" fmla="*/ 149107 h 589268"/>
              <a:gd name="connsiteX69" fmla="*/ 336773 w 341046"/>
              <a:gd name="connsiteY69" fmla="*/ 135514 h 589268"/>
              <a:gd name="connsiteX70" fmla="*/ 200260 w 341046"/>
              <a:gd name="connsiteY70" fmla="*/ 490793 h 589268"/>
              <a:gd name="connsiteX71" fmla="*/ 181634 w 341046"/>
              <a:gd name="connsiteY71" fmla="*/ 526368 h 589268"/>
              <a:gd name="connsiteX72" fmla="*/ 200492 w 341046"/>
              <a:gd name="connsiteY72" fmla="*/ 490793 h 58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41046" h="589268">
                <a:moveTo>
                  <a:pt x="336773" y="135514"/>
                </a:moveTo>
                <a:cubicBezTo>
                  <a:pt x="332839" y="131638"/>
                  <a:pt x="325204" y="121284"/>
                  <a:pt x="331567" y="121284"/>
                </a:cubicBezTo>
                <a:cubicBezTo>
                  <a:pt x="337930" y="121284"/>
                  <a:pt x="340648" y="101848"/>
                  <a:pt x="332839" y="98146"/>
                </a:cubicBezTo>
                <a:cubicBezTo>
                  <a:pt x="325030" y="94444"/>
                  <a:pt x="332839" y="77380"/>
                  <a:pt x="326361" y="73505"/>
                </a:cubicBezTo>
                <a:cubicBezTo>
                  <a:pt x="319882" y="69629"/>
                  <a:pt x="323816" y="56614"/>
                  <a:pt x="325088" y="47533"/>
                </a:cubicBezTo>
                <a:cubicBezTo>
                  <a:pt x="326361" y="38451"/>
                  <a:pt x="300389" y="30700"/>
                  <a:pt x="286159" y="24395"/>
                </a:cubicBezTo>
                <a:cubicBezTo>
                  <a:pt x="271929" y="18090"/>
                  <a:pt x="265393" y="7562"/>
                  <a:pt x="253709" y="1257"/>
                </a:cubicBezTo>
                <a:cubicBezTo>
                  <a:pt x="242024" y="-5048"/>
                  <a:pt x="238148" y="11611"/>
                  <a:pt x="238148" y="21965"/>
                </a:cubicBezTo>
                <a:cubicBezTo>
                  <a:pt x="238148" y="32320"/>
                  <a:pt x="227737" y="33534"/>
                  <a:pt x="219927" y="27171"/>
                </a:cubicBezTo>
                <a:cubicBezTo>
                  <a:pt x="212118" y="20808"/>
                  <a:pt x="203095" y="27171"/>
                  <a:pt x="191410" y="21965"/>
                </a:cubicBezTo>
                <a:cubicBezTo>
                  <a:pt x="179725" y="16759"/>
                  <a:pt x="184932" y="33534"/>
                  <a:pt x="184932" y="41459"/>
                </a:cubicBezTo>
                <a:cubicBezTo>
                  <a:pt x="184932" y="49384"/>
                  <a:pt x="171975" y="49210"/>
                  <a:pt x="164165" y="49210"/>
                </a:cubicBezTo>
                <a:cubicBezTo>
                  <a:pt x="156357" y="49210"/>
                  <a:pt x="143457" y="55746"/>
                  <a:pt x="143457" y="64828"/>
                </a:cubicBezTo>
                <a:cubicBezTo>
                  <a:pt x="143457" y="73910"/>
                  <a:pt x="131888" y="79058"/>
                  <a:pt x="135648" y="84264"/>
                </a:cubicBezTo>
                <a:cubicBezTo>
                  <a:pt x="139408" y="89470"/>
                  <a:pt x="134318" y="94676"/>
                  <a:pt x="129112" y="98551"/>
                </a:cubicBezTo>
                <a:cubicBezTo>
                  <a:pt x="123906" y="102427"/>
                  <a:pt x="118758" y="115384"/>
                  <a:pt x="114882" y="119317"/>
                </a:cubicBezTo>
                <a:cubicBezTo>
                  <a:pt x="111006" y="123251"/>
                  <a:pt x="117485" y="129671"/>
                  <a:pt x="109676" y="134877"/>
                </a:cubicBezTo>
                <a:cubicBezTo>
                  <a:pt x="101867" y="140084"/>
                  <a:pt x="92844" y="136150"/>
                  <a:pt x="88910" y="140026"/>
                </a:cubicBezTo>
                <a:cubicBezTo>
                  <a:pt x="84977" y="143901"/>
                  <a:pt x="88910" y="153041"/>
                  <a:pt x="87637" y="164725"/>
                </a:cubicBezTo>
                <a:cubicBezTo>
                  <a:pt x="86365" y="176410"/>
                  <a:pt x="77226" y="189367"/>
                  <a:pt x="69474" y="199432"/>
                </a:cubicBezTo>
                <a:cubicBezTo>
                  <a:pt x="61723" y="209497"/>
                  <a:pt x="72077" y="212447"/>
                  <a:pt x="75953" y="213719"/>
                </a:cubicBezTo>
                <a:cubicBezTo>
                  <a:pt x="79829" y="214992"/>
                  <a:pt x="79829" y="221528"/>
                  <a:pt x="75953" y="229279"/>
                </a:cubicBezTo>
                <a:cubicBezTo>
                  <a:pt x="72077" y="237030"/>
                  <a:pt x="62996" y="231882"/>
                  <a:pt x="57790" y="230610"/>
                </a:cubicBezTo>
                <a:cubicBezTo>
                  <a:pt x="52584" y="229337"/>
                  <a:pt x="38354" y="235816"/>
                  <a:pt x="30545" y="248773"/>
                </a:cubicBezTo>
                <a:cubicBezTo>
                  <a:pt x="24691" y="256669"/>
                  <a:pt x="23691" y="267156"/>
                  <a:pt x="27942" y="276018"/>
                </a:cubicBezTo>
                <a:cubicBezTo>
                  <a:pt x="30545" y="282496"/>
                  <a:pt x="21464" y="290305"/>
                  <a:pt x="27942" y="303320"/>
                </a:cubicBezTo>
                <a:cubicBezTo>
                  <a:pt x="34421" y="316335"/>
                  <a:pt x="25339" y="318880"/>
                  <a:pt x="26670" y="329234"/>
                </a:cubicBezTo>
                <a:cubicBezTo>
                  <a:pt x="28000" y="339588"/>
                  <a:pt x="43502" y="338316"/>
                  <a:pt x="44833" y="348670"/>
                </a:cubicBezTo>
                <a:cubicBezTo>
                  <a:pt x="46163" y="359024"/>
                  <a:pt x="39627" y="362958"/>
                  <a:pt x="34421" y="362958"/>
                </a:cubicBezTo>
                <a:cubicBezTo>
                  <a:pt x="29215" y="362958"/>
                  <a:pt x="30545" y="373370"/>
                  <a:pt x="35751" y="375973"/>
                </a:cubicBezTo>
                <a:cubicBezTo>
                  <a:pt x="40957" y="378575"/>
                  <a:pt x="39627" y="396681"/>
                  <a:pt x="37024" y="401887"/>
                </a:cubicBezTo>
                <a:cubicBezTo>
                  <a:pt x="34421" y="407093"/>
                  <a:pt x="17588" y="401887"/>
                  <a:pt x="18861" y="408365"/>
                </a:cubicBezTo>
                <a:cubicBezTo>
                  <a:pt x="20133" y="414844"/>
                  <a:pt x="14985" y="425256"/>
                  <a:pt x="14985" y="430404"/>
                </a:cubicBezTo>
                <a:cubicBezTo>
                  <a:pt x="14985" y="435552"/>
                  <a:pt x="13655" y="452500"/>
                  <a:pt x="8449" y="448567"/>
                </a:cubicBezTo>
                <a:cubicBezTo>
                  <a:pt x="5852" y="447150"/>
                  <a:pt x="2832" y="446716"/>
                  <a:pt x="-54" y="447352"/>
                </a:cubicBezTo>
                <a:cubicBezTo>
                  <a:pt x="-54" y="448162"/>
                  <a:pt x="-54" y="448972"/>
                  <a:pt x="-54" y="449955"/>
                </a:cubicBezTo>
                <a:cubicBezTo>
                  <a:pt x="-668" y="460518"/>
                  <a:pt x="3856" y="470727"/>
                  <a:pt x="12093" y="477374"/>
                </a:cubicBezTo>
                <a:cubicBezTo>
                  <a:pt x="20943" y="484662"/>
                  <a:pt x="14060" y="495537"/>
                  <a:pt x="21753" y="505659"/>
                </a:cubicBezTo>
                <a:cubicBezTo>
                  <a:pt x="29446" y="515782"/>
                  <a:pt x="26959" y="523013"/>
                  <a:pt x="35462" y="530301"/>
                </a:cubicBezTo>
                <a:cubicBezTo>
                  <a:pt x="43965" y="537590"/>
                  <a:pt x="44717" y="541870"/>
                  <a:pt x="41246" y="550894"/>
                </a:cubicBezTo>
                <a:cubicBezTo>
                  <a:pt x="37776" y="559917"/>
                  <a:pt x="48535" y="557777"/>
                  <a:pt x="48940" y="563446"/>
                </a:cubicBezTo>
                <a:cubicBezTo>
                  <a:pt x="49345" y="569115"/>
                  <a:pt x="46510" y="580799"/>
                  <a:pt x="49287" y="586584"/>
                </a:cubicBezTo>
                <a:cubicBezTo>
                  <a:pt x="52063" y="592368"/>
                  <a:pt x="57848" y="586584"/>
                  <a:pt x="70747" y="586179"/>
                </a:cubicBezTo>
                <a:cubicBezTo>
                  <a:pt x="83646" y="585774"/>
                  <a:pt x="80407" y="577676"/>
                  <a:pt x="80812" y="569982"/>
                </a:cubicBezTo>
                <a:cubicBezTo>
                  <a:pt x="81217" y="562289"/>
                  <a:pt x="87695" y="565933"/>
                  <a:pt x="89315" y="561132"/>
                </a:cubicBezTo>
                <a:cubicBezTo>
                  <a:pt x="90935" y="556331"/>
                  <a:pt x="102619" y="555058"/>
                  <a:pt x="111874" y="559050"/>
                </a:cubicBezTo>
                <a:cubicBezTo>
                  <a:pt x="121129" y="563041"/>
                  <a:pt x="125988" y="556273"/>
                  <a:pt x="127666" y="546555"/>
                </a:cubicBezTo>
                <a:cubicBezTo>
                  <a:pt x="129343" y="536838"/>
                  <a:pt x="134492" y="548580"/>
                  <a:pt x="137384" y="550605"/>
                </a:cubicBezTo>
                <a:cubicBezTo>
                  <a:pt x="140276" y="552629"/>
                  <a:pt x="148953" y="535681"/>
                  <a:pt x="152712" y="524748"/>
                </a:cubicBezTo>
                <a:cubicBezTo>
                  <a:pt x="156472" y="513815"/>
                  <a:pt x="152307" y="515898"/>
                  <a:pt x="142994" y="526368"/>
                </a:cubicBezTo>
                <a:cubicBezTo>
                  <a:pt x="133682" y="536838"/>
                  <a:pt x="139003" y="515898"/>
                  <a:pt x="142590" y="507395"/>
                </a:cubicBezTo>
                <a:cubicBezTo>
                  <a:pt x="146176" y="498892"/>
                  <a:pt x="145829" y="474250"/>
                  <a:pt x="147044" y="468639"/>
                </a:cubicBezTo>
                <a:cubicBezTo>
                  <a:pt x="147854" y="460304"/>
                  <a:pt x="154124" y="453536"/>
                  <a:pt x="162372" y="452096"/>
                </a:cubicBezTo>
                <a:cubicBezTo>
                  <a:pt x="173941" y="449666"/>
                  <a:pt x="189444" y="435147"/>
                  <a:pt x="187072" y="428958"/>
                </a:cubicBezTo>
                <a:cubicBezTo>
                  <a:pt x="184700" y="422769"/>
                  <a:pt x="203210" y="412819"/>
                  <a:pt x="203210" y="406746"/>
                </a:cubicBezTo>
                <a:cubicBezTo>
                  <a:pt x="203210" y="400672"/>
                  <a:pt x="183775" y="382104"/>
                  <a:pt x="177354" y="377823"/>
                </a:cubicBezTo>
                <a:cubicBezTo>
                  <a:pt x="170933" y="373543"/>
                  <a:pt x="156761" y="377014"/>
                  <a:pt x="157976" y="372618"/>
                </a:cubicBezTo>
                <a:cubicBezTo>
                  <a:pt x="159191" y="368221"/>
                  <a:pt x="156357" y="350752"/>
                  <a:pt x="154737" y="341902"/>
                </a:cubicBezTo>
                <a:cubicBezTo>
                  <a:pt x="153117" y="333052"/>
                  <a:pt x="164802" y="323739"/>
                  <a:pt x="164802" y="315236"/>
                </a:cubicBezTo>
                <a:cubicBezTo>
                  <a:pt x="164802" y="306733"/>
                  <a:pt x="164397" y="297073"/>
                  <a:pt x="172090" y="294239"/>
                </a:cubicBezTo>
                <a:cubicBezTo>
                  <a:pt x="179783" y="291404"/>
                  <a:pt x="174925" y="284174"/>
                  <a:pt x="184990" y="281744"/>
                </a:cubicBezTo>
                <a:cubicBezTo>
                  <a:pt x="195054" y="279315"/>
                  <a:pt x="193087" y="264796"/>
                  <a:pt x="204020" y="260342"/>
                </a:cubicBezTo>
                <a:cubicBezTo>
                  <a:pt x="214953" y="255888"/>
                  <a:pt x="215589" y="252186"/>
                  <a:pt x="229819" y="245418"/>
                </a:cubicBezTo>
                <a:cubicBezTo>
                  <a:pt x="244048" y="238650"/>
                  <a:pt x="267765" y="222280"/>
                  <a:pt x="271814" y="213893"/>
                </a:cubicBezTo>
                <a:cubicBezTo>
                  <a:pt x="275863" y="205505"/>
                  <a:pt x="257295" y="196539"/>
                  <a:pt x="268980" y="187632"/>
                </a:cubicBezTo>
                <a:cubicBezTo>
                  <a:pt x="280664" y="178723"/>
                  <a:pt x="271004" y="168659"/>
                  <a:pt x="279507" y="165419"/>
                </a:cubicBezTo>
                <a:cubicBezTo>
                  <a:pt x="286564" y="162365"/>
                  <a:pt x="292696" y="157495"/>
                  <a:pt x="297265" y="151305"/>
                </a:cubicBezTo>
                <a:cubicBezTo>
                  <a:pt x="303050" y="144827"/>
                  <a:pt x="311379" y="150900"/>
                  <a:pt x="326187" y="148471"/>
                </a:cubicBezTo>
                <a:cubicBezTo>
                  <a:pt x="331104" y="147655"/>
                  <a:pt x="336137" y="147869"/>
                  <a:pt x="340937" y="149107"/>
                </a:cubicBezTo>
                <a:cubicBezTo>
                  <a:pt x="340764" y="144289"/>
                  <a:pt x="339318" y="139598"/>
                  <a:pt x="336773" y="135514"/>
                </a:cubicBezTo>
                <a:close/>
                <a:moveTo>
                  <a:pt x="200260" y="490793"/>
                </a:moveTo>
                <a:cubicBezTo>
                  <a:pt x="184874" y="491198"/>
                  <a:pt x="177701" y="521393"/>
                  <a:pt x="181634" y="526368"/>
                </a:cubicBezTo>
                <a:cubicBezTo>
                  <a:pt x="185105" y="530359"/>
                  <a:pt x="215821" y="490331"/>
                  <a:pt x="200492" y="49079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6" name="Forma libre: forma 205">
            <a:extLst>
              <a:ext uri="{FF2B5EF4-FFF2-40B4-BE49-F238E27FC236}">
                <a16:creationId xmlns:a16="http://schemas.microsoft.com/office/drawing/2014/main" id="{73FCF4C8-BF2D-2230-A79D-1CFB15526E3D}"/>
              </a:ext>
            </a:extLst>
          </p:cNvPr>
          <p:cNvSpPr/>
          <p:nvPr/>
        </p:nvSpPr>
        <p:spPr>
          <a:xfrm>
            <a:off x="6779881" y="2605576"/>
            <a:ext cx="164882" cy="81715"/>
          </a:xfrm>
          <a:custGeom>
            <a:avLst/>
            <a:gdLst>
              <a:gd name="connsiteX0" fmla="*/ 156760 w 164882"/>
              <a:gd name="connsiteY0" fmla="*/ 20734 h 81715"/>
              <a:gd name="connsiteX1" fmla="*/ 162544 w 164882"/>
              <a:gd name="connsiteY1" fmla="*/ 2802 h 81715"/>
              <a:gd name="connsiteX2" fmla="*/ 156760 w 164882"/>
              <a:gd name="connsiteY2" fmla="*/ 5579 h 81715"/>
              <a:gd name="connsiteX3" fmla="*/ 105047 w 164882"/>
              <a:gd name="connsiteY3" fmla="*/ 315 h 81715"/>
              <a:gd name="connsiteX4" fmla="*/ 54144 w 164882"/>
              <a:gd name="connsiteY4" fmla="*/ 10438 h 81715"/>
              <a:gd name="connsiteX5" fmla="*/ 37601 w 164882"/>
              <a:gd name="connsiteY5" fmla="*/ 26171 h 81715"/>
              <a:gd name="connsiteX6" fmla="*/ 43385 w 164882"/>
              <a:gd name="connsiteY6" fmla="*/ 43525 h 81715"/>
              <a:gd name="connsiteX7" fmla="*/ 59524 w 164882"/>
              <a:gd name="connsiteY7" fmla="*/ 52838 h 81715"/>
              <a:gd name="connsiteX8" fmla="*/ 65308 w 164882"/>
              <a:gd name="connsiteY8" fmla="*/ 63712 h 81715"/>
              <a:gd name="connsiteX9" fmla="*/ 64961 w 164882"/>
              <a:gd name="connsiteY9" fmla="*/ 64175 h 81715"/>
              <a:gd name="connsiteX10" fmla="*/ 94346 w 164882"/>
              <a:gd name="connsiteY10" fmla="*/ 63712 h 81715"/>
              <a:gd name="connsiteX11" fmla="*/ 121822 w 164882"/>
              <a:gd name="connsiteY11" fmla="*/ 79909 h 81715"/>
              <a:gd name="connsiteX12" fmla="*/ 147910 w 164882"/>
              <a:gd name="connsiteY12" fmla="*/ 81586 h 81715"/>
              <a:gd name="connsiteX13" fmla="*/ 148893 w 164882"/>
              <a:gd name="connsiteY13" fmla="*/ 74009 h 81715"/>
              <a:gd name="connsiteX14" fmla="*/ 156181 w 164882"/>
              <a:gd name="connsiteY14" fmla="*/ 64927 h 81715"/>
              <a:gd name="connsiteX15" fmla="*/ 150108 w 164882"/>
              <a:gd name="connsiteY15" fmla="*/ 50408 h 81715"/>
              <a:gd name="connsiteX16" fmla="*/ 148257 w 164882"/>
              <a:gd name="connsiteY16" fmla="*/ 34617 h 81715"/>
              <a:gd name="connsiteX17" fmla="*/ 156760 w 164882"/>
              <a:gd name="connsiteY17" fmla="*/ 20734 h 81715"/>
              <a:gd name="connsiteX18" fmla="*/ 13769 w 164882"/>
              <a:gd name="connsiteY18" fmla="*/ 40286 h 81715"/>
              <a:gd name="connsiteX19" fmla="*/ 2894 w 164882"/>
              <a:gd name="connsiteY19" fmla="*/ 64175 h 81715"/>
              <a:gd name="connsiteX20" fmla="*/ 31122 w 164882"/>
              <a:gd name="connsiteY20" fmla="*/ 45549 h 81715"/>
              <a:gd name="connsiteX21" fmla="*/ 13769 w 164882"/>
              <a:gd name="connsiteY21" fmla="*/ 40286 h 81715"/>
              <a:gd name="connsiteX22" fmla="*/ 25858 w 164882"/>
              <a:gd name="connsiteY22" fmla="*/ 28717 h 81715"/>
              <a:gd name="connsiteX23" fmla="*/ 8505 w 164882"/>
              <a:gd name="connsiteY23" fmla="*/ 30741 h 81715"/>
              <a:gd name="connsiteX24" fmla="*/ 25280 w 164882"/>
              <a:gd name="connsiteY24" fmla="*/ 29318 h 81715"/>
              <a:gd name="connsiteX25" fmla="*/ 25858 w 164882"/>
              <a:gd name="connsiteY25" fmla="*/ 2860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882" h="81715">
                <a:moveTo>
                  <a:pt x="156760" y="20734"/>
                </a:moveTo>
                <a:cubicBezTo>
                  <a:pt x="160115" y="13504"/>
                  <a:pt x="168850" y="12289"/>
                  <a:pt x="162544" y="2802"/>
                </a:cubicBezTo>
                <a:cubicBezTo>
                  <a:pt x="160809" y="4133"/>
                  <a:pt x="158842" y="5076"/>
                  <a:pt x="156760" y="5579"/>
                </a:cubicBezTo>
                <a:cubicBezTo>
                  <a:pt x="145191" y="8818"/>
                  <a:pt x="119566" y="-2461"/>
                  <a:pt x="105047" y="315"/>
                </a:cubicBezTo>
                <a:cubicBezTo>
                  <a:pt x="90528" y="3092"/>
                  <a:pt x="61028" y="3150"/>
                  <a:pt x="54144" y="10438"/>
                </a:cubicBezTo>
                <a:cubicBezTo>
                  <a:pt x="47261" y="17726"/>
                  <a:pt x="29907" y="19693"/>
                  <a:pt x="37601" y="26171"/>
                </a:cubicBezTo>
                <a:cubicBezTo>
                  <a:pt x="45294" y="32650"/>
                  <a:pt x="37601" y="35889"/>
                  <a:pt x="43385" y="43525"/>
                </a:cubicBezTo>
                <a:cubicBezTo>
                  <a:pt x="49170" y="51160"/>
                  <a:pt x="51831" y="54457"/>
                  <a:pt x="59524" y="52838"/>
                </a:cubicBezTo>
                <a:cubicBezTo>
                  <a:pt x="67217" y="51218"/>
                  <a:pt x="73233" y="55209"/>
                  <a:pt x="65308" y="63712"/>
                </a:cubicBezTo>
                <a:lnTo>
                  <a:pt x="64961" y="64175"/>
                </a:lnTo>
                <a:cubicBezTo>
                  <a:pt x="77860" y="62961"/>
                  <a:pt x="92263" y="62151"/>
                  <a:pt x="94346" y="63712"/>
                </a:cubicBezTo>
                <a:cubicBezTo>
                  <a:pt x="97643" y="66142"/>
                  <a:pt x="116963" y="81529"/>
                  <a:pt x="121822" y="79909"/>
                </a:cubicBezTo>
                <a:cubicBezTo>
                  <a:pt x="130557" y="79498"/>
                  <a:pt x="139291" y="80059"/>
                  <a:pt x="147910" y="81586"/>
                </a:cubicBezTo>
                <a:cubicBezTo>
                  <a:pt x="146579" y="79116"/>
                  <a:pt x="146927" y="76051"/>
                  <a:pt x="148893" y="74009"/>
                </a:cubicBezTo>
                <a:cubicBezTo>
                  <a:pt x="152537" y="71001"/>
                  <a:pt x="160462" y="71001"/>
                  <a:pt x="156181" y="64927"/>
                </a:cubicBezTo>
                <a:cubicBezTo>
                  <a:pt x="152421" y="61005"/>
                  <a:pt x="150281" y="55834"/>
                  <a:pt x="150108" y="50408"/>
                </a:cubicBezTo>
                <a:cubicBezTo>
                  <a:pt x="149009" y="45208"/>
                  <a:pt x="148431" y="39927"/>
                  <a:pt x="148257" y="34617"/>
                </a:cubicBezTo>
                <a:cubicBezTo>
                  <a:pt x="148257" y="29816"/>
                  <a:pt x="153116" y="28601"/>
                  <a:pt x="156760" y="20734"/>
                </a:cubicBezTo>
                <a:close/>
                <a:moveTo>
                  <a:pt x="13769" y="40286"/>
                </a:moveTo>
                <a:cubicBezTo>
                  <a:pt x="-750" y="44335"/>
                  <a:pt x="-2948" y="64464"/>
                  <a:pt x="2894" y="64175"/>
                </a:cubicBezTo>
                <a:cubicBezTo>
                  <a:pt x="10125" y="63712"/>
                  <a:pt x="26668" y="50003"/>
                  <a:pt x="31122" y="45549"/>
                </a:cubicBezTo>
                <a:cubicBezTo>
                  <a:pt x="35576" y="41095"/>
                  <a:pt x="28288" y="36294"/>
                  <a:pt x="13769" y="40286"/>
                </a:cubicBezTo>
                <a:close/>
                <a:moveTo>
                  <a:pt x="25858" y="28717"/>
                </a:moveTo>
                <a:cubicBezTo>
                  <a:pt x="29156" y="22643"/>
                  <a:pt x="2721" y="25304"/>
                  <a:pt x="8505" y="30741"/>
                </a:cubicBezTo>
                <a:cubicBezTo>
                  <a:pt x="13538" y="34987"/>
                  <a:pt x="21057" y="34351"/>
                  <a:pt x="25280" y="29318"/>
                </a:cubicBezTo>
                <a:cubicBezTo>
                  <a:pt x="25511" y="29087"/>
                  <a:pt x="25685" y="28850"/>
                  <a:pt x="25858" y="28601"/>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7" name="Forma libre: forma 206">
            <a:extLst>
              <a:ext uri="{FF2B5EF4-FFF2-40B4-BE49-F238E27FC236}">
                <a16:creationId xmlns:a16="http://schemas.microsoft.com/office/drawing/2014/main" id="{322FB80E-B10C-5FEB-826C-A2116D48DB58}"/>
              </a:ext>
            </a:extLst>
          </p:cNvPr>
          <p:cNvSpPr/>
          <p:nvPr/>
        </p:nvSpPr>
        <p:spPr>
          <a:xfrm>
            <a:off x="7093393" y="4344378"/>
            <a:ext cx="219808" cy="266641"/>
          </a:xfrm>
          <a:custGeom>
            <a:avLst/>
            <a:gdLst>
              <a:gd name="connsiteX0" fmla="*/ 194073 w 219808"/>
              <a:gd name="connsiteY0" fmla="*/ 60760 h 266641"/>
              <a:gd name="connsiteX1" fmla="*/ 206684 w 219808"/>
              <a:gd name="connsiteY1" fmla="*/ 41209 h 266641"/>
              <a:gd name="connsiteX2" fmla="*/ 219699 w 219808"/>
              <a:gd name="connsiteY2" fmla="*/ 22120 h 266641"/>
              <a:gd name="connsiteX3" fmla="*/ 206105 w 219808"/>
              <a:gd name="connsiteY3" fmla="*/ 25938 h 266641"/>
              <a:gd name="connsiteX4" fmla="*/ 192743 w 219808"/>
              <a:gd name="connsiteY4" fmla="*/ 20501 h 266641"/>
              <a:gd name="connsiteX5" fmla="*/ 169143 w 219808"/>
              <a:gd name="connsiteY5" fmla="*/ 25302 h 266641"/>
              <a:gd name="connsiteX6" fmla="*/ 150980 w 219808"/>
              <a:gd name="connsiteY6" fmla="*/ 39879 h 266641"/>
              <a:gd name="connsiteX7" fmla="*/ 119396 w 219808"/>
              <a:gd name="connsiteY7" fmla="*/ 34094 h 266641"/>
              <a:gd name="connsiteX8" fmla="*/ 87929 w 219808"/>
              <a:gd name="connsiteY8" fmla="*/ 15931 h 266641"/>
              <a:gd name="connsiteX9" fmla="*/ 60048 w 219808"/>
              <a:gd name="connsiteY9" fmla="*/ 10494 h 266641"/>
              <a:gd name="connsiteX10" fmla="*/ 44314 w 219808"/>
              <a:gd name="connsiteY10" fmla="*/ 2627 h 266641"/>
              <a:gd name="connsiteX11" fmla="*/ 27945 w 219808"/>
              <a:gd name="connsiteY11" fmla="*/ 776 h 266641"/>
              <a:gd name="connsiteX12" fmla="*/ 6137 w 219808"/>
              <a:gd name="connsiteY12" fmla="*/ 15352 h 266641"/>
              <a:gd name="connsiteX13" fmla="*/ 2667 w 219808"/>
              <a:gd name="connsiteY13" fmla="*/ 19806 h 266641"/>
              <a:gd name="connsiteX14" fmla="*/ 15161 w 219808"/>
              <a:gd name="connsiteY14" fmla="*/ 31375 h 266641"/>
              <a:gd name="connsiteX15" fmla="*/ 17706 w 219808"/>
              <a:gd name="connsiteY15" fmla="*/ 50927 h 266641"/>
              <a:gd name="connsiteX16" fmla="*/ 28871 w 219808"/>
              <a:gd name="connsiteY16" fmla="*/ 60702 h 266641"/>
              <a:gd name="connsiteX17" fmla="*/ 27482 w 219808"/>
              <a:gd name="connsiteY17" fmla="*/ 83088 h 266641"/>
              <a:gd name="connsiteX18" fmla="*/ 9319 w 219808"/>
              <a:gd name="connsiteY18" fmla="*/ 115249 h 266641"/>
              <a:gd name="connsiteX19" fmla="*/ 1221 w 219808"/>
              <a:gd name="connsiteY19" fmla="*/ 132198 h 266641"/>
              <a:gd name="connsiteX20" fmla="*/ 19268 w 219808"/>
              <a:gd name="connsiteY20" fmla="*/ 142205 h 266641"/>
              <a:gd name="connsiteX21" fmla="*/ -110 w 219808"/>
              <a:gd name="connsiteY21" fmla="*/ 159558 h 266641"/>
              <a:gd name="connsiteX22" fmla="*/ -110 w 219808"/>
              <a:gd name="connsiteY22" fmla="*/ 162335 h 266641"/>
              <a:gd name="connsiteX23" fmla="*/ 103084 w 219808"/>
              <a:gd name="connsiteY23" fmla="*/ 217113 h 266641"/>
              <a:gd name="connsiteX24" fmla="*/ 101696 w 219808"/>
              <a:gd name="connsiteY24" fmla="*/ 233888 h 266641"/>
              <a:gd name="connsiteX25" fmla="*/ 147508 w 219808"/>
              <a:gd name="connsiteY25" fmla="*/ 266512 h 266641"/>
              <a:gd name="connsiteX26" fmla="*/ 174290 w 219808"/>
              <a:gd name="connsiteY26" fmla="*/ 207048 h 266641"/>
              <a:gd name="connsiteX27" fmla="*/ 191644 w 219808"/>
              <a:gd name="connsiteY27" fmla="*/ 192934 h 266641"/>
              <a:gd name="connsiteX28" fmla="*/ 206568 w 219808"/>
              <a:gd name="connsiteY28" fmla="*/ 183217 h 266641"/>
              <a:gd name="connsiteX29" fmla="*/ 208882 w 219808"/>
              <a:gd name="connsiteY29" fmla="*/ 179861 h 266641"/>
              <a:gd name="connsiteX30" fmla="*/ 195346 w 219808"/>
              <a:gd name="connsiteY30" fmla="*/ 158401 h 26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9808" h="266641">
                <a:moveTo>
                  <a:pt x="194073" y="60760"/>
                </a:moveTo>
                <a:lnTo>
                  <a:pt x="206684" y="41209"/>
                </a:lnTo>
                <a:lnTo>
                  <a:pt x="219699" y="22120"/>
                </a:lnTo>
                <a:cubicBezTo>
                  <a:pt x="215071" y="22982"/>
                  <a:pt x="210501" y="24261"/>
                  <a:pt x="206105" y="25938"/>
                </a:cubicBezTo>
                <a:cubicBezTo>
                  <a:pt x="200899" y="27766"/>
                  <a:pt x="195173" y="25429"/>
                  <a:pt x="192743" y="20501"/>
                </a:cubicBezTo>
                <a:cubicBezTo>
                  <a:pt x="190950" y="16220"/>
                  <a:pt x="178802" y="19864"/>
                  <a:pt x="169143" y="25302"/>
                </a:cubicBezTo>
                <a:cubicBezTo>
                  <a:pt x="159483" y="30739"/>
                  <a:pt x="154624" y="42308"/>
                  <a:pt x="150980" y="39879"/>
                </a:cubicBezTo>
                <a:cubicBezTo>
                  <a:pt x="140741" y="36570"/>
                  <a:pt x="130155" y="34626"/>
                  <a:pt x="119396" y="34094"/>
                </a:cubicBezTo>
                <a:cubicBezTo>
                  <a:pt x="113612" y="34094"/>
                  <a:pt x="94003" y="21426"/>
                  <a:pt x="87929" y="15931"/>
                </a:cubicBezTo>
                <a:cubicBezTo>
                  <a:pt x="81855" y="10436"/>
                  <a:pt x="64329" y="12923"/>
                  <a:pt x="60048" y="10494"/>
                </a:cubicBezTo>
                <a:cubicBezTo>
                  <a:pt x="55768" y="8064"/>
                  <a:pt x="47380" y="6271"/>
                  <a:pt x="44314" y="2627"/>
                </a:cubicBezTo>
                <a:cubicBezTo>
                  <a:pt x="41249" y="-1017"/>
                  <a:pt x="34018" y="-381"/>
                  <a:pt x="27945" y="776"/>
                </a:cubicBezTo>
                <a:cubicBezTo>
                  <a:pt x="21871" y="1933"/>
                  <a:pt x="7352" y="10494"/>
                  <a:pt x="6137" y="15352"/>
                </a:cubicBezTo>
                <a:cubicBezTo>
                  <a:pt x="5501" y="17163"/>
                  <a:pt x="4287" y="18719"/>
                  <a:pt x="2667" y="19806"/>
                </a:cubicBezTo>
                <a:lnTo>
                  <a:pt x="15161" y="31375"/>
                </a:lnTo>
                <a:lnTo>
                  <a:pt x="17706" y="50927"/>
                </a:lnTo>
                <a:lnTo>
                  <a:pt x="28871" y="60702"/>
                </a:lnTo>
                <a:cubicBezTo>
                  <a:pt x="28813" y="68181"/>
                  <a:pt x="28349" y="75655"/>
                  <a:pt x="27482" y="83088"/>
                </a:cubicBezTo>
                <a:cubicBezTo>
                  <a:pt x="26093" y="94252"/>
                  <a:pt x="16318" y="108250"/>
                  <a:pt x="9319" y="115249"/>
                </a:cubicBezTo>
                <a:cubicBezTo>
                  <a:pt x="5790" y="120467"/>
                  <a:pt x="3071" y="126176"/>
                  <a:pt x="1221" y="132198"/>
                </a:cubicBezTo>
                <a:cubicBezTo>
                  <a:pt x="11922" y="134917"/>
                  <a:pt x="19846" y="138966"/>
                  <a:pt x="19268" y="142205"/>
                </a:cubicBezTo>
                <a:cubicBezTo>
                  <a:pt x="18054" y="148857"/>
                  <a:pt x="-110" y="145849"/>
                  <a:pt x="-110" y="159558"/>
                </a:cubicBezTo>
                <a:cubicBezTo>
                  <a:pt x="-110" y="160542"/>
                  <a:pt x="-110" y="161409"/>
                  <a:pt x="-110" y="162335"/>
                </a:cubicBezTo>
                <a:lnTo>
                  <a:pt x="103084" y="217113"/>
                </a:lnTo>
                <a:lnTo>
                  <a:pt x="101696" y="233888"/>
                </a:lnTo>
                <a:cubicBezTo>
                  <a:pt x="101696" y="233888"/>
                  <a:pt x="124834" y="250894"/>
                  <a:pt x="147508" y="266512"/>
                </a:cubicBezTo>
                <a:cubicBezTo>
                  <a:pt x="155318" y="246197"/>
                  <a:pt x="164226" y="226345"/>
                  <a:pt x="174290" y="207048"/>
                </a:cubicBezTo>
                <a:cubicBezTo>
                  <a:pt x="180075" y="197736"/>
                  <a:pt x="186322" y="199355"/>
                  <a:pt x="191644" y="192934"/>
                </a:cubicBezTo>
                <a:cubicBezTo>
                  <a:pt x="196966" y="186514"/>
                  <a:pt x="198470" y="196174"/>
                  <a:pt x="206568" y="183217"/>
                </a:cubicBezTo>
                <a:cubicBezTo>
                  <a:pt x="207204" y="182233"/>
                  <a:pt x="208014" y="181076"/>
                  <a:pt x="208882" y="179861"/>
                </a:cubicBezTo>
                <a:lnTo>
                  <a:pt x="195346" y="158401"/>
                </a:ln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8" name="Forma libre: forma 207">
            <a:extLst>
              <a:ext uri="{FF2B5EF4-FFF2-40B4-BE49-F238E27FC236}">
                <a16:creationId xmlns:a16="http://schemas.microsoft.com/office/drawing/2014/main" id="{9333BBEC-6F00-BCDF-4D0A-657F1B413229}"/>
              </a:ext>
            </a:extLst>
          </p:cNvPr>
          <p:cNvSpPr/>
          <p:nvPr/>
        </p:nvSpPr>
        <p:spPr>
          <a:xfrm>
            <a:off x="6973018" y="4364313"/>
            <a:ext cx="149238" cy="153904"/>
          </a:xfrm>
          <a:custGeom>
            <a:avLst/>
            <a:gdLst>
              <a:gd name="connsiteX0" fmla="*/ 138081 w 149238"/>
              <a:gd name="connsiteY0" fmla="*/ 30991 h 153904"/>
              <a:gd name="connsiteX1" fmla="*/ 135304 w 149238"/>
              <a:gd name="connsiteY1" fmla="*/ 11440 h 153904"/>
              <a:gd name="connsiteX2" fmla="*/ 122810 w 149238"/>
              <a:gd name="connsiteY2" fmla="*/ -129 h 153904"/>
              <a:gd name="connsiteX3" fmla="*/ 113613 w 149238"/>
              <a:gd name="connsiteY3" fmla="*/ 8721 h 153904"/>
              <a:gd name="connsiteX4" fmla="*/ 96606 w 149238"/>
              <a:gd name="connsiteY4" fmla="*/ 9936 h 153904"/>
              <a:gd name="connsiteX5" fmla="*/ 76650 w 149238"/>
              <a:gd name="connsiteY5" fmla="*/ 16588 h 153904"/>
              <a:gd name="connsiteX6" fmla="*/ 59701 w 149238"/>
              <a:gd name="connsiteY6" fmla="*/ 10804 h 153904"/>
              <a:gd name="connsiteX7" fmla="*/ 39109 w 149238"/>
              <a:gd name="connsiteY7" fmla="*/ 16588 h 153904"/>
              <a:gd name="connsiteX8" fmla="*/ 36679 w 149238"/>
              <a:gd name="connsiteY8" fmla="*/ 40246 h 153904"/>
              <a:gd name="connsiteX9" fmla="*/ 45761 w 149238"/>
              <a:gd name="connsiteY9" fmla="*/ 53551 h 153904"/>
              <a:gd name="connsiteX10" fmla="*/ 37837 w 149238"/>
              <a:gd name="connsiteY10" fmla="*/ 67491 h 153904"/>
              <a:gd name="connsiteX11" fmla="*/ 26268 w 149238"/>
              <a:gd name="connsiteY11" fmla="*/ 75358 h 153904"/>
              <a:gd name="connsiteX12" fmla="*/ 15971 w 149238"/>
              <a:gd name="connsiteY12" fmla="*/ 90513 h 153904"/>
              <a:gd name="connsiteX13" fmla="*/ 9261 w 149238"/>
              <a:gd name="connsiteY13" fmla="*/ 109891 h 153904"/>
              <a:gd name="connsiteX14" fmla="*/ 4402 w 149238"/>
              <a:gd name="connsiteY14" fmla="*/ 133491 h 153904"/>
              <a:gd name="connsiteX15" fmla="*/ -110 w 149238"/>
              <a:gd name="connsiteY15" fmla="*/ 153390 h 153904"/>
              <a:gd name="connsiteX16" fmla="*/ 13542 w 149238"/>
              <a:gd name="connsiteY16" fmla="*/ 151018 h 153904"/>
              <a:gd name="connsiteX17" fmla="*/ 41481 w 149238"/>
              <a:gd name="connsiteY17" fmla="*/ 142631 h 153904"/>
              <a:gd name="connsiteX18" fmla="*/ 64271 w 149238"/>
              <a:gd name="connsiteY18" fmla="*/ 140780 h 153904"/>
              <a:gd name="connsiteX19" fmla="*/ 84979 w 149238"/>
              <a:gd name="connsiteY19" fmla="*/ 111105 h 153904"/>
              <a:gd name="connsiteX20" fmla="*/ 121479 w 149238"/>
              <a:gd name="connsiteY20" fmla="*/ 112031 h 153904"/>
              <a:gd name="connsiteX21" fmla="*/ 129578 w 149238"/>
              <a:gd name="connsiteY21" fmla="*/ 95083 h 153904"/>
              <a:gd name="connsiteX22" fmla="*/ 147741 w 149238"/>
              <a:gd name="connsiteY22" fmla="*/ 62921 h 153904"/>
              <a:gd name="connsiteX23" fmla="*/ 149129 w 149238"/>
              <a:gd name="connsiteY23" fmla="*/ 40536 h 15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9238" h="153904">
                <a:moveTo>
                  <a:pt x="138081" y="30991"/>
                </a:moveTo>
                <a:lnTo>
                  <a:pt x="135304" y="11440"/>
                </a:lnTo>
                <a:lnTo>
                  <a:pt x="122810" y="-129"/>
                </a:lnTo>
                <a:cubicBezTo>
                  <a:pt x="119165" y="2994"/>
                  <a:pt x="113959" y="5655"/>
                  <a:pt x="113613" y="8721"/>
                </a:cubicBezTo>
                <a:cubicBezTo>
                  <a:pt x="112976" y="12944"/>
                  <a:pt x="101465" y="12366"/>
                  <a:pt x="96606" y="9936"/>
                </a:cubicBezTo>
                <a:cubicBezTo>
                  <a:pt x="91747" y="7506"/>
                  <a:pt x="79253" y="12944"/>
                  <a:pt x="76650" y="16588"/>
                </a:cubicBezTo>
                <a:cubicBezTo>
                  <a:pt x="74047" y="20232"/>
                  <a:pt x="65717" y="9936"/>
                  <a:pt x="59701" y="10804"/>
                </a:cubicBezTo>
                <a:cubicBezTo>
                  <a:pt x="52702" y="12151"/>
                  <a:pt x="45819" y="14089"/>
                  <a:pt x="39109" y="16588"/>
                </a:cubicBezTo>
                <a:cubicBezTo>
                  <a:pt x="39109" y="16588"/>
                  <a:pt x="36679" y="33536"/>
                  <a:pt x="36679" y="40246"/>
                </a:cubicBezTo>
                <a:cubicBezTo>
                  <a:pt x="36679" y="46956"/>
                  <a:pt x="45761" y="48113"/>
                  <a:pt x="45761" y="53551"/>
                </a:cubicBezTo>
                <a:cubicBezTo>
                  <a:pt x="45761" y="58988"/>
                  <a:pt x="38473" y="63847"/>
                  <a:pt x="37837" y="67491"/>
                </a:cubicBezTo>
                <a:cubicBezTo>
                  <a:pt x="37200" y="71135"/>
                  <a:pt x="32399" y="73275"/>
                  <a:pt x="26268" y="75358"/>
                </a:cubicBezTo>
                <a:cubicBezTo>
                  <a:pt x="20136" y="77440"/>
                  <a:pt x="20483" y="86927"/>
                  <a:pt x="15971" y="90513"/>
                </a:cubicBezTo>
                <a:cubicBezTo>
                  <a:pt x="11459" y="94099"/>
                  <a:pt x="12327" y="103239"/>
                  <a:pt x="9261" y="109891"/>
                </a:cubicBezTo>
                <a:cubicBezTo>
                  <a:pt x="6080" y="117359"/>
                  <a:pt x="4460" y="125382"/>
                  <a:pt x="4402" y="133491"/>
                </a:cubicBezTo>
                <a:cubicBezTo>
                  <a:pt x="4865" y="140421"/>
                  <a:pt x="3303" y="147345"/>
                  <a:pt x="-110" y="153390"/>
                </a:cubicBezTo>
                <a:cubicBezTo>
                  <a:pt x="4576" y="154350"/>
                  <a:pt x="9435" y="153500"/>
                  <a:pt x="13542" y="151018"/>
                </a:cubicBezTo>
                <a:cubicBezTo>
                  <a:pt x="22681" y="147704"/>
                  <a:pt x="31994" y="144904"/>
                  <a:pt x="41481" y="142631"/>
                </a:cubicBezTo>
                <a:lnTo>
                  <a:pt x="64271" y="140780"/>
                </a:lnTo>
                <a:cubicBezTo>
                  <a:pt x="69362" y="126492"/>
                  <a:pt x="76824" y="113535"/>
                  <a:pt x="84979" y="111105"/>
                </a:cubicBezTo>
                <a:cubicBezTo>
                  <a:pt x="97069" y="108497"/>
                  <a:pt x="109563" y="108815"/>
                  <a:pt x="121479" y="112031"/>
                </a:cubicBezTo>
                <a:cubicBezTo>
                  <a:pt x="123330" y="106009"/>
                  <a:pt x="126049" y="100300"/>
                  <a:pt x="129578" y="95083"/>
                </a:cubicBezTo>
                <a:cubicBezTo>
                  <a:pt x="136577" y="88084"/>
                  <a:pt x="146353" y="74085"/>
                  <a:pt x="147741" y="62921"/>
                </a:cubicBezTo>
                <a:cubicBezTo>
                  <a:pt x="148608" y="55488"/>
                  <a:pt x="149071" y="48015"/>
                  <a:pt x="149129" y="4053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09" name="Forma libre: forma 208">
            <a:extLst>
              <a:ext uri="{FF2B5EF4-FFF2-40B4-BE49-F238E27FC236}">
                <a16:creationId xmlns:a16="http://schemas.microsoft.com/office/drawing/2014/main" id="{EDD80A82-FEF4-61DA-9C33-9643F0C05EE1}"/>
              </a:ext>
            </a:extLst>
          </p:cNvPr>
          <p:cNvSpPr/>
          <p:nvPr/>
        </p:nvSpPr>
        <p:spPr>
          <a:xfrm>
            <a:off x="7709203" y="3132519"/>
            <a:ext cx="474796" cy="282569"/>
          </a:xfrm>
          <a:custGeom>
            <a:avLst/>
            <a:gdLst>
              <a:gd name="connsiteX0" fmla="*/ 470280 w 474796"/>
              <a:gd name="connsiteY0" fmla="*/ 158769 h 282569"/>
              <a:gd name="connsiteX1" fmla="*/ 432566 w 474796"/>
              <a:gd name="connsiteY1" fmla="*/ 141416 h 282569"/>
              <a:gd name="connsiteX2" fmla="*/ 410989 w 474796"/>
              <a:gd name="connsiteY2" fmla="*/ 142457 h 282569"/>
              <a:gd name="connsiteX3" fmla="*/ 385075 w 474796"/>
              <a:gd name="connsiteY3" fmla="*/ 134937 h 282569"/>
              <a:gd name="connsiteX4" fmla="*/ 357021 w 474796"/>
              <a:gd name="connsiteY4" fmla="*/ 156513 h 282569"/>
              <a:gd name="connsiteX5" fmla="*/ 344064 w 474796"/>
              <a:gd name="connsiteY5" fmla="*/ 160794 h 282569"/>
              <a:gd name="connsiteX6" fmla="*/ 321447 w 474796"/>
              <a:gd name="connsiteY6" fmla="*/ 146795 h 282569"/>
              <a:gd name="connsiteX7" fmla="*/ 297731 w 474796"/>
              <a:gd name="connsiteY7" fmla="*/ 140375 h 282569"/>
              <a:gd name="connsiteX8" fmla="*/ 282633 w 474796"/>
              <a:gd name="connsiteY8" fmla="*/ 112262 h 282569"/>
              <a:gd name="connsiteX9" fmla="*/ 276155 w 474796"/>
              <a:gd name="connsiteY9" fmla="*/ 86406 h 282569"/>
              <a:gd name="connsiteX10" fmla="*/ 254579 w 474796"/>
              <a:gd name="connsiteY10" fmla="*/ 70210 h 282569"/>
              <a:gd name="connsiteX11" fmla="*/ 199569 w 474796"/>
              <a:gd name="connsiteY11" fmla="*/ 68069 h 282569"/>
              <a:gd name="connsiteX12" fmla="*/ 163995 w 474796"/>
              <a:gd name="connsiteY12" fmla="*/ 70210 h 282569"/>
              <a:gd name="connsiteX13" fmla="*/ 132007 w 474796"/>
              <a:gd name="connsiteY13" fmla="*/ 35503 h 282569"/>
              <a:gd name="connsiteX14" fmla="*/ 123966 w 474796"/>
              <a:gd name="connsiteY14" fmla="*/ 47072 h 282569"/>
              <a:gd name="connsiteX15" fmla="*/ 90822 w 474796"/>
              <a:gd name="connsiteY15" fmla="*/ 41287 h 282569"/>
              <a:gd name="connsiteX16" fmla="*/ 87641 w 474796"/>
              <a:gd name="connsiteY16" fmla="*/ 2532 h 282569"/>
              <a:gd name="connsiteX17" fmla="*/ 76072 w 474796"/>
              <a:gd name="connsiteY17" fmla="*/ 42097 h 282569"/>
              <a:gd name="connsiteX18" fmla="*/ 72138 w 474796"/>
              <a:gd name="connsiteY18" fmla="*/ -129 h 282569"/>
              <a:gd name="connsiteX19" fmla="*/ 3477 w 474796"/>
              <a:gd name="connsiteY19" fmla="*/ 18555 h 282569"/>
              <a:gd name="connsiteX20" fmla="*/ 237 w 474796"/>
              <a:gd name="connsiteY20" fmla="*/ 139391 h 282569"/>
              <a:gd name="connsiteX21" fmla="*/ -110 w 474796"/>
              <a:gd name="connsiteY21" fmla="*/ 139391 h 282569"/>
              <a:gd name="connsiteX22" fmla="*/ 19152 w 474796"/>
              <a:gd name="connsiteY22" fmla="*/ 144019 h 282569"/>
              <a:gd name="connsiteX23" fmla="*/ 28813 w 474796"/>
              <a:gd name="connsiteY23" fmla="*/ 131062 h 282569"/>
              <a:gd name="connsiteX24" fmla="*/ 48248 w 474796"/>
              <a:gd name="connsiteY24" fmla="*/ 116543 h 282569"/>
              <a:gd name="connsiteX25" fmla="*/ 57908 w 474796"/>
              <a:gd name="connsiteY25" fmla="*/ 106015 h 282569"/>
              <a:gd name="connsiteX26" fmla="*/ 69188 w 474796"/>
              <a:gd name="connsiteY26" fmla="*/ 100231 h 282569"/>
              <a:gd name="connsiteX27" fmla="*/ 88623 w 474796"/>
              <a:gd name="connsiteY27" fmla="*/ 105090 h 282569"/>
              <a:gd name="connsiteX28" fmla="*/ 109621 w 474796"/>
              <a:gd name="connsiteY28" fmla="*/ 112320 h 282569"/>
              <a:gd name="connsiteX29" fmla="*/ 119281 w 474796"/>
              <a:gd name="connsiteY29" fmla="*/ 141242 h 282569"/>
              <a:gd name="connsiteX30" fmla="*/ 159772 w 474796"/>
              <a:gd name="connsiteY30" fmla="*/ 146101 h 282569"/>
              <a:gd name="connsiteX31" fmla="*/ 171341 w 474796"/>
              <a:gd name="connsiteY31" fmla="*/ 163859 h 282569"/>
              <a:gd name="connsiteX32" fmla="*/ 182794 w 474796"/>
              <a:gd name="connsiteY32" fmla="*/ 186882 h 282569"/>
              <a:gd name="connsiteX33" fmla="*/ 210270 w 474796"/>
              <a:gd name="connsiteY33" fmla="*/ 207069 h 282569"/>
              <a:gd name="connsiteX34" fmla="*/ 241737 w 474796"/>
              <a:gd name="connsiteY34" fmla="*/ 225637 h 282569"/>
              <a:gd name="connsiteX35" fmla="*/ 270023 w 474796"/>
              <a:gd name="connsiteY35" fmla="*/ 244205 h 282569"/>
              <a:gd name="connsiteX36" fmla="*/ 294260 w 474796"/>
              <a:gd name="connsiteY36" fmla="*/ 252246 h 282569"/>
              <a:gd name="connsiteX37" fmla="*/ 296342 w 474796"/>
              <a:gd name="connsiteY37" fmla="*/ 270293 h 282569"/>
              <a:gd name="connsiteX38" fmla="*/ 298714 w 474796"/>
              <a:gd name="connsiteY38" fmla="*/ 269772 h 282569"/>
              <a:gd name="connsiteX39" fmla="*/ 321331 w 474796"/>
              <a:gd name="connsiteY39" fmla="*/ 277292 h 282569"/>
              <a:gd name="connsiteX40" fmla="*/ 332264 w 474796"/>
              <a:gd name="connsiteY40" fmla="*/ 282440 h 282569"/>
              <a:gd name="connsiteX41" fmla="*/ 343832 w 474796"/>
              <a:gd name="connsiteY41" fmla="*/ 253865 h 282569"/>
              <a:gd name="connsiteX42" fmla="*/ 340593 w 474796"/>
              <a:gd name="connsiteY42" fmla="*/ 229686 h 282569"/>
              <a:gd name="connsiteX43" fmla="*/ 323645 w 474796"/>
              <a:gd name="connsiteY43" fmla="*/ 208689 h 282569"/>
              <a:gd name="connsiteX44" fmla="*/ 349501 w 474796"/>
              <a:gd name="connsiteY44" fmla="*/ 198971 h 282569"/>
              <a:gd name="connsiteX45" fmla="*/ 358351 w 474796"/>
              <a:gd name="connsiteY45" fmla="*/ 183642 h 282569"/>
              <a:gd name="connsiteX46" fmla="*/ 371251 w 474796"/>
              <a:gd name="connsiteY46" fmla="*/ 169066 h 282569"/>
              <a:gd name="connsiteX47" fmla="*/ 392248 w 474796"/>
              <a:gd name="connsiteY47" fmla="*/ 164264 h 282569"/>
              <a:gd name="connsiteX48" fmla="*/ 410874 w 474796"/>
              <a:gd name="connsiteY48" fmla="*/ 160215 h 282569"/>
              <a:gd name="connsiteX49" fmla="*/ 401214 w 474796"/>
              <a:gd name="connsiteY49" fmla="*/ 182601 h 282569"/>
              <a:gd name="connsiteX50" fmla="*/ 432739 w 474796"/>
              <a:gd name="connsiteY50" fmla="*/ 176817 h 282569"/>
              <a:gd name="connsiteX51" fmla="*/ 458596 w 474796"/>
              <a:gd name="connsiteY51" fmla="*/ 172536 h 282569"/>
              <a:gd name="connsiteX52" fmla="*/ 470280 w 474796"/>
              <a:gd name="connsiteY52" fmla="*/ 158769 h 28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74796" h="282569">
                <a:moveTo>
                  <a:pt x="470280" y="158769"/>
                </a:moveTo>
                <a:cubicBezTo>
                  <a:pt x="457323" y="148010"/>
                  <a:pt x="434706" y="135053"/>
                  <a:pt x="432566" y="141416"/>
                </a:cubicBezTo>
                <a:cubicBezTo>
                  <a:pt x="430426" y="147779"/>
                  <a:pt x="416311" y="148994"/>
                  <a:pt x="410989" y="142457"/>
                </a:cubicBezTo>
                <a:cubicBezTo>
                  <a:pt x="405668" y="135921"/>
                  <a:pt x="401272" y="128459"/>
                  <a:pt x="385075" y="134937"/>
                </a:cubicBezTo>
                <a:cubicBezTo>
                  <a:pt x="368879" y="141416"/>
                  <a:pt x="358120" y="150035"/>
                  <a:pt x="357021" y="156513"/>
                </a:cubicBezTo>
                <a:cubicBezTo>
                  <a:pt x="355922" y="162992"/>
                  <a:pt x="345452" y="169470"/>
                  <a:pt x="344064" y="160794"/>
                </a:cubicBezTo>
                <a:cubicBezTo>
                  <a:pt x="342676" y="152117"/>
                  <a:pt x="330065" y="149225"/>
                  <a:pt x="321447" y="146795"/>
                </a:cubicBezTo>
                <a:cubicBezTo>
                  <a:pt x="312828" y="144366"/>
                  <a:pt x="298830" y="148994"/>
                  <a:pt x="297731" y="140375"/>
                </a:cubicBezTo>
                <a:cubicBezTo>
                  <a:pt x="296632" y="131756"/>
                  <a:pt x="283732" y="121980"/>
                  <a:pt x="282633" y="112262"/>
                </a:cubicBezTo>
                <a:cubicBezTo>
                  <a:pt x="281534" y="102545"/>
                  <a:pt x="284831" y="88546"/>
                  <a:pt x="276155" y="86406"/>
                </a:cubicBezTo>
                <a:cubicBezTo>
                  <a:pt x="267478" y="84266"/>
                  <a:pt x="262098" y="70210"/>
                  <a:pt x="254579" y="70210"/>
                </a:cubicBezTo>
                <a:cubicBezTo>
                  <a:pt x="247059" y="70210"/>
                  <a:pt x="204948" y="70210"/>
                  <a:pt x="199569" y="68069"/>
                </a:cubicBezTo>
                <a:cubicBezTo>
                  <a:pt x="194189" y="65929"/>
                  <a:pt x="166135" y="76688"/>
                  <a:pt x="163995" y="70210"/>
                </a:cubicBezTo>
                <a:cubicBezTo>
                  <a:pt x="162201" y="64946"/>
                  <a:pt x="142766" y="44180"/>
                  <a:pt x="132007" y="35503"/>
                </a:cubicBezTo>
                <a:cubicBezTo>
                  <a:pt x="130792" y="40206"/>
                  <a:pt x="127958" y="44313"/>
                  <a:pt x="123966" y="47072"/>
                </a:cubicBezTo>
                <a:cubicBezTo>
                  <a:pt x="103779" y="61649"/>
                  <a:pt x="84401" y="59161"/>
                  <a:pt x="90822" y="41287"/>
                </a:cubicBezTo>
                <a:cubicBezTo>
                  <a:pt x="97242" y="23413"/>
                  <a:pt x="98052" y="2532"/>
                  <a:pt x="87641" y="2532"/>
                </a:cubicBezTo>
                <a:cubicBezTo>
                  <a:pt x="77228" y="2532"/>
                  <a:pt x="84401" y="39726"/>
                  <a:pt x="76072" y="42097"/>
                </a:cubicBezTo>
                <a:cubicBezTo>
                  <a:pt x="68899" y="44295"/>
                  <a:pt x="66122" y="15142"/>
                  <a:pt x="72138" y="-129"/>
                </a:cubicBezTo>
                <a:lnTo>
                  <a:pt x="3477" y="18555"/>
                </a:lnTo>
                <a:lnTo>
                  <a:pt x="237" y="139391"/>
                </a:lnTo>
                <a:lnTo>
                  <a:pt x="-110" y="139391"/>
                </a:lnTo>
                <a:cubicBezTo>
                  <a:pt x="5964" y="142075"/>
                  <a:pt x="12501" y="143643"/>
                  <a:pt x="19152" y="144019"/>
                </a:cubicBezTo>
                <a:cubicBezTo>
                  <a:pt x="29623" y="144829"/>
                  <a:pt x="28813" y="136730"/>
                  <a:pt x="28813" y="131062"/>
                </a:cubicBezTo>
                <a:cubicBezTo>
                  <a:pt x="28813" y="125393"/>
                  <a:pt x="40381" y="115733"/>
                  <a:pt x="48248" y="116543"/>
                </a:cubicBezTo>
                <a:cubicBezTo>
                  <a:pt x="56115" y="117353"/>
                  <a:pt x="55479" y="106015"/>
                  <a:pt x="57908" y="106015"/>
                </a:cubicBezTo>
                <a:cubicBezTo>
                  <a:pt x="62305" y="105818"/>
                  <a:pt x="66469" y="103707"/>
                  <a:pt x="69188" y="100231"/>
                </a:cubicBezTo>
                <a:cubicBezTo>
                  <a:pt x="71618" y="96182"/>
                  <a:pt x="84575" y="100983"/>
                  <a:pt x="88623" y="105090"/>
                </a:cubicBezTo>
                <a:cubicBezTo>
                  <a:pt x="92673" y="109197"/>
                  <a:pt x="102332" y="110874"/>
                  <a:pt x="109621" y="112320"/>
                </a:cubicBezTo>
                <a:cubicBezTo>
                  <a:pt x="116909" y="113766"/>
                  <a:pt x="119281" y="136557"/>
                  <a:pt x="119281" y="141242"/>
                </a:cubicBezTo>
                <a:cubicBezTo>
                  <a:pt x="119281" y="145928"/>
                  <a:pt x="153988" y="145291"/>
                  <a:pt x="159772" y="146101"/>
                </a:cubicBezTo>
                <a:cubicBezTo>
                  <a:pt x="165557" y="146911"/>
                  <a:pt x="165557" y="156571"/>
                  <a:pt x="171341" y="163859"/>
                </a:cubicBezTo>
                <a:cubicBezTo>
                  <a:pt x="176084" y="171038"/>
                  <a:pt x="179902" y="178772"/>
                  <a:pt x="182794" y="186882"/>
                </a:cubicBezTo>
                <a:cubicBezTo>
                  <a:pt x="185224" y="192666"/>
                  <a:pt x="205411" y="199781"/>
                  <a:pt x="210270" y="207069"/>
                </a:cubicBezTo>
                <a:cubicBezTo>
                  <a:pt x="215129" y="214358"/>
                  <a:pt x="230458" y="221588"/>
                  <a:pt x="241737" y="225637"/>
                </a:cubicBezTo>
                <a:cubicBezTo>
                  <a:pt x="253017" y="229686"/>
                  <a:pt x="263602" y="245015"/>
                  <a:pt x="270023" y="244205"/>
                </a:cubicBezTo>
                <a:cubicBezTo>
                  <a:pt x="276444" y="243395"/>
                  <a:pt x="294260" y="252246"/>
                  <a:pt x="294260" y="252246"/>
                </a:cubicBezTo>
                <a:lnTo>
                  <a:pt x="296342" y="270293"/>
                </a:lnTo>
                <a:lnTo>
                  <a:pt x="298714" y="269772"/>
                </a:lnTo>
                <a:cubicBezTo>
                  <a:pt x="308374" y="266533"/>
                  <a:pt x="313812" y="277292"/>
                  <a:pt x="321331" y="277292"/>
                </a:cubicBezTo>
                <a:cubicBezTo>
                  <a:pt x="325322" y="278079"/>
                  <a:pt x="329082" y="279843"/>
                  <a:pt x="332264" y="282440"/>
                </a:cubicBezTo>
                <a:cubicBezTo>
                  <a:pt x="331685" y="266591"/>
                  <a:pt x="337296" y="258724"/>
                  <a:pt x="343832" y="253865"/>
                </a:cubicBezTo>
                <a:cubicBezTo>
                  <a:pt x="351063" y="248081"/>
                  <a:pt x="338974" y="238594"/>
                  <a:pt x="340593" y="229686"/>
                </a:cubicBezTo>
                <a:cubicBezTo>
                  <a:pt x="342213" y="220778"/>
                  <a:pt x="322025" y="215919"/>
                  <a:pt x="323645" y="208689"/>
                </a:cubicBezTo>
                <a:cubicBezTo>
                  <a:pt x="325265" y="201458"/>
                  <a:pt x="342213" y="202268"/>
                  <a:pt x="349501" y="198971"/>
                </a:cubicBezTo>
                <a:cubicBezTo>
                  <a:pt x="356789" y="195674"/>
                  <a:pt x="351063" y="183642"/>
                  <a:pt x="358351" y="183642"/>
                </a:cubicBezTo>
                <a:cubicBezTo>
                  <a:pt x="365640" y="183642"/>
                  <a:pt x="368821" y="176354"/>
                  <a:pt x="371251" y="169066"/>
                </a:cubicBezTo>
                <a:cubicBezTo>
                  <a:pt x="373680" y="161777"/>
                  <a:pt x="385769" y="169066"/>
                  <a:pt x="392248" y="164264"/>
                </a:cubicBezTo>
                <a:cubicBezTo>
                  <a:pt x="398727" y="159463"/>
                  <a:pt x="408445" y="156166"/>
                  <a:pt x="410874" y="160215"/>
                </a:cubicBezTo>
                <a:cubicBezTo>
                  <a:pt x="412783" y="163397"/>
                  <a:pt x="404743" y="176932"/>
                  <a:pt x="401214" y="182601"/>
                </a:cubicBezTo>
                <a:cubicBezTo>
                  <a:pt x="412783" y="182601"/>
                  <a:pt x="429442" y="180287"/>
                  <a:pt x="432739" y="176817"/>
                </a:cubicBezTo>
                <a:cubicBezTo>
                  <a:pt x="437019" y="172536"/>
                  <a:pt x="453158" y="183295"/>
                  <a:pt x="458596" y="172536"/>
                </a:cubicBezTo>
                <a:cubicBezTo>
                  <a:pt x="464033" y="161777"/>
                  <a:pt x="483237" y="169528"/>
                  <a:pt x="470280" y="15876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0" name="Forma libre: forma 209">
            <a:extLst>
              <a:ext uri="{FF2B5EF4-FFF2-40B4-BE49-F238E27FC236}">
                <a16:creationId xmlns:a16="http://schemas.microsoft.com/office/drawing/2014/main" id="{F4DC5AC2-9864-B5DE-EE75-FB6F4AAC57D4}"/>
              </a:ext>
            </a:extLst>
          </p:cNvPr>
          <p:cNvSpPr/>
          <p:nvPr/>
        </p:nvSpPr>
        <p:spPr>
          <a:xfrm>
            <a:off x="6326624" y="1553643"/>
            <a:ext cx="702329" cy="1115210"/>
          </a:xfrm>
          <a:custGeom>
            <a:avLst/>
            <a:gdLst>
              <a:gd name="connsiteX0" fmla="*/ 681049 w 702329"/>
              <a:gd name="connsiteY0" fmla="*/ 596320 h 1115210"/>
              <a:gd name="connsiteX1" fmla="*/ 668960 w 702329"/>
              <a:gd name="connsiteY1" fmla="*/ 595105 h 1115210"/>
              <a:gd name="connsiteX2" fmla="*/ 651143 w 702329"/>
              <a:gd name="connsiteY2" fmla="*/ 581396 h 1115210"/>
              <a:gd name="connsiteX3" fmla="*/ 664910 w 702329"/>
              <a:gd name="connsiteY3" fmla="*/ 582553 h 1115210"/>
              <a:gd name="connsiteX4" fmla="*/ 683073 w 702329"/>
              <a:gd name="connsiteY4" fmla="*/ 576769 h 1115210"/>
              <a:gd name="connsiteX5" fmla="*/ 701642 w 702329"/>
              <a:gd name="connsiteY5" fmla="*/ 569480 h 1115210"/>
              <a:gd name="connsiteX6" fmla="*/ 687528 w 702329"/>
              <a:gd name="connsiteY6" fmla="*/ 555771 h 1115210"/>
              <a:gd name="connsiteX7" fmla="*/ 666935 w 702329"/>
              <a:gd name="connsiteY7" fmla="*/ 548888 h 1115210"/>
              <a:gd name="connsiteX8" fmla="*/ 652358 w 702329"/>
              <a:gd name="connsiteY8" fmla="*/ 542062 h 1115210"/>
              <a:gd name="connsiteX9" fmla="*/ 631014 w 702329"/>
              <a:gd name="connsiteY9" fmla="*/ 556581 h 1115210"/>
              <a:gd name="connsiteX10" fmla="*/ 624535 w 702329"/>
              <a:gd name="connsiteY10" fmla="*/ 559011 h 1115210"/>
              <a:gd name="connsiteX11" fmla="*/ 627775 w 702329"/>
              <a:gd name="connsiteY11" fmla="*/ 543624 h 1115210"/>
              <a:gd name="connsiteX12" fmla="*/ 616206 w 702329"/>
              <a:gd name="connsiteY12" fmla="*/ 528295 h 1115210"/>
              <a:gd name="connsiteX13" fmla="*/ 599257 w 702329"/>
              <a:gd name="connsiteY13" fmla="*/ 543624 h 1115210"/>
              <a:gd name="connsiteX14" fmla="*/ 583061 w 702329"/>
              <a:gd name="connsiteY14" fmla="*/ 565026 h 1115210"/>
              <a:gd name="connsiteX15" fmla="*/ 583524 w 702329"/>
              <a:gd name="connsiteY15" fmla="*/ 541889 h 1115210"/>
              <a:gd name="connsiteX16" fmla="*/ 566170 w 702329"/>
              <a:gd name="connsiteY16" fmla="*/ 551144 h 1115210"/>
              <a:gd name="connsiteX17" fmla="*/ 539967 w 702329"/>
              <a:gd name="connsiteY17" fmla="*/ 577000 h 1115210"/>
              <a:gd name="connsiteX18" fmla="*/ 544825 w 702329"/>
              <a:gd name="connsiteY18" fmla="*/ 559647 h 1115210"/>
              <a:gd name="connsiteX19" fmla="*/ 562584 w 702329"/>
              <a:gd name="connsiteY19" fmla="*/ 538649 h 1115210"/>
              <a:gd name="connsiteX20" fmla="*/ 559344 w 702329"/>
              <a:gd name="connsiteY20" fmla="*/ 528122 h 1115210"/>
              <a:gd name="connsiteX21" fmla="*/ 544363 w 702329"/>
              <a:gd name="connsiteY21" fmla="*/ 540269 h 1115210"/>
              <a:gd name="connsiteX22" fmla="*/ 524985 w 702329"/>
              <a:gd name="connsiteY22" fmla="*/ 537840 h 1115210"/>
              <a:gd name="connsiteX23" fmla="*/ 520126 w 702329"/>
              <a:gd name="connsiteY23" fmla="*/ 548309 h 1115210"/>
              <a:gd name="connsiteX24" fmla="*/ 514342 w 702329"/>
              <a:gd name="connsiteY24" fmla="*/ 552358 h 1115210"/>
              <a:gd name="connsiteX25" fmla="*/ 495369 w 702329"/>
              <a:gd name="connsiteY25" fmla="*/ 558837 h 1115210"/>
              <a:gd name="connsiteX26" fmla="*/ 488890 w 702329"/>
              <a:gd name="connsiteY26" fmla="*/ 569307 h 1115210"/>
              <a:gd name="connsiteX27" fmla="*/ 489758 w 702329"/>
              <a:gd name="connsiteY27" fmla="*/ 582530 h 1115210"/>
              <a:gd name="connsiteX28" fmla="*/ 486056 w 702329"/>
              <a:gd name="connsiteY28" fmla="*/ 585098 h 1115210"/>
              <a:gd name="connsiteX29" fmla="*/ 475991 w 702329"/>
              <a:gd name="connsiteY29" fmla="*/ 567282 h 1115210"/>
              <a:gd name="connsiteX30" fmla="*/ 481775 w 702329"/>
              <a:gd name="connsiteY30" fmla="*/ 556812 h 1115210"/>
              <a:gd name="connsiteX31" fmla="*/ 496352 w 702329"/>
              <a:gd name="connsiteY31" fmla="*/ 542698 h 1115210"/>
              <a:gd name="connsiteX32" fmla="*/ 486634 w 702329"/>
              <a:gd name="connsiteY32" fmla="*/ 545070 h 1115210"/>
              <a:gd name="connsiteX33" fmla="*/ 464422 w 702329"/>
              <a:gd name="connsiteY33" fmla="*/ 549524 h 1115210"/>
              <a:gd name="connsiteX34" fmla="*/ 466042 w 702329"/>
              <a:gd name="connsiteY34" fmla="*/ 567687 h 1115210"/>
              <a:gd name="connsiteX35" fmla="*/ 458406 w 702329"/>
              <a:gd name="connsiteY35" fmla="*/ 573472 h 1115210"/>
              <a:gd name="connsiteX36" fmla="*/ 437756 w 702329"/>
              <a:gd name="connsiteY36" fmla="*/ 573877 h 1115210"/>
              <a:gd name="connsiteX37" fmla="*/ 453142 w 702329"/>
              <a:gd name="connsiteY37" fmla="*/ 587586 h 1115210"/>
              <a:gd name="connsiteX38" fmla="*/ 440185 w 702329"/>
              <a:gd name="connsiteY38" fmla="*/ 585966 h 1115210"/>
              <a:gd name="connsiteX39" fmla="*/ 425666 w 702329"/>
              <a:gd name="connsiteY39" fmla="*/ 577116 h 1115210"/>
              <a:gd name="connsiteX40" fmla="*/ 416816 w 702329"/>
              <a:gd name="connsiteY40" fmla="*/ 582322 h 1115210"/>
              <a:gd name="connsiteX41" fmla="*/ 423237 w 702329"/>
              <a:gd name="connsiteY41" fmla="*/ 600138 h 1115210"/>
              <a:gd name="connsiteX42" fmla="*/ 413982 w 702329"/>
              <a:gd name="connsiteY42" fmla="*/ 594353 h 1115210"/>
              <a:gd name="connsiteX43" fmla="*/ 398595 w 702329"/>
              <a:gd name="connsiteY43" fmla="*/ 593139 h 1115210"/>
              <a:gd name="connsiteX44" fmla="*/ 396629 w 702329"/>
              <a:gd name="connsiteY44" fmla="*/ 577405 h 1115210"/>
              <a:gd name="connsiteX45" fmla="*/ 377598 w 702329"/>
              <a:gd name="connsiteY45" fmla="*/ 579025 h 1115210"/>
              <a:gd name="connsiteX46" fmla="*/ 369963 w 702329"/>
              <a:gd name="connsiteY46" fmla="*/ 586660 h 1115210"/>
              <a:gd name="connsiteX47" fmla="*/ 367533 w 702329"/>
              <a:gd name="connsiteY47" fmla="*/ 599212 h 1115210"/>
              <a:gd name="connsiteX48" fmla="*/ 358625 w 702329"/>
              <a:gd name="connsiteY48" fmla="*/ 605691 h 1115210"/>
              <a:gd name="connsiteX49" fmla="*/ 348907 w 702329"/>
              <a:gd name="connsiteY49" fmla="*/ 606906 h 1115210"/>
              <a:gd name="connsiteX50" fmla="*/ 330339 w 702329"/>
              <a:gd name="connsiteY50" fmla="*/ 609335 h 1115210"/>
              <a:gd name="connsiteX51" fmla="*/ 316225 w 702329"/>
              <a:gd name="connsiteY51" fmla="*/ 627903 h 1115210"/>
              <a:gd name="connsiteX52" fmla="*/ 333578 w 702329"/>
              <a:gd name="connsiteY52" fmla="*/ 626631 h 1115210"/>
              <a:gd name="connsiteX53" fmla="*/ 337223 w 702329"/>
              <a:gd name="connsiteY53" fmla="*/ 636348 h 1115210"/>
              <a:gd name="connsiteX54" fmla="*/ 334793 w 702329"/>
              <a:gd name="connsiteY54" fmla="*/ 643637 h 1115210"/>
              <a:gd name="connsiteX55" fmla="*/ 320679 w 702329"/>
              <a:gd name="connsiteY55" fmla="*/ 645256 h 1115210"/>
              <a:gd name="connsiteX56" fmla="*/ 308532 w 702329"/>
              <a:gd name="connsiteY56" fmla="*/ 637968 h 1115210"/>
              <a:gd name="connsiteX57" fmla="*/ 293608 w 702329"/>
              <a:gd name="connsiteY57" fmla="*/ 645256 h 1115210"/>
              <a:gd name="connsiteX58" fmla="*/ 300087 w 702329"/>
              <a:gd name="connsiteY58" fmla="*/ 622639 h 1115210"/>
              <a:gd name="connsiteX59" fmla="*/ 283948 w 702329"/>
              <a:gd name="connsiteY59" fmla="*/ 635596 h 1115210"/>
              <a:gd name="connsiteX60" fmla="*/ 266595 w 702329"/>
              <a:gd name="connsiteY60" fmla="*/ 648901 h 1115210"/>
              <a:gd name="connsiteX61" fmla="*/ 255026 w 702329"/>
              <a:gd name="connsiteY61" fmla="*/ 663419 h 1115210"/>
              <a:gd name="connsiteX62" fmla="*/ 221476 w 702329"/>
              <a:gd name="connsiteY62" fmla="*/ 682045 h 1115210"/>
              <a:gd name="connsiteX63" fmla="*/ 230789 w 702329"/>
              <a:gd name="connsiteY63" fmla="*/ 682797 h 1115210"/>
              <a:gd name="connsiteX64" fmla="*/ 250977 w 702329"/>
              <a:gd name="connsiteY64" fmla="*/ 672675 h 1115210"/>
              <a:gd name="connsiteX65" fmla="*/ 277643 w 702329"/>
              <a:gd name="connsiteY65" fmla="*/ 663014 h 1115210"/>
              <a:gd name="connsiteX66" fmla="*/ 292897 w 702329"/>
              <a:gd name="connsiteY66" fmla="*/ 661835 h 1115210"/>
              <a:gd name="connsiteX67" fmla="*/ 293781 w 702329"/>
              <a:gd name="connsiteY67" fmla="*/ 660643 h 1115210"/>
              <a:gd name="connsiteX68" fmla="*/ 310730 w 702329"/>
              <a:gd name="connsiteY68" fmla="*/ 659370 h 1115210"/>
              <a:gd name="connsiteX69" fmla="*/ 308300 w 702329"/>
              <a:gd name="connsiteY69" fmla="*/ 673947 h 1115210"/>
              <a:gd name="connsiteX70" fmla="*/ 300665 w 702329"/>
              <a:gd name="connsiteY70" fmla="*/ 678343 h 1115210"/>
              <a:gd name="connsiteX71" fmla="*/ 289732 w 702329"/>
              <a:gd name="connsiteY71" fmla="*/ 673079 h 1115210"/>
              <a:gd name="connsiteX72" fmla="*/ 276833 w 702329"/>
              <a:gd name="connsiteY72" fmla="*/ 684648 h 1115210"/>
              <a:gd name="connsiteX73" fmla="*/ 265958 w 702329"/>
              <a:gd name="connsiteY73" fmla="*/ 704489 h 1115210"/>
              <a:gd name="connsiteX74" fmla="*/ 255836 w 702329"/>
              <a:gd name="connsiteY74" fmla="*/ 712934 h 1115210"/>
              <a:gd name="connsiteX75" fmla="*/ 230789 w 702329"/>
              <a:gd name="connsiteY75" fmla="*/ 747236 h 1115210"/>
              <a:gd name="connsiteX76" fmla="*/ 226335 w 702329"/>
              <a:gd name="connsiteY76" fmla="*/ 767481 h 1115210"/>
              <a:gd name="connsiteX77" fmla="*/ 204991 w 702329"/>
              <a:gd name="connsiteY77" fmla="*/ 771068 h 1115210"/>
              <a:gd name="connsiteX78" fmla="*/ 201346 w 702329"/>
              <a:gd name="connsiteY78" fmla="*/ 796114 h 1115210"/>
              <a:gd name="connsiteX79" fmla="*/ 201346 w 702329"/>
              <a:gd name="connsiteY79" fmla="*/ 814682 h 1115210"/>
              <a:gd name="connsiteX80" fmla="*/ 184398 w 702329"/>
              <a:gd name="connsiteY80" fmla="*/ 817112 h 1115210"/>
              <a:gd name="connsiteX81" fmla="*/ 165367 w 702329"/>
              <a:gd name="connsiteY81" fmla="*/ 823185 h 1115210"/>
              <a:gd name="connsiteX82" fmla="*/ 180754 w 702329"/>
              <a:gd name="connsiteY82" fmla="*/ 840134 h 1115210"/>
              <a:gd name="connsiteX83" fmla="*/ 172251 w 702329"/>
              <a:gd name="connsiteY83" fmla="*/ 843778 h 1115210"/>
              <a:gd name="connsiteX84" fmla="*/ 148014 w 702329"/>
              <a:gd name="connsiteY84" fmla="*/ 853496 h 1115210"/>
              <a:gd name="connsiteX85" fmla="*/ 131065 w 702329"/>
              <a:gd name="connsiteY85" fmla="*/ 870849 h 1115210"/>
              <a:gd name="connsiteX86" fmla="*/ 117703 w 702329"/>
              <a:gd name="connsiteY86" fmla="*/ 891384 h 1115210"/>
              <a:gd name="connsiteX87" fmla="*/ 102780 w 702329"/>
              <a:gd name="connsiteY87" fmla="*/ 879815 h 1115210"/>
              <a:gd name="connsiteX88" fmla="*/ 99541 w 702329"/>
              <a:gd name="connsiteY88" fmla="*/ 895202 h 1115210"/>
              <a:gd name="connsiteX89" fmla="*/ 84617 w 702329"/>
              <a:gd name="connsiteY89" fmla="*/ 904457 h 1115210"/>
              <a:gd name="connsiteX90" fmla="*/ 58355 w 702329"/>
              <a:gd name="connsiteY90" fmla="*/ 914174 h 1115210"/>
              <a:gd name="connsiteX91" fmla="*/ 72874 w 702329"/>
              <a:gd name="connsiteY91" fmla="*/ 925049 h 1115210"/>
              <a:gd name="connsiteX92" fmla="*/ 49736 w 702329"/>
              <a:gd name="connsiteY92" fmla="*/ 925454 h 1115210"/>
              <a:gd name="connsiteX93" fmla="*/ 35217 w 702329"/>
              <a:gd name="connsiteY93" fmla="*/ 935172 h 1115210"/>
              <a:gd name="connsiteX94" fmla="*/ 22723 w 702329"/>
              <a:gd name="connsiteY94" fmla="*/ 947666 h 1115210"/>
              <a:gd name="connsiteX95" fmla="*/ 12600 w 702329"/>
              <a:gd name="connsiteY95" fmla="*/ 950501 h 1115210"/>
              <a:gd name="connsiteX96" fmla="*/ 106 w 702329"/>
              <a:gd name="connsiteY96" fmla="*/ 962590 h 1115210"/>
              <a:gd name="connsiteX97" fmla="*/ 10634 w 702329"/>
              <a:gd name="connsiteY97" fmla="*/ 976357 h 1115210"/>
              <a:gd name="connsiteX98" fmla="*/ 7337 w 702329"/>
              <a:gd name="connsiteY98" fmla="*/ 986480 h 1115210"/>
              <a:gd name="connsiteX99" fmla="*/ 4560 w 702329"/>
              <a:gd name="connsiteY99" fmla="*/ 996545 h 1115210"/>
              <a:gd name="connsiteX100" fmla="*/ 4560 w 702329"/>
              <a:gd name="connsiteY100" fmla="*/ 1009444 h 1115210"/>
              <a:gd name="connsiteX101" fmla="*/ 2536 w 702329"/>
              <a:gd name="connsiteY101" fmla="*/ 1026045 h 1115210"/>
              <a:gd name="connsiteX102" fmla="*/ 16650 w 702329"/>
              <a:gd name="connsiteY102" fmla="*/ 1030442 h 1115210"/>
              <a:gd name="connsiteX103" fmla="*/ 36085 w 702329"/>
              <a:gd name="connsiteY103" fmla="*/ 1023211 h 1115210"/>
              <a:gd name="connsiteX104" fmla="*/ 40886 w 702329"/>
              <a:gd name="connsiteY104" fmla="*/ 1031656 h 1115210"/>
              <a:gd name="connsiteX105" fmla="*/ 26714 w 702329"/>
              <a:gd name="connsiteY105" fmla="*/ 1043225 h 1115210"/>
              <a:gd name="connsiteX106" fmla="*/ 15840 w 702329"/>
              <a:gd name="connsiteY106" fmla="*/ 1040391 h 1115210"/>
              <a:gd name="connsiteX107" fmla="*/ 6527 w 702329"/>
              <a:gd name="connsiteY107" fmla="*/ 1048489 h 1115210"/>
              <a:gd name="connsiteX108" fmla="*/ 4560 w 702329"/>
              <a:gd name="connsiteY108" fmla="*/ 1064628 h 1115210"/>
              <a:gd name="connsiteX109" fmla="*/ 19889 w 702329"/>
              <a:gd name="connsiteY109" fmla="*/ 1062603 h 1115210"/>
              <a:gd name="connsiteX110" fmla="*/ 30249 w 702329"/>
              <a:gd name="connsiteY110" fmla="*/ 1059017 h 1115210"/>
              <a:gd name="connsiteX111" fmla="*/ 34408 w 702329"/>
              <a:gd name="connsiteY111" fmla="*/ 1064223 h 1115210"/>
              <a:gd name="connsiteX112" fmla="*/ 27524 w 702329"/>
              <a:gd name="connsiteY112" fmla="*/ 1075097 h 1115210"/>
              <a:gd name="connsiteX113" fmla="*/ 16245 w 702329"/>
              <a:gd name="connsiteY113" fmla="*/ 1083600 h 1115210"/>
              <a:gd name="connsiteX114" fmla="*/ 45167 w 702329"/>
              <a:gd name="connsiteY114" fmla="*/ 1106218 h 1115210"/>
              <a:gd name="connsiteX115" fmla="*/ 77097 w 702329"/>
              <a:gd name="connsiteY115" fmla="*/ 1114663 h 1115210"/>
              <a:gd name="connsiteX116" fmla="*/ 127942 w 702329"/>
              <a:gd name="connsiteY116" fmla="*/ 1077122 h 1115210"/>
              <a:gd name="connsiteX117" fmla="*/ 146915 w 702329"/>
              <a:gd name="connsiteY117" fmla="*/ 1073073 h 1115210"/>
              <a:gd name="connsiteX118" fmla="*/ 153798 w 702329"/>
              <a:gd name="connsiteY118" fmla="*/ 1053348 h 1115210"/>
              <a:gd name="connsiteX119" fmla="*/ 164731 w 702329"/>
              <a:gd name="connsiteY119" fmla="*/ 1068272 h 1115210"/>
              <a:gd name="connsiteX120" fmla="*/ 171152 w 702329"/>
              <a:gd name="connsiteY120" fmla="*/ 1080592 h 1115210"/>
              <a:gd name="connsiteX121" fmla="*/ 179655 w 702329"/>
              <a:gd name="connsiteY121" fmla="*/ 1081807 h 1115210"/>
              <a:gd name="connsiteX122" fmla="*/ 186191 w 702329"/>
              <a:gd name="connsiteY122" fmla="*/ 1063644 h 1115210"/>
              <a:gd name="connsiteX123" fmla="*/ 190067 w 702329"/>
              <a:gd name="connsiteY123" fmla="*/ 1041605 h 1115210"/>
              <a:gd name="connsiteX124" fmla="*/ 208230 w 702329"/>
              <a:gd name="connsiteY124" fmla="*/ 1035127 h 1115210"/>
              <a:gd name="connsiteX125" fmla="*/ 206957 w 702329"/>
              <a:gd name="connsiteY125" fmla="*/ 1009213 h 1115210"/>
              <a:gd name="connsiteX126" fmla="*/ 205627 w 702329"/>
              <a:gd name="connsiteY126" fmla="*/ 996198 h 1115210"/>
              <a:gd name="connsiteX127" fmla="*/ 216039 w 702329"/>
              <a:gd name="connsiteY127" fmla="*/ 981910 h 1115210"/>
              <a:gd name="connsiteX128" fmla="*/ 197876 w 702329"/>
              <a:gd name="connsiteY128" fmla="*/ 962474 h 1115210"/>
              <a:gd name="connsiteX129" fmla="*/ 199148 w 702329"/>
              <a:gd name="connsiteY129" fmla="*/ 936560 h 1115210"/>
              <a:gd name="connsiteX130" fmla="*/ 199148 w 702329"/>
              <a:gd name="connsiteY130" fmla="*/ 909258 h 1115210"/>
              <a:gd name="connsiteX131" fmla="*/ 201751 w 702329"/>
              <a:gd name="connsiteY131" fmla="*/ 882013 h 1115210"/>
              <a:gd name="connsiteX132" fmla="*/ 228996 w 702329"/>
              <a:gd name="connsiteY132" fmla="*/ 863850 h 1115210"/>
              <a:gd name="connsiteX133" fmla="*/ 247159 w 702329"/>
              <a:gd name="connsiteY133" fmla="*/ 862520 h 1115210"/>
              <a:gd name="connsiteX134" fmla="*/ 247159 w 702329"/>
              <a:gd name="connsiteY134" fmla="*/ 846959 h 1115210"/>
              <a:gd name="connsiteX135" fmla="*/ 240680 w 702329"/>
              <a:gd name="connsiteY135" fmla="*/ 832672 h 1115210"/>
              <a:gd name="connsiteX136" fmla="*/ 258844 w 702329"/>
              <a:gd name="connsiteY136" fmla="*/ 797965 h 1115210"/>
              <a:gd name="connsiteX137" fmla="*/ 260116 w 702329"/>
              <a:gd name="connsiteY137" fmla="*/ 773266 h 1115210"/>
              <a:gd name="connsiteX138" fmla="*/ 280882 w 702329"/>
              <a:gd name="connsiteY138" fmla="*/ 768118 h 1115210"/>
              <a:gd name="connsiteX139" fmla="*/ 286088 w 702329"/>
              <a:gd name="connsiteY139" fmla="*/ 752557 h 1115210"/>
              <a:gd name="connsiteX140" fmla="*/ 300318 w 702329"/>
              <a:gd name="connsiteY140" fmla="*/ 731791 h 1115210"/>
              <a:gd name="connsiteX141" fmla="*/ 306854 w 702329"/>
              <a:gd name="connsiteY141" fmla="*/ 717504 h 1115210"/>
              <a:gd name="connsiteX142" fmla="*/ 314664 w 702329"/>
              <a:gd name="connsiteY142" fmla="*/ 698068 h 1115210"/>
              <a:gd name="connsiteX143" fmla="*/ 335372 w 702329"/>
              <a:gd name="connsiteY143" fmla="*/ 682450 h 1115210"/>
              <a:gd name="connsiteX144" fmla="*/ 356138 w 702329"/>
              <a:gd name="connsiteY144" fmla="*/ 674699 h 1115210"/>
              <a:gd name="connsiteX145" fmla="*/ 362616 w 702329"/>
              <a:gd name="connsiteY145" fmla="*/ 655206 h 1115210"/>
              <a:gd name="connsiteX146" fmla="*/ 391133 w 702329"/>
              <a:gd name="connsiteY146" fmla="*/ 660412 h 1115210"/>
              <a:gd name="connsiteX147" fmla="*/ 409355 w 702329"/>
              <a:gd name="connsiteY147" fmla="*/ 655206 h 1115210"/>
              <a:gd name="connsiteX148" fmla="*/ 424915 w 702329"/>
              <a:gd name="connsiteY148" fmla="*/ 634497 h 1115210"/>
              <a:gd name="connsiteX149" fmla="*/ 427575 w 702329"/>
              <a:gd name="connsiteY149" fmla="*/ 636117 h 1115210"/>
              <a:gd name="connsiteX150" fmla="*/ 445681 w 702329"/>
              <a:gd name="connsiteY150" fmla="*/ 622813 h 1115210"/>
              <a:gd name="connsiteX151" fmla="*/ 475528 w 702329"/>
              <a:gd name="connsiteY151" fmla="*/ 644851 h 1115210"/>
              <a:gd name="connsiteX152" fmla="*/ 505376 w 702329"/>
              <a:gd name="connsiteY152" fmla="*/ 646124 h 1115210"/>
              <a:gd name="connsiteX153" fmla="*/ 526142 w 702329"/>
              <a:gd name="connsiteY153" fmla="*/ 647455 h 1115210"/>
              <a:gd name="connsiteX154" fmla="*/ 541702 w 702329"/>
              <a:gd name="connsiteY154" fmla="*/ 651330 h 1115210"/>
              <a:gd name="connsiteX155" fmla="*/ 553271 w 702329"/>
              <a:gd name="connsiteY155" fmla="*/ 635770 h 1115210"/>
              <a:gd name="connsiteX156" fmla="*/ 558477 w 702329"/>
              <a:gd name="connsiteY156" fmla="*/ 612632 h 1115210"/>
              <a:gd name="connsiteX157" fmla="*/ 575310 w 702329"/>
              <a:gd name="connsiteY157" fmla="*/ 594469 h 1115210"/>
              <a:gd name="connsiteX158" fmla="*/ 602555 w 702329"/>
              <a:gd name="connsiteY158" fmla="*/ 587991 h 1115210"/>
              <a:gd name="connsiteX159" fmla="*/ 624651 w 702329"/>
              <a:gd name="connsiteY159" fmla="*/ 587991 h 1115210"/>
              <a:gd name="connsiteX160" fmla="*/ 653168 w 702329"/>
              <a:gd name="connsiteY160" fmla="*/ 607484 h 1115210"/>
              <a:gd name="connsiteX161" fmla="*/ 653168 w 702329"/>
              <a:gd name="connsiteY161" fmla="*/ 622639 h 1115210"/>
              <a:gd name="connsiteX162" fmla="*/ 665720 w 702329"/>
              <a:gd name="connsiteY162" fmla="*/ 616450 h 1115210"/>
              <a:gd name="connsiteX163" fmla="*/ 688337 w 702329"/>
              <a:gd name="connsiteY163" fmla="*/ 605980 h 1115210"/>
              <a:gd name="connsiteX164" fmla="*/ 702220 w 702329"/>
              <a:gd name="connsiteY164" fmla="*/ 596204 h 1115210"/>
              <a:gd name="connsiteX165" fmla="*/ 681049 w 702329"/>
              <a:gd name="connsiteY165" fmla="*/ 596320 h 1115210"/>
              <a:gd name="connsiteX166" fmla="*/ 192670 w 702329"/>
              <a:gd name="connsiteY166" fmla="*/ 78614 h 1115210"/>
              <a:gd name="connsiteX167" fmla="*/ 176878 w 702329"/>
              <a:gd name="connsiteY167" fmla="*/ 105280 h 1115210"/>
              <a:gd name="connsiteX168" fmla="*/ 204123 w 702329"/>
              <a:gd name="connsiteY168" fmla="*/ 135532 h 1115210"/>
              <a:gd name="connsiteX169" fmla="*/ 242879 w 702329"/>
              <a:gd name="connsiteY169" fmla="*/ 137962 h 1115210"/>
              <a:gd name="connsiteX170" fmla="*/ 258612 w 702329"/>
              <a:gd name="connsiteY170" fmla="*/ 116733 h 1115210"/>
              <a:gd name="connsiteX171" fmla="*/ 271974 w 702329"/>
              <a:gd name="connsiteY171" fmla="*/ 104644 h 1115210"/>
              <a:gd name="connsiteX172" fmla="*/ 274404 w 702329"/>
              <a:gd name="connsiteY172" fmla="*/ 120956 h 1115210"/>
              <a:gd name="connsiteX173" fmla="*/ 298004 w 702329"/>
              <a:gd name="connsiteY173" fmla="*/ 118526 h 1115210"/>
              <a:gd name="connsiteX174" fmla="*/ 308937 w 702329"/>
              <a:gd name="connsiteY174" fmla="*/ 127666 h 1115210"/>
              <a:gd name="connsiteX175" fmla="*/ 276197 w 702329"/>
              <a:gd name="connsiteY175" fmla="*/ 142821 h 1115210"/>
              <a:gd name="connsiteX176" fmla="*/ 233219 w 702329"/>
              <a:gd name="connsiteY176" fmla="*/ 157340 h 1115210"/>
              <a:gd name="connsiteX177" fmla="*/ 258034 w 702329"/>
              <a:gd name="connsiteY177" fmla="*/ 167000 h 1115210"/>
              <a:gd name="connsiteX178" fmla="*/ 312523 w 702329"/>
              <a:gd name="connsiteY178" fmla="*/ 164570 h 1115210"/>
              <a:gd name="connsiteX179" fmla="*/ 287708 w 702329"/>
              <a:gd name="connsiteY179" fmla="*/ 170702 h 1115210"/>
              <a:gd name="connsiteX180" fmla="*/ 264107 w 702329"/>
              <a:gd name="connsiteY180" fmla="*/ 180998 h 1115210"/>
              <a:gd name="connsiteX181" fmla="*/ 237441 w 702329"/>
              <a:gd name="connsiteY181" fmla="*/ 186378 h 1115210"/>
              <a:gd name="connsiteX182" fmla="*/ 264744 w 702329"/>
              <a:gd name="connsiteY182" fmla="*/ 208243 h 1115210"/>
              <a:gd name="connsiteX183" fmla="*/ 291352 w 702329"/>
              <a:gd name="connsiteY183" fmla="*/ 211251 h 1115210"/>
              <a:gd name="connsiteX184" fmla="*/ 278048 w 702329"/>
              <a:gd name="connsiteY184" fmla="*/ 221547 h 1115210"/>
              <a:gd name="connsiteX185" fmla="*/ 300434 w 702329"/>
              <a:gd name="connsiteY185" fmla="*/ 234909 h 1115210"/>
              <a:gd name="connsiteX186" fmla="*/ 318597 w 702329"/>
              <a:gd name="connsiteY186" fmla="*/ 229414 h 1115210"/>
              <a:gd name="connsiteX187" fmla="*/ 350064 w 702329"/>
              <a:gd name="connsiteY187" fmla="*/ 180362 h 1115210"/>
              <a:gd name="connsiteX188" fmla="*/ 360418 w 702329"/>
              <a:gd name="connsiteY188" fmla="*/ 157224 h 1115210"/>
              <a:gd name="connsiteX189" fmla="*/ 373144 w 702329"/>
              <a:gd name="connsiteY189" fmla="*/ 146928 h 1115210"/>
              <a:gd name="connsiteX190" fmla="*/ 382862 w 702329"/>
              <a:gd name="connsiteY190" fmla="*/ 123790 h 1115210"/>
              <a:gd name="connsiteX191" fmla="*/ 415544 w 702329"/>
              <a:gd name="connsiteY191" fmla="*/ 114072 h 1115210"/>
              <a:gd name="connsiteX192" fmla="*/ 420981 w 702329"/>
              <a:gd name="connsiteY192" fmla="*/ 120146 h 1115210"/>
              <a:gd name="connsiteX193" fmla="*/ 425262 w 702329"/>
              <a:gd name="connsiteY193" fmla="*/ 140738 h 1115210"/>
              <a:gd name="connsiteX194" fmla="*/ 434922 w 702329"/>
              <a:gd name="connsiteY194" fmla="*/ 150456 h 1115210"/>
              <a:gd name="connsiteX195" fmla="*/ 430063 w 702329"/>
              <a:gd name="connsiteY195" fmla="*/ 176486 h 1115210"/>
              <a:gd name="connsiteX196" fmla="*/ 456150 w 702329"/>
              <a:gd name="connsiteY196" fmla="*/ 181924 h 1115210"/>
              <a:gd name="connsiteX197" fmla="*/ 471248 w 702329"/>
              <a:gd name="connsiteY197" fmla="*/ 195864 h 1115210"/>
              <a:gd name="connsiteX198" fmla="*/ 505954 w 702329"/>
              <a:gd name="connsiteY198" fmla="*/ 179552 h 1115210"/>
              <a:gd name="connsiteX199" fmla="*/ 529613 w 702329"/>
              <a:gd name="connsiteY199" fmla="*/ 163760 h 1115210"/>
              <a:gd name="connsiteX200" fmla="*/ 510235 w 702329"/>
              <a:gd name="connsiteY200" fmla="*/ 158959 h 1115210"/>
              <a:gd name="connsiteX201" fmla="*/ 487791 w 702329"/>
              <a:gd name="connsiteY201" fmla="*/ 153464 h 1115210"/>
              <a:gd name="connsiteX202" fmla="*/ 482932 w 702329"/>
              <a:gd name="connsiteY202" fmla="*/ 142589 h 1115210"/>
              <a:gd name="connsiteX203" fmla="*/ 461761 w 702329"/>
              <a:gd name="connsiteY203" fmla="*/ 134665 h 1115210"/>
              <a:gd name="connsiteX204" fmla="*/ 446606 w 702329"/>
              <a:gd name="connsiteY204" fmla="*/ 119567 h 1115210"/>
              <a:gd name="connsiteX205" fmla="*/ 441169 w 702329"/>
              <a:gd name="connsiteY205" fmla="*/ 103776 h 1115210"/>
              <a:gd name="connsiteX206" fmla="*/ 421791 w 702329"/>
              <a:gd name="connsiteY206" fmla="*/ 91686 h 1115210"/>
              <a:gd name="connsiteX207" fmla="*/ 407851 w 702329"/>
              <a:gd name="connsiteY207" fmla="*/ 88621 h 1115210"/>
              <a:gd name="connsiteX208" fmla="*/ 400099 w 702329"/>
              <a:gd name="connsiteY208" fmla="*/ 91224 h 1115210"/>
              <a:gd name="connsiteX209" fmla="*/ 396976 w 702329"/>
              <a:gd name="connsiteY209" fmla="*/ 85034 h 1115210"/>
              <a:gd name="connsiteX210" fmla="*/ 371524 w 702329"/>
              <a:gd name="connsiteY210" fmla="*/ 80175 h 1115210"/>
              <a:gd name="connsiteX211" fmla="*/ 360592 w 702329"/>
              <a:gd name="connsiteY211" fmla="*/ 58947 h 1115210"/>
              <a:gd name="connsiteX212" fmla="*/ 338206 w 702329"/>
              <a:gd name="connsiteY212" fmla="*/ 68664 h 1115210"/>
              <a:gd name="connsiteX213" fmla="*/ 345436 w 702329"/>
              <a:gd name="connsiteY213" fmla="*/ 49287 h 1115210"/>
              <a:gd name="connsiteX214" fmla="*/ 316977 w 702329"/>
              <a:gd name="connsiteY214" fmla="*/ 39569 h 1115210"/>
              <a:gd name="connsiteX215" fmla="*/ 302458 w 702329"/>
              <a:gd name="connsiteY215" fmla="*/ 26843 h 1115210"/>
              <a:gd name="connsiteX216" fmla="*/ 295748 w 702329"/>
              <a:gd name="connsiteY216" fmla="*/ 40205 h 1115210"/>
              <a:gd name="connsiteX217" fmla="*/ 292162 w 702329"/>
              <a:gd name="connsiteY217" fmla="*/ 52931 h 1115210"/>
              <a:gd name="connsiteX218" fmla="*/ 309110 w 702329"/>
              <a:gd name="connsiteY218" fmla="*/ 94116 h 1115210"/>
              <a:gd name="connsiteX219" fmla="*/ 278800 w 702329"/>
              <a:gd name="connsiteY219" fmla="*/ 59409 h 1115210"/>
              <a:gd name="connsiteX220" fmla="*/ 260058 w 702329"/>
              <a:gd name="connsiteY220" fmla="*/ 45469 h 1115210"/>
              <a:gd name="connsiteX221" fmla="*/ 249126 w 702329"/>
              <a:gd name="connsiteY221" fmla="*/ 67276 h 1115210"/>
              <a:gd name="connsiteX222" fmla="*/ 241895 w 702329"/>
              <a:gd name="connsiteY222" fmla="*/ 72135 h 1115210"/>
              <a:gd name="connsiteX223" fmla="*/ 221245 w 702329"/>
              <a:gd name="connsiteY223" fmla="*/ 55765 h 1115210"/>
              <a:gd name="connsiteX224" fmla="*/ 244383 w 702329"/>
              <a:gd name="connsiteY224" fmla="*/ 47262 h 1115210"/>
              <a:gd name="connsiteX225" fmla="*/ 228591 w 702329"/>
              <a:gd name="connsiteY225" fmla="*/ 41825 h 1115210"/>
              <a:gd name="connsiteX226" fmla="*/ 205453 w 702329"/>
              <a:gd name="connsiteY226" fmla="*/ 45469 h 1115210"/>
              <a:gd name="connsiteX227" fmla="*/ 186018 w 702329"/>
              <a:gd name="connsiteY227" fmla="*/ 43618 h 1115210"/>
              <a:gd name="connsiteX228" fmla="*/ 164210 w 702329"/>
              <a:gd name="connsiteY228" fmla="*/ 53336 h 1115210"/>
              <a:gd name="connsiteX229" fmla="*/ 164210 w 702329"/>
              <a:gd name="connsiteY229" fmla="*/ 80580 h 1115210"/>
              <a:gd name="connsiteX230" fmla="*/ 192670 w 702329"/>
              <a:gd name="connsiteY230" fmla="*/ 78614 h 1115210"/>
              <a:gd name="connsiteX231" fmla="*/ 167797 w 702329"/>
              <a:gd name="connsiteY231" fmla="*/ 127666 h 1115210"/>
              <a:gd name="connsiteX232" fmla="*/ 187174 w 702329"/>
              <a:gd name="connsiteY232" fmla="*/ 140970 h 1115210"/>
              <a:gd name="connsiteX233" fmla="*/ 169011 w 702329"/>
              <a:gd name="connsiteY233" fmla="*/ 117369 h 1115210"/>
              <a:gd name="connsiteX234" fmla="*/ 150848 w 702329"/>
              <a:gd name="connsiteY234" fmla="*/ 103429 h 1115210"/>
              <a:gd name="connsiteX235" fmla="*/ 167797 w 702329"/>
              <a:gd name="connsiteY235" fmla="*/ 127666 h 1115210"/>
              <a:gd name="connsiteX236" fmla="*/ 360418 w 702329"/>
              <a:gd name="connsiteY236" fmla="*/ 29330 h 1115210"/>
              <a:gd name="connsiteX237" fmla="*/ 357410 w 702329"/>
              <a:gd name="connsiteY237" fmla="*/ 39627 h 1115210"/>
              <a:gd name="connsiteX238" fmla="*/ 456729 w 702329"/>
              <a:gd name="connsiteY238" fmla="*/ 42692 h 1115210"/>
              <a:gd name="connsiteX239" fmla="*/ 399810 w 702329"/>
              <a:gd name="connsiteY239" fmla="*/ 62070 h 1115210"/>
              <a:gd name="connsiteX240" fmla="*/ 464017 w 702329"/>
              <a:gd name="connsiteY240" fmla="*/ 70515 h 1115210"/>
              <a:gd name="connsiteX241" fmla="*/ 496699 w 702329"/>
              <a:gd name="connsiteY241" fmla="*/ 81448 h 1115210"/>
              <a:gd name="connsiteX242" fmla="*/ 527588 w 702329"/>
              <a:gd name="connsiteY242" fmla="*/ 73581 h 1115210"/>
              <a:gd name="connsiteX243" fmla="*/ 562758 w 702329"/>
              <a:gd name="connsiteY243" fmla="*/ 58426 h 1115210"/>
              <a:gd name="connsiteX244" fmla="*/ 600299 w 702329"/>
              <a:gd name="connsiteY244" fmla="*/ 27537 h 1115210"/>
              <a:gd name="connsiteX245" fmla="*/ 546387 w 702329"/>
              <a:gd name="connsiteY245" fmla="*/ 17819 h 1115210"/>
              <a:gd name="connsiteX246" fmla="*/ 505897 w 702329"/>
              <a:gd name="connsiteY246" fmla="*/ 13597 h 1115210"/>
              <a:gd name="connsiteX247" fmla="*/ 490741 w 702329"/>
              <a:gd name="connsiteY247" fmla="*/ 20885 h 1115210"/>
              <a:gd name="connsiteX248" fmla="*/ 475008 w 702329"/>
              <a:gd name="connsiteY248" fmla="*/ 3532 h 1115210"/>
              <a:gd name="connsiteX249" fmla="*/ 470149 w 702329"/>
              <a:gd name="connsiteY249" fmla="*/ 30198 h 1115210"/>
              <a:gd name="connsiteX250" fmla="*/ 448342 w 702329"/>
              <a:gd name="connsiteY250" fmla="*/ 18051 h 1115210"/>
              <a:gd name="connsiteX251" fmla="*/ 425956 w 702329"/>
              <a:gd name="connsiteY251" fmla="*/ 16836 h 1115210"/>
              <a:gd name="connsiteX252" fmla="*/ 396282 w 702329"/>
              <a:gd name="connsiteY252" fmla="*/ -112 h 1115210"/>
              <a:gd name="connsiteX253" fmla="*/ 398075 w 702329"/>
              <a:gd name="connsiteY253" fmla="*/ 11977 h 1115210"/>
              <a:gd name="connsiteX254" fmla="*/ 378119 w 702329"/>
              <a:gd name="connsiteY254" fmla="*/ 6540 h 1115210"/>
              <a:gd name="connsiteX255" fmla="*/ 378697 w 702329"/>
              <a:gd name="connsiteY255" fmla="*/ 21695 h 1115210"/>
              <a:gd name="connsiteX256" fmla="*/ 358104 w 702329"/>
              <a:gd name="connsiteY256" fmla="*/ 7176 h 1115210"/>
              <a:gd name="connsiteX257" fmla="*/ 346535 w 702329"/>
              <a:gd name="connsiteY257" fmla="*/ 17472 h 1115210"/>
              <a:gd name="connsiteX258" fmla="*/ 360418 w 702329"/>
              <a:gd name="connsiteY258" fmla="*/ 29504 h 1115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Lst>
            <a:rect l="l" t="t" r="r" b="b"/>
            <a:pathLst>
              <a:path w="702329" h="1115210">
                <a:moveTo>
                  <a:pt x="681049" y="596320"/>
                </a:moveTo>
                <a:cubicBezTo>
                  <a:pt x="679429" y="602394"/>
                  <a:pt x="668554" y="601179"/>
                  <a:pt x="668960" y="595105"/>
                </a:cubicBezTo>
                <a:cubicBezTo>
                  <a:pt x="669364" y="589032"/>
                  <a:pt x="652011" y="584231"/>
                  <a:pt x="651143" y="581396"/>
                </a:cubicBezTo>
                <a:cubicBezTo>
                  <a:pt x="650276" y="578562"/>
                  <a:pt x="658432" y="578967"/>
                  <a:pt x="664910" y="582553"/>
                </a:cubicBezTo>
                <a:cubicBezTo>
                  <a:pt x="671389" y="586140"/>
                  <a:pt x="675843" y="583768"/>
                  <a:pt x="683073" y="576769"/>
                </a:cubicBezTo>
                <a:cubicBezTo>
                  <a:pt x="690304" y="569769"/>
                  <a:pt x="700427" y="575554"/>
                  <a:pt x="701642" y="569480"/>
                </a:cubicBezTo>
                <a:cubicBezTo>
                  <a:pt x="702856" y="563407"/>
                  <a:pt x="690073" y="559358"/>
                  <a:pt x="687528" y="555771"/>
                </a:cubicBezTo>
                <a:cubicBezTo>
                  <a:pt x="682206" y="550201"/>
                  <a:pt x="674513" y="547621"/>
                  <a:pt x="666935" y="548888"/>
                </a:cubicBezTo>
                <a:cubicBezTo>
                  <a:pt x="658027" y="550507"/>
                  <a:pt x="657622" y="546863"/>
                  <a:pt x="652358" y="542062"/>
                </a:cubicBezTo>
                <a:cubicBezTo>
                  <a:pt x="647094" y="537261"/>
                  <a:pt x="631014" y="545244"/>
                  <a:pt x="631014" y="556581"/>
                </a:cubicBezTo>
                <a:cubicBezTo>
                  <a:pt x="631014" y="567919"/>
                  <a:pt x="620891" y="565026"/>
                  <a:pt x="624535" y="559011"/>
                </a:cubicBezTo>
                <a:cubicBezTo>
                  <a:pt x="628179" y="552995"/>
                  <a:pt x="619676" y="545649"/>
                  <a:pt x="627775" y="543624"/>
                </a:cubicBezTo>
                <a:cubicBezTo>
                  <a:pt x="635873" y="541599"/>
                  <a:pt x="631419" y="529510"/>
                  <a:pt x="616206" y="528295"/>
                </a:cubicBezTo>
                <a:cubicBezTo>
                  <a:pt x="600993" y="527080"/>
                  <a:pt x="595613" y="539864"/>
                  <a:pt x="599257" y="543624"/>
                </a:cubicBezTo>
                <a:cubicBezTo>
                  <a:pt x="602901" y="547384"/>
                  <a:pt x="589134" y="565026"/>
                  <a:pt x="583061" y="565026"/>
                </a:cubicBezTo>
                <a:cubicBezTo>
                  <a:pt x="576987" y="565026"/>
                  <a:pt x="583928" y="550102"/>
                  <a:pt x="583524" y="541889"/>
                </a:cubicBezTo>
                <a:cubicBezTo>
                  <a:pt x="583118" y="533675"/>
                  <a:pt x="577739" y="538244"/>
                  <a:pt x="566170" y="551144"/>
                </a:cubicBezTo>
                <a:cubicBezTo>
                  <a:pt x="554602" y="564043"/>
                  <a:pt x="546445" y="575785"/>
                  <a:pt x="539967" y="577000"/>
                </a:cubicBezTo>
                <a:cubicBezTo>
                  <a:pt x="533488" y="578215"/>
                  <a:pt x="534182" y="565431"/>
                  <a:pt x="544825" y="559647"/>
                </a:cubicBezTo>
                <a:cubicBezTo>
                  <a:pt x="555469" y="553862"/>
                  <a:pt x="555700" y="538649"/>
                  <a:pt x="562584" y="538649"/>
                </a:cubicBezTo>
                <a:cubicBezTo>
                  <a:pt x="569467" y="538649"/>
                  <a:pt x="569409" y="530551"/>
                  <a:pt x="559344" y="528122"/>
                </a:cubicBezTo>
                <a:cubicBezTo>
                  <a:pt x="549280" y="525692"/>
                  <a:pt x="547776" y="537030"/>
                  <a:pt x="544363" y="540269"/>
                </a:cubicBezTo>
                <a:cubicBezTo>
                  <a:pt x="540950" y="543508"/>
                  <a:pt x="524638" y="534485"/>
                  <a:pt x="524985" y="537840"/>
                </a:cubicBezTo>
                <a:cubicBezTo>
                  <a:pt x="525332" y="541194"/>
                  <a:pt x="516135" y="542236"/>
                  <a:pt x="520126" y="548309"/>
                </a:cubicBezTo>
                <a:cubicBezTo>
                  <a:pt x="524117" y="554383"/>
                  <a:pt x="518160" y="559878"/>
                  <a:pt x="514342" y="552358"/>
                </a:cubicBezTo>
                <a:cubicBezTo>
                  <a:pt x="510524" y="544839"/>
                  <a:pt x="500228" y="550739"/>
                  <a:pt x="495369" y="558837"/>
                </a:cubicBezTo>
                <a:cubicBezTo>
                  <a:pt x="490510" y="566935"/>
                  <a:pt x="483800" y="566472"/>
                  <a:pt x="488890" y="569307"/>
                </a:cubicBezTo>
                <a:cubicBezTo>
                  <a:pt x="492766" y="572720"/>
                  <a:pt x="493171" y="578643"/>
                  <a:pt x="489758" y="582530"/>
                </a:cubicBezTo>
                <a:cubicBezTo>
                  <a:pt x="488717" y="583675"/>
                  <a:pt x="487502" y="584554"/>
                  <a:pt x="486056" y="585098"/>
                </a:cubicBezTo>
                <a:cubicBezTo>
                  <a:pt x="478825" y="587123"/>
                  <a:pt x="481602" y="565258"/>
                  <a:pt x="475991" y="567282"/>
                </a:cubicBezTo>
                <a:cubicBezTo>
                  <a:pt x="470380" y="569307"/>
                  <a:pt x="473967" y="556812"/>
                  <a:pt x="481775" y="556812"/>
                </a:cubicBezTo>
                <a:cubicBezTo>
                  <a:pt x="489006" y="555424"/>
                  <a:pt x="494732" y="549883"/>
                  <a:pt x="496352" y="542698"/>
                </a:cubicBezTo>
                <a:cubicBezTo>
                  <a:pt x="494964" y="537955"/>
                  <a:pt x="486634" y="539054"/>
                  <a:pt x="486634" y="545070"/>
                </a:cubicBezTo>
                <a:cubicBezTo>
                  <a:pt x="486634" y="551086"/>
                  <a:pt x="474545" y="549929"/>
                  <a:pt x="464422" y="549524"/>
                </a:cubicBezTo>
                <a:cubicBezTo>
                  <a:pt x="454299" y="549119"/>
                  <a:pt x="454762" y="561093"/>
                  <a:pt x="466042" y="567687"/>
                </a:cubicBezTo>
                <a:cubicBezTo>
                  <a:pt x="477322" y="574281"/>
                  <a:pt x="464017" y="578215"/>
                  <a:pt x="458406" y="573472"/>
                </a:cubicBezTo>
                <a:cubicBezTo>
                  <a:pt x="452795" y="568728"/>
                  <a:pt x="443830" y="571042"/>
                  <a:pt x="437756" y="573877"/>
                </a:cubicBezTo>
                <a:cubicBezTo>
                  <a:pt x="431682" y="576711"/>
                  <a:pt x="452333" y="583999"/>
                  <a:pt x="453142" y="587586"/>
                </a:cubicBezTo>
                <a:cubicBezTo>
                  <a:pt x="453952" y="591172"/>
                  <a:pt x="442615" y="583189"/>
                  <a:pt x="440185" y="585966"/>
                </a:cubicBezTo>
                <a:cubicBezTo>
                  <a:pt x="437756" y="588742"/>
                  <a:pt x="426476" y="583999"/>
                  <a:pt x="425666" y="577116"/>
                </a:cubicBezTo>
                <a:cubicBezTo>
                  <a:pt x="424857" y="570232"/>
                  <a:pt x="406694" y="579950"/>
                  <a:pt x="416816" y="582322"/>
                </a:cubicBezTo>
                <a:cubicBezTo>
                  <a:pt x="426939" y="584693"/>
                  <a:pt x="423237" y="591230"/>
                  <a:pt x="423237" y="600138"/>
                </a:cubicBezTo>
                <a:cubicBezTo>
                  <a:pt x="423237" y="609046"/>
                  <a:pt x="411668" y="602162"/>
                  <a:pt x="413982" y="594353"/>
                </a:cubicBezTo>
                <a:cubicBezTo>
                  <a:pt x="416296" y="586544"/>
                  <a:pt x="406694" y="588280"/>
                  <a:pt x="398595" y="593139"/>
                </a:cubicBezTo>
                <a:cubicBezTo>
                  <a:pt x="390497" y="597998"/>
                  <a:pt x="399868" y="584231"/>
                  <a:pt x="396629" y="577405"/>
                </a:cubicBezTo>
                <a:cubicBezTo>
                  <a:pt x="393389" y="570579"/>
                  <a:pt x="386101" y="577405"/>
                  <a:pt x="377598" y="579025"/>
                </a:cubicBezTo>
                <a:cubicBezTo>
                  <a:pt x="369095" y="580644"/>
                  <a:pt x="364699" y="581049"/>
                  <a:pt x="369963" y="586660"/>
                </a:cubicBezTo>
                <a:cubicBezTo>
                  <a:pt x="375226" y="592271"/>
                  <a:pt x="374416" y="600427"/>
                  <a:pt x="367533" y="599212"/>
                </a:cubicBezTo>
                <a:cubicBezTo>
                  <a:pt x="360649" y="597998"/>
                  <a:pt x="357815" y="599212"/>
                  <a:pt x="358625" y="605691"/>
                </a:cubicBezTo>
                <a:cubicBezTo>
                  <a:pt x="359435" y="612169"/>
                  <a:pt x="349775" y="612517"/>
                  <a:pt x="348907" y="606906"/>
                </a:cubicBezTo>
                <a:cubicBezTo>
                  <a:pt x="348039" y="601295"/>
                  <a:pt x="334388" y="602856"/>
                  <a:pt x="330339" y="609335"/>
                </a:cubicBezTo>
                <a:cubicBezTo>
                  <a:pt x="326290" y="615814"/>
                  <a:pt x="315011" y="620615"/>
                  <a:pt x="316225" y="627903"/>
                </a:cubicBezTo>
                <a:cubicBezTo>
                  <a:pt x="317440" y="635191"/>
                  <a:pt x="326348" y="624259"/>
                  <a:pt x="333578" y="626631"/>
                </a:cubicBezTo>
                <a:cubicBezTo>
                  <a:pt x="340809" y="629002"/>
                  <a:pt x="333173" y="632704"/>
                  <a:pt x="337223" y="636348"/>
                </a:cubicBezTo>
                <a:cubicBezTo>
                  <a:pt x="341272" y="639993"/>
                  <a:pt x="340462" y="648901"/>
                  <a:pt x="334793" y="643637"/>
                </a:cubicBezTo>
                <a:cubicBezTo>
                  <a:pt x="329125" y="638373"/>
                  <a:pt x="321894" y="636753"/>
                  <a:pt x="320679" y="645256"/>
                </a:cubicBezTo>
                <a:cubicBezTo>
                  <a:pt x="319464" y="653760"/>
                  <a:pt x="313391" y="644042"/>
                  <a:pt x="308532" y="637968"/>
                </a:cubicBezTo>
                <a:cubicBezTo>
                  <a:pt x="303673" y="631894"/>
                  <a:pt x="298872" y="649537"/>
                  <a:pt x="293608" y="645256"/>
                </a:cubicBezTo>
                <a:cubicBezTo>
                  <a:pt x="288344" y="640976"/>
                  <a:pt x="304136" y="628713"/>
                  <a:pt x="300087" y="622639"/>
                </a:cubicBezTo>
                <a:cubicBezTo>
                  <a:pt x="296037" y="616565"/>
                  <a:pt x="293203" y="626283"/>
                  <a:pt x="283948" y="635596"/>
                </a:cubicBezTo>
                <a:cubicBezTo>
                  <a:pt x="274693" y="644909"/>
                  <a:pt x="262141" y="644446"/>
                  <a:pt x="266595" y="648901"/>
                </a:cubicBezTo>
                <a:cubicBezTo>
                  <a:pt x="271049" y="653355"/>
                  <a:pt x="257224" y="655726"/>
                  <a:pt x="255026" y="663419"/>
                </a:cubicBezTo>
                <a:cubicBezTo>
                  <a:pt x="252828" y="671113"/>
                  <a:pt x="233624" y="673947"/>
                  <a:pt x="221476" y="682045"/>
                </a:cubicBezTo>
                <a:cubicBezTo>
                  <a:pt x="209329" y="690143"/>
                  <a:pt x="223963" y="690490"/>
                  <a:pt x="230789" y="682797"/>
                </a:cubicBezTo>
                <a:cubicBezTo>
                  <a:pt x="237615" y="675104"/>
                  <a:pt x="240044" y="679558"/>
                  <a:pt x="250977" y="672675"/>
                </a:cubicBezTo>
                <a:cubicBezTo>
                  <a:pt x="261909" y="665791"/>
                  <a:pt x="273594" y="660238"/>
                  <a:pt x="277643" y="663014"/>
                </a:cubicBezTo>
                <a:cubicBezTo>
                  <a:pt x="282178" y="666902"/>
                  <a:pt x="289009" y="666370"/>
                  <a:pt x="292897" y="661835"/>
                </a:cubicBezTo>
                <a:cubicBezTo>
                  <a:pt x="293220" y="661459"/>
                  <a:pt x="293516" y="661059"/>
                  <a:pt x="293781" y="660643"/>
                </a:cubicBezTo>
                <a:cubicBezTo>
                  <a:pt x="299045" y="653297"/>
                  <a:pt x="305350" y="654859"/>
                  <a:pt x="310730" y="659370"/>
                </a:cubicBezTo>
                <a:cubicBezTo>
                  <a:pt x="316110" y="663882"/>
                  <a:pt x="301880" y="667469"/>
                  <a:pt x="308300" y="673947"/>
                </a:cubicBezTo>
                <a:cubicBezTo>
                  <a:pt x="314721" y="680426"/>
                  <a:pt x="300665" y="683954"/>
                  <a:pt x="300665" y="678343"/>
                </a:cubicBezTo>
                <a:cubicBezTo>
                  <a:pt x="300665" y="672732"/>
                  <a:pt x="292567" y="667874"/>
                  <a:pt x="289732" y="673079"/>
                </a:cubicBezTo>
                <a:cubicBezTo>
                  <a:pt x="286898" y="678285"/>
                  <a:pt x="282097" y="683954"/>
                  <a:pt x="276833" y="684648"/>
                </a:cubicBezTo>
                <a:cubicBezTo>
                  <a:pt x="271569" y="685342"/>
                  <a:pt x="265958" y="694713"/>
                  <a:pt x="265958" y="704489"/>
                </a:cubicBezTo>
                <a:cubicBezTo>
                  <a:pt x="265958" y="714265"/>
                  <a:pt x="256646" y="704489"/>
                  <a:pt x="255836" y="712934"/>
                </a:cubicBezTo>
                <a:cubicBezTo>
                  <a:pt x="255026" y="721380"/>
                  <a:pt x="242127" y="736072"/>
                  <a:pt x="230789" y="747236"/>
                </a:cubicBezTo>
                <a:cubicBezTo>
                  <a:pt x="219452" y="758400"/>
                  <a:pt x="229979" y="760598"/>
                  <a:pt x="226335" y="767481"/>
                </a:cubicBezTo>
                <a:cubicBezTo>
                  <a:pt x="222691" y="774365"/>
                  <a:pt x="209329" y="768291"/>
                  <a:pt x="204991" y="771068"/>
                </a:cubicBezTo>
                <a:cubicBezTo>
                  <a:pt x="200652" y="773844"/>
                  <a:pt x="207362" y="790850"/>
                  <a:pt x="201346" y="796114"/>
                </a:cubicBezTo>
                <a:cubicBezTo>
                  <a:pt x="195331" y="801378"/>
                  <a:pt x="201346" y="808609"/>
                  <a:pt x="201346" y="814682"/>
                </a:cubicBezTo>
                <a:cubicBezTo>
                  <a:pt x="201346" y="820756"/>
                  <a:pt x="185613" y="811096"/>
                  <a:pt x="184398" y="817112"/>
                </a:cubicBezTo>
                <a:cubicBezTo>
                  <a:pt x="183183" y="823128"/>
                  <a:pt x="169416" y="821566"/>
                  <a:pt x="165367" y="823185"/>
                </a:cubicBezTo>
                <a:cubicBezTo>
                  <a:pt x="161318" y="824805"/>
                  <a:pt x="173465" y="834465"/>
                  <a:pt x="180754" y="840134"/>
                </a:cubicBezTo>
                <a:cubicBezTo>
                  <a:pt x="188042" y="845802"/>
                  <a:pt x="173870" y="850257"/>
                  <a:pt x="172251" y="843778"/>
                </a:cubicBezTo>
                <a:cubicBezTo>
                  <a:pt x="170631" y="837299"/>
                  <a:pt x="160682" y="847827"/>
                  <a:pt x="148014" y="853496"/>
                </a:cubicBezTo>
                <a:cubicBezTo>
                  <a:pt x="135346" y="859164"/>
                  <a:pt x="140783" y="870444"/>
                  <a:pt x="131065" y="870849"/>
                </a:cubicBezTo>
                <a:cubicBezTo>
                  <a:pt x="121348" y="871254"/>
                  <a:pt x="124182" y="886583"/>
                  <a:pt x="117703" y="891384"/>
                </a:cubicBezTo>
                <a:cubicBezTo>
                  <a:pt x="111225" y="896185"/>
                  <a:pt x="112903" y="880104"/>
                  <a:pt x="102780" y="879815"/>
                </a:cubicBezTo>
                <a:cubicBezTo>
                  <a:pt x="92657" y="879526"/>
                  <a:pt x="93525" y="886698"/>
                  <a:pt x="99541" y="895202"/>
                </a:cubicBezTo>
                <a:cubicBezTo>
                  <a:pt x="105556" y="903705"/>
                  <a:pt x="90285" y="897226"/>
                  <a:pt x="84617" y="904457"/>
                </a:cubicBezTo>
                <a:cubicBezTo>
                  <a:pt x="78948" y="911687"/>
                  <a:pt x="62809" y="908101"/>
                  <a:pt x="58355" y="914174"/>
                </a:cubicBezTo>
                <a:cubicBezTo>
                  <a:pt x="53901" y="920248"/>
                  <a:pt x="70445" y="919959"/>
                  <a:pt x="72874" y="925049"/>
                </a:cubicBezTo>
                <a:cubicBezTo>
                  <a:pt x="75304" y="930140"/>
                  <a:pt x="58355" y="927479"/>
                  <a:pt x="49736" y="925454"/>
                </a:cubicBezTo>
                <a:cubicBezTo>
                  <a:pt x="41118" y="923430"/>
                  <a:pt x="43316" y="937023"/>
                  <a:pt x="35217" y="935172"/>
                </a:cubicBezTo>
                <a:cubicBezTo>
                  <a:pt x="27119" y="933321"/>
                  <a:pt x="17055" y="941998"/>
                  <a:pt x="22723" y="947666"/>
                </a:cubicBezTo>
                <a:cubicBezTo>
                  <a:pt x="28392" y="953335"/>
                  <a:pt x="18269" y="954145"/>
                  <a:pt x="12600" y="950501"/>
                </a:cubicBezTo>
                <a:cubicBezTo>
                  <a:pt x="6932" y="946856"/>
                  <a:pt x="2131" y="955765"/>
                  <a:pt x="106" y="962590"/>
                </a:cubicBezTo>
                <a:cubicBezTo>
                  <a:pt x="-1919" y="969416"/>
                  <a:pt x="10981" y="973118"/>
                  <a:pt x="10634" y="976357"/>
                </a:cubicBezTo>
                <a:cubicBezTo>
                  <a:pt x="10287" y="979596"/>
                  <a:pt x="106" y="984802"/>
                  <a:pt x="7337" y="986480"/>
                </a:cubicBezTo>
                <a:cubicBezTo>
                  <a:pt x="14567" y="988157"/>
                  <a:pt x="9361" y="994520"/>
                  <a:pt x="4560" y="996545"/>
                </a:cubicBezTo>
                <a:cubicBezTo>
                  <a:pt x="-241" y="998569"/>
                  <a:pt x="-299" y="1003428"/>
                  <a:pt x="4560" y="1009444"/>
                </a:cubicBezTo>
                <a:cubicBezTo>
                  <a:pt x="9419" y="1015460"/>
                  <a:pt x="-3943" y="1016732"/>
                  <a:pt x="2536" y="1026045"/>
                </a:cubicBezTo>
                <a:cubicBezTo>
                  <a:pt x="9014" y="1035358"/>
                  <a:pt x="13815" y="1023558"/>
                  <a:pt x="16650" y="1030442"/>
                </a:cubicBezTo>
                <a:cubicBezTo>
                  <a:pt x="19484" y="1037325"/>
                  <a:pt x="27119" y="1031251"/>
                  <a:pt x="36085" y="1023211"/>
                </a:cubicBezTo>
                <a:cubicBezTo>
                  <a:pt x="45051" y="1015171"/>
                  <a:pt x="48175" y="1032061"/>
                  <a:pt x="40886" y="1031656"/>
                </a:cubicBezTo>
                <a:cubicBezTo>
                  <a:pt x="33598" y="1031251"/>
                  <a:pt x="25153" y="1035705"/>
                  <a:pt x="26714" y="1043225"/>
                </a:cubicBezTo>
                <a:cubicBezTo>
                  <a:pt x="28276" y="1050745"/>
                  <a:pt x="15146" y="1049010"/>
                  <a:pt x="15840" y="1040391"/>
                </a:cubicBezTo>
                <a:cubicBezTo>
                  <a:pt x="16534" y="1031772"/>
                  <a:pt x="916" y="1042010"/>
                  <a:pt x="6527" y="1048489"/>
                </a:cubicBezTo>
                <a:cubicBezTo>
                  <a:pt x="12138" y="1054967"/>
                  <a:pt x="4560" y="1058554"/>
                  <a:pt x="4560" y="1064628"/>
                </a:cubicBezTo>
                <a:cubicBezTo>
                  <a:pt x="4560" y="1070701"/>
                  <a:pt x="15435" y="1069429"/>
                  <a:pt x="19889" y="1062603"/>
                </a:cubicBezTo>
                <a:cubicBezTo>
                  <a:pt x="21757" y="1058750"/>
                  <a:pt x="26396" y="1057148"/>
                  <a:pt x="30249" y="1059017"/>
                </a:cubicBezTo>
                <a:cubicBezTo>
                  <a:pt x="32349" y="1060040"/>
                  <a:pt x="33875" y="1061949"/>
                  <a:pt x="34408" y="1064223"/>
                </a:cubicBezTo>
                <a:cubicBezTo>
                  <a:pt x="37242" y="1071048"/>
                  <a:pt x="27524" y="1065842"/>
                  <a:pt x="27524" y="1075097"/>
                </a:cubicBezTo>
                <a:cubicBezTo>
                  <a:pt x="27524" y="1084352"/>
                  <a:pt x="21740" y="1076312"/>
                  <a:pt x="16245" y="1083600"/>
                </a:cubicBezTo>
                <a:cubicBezTo>
                  <a:pt x="10749" y="1090889"/>
                  <a:pt x="36837" y="1104193"/>
                  <a:pt x="45167" y="1106218"/>
                </a:cubicBezTo>
                <a:cubicBezTo>
                  <a:pt x="53496" y="1108242"/>
                  <a:pt x="60900" y="1117092"/>
                  <a:pt x="77097" y="1114663"/>
                </a:cubicBezTo>
                <a:cubicBezTo>
                  <a:pt x="93293" y="1112233"/>
                  <a:pt x="123893" y="1082386"/>
                  <a:pt x="127942" y="1077122"/>
                </a:cubicBezTo>
                <a:cubicBezTo>
                  <a:pt x="131991" y="1071858"/>
                  <a:pt x="140841" y="1077932"/>
                  <a:pt x="146915" y="1073073"/>
                </a:cubicBezTo>
                <a:cubicBezTo>
                  <a:pt x="152989" y="1068214"/>
                  <a:pt x="149344" y="1055719"/>
                  <a:pt x="153798" y="1053348"/>
                </a:cubicBezTo>
                <a:cubicBezTo>
                  <a:pt x="158252" y="1050976"/>
                  <a:pt x="160682" y="1066652"/>
                  <a:pt x="164731" y="1068272"/>
                </a:cubicBezTo>
                <a:cubicBezTo>
                  <a:pt x="168780" y="1069891"/>
                  <a:pt x="170978" y="1072610"/>
                  <a:pt x="171152" y="1080592"/>
                </a:cubicBezTo>
                <a:cubicBezTo>
                  <a:pt x="174038" y="1079956"/>
                  <a:pt x="177058" y="1080390"/>
                  <a:pt x="179655" y="1081807"/>
                </a:cubicBezTo>
                <a:cubicBezTo>
                  <a:pt x="184861" y="1085741"/>
                  <a:pt x="186191" y="1068850"/>
                  <a:pt x="186191" y="1063644"/>
                </a:cubicBezTo>
                <a:cubicBezTo>
                  <a:pt x="186191" y="1058438"/>
                  <a:pt x="191397" y="1048084"/>
                  <a:pt x="190067" y="1041605"/>
                </a:cubicBezTo>
                <a:cubicBezTo>
                  <a:pt x="188736" y="1035127"/>
                  <a:pt x="205627" y="1040333"/>
                  <a:pt x="208230" y="1035127"/>
                </a:cubicBezTo>
                <a:cubicBezTo>
                  <a:pt x="210833" y="1029921"/>
                  <a:pt x="212105" y="1011989"/>
                  <a:pt x="206957" y="1009213"/>
                </a:cubicBezTo>
                <a:cubicBezTo>
                  <a:pt x="201809" y="1006436"/>
                  <a:pt x="200479" y="996198"/>
                  <a:pt x="205627" y="996198"/>
                </a:cubicBezTo>
                <a:cubicBezTo>
                  <a:pt x="210775" y="996198"/>
                  <a:pt x="217196" y="992322"/>
                  <a:pt x="216039" y="981910"/>
                </a:cubicBezTo>
                <a:cubicBezTo>
                  <a:pt x="214882" y="971498"/>
                  <a:pt x="199148" y="972886"/>
                  <a:pt x="197876" y="962474"/>
                </a:cubicBezTo>
                <a:cubicBezTo>
                  <a:pt x="196603" y="952062"/>
                  <a:pt x="205627" y="949517"/>
                  <a:pt x="199148" y="936560"/>
                </a:cubicBezTo>
                <a:cubicBezTo>
                  <a:pt x="192670" y="923603"/>
                  <a:pt x="201751" y="915736"/>
                  <a:pt x="199148" y="909258"/>
                </a:cubicBezTo>
                <a:cubicBezTo>
                  <a:pt x="194897" y="900396"/>
                  <a:pt x="195897" y="889909"/>
                  <a:pt x="201751" y="882013"/>
                </a:cubicBezTo>
                <a:cubicBezTo>
                  <a:pt x="209560" y="869056"/>
                  <a:pt x="223848" y="862520"/>
                  <a:pt x="228996" y="863850"/>
                </a:cubicBezTo>
                <a:cubicBezTo>
                  <a:pt x="234144" y="865180"/>
                  <a:pt x="243284" y="870386"/>
                  <a:pt x="247159" y="862520"/>
                </a:cubicBezTo>
                <a:cubicBezTo>
                  <a:pt x="251035" y="854653"/>
                  <a:pt x="251035" y="848290"/>
                  <a:pt x="247159" y="846959"/>
                </a:cubicBezTo>
                <a:cubicBezTo>
                  <a:pt x="243284" y="845629"/>
                  <a:pt x="232872" y="843084"/>
                  <a:pt x="240680" y="832672"/>
                </a:cubicBezTo>
                <a:cubicBezTo>
                  <a:pt x="248490" y="822260"/>
                  <a:pt x="257513" y="809534"/>
                  <a:pt x="258844" y="797965"/>
                </a:cubicBezTo>
                <a:cubicBezTo>
                  <a:pt x="260174" y="786396"/>
                  <a:pt x="256241" y="777199"/>
                  <a:pt x="260116" y="773266"/>
                </a:cubicBezTo>
                <a:cubicBezTo>
                  <a:pt x="263992" y="769332"/>
                  <a:pt x="273131" y="773266"/>
                  <a:pt x="280882" y="768118"/>
                </a:cubicBezTo>
                <a:cubicBezTo>
                  <a:pt x="288634" y="762970"/>
                  <a:pt x="282213" y="756549"/>
                  <a:pt x="286088" y="752557"/>
                </a:cubicBezTo>
                <a:cubicBezTo>
                  <a:pt x="289964" y="748566"/>
                  <a:pt x="295170" y="735667"/>
                  <a:pt x="300318" y="731791"/>
                </a:cubicBezTo>
                <a:cubicBezTo>
                  <a:pt x="305466" y="727916"/>
                  <a:pt x="310730" y="722710"/>
                  <a:pt x="306854" y="717504"/>
                </a:cubicBezTo>
                <a:cubicBezTo>
                  <a:pt x="302979" y="712298"/>
                  <a:pt x="314664" y="707150"/>
                  <a:pt x="314664" y="698068"/>
                </a:cubicBezTo>
                <a:cubicBezTo>
                  <a:pt x="314664" y="688987"/>
                  <a:pt x="327563" y="682450"/>
                  <a:pt x="335372" y="682450"/>
                </a:cubicBezTo>
                <a:cubicBezTo>
                  <a:pt x="343181" y="682450"/>
                  <a:pt x="356138" y="682450"/>
                  <a:pt x="356138" y="674699"/>
                </a:cubicBezTo>
                <a:cubicBezTo>
                  <a:pt x="356138" y="666948"/>
                  <a:pt x="350932" y="650057"/>
                  <a:pt x="362616" y="655206"/>
                </a:cubicBezTo>
                <a:cubicBezTo>
                  <a:pt x="374301" y="660354"/>
                  <a:pt x="383382" y="653933"/>
                  <a:pt x="391133" y="660412"/>
                </a:cubicBezTo>
                <a:cubicBezTo>
                  <a:pt x="398885" y="666890"/>
                  <a:pt x="409355" y="665618"/>
                  <a:pt x="409355" y="655206"/>
                </a:cubicBezTo>
                <a:cubicBezTo>
                  <a:pt x="409355" y="644794"/>
                  <a:pt x="413230" y="628019"/>
                  <a:pt x="424915" y="634497"/>
                </a:cubicBezTo>
                <a:cubicBezTo>
                  <a:pt x="425840" y="634983"/>
                  <a:pt x="426708" y="635521"/>
                  <a:pt x="427575" y="636117"/>
                </a:cubicBezTo>
                <a:cubicBezTo>
                  <a:pt x="430120" y="628256"/>
                  <a:pt x="437409" y="622905"/>
                  <a:pt x="445681" y="622813"/>
                </a:cubicBezTo>
                <a:cubicBezTo>
                  <a:pt x="456093" y="624085"/>
                  <a:pt x="462513" y="642248"/>
                  <a:pt x="475528" y="644851"/>
                </a:cubicBezTo>
                <a:cubicBezTo>
                  <a:pt x="488543" y="647455"/>
                  <a:pt x="501443" y="652660"/>
                  <a:pt x="505376" y="646124"/>
                </a:cubicBezTo>
                <a:cubicBezTo>
                  <a:pt x="509309" y="639588"/>
                  <a:pt x="518333" y="650057"/>
                  <a:pt x="526142" y="647455"/>
                </a:cubicBezTo>
                <a:cubicBezTo>
                  <a:pt x="533951" y="644851"/>
                  <a:pt x="533894" y="661742"/>
                  <a:pt x="541702" y="651330"/>
                </a:cubicBezTo>
                <a:cubicBezTo>
                  <a:pt x="549511" y="640918"/>
                  <a:pt x="540430" y="634497"/>
                  <a:pt x="553271" y="635770"/>
                </a:cubicBezTo>
                <a:cubicBezTo>
                  <a:pt x="566112" y="637042"/>
                  <a:pt x="558477" y="621482"/>
                  <a:pt x="558477" y="612632"/>
                </a:cubicBezTo>
                <a:cubicBezTo>
                  <a:pt x="558477" y="603782"/>
                  <a:pt x="575310" y="602278"/>
                  <a:pt x="575310" y="594469"/>
                </a:cubicBezTo>
                <a:cubicBezTo>
                  <a:pt x="575310" y="586660"/>
                  <a:pt x="598447" y="593197"/>
                  <a:pt x="602555" y="587991"/>
                </a:cubicBezTo>
                <a:cubicBezTo>
                  <a:pt x="606661" y="582784"/>
                  <a:pt x="619445" y="578909"/>
                  <a:pt x="624651" y="587991"/>
                </a:cubicBezTo>
                <a:cubicBezTo>
                  <a:pt x="629857" y="597072"/>
                  <a:pt x="651895" y="599559"/>
                  <a:pt x="653168" y="607484"/>
                </a:cubicBezTo>
                <a:cubicBezTo>
                  <a:pt x="653515" y="612528"/>
                  <a:pt x="653515" y="617595"/>
                  <a:pt x="653168" y="622639"/>
                </a:cubicBezTo>
                <a:cubicBezTo>
                  <a:pt x="656407" y="619064"/>
                  <a:pt x="660919" y="616855"/>
                  <a:pt x="665720" y="616450"/>
                </a:cubicBezTo>
                <a:cubicBezTo>
                  <a:pt x="673818" y="616450"/>
                  <a:pt x="681049" y="604360"/>
                  <a:pt x="688337" y="605980"/>
                </a:cubicBezTo>
                <a:cubicBezTo>
                  <a:pt x="694122" y="607311"/>
                  <a:pt x="700369" y="606269"/>
                  <a:pt x="702220" y="596204"/>
                </a:cubicBezTo>
                <a:cubicBezTo>
                  <a:pt x="694932" y="591519"/>
                  <a:pt x="682553" y="590825"/>
                  <a:pt x="681049" y="596320"/>
                </a:cubicBezTo>
                <a:close/>
                <a:moveTo>
                  <a:pt x="192670" y="78614"/>
                </a:moveTo>
                <a:cubicBezTo>
                  <a:pt x="204239" y="80985"/>
                  <a:pt x="180523" y="93711"/>
                  <a:pt x="176878" y="105280"/>
                </a:cubicBezTo>
                <a:cubicBezTo>
                  <a:pt x="173234" y="116849"/>
                  <a:pt x="195041" y="127087"/>
                  <a:pt x="204123" y="135532"/>
                </a:cubicBezTo>
                <a:cubicBezTo>
                  <a:pt x="213204" y="143978"/>
                  <a:pt x="235070" y="142821"/>
                  <a:pt x="242879" y="137962"/>
                </a:cubicBezTo>
                <a:cubicBezTo>
                  <a:pt x="250687" y="133103"/>
                  <a:pt x="248663" y="116155"/>
                  <a:pt x="258612" y="116733"/>
                </a:cubicBezTo>
                <a:cubicBezTo>
                  <a:pt x="268561" y="117311"/>
                  <a:pt x="263529" y="107652"/>
                  <a:pt x="271974" y="104644"/>
                </a:cubicBezTo>
                <a:cubicBezTo>
                  <a:pt x="280419" y="101636"/>
                  <a:pt x="281692" y="112510"/>
                  <a:pt x="274404" y="120956"/>
                </a:cubicBezTo>
                <a:cubicBezTo>
                  <a:pt x="267115" y="129401"/>
                  <a:pt x="287130" y="128880"/>
                  <a:pt x="298004" y="118526"/>
                </a:cubicBezTo>
                <a:cubicBezTo>
                  <a:pt x="308879" y="108172"/>
                  <a:pt x="311366" y="117948"/>
                  <a:pt x="308937" y="127666"/>
                </a:cubicBezTo>
                <a:cubicBezTo>
                  <a:pt x="306507" y="137383"/>
                  <a:pt x="284064" y="131888"/>
                  <a:pt x="276197" y="142821"/>
                </a:cubicBezTo>
                <a:cubicBezTo>
                  <a:pt x="268330" y="153753"/>
                  <a:pt x="244151" y="145192"/>
                  <a:pt x="233219" y="157340"/>
                </a:cubicBezTo>
                <a:cubicBezTo>
                  <a:pt x="222286" y="169487"/>
                  <a:pt x="242879" y="170065"/>
                  <a:pt x="258034" y="167000"/>
                </a:cubicBezTo>
                <a:cubicBezTo>
                  <a:pt x="273189" y="163934"/>
                  <a:pt x="301649" y="162141"/>
                  <a:pt x="312523" y="164570"/>
                </a:cubicBezTo>
                <a:cubicBezTo>
                  <a:pt x="323398" y="167000"/>
                  <a:pt x="305929" y="170702"/>
                  <a:pt x="287708" y="170702"/>
                </a:cubicBezTo>
                <a:cubicBezTo>
                  <a:pt x="269487" y="170702"/>
                  <a:pt x="263529" y="176081"/>
                  <a:pt x="264107" y="180998"/>
                </a:cubicBezTo>
                <a:cubicBezTo>
                  <a:pt x="264686" y="185915"/>
                  <a:pt x="238656" y="175503"/>
                  <a:pt x="237441" y="186378"/>
                </a:cubicBezTo>
                <a:cubicBezTo>
                  <a:pt x="236226" y="197252"/>
                  <a:pt x="261678" y="201591"/>
                  <a:pt x="264744" y="208243"/>
                </a:cubicBezTo>
                <a:cubicBezTo>
                  <a:pt x="267809" y="214895"/>
                  <a:pt x="284700" y="208821"/>
                  <a:pt x="291352" y="211251"/>
                </a:cubicBezTo>
                <a:cubicBezTo>
                  <a:pt x="298004" y="213680"/>
                  <a:pt x="280419" y="218539"/>
                  <a:pt x="278048" y="221547"/>
                </a:cubicBezTo>
                <a:cubicBezTo>
                  <a:pt x="275676" y="224555"/>
                  <a:pt x="296847" y="228835"/>
                  <a:pt x="300434" y="234909"/>
                </a:cubicBezTo>
                <a:cubicBezTo>
                  <a:pt x="304020" y="240983"/>
                  <a:pt x="319233" y="237917"/>
                  <a:pt x="318597" y="229414"/>
                </a:cubicBezTo>
                <a:cubicBezTo>
                  <a:pt x="317845" y="218886"/>
                  <a:pt x="331959" y="187014"/>
                  <a:pt x="350064" y="180362"/>
                </a:cubicBezTo>
                <a:cubicBezTo>
                  <a:pt x="368169" y="173710"/>
                  <a:pt x="357989" y="167636"/>
                  <a:pt x="360418" y="157224"/>
                </a:cubicBezTo>
                <a:cubicBezTo>
                  <a:pt x="362848" y="146812"/>
                  <a:pt x="377367" y="155373"/>
                  <a:pt x="373144" y="146928"/>
                </a:cubicBezTo>
                <a:cubicBezTo>
                  <a:pt x="368921" y="138482"/>
                  <a:pt x="371351" y="134780"/>
                  <a:pt x="382862" y="123790"/>
                </a:cubicBezTo>
                <a:cubicBezTo>
                  <a:pt x="394373" y="112800"/>
                  <a:pt x="401603" y="120724"/>
                  <a:pt x="415544" y="114072"/>
                </a:cubicBezTo>
                <a:cubicBezTo>
                  <a:pt x="429484" y="107420"/>
                  <a:pt x="436137" y="118931"/>
                  <a:pt x="420981" y="120146"/>
                </a:cubicBezTo>
                <a:cubicBezTo>
                  <a:pt x="407735" y="121187"/>
                  <a:pt x="414329" y="136516"/>
                  <a:pt x="425262" y="140738"/>
                </a:cubicBezTo>
                <a:cubicBezTo>
                  <a:pt x="436194" y="144961"/>
                  <a:pt x="426418" y="148663"/>
                  <a:pt x="434922" y="150456"/>
                </a:cubicBezTo>
                <a:cubicBezTo>
                  <a:pt x="443425" y="152249"/>
                  <a:pt x="440706" y="164975"/>
                  <a:pt x="430063" y="176486"/>
                </a:cubicBezTo>
                <a:cubicBezTo>
                  <a:pt x="419419" y="187997"/>
                  <a:pt x="433128" y="190427"/>
                  <a:pt x="456150" y="181924"/>
                </a:cubicBezTo>
                <a:cubicBezTo>
                  <a:pt x="479172" y="173420"/>
                  <a:pt x="464596" y="189212"/>
                  <a:pt x="471248" y="195864"/>
                </a:cubicBezTo>
                <a:cubicBezTo>
                  <a:pt x="477900" y="202516"/>
                  <a:pt x="496121" y="191063"/>
                  <a:pt x="505954" y="179552"/>
                </a:cubicBezTo>
                <a:cubicBezTo>
                  <a:pt x="515788" y="168041"/>
                  <a:pt x="530133" y="169950"/>
                  <a:pt x="529613" y="163760"/>
                </a:cubicBezTo>
                <a:cubicBezTo>
                  <a:pt x="529092" y="157571"/>
                  <a:pt x="518680" y="155257"/>
                  <a:pt x="510235" y="158959"/>
                </a:cubicBezTo>
                <a:cubicBezTo>
                  <a:pt x="501790" y="162661"/>
                  <a:pt x="480561" y="160174"/>
                  <a:pt x="487791" y="153464"/>
                </a:cubicBezTo>
                <a:cubicBezTo>
                  <a:pt x="495022" y="146754"/>
                  <a:pt x="493865" y="141317"/>
                  <a:pt x="482932" y="142589"/>
                </a:cubicBezTo>
                <a:cubicBezTo>
                  <a:pt x="472000" y="143862"/>
                  <a:pt x="452680" y="138309"/>
                  <a:pt x="461761" y="134665"/>
                </a:cubicBezTo>
                <a:cubicBezTo>
                  <a:pt x="470843" y="131021"/>
                  <a:pt x="455109" y="118931"/>
                  <a:pt x="446606" y="119567"/>
                </a:cubicBezTo>
                <a:cubicBezTo>
                  <a:pt x="438103" y="120204"/>
                  <a:pt x="440822" y="110428"/>
                  <a:pt x="441169" y="103776"/>
                </a:cubicBezTo>
                <a:cubicBezTo>
                  <a:pt x="441516" y="97124"/>
                  <a:pt x="416932" y="94116"/>
                  <a:pt x="421791" y="91686"/>
                </a:cubicBezTo>
                <a:cubicBezTo>
                  <a:pt x="426650" y="89257"/>
                  <a:pt x="411495" y="83820"/>
                  <a:pt x="407851" y="88621"/>
                </a:cubicBezTo>
                <a:cubicBezTo>
                  <a:pt x="406404" y="91484"/>
                  <a:pt x="402934" y="92647"/>
                  <a:pt x="400099" y="91224"/>
                </a:cubicBezTo>
                <a:cubicBezTo>
                  <a:pt x="397786" y="90078"/>
                  <a:pt x="396513" y="87562"/>
                  <a:pt x="396976" y="85034"/>
                </a:cubicBezTo>
                <a:cubicBezTo>
                  <a:pt x="396976" y="77746"/>
                  <a:pt x="378755" y="79539"/>
                  <a:pt x="371524" y="80175"/>
                </a:cubicBezTo>
                <a:cubicBezTo>
                  <a:pt x="364294" y="80812"/>
                  <a:pt x="367880" y="64442"/>
                  <a:pt x="360592" y="58947"/>
                </a:cubicBezTo>
                <a:cubicBezTo>
                  <a:pt x="353303" y="53451"/>
                  <a:pt x="343643" y="69879"/>
                  <a:pt x="338206" y="68664"/>
                </a:cubicBezTo>
                <a:cubicBezTo>
                  <a:pt x="332768" y="67450"/>
                  <a:pt x="342429" y="56517"/>
                  <a:pt x="345436" y="49287"/>
                </a:cubicBezTo>
                <a:cubicBezTo>
                  <a:pt x="348444" y="42056"/>
                  <a:pt x="320043" y="32338"/>
                  <a:pt x="316977" y="39569"/>
                </a:cubicBezTo>
                <a:cubicBezTo>
                  <a:pt x="313912" y="46799"/>
                  <a:pt x="308474" y="28694"/>
                  <a:pt x="302458" y="26843"/>
                </a:cubicBezTo>
                <a:cubicBezTo>
                  <a:pt x="296442" y="24992"/>
                  <a:pt x="301244" y="38990"/>
                  <a:pt x="295748" y="40205"/>
                </a:cubicBezTo>
                <a:cubicBezTo>
                  <a:pt x="290253" y="41420"/>
                  <a:pt x="283080" y="46915"/>
                  <a:pt x="292162" y="52931"/>
                </a:cubicBezTo>
                <a:cubicBezTo>
                  <a:pt x="301244" y="58947"/>
                  <a:pt x="310325" y="89257"/>
                  <a:pt x="309110" y="94116"/>
                </a:cubicBezTo>
                <a:cubicBezTo>
                  <a:pt x="307895" y="98975"/>
                  <a:pt x="280188" y="72309"/>
                  <a:pt x="278800" y="59409"/>
                </a:cubicBezTo>
                <a:cubicBezTo>
                  <a:pt x="277412" y="46510"/>
                  <a:pt x="263702" y="36272"/>
                  <a:pt x="260058" y="45469"/>
                </a:cubicBezTo>
                <a:cubicBezTo>
                  <a:pt x="256414" y="54666"/>
                  <a:pt x="246118" y="58195"/>
                  <a:pt x="249126" y="67276"/>
                </a:cubicBezTo>
                <a:cubicBezTo>
                  <a:pt x="252133" y="76358"/>
                  <a:pt x="241895" y="79366"/>
                  <a:pt x="241895" y="72135"/>
                </a:cubicBezTo>
                <a:cubicBezTo>
                  <a:pt x="241895" y="64905"/>
                  <a:pt x="226740" y="56344"/>
                  <a:pt x="221245" y="55765"/>
                </a:cubicBezTo>
                <a:cubicBezTo>
                  <a:pt x="215750" y="55187"/>
                  <a:pt x="235243" y="51542"/>
                  <a:pt x="244383" y="47262"/>
                </a:cubicBezTo>
                <a:cubicBezTo>
                  <a:pt x="253522" y="42982"/>
                  <a:pt x="236458" y="36966"/>
                  <a:pt x="228591" y="41825"/>
                </a:cubicBezTo>
                <a:cubicBezTo>
                  <a:pt x="220724" y="46684"/>
                  <a:pt x="210428" y="38817"/>
                  <a:pt x="205453" y="45469"/>
                </a:cubicBezTo>
                <a:cubicBezTo>
                  <a:pt x="200479" y="52121"/>
                  <a:pt x="194521" y="45469"/>
                  <a:pt x="186018" y="43618"/>
                </a:cubicBezTo>
                <a:cubicBezTo>
                  <a:pt x="177515" y="41767"/>
                  <a:pt x="170284" y="55765"/>
                  <a:pt x="164210" y="53336"/>
                </a:cubicBezTo>
                <a:cubicBezTo>
                  <a:pt x="158137" y="50906"/>
                  <a:pt x="154550" y="65425"/>
                  <a:pt x="164210" y="80580"/>
                </a:cubicBezTo>
                <a:cubicBezTo>
                  <a:pt x="173870" y="95736"/>
                  <a:pt x="181159" y="76126"/>
                  <a:pt x="192670" y="78614"/>
                </a:cubicBezTo>
                <a:close/>
                <a:moveTo>
                  <a:pt x="167797" y="127666"/>
                </a:moveTo>
                <a:cubicBezTo>
                  <a:pt x="175085" y="129459"/>
                  <a:pt x="180523" y="141548"/>
                  <a:pt x="187174" y="140970"/>
                </a:cubicBezTo>
                <a:cubicBezTo>
                  <a:pt x="190182" y="140970"/>
                  <a:pt x="176878" y="125872"/>
                  <a:pt x="169011" y="117369"/>
                </a:cubicBezTo>
                <a:cubicBezTo>
                  <a:pt x="161145" y="108866"/>
                  <a:pt x="161723" y="100363"/>
                  <a:pt x="150848" y="103429"/>
                </a:cubicBezTo>
                <a:cubicBezTo>
                  <a:pt x="139974" y="106495"/>
                  <a:pt x="160566" y="125872"/>
                  <a:pt x="167797" y="127666"/>
                </a:cubicBezTo>
                <a:close/>
                <a:moveTo>
                  <a:pt x="360418" y="29330"/>
                </a:moveTo>
                <a:cubicBezTo>
                  <a:pt x="365856" y="33553"/>
                  <a:pt x="351452" y="33727"/>
                  <a:pt x="357410" y="39627"/>
                </a:cubicBezTo>
                <a:cubicBezTo>
                  <a:pt x="375573" y="57790"/>
                  <a:pt x="447011" y="37197"/>
                  <a:pt x="456729" y="42692"/>
                </a:cubicBezTo>
                <a:cubicBezTo>
                  <a:pt x="466447" y="48188"/>
                  <a:pt x="396802" y="54782"/>
                  <a:pt x="399810" y="62070"/>
                </a:cubicBezTo>
                <a:cubicBezTo>
                  <a:pt x="402818" y="69359"/>
                  <a:pt x="459795" y="75374"/>
                  <a:pt x="464017" y="70515"/>
                </a:cubicBezTo>
                <a:cubicBezTo>
                  <a:pt x="468240" y="65657"/>
                  <a:pt x="477958" y="80233"/>
                  <a:pt x="496699" y="81448"/>
                </a:cubicBezTo>
                <a:cubicBezTo>
                  <a:pt x="515441" y="82663"/>
                  <a:pt x="513648" y="74160"/>
                  <a:pt x="527588" y="73581"/>
                </a:cubicBezTo>
                <a:cubicBezTo>
                  <a:pt x="541529" y="73003"/>
                  <a:pt x="562295" y="66293"/>
                  <a:pt x="562758" y="58426"/>
                </a:cubicBezTo>
                <a:cubicBezTo>
                  <a:pt x="563220" y="50559"/>
                  <a:pt x="603943" y="41073"/>
                  <a:pt x="600299" y="27537"/>
                </a:cubicBezTo>
                <a:cubicBezTo>
                  <a:pt x="596654" y="14002"/>
                  <a:pt x="557320" y="23315"/>
                  <a:pt x="546387" y="17819"/>
                </a:cubicBezTo>
                <a:cubicBezTo>
                  <a:pt x="535455" y="12324"/>
                  <a:pt x="510061" y="5094"/>
                  <a:pt x="505897" y="13597"/>
                </a:cubicBezTo>
                <a:cubicBezTo>
                  <a:pt x="501732" y="22100"/>
                  <a:pt x="494328" y="24471"/>
                  <a:pt x="490741" y="20885"/>
                </a:cubicBezTo>
                <a:cubicBezTo>
                  <a:pt x="487155" y="17299"/>
                  <a:pt x="492592" y="-2253"/>
                  <a:pt x="475008" y="3532"/>
                </a:cubicBezTo>
                <a:cubicBezTo>
                  <a:pt x="457423" y="9316"/>
                  <a:pt x="473793" y="27768"/>
                  <a:pt x="470149" y="30198"/>
                </a:cubicBezTo>
                <a:cubicBezTo>
                  <a:pt x="466505" y="32627"/>
                  <a:pt x="449614" y="26554"/>
                  <a:pt x="448342" y="18051"/>
                </a:cubicBezTo>
                <a:cubicBezTo>
                  <a:pt x="447069" y="9548"/>
                  <a:pt x="428385" y="27132"/>
                  <a:pt x="425956" y="16836"/>
                </a:cubicBezTo>
                <a:cubicBezTo>
                  <a:pt x="423526" y="6540"/>
                  <a:pt x="401140" y="-517"/>
                  <a:pt x="396282" y="-112"/>
                </a:cubicBezTo>
                <a:cubicBezTo>
                  <a:pt x="391423" y="292"/>
                  <a:pt x="401140" y="7176"/>
                  <a:pt x="398075" y="11977"/>
                </a:cubicBezTo>
                <a:cubicBezTo>
                  <a:pt x="395009" y="16778"/>
                  <a:pt x="382978" y="7176"/>
                  <a:pt x="378119" y="6540"/>
                </a:cubicBezTo>
                <a:cubicBezTo>
                  <a:pt x="373259" y="5903"/>
                  <a:pt x="381127" y="16836"/>
                  <a:pt x="378697" y="21695"/>
                </a:cubicBezTo>
                <a:cubicBezTo>
                  <a:pt x="376267" y="26554"/>
                  <a:pt x="366608" y="7176"/>
                  <a:pt x="358104" y="7176"/>
                </a:cubicBezTo>
                <a:cubicBezTo>
                  <a:pt x="349601" y="7176"/>
                  <a:pt x="352667" y="16836"/>
                  <a:pt x="346535" y="17472"/>
                </a:cubicBezTo>
                <a:cubicBezTo>
                  <a:pt x="340404" y="18108"/>
                  <a:pt x="354981" y="25281"/>
                  <a:pt x="360418" y="2950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1" name="Forma libre: forma 210">
            <a:extLst>
              <a:ext uri="{FF2B5EF4-FFF2-40B4-BE49-F238E27FC236}">
                <a16:creationId xmlns:a16="http://schemas.microsoft.com/office/drawing/2014/main" id="{FC69F897-DF42-633D-D99B-3299E0D49750}"/>
              </a:ext>
            </a:extLst>
          </p:cNvPr>
          <p:cNvSpPr/>
          <p:nvPr/>
        </p:nvSpPr>
        <p:spPr>
          <a:xfrm>
            <a:off x="11323101" y="2448274"/>
            <a:ext cx="85012" cy="26204"/>
          </a:xfrm>
          <a:custGeom>
            <a:avLst/>
            <a:gdLst>
              <a:gd name="connsiteX0" fmla="*/ 34867 w 85012"/>
              <a:gd name="connsiteY0" fmla="*/ 570 h 26204"/>
              <a:gd name="connsiteX1" fmla="*/ 913 w 85012"/>
              <a:gd name="connsiteY1" fmla="*/ 11040 h 26204"/>
              <a:gd name="connsiteX2" fmla="*/ 51816 w 85012"/>
              <a:gd name="connsiteY2" fmla="*/ 22320 h 26204"/>
              <a:gd name="connsiteX3" fmla="*/ 84903 w 85012"/>
              <a:gd name="connsiteY3" fmla="*/ 17519 h 26204"/>
              <a:gd name="connsiteX4" fmla="*/ 34867 w 85012"/>
              <a:gd name="connsiteY4" fmla="*/ 570 h 26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12" h="26204">
                <a:moveTo>
                  <a:pt x="34867" y="570"/>
                </a:moveTo>
                <a:cubicBezTo>
                  <a:pt x="29083" y="4620"/>
                  <a:pt x="-6549" y="2595"/>
                  <a:pt x="913" y="11040"/>
                </a:cubicBezTo>
                <a:cubicBezTo>
                  <a:pt x="7391" y="18329"/>
                  <a:pt x="38049" y="14279"/>
                  <a:pt x="51816" y="22320"/>
                </a:cubicBezTo>
                <a:cubicBezTo>
                  <a:pt x="65583" y="30360"/>
                  <a:pt x="84903" y="23940"/>
                  <a:pt x="84903" y="17519"/>
                </a:cubicBezTo>
                <a:cubicBezTo>
                  <a:pt x="84903" y="11098"/>
                  <a:pt x="40479" y="-3479"/>
                  <a:pt x="34867" y="570"/>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2" name="Forma libre: forma 211">
            <a:extLst>
              <a:ext uri="{FF2B5EF4-FFF2-40B4-BE49-F238E27FC236}">
                <a16:creationId xmlns:a16="http://schemas.microsoft.com/office/drawing/2014/main" id="{E235F1BC-B98D-E357-36F3-A43CD62342DD}"/>
              </a:ext>
            </a:extLst>
          </p:cNvPr>
          <p:cNvSpPr/>
          <p:nvPr/>
        </p:nvSpPr>
        <p:spPr>
          <a:xfrm>
            <a:off x="9700969" y="3142536"/>
            <a:ext cx="464085" cy="460207"/>
          </a:xfrm>
          <a:custGeom>
            <a:avLst/>
            <a:gdLst>
              <a:gd name="connsiteX0" fmla="*/ 438972 w 464085"/>
              <a:gd name="connsiteY0" fmla="*/ 43822 h 460207"/>
              <a:gd name="connsiteX1" fmla="*/ 411496 w 464085"/>
              <a:gd name="connsiteY1" fmla="*/ 50243 h 460207"/>
              <a:gd name="connsiteX2" fmla="*/ 351744 w 464085"/>
              <a:gd name="connsiteY2" fmla="*/ 6629 h 460207"/>
              <a:gd name="connsiteX3" fmla="*/ 333985 w 464085"/>
              <a:gd name="connsiteY3" fmla="*/ 14727 h 460207"/>
              <a:gd name="connsiteX4" fmla="*/ 332365 w 464085"/>
              <a:gd name="connsiteY4" fmla="*/ 43013 h 460207"/>
              <a:gd name="connsiteX5" fmla="*/ 324268 w 464085"/>
              <a:gd name="connsiteY5" fmla="*/ 67249 h 460207"/>
              <a:gd name="connsiteX6" fmla="*/ 301592 w 464085"/>
              <a:gd name="connsiteY6" fmla="*/ 76909 h 460207"/>
              <a:gd name="connsiteX7" fmla="*/ 291123 w 464085"/>
              <a:gd name="connsiteY7" fmla="*/ 93106 h 460207"/>
              <a:gd name="connsiteX8" fmla="*/ 286263 w 464085"/>
              <a:gd name="connsiteY8" fmla="*/ 109244 h 460207"/>
              <a:gd name="connsiteX9" fmla="*/ 286263 w 464085"/>
              <a:gd name="connsiteY9" fmla="*/ 130242 h 460207"/>
              <a:gd name="connsiteX10" fmla="*/ 300088 w 464085"/>
              <a:gd name="connsiteY10" fmla="*/ 124457 h 460207"/>
              <a:gd name="connsiteX11" fmla="*/ 314549 w 464085"/>
              <a:gd name="connsiteY11" fmla="*/ 121218 h 460207"/>
              <a:gd name="connsiteX12" fmla="*/ 298411 w 464085"/>
              <a:gd name="connsiteY12" fmla="*/ 101031 h 460207"/>
              <a:gd name="connsiteX13" fmla="*/ 321028 w 464085"/>
              <a:gd name="connsiteY13" fmla="*/ 98601 h 460207"/>
              <a:gd name="connsiteX14" fmla="*/ 362213 w 464085"/>
              <a:gd name="connsiteY14" fmla="*/ 108319 h 460207"/>
              <a:gd name="connsiteX15" fmla="*/ 380030 w 464085"/>
              <a:gd name="connsiteY15" fmla="*/ 101840 h 460207"/>
              <a:gd name="connsiteX16" fmla="*/ 419537 w 464085"/>
              <a:gd name="connsiteY16" fmla="*/ 83272 h 460207"/>
              <a:gd name="connsiteX17" fmla="*/ 434114 w 464085"/>
              <a:gd name="connsiteY17" fmla="*/ 70315 h 460207"/>
              <a:gd name="connsiteX18" fmla="*/ 463961 w 464085"/>
              <a:gd name="connsiteY18" fmla="*/ 36418 h 460207"/>
              <a:gd name="connsiteX19" fmla="*/ 438972 w 464085"/>
              <a:gd name="connsiteY19" fmla="*/ 43822 h 460207"/>
              <a:gd name="connsiteX20" fmla="*/ 290371 w 464085"/>
              <a:gd name="connsiteY20" fmla="*/ 154479 h 460207"/>
              <a:gd name="connsiteX21" fmla="*/ 285511 w 464085"/>
              <a:gd name="connsiteY21" fmla="*/ 190805 h 460207"/>
              <a:gd name="connsiteX22" fmla="*/ 271802 w 464085"/>
              <a:gd name="connsiteY22" fmla="*/ 227189 h 460207"/>
              <a:gd name="connsiteX23" fmla="*/ 254796 w 464085"/>
              <a:gd name="connsiteY23" fmla="*/ 253797 h 460207"/>
              <a:gd name="connsiteX24" fmla="*/ 229749 w 464085"/>
              <a:gd name="connsiteY24" fmla="*/ 273175 h 460207"/>
              <a:gd name="connsiteX25" fmla="*/ 211992 w 464085"/>
              <a:gd name="connsiteY25" fmla="*/ 264325 h 460207"/>
              <a:gd name="connsiteX26" fmla="*/ 191804 w 464085"/>
              <a:gd name="connsiteY26" fmla="*/ 286132 h 460207"/>
              <a:gd name="connsiteX27" fmla="*/ 174855 w 464085"/>
              <a:gd name="connsiteY27" fmla="*/ 313550 h 460207"/>
              <a:gd name="connsiteX28" fmla="*/ 157849 w 464085"/>
              <a:gd name="connsiteY28" fmla="*/ 319335 h 460207"/>
              <a:gd name="connsiteX29" fmla="*/ 124763 w 464085"/>
              <a:gd name="connsiteY29" fmla="*/ 323384 h 460207"/>
              <a:gd name="connsiteX30" fmla="*/ 84272 w 464085"/>
              <a:gd name="connsiteY30" fmla="*/ 325813 h 460207"/>
              <a:gd name="connsiteX31" fmla="*/ 42277 w 464085"/>
              <a:gd name="connsiteY31" fmla="*/ 357339 h 460207"/>
              <a:gd name="connsiteX32" fmla="*/ 42277 w 464085"/>
              <a:gd name="connsiteY32" fmla="*/ 373477 h 460207"/>
              <a:gd name="connsiteX33" fmla="*/ 72182 w 464085"/>
              <a:gd name="connsiteY33" fmla="*/ 366189 h 460207"/>
              <a:gd name="connsiteX34" fmla="*/ 140785 w 464085"/>
              <a:gd name="connsiteY34" fmla="*/ 349240 h 460207"/>
              <a:gd name="connsiteX35" fmla="*/ 152354 w 464085"/>
              <a:gd name="connsiteY35" fmla="*/ 373477 h 460207"/>
              <a:gd name="connsiteX36" fmla="*/ 184631 w 464085"/>
              <a:gd name="connsiteY36" fmla="*/ 371857 h 460207"/>
              <a:gd name="connsiteX37" fmla="*/ 194349 w 464085"/>
              <a:gd name="connsiteY37" fmla="*/ 353232 h 460207"/>
              <a:gd name="connsiteX38" fmla="*/ 202447 w 464085"/>
              <a:gd name="connsiteY38" fmla="*/ 349240 h 460207"/>
              <a:gd name="connsiteX39" fmla="*/ 237154 w 464085"/>
              <a:gd name="connsiteY39" fmla="*/ 346811 h 460207"/>
              <a:gd name="connsiteX40" fmla="*/ 257341 w 464085"/>
              <a:gd name="connsiteY40" fmla="*/ 348373 h 460207"/>
              <a:gd name="connsiteX41" fmla="*/ 273538 w 464085"/>
              <a:gd name="connsiteY41" fmla="*/ 332292 h 460207"/>
              <a:gd name="connsiteX42" fmla="*/ 299336 w 464085"/>
              <a:gd name="connsiteY42" fmla="*/ 328243 h 460207"/>
              <a:gd name="connsiteX43" fmla="*/ 306625 w 464085"/>
              <a:gd name="connsiteY43" fmla="*/ 289487 h 460207"/>
              <a:gd name="connsiteX44" fmla="*/ 313045 w 464085"/>
              <a:gd name="connsiteY44" fmla="*/ 247434 h 460207"/>
              <a:gd name="connsiteX45" fmla="*/ 338092 w 464085"/>
              <a:gd name="connsiteY45" fmla="*/ 217587 h 460207"/>
              <a:gd name="connsiteX46" fmla="*/ 325193 w 464085"/>
              <a:gd name="connsiteY46" fmla="*/ 144876 h 460207"/>
              <a:gd name="connsiteX47" fmla="*/ 290371 w 464085"/>
              <a:gd name="connsiteY47" fmla="*/ 154363 h 460207"/>
              <a:gd name="connsiteX48" fmla="*/ 112673 w 464085"/>
              <a:gd name="connsiteY48" fmla="*/ 364453 h 460207"/>
              <a:gd name="connsiteX49" fmla="*/ 86816 w 464085"/>
              <a:gd name="connsiteY49" fmla="*/ 371742 h 460207"/>
              <a:gd name="connsiteX50" fmla="*/ 82768 w 464085"/>
              <a:gd name="connsiteY50" fmla="*/ 408068 h 460207"/>
              <a:gd name="connsiteX51" fmla="*/ 98096 w 464085"/>
              <a:gd name="connsiteY51" fmla="*/ 400837 h 460207"/>
              <a:gd name="connsiteX52" fmla="*/ 121234 w 464085"/>
              <a:gd name="connsiteY52" fmla="*/ 391929 h 460207"/>
              <a:gd name="connsiteX53" fmla="*/ 139802 w 464085"/>
              <a:gd name="connsiteY53" fmla="*/ 367693 h 460207"/>
              <a:gd name="connsiteX54" fmla="*/ 112673 w 464085"/>
              <a:gd name="connsiteY54" fmla="*/ 364338 h 460207"/>
              <a:gd name="connsiteX55" fmla="*/ 56911 w 464085"/>
              <a:gd name="connsiteY55" fmla="*/ 395979 h 460207"/>
              <a:gd name="connsiteX56" fmla="*/ 38343 w 464085"/>
              <a:gd name="connsiteY56" fmla="*/ 382269 h 460207"/>
              <a:gd name="connsiteX57" fmla="*/ 13297 w 464085"/>
              <a:gd name="connsiteY57" fmla="*/ 388054 h 460207"/>
              <a:gd name="connsiteX58" fmla="*/ 1728 w 464085"/>
              <a:gd name="connsiteY58" fmla="*/ 407432 h 460207"/>
              <a:gd name="connsiteX59" fmla="*/ 17057 w 464085"/>
              <a:gd name="connsiteY59" fmla="*/ 399391 h 460207"/>
              <a:gd name="connsiteX60" fmla="*/ 21105 w 464085"/>
              <a:gd name="connsiteY60" fmla="*/ 426867 h 460207"/>
              <a:gd name="connsiteX61" fmla="*/ 31575 w 464085"/>
              <a:gd name="connsiteY61" fmla="*/ 459954 h 460207"/>
              <a:gd name="connsiteX62" fmla="*/ 62291 w 464085"/>
              <a:gd name="connsiteY62" fmla="*/ 413679 h 460207"/>
              <a:gd name="connsiteX63" fmla="*/ 56911 w 464085"/>
              <a:gd name="connsiteY63" fmla="*/ 395863 h 46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4085" h="460207">
                <a:moveTo>
                  <a:pt x="438972" y="43822"/>
                </a:moveTo>
                <a:cubicBezTo>
                  <a:pt x="433188" y="36534"/>
                  <a:pt x="423644" y="47872"/>
                  <a:pt x="411496" y="50243"/>
                </a:cubicBezTo>
                <a:cubicBezTo>
                  <a:pt x="399349" y="52615"/>
                  <a:pt x="361403" y="21321"/>
                  <a:pt x="351744" y="6629"/>
                </a:cubicBezTo>
                <a:cubicBezTo>
                  <a:pt x="342083" y="-8064"/>
                  <a:pt x="325829" y="4257"/>
                  <a:pt x="333985" y="14727"/>
                </a:cubicBezTo>
                <a:cubicBezTo>
                  <a:pt x="342141" y="25197"/>
                  <a:pt x="332365" y="28436"/>
                  <a:pt x="332365" y="43013"/>
                </a:cubicBezTo>
                <a:cubicBezTo>
                  <a:pt x="332365" y="57589"/>
                  <a:pt x="322648" y="57532"/>
                  <a:pt x="324268" y="67249"/>
                </a:cubicBezTo>
                <a:cubicBezTo>
                  <a:pt x="325887" y="76967"/>
                  <a:pt x="311310" y="75290"/>
                  <a:pt x="301592" y="76909"/>
                </a:cubicBezTo>
                <a:cubicBezTo>
                  <a:pt x="291874" y="78529"/>
                  <a:pt x="302460" y="88478"/>
                  <a:pt x="291123" y="93106"/>
                </a:cubicBezTo>
                <a:cubicBezTo>
                  <a:pt x="279785" y="97733"/>
                  <a:pt x="280653" y="106005"/>
                  <a:pt x="286263" y="109244"/>
                </a:cubicBezTo>
                <a:cubicBezTo>
                  <a:pt x="291874" y="112484"/>
                  <a:pt x="287883" y="122953"/>
                  <a:pt x="286263" y="130242"/>
                </a:cubicBezTo>
                <a:cubicBezTo>
                  <a:pt x="284644" y="137530"/>
                  <a:pt x="293552" y="131861"/>
                  <a:pt x="300088" y="124457"/>
                </a:cubicBezTo>
                <a:cubicBezTo>
                  <a:pt x="306625" y="117053"/>
                  <a:pt x="313219" y="127928"/>
                  <a:pt x="314549" y="121218"/>
                </a:cubicBezTo>
                <a:cubicBezTo>
                  <a:pt x="316169" y="113178"/>
                  <a:pt x="297601" y="109129"/>
                  <a:pt x="298411" y="101031"/>
                </a:cubicBezTo>
                <a:cubicBezTo>
                  <a:pt x="299221" y="92932"/>
                  <a:pt x="311310" y="103460"/>
                  <a:pt x="321028" y="98601"/>
                </a:cubicBezTo>
                <a:cubicBezTo>
                  <a:pt x="330746" y="93742"/>
                  <a:pt x="349950" y="97791"/>
                  <a:pt x="362213" y="108319"/>
                </a:cubicBezTo>
                <a:cubicBezTo>
                  <a:pt x="374476" y="118847"/>
                  <a:pt x="377600" y="114797"/>
                  <a:pt x="380030" y="101840"/>
                </a:cubicBezTo>
                <a:cubicBezTo>
                  <a:pt x="382459" y="88883"/>
                  <a:pt x="400969" y="83272"/>
                  <a:pt x="419537" y="83272"/>
                </a:cubicBezTo>
                <a:cubicBezTo>
                  <a:pt x="438105" y="83272"/>
                  <a:pt x="439724" y="74364"/>
                  <a:pt x="434114" y="70315"/>
                </a:cubicBezTo>
                <a:cubicBezTo>
                  <a:pt x="428503" y="66266"/>
                  <a:pt x="464829" y="42897"/>
                  <a:pt x="463961" y="36418"/>
                </a:cubicBezTo>
                <a:cubicBezTo>
                  <a:pt x="463094" y="29940"/>
                  <a:pt x="444583" y="50995"/>
                  <a:pt x="438972" y="43822"/>
                </a:cubicBezTo>
                <a:close/>
                <a:moveTo>
                  <a:pt x="290371" y="154479"/>
                </a:moveTo>
                <a:cubicBezTo>
                  <a:pt x="282273" y="158470"/>
                  <a:pt x="276604" y="183401"/>
                  <a:pt x="285511" y="190805"/>
                </a:cubicBezTo>
                <a:cubicBezTo>
                  <a:pt x="294420" y="198209"/>
                  <a:pt x="270935" y="211802"/>
                  <a:pt x="271802" y="227189"/>
                </a:cubicBezTo>
                <a:cubicBezTo>
                  <a:pt x="272670" y="242575"/>
                  <a:pt x="257225" y="242460"/>
                  <a:pt x="254796" y="253797"/>
                </a:cubicBezTo>
                <a:cubicBezTo>
                  <a:pt x="252367" y="265135"/>
                  <a:pt x="243228" y="262705"/>
                  <a:pt x="229749" y="273175"/>
                </a:cubicBezTo>
                <a:cubicBezTo>
                  <a:pt x="216272" y="283645"/>
                  <a:pt x="208752" y="271555"/>
                  <a:pt x="211992" y="264325"/>
                </a:cubicBezTo>
                <a:cubicBezTo>
                  <a:pt x="215230" y="257094"/>
                  <a:pt x="190994" y="268316"/>
                  <a:pt x="191804" y="286132"/>
                </a:cubicBezTo>
                <a:cubicBezTo>
                  <a:pt x="192614" y="303948"/>
                  <a:pt x="169187" y="305510"/>
                  <a:pt x="174855" y="313550"/>
                </a:cubicBezTo>
                <a:cubicBezTo>
                  <a:pt x="180524" y="321591"/>
                  <a:pt x="157097" y="326507"/>
                  <a:pt x="157849" y="319335"/>
                </a:cubicBezTo>
                <a:cubicBezTo>
                  <a:pt x="158601" y="312162"/>
                  <a:pt x="143330" y="316153"/>
                  <a:pt x="124763" y="323384"/>
                </a:cubicBezTo>
                <a:cubicBezTo>
                  <a:pt x="106194" y="330614"/>
                  <a:pt x="94857" y="315286"/>
                  <a:pt x="84272" y="325813"/>
                </a:cubicBezTo>
                <a:cubicBezTo>
                  <a:pt x="73686" y="336341"/>
                  <a:pt x="55986" y="354736"/>
                  <a:pt x="42277" y="357339"/>
                </a:cubicBezTo>
                <a:cubicBezTo>
                  <a:pt x="28568" y="359941"/>
                  <a:pt x="36492" y="376369"/>
                  <a:pt x="42277" y="373477"/>
                </a:cubicBezTo>
                <a:cubicBezTo>
                  <a:pt x="51936" y="368618"/>
                  <a:pt x="67323" y="373477"/>
                  <a:pt x="72182" y="366189"/>
                </a:cubicBezTo>
                <a:cubicBezTo>
                  <a:pt x="77041" y="358900"/>
                  <a:pt x="116549" y="350050"/>
                  <a:pt x="140785" y="349240"/>
                </a:cubicBezTo>
                <a:cubicBezTo>
                  <a:pt x="165022" y="348431"/>
                  <a:pt x="150503" y="360809"/>
                  <a:pt x="152354" y="373477"/>
                </a:cubicBezTo>
                <a:cubicBezTo>
                  <a:pt x="154205" y="386145"/>
                  <a:pt x="174161" y="384005"/>
                  <a:pt x="184631" y="371857"/>
                </a:cubicBezTo>
                <a:cubicBezTo>
                  <a:pt x="195101" y="359710"/>
                  <a:pt x="203199" y="360578"/>
                  <a:pt x="194349" y="353232"/>
                </a:cubicBezTo>
                <a:cubicBezTo>
                  <a:pt x="185499" y="345885"/>
                  <a:pt x="195969" y="339580"/>
                  <a:pt x="202447" y="349240"/>
                </a:cubicBezTo>
                <a:cubicBezTo>
                  <a:pt x="208926" y="358900"/>
                  <a:pt x="229055" y="359768"/>
                  <a:pt x="237154" y="346811"/>
                </a:cubicBezTo>
                <a:cubicBezTo>
                  <a:pt x="245252" y="333854"/>
                  <a:pt x="247624" y="349240"/>
                  <a:pt x="257341" y="348373"/>
                </a:cubicBezTo>
                <a:cubicBezTo>
                  <a:pt x="267059" y="347505"/>
                  <a:pt x="272670" y="323384"/>
                  <a:pt x="273538" y="332292"/>
                </a:cubicBezTo>
                <a:cubicBezTo>
                  <a:pt x="274406" y="341200"/>
                  <a:pt x="289619" y="338770"/>
                  <a:pt x="299336" y="328243"/>
                </a:cubicBezTo>
                <a:cubicBezTo>
                  <a:pt x="309054" y="317715"/>
                  <a:pt x="300204" y="299321"/>
                  <a:pt x="306625" y="289487"/>
                </a:cubicBezTo>
                <a:cubicBezTo>
                  <a:pt x="313045" y="279654"/>
                  <a:pt x="319524" y="259582"/>
                  <a:pt x="313045" y="247434"/>
                </a:cubicBezTo>
                <a:cubicBezTo>
                  <a:pt x="306567" y="235287"/>
                  <a:pt x="327622" y="227305"/>
                  <a:pt x="338092" y="217587"/>
                </a:cubicBezTo>
                <a:cubicBezTo>
                  <a:pt x="348562" y="207869"/>
                  <a:pt x="325945" y="159395"/>
                  <a:pt x="325193" y="144876"/>
                </a:cubicBezTo>
                <a:cubicBezTo>
                  <a:pt x="324441" y="130357"/>
                  <a:pt x="298411" y="150314"/>
                  <a:pt x="290371" y="154363"/>
                </a:cubicBezTo>
                <a:close/>
                <a:moveTo>
                  <a:pt x="112673" y="364453"/>
                </a:moveTo>
                <a:cubicBezTo>
                  <a:pt x="109376" y="373361"/>
                  <a:pt x="99716" y="369312"/>
                  <a:pt x="86816" y="371742"/>
                </a:cubicBezTo>
                <a:cubicBezTo>
                  <a:pt x="73917" y="374171"/>
                  <a:pt x="73455" y="404944"/>
                  <a:pt x="82768" y="408068"/>
                </a:cubicBezTo>
                <a:cubicBezTo>
                  <a:pt x="90056" y="410498"/>
                  <a:pt x="95725" y="410498"/>
                  <a:pt x="98096" y="400837"/>
                </a:cubicBezTo>
                <a:cubicBezTo>
                  <a:pt x="100468" y="391177"/>
                  <a:pt x="113425" y="387880"/>
                  <a:pt x="121234" y="391929"/>
                </a:cubicBezTo>
                <a:cubicBezTo>
                  <a:pt x="129043" y="395979"/>
                  <a:pt x="139802" y="379782"/>
                  <a:pt x="139802" y="367693"/>
                </a:cubicBezTo>
                <a:cubicBezTo>
                  <a:pt x="139802" y="355603"/>
                  <a:pt x="115854" y="355488"/>
                  <a:pt x="112673" y="364338"/>
                </a:cubicBezTo>
                <a:close/>
                <a:moveTo>
                  <a:pt x="56911" y="395979"/>
                </a:moveTo>
                <a:cubicBezTo>
                  <a:pt x="56911" y="387880"/>
                  <a:pt x="39153" y="389500"/>
                  <a:pt x="38343" y="382269"/>
                </a:cubicBezTo>
                <a:cubicBezTo>
                  <a:pt x="37533" y="375039"/>
                  <a:pt x="25444" y="379030"/>
                  <a:pt x="13297" y="388054"/>
                </a:cubicBezTo>
                <a:cubicBezTo>
                  <a:pt x="1149" y="397078"/>
                  <a:pt x="-2842" y="398524"/>
                  <a:pt x="1728" y="407432"/>
                </a:cubicBezTo>
                <a:cubicBezTo>
                  <a:pt x="6297" y="416340"/>
                  <a:pt x="13817" y="408241"/>
                  <a:pt x="17057" y="399391"/>
                </a:cubicBezTo>
                <a:cubicBezTo>
                  <a:pt x="20296" y="390541"/>
                  <a:pt x="28625" y="412291"/>
                  <a:pt x="21105" y="426867"/>
                </a:cubicBezTo>
                <a:cubicBezTo>
                  <a:pt x="13585" y="441444"/>
                  <a:pt x="22031" y="461863"/>
                  <a:pt x="31575" y="459954"/>
                </a:cubicBezTo>
                <a:cubicBezTo>
                  <a:pt x="39673" y="458334"/>
                  <a:pt x="50143" y="429239"/>
                  <a:pt x="62291" y="413679"/>
                </a:cubicBezTo>
                <a:cubicBezTo>
                  <a:pt x="74438" y="398119"/>
                  <a:pt x="56911" y="403903"/>
                  <a:pt x="56911" y="39586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3" name="Forma libre: forma 212">
            <a:extLst>
              <a:ext uri="{FF2B5EF4-FFF2-40B4-BE49-F238E27FC236}">
                <a16:creationId xmlns:a16="http://schemas.microsoft.com/office/drawing/2014/main" id="{7E83241F-AAD0-DB65-F0EC-C9D922B816E5}"/>
              </a:ext>
            </a:extLst>
          </p:cNvPr>
          <p:cNvSpPr/>
          <p:nvPr/>
        </p:nvSpPr>
        <p:spPr>
          <a:xfrm>
            <a:off x="8205102" y="2853497"/>
            <a:ext cx="1635071" cy="1123714"/>
          </a:xfrm>
          <a:custGeom>
            <a:avLst/>
            <a:gdLst>
              <a:gd name="connsiteX0" fmla="*/ 1631157 w 1635071"/>
              <a:gd name="connsiteY0" fmla="*/ 200283 h 1123714"/>
              <a:gd name="connsiteX1" fmla="*/ 1609292 w 1635071"/>
              <a:gd name="connsiteY1" fmla="*/ 194498 h 1123714"/>
              <a:gd name="connsiteX2" fmla="*/ 1582684 w 1635071"/>
              <a:gd name="connsiteY2" fmla="*/ 204216 h 1123714"/>
              <a:gd name="connsiteX3" fmla="*/ 1558447 w 1635071"/>
              <a:gd name="connsiteY3" fmla="*/ 210001 h 1123714"/>
              <a:gd name="connsiteX4" fmla="*/ 1531780 w 1635071"/>
              <a:gd name="connsiteY4" fmla="*/ 199473 h 1123714"/>
              <a:gd name="connsiteX5" fmla="*/ 1525996 w 1635071"/>
              <a:gd name="connsiteY5" fmla="*/ 176046 h 1123714"/>
              <a:gd name="connsiteX6" fmla="*/ 1506618 w 1635071"/>
              <a:gd name="connsiteY6" fmla="*/ 163147 h 1123714"/>
              <a:gd name="connsiteX7" fmla="*/ 1479200 w 1635071"/>
              <a:gd name="connsiteY7" fmla="*/ 151000 h 1123714"/>
              <a:gd name="connsiteX8" fmla="*/ 1452476 w 1635071"/>
              <a:gd name="connsiteY8" fmla="*/ 141340 h 1123714"/>
              <a:gd name="connsiteX9" fmla="*/ 1442007 w 1635071"/>
              <a:gd name="connsiteY9" fmla="*/ 125953 h 1123714"/>
              <a:gd name="connsiteX10" fmla="*/ 1428298 w 1635071"/>
              <a:gd name="connsiteY10" fmla="*/ 92808 h 1123714"/>
              <a:gd name="connsiteX11" fmla="*/ 1412101 w 1635071"/>
              <a:gd name="connsiteY11" fmla="*/ 60531 h 1123714"/>
              <a:gd name="connsiteX12" fmla="*/ 1399202 w 1635071"/>
              <a:gd name="connsiteY12" fmla="*/ 35542 h 1123714"/>
              <a:gd name="connsiteX13" fmla="*/ 1381443 w 1635071"/>
              <a:gd name="connsiteY13" fmla="*/ 15297 h 1123714"/>
              <a:gd name="connsiteX14" fmla="*/ 1348356 w 1635071"/>
              <a:gd name="connsiteY14" fmla="*/ 5579 h 1123714"/>
              <a:gd name="connsiteX15" fmla="*/ 1317641 w 1635071"/>
              <a:gd name="connsiteY15" fmla="*/ 778 h 1123714"/>
              <a:gd name="connsiteX16" fmla="*/ 1277150 w 1635071"/>
              <a:gd name="connsiteY16" fmla="*/ 4017 h 1123714"/>
              <a:gd name="connsiteX17" fmla="*/ 1242444 w 1635071"/>
              <a:gd name="connsiteY17" fmla="*/ 15586 h 1123714"/>
              <a:gd name="connsiteX18" fmla="*/ 1244815 w 1635071"/>
              <a:gd name="connsiteY18" fmla="*/ 30105 h 1123714"/>
              <a:gd name="connsiteX19" fmla="*/ 1252855 w 1635071"/>
              <a:gd name="connsiteY19" fmla="*/ 49483 h 1123714"/>
              <a:gd name="connsiteX20" fmla="*/ 1240766 w 1635071"/>
              <a:gd name="connsiteY20" fmla="*/ 63250 h 1123714"/>
              <a:gd name="connsiteX21" fmla="*/ 1223818 w 1635071"/>
              <a:gd name="connsiteY21" fmla="*/ 89106 h 1123714"/>
              <a:gd name="connsiteX22" fmla="*/ 1210860 w 1635071"/>
              <a:gd name="connsiteY22" fmla="*/ 117392 h 1123714"/>
              <a:gd name="connsiteX23" fmla="*/ 1198829 w 1635071"/>
              <a:gd name="connsiteY23" fmla="*/ 129482 h 1123714"/>
              <a:gd name="connsiteX24" fmla="*/ 1172915 w 1635071"/>
              <a:gd name="connsiteY24" fmla="*/ 143249 h 1123714"/>
              <a:gd name="connsiteX25" fmla="*/ 1146307 w 1635071"/>
              <a:gd name="connsiteY25" fmla="*/ 135960 h 1123714"/>
              <a:gd name="connsiteX26" fmla="*/ 1140522 w 1635071"/>
              <a:gd name="connsiteY26" fmla="*/ 131391 h 1123714"/>
              <a:gd name="connsiteX27" fmla="*/ 1118657 w 1635071"/>
              <a:gd name="connsiteY27" fmla="*/ 175121 h 1123714"/>
              <a:gd name="connsiteX28" fmla="*/ 1116863 w 1635071"/>
              <a:gd name="connsiteY28" fmla="*/ 189119 h 1123714"/>
              <a:gd name="connsiteX29" fmla="*/ 1113393 w 1635071"/>
              <a:gd name="connsiteY29" fmla="*/ 203233 h 1123714"/>
              <a:gd name="connsiteX30" fmla="*/ 1141505 w 1635071"/>
              <a:gd name="connsiteY30" fmla="*/ 205026 h 1123714"/>
              <a:gd name="connsiteX31" fmla="*/ 1167940 w 1635071"/>
              <a:gd name="connsiteY31" fmla="*/ 208497 h 1123714"/>
              <a:gd name="connsiteX32" fmla="*/ 1188475 w 1635071"/>
              <a:gd name="connsiteY32" fmla="*/ 200526 h 1123714"/>
              <a:gd name="connsiteX33" fmla="*/ 1194317 w 1635071"/>
              <a:gd name="connsiteY33" fmla="*/ 205026 h 1123714"/>
              <a:gd name="connsiteX34" fmla="*/ 1229487 w 1635071"/>
              <a:gd name="connsiteY34" fmla="*/ 241931 h 1123714"/>
              <a:gd name="connsiteX35" fmla="*/ 1201374 w 1635071"/>
              <a:gd name="connsiteY35" fmla="*/ 245459 h 1123714"/>
              <a:gd name="connsiteX36" fmla="*/ 1166205 w 1635071"/>
              <a:gd name="connsiteY36" fmla="*/ 252516 h 1123714"/>
              <a:gd name="connsiteX37" fmla="*/ 1132713 w 1635071"/>
              <a:gd name="connsiteY37" fmla="*/ 266573 h 1123714"/>
              <a:gd name="connsiteX38" fmla="*/ 1108071 w 1635071"/>
              <a:gd name="connsiteY38" fmla="*/ 289710 h 1123714"/>
              <a:gd name="connsiteX39" fmla="*/ 1067580 w 1635071"/>
              <a:gd name="connsiteY39" fmla="*/ 302031 h 1123714"/>
              <a:gd name="connsiteX40" fmla="*/ 1023619 w 1635071"/>
              <a:gd name="connsiteY40" fmla="*/ 305560 h 1123714"/>
              <a:gd name="connsiteX41" fmla="*/ 997473 w 1635071"/>
              <a:gd name="connsiteY41" fmla="*/ 312027 h 1123714"/>
              <a:gd name="connsiteX42" fmla="*/ 997184 w 1635071"/>
              <a:gd name="connsiteY42" fmla="*/ 312559 h 1123714"/>
              <a:gd name="connsiteX43" fmla="*/ 1004241 w 1635071"/>
              <a:gd name="connsiteY43" fmla="*/ 344257 h 1123714"/>
              <a:gd name="connsiteX44" fmla="*/ 970807 w 1635071"/>
              <a:gd name="connsiteY44" fmla="*/ 370634 h 1123714"/>
              <a:gd name="connsiteX45" fmla="*/ 921581 w 1635071"/>
              <a:gd name="connsiteY45" fmla="*/ 391805 h 1123714"/>
              <a:gd name="connsiteX46" fmla="*/ 859978 w 1635071"/>
              <a:gd name="connsiteY46" fmla="*/ 393483 h 1123714"/>
              <a:gd name="connsiteX47" fmla="*/ 812487 w 1635071"/>
              <a:gd name="connsiteY47" fmla="*/ 418182 h 1123714"/>
              <a:gd name="connsiteX48" fmla="*/ 791316 w 1635071"/>
              <a:gd name="connsiteY48" fmla="*/ 407597 h 1123714"/>
              <a:gd name="connsiteX49" fmla="*/ 763203 w 1635071"/>
              <a:gd name="connsiteY49" fmla="*/ 400540 h 1123714"/>
              <a:gd name="connsiteX50" fmla="*/ 733298 w 1635071"/>
              <a:gd name="connsiteY50" fmla="*/ 393483 h 1123714"/>
              <a:gd name="connsiteX51" fmla="*/ 684015 w 1635071"/>
              <a:gd name="connsiteY51" fmla="*/ 382955 h 1123714"/>
              <a:gd name="connsiteX52" fmla="*/ 618882 w 1635071"/>
              <a:gd name="connsiteY52" fmla="*/ 381220 h 1123714"/>
              <a:gd name="connsiteX53" fmla="*/ 583713 w 1635071"/>
              <a:gd name="connsiteY53" fmla="*/ 377691 h 1123714"/>
              <a:gd name="connsiteX54" fmla="*/ 567864 w 1635071"/>
              <a:gd name="connsiteY54" fmla="*/ 349579 h 1123714"/>
              <a:gd name="connsiteX55" fmla="*/ 546751 w 1635071"/>
              <a:gd name="connsiteY55" fmla="*/ 326441 h 1123714"/>
              <a:gd name="connsiteX56" fmla="*/ 529397 w 1635071"/>
              <a:gd name="connsiteY56" fmla="*/ 314121 h 1123714"/>
              <a:gd name="connsiteX57" fmla="*/ 508920 w 1635071"/>
              <a:gd name="connsiteY57" fmla="*/ 301742 h 1123714"/>
              <a:gd name="connsiteX58" fmla="*/ 447374 w 1635071"/>
              <a:gd name="connsiteY58" fmla="*/ 286645 h 1123714"/>
              <a:gd name="connsiteX59" fmla="*/ 453564 w 1635071"/>
              <a:gd name="connsiteY59" fmla="*/ 264317 h 1123714"/>
              <a:gd name="connsiteX60" fmla="*/ 455241 w 1635071"/>
              <a:gd name="connsiteY60" fmla="*/ 236898 h 1123714"/>
              <a:gd name="connsiteX61" fmla="*/ 440664 w 1635071"/>
              <a:gd name="connsiteY61" fmla="*/ 216248 h 1123714"/>
              <a:gd name="connsiteX62" fmla="*/ 417527 w 1635071"/>
              <a:gd name="connsiteY62" fmla="*/ 197217 h 1123714"/>
              <a:gd name="connsiteX63" fmla="*/ 392943 w 1635071"/>
              <a:gd name="connsiteY63" fmla="*/ 183797 h 1123714"/>
              <a:gd name="connsiteX64" fmla="*/ 373334 w 1635071"/>
              <a:gd name="connsiteY64" fmla="*/ 158635 h 1123714"/>
              <a:gd name="connsiteX65" fmla="*/ 372466 w 1635071"/>
              <a:gd name="connsiteY65" fmla="*/ 155396 h 1123714"/>
              <a:gd name="connsiteX66" fmla="*/ 361996 w 1635071"/>
              <a:gd name="connsiteY66" fmla="*/ 153718 h 1123714"/>
              <a:gd name="connsiteX67" fmla="*/ 354823 w 1635071"/>
              <a:gd name="connsiteY67" fmla="*/ 149438 h 1123714"/>
              <a:gd name="connsiteX68" fmla="*/ 345394 w 1635071"/>
              <a:gd name="connsiteY68" fmla="*/ 166791 h 1123714"/>
              <a:gd name="connsiteX69" fmla="*/ 333825 w 1635071"/>
              <a:gd name="connsiteY69" fmla="*/ 181888 h 1123714"/>
              <a:gd name="connsiteX70" fmla="*/ 315952 w 1635071"/>
              <a:gd name="connsiteY70" fmla="*/ 202597 h 1123714"/>
              <a:gd name="connsiteX71" fmla="*/ 319828 w 1635071"/>
              <a:gd name="connsiteY71" fmla="*/ 224404 h 1123714"/>
              <a:gd name="connsiteX72" fmla="*/ 294144 w 1635071"/>
              <a:gd name="connsiteY72" fmla="*/ 233891 h 1123714"/>
              <a:gd name="connsiteX73" fmla="*/ 268982 w 1635071"/>
              <a:gd name="connsiteY73" fmla="*/ 231635 h 1123714"/>
              <a:gd name="connsiteX74" fmla="*/ 250530 w 1635071"/>
              <a:gd name="connsiteY74" fmla="*/ 231635 h 1123714"/>
              <a:gd name="connsiteX75" fmla="*/ 233755 w 1635071"/>
              <a:gd name="connsiteY75" fmla="*/ 284215 h 1123714"/>
              <a:gd name="connsiteX76" fmla="*/ 233755 w 1635071"/>
              <a:gd name="connsiteY76" fmla="*/ 297056 h 1123714"/>
              <a:gd name="connsiteX77" fmla="*/ 214204 w 1635071"/>
              <a:gd name="connsiteY77" fmla="*/ 292024 h 1123714"/>
              <a:gd name="connsiteX78" fmla="*/ 188463 w 1635071"/>
              <a:gd name="connsiteY78" fmla="*/ 297056 h 1123714"/>
              <a:gd name="connsiteX79" fmla="*/ 172729 w 1635071"/>
              <a:gd name="connsiteY79" fmla="*/ 307758 h 1123714"/>
              <a:gd name="connsiteX80" fmla="*/ 178861 w 1635071"/>
              <a:gd name="connsiteY80" fmla="*/ 331358 h 1123714"/>
              <a:gd name="connsiteX81" fmla="*/ 189736 w 1635071"/>
              <a:gd name="connsiteY81" fmla="*/ 361669 h 1123714"/>
              <a:gd name="connsiteX82" fmla="*/ 175217 w 1635071"/>
              <a:gd name="connsiteY82" fmla="*/ 382261 h 1123714"/>
              <a:gd name="connsiteX83" fmla="*/ 173423 w 1635071"/>
              <a:gd name="connsiteY83" fmla="*/ 399210 h 1123714"/>
              <a:gd name="connsiteX84" fmla="*/ 149187 w 1635071"/>
              <a:gd name="connsiteY84" fmla="*/ 411357 h 1123714"/>
              <a:gd name="connsiteX85" fmla="*/ 127958 w 1635071"/>
              <a:gd name="connsiteY85" fmla="*/ 423446 h 1123714"/>
              <a:gd name="connsiteX86" fmla="*/ 106150 w 1635071"/>
              <a:gd name="connsiteY86" fmla="*/ 435536 h 1123714"/>
              <a:gd name="connsiteX87" fmla="*/ 81278 w 1635071"/>
              <a:gd name="connsiteY87" fmla="*/ 442824 h 1123714"/>
              <a:gd name="connsiteX88" fmla="*/ 64965 w 1635071"/>
              <a:gd name="connsiteY88" fmla="*/ 453757 h 1123714"/>
              <a:gd name="connsiteX89" fmla="*/ 47959 w 1635071"/>
              <a:gd name="connsiteY89" fmla="*/ 448262 h 1123714"/>
              <a:gd name="connsiteX90" fmla="*/ 31647 w 1635071"/>
              <a:gd name="connsiteY90" fmla="*/ 453757 h 1123714"/>
              <a:gd name="connsiteX91" fmla="*/ 16492 w 1635071"/>
              <a:gd name="connsiteY91" fmla="*/ 463417 h 1123714"/>
              <a:gd name="connsiteX92" fmla="*/ 4345 w 1635071"/>
              <a:gd name="connsiteY92" fmla="*/ 470705 h 1123714"/>
              <a:gd name="connsiteX93" fmla="*/ -110 w 1635071"/>
              <a:gd name="connsiteY93" fmla="*/ 484241 h 1123714"/>
              <a:gd name="connsiteX94" fmla="*/ -110 w 1635071"/>
              <a:gd name="connsiteY94" fmla="*/ 484241 h 1123714"/>
              <a:gd name="connsiteX95" fmla="*/ 4171 w 1635071"/>
              <a:gd name="connsiteY95" fmla="*/ 507957 h 1123714"/>
              <a:gd name="connsiteX96" fmla="*/ 31127 w 1635071"/>
              <a:gd name="connsiteY96" fmla="*/ 525310 h 1123714"/>
              <a:gd name="connsiteX97" fmla="*/ 36564 w 1635071"/>
              <a:gd name="connsiteY97" fmla="*/ 561983 h 1123714"/>
              <a:gd name="connsiteX98" fmla="*/ 35754 w 1635071"/>
              <a:gd name="connsiteY98" fmla="*/ 561983 h 1123714"/>
              <a:gd name="connsiteX99" fmla="*/ 60627 w 1635071"/>
              <a:gd name="connsiteY99" fmla="*/ 582229 h 1123714"/>
              <a:gd name="connsiteX100" fmla="*/ 74626 w 1635071"/>
              <a:gd name="connsiteY100" fmla="*/ 602822 h 1123714"/>
              <a:gd name="connsiteX101" fmla="*/ 95912 w 1635071"/>
              <a:gd name="connsiteY101" fmla="*/ 614390 h 1123714"/>
              <a:gd name="connsiteX102" fmla="*/ 96953 w 1635071"/>
              <a:gd name="connsiteY102" fmla="*/ 611787 h 1123714"/>
              <a:gd name="connsiteX103" fmla="*/ 107712 w 1635071"/>
              <a:gd name="connsiteY103" fmla="*/ 610688 h 1123714"/>
              <a:gd name="connsiteX104" fmla="*/ 113901 w 1635071"/>
              <a:gd name="connsiteY104" fmla="*/ 615952 h 1123714"/>
              <a:gd name="connsiteX105" fmla="*/ 144906 w 1635071"/>
              <a:gd name="connsiteY105" fmla="*/ 598194 h 1123714"/>
              <a:gd name="connsiteX106" fmla="*/ 176373 w 1635071"/>
              <a:gd name="connsiteY106" fmla="*/ 624282 h 1123714"/>
              <a:gd name="connsiteX107" fmla="*/ 149129 w 1635071"/>
              <a:gd name="connsiteY107" fmla="*/ 656964 h 1123714"/>
              <a:gd name="connsiteX108" fmla="*/ 137560 w 1635071"/>
              <a:gd name="connsiteY108" fmla="*/ 658121 h 1123714"/>
              <a:gd name="connsiteX109" fmla="*/ 135882 w 1635071"/>
              <a:gd name="connsiteY109" fmla="*/ 667896 h 1123714"/>
              <a:gd name="connsiteX110" fmla="*/ 150980 w 1635071"/>
              <a:gd name="connsiteY110" fmla="*/ 691612 h 1123714"/>
              <a:gd name="connsiteX111" fmla="*/ 134784 w 1635071"/>
              <a:gd name="connsiteY111" fmla="*/ 701330 h 1123714"/>
              <a:gd name="connsiteX112" fmla="*/ 128305 w 1635071"/>
              <a:gd name="connsiteY112" fmla="*/ 713188 h 1123714"/>
              <a:gd name="connsiteX113" fmla="*/ 138023 w 1635071"/>
              <a:gd name="connsiteY113" fmla="*/ 734764 h 1123714"/>
              <a:gd name="connsiteX114" fmla="*/ 160698 w 1635071"/>
              <a:gd name="connsiteY114" fmla="*/ 750903 h 1123714"/>
              <a:gd name="connsiteX115" fmla="*/ 176894 w 1635071"/>
              <a:gd name="connsiteY115" fmla="*/ 764959 h 1123714"/>
              <a:gd name="connsiteX116" fmla="*/ 188463 w 1635071"/>
              <a:gd name="connsiteY116" fmla="*/ 776817 h 1123714"/>
              <a:gd name="connsiteX117" fmla="*/ 187942 w 1635071"/>
              <a:gd name="connsiteY117" fmla="*/ 778437 h 1123714"/>
              <a:gd name="connsiteX118" fmla="*/ 204717 w 1635071"/>
              <a:gd name="connsiteY118" fmla="*/ 773289 h 1123714"/>
              <a:gd name="connsiteX119" fmla="*/ 226525 w 1635071"/>
              <a:gd name="connsiteY119" fmla="*/ 777511 h 1123714"/>
              <a:gd name="connsiteX120" fmla="*/ 282229 w 1635071"/>
              <a:gd name="connsiteY120" fmla="*/ 818002 h 1123714"/>
              <a:gd name="connsiteX121" fmla="*/ 334925 w 1635071"/>
              <a:gd name="connsiteY121" fmla="*/ 839173 h 1123714"/>
              <a:gd name="connsiteX122" fmla="*/ 370672 w 1635071"/>
              <a:gd name="connsiteY122" fmla="*/ 845825 h 1123714"/>
              <a:gd name="connsiteX123" fmla="*/ 376920 w 1635071"/>
              <a:gd name="connsiteY123" fmla="*/ 845825 h 1123714"/>
              <a:gd name="connsiteX124" fmla="*/ 385885 w 1635071"/>
              <a:gd name="connsiteY124" fmla="*/ 839058 h 1123714"/>
              <a:gd name="connsiteX125" fmla="*/ 394504 w 1635071"/>
              <a:gd name="connsiteY125" fmla="*/ 853056 h 1123714"/>
              <a:gd name="connsiteX126" fmla="*/ 396008 w 1635071"/>
              <a:gd name="connsiteY126" fmla="*/ 865087 h 1123714"/>
              <a:gd name="connsiteX127" fmla="*/ 402198 w 1635071"/>
              <a:gd name="connsiteY127" fmla="*/ 853519 h 1123714"/>
              <a:gd name="connsiteX128" fmla="*/ 421575 w 1635071"/>
              <a:gd name="connsiteY128" fmla="*/ 836570 h 1123714"/>
              <a:gd name="connsiteX129" fmla="*/ 443961 w 1635071"/>
              <a:gd name="connsiteY129" fmla="*/ 840215 h 1123714"/>
              <a:gd name="connsiteX130" fmla="*/ 475486 w 1635071"/>
              <a:gd name="connsiteY130" fmla="*/ 848833 h 1123714"/>
              <a:gd name="connsiteX131" fmla="*/ 485088 w 1635071"/>
              <a:gd name="connsiteY131" fmla="*/ 845536 h 1123714"/>
              <a:gd name="connsiteX132" fmla="*/ 498045 w 1635071"/>
              <a:gd name="connsiteY132" fmla="*/ 833967 h 1123714"/>
              <a:gd name="connsiteX133" fmla="*/ 508804 w 1635071"/>
              <a:gd name="connsiteY133" fmla="*/ 823150 h 1123714"/>
              <a:gd name="connsiteX134" fmla="*/ 532520 w 1635071"/>
              <a:gd name="connsiteY134" fmla="*/ 808111 h 1123714"/>
              <a:gd name="connsiteX135" fmla="*/ 564914 w 1635071"/>
              <a:gd name="connsiteY135" fmla="*/ 807012 h 1123714"/>
              <a:gd name="connsiteX136" fmla="*/ 578912 w 1635071"/>
              <a:gd name="connsiteY136" fmla="*/ 804871 h 1123714"/>
              <a:gd name="connsiteX137" fmla="*/ 589728 w 1635071"/>
              <a:gd name="connsiteY137" fmla="*/ 823150 h 1123714"/>
              <a:gd name="connsiteX138" fmla="*/ 605405 w 1635071"/>
              <a:gd name="connsiteY138" fmla="*/ 831711 h 1123714"/>
              <a:gd name="connsiteX139" fmla="*/ 609974 w 1635071"/>
              <a:gd name="connsiteY139" fmla="*/ 828993 h 1123714"/>
              <a:gd name="connsiteX140" fmla="*/ 628137 w 1635071"/>
              <a:gd name="connsiteY140" fmla="*/ 836859 h 1123714"/>
              <a:gd name="connsiteX141" fmla="*/ 634211 w 1635071"/>
              <a:gd name="connsiteY141" fmla="*/ 852015 h 1123714"/>
              <a:gd name="connsiteX142" fmla="*/ 645086 w 1635071"/>
              <a:gd name="connsiteY142" fmla="*/ 865319 h 1123714"/>
              <a:gd name="connsiteX143" fmla="*/ 638434 w 1635071"/>
              <a:gd name="connsiteY143" fmla="*/ 905347 h 1123714"/>
              <a:gd name="connsiteX144" fmla="*/ 616048 w 1635071"/>
              <a:gd name="connsiteY144" fmla="*/ 943466 h 1123714"/>
              <a:gd name="connsiteX145" fmla="*/ 620849 w 1635071"/>
              <a:gd name="connsiteY145" fmla="*/ 956828 h 1123714"/>
              <a:gd name="connsiteX146" fmla="*/ 645722 w 1635071"/>
              <a:gd name="connsiteY146" fmla="*/ 961630 h 1123714"/>
              <a:gd name="connsiteX147" fmla="*/ 654167 w 1635071"/>
              <a:gd name="connsiteY147" fmla="*/ 984073 h 1123714"/>
              <a:gd name="connsiteX148" fmla="*/ 664521 w 1635071"/>
              <a:gd name="connsiteY148" fmla="*/ 996163 h 1123714"/>
              <a:gd name="connsiteX149" fmla="*/ 664521 w 1635071"/>
              <a:gd name="connsiteY149" fmla="*/ 1014384 h 1123714"/>
              <a:gd name="connsiteX150" fmla="*/ 679619 w 1635071"/>
              <a:gd name="connsiteY150" fmla="*/ 1021614 h 1123714"/>
              <a:gd name="connsiteX151" fmla="*/ 696625 w 1635071"/>
              <a:gd name="connsiteY151" fmla="*/ 1030696 h 1123714"/>
              <a:gd name="connsiteX152" fmla="*/ 708888 w 1635071"/>
              <a:gd name="connsiteY152" fmla="*/ 1028208 h 1123714"/>
              <a:gd name="connsiteX153" fmla="*/ 722366 w 1635071"/>
              <a:gd name="connsiteY153" fmla="*/ 1041050 h 1123714"/>
              <a:gd name="connsiteX154" fmla="*/ 723407 w 1635071"/>
              <a:gd name="connsiteY154" fmla="*/ 1019474 h 1123714"/>
              <a:gd name="connsiteX155" fmla="*/ 727745 w 1635071"/>
              <a:gd name="connsiteY155" fmla="*/ 1005476 h 1123714"/>
              <a:gd name="connsiteX156" fmla="*/ 746082 w 1635071"/>
              <a:gd name="connsiteY156" fmla="*/ 998939 h 1123714"/>
              <a:gd name="connsiteX157" fmla="*/ 766559 w 1635071"/>
              <a:gd name="connsiteY157" fmla="*/ 996799 h 1123714"/>
              <a:gd name="connsiteX158" fmla="*/ 790333 w 1635071"/>
              <a:gd name="connsiteY158" fmla="*/ 996799 h 1123714"/>
              <a:gd name="connsiteX159" fmla="*/ 808670 w 1635071"/>
              <a:gd name="connsiteY159" fmla="*/ 993559 h 1123714"/>
              <a:gd name="connsiteX160" fmla="*/ 830245 w 1635071"/>
              <a:gd name="connsiteY160" fmla="*/ 979561 h 1123714"/>
              <a:gd name="connsiteX161" fmla="*/ 852805 w 1635071"/>
              <a:gd name="connsiteY161" fmla="*/ 991130 h 1123714"/>
              <a:gd name="connsiteX162" fmla="*/ 860382 w 1635071"/>
              <a:gd name="connsiteY162" fmla="*/ 1007326 h 1123714"/>
              <a:gd name="connsiteX163" fmla="*/ 887396 w 1635071"/>
              <a:gd name="connsiteY163" fmla="*/ 1027804 h 1123714"/>
              <a:gd name="connsiteX164" fmla="*/ 893180 w 1635071"/>
              <a:gd name="connsiteY164" fmla="*/ 1032257 h 1123714"/>
              <a:gd name="connsiteX165" fmla="*/ 909897 w 1635071"/>
              <a:gd name="connsiteY165" fmla="*/ 1027804 h 1123714"/>
              <a:gd name="connsiteX166" fmla="*/ 924821 w 1635071"/>
              <a:gd name="connsiteY166" fmla="*/ 1028613 h 1123714"/>
              <a:gd name="connsiteX167" fmla="*/ 940554 w 1635071"/>
              <a:gd name="connsiteY167" fmla="*/ 1028613 h 1123714"/>
              <a:gd name="connsiteX168" fmla="*/ 947843 w 1635071"/>
              <a:gd name="connsiteY168" fmla="*/ 1040182 h 1123714"/>
              <a:gd name="connsiteX169" fmla="*/ 953627 w 1635071"/>
              <a:gd name="connsiteY169" fmla="*/ 1063956 h 1123714"/>
              <a:gd name="connsiteX170" fmla="*/ 960916 w 1635071"/>
              <a:gd name="connsiteY170" fmla="*/ 1052387 h 1123714"/>
              <a:gd name="connsiteX171" fmla="*/ 999266 w 1635071"/>
              <a:gd name="connsiteY171" fmla="*/ 1029250 h 1123714"/>
              <a:gd name="connsiteX172" fmla="*/ 1052599 w 1635071"/>
              <a:gd name="connsiteY172" fmla="*/ 998187 h 1123714"/>
              <a:gd name="connsiteX173" fmla="*/ 1079265 w 1635071"/>
              <a:gd name="connsiteY173" fmla="*/ 998939 h 1123714"/>
              <a:gd name="connsiteX174" fmla="*/ 1126466 w 1635071"/>
              <a:gd name="connsiteY174" fmla="*/ 991304 h 1123714"/>
              <a:gd name="connsiteX175" fmla="*/ 1142663 w 1635071"/>
              <a:gd name="connsiteY175" fmla="*/ 977190 h 1123714"/>
              <a:gd name="connsiteX176" fmla="*/ 1158801 w 1635071"/>
              <a:gd name="connsiteY176" fmla="*/ 964233 h 1123714"/>
              <a:gd name="connsiteX177" fmla="*/ 1174535 w 1635071"/>
              <a:gd name="connsiteY177" fmla="*/ 947689 h 1123714"/>
              <a:gd name="connsiteX178" fmla="*/ 1193103 w 1635071"/>
              <a:gd name="connsiteY178" fmla="*/ 936120 h 1123714"/>
              <a:gd name="connsiteX179" fmla="*/ 1206870 w 1635071"/>
              <a:gd name="connsiteY179" fmla="*/ 922816 h 1123714"/>
              <a:gd name="connsiteX180" fmla="*/ 1218438 w 1635071"/>
              <a:gd name="connsiteY180" fmla="*/ 912693 h 1123714"/>
              <a:gd name="connsiteX181" fmla="*/ 1222083 w 1635071"/>
              <a:gd name="connsiteY181" fmla="*/ 891754 h 1123714"/>
              <a:gd name="connsiteX182" fmla="*/ 1218438 w 1635071"/>
              <a:gd name="connsiteY182" fmla="*/ 878392 h 1123714"/>
              <a:gd name="connsiteX183" fmla="*/ 1237411 w 1635071"/>
              <a:gd name="connsiteY183" fmla="*/ 869484 h 1123714"/>
              <a:gd name="connsiteX184" fmla="*/ 1249905 w 1635071"/>
              <a:gd name="connsiteY184" fmla="*/ 850511 h 1123714"/>
              <a:gd name="connsiteX185" fmla="*/ 1267606 w 1635071"/>
              <a:gd name="connsiteY185" fmla="*/ 833967 h 1123714"/>
              <a:gd name="connsiteX186" fmla="*/ 1273390 w 1635071"/>
              <a:gd name="connsiteY186" fmla="*/ 811755 h 1123714"/>
              <a:gd name="connsiteX187" fmla="*/ 1277845 w 1635071"/>
              <a:gd name="connsiteY187" fmla="*/ 801227 h 1123714"/>
              <a:gd name="connsiteX188" fmla="*/ 1289413 w 1635071"/>
              <a:gd name="connsiteY188" fmla="*/ 784684 h 1123714"/>
              <a:gd name="connsiteX189" fmla="*/ 1277845 w 1635071"/>
              <a:gd name="connsiteY189" fmla="*/ 781502 h 1123714"/>
              <a:gd name="connsiteX190" fmla="*/ 1262110 w 1635071"/>
              <a:gd name="connsiteY190" fmla="*/ 775718 h 1123714"/>
              <a:gd name="connsiteX191" fmla="*/ 1252393 w 1635071"/>
              <a:gd name="connsiteY191" fmla="*/ 769934 h 1123714"/>
              <a:gd name="connsiteX192" fmla="*/ 1281315 w 1635071"/>
              <a:gd name="connsiteY192" fmla="*/ 755820 h 1123714"/>
              <a:gd name="connsiteX193" fmla="*/ 1264714 w 1635071"/>
              <a:gd name="connsiteY193" fmla="*/ 740838 h 1123714"/>
              <a:gd name="connsiteX194" fmla="*/ 1240535 w 1635071"/>
              <a:gd name="connsiteY194" fmla="*/ 723080 h 1123714"/>
              <a:gd name="connsiteX195" fmla="*/ 1255863 w 1635071"/>
              <a:gd name="connsiteY195" fmla="*/ 722270 h 1123714"/>
              <a:gd name="connsiteX196" fmla="*/ 1280101 w 1635071"/>
              <a:gd name="connsiteY196" fmla="*/ 727129 h 1123714"/>
              <a:gd name="connsiteX197" fmla="*/ 1256963 w 1635071"/>
              <a:gd name="connsiteY197" fmla="*/ 701272 h 1123714"/>
              <a:gd name="connsiteX198" fmla="*/ 1252161 w 1635071"/>
              <a:gd name="connsiteY198" fmla="*/ 684671 h 1123714"/>
              <a:gd name="connsiteX199" fmla="*/ 1234808 w 1635071"/>
              <a:gd name="connsiteY199" fmla="*/ 651642 h 1123714"/>
              <a:gd name="connsiteX200" fmla="*/ 1210630 w 1635071"/>
              <a:gd name="connsiteY200" fmla="*/ 634636 h 1123714"/>
              <a:gd name="connsiteX201" fmla="*/ 1223587 w 1635071"/>
              <a:gd name="connsiteY201" fmla="*/ 609184 h 1123714"/>
              <a:gd name="connsiteX202" fmla="*/ 1236428 w 1635071"/>
              <a:gd name="connsiteY202" fmla="*/ 594665 h 1123714"/>
              <a:gd name="connsiteX203" fmla="*/ 1251409 w 1635071"/>
              <a:gd name="connsiteY203" fmla="*/ 584138 h 1123714"/>
              <a:gd name="connsiteX204" fmla="*/ 1268011 w 1635071"/>
              <a:gd name="connsiteY204" fmla="*/ 575693 h 1123714"/>
              <a:gd name="connsiteX205" fmla="*/ 1299015 w 1635071"/>
              <a:gd name="connsiteY205" fmla="*/ 566437 h 1123714"/>
              <a:gd name="connsiteX206" fmla="*/ 1283282 w 1635071"/>
              <a:gd name="connsiteY206" fmla="*/ 549084 h 1123714"/>
              <a:gd name="connsiteX207" fmla="*/ 1256615 w 1635071"/>
              <a:gd name="connsiteY207" fmla="*/ 538151 h 1123714"/>
              <a:gd name="connsiteX208" fmla="*/ 1220289 w 1635071"/>
              <a:gd name="connsiteY208" fmla="*/ 561983 h 1123714"/>
              <a:gd name="connsiteX209" fmla="*/ 1203341 w 1635071"/>
              <a:gd name="connsiteY209" fmla="*/ 540176 h 1123714"/>
              <a:gd name="connsiteX210" fmla="*/ 1175055 w 1635071"/>
              <a:gd name="connsiteY210" fmla="*/ 530458 h 1123714"/>
              <a:gd name="connsiteX211" fmla="*/ 1174708 w 1635071"/>
              <a:gd name="connsiteY211" fmla="*/ 496561 h 1123714"/>
              <a:gd name="connsiteX212" fmla="*/ 1208604 w 1635071"/>
              <a:gd name="connsiteY212" fmla="*/ 486497 h 1123714"/>
              <a:gd name="connsiteX213" fmla="*/ 1240535 w 1635071"/>
              <a:gd name="connsiteY213" fmla="*/ 464284 h 1123714"/>
              <a:gd name="connsiteX214" fmla="*/ 1286810 w 1635071"/>
              <a:gd name="connsiteY214" fmla="*/ 446121 h 1123714"/>
              <a:gd name="connsiteX215" fmla="*/ 1268242 w 1635071"/>
              <a:gd name="connsiteY215" fmla="*/ 483257 h 1123714"/>
              <a:gd name="connsiteX216" fmla="*/ 1264193 w 1635071"/>
              <a:gd name="connsiteY216" fmla="*/ 504197 h 1123714"/>
              <a:gd name="connsiteX217" fmla="*/ 1283166 w 1635071"/>
              <a:gd name="connsiteY217" fmla="*/ 503850 h 1123714"/>
              <a:gd name="connsiteX218" fmla="*/ 1333664 w 1635071"/>
              <a:gd name="connsiteY218" fmla="*/ 475564 h 1123714"/>
              <a:gd name="connsiteX219" fmla="*/ 1346852 w 1635071"/>
              <a:gd name="connsiteY219" fmla="*/ 473944 h 1123714"/>
              <a:gd name="connsiteX220" fmla="*/ 1354546 w 1635071"/>
              <a:gd name="connsiteY220" fmla="*/ 461913 h 1123714"/>
              <a:gd name="connsiteX221" fmla="*/ 1405565 w 1635071"/>
              <a:gd name="connsiteY221" fmla="*/ 433743 h 1123714"/>
              <a:gd name="connsiteX222" fmla="*/ 1422918 w 1635071"/>
              <a:gd name="connsiteY222" fmla="*/ 414423 h 1123714"/>
              <a:gd name="connsiteX223" fmla="*/ 1440271 w 1635071"/>
              <a:gd name="connsiteY223" fmla="*/ 421480 h 1123714"/>
              <a:gd name="connsiteX224" fmla="*/ 1457624 w 1635071"/>
              <a:gd name="connsiteY224" fmla="*/ 416158 h 1123714"/>
              <a:gd name="connsiteX225" fmla="*/ 1468210 w 1635071"/>
              <a:gd name="connsiteY225" fmla="*/ 405572 h 1123714"/>
              <a:gd name="connsiteX226" fmla="*/ 1487588 w 1635071"/>
              <a:gd name="connsiteY226" fmla="*/ 391574 h 1123714"/>
              <a:gd name="connsiteX227" fmla="*/ 1503379 w 1635071"/>
              <a:gd name="connsiteY227" fmla="*/ 370403 h 1123714"/>
              <a:gd name="connsiteX228" fmla="*/ 1526517 w 1635071"/>
              <a:gd name="connsiteY228" fmla="*/ 379195 h 1123714"/>
              <a:gd name="connsiteX229" fmla="*/ 1533979 w 1635071"/>
              <a:gd name="connsiteY229" fmla="*/ 380294 h 1123714"/>
              <a:gd name="connsiteX230" fmla="*/ 1540689 w 1635071"/>
              <a:gd name="connsiteY230" fmla="*/ 375262 h 1123714"/>
              <a:gd name="connsiteX231" fmla="*/ 1538722 w 1635071"/>
              <a:gd name="connsiteY231" fmla="*/ 349174 h 1123714"/>
              <a:gd name="connsiteX232" fmla="*/ 1537102 w 1635071"/>
              <a:gd name="connsiteY232" fmla="*/ 326557 h 1123714"/>
              <a:gd name="connsiteX233" fmla="*/ 1541152 w 1635071"/>
              <a:gd name="connsiteY233" fmla="*/ 307179 h 1123714"/>
              <a:gd name="connsiteX234" fmla="*/ 1563711 w 1635071"/>
              <a:gd name="connsiteY234" fmla="*/ 296652 h 1123714"/>
              <a:gd name="connsiteX235" fmla="*/ 1587948 w 1635071"/>
              <a:gd name="connsiteY235" fmla="*/ 296652 h 1123714"/>
              <a:gd name="connsiteX236" fmla="*/ 1600905 w 1635071"/>
              <a:gd name="connsiteY236" fmla="*/ 278893 h 1123714"/>
              <a:gd name="connsiteX237" fmla="*/ 1617044 w 1635071"/>
              <a:gd name="connsiteY237" fmla="*/ 257896 h 1123714"/>
              <a:gd name="connsiteX238" fmla="*/ 1631620 w 1635071"/>
              <a:gd name="connsiteY238" fmla="*/ 223189 h 1123714"/>
              <a:gd name="connsiteX239" fmla="*/ 1631157 w 1635071"/>
              <a:gd name="connsiteY239" fmla="*/ 200283 h 1123714"/>
              <a:gd name="connsiteX240" fmla="*/ 1235386 w 1635071"/>
              <a:gd name="connsiteY240" fmla="*/ 965158 h 1123714"/>
              <a:gd name="connsiteX241" fmla="*/ 1249905 w 1635071"/>
              <a:gd name="connsiteY241" fmla="*/ 1012012 h 1123714"/>
              <a:gd name="connsiteX242" fmla="*/ 1283860 w 1635071"/>
              <a:gd name="connsiteY242" fmla="*/ 927212 h 1123714"/>
              <a:gd name="connsiteX243" fmla="*/ 1235386 w 1635071"/>
              <a:gd name="connsiteY243" fmla="*/ 965158 h 1123714"/>
              <a:gd name="connsiteX244" fmla="*/ 947033 w 1635071"/>
              <a:gd name="connsiteY244" fmla="*/ 1075062 h 1123714"/>
              <a:gd name="connsiteX245" fmla="*/ 920367 w 1635071"/>
              <a:gd name="connsiteY245" fmla="*/ 1112198 h 1123714"/>
              <a:gd name="connsiteX246" fmla="*/ 966642 w 1635071"/>
              <a:gd name="connsiteY246" fmla="*/ 1109711 h 1123714"/>
              <a:gd name="connsiteX247" fmla="*/ 981161 w 1635071"/>
              <a:gd name="connsiteY247" fmla="*/ 1077492 h 1123714"/>
              <a:gd name="connsiteX248" fmla="*/ 947033 w 1635071"/>
              <a:gd name="connsiteY248" fmla="*/ 1075062 h 112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635071" h="1123714">
                <a:moveTo>
                  <a:pt x="1631157" y="200283"/>
                </a:moveTo>
                <a:cubicBezTo>
                  <a:pt x="1631967" y="185706"/>
                  <a:pt x="1614961" y="190623"/>
                  <a:pt x="1609292" y="194498"/>
                </a:cubicBezTo>
                <a:cubicBezTo>
                  <a:pt x="1603623" y="198374"/>
                  <a:pt x="1587542" y="194498"/>
                  <a:pt x="1582684" y="204216"/>
                </a:cubicBezTo>
                <a:cubicBezTo>
                  <a:pt x="1577825" y="213934"/>
                  <a:pt x="1569727" y="208265"/>
                  <a:pt x="1558447" y="210001"/>
                </a:cubicBezTo>
                <a:cubicBezTo>
                  <a:pt x="1547167" y="211736"/>
                  <a:pt x="1530971" y="206762"/>
                  <a:pt x="1531780" y="199473"/>
                </a:cubicBezTo>
                <a:cubicBezTo>
                  <a:pt x="1532590" y="192185"/>
                  <a:pt x="1525302" y="184954"/>
                  <a:pt x="1525996" y="176046"/>
                </a:cubicBezTo>
                <a:cubicBezTo>
                  <a:pt x="1526691" y="167138"/>
                  <a:pt x="1514427" y="171187"/>
                  <a:pt x="1506618" y="163147"/>
                </a:cubicBezTo>
                <a:cubicBezTo>
                  <a:pt x="1498809" y="155107"/>
                  <a:pt x="1482440" y="149380"/>
                  <a:pt x="1479200" y="151000"/>
                </a:cubicBezTo>
                <a:cubicBezTo>
                  <a:pt x="1475961" y="152619"/>
                  <a:pt x="1466243" y="142149"/>
                  <a:pt x="1452476" y="141340"/>
                </a:cubicBezTo>
                <a:cubicBezTo>
                  <a:pt x="1438709" y="140530"/>
                  <a:pt x="1440387" y="131564"/>
                  <a:pt x="1442007" y="125953"/>
                </a:cubicBezTo>
                <a:cubicBezTo>
                  <a:pt x="1443626" y="120342"/>
                  <a:pt x="1430438" y="102526"/>
                  <a:pt x="1428298" y="92808"/>
                </a:cubicBezTo>
                <a:cubicBezTo>
                  <a:pt x="1426157" y="83090"/>
                  <a:pt x="1416208" y="81529"/>
                  <a:pt x="1412101" y="60531"/>
                </a:cubicBezTo>
                <a:cubicBezTo>
                  <a:pt x="1407994" y="39534"/>
                  <a:pt x="1396772" y="45202"/>
                  <a:pt x="1399202" y="35542"/>
                </a:cubicBezTo>
                <a:cubicBezTo>
                  <a:pt x="1401631" y="25882"/>
                  <a:pt x="1385493" y="20966"/>
                  <a:pt x="1381443" y="15297"/>
                </a:cubicBezTo>
                <a:cubicBezTo>
                  <a:pt x="1377394" y="9628"/>
                  <a:pt x="1360446" y="12058"/>
                  <a:pt x="1348356" y="5579"/>
                </a:cubicBezTo>
                <a:cubicBezTo>
                  <a:pt x="1336267" y="-900"/>
                  <a:pt x="1328979" y="4017"/>
                  <a:pt x="1317641" y="778"/>
                </a:cubicBezTo>
                <a:cubicBezTo>
                  <a:pt x="1306304" y="-2461"/>
                  <a:pt x="1280505" y="4017"/>
                  <a:pt x="1277150" y="4017"/>
                </a:cubicBezTo>
                <a:cubicBezTo>
                  <a:pt x="1273795" y="4017"/>
                  <a:pt x="1253665" y="-32"/>
                  <a:pt x="1242444" y="15586"/>
                </a:cubicBezTo>
                <a:cubicBezTo>
                  <a:pt x="1231222" y="31204"/>
                  <a:pt x="1240014" y="30105"/>
                  <a:pt x="1244815" y="30105"/>
                </a:cubicBezTo>
                <a:cubicBezTo>
                  <a:pt x="1249617" y="30105"/>
                  <a:pt x="1252103" y="44682"/>
                  <a:pt x="1252855" y="49483"/>
                </a:cubicBezTo>
                <a:cubicBezTo>
                  <a:pt x="1253607" y="54284"/>
                  <a:pt x="1244815" y="61630"/>
                  <a:pt x="1240766" y="63250"/>
                </a:cubicBezTo>
                <a:cubicBezTo>
                  <a:pt x="1236717" y="64870"/>
                  <a:pt x="1225437" y="82628"/>
                  <a:pt x="1223818" y="89106"/>
                </a:cubicBezTo>
                <a:cubicBezTo>
                  <a:pt x="1222198" y="95585"/>
                  <a:pt x="1209299" y="111666"/>
                  <a:pt x="1210860" y="117392"/>
                </a:cubicBezTo>
                <a:cubicBezTo>
                  <a:pt x="1212422" y="123119"/>
                  <a:pt x="1204440" y="128672"/>
                  <a:pt x="1198829" y="129482"/>
                </a:cubicBezTo>
                <a:cubicBezTo>
                  <a:pt x="1193218" y="130291"/>
                  <a:pt x="1177774" y="141629"/>
                  <a:pt x="1172915" y="143249"/>
                </a:cubicBezTo>
                <a:cubicBezTo>
                  <a:pt x="1168056" y="144868"/>
                  <a:pt x="1148736" y="141629"/>
                  <a:pt x="1146307" y="135960"/>
                </a:cubicBezTo>
                <a:cubicBezTo>
                  <a:pt x="1144976" y="133803"/>
                  <a:pt x="1142951" y="132183"/>
                  <a:pt x="1140522" y="131391"/>
                </a:cubicBezTo>
                <a:lnTo>
                  <a:pt x="1118657" y="175121"/>
                </a:lnTo>
                <a:lnTo>
                  <a:pt x="1116863" y="189119"/>
                </a:lnTo>
                <a:cubicBezTo>
                  <a:pt x="1116863" y="189119"/>
                  <a:pt x="1102866" y="192705"/>
                  <a:pt x="1113393" y="203233"/>
                </a:cubicBezTo>
                <a:cubicBezTo>
                  <a:pt x="1123921" y="213761"/>
                  <a:pt x="1125656" y="205026"/>
                  <a:pt x="1141505" y="205026"/>
                </a:cubicBezTo>
                <a:cubicBezTo>
                  <a:pt x="1157354" y="205026"/>
                  <a:pt x="1164643" y="217347"/>
                  <a:pt x="1167940" y="208497"/>
                </a:cubicBezTo>
                <a:cubicBezTo>
                  <a:pt x="1171411" y="200630"/>
                  <a:pt x="1180608" y="197061"/>
                  <a:pt x="1188475" y="200526"/>
                </a:cubicBezTo>
                <a:cubicBezTo>
                  <a:pt x="1190731" y="201532"/>
                  <a:pt x="1192755" y="203077"/>
                  <a:pt x="1194317" y="205026"/>
                </a:cubicBezTo>
                <a:cubicBezTo>
                  <a:pt x="1203110" y="215554"/>
                  <a:pt x="1231280" y="233196"/>
                  <a:pt x="1229487" y="241931"/>
                </a:cubicBezTo>
                <a:cubicBezTo>
                  <a:pt x="1227693" y="250665"/>
                  <a:pt x="1212134" y="248988"/>
                  <a:pt x="1201374" y="245459"/>
                </a:cubicBezTo>
                <a:cubicBezTo>
                  <a:pt x="1190615" y="241931"/>
                  <a:pt x="1176733" y="252516"/>
                  <a:pt x="1166205" y="252516"/>
                </a:cubicBezTo>
                <a:cubicBezTo>
                  <a:pt x="1153595" y="252493"/>
                  <a:pt x="1141505" y="257566"/>
                  <a:pt x="1132713" y="266573"/>
                </a:cubicBezTo>
                <a:cubicBezTo>
                  <a:pt x="1122128" y="277158"/>
                  <a:pt x="1123921" y="287744"/>
                  <a:pt x="1108071" y="289710"/>
                </a:cubicBezTo>
                <a:cubicBezTo>
                  <a:pt x="1092222" y="291677"/>
                  <a:pt x="1084933" y="289710"/>
                  <a:pt x="1067580" y="302031"/>
                </a:cubicBezTo>
                <a:cubicBezTo>
                  <a:pt x="1054565" y="310847"/>
                  <a:pt x="1037849" y="312183"/>
                  <a:pt x="1023619" y="305560"/>
                </a:cubicBezTo>
                <a:cubicBezTo>
                  <a:pt x="1014595" y="300134"/>
                  <a:pt x="1002911" y="303026"/>
                  <a:pt x="997473" y="312027"/>
                </a:cubicBezTo>
                <a:cubicBezTo>
                  <a:pt x="997416" y="312200"/>
                  <a:pt x="997300" y="312380"/>
                  <a:pt x="997184" y="312559"/>
                </a:cubicBezTo>
                <a:cubicBezTo>
                  <a:pt x="990185" y="324880"/>
                  <a:pt x="1006034" y="330201"/>
                  <a:pt x="1004241" y="344257"/>
                </a:cubicBezTo>
                <a:cubicBezTo>
                  <a:pt x="1002448" y="358314"/>
                  <a:pt x="984921" y="354843"/>
                  <a:pt x="970807" y="370634"/>
                </a:cubicBezTo>
                <a:cubicBezTo>
                  <a:pt x="956693" y="386426"/>
                  <a:pt x="933902" y="393483"/>
                  <a:pt x="921581" y="391805"/>
                </a:cubicBezTo>
                <a:cubicBezTo>
                  <a:pt x="909260" y="390128"/>
                  <a:pt x="882826" y="382955"/>
                  <a:pt x="859978" y="393483"/>
                </a:cubicBezTo>
                <a:cubicBezTo>
                  <a:pt x="837129" y="404011"/>
                  <a:pt x="821279" y="419976"/>
                  <a:pt x="812487" y="418182"/>
                </a:cubicBezTo>
                <a:cubicBezTo>
                  <a:pt x="803694" y="416389"/>
                  <a:pt x="803694" y="405804"/>
                  <a:pt x="791316" y="407597"/>
                </a:cubicBezTo>
                <a:cubicBezTo>
                  <a:pt x="781367" y="409037"/>
                  <a:pt x="771302" y="406504"/>
                  <a:pt x="763203" y="400540"/>
                </a:cubicBezTo>
                <a:cubicBezTo>
                  <a:pt x="754412" y="395276"/>
                  <a:pt x="747354" y="404068"/>
                  <a:pt x="733298" y="393483"/>
                </a:cubicBezTo>
                <a:cubicBezTo>
                  <a:pt x="719242" y="382897"/>
                  <a:pt x="694542" y="384748"/>
                  <a:pt x="684015" y="382955"/>
                </a:cubicBezTo>
                <a:cubicBezTo>
                  <a:pt x="673488" y="381162"/>
                  <a:pt x="632997" y="382955"/>
                  <a:pt x="618882" y="381220"/>
                </a:cubicBezTo>
                <a:cubicBezTo>
                  <a:pt x="604769" y="379485"/>
                  <a:pt x="585448" y="384748"/>
                  <a:pt x="583713" y="377691"/>
                </a:cubicBezTo>
                <a:cubicBezTo>
                  <a:pt x="581978" y="370634"/>
                  <a:pt x="571392" y="365371"/>
                  <a:pt x="567864" y="349579"/>
                </a:cubicBezTo>
                <a:cubicBezTo>
                  <a:pt x="564335" y="333788"/>
                  <a:pt x="555601" y="328408"/>
                  <a:pt x="546751" y="326441"/>
                </a:cubicBezTo>
                <a:cubicBezTo>
                  <a:pt x="537900" y="324475"/>
                  <a:pt x="536917" y="315393"/>
                  <a:pt x="529397" y="314121"/>
                </a:cubicBezTo>
                <a:cubicBezTo>
                  <a:pt x="525637" y="313484"/>
                  <a:pt x="521183" y="301742"/>
                  <a:pt x="508920" y="301742"/>
                </a:cubicBezTo>
                <a:cubicBezTo>
                  <a:pt x="496657" y="301742"/>
                  <a:pt x="453564" y="296709"/>
                  <a:pt x="447374" y="286645"/>
                </a:cubicBezTo>
                <a:cubicBezTo>
                  <a:pt x="441185" y="276580"/>
                  <a:pt x="453564" y="274324"/>
                  <a:pt x="453564" y="264317"/>
                </a:cubicBezTo>
                <a:cubicBezTo>
                  <a:pt x="453564" y="254310"/>
                  <a:pt x="460273" y="240832"/>
                  <a:pt x="455241" y="236898"/>
                </a:cubicBezTo>
                <a:cubicBezTo>
                  <a:pt x="448299" y="231745"/>
                  <a:pt x="443209" y="224508"/>
                  <a:pt x="440664" y="216248"/>
                </a:cubicBezTo>
                <a:cubicBezTo>
                  <a:pt x="439623" y="208381"/>
                  <a:pt x="426145" y="197796"/>
                  <a:pt x="417527" y="197217"/>
                </a:cubicBezTo>
                <a:cubicBezTo>
                  <a:pt x="408907" y="196639"/>
                  <a:pt x="401330" y="191086"/>
                  <a:pt x="392943" y="183797"/>
                </a:cubicBezTo>
                <a:cubicBezTo>
                  <a:pt x="384555" y="176509"/>
                  <a:pt x="376688" y="177030"/>
                  <a:pt x="373334" y="158635"/>
                </a:cubicBezTo>
                <a:cubicBezTo>
                  <a:pt x="373334" y="157420"/>
                  <a:pt x="372755" y="156437"/>
                  <a:pt x="372466" y="155396"/>
                </a:cubicBezTo>
                <a:cubicBezTo>
                  <a:pt x="369110" y="154991"/>
                  <a:pt x="364772" y="153718"/>
                  <a:pt x="361996" y="153718"/>
                </a:cubicBezTo>
                <a:cubicBezTo>
                  <a:pt x="359161" y="153233"/>
                  <a:pt x="356616" y="151705"/>
                  <a:pt x="354823" y="149438"/>
                </a:cubicBezTo>
                <a:cubicBezTo>
                  <a:pt x="352683" y="157131"/>
                  <a:pt x="345394" y="161007"/>
                  <a:pt x="345394" y="166791"/>
                </a:cubicBezTo>
                <a:cubicBezTo>
                  <a:pt x="345394" y="172576"/>
                  <a:pt x="342618" y="181888"/>
                  <a:pt x="333825" y="181888"/>
                </a:cubicBezTo>
                <a:cubicBezTo>
                  <a:pt x="325033" y="181888"/>
                  <a:pt x="316472" y="188598"/>
                  <a:pt x="315952" y="202597"/>
                </a:cubicBezTo>
                <a:cubicBezTo>
                  <a:pt x="315431" y="216595"/>
                  <a:pt x="323761" y="218215"/>
                  <a:pt x="319828" y="224404"/>
                </a:cubicBezTo>
                <a:cubicBezTo>
                  <a:pt x="315894" y="230593"/>
                  <a:pt x="299697" y="236667"/>
                  <a:pt x="294144" y="233891"/>
                </a:cubicBezTo>
                <a:cubicBezTo>
                  <a:pt x="288592" y="231114"/>
                  <a:pt x="277948" y="232734"/>
                  <a:pt x="268982" y="231635"/>
                </a:cubicBezTo>
                <a:cubicBezTo>
                  <a:pt x="260016" y="230536"/>
                  <a:pt x="253307" y="219372"/>
                  <a:pt x="250530" y="231635"/>
                </a:cubicBezTo>
                <a:cubicBezTo>
                  <a:pt x="247753" y="243898"/>
                  <a:pt x="229243" y="280282"/>
                  <a:pt x="233755" y="284215"/>
                </a:cubicBezTo>
                <a:cubicBezTo>
                  <a:pt x="238267" y="288148"/>
                  <a:pt x="241564" y="297056"/>
                  <a:pt x="233755" y="297056"/>
                </a:cubicBezTo>
                <a:cubicBezTo>
                  <a:pt x="226871" y="297780"/>
                  <a:pt x="219930" y="295998"/>
                  <a:pt x="214204" y="292024"/>
                </a:cubicBezTo>
                <a:cubicBezTo>
                  <a:pt x="210270" y="288148"/>
                  <a:pt x="197487" y="297519"/>
                  <a:pt x="188463" y="297056"/>
                </a:cubicBezTo>
                <a:cubicBezTo>
                  <a:pt x="184240" y="297056"/>
                  <a:pt x="166713" y="304750"/>
                  <a:pt x="172729" y="307758"/>
                </a:cubicBezTo>
                <a:cubicBezTo>
                  <a:pt x="178745" y="310766"/>
                  <a:pt x="178861" y="325111"/>
                  <a:pt x="178861" y="331358"/>
                </a:cubicBezTo>
                <a:cubicBezTo>
                  <a:pt x="178861" y="337605"/>
                  <a:pt x="192165" y="355595"/>
                  <a:pt x="189736" y="361669"/>
                </a:cubicBezTo>
                <a:cubicBezTo>
                  <a:pt x="187306" y="367742"/>
                  <a:pt x="175217" y="374394"/>
                  <a:pt x="175217" y="382261"/>
                </a:cubicBezTo>
                <a:cubicBezTo>
                  <a:pt x="175217" y="390128"/>
                  <a:pt x="177588" y="397416"/>
                  <a:pt x="173423" y="399210"/>
                </a:cubicBezTo>
                <a:cubicBezTo>
                  <a:pt x="164978" y="402518"/>
                  <a:pt x="156880" y="406585"/>
                  <a:pt x="149187" y="411357"/>
                </a:cubicBezTo>
                <a:cubicBezTo>
                  <a:pt x="142477" y="416158"/>
                  <a:pt x="131834" y="416158"/>
                  <a:pt x="127958" y="423446"/>
                </a:cubicBezTo>
                <a:cubicBezTo>
                  <a:pt x="124603" y="432256"/>
                  <a:pt x="115405" y="437364"/>
                  <a:pt x="106150" y="435536"/>
                </a:cubicBezTo>
                <a:cubicBezTo>
                  <a:pt x="95276" y="434321"/>
                  <a:pt x="89781" y="432528"/>
                  <a:pt x="81278" y="442824"/>
                </a:cubicBezTo>
                <a:cubicBezTo>
                  <a:pt x="72774" y="453120"/>
                  <a:pt x="70981" y="448898"/>
                  <a:pt x="64965" y="453757"/>
                </a:cubicBezTo>
                <a:cubicBezTo>
                  <a:pt x="58949" y="458616"/>
                  <a:pt x="52818" y="450112"/>
                  <a:pt x="47959" y="448262"/>
                </a:cubicBezTo>
                <a:cubicBezTo>
                  <a:pt x="43100" y="446410"/>
                  <a:pt x="36391" y="453757"/>
                  <a:pt x="31647" y="453757"/>
                </a:cubicBezTo>
                <a:cubicBezTo>
                  <a:pt x="26904" y="453757"/>
                  <a:pt x="22566" y="461624"/>
                  <a:pt x="16492" y="463417"/>
                </a:cubicBezTo>
                <a:cubicBezTo>
                  <a:pt x="10419" y="465210"/>
                  <a:pt x="4345" y="463417"/>
                  <a:pt x="4345" y="470705"/>
                </a:cubicBezTo>
                <a:cubicBezTo>
                  <a:pt x="4460" y="475599"/>
                  <a:pt x="2898" y="480382"/>
                  <a:pt x="-110" y="484241"/>
                </a:cubicBezTo>
                <a:lnTo>
                  <a:pt x="-110" y="484241"/>
                </a:lnTo>
                <a:lnTo>
                  <a:pt x="4171" y="507957"/>
                </a:lnTo>
                <a:cubicBezTo>
                  <a:pt x="4171" y="507957"/>
                  <a:pt x="30085" y="516576"/>
                  <a:pt x="31127" y="525310"/>
                </a:cubicBezTo>
                <a:cubicBezTo>
                  <a:pt x="32167" y="534045"/>
                  <a:pt x="36564" y="561983"/>
                  <a:pt x="36564" y="561983"/>
                </a:cubicBezTo>
                <a:lnTo>
                  <a:pt x="35754" y="561983"/>
                </a:lnTo>
                <a:cubicBezTo>
                  <a:pt x="46282" y="570255"/>
                  <a:pt x="60627" y="579337"/>
                  <a:pt x="60627" y="582229"/>
                </a:cubicBezTo>
                <a:cubicBezTo>
                  <a:pt x="60859" y="591235"/>
                  <a:pt x="66353" y="599270"/>
                  <a:pt x="74626" y="602822"/>
                </a:cubicBezTo>
                <a:cubicBezTo>
                  <a:pt x="81972" y="606211"/>
                  <a:pt x="89087" y="610075"/>
                  <a:pt x="95912" y="614390"/>
                </a:cubicBezTo>
                <a:lnTo>
                  <a:pt x="96953" y="611787"/>
                </a:lnTo>
                <a:lnTo>
                  <a:pt x="107712" y="610688"/>
                </a:lnTo>
                <a:cubicBezTo>
                  <a:pt x="109968" y="612198"/>
                  <a:pt x="112051" y="613968"/>
                  <a:pt x="113901" y="615952"/>
                </a:cubicBezTo>
                <a:cubicBezTo>
                  <a:pt x="116563" y="607218"/>
                  <a:pt x="135130" y="597673"/>
                  <a:pt x="144906" y="598194"/>
                </a:cubicBezTo>
                <a:cubicBezTo>
                  <a:pt x="154682" y="598714"/>
                  <a:pt x="178803" y="617630"/>
                  <a:pt x="176373" y="624282"/>
                </a:cubicBezTo>
                <a:cubicBezTo>
                  <a:pt x="173944" y="630934"/>
                  <a:pt x="156938" y="655171"/>
                  <a:pt x="149129" y="656964"/>
                </a:cubicBezTo>
                <a:cubicBezTo>
                  <a:pt x="145311" y="657693"/>
                  <a:pt x="141435" y="658080"/>
                  <a:pt x="137560" y="658121"/>
                </a:cubicBezTo>
                <a:cubicBezTo>
                  <a:pt x="136808" y="661337"/>
                  <a:pt x="136230" y="664605"/>
                  <a:pt x="135882" y="667896"/>
                </a:cubicBezTo>
                <a:cubicBezTo>
                  <a:pt x="135882" y="673334"/>
                  <a:pt x="145543" y="681895"/>
                  <a:pt x="150980" y="691612"/>
                </a:cubicBezTo>
                <a:cubicBezTo>
                  <a:pt x="156417" y="701330"/>
                  <a:pt x="142303" y="707751"/>
                  <a:pt x="134784" y="701330"/>
                </a:cubicBezTo>
                <a:cubicBezTo>
                  <a:pt x="127264" y="694910"/>
                  <a:pt x="124024" y="707751"/>
                  <a:pt x="128305" y="713188"/>
                </a:cubicBezTo>
                <a:cubicBezTo>
                  <a:pt x="132586" y="718626"/>
                  <a:pt x="130503" y="733665"/>
                  <a:pt x="138023" y="734764"/>
                </a:cubicBezTo>
                <a:cubicBezTo>
                  <a:pt x="145543" y="735863"/>
                  <a:pt x="152079" y="750903"/>
                  <a:pt x="160698" y="750903"/>
                </a:cubicBezTo>
                <a:cubicBezTo>
                  <a:pt x="169317" y="750903"/>
                  <a:pt x="176894" y="764959"/>
                  <a:pt x="176894" y="764959"/>
                </a:cubicBezTo>
                <a:cubicBezTo>
                  <a:pt x="176894" y="764959"/>
                  <a:pt x="188463" y="772479"/>
                  <a:pt x="188463" y="776817"/>
                </a:cubicBezTo>
                <a:cubicBezTo>
                  <a:pt x="188463" y="777395"/>
                  <a:pt x="188290" y="777957"/>
                  <a:pt x="187942" y="778437"/>
                </a:cubicBezTo>
                <a:cubicBezTo>
                  <a:pt x="197371" y="777511"/>
                  <a:pt x="203618" y="777164"/>
                  <a:pt x="204717" y="773289"/>
                </a:cubicBezTo>
                <a:cubicBezTo>
                  <a:pt x="205816" y="769413"/>
                  <a:pt x="218079" y="769066"/>
                  <a:pt x="226525" y="777511"/>
                </a:cubicBezTo>
                <a:cubicBezTo>
                  <a:pt x="234970" y="785957"/>
                  <a:pt x="269561" y="807822"/>
                  <a:pt x="282229" y="818002"/>
                </a:cubicBezTo>
                <a:cubicBezTo>
                  <a:pt x="294896" y="828183"/>
                  <a:pt x="324628" y="839810"/>
                  <a:pt x="334925" y="839173"/>
                </a:cubicBezTo>
                <a:cubicBezTo>
                  <a:pt x="345221" y="838537"/>
                  <a:pt x="354939" y="846461"/>
                  <a:pt x="370672" y="845825"/>
                </a:cubicBezTo>
                <a:cubicBezTo>
                  <a:pt x="372755" y="845704"/>
                  <a:pt x="374838" y="845704"/>
                  <a:pt x="376920" y="845825"/>
                </a:cubicBezTo>
                <a:cubicBezTo>
                  <a:pt x="379176" y="843454"/>
                  <a:pt x="382704" y="843338"/>
                  <a:pt x="385885" y="839058"/>
                </a:cubicBezTo>
                <a:cubicBezTo>
                  <a:pt x="390166" y="832579"/>
                  <a:pt x="396702" y="844495"/>
                  <a:pt x="394504" y="853056"/>
                </a:cubicBezTo>
                <a:cubicBezTo>
                  <a:pt x="393637" y="857122"/>
                  <a:pt x="394157" y="861356"/>
                  <a:pt x="396008" y="865087"/>
                </a:cubicBezTo>
                <a:cubicBezTo>
                  <a:pt x="398496" y="861478"/>
                  <a:pt x="400578" y="857597"/>
                  <a:pt x="402198" y="853519"/>
                </a:cubicBezTo>
                <a:cubicBezTo>
                  <a:pt x="407635" y="840215"/>
                  <a:pt x="416138" y="840851"/>
                  <a:pt x="421575" y="836570"/>
                </a:cubicBezTo>
                <a:cubicBezTo>
                  <a:pt x="427012" y="832290"/>
                  <a:pt x="432450" y="834141"/>
                  <a:pt x="443961" y="840215"/>
                </a:cubicBezTo>
                <a:cubicBezTo>
                  <a:pt x="455472" y="846288"/>
                  <a:pt x="459290" y="833909"/>
                  <a:pt x="475486" y="848833"/>
                </a:cubicBezTo>
                <a:cubicBezTo>
                  <a:pt x="478494" y="847289"/>
                  <a:pt x="481734" y="846178"/>
                  <a:pt x="485088" y="845536"/>
                </a:cubicBezTo>
                <a:cubicBezTo>
                  <a:pt x="488328" y="845536"/>
                  <a:pt x="492608" y="839058"/>
                  <a:pt x="498045" y="833967"/>
                </a:cubicBezTo>
                <a:cubicBezTo>
                  <a:pt x="503483" y="828877"/>
                  <a:pt x="502326" y="822109"/>
                  <a:pt x="508804" y="823150"/>
                </a:cubicBezTo>
                <a:cubicBezTo>
                  <a:pt x="515283" y="824192"/>
                  <a:pt x="518523" y="815631"/>
                  <a:pt x="532520" y="808111"/>
                </a:cubicBezTo>
                <a:cubicBezTo>
                  <a:pt x="546519" y="800591"/>
                  <a:pt x="558435" y="812391"/>
                  <a:pt x="564914" y="807012"/>
                </a:cubicBezTo>
                <a:cubicBezTo>
                  <a:pt x="571392" y="801632"/>
                  <a:pt x="578912" y="799492"/>
                  <a:pt x="578912" y="804871"/>
                </a:cubicBezTo>
                <a:cubicBezTo>
                  <a:pt x="578912" y="810251"/>
                  <a:pt x="587530" y="816730"/>
                  <a:pt x="589728" y="823150"/>
                </a:cubicBezTo>
                <a:cubicBezTo>
                  <a:pt x="591927" y="829571"/>
                  <a:pt x="602975" y="831306"/>
                  <a:pt x="605405" y="831711"/>
                </a:cubicBezTo>
                <a:cubicBezTo>
                  <a:pt x="606967" y="830901"/>
                  <a:pt x="608528" y="829993"/>
                  <a:pt x="609974" y="828993"/>
                </a:cubicBezTo>
                <a:cubicBezTo>
                  <a:pt x="616626" y="824192"/>
                  <a:pt x="628137" y="829629"/>
                  <a:pt x="628137" y="836859"/>
                </a:cubicBezTo>
                <a:cubicBezTo>
                  <a:pt x="628137" y="844090"/>
                  <a:pt x="628715" y="852015"/>
                  <a:pt x="634211" y="852015"/>
                </a:cubicBezTo>
                <a:cubicBezTo>
                  <a:pt x="639706" y="852015"/>
                  <a:pt x="645086" y="852015"/>
                  <a:pt x="645086" y="865319"/>
                </a:cubicBezTo>
                <a:cubicBezTo>
                  <a:pt x="645086" y="878623"/>
                  <a:pt x="649945" y="893778"/>
                  <a:pt x="638434" y="905347"/>
                </a:cubicBezTo>
                <a:cubicBezTo>
                  <a:pt x="626923" y="916916"/>
                  <a:pt x="613560" y="937393"/>
                  <a:pt x="616048" y="943466"/>
                </a:cubicBezTo>
                <a:cubicBezTo>
                  <a:pt x="618536" y="949540"/>
                  <a:pt x="612404" y="960820"/>
                  <a:pt x="620849" y="956828"/>
                </a:cubicBezTo>
                <a:cubicBezTo>
                  <a:pt x="629294" y="952837"/>
                  <a:pt x="648788" y="956828"/>
                  <a:pt x="645722" y="961630"/>
                </a:cubicBezTo>
                <a:cubicBezTo>
                  <a:pt x="642656" y="966431"/>
                  <a:pt x="646300" y="983495"/>
                  <a:pt x="654167" y="984073"/>
                </a:cubicBezTo>
                <a:cubicBezTo>
                  <a:pt x="662034" y="984652"/>
                  <a:pt x="666893" y="988932"/>
                  <a:pt x="664521" y="996163"/>
                </a:cubicBezTo>
                <a:cubicBezTo>
                  <a:pt x="662150" y="1003393"/>
                  <a:pt x="657869" y="1014384"/>
                  <a:pt x="664521" y="1014384"/>
                </a:cubicBezTo>
                <a:cubicBezTo>
                  <a:pt x="671174" y="1014384"/>
                  <a:pt x="680833" y="1014384"/>
                  <a:pt x="679619" y="1021614"/>
                </a:cubicBezTo>
                <a:cubicBezTo>
                  <a:pt x="678404" y="1028845"/>
                  <a:pt x="684477" y="1035554"/>
                  <a:pt x="696625" y="1030696"/>
                </a:cubicBezTo>
                <a:cubicBezTo>
                  <a:pt x="703682" y="1027861"/>
                  <a:pt x="707268" y="1025316"/>
                  <a:pt x="708888" y="1028208"/>
                </a:cubicBezTo>
                <a:cubicBezTo>
                  <a:pt x="713689" y="1028208"/>
                  <a:pt x="714036" y="1038967"/>
                  <a:pt x="722366" y="1041050"/>
                </a:cubicBezTo>
                <a:cubicBezTo>
                  <a:pt x="730695" y="1043132"/>
                  <a:pt x="726646" y="1022713"/>
                  <a:pt x="723407" y="1019474"/>
                </a:cubicBezTo>
                <a:cubicBezTo>
                  <a:pt x="720168" y="1016235"/>
                  <a:pt x="724506" y="1002121"/>
                  <a:pt x="727745" y="1005476"/>
                </a:cubicBezTo>
                <a:cubicBezTo>
                  <a:pt x="730984" y="1008830"/>
                  <a:pt x="740703" y="1005476"/>
                  <a:pt x="746082" y="998939"/>
                </a:cubicBezTo>
                <a:cubicBezTo>
                  <a:pt x="751462" y="992403"/>
                  <a:pt x="762278" y="1004377"/>
                  <a:pt x="766559" y="996799"/>
                </a:cubicBezTo>
                <a:cubicBezTo>
                  <a:pt x="770839" y="989221"/>
                  <a:pt x="780557" y="1002236"/>
                  <a:pt x="790333" y="996799"/>
                </a:cubicBezTo>
                <a:cubicBezTo>
                  <a:pt x="800108" y="991362"/>
                  <a:pt x="804331" y="1001137"/>
                  <a:pt x="808670" y="993559"/>
                </a:cubicBezTo>
                <a:cubicBezTo>
                  <a:pt x="813008" y="985982"/>
                  <a:pt x="827006" y="976206"/>
                  <a:pt x="830245" y="979561"/>
                </a:cubicBezTo>
                <a:cubicBezTo>
                  <a:pt x="833484" y="982916"/>
                  <a:pt x="835625" y="989279"/>
                  <a:pt x="852805" y="991130"/>
                </a:cubicBezTo>
                <a:cubicBezTo>
                  <a:pt x="869984" y="992981"/>
                  <a:pt x="860382" y="1001947"/>
                  <a:pt x="860382" y="1007326"/>
                </a:cubicBezTo>
                <a:cubicBezTo>
                  <a:pt x="860382" y="1012706"/>
                  <a:pt x="879818" y="1026704"/>
                  <a:pt x="887396" y="1027804"/>
                </a:cubicBezTo>
                <a:cubicBezTo>
                  <a:pt x="889709" y="1028717"/>
                  <a:pt x="891734" y="1030262"/>
                  <a:pt x="893180" y="1032257"/>
                </a:cubicBezTo>
                <a:cubicBezTo>
                  <a:pt x="898443" y="1029712"/>
                  <a:pt x="907814" y="1033993"/>
                  <a:pt x="909897" y="1027804"/>
                </a:cubicBezTo>
                <a:cubicBezTo>
                  <a:pt x="912326" y="1020573"/>
                  <a:pt x="921466" y="1022539"/>
                  <a:pt x="924821" y="1028613"/>
                </a:cubicBezTo>
                <a:cubicBezTo>
                  <a:pt x="928175" y="1034687"/>
                  <a:pt x="932456" y="1035902"/>
                  <a:pt x="940554" y="1028613"/>
                </a:cubicBezTo>
                <a:cubicBezTo>
                  <a:pt x="948653" y="1021325"/>
                  <a:pt x="952643" y="1035902"/>
                  <a:pt x="947843" y="1040182"/>
                </a:cubicBezTo>
                <a:cubicBezTo>
                  <a:pt x="943042" y="1044463"/>
                  <a:pt x="946223" y="1056726"/>
                  <a:pt x="953627" y="1063956"/>
                </a:cubicBezTo>
                <a:cubicBezTo>
                  <a:pt x="961031" y="1071187"/>
                  <a:pt x="962535" y="1059560"/>
                  <a:pt x="960916" y="1052387"/>
                </a:cubicBezTo>
                <a:cubicBezTo>
                  <a:pt x="959296" y="1045215"/>
                  <a:pt x="973873" y="1037868"/>
                  <a:pt x="999266" y="1029250"/>
                </a:cubicBezTo>
                <a:cubicBezTo>
                  <a:pt x="1024660" y="1020631"/>
                  <a:pt x="1052194" y="1002179"/>
                  <a:pt x="1052599" y="998187"/>
                </a:cubicBezTo>
                <a:cubicBezTo>
                  <a:pt x="1053004" y="994196"/>
                  <a:pt x="1070762" y="1005418"/>
                  <a:pt x="1079265" y="998939"/>
                </a:cubicBezTo>
                <a:cubicBezTo>
                  <a:pt x="1087768" y="992461"/>
                  <a:pt x="1118425" y="991709"/>
                  <a:pt x="1126466" y="991304"/>
                </a:cubicBezTo>
                <a:cubicBezTo>
                  <a:pt x="1134506" y="990899"/>
                  <a:pt x="1134217" y="984015"/>
                  <a:pt x="1142663" y="977190"/>
                </a:cubicBezTo>
                <a:cubicBezTo>
                  <a:pt x="1151108" y="970364"/>
                  <a:pt x="1149083" y="967067"/>
                  <a:pt x="1158801" y="964233"/>
                </a:cubicBezTo>
                <a:cubicBezTo>
                  <a:pt x="1166725" y="962121"/>
                  <a:pt x="1172799" y="955729"/>
                  <a:pt x="1174535" y="947689"/>
                </a:cubicBezTo>
                <a:cubicBezTo>
                  <a:pt x="1174535" y="942830"/>
                  <a:pt x="1192697" y="941210"/>
                  <a:pt x="1193103" y="936120"/>
                </a:cubicBezTo>
                <a:cubicBezTo>
                  <a:pt x="1193507" y="931030"/>
                  <a:pt x="1206870" y="929295"/>
                  <a:pt x="1206870" y="922816"/>
                </a:cubicBezTo>
                <a:cubicBezTo>
                  <a:pt x="1206870" y="916337"/>
                  <a:pt x="1214910" y="917552"/>
                  <a:pt x="1218438" y="912693"/>
                </a:cubicBezTo>
                <a:cubicBezTo>
                  <a:pt x="1221967" y="907835"/>
                  <a:pt x="1215604" y="893720"/>
                  <a:pt x="1222083" y="891754"/>
                </a:cubicBezTo>
                <a:cubicBezTo>
                  <a:pt x="1228561" y="889787"/>
                  <a:pt x="1219595" y="882036"/>
                  <a:pt x="1218438" y="878392"/>
                </a:cubicBezTo>
                <a:cubicBezTo>
                  <a:pt x="1217281" y="874747"/>
                  <a:pt x="1230528" y="873937"/>
                  <a:pt x="1237411" y="869484"/>
                </a:cubicBezTo>
                <a:cubicBezTo>
                  <a:pt x="1244121" y="865238"/>
                  <a:pt x="1248633" y="858331"/>
                  <a:pt x="1249905" y="850511"/>
                </a:cubicBezTo>
                <a:cubicBezTo>
                  <a:pt x="1251121" y="842875"/>
                  <a:pt x="1262458" y="835992"/>
                  <a:pt x="1267606" y="833967"/>
                </a:cubicBezTo>
                <a:cubicBezTo>
                  <a:pt x="1272754" y="831943"/>
                  <a:pt x="1274952" y="821068"/>
                  <a:pt x="1273390" y="811755"/>
                </a:cubicBezTo>
                <a:cubicBezTo>
                  <a:pt x="1271829" y="802442"/>
                  <a:pt x="1282703" y="804871"/>
                  <a:pt x="1277845" y="801227"/>
                </a:cubicBezTo>
                <a:cubicBezTo>
                  <a:pt x="1272985" y="797583"/>
                  <a:pt x="1279869" y="787518"/>
                  <a:pt x="1289413" y="784684"/>
                </a:cubicBezTo>
                <a:cubicBezTo>
                  <a:pt x="1298957" y="781849"/>
                  <a:pt x="1283629" y="777453"/>
                  <a:pt x="1277845" y="781502"/>
                </a:cubicBezTo>
                <a:cubicBezTo>
                  <a:pt x="1272060" y="785552"/>
                  <a:pt x="1266912" y="769934"/>
                  <a:pt x="1262110" y="775718"/>
                </a:cubicBezTo>
                <a:cubicBezTo>
                  <a:pt x="1257310" y="781502"/>
                  <a:pt x="1243485" y="772074"/>
                  <a:pt x="1252393" y="769934"/>
                </a:cubicBezTo>
                <a:cubicBezTo>
                  <a:pt x="1261301" y="767793"/>
                  <a:pt x="1275010" y="757844"/>
                  <a:pt x="1281315" y="755820"/>
                </a:cubicBezTo>
                <a:cubicBezTo>
                  <a:pt x="1287620" y="753795"/>
                  <a:pt x="1272407" y="740433"/>
                  <a:pt x="1264714" y="740838"/>
                </a:cubicBezTo>
                <a:cubicBezTo>
                  <a:pt x="1257020" y="741243"/>
                  <a:pt x="1248575" y="723080"/>
                  <a:pt x="1240535" y="723080"/>
                </a:cubicBezTo>
                <a:cubicBezTo>
                  <a:pt x="1232494" y="723080"/>
                  <a:pt x="1246319" y="717295"/>
                  <a:pt x="1255863" y="722270"/>
                </a:cubicBezTo>
                <a:cubicBezTo>
                  <a:pt x="1265408" y="727244"/>
                  <a:pt x="1275993" y="731178"/>
                  <a:pt x="1280101" y="727129"/>
                </a:cubicBezTo>
                <a:cubicBezTo>
                  <a:pt x="1284207" y="723080"/>
                  <a:pt x="1264309" y="706941"/>
                  <a:pt x="1256963" y="701272"/>
                </a:cubicBezTo>
                <a:cubicBezTo>
                  <a:pt x="1249617" y="695604"/>
                  <a:pt x="1256558" y="687968"/>
                  <a:pt x="1252161" y="684671"/>
                </a:cubicBezTo>
                <a:cubicBezTo>
                  <a:pt x="1247765" y="681374"/>
                  <a:pt x="1237990" y="660897"/>
                  <a:pt x="1234808" y="651642"/>
                </a:cubicBezTo>
                <a:cubicBezTo>
                  <a:pt x="1231627" y="642387"/>
                  <a:pt x="1214620" y="640652"/>
                  <a:pt x="1210630" y="634636"/>
                </a:cubicBezTo>
                <a:cubicBezTo>
                  <a:pt x="1206638" y="628620"/>
                  <a:pt x="1210976" y="614448"/>
                  <a:pt x="1223587" y="609184"/>
                </a:cubicBezTo>
                <a:cubicBezTo>
                  <a:pt x="1236196" y="603920"/>
                  <a:pt x="1230759" y="593393"/>
                  <a:pt x="1236428" y="594665"/>
                </a:cubicBezTo>
                <a:cubicBezTo>
                  <a:pt x="1242097" y="595938"/>
                  <a:pt x="1246955" y="593393"/>
                  <a:pt x="1251409" y="584138"/>
                </a:cubicBezTo>
                <a:cubicBezTo>
                  <a:pt x="1255863" y="574883"/>
                  <a:pt x="1263557" y="580551"/>
                  <a:pt x="1268011" y="575693"/>
                </a:cubicBezTo>
                <a:cubicBezTo>
                  <a:pt x="1272465" y="570834"/>
                  <a:pt x="1292190" y="571238"/>
                  <a:pt x="1299015" y="566437"/>
                </a:cubicBezTo>
                <a:cubicBezTo>
                  <a:pt x="1305841" y="561636"/>
                  <a:pt x="1292594" y="546597"/>
                  <a:pt x="1283282" y="549084"/>
                </a:cubicBezTo>
                <a:cubicBezTo>
                  <a:pt x="1272985" y="551485"/>
                  <a:pt x="1262284" y="547100"/>
                  <a:pt x="1256615" y="538151"/>
                </a:cubicBezTo>
                <a:cubicBezTo>
                  <a:pt x="1250195" y="528492"/>
                  <a:pt x="1233478" y="555910"/>
                  <a:pt x="1220289" y="561983"/>
                </a:cubicBezTo>
                <a:cubicBezTo>
                  <a:pt x="1207101" y="568057"/>
                  <a:pt x="1198887" y="551109"/>
                  <a:pt x="1203341" y="540176"/>
                </a:cubicBezTo>
                <a:cubicBezTo>
                  <a:pt x="1207795" y="529244"/>
                  <a:pt x="1193218" y="529706"/>
                  <a:pt x="1175055" y="530458"/>
                </a:cubicBezTo>
                <a:cubicBezTo>
                  <a:pt x="1156892" y="531210"/>
                  <a:pt x="1163486" y="498181"/>
                  <a:pt x="1174708" y="496561"/>
                </a:cubicBezTo>
                <a:cubicBezTo>
                  <a:pt x="1185930" y="494942"/>
                  <a:pt x="1201721" y="506684"/>
                  <a:pt x="1208604" y="486497"/>
                </a:cubicBezTo>
                <a:cubicBezTo>
                  <a:pt x="1215488" y="466309"/>
                  <a:pt x="1225149" y="482043"/>
                  <a:pt x="1240535" y="464284"/>
                </a:cubicBezTo>
                <a:cubicBezTo>
                  <a:pt x="1255921" y="446526"/>
                  <a:pt x="1273622" y="435362"/>
                  <a:pt x="1286810" y="446121"/>
                </a:cubicBezTo>
                <a:cubicBezTo>
                  <a:pt x="1299999" y="456880"/>
                  <a:pt x="1272696" y="473135"/>
                  <a:pt x="1268242" y="483257"/>
                </a:cubicBezTo>
                <a:cubicBezTo>
                  <a:pt x="1263788" y="493380"/>
                  <a:pt x="1272291" y="496561"/>
                  <a:pt x="1264193" y="504197"/>
                </a:cubicBezTo>
                <a:cubicBezTo>
                  <a:pt x="1256095" y="511832"/>
                  <a:pt x="1267374" y="513915"/>
                  <a:pt x="1283166" y="503850"/>
                </a:cubicBezTo>
                <a:cubicBezTo>
                  <a:pt x="1299189" y="493004"/>
                  <a:pt x="1316080" y="483541"/>
                  <a:pt x="1333664" y="475564"/>
                </a:cubicBezTo>
                <a:cubicBezTo>
                  <a:pt x="1337887" y="474008"/>
                  <a:pt x="1342398" y="473453"/>
                  <a:pt x="1346852" y="473944"/>
                </a:cubicBezTo>
                <a:cubicBezTo>
                  <a:pt x="1348010" y="469195"/>
                  <a:pt x="1350728" y="464967"/>
                  <a:pt x="1354546" y="461913"/>
                </a:cubicBezTo>
                <a:cubicBezTo>
                  <a:pt x="1365074" y="456649"/>
                  <a:pt x="1400300" y="440800"/>
                  <a:pt x="1405565" y="433743"/>
                </a:cubicBezTo>
                <a:cubicBezTo>
                  <a:pt x="1410829" y="426686"/>
                  <a:pt x="1416150" y="414423"/>
                  <a:pt x="1422918" y="414423"/>
                </a:cubicBezTo>
                <a:cubicBezTo>
                  <a:pt x="1429686" y="414423"/>
                  <a:pt x="1429975" y="421480"/>
                  <a:pt x="1440271" y="421480"/>
                </a:cubicBezTo>
                <a:cubicBezTo>
                  <a:pt x="1450568" y="421480"/>
                  <a:pt x="1463409" y="424950"/>
                  <a:pt x="1457624" y="416158"/>
                </a:cubicBezTo>
                <a:cubicBezTo>
                  <a:pt x="1451840" y="407366"/>
                  <a:pt x="1455889" y="407366"/>
                  <a:pt x="1468210" y="405572"/>
                </a:cubicBezTo>
                <a:cubicBezTo>
                  <a:pt x="1480530" y="403779"/>
                  <a:pt x="1478738" y="391574"/>
                  <a:pt x="1487588" y="391574"/>
                </a:cubicBezTo>
                <a:cubicBezTo>
                  <a:pt x="1496438" y="391574"/>
                  <a:pt x="1494587" y="370403"/>
                  <a:pt x="1503379" y="370403"/>
                </a:cubicBezTo>
                <a:cubicBezTo>
                  <a:pt x="1512172" y="370403"/>
                  <a:pt x="1515700" y="382724"/>
                  <a:pt x="1526517" y="379195"/>
                </a:cubicBezTo>
                <a:cubicBezTo>
                  <a:pt x="1529062" y="378669"/>
                  <a:pt x="1531723" y="379057"/>
                  <a:pt x="1533979" y="380294"/>
                </a:cubicBezTo>
                <a:cubicBezTo>
                  <a:pt x="1536235" y="378559"/>
                  <a:pt x="1538433" y="376882"/>
                  <a:pt x="1540689" y="375262"/>
                </a:cubicBezTo>
                <a:cubicBezTo>
                  <a:pt x="1539590" y="364272"/>
                  <a:pt x="1540689" y="354380"/>
                  <a:pt x="1538722" y="349174"/>
                </a:cubicBezTo>
                <a:cubicBezTo>
                  <a:pt x="1534673" y="339456"/>
                  <a:pt x="1538722" y="332226"/>
                  <a:pt x="1537102" y="326557"/>
                </a:cubicBezTo>
                <a:cubicBezTo>
                  <a:pt x="1535483" y="320888"/>
                  <a:pt x="1534673" y="307179"/>
                  <a:pt x="1541152" y="307179"/>
                </a:cubicBezTo>
                <a:cubicBezTo>
                  <a:pt x="1547630" y="307179"/>
                  <a:pt x="1555670" y="291041"/>
                  <a:pt x="1563711" y="296652"/>
                </a:cubicBezTo>
                <a:cubicBezTo>
                  <a:pt x="1571751" y="302262"/>
                  <a:pt x="1587948" y="303940"/>
                  <a:pt x="1587948" y="296652"/>
                </a:cubicBezTo>
                <a:cubicBezTo>
                  <a:pt x="1587948" y="289363"/>
                  <a:pt x="1599517" y="288611"/>
                  <a:pt x="1600905" y="278893"/>
                </a:cubicBezTo>
                <a:cubicBezTo>
                  <a:pt x="1602293" y="269175"/>
                  <a:pt x="1614614" y="266804"/>
                  <a:pt x="1617044" y="257896"/>
                </a:cubicBezTo>
                <a:cubicBezTo>
                  <a:pt x="1619473" y="248988"/>
                  <a:pt x="1623522" y="228048"/>
                  <a:pt x="1631620" y="223189"/>
                </a:cubicBezTo>
                <a:cubicBezTo>
                  <a:pt x="1639718" y="218330"/>
                  <a:pt x="1630463" y="214802"/>
                  <a:pt x="1631157" y="200283"/>
                </a:cubicBezTo>
                <a:close/>
                <a:moveTo>
                  <a:pt x="1235386" y="965158"/>
                </a:moveTo>
                <a:cubicBezTo>
                  <a:pt x="1226479" y="997493"/>
                  <a:pt x="1246955" y="1013921"/>
                  <a:pt x="1249905" y="1012012"/>
                </a:cubicBezTo>
                <a:cubicBezTo>
                  <a:pt x="1257946" y="1006227"/>
                  <a:pt x="1291090" y="936814"/>
                  <a:pt x="1283860" y="927212"/>
                </a:cubicBezTo>
                <a:cubicBezTo>
                  <a:pt x="1276629" y="917610"/>
                  <a:pt x="1244237" y="932823"/>
                  <a:pt x="1235386" y="965158"/>
                </a:cubicBezTo>
                <a:close/>
                <a:moveTo>
                  <a:pt x="947033" y="1075062"/>
                </a:moveTo>
                <a:cubicBezTo>
                  <a:pt x="936505" y="1075062"/>
                  <a:pt x="909839" y="1090333"/>
                  <a:pt x="920367" y="1112198"/>
                </a:cubicBezTo>
                <a:cubicBezTo>
                  <a:pt x="930895" y="1134063"/>
                  <a:pt x="965601" y="1119429"/>
                  <a:pt x="966642" y="1109711"/>
                </a:cubicBezTo>
                <a:cubicBezTo>
                  <a:pt x="967684" y="1099993"/>
                  <a:pt x="983301" y="1084780"/>
                  <a:pt x="981161" y="1077492"/>
                </a:cubicBezTo>
                <a:cubicBezTo>
                  <a:pt x="979310" y="1071823"/>
                  <a:pt x="957561" y="1075062"/>
                  <a:pt x="947033" y="107506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4" name="Forma libre: forma 213">
            <a:extLst>
              <a:ext uri="{FF2B5EF4-FFF2-40B4-BE49-F238E27FC236}">
                <a16:creationId xmlns:a16="http://schemas.microsoft.com/office/drawing/2014/main" id="{2847926A-7106-0118-0CFD-1A093524A1BA}"/>
              </a:ext>
            </a:extLst>
          </p:cNvPr>
          <p:cNvSpPr/>
          <p:nvPr/>
        </p:nvSpPr>
        <p:spPr>
          <a:xfrm>
            <a:off x="9360284" y="3972069"/>
            <a:ext cx="254638" cy="364074"/>
          </a:xfrm>
          <a:custGeom>
            <a:avLst/>
            <a:gdLst>
              <a:gd name="connsiteX0" fmla="*/ 136718 w 254638"/>
              <a:gd name="connsiteY0" fmla="*/ 137369 h 364074"/>
              <a:gd name="connsiteX1" fmla="*/ 169863 w 254638"/>
              <a:gd name="connsiteY1" fmla="*/ 161606 h 364074"/>
              <a:gd name="connsiteX2" fmla="*/ 177903 w 254638"/>
              <a:gd name="connsiteY2" fmla="*/ 185843 h 364074"/>
              <a:gd name="connsiteX3" fmla="*/ 189472 w 254638"/>
              <a:gd name="connsiteY3" fmla="*/ 197932 h 364074"/>
              <a:gd name="connsiteX4" fmla="*/ 203181 w 254638"/>
              <a:gd name="connsiteY4" fmla="*/ 231886 h 364074"/>
              <a:gd name="connsiteX5" fmla="*/ 212089 w 254638"/>
              <a:gd name="connsiteY5" fmla="*/ 224598 h 364074"/>
              <a:gd name="connsiteX6" fmla="*/ 224179 w 254638"/>
              <a:gd name="connsiteY6" fmla="*/ 208460 h 364074"/>
              <a:gd name="connsiteX7" fmla="*/ 216948 w 254638"/>
              <a:gd name="connsiteY7" fmla="*/ 175315 h 364074"/>
              <a:gd name="connsiteX8" fmla="*/ 186175 w 254638"/>
              <a:gd name="connsiteY8" fmla="*/ 153508 h 364074"/>
              <a:gd name="connsiteX9" fmla="*/ 167665 w 254638"/>
              <a:gd name="connsiteY9" fmla="*/ 129329 h 364074"/>
              <a:gd name="connsiteX10" fmla="*/ 129661 w 254638"/>
              <a:gd name="connsiteY10" fmla="*/ 122792 h 364074"/>
              <a:gd name="connsiteX11" fmla="*/ 115952 w 254638"/>
              <a:gd name="connsiteY11" fmla="*/ 97803 h 364074"/>
              <a:gd name="connsiteX12" fmla="*/ 134520 w 254638"/>
              <a:gd name="connsiteY12" fmla="*/ 59048 h 364074"/>
              <a:gd name="connsiteX13" fmla="*/ 132901 w 254638"/>
              <a:gd name="connsiteY13" fmla="*/ 14623 h 364074"/>
              <a:gd name="connsiteX14" fmla="*/ 128041 w 254638"/>
              <a:gd name="connsiteY14" fmla="*/ 4906 h 364074"/>
              <a:gd name="connsiteX15" fmla="*/ 88476 w 254638"/>
              <a:gd name="connsiteY15" fmla="*/ 1724 h 364074"/>
              <a:gd name="connsiteX16" fmla="*/ 82692 w 254638"/>
              <a:gd name="connsiteY16" fmla="*/ 65353 h 364074"/>
              <a:gd name="connsiteX17" fmla="*/ 69793 w 254638"/>
              <a:gd name="connsiteY17" fmla="*/ 62114 h 364074"/>
              <a:gd name="connsiteX18" fmla="*/ 77023 w 254638"/>
              <a:gd name="connsiteY18" fmla="*/ 99250 h 364074"/>
              <a:gd name="connsiteX19" fmla="*/ 84312 w 254638"/>
              <a:gd name="connsiteY19" fmla="*/ 120247 h 364074"/>
              <a:gd name="connsiteX20" fmla="*/ 111788 w 254638"/>
              <a:gd name="connsiteY20" fmla="*/ 129155 h 364074"/>
              <a:gd name="connsiteX21" fmla="*/ 136718 w 254638"/>
              <a:gd name="connsiteY21" fmla="*/ 137369 h 364074"/>
              <a:gd name="connsiteX22" fmla="*/ 85064 w 254638"/>
              <a:gd name="connsiteY22" fmla="*/ 144658 h 364074"/>
              <a:gd name="connsiteX23" fmla="*/ 110920 w 254638"/>
              <a:gd name="connsiteY23" fmla="*/ 173580 h 364074"/>
              <a:gd name="connsiteX24" fmla="*/ 85064 w 254638"/>
              <a:gd name="connsiteY24" fmla="*/ 144658 h 364074"/>
              <a:gd name="connsiteX25" fmla="*/ 130240 w 254638"/>
              <a:gd name="connsiteY25" fmla="*/ 222979 h 364074"/>
              <a:gd name="connsiteX26" fmla="*/ 144816 w 254638"/>
              <a:gd name="connsiteY26" fmla="*/ 214880 h 364074"/>
              <a:gd name="connsiteX27" fmla="*/ 147246 w 254638"/>
              <a:gd name="connsiteY27" fmla="*/ 236688 h 364074"/>
              <a:gd name="connsiteX28" fmla="*/ 151237 w 254638"/>
              <a:gd name="connsiteY28" fmla="*/ 266593 h 364074"/>
              <a:gd name="connsiteX29" fmla="*/ 180159 w 254638"/>
              <a:gd name="connsiteY29" fmla="*/ 222979 h 364074"/>
              <a:gd name="connsiteX30" fmla="*/ 169690 w 254638"/>
              <a:gd name="connsiteY30" fmla="*/ 218119 h 364074"/>
              <a:gd name="connsiteX31" fmla="*/ 128505 w 254638"/>
              <a:gd name="connsiteY31" fmla="*/ 185843 h 364074"/>
              <a:gd name="connsiteX32" fmla="*/ 130240 w 254638"/>
              <a:gd name="connsiteY32" fmla="*/ 222979 h 364074"/>
              <a:gd name="connsiteX33" fmla="*/ 34912 w 254638"/>
              <a:gd name="connsiteY33" fmla="*/ 238134 h 364074"/>
              <a:gd name="connsiteX34" fmla="*/ 206 w 254638"/>
              <a:gd name="connsiteY34" fmla="*/ 283368 h 364074"/>
              <a:gd name="connsiteX35" fmla="*/ 49489 w 254638"/>
              <a:gd name="connsiteY35" fmla="*/ 237093 h 364074"/>
              <a:gd name="connsiteX36" fmla="*/ 56778 w 254638"/>
              <a:gd name="connsiteY36" fmla="*/ 208170 h 364074"/>
              <a:gd name="connsiteX37" fmla="*/ 34912 w 254638"/>
              <a:gd name="connsiteY37" fmla="*/ 238134 h 364074"/>
              <a:gd name="connsiteX38" fmla="*/ 178713 w 254638"/>
              <a:gd name="connsiteY38" fmla="*/ 254272 h 364074"/>
              <a:gd name="connsiteX39" fmla="*/ 198901 w 254638"/>
              <a:gd name="connsiteY39" fmla="*/ 241315 h 364074"/>
              <a:gd name="connsiteX40" fmla="*/ 178713 w 254638"/>
              <a:gd name="connsiteY40" fmla="*/ 254504 h 364074"/>
              <a:gd name="connsiteX41" fmla="*/ 251424 w 254638"/>
              <a:gd name="connsiteY41" fmla="*/ 317265 h 364074"/>
              <a:gd name="connsiteX42" fmla="*/ 244945 w 254638"/>
              <a:gd name="connsiteY42" fmla="*/ 256702 h 364074"/>
              <a:gd name="connsiteX43" fmla="*/ 225567 w 254638"/>
              <a:gd name="connsiteY43" fmla="*/ 255082 h 364074"/>
              <a:gd name="connsiteX44" fmla="*/ 210239 w 254638"/>
              <a:gd name="connsiteY44" fmla="*/ 269601 h 364074"/>
              <a:gd name="connsiteX45" fmla="*/ 194042 w 254638"/>
              <a:gd name="connsiteY45" fmla="*/ 281691 h 364074"/>
              <a:gd name="connsiteX46" fmla="*/ 169863 w 254638"/>
              <a:gd name="connsiteY46" fmla="*/ 275906 h 364074"/>
              <a:gd name="connsiteX47" fmla="*/ 138338 w 254638"/>
              <a:gd name="connsiteY47" fmla="*/ 294474 h 364074"/>
              <a:gd name="connsiteX48" fmla="*/ 127811 w 254638"/>
              <a:gd name="connsiteY48" fmla="*/ 322702 h 364074"/>
              <a:gd name="connsiteX49" fmla="*/ 152047 w 254638"/>
              <a:gd name="connsiteY49" fmla="*/ 309803 h 364074"/>
              <a:gd name="connsiteX50" fmla="*/ 172235 w 254638"/>
              <a:gd name="connsiteY50" fmla="*/ 302514 h 364074"/>
              <a:gd name="connsiteX51" fmla="*/ 194910 w 254638"/>
              <a:gd name="connsiteY51" fmla="*/ 349368 h 364074"/>
              <a:gd name="connsiteX52" fmla="*/ 223138 w 254638"/>
              <a:gd name="connsiteY52" fmla="*/ 363945 h 364074"/>
              <a:gd name="connsiteX53" fmla="*/ 222328 w 254638"/>
              <a:gd name="connsiteY53" fmla="*/ 329239 h 364074"/>
              <a:gd name="connsiteX54" fmla="*/ 251424 w 254638"/>
              <a:gd name="connsiteY54" fmla="*/ 317496 h 36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54638" h="364074">
                <a:moveTo>
                  <a:pt x="136718" y="137369"/>
                </a:moveTo>
                <a:cubicBezTo>
                  <a:pt x="152105" y="134939"/>
                  <a:pt x="173102" y="154375"/>
                  <a:pt x="169863" y="161606"/>
                </a:cubicBezTo>
                <a:cubicBezTo>
                  <a:pt x="166624" y="168836"/>
                  <a:pt x="170673" y="192263"/>
                  <a:pt x="177903" y="185843"/>
                </a:cubicBezTo>
                <a:cubicBezTo>
                  <a:pt x="185134" y="179422"/>
                  <a:pt x="196530" y="187404"/>
                  <a:pt x="189472" y="197932"/>
                </a:cubicBezTo>
                <a:cubicBezTo>
                  <a:pt x="182415" y="208460"/>
                  <a:pt x="201041" y="218929"/>
                  <a:pt x="203181" y="231886"/>
                </a:cubicBezTo>
                <a:cubicBezTo>
                  <a:pt x="205321" y="244844"/>
                  <a:pt x="213709" y="234316"/>
                  <a:pt x="212089" y="224598"/>
                </a:cubicBezTo>
                <a:cubicBezTo>
                  <a:pt x="210470" y="214880"/>
                  <a:pt x="213709" y="215748"/>
                  <a:pt x="224179" y="208460"/>
                </a:cubicBezTo>
                <a:cubicBezTo>
                  <a:pt x="234649" y="201171"/>
                  <a:pt x="223369" y="189024"/>
                  <a:pt x="216948" y="175315"/>
                </a:cubicBezTo>
                <a:cubicBezTo>
                  <a:pt x="210528" y="161606"/>
                  <a:pt x="186175" y="166465"/>
                  <a:pt x="186175" y="153508"/>
                </a:cubicBezTo>
                <a:cubicBezTo>
                  <a:pt x="186175" y="140550"/>
                  <a:pt x="168475" y="136559"/>
                  <a:pt x="167665" y="129329"/>
                </a:cubicBezTo>
                <a:cubicBezTo>
                  <a:pt x="166855" y="122098"/>
                  <a:pt x="143428" y="114752"/>
                  <a:pt x="129661" y="122792"/>
                </a:cubicBezTo>
                <a:cubicBezTo>
                  <a:pt x="115894" y="130833"/>
                  <a:pt x="125670" y="108273"/>
                  <a:pt x="115952" y="97803"/>
                </a:cubicBezTo>
                <a:cubicBezTo>
                  <a:pt x="106234" y="87334"/>
                  <a:pt x="123183" y="71947"/>
                  <a:pt x="134520" y="59048"/>
                </a:cubicBezTo>
                <a:cubicBezTo>
                  <a:pt x="145858" y="46149"/>
                  <a:pt x="131339" y="24341"/>
                  <a:pt x="132901" y="14623"/>
                </a:cubicBezTo>
                <a:cubicBezTo>
                  <a:pt x="134462" y="4906"/>
                  <a:pt x="133710" y="1724"/>
                  <a:pt x="128041" y="4906"/>
                </a:cubicBezTo>
                <a:cubicBezTo>
                  <a:pt x="122373" y="8087"/>
                  <a:pt x="99119" y="-4754"/>
                  <a:pt x="88476" y="1724"/>
                </a:cubicBezTo>
                <a:cubicBezTo>
                  <a:pt x="77833" y="8203"/>
                  <a:pt x="87724" y="61419"/>
                  <a:pt x="82692" y="65353"/>
                </a:cubicBezTo>
                <a:cubicBezTo>
                  <a:pt x="77659" y="69286"/>
                  <a:pt x="71585" y="56676"/>
                  <a:pt x="69793" y="62114"/>
                </a:cubicBezTo>
                <a:cubicBezTo>
                  <a:pt x="67363" y="69286"/>
                  <a:pt x="70603" y="99250"/>
                  <a:pt x="77023" y="99250"/>
                </a:cubicBezTo>
                <a:cubicBezTo>
                  <a:pt x="83444" y="99250"/>
                  <a:pt x="88592" y="107290"/>
                  <a:pt x="84312" y="120247"/>
                </a:cubicBezTo>
                <a:cubicBezTo>
                  <a:pt x="80031" y="133204"/>
                  <a:pt x="96459" y="134766"/>
                  <a:pt x="111788" y="129155"/>
                </a:cubicBezTo>
                <a:cubicBezTo>
                  <a:pt x="127116" y="123544"/>
                  <a:pt x="121389" y="139798"/>
                  <a:pt x="136718" y="137369"/>
                </a:cubicBezTo>
                <a:close/>
                <a:moveTo>
                  <a:pt x="85064" y="144658"/>
                </a:moveTo>
                <a:cubicBezTo>
                  <a:pt x="87493" y="155937"/>
                  <a:pt x="93104" y="179364"/>
                  <a:pt x="110920" y="173580"/>
                </a:cubicBezTo>
                <a:cubicBezTo>
                  <a:pt x="128736" y="167795"/>
                  <a:pt x="83270" y="136501"/>
                  <a:pt x="85064" y="144658"/>
                </a:cubicBezTo>
                <a:close/>
                <a:moveTo>
                  <a:pt x="130240" y="222979"/>
                </a:moveTo>
                <a:cubicBezTo>
                  <a:pt x="134289" y="222169"/>
                  <a:pt x="144007" y="222979"/>
                  <a:pt x="144816" y="214880"/>
                </a:cubicBezTo>
                <a:cubicBezTo>
                  <a:pt x="145626" y="206782"/>
                  <a:pt x="154477" y="229399"/>
                  <a:pt x="147246" y="236688"/>
                </a:cubicBezTo>
                <a:cubicBezTo>
                  <a:pt x="140016" y="243976"/>
                  <a:pt x="139958" y="264164"/>
                  <a:pt x="151237" y="266593"/>
                </a:cubicBezTo>
                <a:cubicBezTo>
                  <a:pt x="162517" y="269023"/>
                  <a:pt x="183572" y="230267"/>
                  <a:pt x="180159" y="222979"/>
                </a:cubicBezTo>
                <a:cubicBezTo>
                  <a:pt x="176747" y="215690"/>
                  <a:pt x="167260" y="227837"/>
                  <a:pt x="169690" y="218119"/>
                </a:cubicBezTo>
                <a:cubicBezTo>
                  <a:pt x="172119" y="208402"/>
                  <a:pt x="140768" y="183413"/>
                  <a:pt x="128505" y="185843"/>
                </a:cubicBezTo>
                <a:cubicBezTo>
                  <a:pt x="116242" y="188272"/>
                  <a:pt x="120753" y="224888"/>
                  <a:pt x="130240" y="222979"/>
                </a:cubicBezTo>
                <a:close/>
                <a:moveTo>
                  <a:pt x="34912" y="238134"/>
                </a:moveTo>
                <a:cubicBezTo>
                  <a:pt x="23691" y="252653"/>
                  <a:pt x="-3323" y="276774"/>
                  <a:pt x="206" y="283368"/>
                </a:cubicBezTo>
                <a:cubicBezTo>
                  <a:pt x="5064" y="292218"/>
                  <a:pt x="34912" y="247794"/>
                  <a:pt x="49489" y="237093"/>
                </a:cubicBezTo>
                <a:cubicBezTo>
                  <a:pt x="64066" y="226391"/>
                  <a:pt x="61636" y="217715"/>
                  <a:pt x="56778" y="208170"/>
                </a:cubicBezTo>
                <a:cubicBezTo>
                  <a:pt x="51919" y="198626"/>
                  <a:pt x="46250" y="223788"/>
                  <a:pt x="34912" y="238134"/>
                </a:cubicBezTo>
                <a:close/>
                <a:moveTo>
                  <a:pt x="178713" y="254272"/>
                </a:moveTo>
                <a:cubicBezTo>
                  <a:pt x="181953" y="262313"/>
                  <a:pt x="205379" y="249413"/>
                  <a:pt x="198901" y="241315"/>
                </a:cubicBezTo>
                <a:cubicBezTo>
                  <a:pt x="192422" y="233217"/>
                  <a:pt x="176341" y="248430"/>
                  <a:pt x="178713" y="254504"/>
                </a:cubicBezTo>
                <a:close/>
                <a:moveTo>
                  <a:pt x="251424" y="317265"/>
                </a:moveTo>
                <a:cubicBezTo>
                  <a:pt x="261141" y="305696"/>
                  <a:pt x="244945" y="276080"/>
                  <a:pt x="244945" y="256702"/>
                </a:cubicBezTo>
                <a:cubicBezTo>
                  <a:pt x="244945" y="237324"/>
                  <a:pt x="218278" y="242935"/>
                  <a:pt x="225567" y="255082"/>
                </a:cubicBezTo>
                <a:cubicBezTo>
                  <a:pt x="232855" y="267230"/>
                  <a:pt x="211858" y="257454"/>
                  <a:pt x="210239" y="269601"/>
                </a:cubicBezTo>
                <a:cubicBezTo>
                  <a:pt x="208619" y="281748"/>
                  <a:pt x="193290" y="272030"/>
                  <a:pt x="194042" y="281691"/>
                </a:cubicBezTo>
                <a:cubicBezTo>
                  <a:pt x="194794" y="291351"/>
                  <a:pt x="177903" y="281691"/>
                  <a:pt x="169863" y="275906"/>
                </a:cubicBezTo>
                <a:cubicBezTo>
                  <a:pt x="161823" y="270122"/>
                  <a:pt x="150485" y="291235"/>
                  <a:pt x="138338" y="294474"/>
                </a:cubicBezTo>
                <a:cubicBezTo>
                  <a:pt x="126191" y="297713"/>
                  <a:pt x="119828" y="323396"/>
                  <a:pt x="127811" y="322702"/>
                </a:cubicBezTo>
                <a:cubicBezTo>
                  <a:pt x="137528" y="321950"/>
                  <a:pt x="142329" y="308993"/>
                  <a:pt x="152047" y="309803"/>
                </a:cubicBezTo>
                <a:cubicBezTo>
                  <a:pt x="161765" y="310613"/>
                  <a:pt x="158526" y="300143"/>
                  <a:pt x="172235" y="302514"/>
                </a:cubicBezTo>
                <a:cubicBezTo>
                  <a:pt x="185944" y="304886"/>
                  <a:pt x="176284" y="346129"/>
                  <a:pt x="194910" y="349368"/>
                </a:cubicBezTo>
                <a:cubicBezTo>
                  <a:pt x="213536" y="352607"/>
                  <a:pt x="214288" y="363945"/>
                  <a:pt x="223138" y="363945"/>
                </a:cubicBezTo>
                <a:cubicBezTo>
                  <a:pt x="231988" y="363945"/>
                  <a:pt x="221576" y="338089"/>
                  <a:pt x="222328" y="329239"/>
                </a:cubicBezTo>
                <a:cubicBezTo>
                  <a:pt x="223080" y="320388"/>
                  <a:pt x="241706" y="328776"/>
                  <a:pt x="251424" y="317496"/>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5" name="Forma libre: forma 214">
            <a:extLst>
              <a:ext uri="{FF2B5EF4-FFF2-40B4-BE49-F238E27FC236}">
                <a16:creationId xmlns:a16="http://schemas.microsoft.com/office/drawing/2014/main" id="{7CBF0C35-0AC2-9124-DB83-4C907EA461B7}"/>
              </a:ext>
            </a:extLst>
          </p:cNvPr>
          <p:cNvSpPr/>
          <p:nvPr/>
        </p:nvSpPr>
        <p:spPr>
          <a:xfrm>
            <a:off x="10010075" y="4563356"/>
            <a:ext cx="338421" cy="220012"/>
          </a:xfrm>
          <a:custGeom>
            <a:avLst/>
            <a:gdLst>
              <a:gd name="connsiteX0" fmla="*/ 248563 w 338421"/>
              <a:gd name="connsiteY0" fmla="*/ 202731 h 220012"/>
              <a:gd name="connsiteX1" fmla="*/ 229185 w 338421"/>
              <a:gd name="connsiteY1" fmla="*/ 184163 h 220012"/>
              <a:gd name="connsiteX2" fmla="*/ 201767 w 338421"/>
              <a:gd name="connsiteY2" fmla="*/ 171263 h 220012"/>
              <a:gd name="connsiteX3" fmla="*/ 182331 w 338421"/>
              <a:gd name="connsiteY3" fmla="*/ 134879 h 220012"/>
              <a:gd name="connsiteX4" fmla="*/ 175852 w 338421"/>
              <a:gd name="connsiteY4" fmla="*/ 112262 h 220012"/>
              <a:gd name="connsiteX5" fmla="*/ 181637 w 338421"/>
              <a:gd name="connsiteY5" fmla="*/ 94504 h 220012"/>
              <a:gd name="connsiteX6" fmla="*/ 127552 w 338421"/>
              <a:gd name="connsiteY6" fmla="*/ 64656 h 220012"/>
              <a:gd name="connsiteX7" fmla="*/ 20136 w 338421"/>
              <a:gd name="connsiteY7" fmla="*/ 5655 h 220012"/>
              <a:gd name="connsiteX8" fmla="*/ -110 w 338421"/>
              <a:gd name="connsiteY8" fmla="*/ -129 h 220012"/>
              <a:gd name="connsiteX9" fmla="*/ -110 w 338421"/>
              <a:gd name="connsiteY9" fmla="*/ 172305 h 220012"/>
              <a:gd name="connsiteX10" fmla="*/ 28813 w 338421"/>
              <a:gd name="connsiteY10" fmla="*/ 181907 h 220012"/>
              <a:gd name="connsiteX11" fmla="*/ 61899 w 338421"/>
              <a:gd name="connsiteY11" fmla="*/ 163339 h 220012"/>
              <a:gd name="connsiteX12" fmla="*/ 78096 w 338421"/>
              <a:gd name="connsiteY12" fmla="*/ 143151 h 220012"/>
              <a:gd name="connsiteX13" fmla="*/ 135419 w 338421"/>
              <a:gd name="connsiteY13" fmla="*/ 156051 h 220012"/>
              <a:gd name="connsiteX14" fmla="*/ 195231 w 338421"/>
              <a:gd name="connsiteY14" fmla="*/ 209383 h 220012"/>
              <a:gd name="connsiteX15" fmla="*/ 252554 w 338421"/>
              <a:gd name="connsiteY15" fmla="*/ 219853 h 220012"/>
              <a:gd name="connsiteX16" fmla="*/ 248563 w 338421"/>
              <a:gd name="connsiteY16" fmla="*/ 202731 h 220012"/>
              <a:gd name="connsiteX17" fmla="*/ 294838 w 338421"/>
              <a:gd name="connsiteY17" fmla="*/ 58988 h 220012"/>
              <a:gd name="connsiteX18" fmla="*/ 261752 w 338421"/>
              <a:gd name="connsiteY18" fmla="*/ 78365 h 220012"/>
              <a:gd name="connsiteX19" fmla="*/ 203560 w 338421"/>
              <a:gd name="connsiteY19" fmla="*/ 80795 h 220012"/>
              <a:gd name="connsiteX20" fmla="*/ 247985 w 338421"/>
              <a:gd name="connsiteY20" fmla="*/ 100983 h 220012"/>
              <a:gd name="connsiteX21" fmla="*/ 304556 w 338421"/>
              <a:gd name="connsiteY21" fmla="*/ 72697 h 220012"/>
              <a:gd name="connsiteX22" fmla="*/ 312596 w 338421"/>
              <a:gd name="connsiteY22" fmla="*/ 48460 h 220012"/>
              <a:gd name="connsiteX23" fmla="*/ 294607 w 338421"/>
              <a:gd name="connsiteY23" fmla="*/ 58988 h 220012"/>
              <a:gd name="connsiteX24" fmla="*/ 322314 w 338421"/>
              <a:gd name="connsiteY24" fmla="*/ 28272 h 220012"/>
              <a:gd name="connsiteX25" fmla="*/ 314216 w 338421"/>
              <a:gd name="connsiteY25" fmla="*/ 29834 h 220012"/>
              <a:gd name="connsiteX26" fmla="*/ 331165 w 338421"/>
              <a:gd name="connsiteY26" fmla="*/ 55748 h 220012"/>
              <a:gd name="connsiteX27" fmla="*/ 322083 w 338421"/>
              <a:gd name="connsiteY27" fmla="*/ 28272 h 2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38421" h="220012">
                <a:moveTo>
                  <a:pt x="248563" y="202731"/>
                </a:moveTo>
                <a:cubicBezTo>
                  <a:pt x="242779" y="200301"/>
                  <a:pt x="228375" y="190641"/>
                  <a:pt x="229185" y="184163"/>
                </a:cubicBezTo>
                <a:cubicBezTo>
                  <a:pt x="229995" y="177684"/>
                  <a:pt x="213047" y="178378"/>
                  <a:pt x="201767" y="171263"/>
                </a:cubicBezTo>
                <a:cubicBezTo>
                  <a:pt x="190487" y="164149"/>
                  <a:pt x="194479" y="140548"/>
                  <a:pt x="182331" y="134879"/>
                </a:cubicBezTo>
                <a:cubicBezTo>
                  <a:pt x="170184" y="129211"/>
                  <a:pt x="161334" y="111742"/>
                  <a:pt x="175852" y="112262"/>
                </a:cubicBezTo>
                <a:cubicBezTo>
                  <a:pt x="190371" y="112783"/>
                  <a:pt x="192859" y="105032"/>
                  <a:pt x="181637" y="94504"/>
                </a:cubicBezTo>
                <a:cubicBezTo>
                  <a:pt x="170415" y="83976"/>
                  <a:pt x="129172" y="79985"/>
                  <a:pt x="127552" y="64656"/>
                </a:cubicBezTo>
                <a:cubicBezTo>
                  <a:pt x="125933" y="49328"/>
                  <a:pt x="52355" y="12944"/>
                  <a:pt x="20136" y="5655"/>
                </a:cubicBezTo>
                <a:cubicBezTo>
                  <a:pt x="13310" y="4070"/>
                  <a:pt x="6543" y="2144"/>
                  <a:pt x="-110" y="-129"/>
                </a:cubicBezTo>
                <a:lnTo>
                  <a:pt x="-110" y="172305"/>
                </a:lnTo>
                <a:cubicBezTo>
                  <a:pt x="8451" y="178107"/>
                  <a:pt x="18458" y="181433"/>
                  <a:pt x="28813" y="181907"/>
                </a:cubicBezTo>
                <a:cubicBezTo>
                  <a:pt x="64387" y="183527"/>
                  <a:pt x="55479" y="163339"/>
                  <a:pt x="61899" y="163339"/>
                </a:cubicBezTo>
                <a:cubicBezTo>
                  <a:pt x="68320" y="163339"/>
                  <a:pt x="70866" y="151770"/>
                  <a:pt x="78096" y="143151"/>
                </a:cubicBezTo>
                <a:cubicBezTo>
                  <a:pt x="85327" y="134532"/>
                  <a:pt x="116909" y="141532"/>
                  <a:pt x="135419" y="156051"/>
                </a:cubicBezTo>
                <a:cubicBezTo>
                  <a:pt x="153930" y="170569"/>
                  <a:pt x="175910" y="213432"/>
                  <a:pt x="195231" y="209383"/>
                </a:cubicBezTo>
                <a:cubicBezTo>
                  <a:pt x="214551" y="205334"/>
                  <a:pt x="234796" y="220663"/>
                  <a:pt x="252554" y="219853"/>
                </a:cubicBezTo>
                <a:cubicBezTo>
                  <a:pt x="270313" y="219043"/>
                  <a:pt x="254232" y="205160"/>
                  <a:pt x="248563" y="202731"/>
                </a:cubicBezTo>
                <a:close/>
                <a:moveTo>
                  <a:pt x="294838" y="58988"/>
                </a:moveTo>
                <a:cubicBezTo>
                  <a:pt x="294838" y="66218"/>
                  <a:pt x="281939" y="70557"/>
                  <a:pt x="261752" y="78365"/>
                </a:cubicBezTo>
                <a:cubicBezTo>
                  <a:pt x="241564" y="86175"/>
                  <a:pt x="204890" y="69110"/>
                  <a:pt x="203560" y="80795"/>
                </a:cubicBezTo>
                <a:cubicBezTo>
                  <a:pt x="202808" y="88084"/>
                  <a:pt x="226177" y="100983"/>
                  <a:pt x="247985" y="100983"/>
                </a:cubicBezTo>
                <a:cubicBezTo>
                  <a:pt x="269792" y="100983"/>
                  <a:pt x="304556" y="79175"/>
                  <a:pt x="304556" y="72697"/>
                </a:cubicBezTo>
                <a:cubicBezTo>
                  <a:pt x="304556" y="66218"/>
                  <a:pt x="318265" y="54939"/>
                  <a:pt x="312596" y="48460"/>
                </a:cubicBezTo>
                <a:cubicBezTo>
                  <a:pt x="306928" y="41981"/>
                  <a:pt x="294607" y="51757"/>
                  <a:pt x="294607" y="58988"/>
                </a:cubicBezTo>
                <a:close/>
                <a:moveTo>
                  <a:pt x="322314" y="28272"/>
                </a:moveTo>
                <a:cubicBezTo>
                  <a:pt x="309415" y="20174"/>
                  <a:pt x="298077" y="14563"/>
                  <a:pt x="314216" y="29834"/>
                </a:cubicBezTo>
                <a:cubicBezTo>
                  <a:pt x="330355" y="45105"/>
                  <a:pt x="321678" y="58236"/>
                  <a:pt x="331165" y="55748"/>
                </a:cubicBezTo>
                <a:cubicBezTo>
                  <a:pt x="346088" y="51757"/>
                  <a:pt x="334982" y="36371"/>
                  <a:pt x="322083" y="2827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6" name="Forma libre: forma 215">
            <a:extLst>
              <a:ext uri="{FF2B5EF4-FFF2-40B4-BE49-F238E27FC236}">
                <a16:creationId xmlns:a16="http://schemas.microsoft.com/office/drawing/2014/main" id="{6B64CC4B-0680-B950-F032-0F19858BB554}"/>
              </a:ext>
            </a:extLst>
          </p:cNvPr>
          <p:cNvSpPr/>
          <p:nvPr/>
        </p:nvSpPr>
        <p:spPr>
          <a:xfrm>
            <a:off x="8361055" y="4219406"/>
            <a:ext cx="56984" cy="104953"/>
          </a:xfrm>
          <a:custGeom>
            <a:avLst/>
            <a:gdLst>
              <a:gd name="connsiteX0" fmla="*/ 12438 w 56984"/>
              <a:gd name="connsiteY0" fmla="*/ -122 h 104953"/>
              <a:gd name="connsiteX1" fmla="*/ 2777 w 56984"/>
              <a:gd name="connsiteY1" fmla="*/ 25734 h 104953"/>
              <a:gd name="connsiteX2" fmla="*/ 1158 w 56984"/>
              <a:gd name="connsiteY2" fmla="*/ 62061 h 104953"/>
              <a:gd name="connsiteX3" fmla="*/ 14867 w 56984"/>
              <a:gd name="connsiteY3" fmla="*/ 102552 h 104953"/>
              <a:gd name="connsiteX4" fmla="*/ 56862 w 56984"/>
              <a:gd name="connsiteY4" fmla="*/ 63796 h 104953"/>
              <a:gd name="connsiteX5" fmla="*/ 12438 w 56984"/>
              <a:gd name="connsiteY5" fmla="*/ -122 h 104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84" h="104953">
                <a:moveTo>
                  <a:pt x="12438" y="-122"/>
                </a:moveTo>
                <a:cubicBezTo>
                  <a:pt x="5207" y="688"/>
                  <a:pt x="6653" y="15207"/>
                  <a:pt x="2777" y="25734"/>
                </a:cubicBezTo>
                <a:cubicBezTo>
                  <a:pt x="-1098" y="36262"/>
                  <a:pt x="-461" y="46732"/>
                  <a:pt x="1158" y="62061"/>
                </a:cubicBezTo>
                <a:cubicBezTo>
                  <a:pt x="2777" y="77389"/>
                  <a:pt x="1158" y="93586"/>
                  <a:pt x="14867" y="102552"/>
                </a:cubicBezTo>
                <a:cubicBezTo>
                  <a:pt x="30659" y="112790"/>
                  <a:pt x="56052" y="86413"/>
                  <a:pt x="56862" y="63796"/>
                </a:cubicBezTo>
                <a:cubicBezTo>
                  <a:pt x="57672" y="41179"/>
                  <a:pt x="18570" y="-758"/>
                  <a:pt x="12438" y="-12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7" name="Forma libre: forma 216">
            <a:extLst>
              <a:ext uri="{FF2B5EF4-FFF2-40B4-BE49-F238E27FC236}">
                <a16:creationId xmlns:a16="http://schemas.microsoft.com/office/drawing/2014/main" id="{5B34FBBD-1C77-48DA-508C-CD8A6462F12A}"/>
              </a:ext>
            </a:extLst>
          </p:cNvPr>
          <p:cNvSpPr/>
          <p:nvPr/>
        </p:nvSpPr>
        <p:spPr>
          <a:xfrm>
            <a:off x="7347454" y="4810687"/>
            <a:ext cx="197559" cy="387852"/>
          </a:xfrm>
          <a:custGeom>
            <a:avLst/>
            <a:gdLst>
              <a:gd name="connsiteX0" fmla="*/ 167456 w 197559"/>
              <a:gd name="connsiteY0" fmla="*/ 4683 h 387852"/>
              <a:gd name="connsiteX1" fmla="*/ 157796 w 197559"/>
              <a:gd name="connsiteY1" fmla="*/ 12724 h 387852"/>
              <a:gd name="connsiteX2" fmla="*/ 153746 w 197559"/>
              <a:gd name="connsiteY2" fmla="*/ 32159 h 387852"/>
              <a:gd name="connsiteX3" fmla="*/ 137608 w 197559"/>
              <a:gd name="connsiteY3" fmla="*/ 44249 h 387852"/>
              <a:gd name="connsiteX4" fmla="*/ 123841 w 197559"/>
              <a:gd name="connsiteY4" fmla="*/ 56338 h 387852"/>
              <a:gd name="connsiteX5" fmla="*/ 123031 w 197559"/>
              <a:gd name="connsiteY5" fmla="*/ 70857 h 387852"/>
              <a:gd name="connsiteX6" fmla="*/ 102843 w 197559"/>
              <a:gd name="connsiteY6" fmla="*/ 87863 h 387852"/>
              <a:gd name="connsiteX7" fmla="*/ 64897 w 197559"/>
              <a:gd name="connsiteY7" fmla="*/ 107241 h 387852"/>
              <a:gd name="connsiteX8" fmla="*/ 30191 w 197559"/>
              <a:gd name="connsiteY8" fmla="*/ 113720 h 387852"/>
              <a:gd name="connsiteX9" fmla="*/ 18622 w 197559"/>
              <a:gd name="connsiteY9" fmla="*/ 150046 h 387852"/>
              <a:gd name="connsiteX10" fmla="*/ 21861 w 197559"/>
              <a:gd name="connsiteY10" fmla="*/ 199329 h 387852"/>
              <a:gd name="connsiteX11" fmla="*/ 15383 w 197559"/>
              <a:gd name="connsiteY11" fmla="*/ 255034 h 387852"/>
              <a:gd name="connsiteX12" fmla="*/ 4855 w 197559"/>
              <a:gd name="connsiteY12" fmla="*/ 320455 h 387852"/>
              <a:gd name="connsiteX13" fmla="*/ 22671 w 197559"/>
              <a:gd name="connsiteY13" fmla="*/ 372168 h 387852"/>
              <a:gd name="connsiteX14" fmla="*/ 71145 w 197559"/>
              <a:gd name="connsiteY14" fmla="*/ 384315 h 387852"/>
              <a:gd name="connsiteX15" fmla="*/ 99373 w 197559"/>
              <a:gd name="connsiteY15" fmla="*/ 373788 h 387852"/>
              <a:gd name="connsiteX16" fmla="*/ 138938 w 197559"/>
              <a:gd name="connsiteY16" fmla="*/ 259082 h 387852"/>
              <a:gd name="connsiteX17" fmla="*/ 168844 w 197559"/>
              <a:gd name="connsiteY17" fmla="*/ 152475 h 387852"/>
              <a:gd name="connsiteX18" fmla="*/ 173703 w 197559"/>
              <a:gd name="connsiteY18" fmla="*/ 121760 h 387852"/>
              <a:gd name="connsiteX19" fmla="*/ 180991 w 197559"/>
              <a:gd name="connsiteY19" fmla="*/ 104812 h 387852"/>
              <a:gd name="connsiteX20" fmla="*/ 197129 w 197559"/>
              <a:gd name="connsiteY20" fmla="*/ 101572 h 387852"/>
              <a:gd name="connsiteX21" fmla="*/ 186602 w 197559"/>
              <a:gd name="connsiteY21" fmla="*/ 49860 h 387852"/>
              <a:gd name="connsiteX22" fmla="*/ 167456 w 197559"/>
              <a:gd name="connsiteY22" fmla="*/ 4683 h 38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559" h="387852">
                <a:moveTo>
                  <a:pt x="167456" y="4683"/>
                </a:moveTo>
                <a:cubicBezTo>
                  <a:pt x="163869" y="-8621"/>
                  <a:pt x="160977" y="9542"/>
                  <a:pt x="157796" y="12724"/>
                </a:cubicBezTo>
                <a:cubicBezTo>
                  <a:pt x="154209" y="18520"/>
                  <a:pt x="152763" y="25409"/>
                  <a:pt x="153746" y="32159"/>
                </a:cubicBezTo>
                <a:cubicBezTo>
                  <a:pt x="154556" y="38580"/>
                  <a:pt x="144029" y="45058"/>
                  <a:pt x="137608" y="44249"/>
                </a:cubicBezTo>
                <a:cubicBezTo>
                  <a:pt x="131187" y="43439"/>
                  <a:pt x="120601" y="47488"/>
                  <a:pt x="123841" y="56338"/>
                </a:cubicBezTo>
                <a:cubicBezTo>
                  <a:pt x="127080" y="65189"/>
                  <a:pt x="119039" y="63627"/>
                  <a:pt x="123031" y="70857"/>
                </a:cubicBezTo>
                <a:cubicBezTo>
                  <a:pt x="127022" y="78088"/>
                  <a:pt x="114181" y="87054"/>
                  <a:pt x="102843" y="87863"/>
                </a:cubicBezTo>
                <a:cubicBezTo>
                  <a:pt x="91506" y="88673"/>
                  <a:pt x="76987" y="108861"/>
                  <a:pt x="64897" y="107241"/>
                </a:cubicBezTo>
                <a:cubicBezTo>
                  <a:pt x="52808" y="105622"/>
                  <a:pt x="40661" y="115339"/>
                  <a:pt x="30191" y="113720"/>
                </a:cubicBezTo>
                <a:cubicBezTo>
                  <a:pt x="19721" y="112100"/>
                  <a:pt x="26952" y="135527"/>
                  <a:pt x="18622" y="150046"/>
                </a:cubicBezTo>
                <a:cubicBezTo>
                  <a:pt x="10293" y="164565"/>
                  <a:pt x="14573" y="181571"/>
                  <a:pt x="21861" y="199329"/>
                </a:cubicBezTo>
                <a:cubicBezTo>
                  <a:pt x="29150" y="217088"/>
                  <a:pt x="34761" y="231606"/>
                  <a:pt x="15383" y="255034"/>
                </a:cubicBezTo>
                <a:cubicBezTo>
                  <a:pt x="-408" y="273000"/>
                  <a:pt x="-4516" y="298440"/>
                  <a:pt x="4855" y="320455"/>
                </a:cubicBezTo>
                <a:cubicBezTo>
                  <a:pt x="12143" y="336652"/>
                  <a:pt x="12143" y="360946"/>
                  <a:pt x="22671" y="372168"/>
                </a:cubicBezTo>
                <a:cubicBezTo>
                  <a:pt x="33199" y="383390"/>
                  <a:pt x="62237" y="393108"/>
                  <a:pt x="71145" y="384315"/>
                </a:cubicBezTo>
                <a:cubicBezTo>
                  <a:pt x="80052" y="375523"/>
                  <a:pt x="89366" y="385530"/>
                  <a:pt x="99373" y="373788"/>
                </a:cubicBezTo>
                <a:cubicBezTo>
                  <a:pt x="109380" y="362045"/>
                  <a:pt x="125229" y="300267"/>
                  <a:pt x="138938" y="259082"/>
                </a:cubicBezTo>
                <a:cubicBezTo>
                  <a:pt x="152647" y="217897"/>
                  <a:pt x="170463" y="163755"/>
                  <a:pt x="168844" y="152475"/>
                </a:cubicBezTo>
                <a:cubicBezTo>
                  <a:pt x="167224" y="141196"/>
                  <a:pt x="178561" y="133908"/>
                  <a:pt x="173703" y="121760"/>
                </a:cubicBezTo>
                <a:cubicBezTo>
                  <a:pt x="168844" y="109613"/>
                  <a:pt x="175323" y="95152"/>
                  <a:pt x="180991" y="104812"/>
                </a:cubicBezTo>
                <a:cubicBezTo>
                  <a:pt x="186660" y="114472"/>
                  <a:pt x="194700" y="114530"/>
                  <a:pt x="197129" y="101572"/>
                </a:cubicBezTo>
                <a:cubicBezTo>
                  <a:pt x="199559" y="88615"/>
                  <a:pt x="187412" y="68486"/>
                  <a:pt x="186602" y="49860"/>
                </a:cubicBezTo>
                <a:cubicBezTo>
                  <a:pt x="185792" y="31234"/>
                  <a:pt x="169885" y="13534"/>
                  <a:pt x="167456" y="4683"/>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8" name="Forma libre: forma 217">
            <a:extLst>
              <a:ext uri="{FF2B5EF4-FFF2-40B4-BE49-F238E27FC236}">
                <a16:creationId xmlns:a16="http://schemas.microsoft.com/office/drawing/2014/main" id="{1675C3EF-2B5D-19C1-988D-B6E9EEDEC2CC}"/>
              </a:ext>
            </a:extLst>
          </p:cNvPr>
          <p:cNvSpPr/>
          <p:nvPr/>
        </p:nvSpPr>
        <p:spPr>
          <a:xfrm>
            <a:off x="7336743" y="3952115"/>
            <a:ext cx="324580" cy="192516"/>
          </a:xfrm>
          <a:custGeom>
            <a:avLst/>
            <a:gdLst>
              <a:gd name="connsiteX0" fmla="*/ 230111 w 324580"/>
              <a:gd name="connsiteY0" fmla="*/ 7622 h 192516"/>
              <a:gd name="connsiteX1" fmla="*/ 176316 w 324580"/>
              <a:gd name="connsiteY1" fmla="*/ 10746 h 192516"/>
              <a:gd name="connsiteX2" fmla="*/ 134147 w 324580"/>
              <a:gd name="connsiteY2" fmla="*/ 47419 h 192516"/>
              <a:gd name="connsiteX3" fmla="*/ 115405 w 324580"/>
              <a:gd name="connsiteY3" fmla="*/ 54476 h 192516"/>
              <a:gd name="connsiteX4" fmla="*/ 77170 w 324580"/>
              <a:gd name="connsiteY4" fmla="*/ 48171 h 192516"/>
              <a:gd name="connsiteX5" fmla="*/ 43563 w 324580"/>
              <a:gd name="connsiteY5" fmla="*/ 45105 h 192516"/>
              <a:gd name="connsiteX6" fmla="*/ 23318 w 324580"/>
              <a:gd name="connsiteY6" fmla="*/ 41924 h 192516"/>
              <a:gd name="connsiteX7" fmla="*/ 11749 w 324580"/>
              <a:gd name="connsiteY7" fmla="*/ 52105 h 192516"/>
              <a:gd name="connsiteX8" fmla="*/ 12501 w 324580"/>
              <a:gd name="connsiteY8" fmla="*/ 66971 h 192516"/>
              <a:gd name="connsiteX9" fmla="*/ -110 w 324580"/>
              <a:gd name="connsiteY9" fmla="*/ 73854 h 192516"/>
              <a:gd name="connsiteX10" fmla="*/ 2204 w 324580"/>
              <a:gd name="connsiteY10" fmla="*/ 90687 h 192516"/>
              <a:gd name="connsiteX11" fmla="*/ 10303 w 324580"/>
              <a:gd name="connsiteY11" fmla="*/ 134301 h 192516"/>
              <a:gd name="connsiteX12" fmla="*/ 19558 w 324580"/>
              <a:gd name="connsiteY12" fmla="*/ 174330 h 192516"/>
              <a:gd name="connsiteX13" fmla="*/ 69246 w 324580"/>
              <a:gd name="connsiteY13" fmla="*/ 168545 h 192516"/>
              <a:gd name="connsiteX14" fmla="*/ 104415 w 324580"/>
              <a:gd name="connsiteY14" fmla="*/ 157613 h 192516"/>
              <a:gd name="connsiteX15" fmla="*/ 134263 w 324580"/>
              <a:gd name="connsiteY15" fmla="*/ 143036 h 192516"/>
              <a:gd name="connsiteX16" fmla="*/ 161334 w 324580"/>
              <a:gd name="connsiteY16" fmla="*/ 138639 h 192516"/>
              <a:gd name="connsiteX17" fmla="*/ 182736 w 324580"/>
              <a:gd name="connsiteY17" fmla="*/ 124121 h 192516"/>
              <a:gd name="connsiteX18" fmla="*/ 240580 w 324580"/>
              <a:gd name="connsiteY18" fmla="*/ 105090 h 192516"/>
              <a:gd name="connsiteX19" fmla="*/ 266842 w 324580"/>
              <a:gd name="connsiteY19" fmla="*/ 77672 h 192516"/>
              <a:gd name="connsiteX20" fmla="*/ 289980 w 324580"/>
              <a:gd name="connsiteY20" fmla="*/ 68879 h 192516"/>
              <a:gd name="connsiteX21" fmla="*/ 256488 w 324580"/>
              <a:gd name="connsiteY21" fmla="*/ -129 h 192516"/>
              <a:gd name="connsiteX22" fmla="*/ 230111 w 324580"/>
              <a:gd name="connsiteY22" fmla="*/ 7622 h 192516"/>
              <a:gd name="connsiteX23" fmla="*/ 296690 w 324580"/>
              <a:gd name="connsiteY23" fmla="*/ 188675 h 192516"/>
              <a:gd name="connsiteX24" fmla="*/ 324455 w 324580"/>
              <a:gd name="connsiteY24" fmla="*/ 183411 h 192516"/>
              <a:gd name="connsiteX25" fmla="*/ 296690 w 324580"/>
              <a:gd name="connsiteY25" fmla="*/ 188675 h 192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4580" h="192516">
                <a:moveTo>
                  <a:pt x="230111" y="7622"/>
                </a:moveTo>
                <a:cubicBezTo>
                  <a:pt x="216112" y="10746"/>
                  <a:pt x="181001" y="8374"/>
                  <a:pt x="176316" y="10746"/>
                </a:cubicBezTo>
                <a:cubicBezTo>
                  <a:pt x="171631" y="13118"/>
                  <a:pt x="138833" y="36487"/>
                  <a:pt x="134147" y="47419"/>
                </a:cubicBezTo>
                <a:cubicBezTo>
                  <a:pt x="129462" y="58351"/>
                  <a:pt x="122578" y="59913"/>
                  <a:pt x="115405" y="54476"/>
                </a:cubicBezTo>
                <a:cubicBezTo>
                  <a:pt x="108233" y="49039"/>
                  <a:pt x="79484" y="50543"/>
                  <a:pt x="77170" y="48171"/>
                </a:cubicBezTo>
                <a:cubicBezTo>
                  <a:pt x="74856" y="45799"/>
                  <a:pt x="54033" y="43543"/>
                  <a:pt x="43563" y="45105"/>
                </a:cubicBezTo>
                <a:cubicBezTo>
                  <a:pt x="33093" y="46667"/>
                  <a:pt x="28003" y="40362"/>
                  <a:pt x="23318" y="41924"/>
                </a:cubicBezTo>
                <a:cubicBezTo>
                  <a:pt x="18632" y="44226"/>
                  <a:pt x="14641" y="47743"/>
                  <a:pt x="11749" y="52105"/>
                </a:cubicBezTo>
                <a:cubicBezTo>
                  <a:pt x="9377" y="55228"/>
                  <a:pt x="14062" y="63673"/>
                  <a:pt x="12501" y="66971"/>
                </a:cubicBezTo>
                <a:cubicBezTo>
                  <a:pt x="8567" y="69695"/>
                  <a:pt x="4345" y="72003"/>
                  <a:pt x="-110" y="73854"/>
                </a:cubicBezTo>
                <a:cubicBezTo>
                  <a:pt x="2551" y="79031"/>
                  <a:pt x="3361" y="84977"/>
                  <a:pt x="2204" y="90687"/>
                </a:cubicBezTo>
                <a:cubicBezTo>
                  <a:pt x="-1035" y="99999"/>
                  <a:pt x="1799" y="121807"/>
                  <a:pt x="10303" y="134301"/>
                </a:cubicBezTo>
                <a:cubicBezTo>
                  <a:pt x="18806" y="146796"/>
                  <a:pt x="15566" y="169818"/>
                  <a:pt x="19558" y="174330"/>
                </a:cubicBezTo>
                <a:cubicBezTo>
                  <a:pt x="23549" y="178841"/>
                  <a:pt x="55132" y="177916"/>
                  <a:pt x="69246" y="168545"/>
                </a:cubicBezTo>
                <a:cubicBezTo>
                  <a:pt x="79426" y="161106"/>
                  <a:pt x="91805" y="157265"/>
                  <a:pt x="104415" y="157613"/>
                </a:cubicBezTo>
                <a:cubicBezTo>
                  <a:pt x="115753" y="156427"/>
                  <a:pt x="126338" y="151261"/>
                  <a:pt x="134263" y="143036"/>
                </a:cubicBezTo>
                <a:cubicBezTo>
                  <a:pt x="137907" y="138177"/>
                  <a:pt x="154450" y="137830"/>
                  <a:pt x="161334" y="138639"/>
                </a:cubicBezTo>
                <a:cubicBezTo>
                  <a:pt x="168217" y="139449"/>
                  <a:pt x="175043" y="131756"/>
                  <a:pt x="182736" y="124121"/>
                </a:cubicBezTo>
                <a:cubicBezTo>
                  <a:pt x="190430" y="116485"/>
                  <a:pt x="214666" y="113188"/>
                  <a:pt x="240580" y="105090"/>
                </a:cubicBezTo>
                <a:cubicBezTo>
                  <a:pt x="266495" y="96992"/>
                  <a:pt x="260768" y="84960"/>
                  <a:pt x="266842" y="77672"/>
                </a:cubicBezTo>
                <a:cubicBezTo>
                  <a:pt x="271932" y="71598"/>
                  <a:pt x="279047" y="73275"/>
                  <a:pt x="289980" y="68879"/>
                </a:cubicBezTo>
                <a:cubicBezTo>
                  <a:pt x="277427" y="43139"/>
                  <a:pt x="263487" y="14332"/>
                  <a:pt x="256488" y="-129"/>
                </a:cubicBezTo>
                <a:cubicBezTo>
                  <a:pt x="244109" y="3573"/>
                  <a:pt x="234044" y="6754"/>
                  <a:pt x="230111" y="7622"/>
                </a:cubicBezTo>
                <a:close/>
                <a:moveTo>
                  <a:pt x="296690" y="188675"/>
                </a:moveTo>
                <a:cubicBezTo>
                  <a:pt x="305771" y="198046"/>
                  <a:pt x="323529" y="187171"/>
                  <a:pt x="324455" y="183411"/>
                </a:cubicBezTo>
                <a:cubicBezTo>
                  <a:pt x="325380" y="179651"/>
                  <a:pt x="286509" y="178031"/>
                  <a:pt x="296690" y="188675"/>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19" name="Forma libre: forma 218">
            <a:extLst>
              <a:ext uri="{FF2B5EF4-FFF2-40B4-BE49-F238E27FC236}">
                <a16:creationId xmlns:a16="http://schemas.microsoft.com/office/drawing/2014/main" id="{A5B0E15A-9C2C-B147-ED51-A6BA20B5A69E}"/>
              </a:ext>
            </a:extLst>
          </p:cNvPr>
          <p:cNvSpPr/>
          <p:nvPr/>
        </p:nvSpPr>
        <p:spPr>
          <a:xfrm>
            <a:off x="10388761" y="4640875"/>
            <a:ext cx="213299" cy="149609"/>
          </a:xfrm>
          <a:custGeom>
            <a:avLst/>
            <a:gdLst>
              <a:gd name="connsiteX0" fmla="*/ -32 w 213299"/>
              <a:gd name="connsiteY0" fmla="*/ 846 h 149609"/>
              <a:gd name="connsiteX1" fmla="*/ 33865 w 213299"/>
              <a:gd name="connsiteY1" fmla="*/ 40412 h 149609"/>
              <a:gd name="connsiteX2" fmla="*/ -32 w 213299"/>
              <a:gd name="connsiteY2" fmla="*/ 846 h 149609"/>
              <a:gd name="connsiteX3" fmla="*/ 51624 w 213299"/>
              <a:gd name="connsiteY3" fmla="*/ 34743 h 149609"/>
              <a:gd name="connsiteX4" fmla="*/ 74761 w 213299"/>
              <a:gd name="connsiteY4" fmla="*/ 53543 h 149609"/>
              <a:gd name="connsiteX5" fmla="*/ 51624 w 213299"/>
              <a:gd name="connsiteY5" fmla="*/ 34743 h 149609"/>
              <a:gd name="connsiteX6" fmla="*/ 142497 w 213299"/>
              <a:gd name="connsiteY6" fmla="*/ 83217 h 149609"/>
              <a:gd name="connsiteX7" fmla="*/ 104320 w 213299"/>
              <a:gd name="connsiteY7" fmla="*/ 62624 h 149609"/>
              <a:gd name="connsiteX8" fmla="*/ 142497 w 213299"/>
              <a:gd name="connsiteY8" fmla="*/ 83217 h 149609"/>
              <a:gd name="connsiteX9" fmla="*/ 137638 w 213299"/>
              <a:gd name="connsiteY9" fmla="*/ 109247 h 149609"/>
              <a:gd name="connsiteX10" fmla="*/ 165519 w 213299"/>
              <a:gd name="connsiteY10" fmla="*/ 124402 h 149609"/>
              <a:gd name="connsiteX11" fmla="*/ 137638 w 213299"/>
              <a:gd name="connsiteY11" fmla="*/ 109247 h 149609"/>
              <a:gd name="connsiteX12" fmla="*/ 187210 w 213299"/>
              <a:gd name="connsiteY12" fmla="*/ 136202 h 149609"/>
              <a:gd name="connsiteX13" fmla="*/ 212026 w 213299"/>
              <a:gd name="connsiteY13" fmla="*/ 148349 h 149609"/>
              <a:gd name="connsiteX14" fmla="*/ 187210 w 213299"/>
              <a:gd name="connsiteY14" fmla="*/ 136202 h 149609"/>
              <a:gd name="connsiteX15" fmla="*/ 165981 w 213299"/>
              <a:gd name="connsiteY15" fmla="*/ 82291 h 149609"/>
              <a:gd name="connsiteX16" fmla="*/ 187788 w 213299"/>
              <a:gd name="connsiteY16" fmla="*/ 119254 h 149609"/>
              <a:gd name="connsiteX17" fmla="*/ 166097 w 213299"/>
              <a:gd name="connsiteY17" fmla="*/ 82002 h 14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299" h="149609">
                <a:moveTo>
                  <a:pt x="-32" y="846"/>
                </a:moveTo>
                <a:cubicBezTo>
                  <a:pt x="-1709" y="8135"/>
                  <a:pt x="24205" y="46544"/>
                  <a:pt x="33865" y="40412"/>
                </a:cubicBezTo>
                <a:cubicBezTo>
                  <a:pt x="51624" y="29132"/>
                  <a:pt x="1530" y="-6442"/>
                  <a:pt x="-32" y="846"/>
                </a:cubicBezTo>
                <a:close/>
                <a:moveTo>
                  <a:pt x="51624" y="34743"/>
                </a:moveTo>
                <a:cubicBezTo>
                  <a:pt x="50987" y="37809"/>
                  <a:pt x="70365" y="56551"/>
                  <a:pt x="74761" y="53543"/>
                </a:cubicBezTo>
                <a:cubicBezTo>
                  <a:pt x="79157" y="50535"/>
                  <a:pt x="52722" y="29248"/>
                  <a:pt x="51624" y="34743"/>
                </a:cubicBezTo>
                <a:close/>
                <a:moveTo>
                  <a:pt x="142497" y="83217"/>
                </a:moveTo>
                <a:cubicBezTo>
                  <a:pt x="149149" y="78994"/>
                  <a:pt x="105014" y="54757"/>
                  <a:pt x="104320" y="62624"/>
                </a:cubicBezTo>
                <a:cubicBezTo>
                  <a:pt x="103625" y="70491"/>
                  <a:pt x="135787" y="87440"/>
                  <a:pt x="142497" y="83217"/>
                </a:cubicBezTo>
                <a:close/>
                <a:moveTo>
                  <a:pt x="137638" y="109247"/>
                </a:moveTo>
                <a:cubicBezTo>
                  <a:pt x="140067" y="121394"/>
                  <a:pt x="158230" y="128625"/>
                  <a:pt x="165519" y="124402"/>
                </a:cubicBezTo>
                <a:cubicBezTo>
                  <a:pt x="172807" y="120179"/>
                  <a:pt x="135150" y="96752"/>
                  <a:pt x="137638" y="109247"/>
                </a:cubicBezTo>
                <a:close/>
                <a:moveTo>
                  <a:pt x="187210" y="136202"/>
                </a:moveTo>
                <a:cubicBezTo>
                  <a:pt x="188425" y="139268"/>
                  <a:pt x="204159" y="153556"/>
                  <a:pt x="212026" y="148349"/>
                </a:cubicBezTo>
                <a:cubicBezTo>
                  <a:pt x="219892" y="143144"/>
                  <a:pt x="185244" y="130765"/>
                  <a:pt x="187210" y="136202"/>
                </a:cubicBezTo>
                <a:close/>
                <a:moveTo>
                  <a:pt x="165981" y="82291"/>
                </a:moveTo>
                <a:cubicBezTo>
                  <a:pt x="160197" y="95595"/>
                  <a:pt x="184202" y="118618"/>
                  <a:pt x="187788" y="119254"/>
                </a:cubicBezTo>
                <a:cubicBezTo>
                  <a:pt x="191375" y="119890"/>
                  <a:pt x="170783" y="71706"/>
                  <a:pt x="166097" y="8200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0" name="Forma libre: forma 219">
            <a:extLst>
              <a:ext uri="{FF2B5EF4-FFF2-40B4-BE49-F238E27FC236}">
                <a16:creationId xmlns:a16="http://schemas.microsoft.com/office/drawing/2014/main" id="{D980EFF0-ED81-55B1-D637-E4F6FC457510}"/>
              </a:ext>
            </a:extLst>
          </p:cNvPr>
          <p:cNvSpPr/>
          <p:nvPr/>
        </p:nvSpPr>
        <p:spPr>
          <a:xfrm>
            <a:off x="10388761" y="4640875"/>
            <a:ext cx="213299" cy="149609"/>
          </a:xfrm>
          <a:custGeom>
            <a:avLst/>
            <a:gdLst>
              <a:gd name="connsiteX0" fmla="*/ -32 w 213299"/>
              <a:gd name="connsiteY0" fmla="*/ 846 h 149609"/>
              <a:gd name="connsiteX1" fmla="*/ 33865 w 213299"/>
              <a:gd name="connsiteY1" fmla="*/ 40412 h 149609"/>
              <a:gd name="connsiteX2" fmla="*/ -32 w 213299"/>
              <a:gd name="connsiteY2" fmla="*/ 846 h 149609"/>
              <a:gd name="connsiteX3" fmla="*/ 51624 w 213299"/>
              <a:gd name="connsiteY3" fmla="*/ 34743 h 149609"/>
              <a:gd name="connsiteX4" fmla="*/ 74761 w 213299"/>
              <a:gd name="connsiteY4" fmla="*/ 53543 h 149609"/>
              <a:gd name="connsiteX5" fmla="*/ 51624 w 213299"/>
              <a:gd name="connsiteY5" fmla="*/ 34743 h 149609"/>
              <a:gd name="connsiteX6" fmla="*/ 142497 w 213299"/>
              <a:gd name="connsiteY6" fmla="*/ 83217 h 149609"/>
              <a:gd name="connsiteX7" fmla="*/ 104320 w 213299"/>
              <a:gd name="connsiteY7" fmla="*/ 62624 h 149609"/>
              <a:gd name="connsiteX8" fmla="*/ 142497 w 213299"/>
              <a:gd name="connsiteY8" fmla="*/ 83217 h 149609"/>
              <a:gd name="connsiteX9" fmla="*/ 137638 w 213299"/>
              <a:gd name="connsiteY9" fmla="*/ 109247 h 149609"/>
              <a:gd name="connsiteX10" fmla="*/ 165519 w 213299"/>
              <a:gd name="connsiteY10" fmla="*/ 124402 h 149609"/>
              <a:gd name="connsiteX11" fmla="*/ 137638 w 213299"/>
              <a:gd name="connsiteY11" fmla="*/ 109247 h 149609"/>
              <a:gd name="connsiteX12" fmla="*/ 187210 w 213299"/>
              <a:gd name="connsiteY12" fmla="*/ 136202 h 149609"/>
              <a:gd name="connsiteX13" fmla="*/ 212026 w 213299"/>
              <a:gd name="connsiteY13" fmla="*/ 148349 h 149609"/>
              <a:gd name="connsiteX14" fmla="*/ 187210 w 213299"/>
              <a:gd name="connsiteY14" fmla="*/ 136202 h 149609"/>
              <a:gd name="connsiteX15" fmla="*/ 165981 w 213299"/>
              <a:gd name="connsiteY15" fmla="*/ 82291 h 149609"/>
              <a:gd name="connsiteX16" fmla="*/ 187788 w 213299"/>
              <a:gd name="connsiteY16" fmla="*/ 119254 h 149609"/>
              <a:gd name="connsiteX17" fmla="*/ 166097 w 213299"/>
              <a:gd name="connsiteY17" fmla="*/ 82002 h 14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299" h="149609">
                <a:moveTo>
                  <a:pt x="-32" y="846"/>
                </a:moveTo>
                <a:cubicBezTo>
                  <a:pt x="-1709" y="8135"/>
                  <a:pt x="24205" y="46544"/>
                  <a:pt x="33865" y="40412"/>
                </a:cubicBezTo>
                <a:cubicBezTo>
                  <a:pt x="51624" y="29132"/>
                  <a:pt x="1530" y="-6442"/>
                  <a:pt x="-32" y="846"/>
                </a:cubicBezTo>
                <a:close/>
                <a:moveTo>
                  <a:pt x="51624" y="34743"/>
                </a:moveTo>
                <a:cubicBezTo>
                  <a:pt x="50987" y="37809"/>
                  <a:pt x="70365" y="56551"/>
                  <a:pt x="74761" y="53543"/>
                </a:cubicBezTo>
                <a:cubicBezTo>
                  <a:pt x="79157" y="50535"/>
                  <a:pt x="52722" y="29248"/>
                  <a:pt x="51624" y="34743"/>
                </a:cubicBezTo>
                <a:close/>
                <a:moveTo>
                  <a:pt x="142497" y="83217"/>
                </a:moveTo>
                <a:cubicBezTo>
                  <a:pt x="149149" y="78994"/>
                  <a:pt x="105014" y="54757"/>
                  <a:pt x="104320" y="62624"/>
                </a:cubicBezTo>
                <a:cubicBezTo>
                  <a:pt x="103625" y="70491"/>
                  <a:pt x="135787" y="87440"/>
                  <a:pt x="142497" y="83217"/>
                </a:cubicBezTo>
                <a:close/>
                <a:moveTo>
                  <a:pt x="137638" y="109247"/>
                </a:moveTo>
                <a:cubicBezTo>
                  <a:pt x="140067" y="121394"/>
                  <a:pt x="158230" y="128625"/>
                  <a:pt x="165519" y="124402"/>
                </a:cubicBezTo>
                <a:cubicBezTo>
                  <a:pt x="172807" y="120179"/>
                  <a:pt x="135150" y="96752"/>
                  <a:pt x="137638" y="109247"/>
                </a:cubicBezTo>
                <a:close/>
                <a:moveTo>
                  <a:pt x="187210" y="136202"/>
                </a:moveTo>
                <a:cubicBezTo>
                  <a:pt x="188425" y="139268"/>
                  <a:pt x="204159" y="153556"/>
                  <a:pt x="212026" y="148349"/>
                </a:cubicBezTo>
                <a:cubicBezTo>
                  <a:pt x="219892" y="143144"/>
                  <a:pt x="185244" y="130765"/>
                  <a:pt x="187210" y="136202"/>
                </a:cubicBezTo>
                <a:close/>
                <a:moveTo>
                  <a:pt x="165981" y="82291"/>
                </a:moveTo>
                <a:cubicBezTo>
                  <a:pt x="160197" y="95595"/>
                  <a:pt x="184202" y="118618"/>
                  <a:pt x="187788" y="119254"/>
                </a:cubicBezTo>
                <a:cubicBezTo>
                  <a:pt x="191375" y="119890"/>
                  <a:pt x="170783" y="71706"/>
                  <a:pt x="166097" y="8200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1" name="Forma libre: forma 220">
            <a:extLst>
              <a:ext uri="{FF2B5EF4-FFF2-40B4-BE49-F238E27FC236}">
                <a16:creationId xmlns:a16="http://schemas.microsoft.com/office/drawing/2014/main" id="{55748A59-F114-F23A-5182-B84F2EA71E41}"/>
              </a:ext>
            </a:extLst>
          </p:cNvPr>
          <p:cNvSpPr/>
          <p:nvPr/>
        </p:nvSpPr>
        <p:spPr>
          <a:xfrm>
            <a:off x="9239414" y="4784362"/>
            <a:ext cx="1116148" cy="992221"/>
          </a:xfrm>
          <a:custGeom>
            <a:avLst/>
            <a:gdLst>
              <a:gd name="connsiteX0" fmla="*/ 1113105 w 1116148"/>
              <a:gd name="connsiteY0" fmla="*/ 497002 h 992221"/>
              <a:gd name="connsiteX1" fmla="*/ 1106453 w 1116148"/>
              <a:gd name="connsiteY1" fmla="*/ 477045 h 992221"/>
              <a:gd name="connsiteX2" fmla="*/ 1105238 w 1116148"/>
              <a:gd name="connsiteY2" fmla="*/ 431638 h 992221"/>
              <a:gd name="connsiteX3" fmla="*/ 1098586 w 1116148"/>
              <a:gd name="connsiteY3" fmla="*/ 425853 h 992221"/>
              <a:gd name="connsiteX4" fmla="*/ 1080423 w 1116148"/>
              <a:gd name="connsiteY4" fmla="*/ 404625 h 992221"/>
              <a:gd name="connsiteX5" fmla="*/ 1059194 w 1116148"/>
              <a:gd name="connsiteY5" fmla="*/ 384032 h 992221"/>
              <a:gd name="connsiteX6" fmla="*/ 1045890 w 1116148"/>
              <a:gd name="connsiteY6" fmla="*/ 371364 h 992221"/>
              <a:gd name="connsiteX7" fmla="*/ 1036172 w 1116148"/>
              <a:gd name="connsiteY7" fmla="*/ 342904 h 992221"/>
              <a:gd name="connsiteX8" fmla="*/ 1025297 w 1116148"/>
              <a:gd name="connsiteY8" fmla="*/ 333823 h 992221"/>
              <a:gd name="connsiteX9" fmla="*/ 1009505 w 1116148"/>
              <a:gd name="connsiteY9" fmla="*/ 334980 h 992221"/>
              <a:gd name="connsiteX10" fmla="*/ 1002854 w 1116148"/>
              <a:gd name="connsiteY10" fmla="*/ 316643 h 992221"/>
              <a:gd name="connsiteX11" fmla="*/ 992558 w 1116148"/>
              <a:gd name="connsiteY11" fmla="*/ 296629 h 992221"/>
              <a:gd name="connsiteX12" fmla="*/ 983476 w 1116148"/>
              <a:gd name="connsiteY12" fmla="*/ 276615 h 992221"/>
              <a:gd name="connsiteX13" fmla="*/ 920483 w 1116148"/>
              <a:gd name="connsiteY13" fmla="*/ 239653 h 992221"/>
              <a:gd name="connsiteX14" fmla="*/ 913832 w 1116148"/>
              <a:gd name="connsiteY14" fmla="*/ 220969 h 992221"/>
              <a:gd name="connsiteX15" fmla="*/ 907121 w 1116148"/>
              <a:gd name="connsiteY15" fmla="*/ 187593 h 992221"/>
              <a:gd name="connsiteX16" fmla="*/ 890809 w 1116148"/>
              <a:gd name="connsiteY16" fmla="*/ 159133 h 992221"/>
              <a:gd name="connsiteX17" fmla="*/ 887165 w 1116148"/>
              <a:gd name="connsiteY17" fmla="*/ 125815 h 992221"/>
              <a:gd name="connsiteX18" fmla="*/ 869002 w 1116148"/>
              <a:gd name="connsiteY18" fmla="*/ 104008 h 992221"/>
              <a:gd name="connsiteX19" fmla="*/ 847831 w 1116148"/>
              <a:gd name="connsiteY19" fmla="*/ 104644 h 992221"/>
              <a:gd name="connsiteX20" fmla="*/ 839328 w 1116148"/>
              <a:gd name="connsiteY20" fmla="*/ 77341 h 992221"/>
              <a:gd name="connsiteX21" fmla="*/ 826602 w 1116148"/>
              <a:gd name="connsiteY21" fmla="*/ 33727 h 992221"/>
              <a:gd name="connsiteX22" fmla="*/ 813298 w 1116148"/>
              <a:gd name="connsiteY22" fmla="*/ 409 h 992221"/>
              <a:gd name="connsiteX23" fmla="*/ 795945 w 1116148"/>
              <a:gd name="connsiteY23" fmla="*/ 20365 h 992221"/>
              <a:gd name="connsiteX24" fmla="*/ 789351 w 1116148"/>
              <a:gd name="connsiteY24" fmla="*/ 42230 h 992221"/>
              <a:gd name="connsiteX25" fmla="*/ 785706 w 1116148"/>
              <a:gd name="connsiteY25" fmla="*/ 72540 h 992221"/>
              <a:gd name="connsiteX26" fmla="*/ 783277 w 1116148"/>
              <a:gd name="connsiteY26" fmla="*/ 120956 h 992221"/>
              <a:gd name="connsiteX27" fmla="*/ 774774 w 1116148"/>
              <a:gd name="connsiteY27" fmla="*/ 162720 h 992221"/>
              <a:gd name="connsiteX28" fmla="*/ 751636 w 1116148"/>
              <a:gd name="connsiteY28" fmla="*/ 194881 h 992221"/>
              <a:gd name="connsiteX29" fmla="*/ 718318 w 1116148"/>
              <a:gd name="connsiteY29" fmla="*/ 180940 h 992221"/>
              <a:gd name="connsiteX30" fmla="*/ 694081 w 1116148"/>
              <a:gd name="connsiteY30" fmla="*/ 169372 h 992221"/>
              <a:gd name="connsiteX31" fmla="*/ 667414 w 1116148"/>
              <a:gd name="connsiteY31" fmla="*/ 148143 h 992221"/>
              <a:gd name="connsiteX32" fmla="*/ 639592 w 1116148"/>
              <a:gd name="connsiteY32" fmla="*/ 138483 h 992221"/>
              <a:gd name="connsiteX33" fmla="*/ 621370 w 1116148"/>
              <a:gd name="connsiteY33" fmla="*/ 117890 h 992221"/>
              <a:gd name="connsiteX34" fmla="*/ 623858 w 1116148"/>
              <a:gd name="connsiteY34" fmla="*/ 104586 h 992221"/>
              <a:gd name="connsiteX35" fmla="*/ 626229 w 1116148"/>
              <a:gd name="connsiteY35" fmla="*/ 81449 h 992221"/>
              <a:gd name="connsiteX36" fmla="*/ 643582 w 1116148"/>
              <a:gd name="connsiteY36" fmla="*/ 68723 h 992221"/>
              <a:gd name="connsiteX37" fmla="*/ 652664 w 1116148"/>
              <a:gd name="connsiteY37" fmla="*/ 50560 h 992221"/>
              <a:gd name="connsiteX38" fmla="*/ 646880 w 1116148"/>
              <a:gd name="connsiteY38" fmla="*/ 37255 h 992221"/>
              <a:gd name="connsiteX39" fmla="*/ 636584 w 1116148"/>
              <a:gd name="connsiteY39" fmla="*/ 48130 h 992221"/>
              <a:gd name="connsiteX40" fmla="*/ 626229 w 1116148"/>
              <a:gd name="connsiteY40" fmla="*/ 33611 h 992221"/>
              <a:gd name="connsiteX41" fmla="*/ 605637 w 1116148"/>
              <a:gd name="connsiteY41" fmla="*/ 42114 h 992221"/>
              <a:gd name="connsiteX42" fmla="*/ 552363 w 1116148"/>
              <a:gd name="connsiteY42" fmla="*/ 25744 h 992221"/>
              <a:gd name="connsiteX43" fmla="*/ 526911 w 1116148"/>
              <a:gd name="connsiteY43" fmla="*/ 10011 h 992221"/>
              <a:gd name="connsiteX44" fmla="*/ 537207 w 1116148"/>
              <a:gd name="connsiteY44" fmla="*/ 28174 h 992221"/>
              <a:gd name="connsiteX45" fmla="*/ 495385 w 1116148"/>
              <a:gd name="connsiteY45" fmla="*/ 40900 h 992221"/>
              <a:gd name="connsiteX46" fmla="*/ 487577 w 1116148"/>
              <a:gd name="connsiteY46" fmla="*/ 48766 h 992221"/>
              <a:gd name="connsiteX47" fmla="*/ 468199 w 1116148"/>
              <a:gd name="connsiteY47" fmla="*/ 73581 h 992221"/>
              <a:gd name="connsiteX48" fmla="*/ 457266 w 1116148"/>
              <a:gd name="connsiteY48" fmla="*/ 93596 h 992221"/>
              <a:gd name="connsiteX49" fmla="*/ 458481 w 1116148"/>
              <a:gd name="connsiteY49" fmla="*/ 116733 h 992221"/>
              <a:gd name="connsiteX50" fmla="*/ 444541 w 1116148"/>
              <a:gd name="connsiteY50" fmla="*/ 119741 h 992221"/>
              <a:gd name="connsiteX51" fmla="*/ 427188 w 1116148"/>
              <a:gd name="connsiteY51" fmla="*/ 120956 h 992221"/>
              <a:gd name="connsiteX52" fmla="*/ 418106 w 1116148"/>
              <a:gd name="connsiteY52" fmla="*/ 115172 h 992221"/>
              <a:gd name="connsiteX53" fmla="*/ 403008 w 1116148"/>
              <a:gd name="connsiteY53" fmla="*/ 102504 h 992221"/>
              <a:gd name="connsiteX54" fmla="*/ 379871 w 1116148"/>
              <a:gd name="connsiteY54" fmla="*/ 85497 h 992221"/>
              <a:gd name="connsiteX55" fmla="*/ 364137 w 1116148"/>
              <a:gd name="connsiteY55" fmla="*/ 94637 h 992221"/>
              <a:gd name="connsiteX56" fmla="*/ 355634 w 1116148"/>
              <a:gd name="connsiteY56" fmla="*/ 107305 h 992221"/>
              <a:gd name="connsiteX57" fmla="*/ 334405 w 1116148"/>
              <a:gd name="connsiteY57" fmla="*/ 107941 h 992221"/>
              <a:gd name="connsiteX58" fmla="*/ 329604 w 1116148"/>
              <a:gd name="connsiteY58" fmla="*/ 120031 h 992221"/>
              <a:gd name="connsiteX59" fmla="*/ 316878 w 1116148"/>
              <a:gd name="connsiteY59" fmla="*/ 129112 h 992221"/>
              <a:gd name="connsiteX60" fmla="*/ 311441 w 1116148"/>
              <a:gd name="connsiteY60" fmla="*/ 155778 h 992221"/>
              <a:gd name="connsiteX61" fmla="*/ 291484 w 1116148"/>
              <a:gd name="connsiteY61" fmla="*/ 153985 h 992221"/>
              <a:gd name="connsiteX62" fmla="*/ 295708 w 1116148"/>
              <a:gd name="connsiteY62" fmla="*/ 174578 h 992221"/>
              <a:gd name="connsiteX63" fmla="*/ 287204 w 1116148"/>
              <a:gd name="connsiteY63" fmla="*/ 188461 h 992221"/>
              <a:gd name="connsiteX64" fmla="*/ 276271 w 1116148"/>
              <a:gd name="connsiteY64" fmla="*/ 167868 h 992221"/>
              <a:gd name="connsiteX65" fmla="*/ 255101 w 1116148"/>
              <a:gd name="connsiteY65" fmla="*/ 178800 h 992221"/>
              <a:gd name="connsiteX66" fmla="*/ 253886 w 1116148"/>
              <a:gd name="connsiteY66" fmla="*/ 210846 h 992221"/>
              <a:gd name="connsiteX67" fmla="*/ 214552 w 1116148"/>
              <a:gd name="connsiteY67" fmla="*/ 249660 h 992221"/>
              <a:gd name="connsiteX68" fmla="*/ 166020 w 1116148"/>
              <a:gd name="connsiteY68" fmla="*/ 263022 h 992221"/>
              <a:gd name="connsiteX69" fmla="*/ 139991 w 1116148"/>
              <a:gd name="connsiteY69" fmla="*/ 271467 h 992221"/>
              <a:gd name="connsiteX70" fmla="*/ 113961 w 1116148"/>
              <a:gd name="connsiteY70" fmla="*/ 283036 h 992221"/>
              <a:gd name="connsiteX71" fmla="*/ 81221 w 1116148"/>
              <a:gd name="connsiteY71" fmla="*/ 290960 h 992221"/>
              <a:gd name="connsiteX72" fmla="*/ 47324 w 1116148"/>
              <a:gd name="connsiteY72" fmla="*/ 309702 h 992221"/>
              <a:gd name="connsiteX73" fmla="*/ 32805 w 1116148"/>
              <a:gd name="connsiteY73" fmla="*/ 329658 h 992221"/>
              <a:gd name="connsiteX74" fmla="*/ 29739 w 1116148"/>
              <a:gd name="connsiteY74" fmla="*/ 312768 h 992221"/>
              <a:gd name="connsiteX75" fmla="*/ 15799 w 1116148"/>
              <a:gd name="connsiteY75" fmla="*/ 332724 h 992221"/>
              <a:gd name="connsiteX76" fmla="*/ 17071 w 1116148"/>
              <a:gd name="connsiteY76" fmla="*/ 363613 h 992221"/>
              <a:gd name="connsiteX77" fmla="*/ 12213 w 1116148"/>
              <a:gd name="connsiteY77" fmla="*/ 407227 h 992221"/>
              <a:gd name="connsiteX78" fmla="*/ 27946 w 1116148"/>
              <a:gd name="connsiteY78" fmla="*/ 443554 h 992221"/>
              <a:gd name="connsiteX79" fmla="*/ 11576 w 1116148"/>
              <a:gd name="connsiteY79" fmla="*/ 429671 h 992221"/>
              <a:gd name="connsiteX80" fmla="*/ 19443 w 1116148"/>
              <a:gd name="connsiteY80" fmla="*/ 449049 h 992221"/>
              <a:gd name="connsiteX81" fmla="*/ 65 w 1116148"/>
              <a:gd name="connsiteY81" fmla="*/ 434530 h 992221"/>
              <a:gd name="connsiteX82" fmla="*/ 27946 w 1116148"/>
              <a:gd name="connsiteY82" fmla="*/ 496308 h 992221"/>
              <a:gd name="connsiteX83" fmla="*/ 51084 w 1116148"/>
              <a:gd name="connsiteY83" fmla="*/ 547789 h 992221"/>
              <a:gd name="connsiteX84" fmla="*/ 75320 w 1116148"/>
              <a:gd name="connsiteY84" fmla="*/ 610145 h 992221"/>
              <a:gd name="connsiteX85" fmla="*/ 69247 w 1116148"/>
              <a:gd name="connsiteY85" fmla="*/ 646472 h 992221"/>
              <a:gd name="connsiteX86" fmla="*/ 53513 w 1116148"/>
              <a:gd name="connsiteY86" fmla="*/ 668915 h 992221"/>
              <a:gd name="connsiteX87" fmla="*/ 60743 w 1116148"/>
              <a:gd name="connsiteY87" fmla="*/ 687078 h 992221"/>
              <a:gd name="connsiteX88" fmla="*/ 80758 w 1116148"/>
              <a:gd name="connsiteY88" fmla="*/ 704431 h 992221"/>
              <a:gd name="connsiteX89" fmla="*/ 134032 w 1116148"/>
              <a:gd name="connsiteY89" fmla="*/ 709869 h 992221"/>
              <a:gd name="connsiteX90" fmla="*/ 161335 w 1116148"/>
              <a:gd name="connsiteY90" fmla="*/ 693557 h 992221"/>
              <a:gd name="connsiteX91" fmla="*/ 180713 w 1116148"/>
              <a:gd name="connsiteY91" fmla="*/ 680195 h 992221"/>
              <a:gd name="connsiteX92" fmla="*/ 250993 w 1116148"/>
              <a:gd name="connsiteY92" fmla="*/ 675972 h 992221"/>
              <a:gd name="connsiteX93" fmla="*/ 301839 w 1116148"/>
              <a:gd name="connsiteY93" fmla="*/ 654743 h 992221"/>
              <a:gd name="connsiteX94" fmla="*/ 338223 w 1116148"/>
              <a:gd name="connsiteY94" fmla="*/ 634151 h 992221"/>
              <a:gd name="connsiteX95" fmla="*/ 378714 w 1116148"/>
              <a:gd name="connsiteY95" fmla="*/ 626284 h 992221"/>
              <a:gd name="connsiteX96" fmla="*/ 439277 w 1116148"/>
              <a:gd name="connsiteY96" fmla="*/ 608931 h 992221"/>
              <a:gd name="connsiteX97" fmla="*/ 497121 w 1116148"/>
              <a:gd name="connsiteY97" fmla="*/ 601642 h 992221"/>
              <a:gd name="connsiteX98" fmla="*/ 530382 w 1116148"/>
              <a:gd name="connsiteY98" fmla="*/ 617954 h 992221"/>
              <a:gd name="connsiteX99" fmla="*/ 562485 w 1116148"/>
              <a:gd name="connsiteY99" fmla="*/ 622235 h 992221"/>
              <a:gd name="connsiteX100" fmla="*/ 578277 w 1116148"/>
              <a:gd name="connsiteY100" fmla="*/ 630102 h 992221"/>
              <a:gd name="connsiteX101" fmla="*/ 580070 w 1116148"/>
              <a:gd name="connsiteY101" fmla="*/ 647050 h 992221"/>
              <a:gd name="connsiteX102" fmla="*/ 604307 w 1116148"/>
              <a:gd name="connsiteY102" fmla="*/ 670188 h 992221"/>
              <a:gd name="connsiteX103" fmla="*/ 610959 w 1116148"/>
              <a:gd name="connsiteY103" fmla="*/ 700498 h 992221"/>
              <a:gd name="connsiteX104" fmla="*/ 633402 w 1116148"/>
              <a:gd name="connsiteY104" fmla="*/ 692631 h 992221"/>
              <a:gd name="connsiteX105" fmla="*/ 660647 w 1116148"/>
              <a:gd name="connsiteY105" fmla="*/ 672039 h 992221"/>
              <a:gd name="connsiteX106" fmla="*/ 683785 w 1116148"/>
              <a:gd name="connsiteY106" fmla="*/ 647802 h 992221"/>
              <a:gd name="connsiteX107" fmla="*/ 672216 w 1116148"/>
              <a:gd name="connsiteY107" fmla="*/ 686558 h 992221"/>
              <a:gd name="connsiteX108" fmla="*/ 655267 w 1116148"/>
              <a:gd name="connsiteY108" fmla="*/ 707728 h 992221"/>
              <a:gd name="connsiteX109" fmla="*/ 680719 w 1116148"/>
              <a:gd name="connsiteY109" fmla="*/ 705299 h 992221"/>
              <a:gd name="connsiteX110" fmla="*/ 695816 w 1116148"/>
              <a:gd name="connsiteY110" fmla="*/ 697432 h 992221"/>
              <a:gd name="connsiteX111" fmla="*/ 692230 w 1116148"/>
              <a:gd name="connsiteY111" fmla="*/ 727743 h 992221"/>
              <a:gd name="connsiteX112" fmla="*/ 712244 w 1116148"/>
              <a:gd name="connsiteY112" fmla="*/ 726528 h 992221"/>
              <a:gd name="connsiteX113" fmla="*/ 735381 w 1116148"/>
              <a:gd name="connsiteY113" fmla="*/ 764127 h 992221"/>
              <a:gd name="connsiteX114" fmla="*/ 749842 w 1116148"/>
              <a:gd name="connsiteY114" fmla="*/ 799238 h 992221"/>
              <a:gd name="connsiteX115" fmla="*/ 777724 w 1116148"/>
              <a:gd name="connsiteY115" fmla="*/ 811328 h 992221"/>
              <a:gd name="connsiteX116" fmla="*/ 832850 w 1116148"/>
              <a:gd name="connsiteY116" fmla="*/ 830706 h 992221"/>
              <a:gd name="connsiteX117" fmla="*/ 867556 w 1116148"/>
              <a:gd name="connsiteY117" fmla="*/ 810691 h 992221"/>
              <a:gd name="connsiteX118" fmla="*/ 879125 w 1116148"/>
              <a:gd name="connsiteY118" fmla="*/ 814972 h 992221"/>
              <a:gd name="connsiteX119" fmla="*/ 883984 w 1116148"/>
              <a:gd name="connsiteY119" fmla="*/ 823475 h 992221"/>
              <a:gd name="connsiteX120" fmla="*/ 891272 w 1116148"/>
              <a:gd name="connsiteY120" fmla="*/ 818038 h 992221"/>
              <a:gd name="connsiteX121" fmla="*/ 909377 w 1116148"/>
              <a:gd name="connsiteY121" fmla="*/ 834350 h 992221"/>
              <a:gd name="connsiteX122" fmla="*/ 918517 w 1116148"/>
              <a:gd name="connsiteY122" fmla="*/ 841002 h 992221"/>
              <a:gd name="connsiteX123" fmla="*/ 930606 w 1116148"/>
              <a:gd name="connsiteY123" fmla="*/ 825904 h 992221"/>
              <a:gd name="connsiteX124" fmla="*/ 956694 w 1116148"/>
              <a:gd name="connsiteY124" fmla="*/ 807105 h 992221"/>
              <a:gd name="connsiteX125" fmla="*/ 1013613 w 1116148"/>
              <a:gd name="connsiteY125" fmla="*/ 796751 h 992221"/>
              <a:gd name="connsiteX126" fmla="*/ 1022694 w 1116148"/>
              <a:gd name="connsiteY126" fmla="*/ 741683 h 992221"/>
              <a:gd name="connsiteX127" fmla="*/ 1043287 w 1116148"/>
              <a:gd name="connsiteY127" fmla="*/ 699862 h 992221"/>
              <a:gd name="connsiteX128" fmla="*/ 1072209 w 1116148"/>
              <a:gd name="connsiteY128" fmla="*/ 641092 h 992221"/>
              <a:gd name="connsiteX129" fmla="*/ 1088521 w 1116148"/>
              <a:gd name="connsiteY129" fmla="*/ 622350 h 992221"/>
              <a:gd name="connsiteX130" fmla="*/ 1103098 w 1116148"/>
              <a:gd name="connsiteY130" fmla="*/ 584173 h 992221"/>
              <a:gd name="connsiteX131" fmla="*/ 1109750 w 1116148"/>
              <a:gd name="connsiteY131" fmla="*/ 549467 h 992221"/>
              <a:gd name="connsiteX132" fmla="*/ 1112815 w 1116148"/>
              <a:gd name="connsiteY132" fmla="*/ 522164 h 992221"/>
              <a:gd name="connsiteX133" fmla="*/ 1113105 w 1116148"/>
              <a:gd name="connsiteY133" fmla="*/ 497002 h 992221"/>
              <a:gd name="connsiteX134" fmla="*/ 506144 w 1116148"/>
              <a:gd name="connsiteY134" fmla="*/ 22679 h 992221"/>
              <a:gd name="connsiteX135" fmla="*/ 471033 w 1116148"/>
              <a:gd name="connsiteY135" fmla="*/ 31124 h 992221"/>
              <a:gd name="connsiteX136" fmla="*/ 506144 w 1116148"/>
              <a:gd name="connsiteY136" fmla="*/ 22736 h 992221"/>
              <a:gd name="connsiteX137" fmla="*/ 642426 w 1116148"/>
              <a:gd name="connsiteY137" fmla="*/ 739948 h 992221"/>
              <a:gd name="connsiteX138" fmla="*/ 675166 w 1116148"/>
              <a:gd name="connsiteY138" fmla="*/ 735725 h 992221"/>
              <a:gd name="connsiteX139" fmla="*/ 642426 w 1116148"/>
              <a:gd name="connsiteY139" fmla="*/ 739948 h 992221"/>
              <a:gd name="connsiteX140" fmla="*/ 916261 w 1116148"/>
              <a:gd name="connsiteY140" fmla="*/ 908332 h 992221"/>
              <a:gd name="connsiteX141" fmla="*/ 869581 w 1116148"/>
              <a:gd name="connsiteY141" fmla="*/ 895028 h 992221"/>
              <a:gd name="connsiteX142" fmla="*/ 882364 w 1116148"/>
              <a:gd name="connsiteY142" fmla="*/ 949575 h 992221"/>
              <a:gd name="connsiteX143" fmla="*/ 918632 w 1116148"/>
              <a:gd name="connsiteY143" fmla="*/ 991918 h 992221"/>
              <a:gd name="connsiteX144" fmla="*/ 933845 w 1116148"/>
              <a:gd name="connsiteY144" fmla="*/ 981043 h 992221"/>
              <a:gd name="connsiteX145" fmla="*/ 939630 w 1116148"/>
              <a:gd name="connsiteY145" fmla="*/ 967102 h 992221"/>
              <a:gd name="connsiteX146" fmla="*/ 955363 w 1116148"/>
              <a:gd name="connsiteY146" fmla="*/ 970110 h 992221"/>
              <a:gd name="connsiteX147" fmla="*/ 963230 w 1116148"/>
              <a:gd name="connsiteY147" fmla="*/ 940436 h 992221"/>
              <a:gd name="connsiteX148" fmla="*/ 962016 w 1116148"/>
              <a:gd name="connsiteY148" fmla="*/ 898673 h 992221"/>
              <a:gd name="connsiteX149" fmla="*/ 916261 w 1116148"/>
              <a:gd name="connsiteY149" fmla="*/ 908332 h 99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16148" h="992221">
                <a:moveTo>
                  <a:pt x="1113105" y="497002"/>
                </a:moveTo>
                <a:cubicBezTo>
                  <a:pt x="1117964" y="493415"/>
                  <a:pt x="1110733" y="473864"/>
                  <a:pt x="1106453" y="477045"/>
                </a:cubicBezTo>
                <a:cubicBezTo>
                  <a:pt x="1102172" y="480227"/>
                  <a:pt x="1102230" y="446735"/>
                  <a:pt x="1105238" y="431638"/>
                </a:cubicBezTo>
                <a:cubicBezTo>
                  <a:pt x="1108246" y="416541"/>
                  <a:pt x="1106453" y="418276"/>
                  <a:pt x="1098586" y="425853"/>
                </a:cubicBezTo>
                <a:cubicBezTo>
                  <a:pt x="1090719" y="433431"/>
                  <a:pt x="1082216" y="410756"/>
                  <a:pt x="1080423" y="404625"/>
                </a:cubicBezTo>
                <a:cubicBezTo>
                  <a:pt x="1078630" y="398493"/>
                  <a:pt x="1069490" y="381487"/>
                  <a:pt x="1059194" y="384032"/>
                </a:cubicBezTo>
                <a:cubicBezTo>
                  <a:pt x="1048898" y="386577"/>
                  <a:pt x="1055550" y="369571"/>
                  <a:pt x="1045890" y="371364"/>
                </a:cubicBezTo>
                <a:cubicBezTo>
                  <a:pt x="1036230" y="373157"/>
                  <a:pt x="1034321" y="357366"/>
                  <a:pt x="1036172" y="342904"/>
                </a:cubicBezTo>
                <a:cubicBezTo>
                  <a:pt x="1038023" y="328443"/>
                  <a:pt x="1029520" y="339839"/>
                  <a:pt x="1025297" y="333823"/>
                </a:cubicBezTo>
                <a:cubicBezTo>
                  <a:pt x="1021074" y="327807"/>
                  <a:pt x="1016216" y="332608"/>
                  <a:pt x="1009505" y="334980"/>
                </a:cubicBezTo>
                <a:cubicBezTo>
                  <a:pt x="1002796" y="337352"/>
                  <a:pt x="1001060" y="322428"/>
                  <a:pt x="1002854" y="316643"/>
                </a:cubicBezTo>
                <a:cubicBezTo>
                  <a:pt x="1004647" y="310859"/>
                  <a:pt x="1001697" y="303281"/>
                  <a:pt x="992558" y="296629"/>
                </a:cubicBezTo>
                <a:cubicBezTo>
                  <a:pt x="985558" y="292580"/>
                  <a:pt x="981914" y="284540"/>
                  <a:pt x="983476" y="276615"/>
                </a:cubicBezTo>
                <a:cubicBezTo>
                  <a:pt x="984112" y="268806"/>
                  <a:pt x="931995" y="241909"/>
                  <a:pt x="920483" y="239653"/>
                </a:cubicBezTo>
                <a:cubicBezTo>
                  <a:pt x="908972" y="237397"/>
                  <a:pt x="918632" y="225134"/>
                  <a:pt x="913832" y="220969"/>
                </a:cubicBezTo>
                <a:cubicBezTo>
                  <a:pt x="909030" y="216804"/>
                  <a:pt x="907121" y="200897"/>
                  <a:pt x="907121" y="187593"/>
                </a:cubicBezTo>
                <a:cubicBezTo>
                  <a:pt x="907121" y="174289"/>
                  <a:pt x="890231" y="170239"/>
                  <a:pt x="890809" y="159133"/>
                </a:cubicBezTo>
                <a:cubicBezTo>
                  <a:pt x="891388" y="148027"/>
                  <a:pt x="886008" y="137904"/>
                  <a:pt x="887165" y="125815"/>
                </a:cubicBezTo>
                <a:cubicBezTo>
                  <a:pt x="888322" y="113725"/>
                  <a:pt x="869812" y="110660"/>
                  <a:pt x="869002" y="104008"/>
                </a:cubicBezTo>
                <a:cubicBezTo>
                  <a:pt x="868192" y="97356"/>
                  <a:pt x="858127" y="103371"/>
                  <a:pt x="847831" y="104644"/>
                </a:cubicBezTo>
                <a:cubicBezTo>
                  <a:pt x="837535" y="105917"/>
                  <a:pt x="838113" y="91282"/>
                  <a:pt x="839328" y="77341"/>
                </a:cubicBezTo>
                <a:cubicBezTo>
                  <a:pt x="840543" y="63401"/>
                  <a:pt x="835106" y="40437"/>
                  <a:pt x="826602" y="33727"/>
                </a:cubicBezTo>
                <a:cubicBezTo>
                  <a:pt x="818099" y="27017"/>
                  <a:pt x="817521" y="4053"/>
                  <a:pt x="813298" y="409"/>
                </a:cubicBezTo>
                <a:cubicBezTo>
                  <a:pt x="809076" y="-3236"/>
                  <a:pt x="795077" y="12556"/>
                  <a:pt x="795945" y="20365"/>
                </a:cubicBezTo>
                <a:cubicBezTo>
                  <a:pt x="797101" y="28272"/>
                  <a:pt x="794672" y="36278"/>
                  <a:pt x="789351" y="42230"/>
                </a:cubicBezTo>
                <a:cubicBezTo>
                  <a:pt x="783855" y="47089"/>
                  <a:pt x="792995" y="65831"/>
                  <a:pt x="785706" y="72540"/>
                </a:cubicBezTo>
                <a:cubicBezTo>
                  <a:pt x="778418" y="79250"/>
                  <a:pt x="785070" y="105801"/>
                  <a:pt x="783277" y="120956"/>
                </a:cubicBezTo>
                <a:cubicBezTo>
                  <a:pt x="781484" y="136111"/>
                  <a:pt x="782062" y="152481"/>
                  <a:pt x="774774" y="162720"/>
                </a:cubicBezTo>
                <a:cubicBezTo>
                  <a:pt x="767485" y="172958"/>
                  <a:pt x="766329" y="189386"/>
                  <a:pt x="751636" y="194881"/>
                </a:cubicBezTo>
                <a:cubicBezTo>
                  <a:pt x="736943" y="200376"/>
                  <a:pt x="717739" y="189097"/>
                  <a:pt x="718318" y="180940"/>
                </a:cubicBezTo>
                <a:cubicBezTo>
                  <a:pt x="718896" y="172785"/>
                  <a:pt x="702584" y="168215"/>
                  <a:pt x="694081" y="169372"/>
                </a:cubicBezTo>
                <a:cubicBezTo>
                  <a:pt x="685578" y="170529"/>
                  <a:pt x="680777" y="158439"/>
                  <a:pt x="667414" y="148143"/>
                </a:cubicBezTo>
                <a:cubicBezTo>
                  <a:pt x="654053" y="137847"/>
                  <a:pt x="643814" y="150572"/>
                  <a:pt x="639592" y="138483"/>
                </a:cubicBezTo>
                <a:cubicBezTo>
                  <a:pt x="635369" y="126393"/>
                  <a:pt x="631089" y="124542"/>
                  <a:pt x="621370" y="117890"/>
                </a:cubicBezTo>
                <a:cubicBezTo>
                  <a:pt x="611653" y="111238"/>
                  <a:pt x="614776" y="111238"/>
                  <a:pt x="623858" y="104586"/>
                </a:cubicBezTo>
                <a:cubicBezTo>
                  <a:pt x="632939" y="97934"/>
                  <a:pt x="631089" y="89431"/>
                  <a:pt x="626229" y="81449"/>
                </a:cubicBezTo>
                <a:cubicBezTo>
                  <a:pt x="621370" y="73466"/>
                  <a:pt x="631725" y="75664"/>
                  <a:pt x="643582" y="68723"/>
                </a:cubicBezTo>
                <a:cubicBezTo>
                  <a:pt x="655441" y="61781"/>
                  <a:pt x="643582" y="54204"/>
                  <a:pt x="652664" y="50560"/>
                </a:cubicBezTo>
                <a:cubicBezTo>
                  <a:pt x="661746" y="46915"/>
                  <a:pt x="656309" y="38991"/>
                  <a:pt x="646880" y="37255"/>
                </a:cubicBezTo>
                <a:cubicBezTo>
                  <a:pt x="637451" y="35520"/>
                  <a:pt x="640170" y="46973"/>
                  <a:pt x="636584" y="48130"/>
                </a:cubicBezTo>
                <a:cubicBezTo>
                  <a:pt x="632997" y="49287"/>
                  <a:pt x="629295" y="33033"/>
                  <a:pt x="626229" y="33611"/>
                </a:cubicBezTo>
                <a:cubicBezTo>
                  <a:pt x="623164" y="34190"/>
                  <a:pt x="611710" y="49981"/>
                  <a:pt x="605637" y="42114"/>
                </a:cubicBezTo>
                <a:cubicBezTo>
                  <a:pt x="599563" y="34247"/>
                  <a:pt x="565666" y="27538"/>
                  <a:pt x="552363" y="25744"/>
                </a:cubicBezTo>
                <a:cubicBezTo>
                  <a:pt x="539058" y="23951"/>
                  <a:pt x="535009" y="6945"/>
                  <a:pt x="526911" y="10011"/>
                </a:cubicBezTo>
                <a:cubicBezTo>
                  <a:pt x="518813" y="13077"/>
                  <a:pt x="528126" y="18456"/>
                  <a:pt x="537207" y="28174"/>
                </a:cubicBezTo>
                <a:cubicBezTo>
                  <a:pt x="546289" y="37892"/>
                  <a:pt x="506896" y="44486"/>
                  <a:pt x="495385" y="40900"/>
                </a:cubicBezTo>
                <a:cubicBezTo>
                  <a:pt x="483874" y="37313"/>
                  <a:pt x="497237" y="49345"/>
                  <a:pt x="487577" y="48766"/>
                </a:cubicBezTo>
                <a:cubicBezTo>
                  <a:pt x="477917" y="48188"/>
                  <a:pt x="476008" y="65079"/>
                  <a:pt x="468199" y="73581"/>
                </a:cubicBezTo>
                <a:cubicBezTo>
                  <a:pt x="460390" y="82085"/>
                  <a:pt x="465711" y="88158"/>
                  <a:pt x="457266" y="93596"/>
                </a:cubicBezTo>
                <a:cubicBezTo>
                  <a:pt x="448821" y="99033"/>
                  <a:pt x="448185" y="105165"/>
                  <a:pt x="458481" y="116733"/>
                </a:cubicBezTo>
                <a:cubicBezTo>
                  <a:pt x="468777" y="128302"/>
                  <a:pt x="453622" y="128823"/>
                  <a:pt x="444541" y="119741"/>
                </a:cubicBezTo>
                <a:cubicBezTo>
                  <a:pt x="435459" y="110660"/>
                  <a:pt x="426378" y="110660"/>
                  <a:pt x="427188" y="120956"/>
                </a:cubicBezTo>
                <a:cubicBezTo>
                  <a:pt x="427997" y="131252"/>
                  <a:pt x="416313" y="126740"/>
                  <a:pt x="418106" y="115172"/>
                </a:cubicBezTo>
                <a:cubicBezTo>
                  <a:pt x="419899" y="103603"/>
                  <a:pt x="405380" y="109098"/>
                  <a:pt x="403008" y="102504"/>
                </a:cubicBezTo>
                <a:cubicBezTo>
                  <a:pt x="400636" y="95910"/>
                  <a:pt x="387853" y="85150"/>
                  <a:pt x="379871" y="85497"/>
                </a:cubicBezTo>
                <a:cubicBezTo>
                  <a:pt x="371888" y="85844"/>
                  <a:pt x="372062" y="94637"/>
                  <a:pt x="364137" y="94637"/>
                </a:cubicBezTo>
                <a:cubicBezTo>
                  <a:pt x="356212" y="94637"/>
                  <a:pt x="354477" y="98802"/>
                  <a:pt x="355634" y="107305"/>
                </a:cubicBezTo>
                <a:cubicBezTo>
                  <a:pt x="356791" y="115808"/>
                  <a:pt x="343544" y="106726"/>
                  <a:pt x="334405" y="107941"/>
                </a:cubicBezTo>
                <a:cubicBezTo>
                  <a:pt x="325266" y="109156"/>
                  <a:pt x="334405" y="119510"/>
                  <a:pt x="329604" y="120031"/>
                </a:cubicBezTo>
                <a:cubicBezTo>
                  <a:pt x="324803" y="120551"/>
                  <a:pt x="324803" y="129112"/>
                  <a:pt x="316878" y="129112"/>
                </a:cubicBezTo>
                <a:cubicBezTo>
                  <a:pt x="308953" y="129112"/>
                  <a:pt x="310226" y="146466"/>
                  <a:pt x="311441" y="155778"/>
                </a:cubicBezTo>
                <a:cubicBezTo>
                  <a:pt x="312656" y="165091"/>
                  <a:pt x="299351" y="151498"/>
                  <a:pt x="291484" y="153985"/>
                </a:cubicBezTo>
                <a:cubicBezTo>
                  <a:pt x="283618" y="156472"/>
                  <a:pt x="293278" y="164281"/>
                  <a:pt x="295708" y="174578"/>
                </a:cubicBezTo>
                <a:cubicBezTo>
                  <a:pt x="298137" y="184874"/>
                  <a:pt x="291484" y="184238"/>
                  <a:pt x="287204" y="188461"/>
                </a:cubicBezTo>
                <a:cubicBezTo>
                  <a:pt x="282924" y="192683"/>
                  <a:pt x="276271" y="176892"/>
                  <a:pt x="276271" y="167868"/>
                </a:cubicBezTo>
                <a:cubicBezTo>
                  <a:pt x="276271" y="158844"/>
                  <a:pt x="266033" y="167289"/>
                  <a:pt x="255101" y="178800"/>
                </a:cubicBezTo>
                <a:cubicBezTo>
                  <a:pt x="244168" y="190311"/>
                  <a:pt x="258745" y="207722"/>
                  <a:pt x="253886" y="210846"/>
                </a:cubicBezTo>
                <a:cubicBezTo>
                  <a:pt x="239656" y="222606"/>
                  <a:pt x="226525" y="235592"/>
                  <a:pt x="214552" y="249660"/>
                </a:cubicBezTo>
                <a:cubicBezTo>
                  <a:pt x="201768" y="264815"/>
                  <a:pt x="174523" y="255444"/>
                  <a:pt x="166020" y="263022"/>
                </a:cubicBezTo>
                <a:cubicBezTo>
                  <a:pt x="157517" y="270599"/>
                  <a:pt x="148667" y="264815"/>
                  <a:pt x="139991" y="271467"/>
                </a:cubicBezTo>
                <a:cubicBezTo>
                  <a:pt x="131314" y="278119"/>
                  <a:pt x="115753" y="290903"/>
                  <a:pt x="113961" y="283036"/>
                </a:cubicBezTo>
                <a:cubicBezTo>
                  <a:pt x="112167" y="275169"/>
                  <a:pt x="90302" y="281243"/>
                  <a:pt x="81221" y="290960"/>
                </a:cubicBezTo>
                <a:cubicBezTo>
                  <a:pt x="72139" y="300678"/>
                  <a:pt x="57620" y="309066"/>
                  <a:pt x="47324" y="309702"/>
                </a:cubicBezTo>
                <a:cubicBezTo>
                  <a:pt x="37027" y="310338"/>
                  <a:pt x="37027" y="326072"/>
                  <a:pt x="32805" y="329658"/>
                </a:cubicBezTo>
                <a:cubicBezTo>
                  <a:pt x="28582" y="333245"/>
                  <a:pt x="29739" y="316990"/>
                  <a:pt x="29739" y="312768"/>
                </a:cubicBezTo>
                <a:cubicBezTo>
                  <a:pt x="29739" y="308545"/>
                  <a:pt x="20079" y="320056"/>
                  <a:pt x="15799" y="332724"/>
                </a:cubicBezTo>
                <a:cubicBezTo>
                  <a:pt x="11519" y="345392"/>
                  <a:pt x="26095" y="350077"/>
                  <a:pt x="17071" y="363613"/>
                </a:cubicBezTo>
                <a:cubicBezTo>
                  <a:pt x="8047" y="377149"/>
                  <a:pt x="-282" y="390221"/>
                  <a:pt x="12213" y="407227"/>
                </a:cubicBezTo>
                <a:cubicBezTo>
                  <a:pt x="24707" y="424234"/>
                  <a:pt x="32169" y="435108"/>
                  <a:pt x="27946" y="443554"/>
                </a:cubicBezTo>
                <a:cubicBezTo>
                  <a:pt x="23724" y="451999"/>
                  <a:pt x="14642" y="426605"/>
                  <a:pt x="11576" y="429671"/>
                </a:cubicBezTo>
                <a:cubicBezTo>
                  <a:pt x="8511" y="432737"/>
                  <a:pt x="23145" y="443554"/>
                  <a:pt x="19443" y="449049"/>
                </a:cubicBezTo>
                <a:cubicBezTo>
                  <a:pt x="15741" y="454544"/>
                  <a:pt x="2784" y="428399"/>
                  <a:pt x="65" y="434530"/>
                </a:cubicBezTo>
                <a:cubicBezTo>
                  <a:pt x="-2654" y="440661"/>
                  <a:pt x="27310" y="481095"/>
                  <a:pt x="27946" y="496308"/>
                </a:cubicBezTo>
                <a:cubicBezTo>
                  <a:pt x="28582" y="511521"/>
                  <a:pt x="52183" y="525982"/>
                  <a:pt x="51084" y="547789"/>
                </a:cubicBezTo>
                <a:cubicBezTo>
                  <a:pt x="49984" y="569596"/>
                  <a:pt x="71676" y="604708"/>
                  <a:pt x="75320" y="610145"/>
                </a:cubicBezTo>
                <a:cubicBezTo>
                  <a:pt x="78965" y="615583"/>
                  <a:pt x="66817" y="630159"/>
                  <a:pt x="69247" y="646472"/>
                </a:cubicBezTo>
                <a:cubicBezTo>
                  <a:pt x="71676" y="662784"/>
                  <a:pt x="63809" y="668915"/>
                  <a:pt x="53513" y="668915"/>
                </a:cubicBezTo>
                <a:cubicBezTo>
                  <a:pt x="43217" y="668915"/>
                  <a:pt x="49290" y="685921"/>
                  <a:pt x="60743" y="687078"/>
                </a:cubicBezTo>
                <a:cubicBezTo>
                  <a:pt x="72197" y="688235"/>
                  <a:pt x="68032" y="696160"/>
                  <a:pt x="80758" y="704431"/>
                </a:cubicBezTo>
                <a:cubicBezTo>
                  <a:pt x="93483" y="712703"/>
                  <a:pt x="123736" y="709869"/>
                  <a:pt x="134032" y="709869"/>
                </a:cubicBezTo>
                <a:cubicBezTo>
                  <a:pt x="144329" y="709869"/>
                  <a:pt x="147395" y="694135"/>
                  <a:pt x="161335" y="693557"/>
                </a:cubicBezTo>
                <a:cubicBezTo>
                  <a:pt x="175275" y="692978"/>
                  <a:pt x="174003" y="688698"/>
                  <a:pt x="180713" y="680195"/>
                </a:cubicBezTo>
                <a:cubicBezTo>
                  <a:pt x="187423" y="671692"/>
                  <a:pt x="218890" y="674410"/>
                  <a:pt x="250993" y="675972"/>
                </a:cubicBezTo>
                <a:cubicBezTo>
                  <a:pt x="283097" y="677534"/>
                  <a:pt x="297269" y="668105"/>
                  <a:pt x="301839" y="654743"/>
                </a:cubicBezTo>
                <a:cubicBezTo>
                  <a:pt x="306003" y="643174"/>
                  <a:pt x="329083" y="642654"/>
                  <a:pt x="338223" y="634151"/>
                </a:cubicBezTo>
                <a:cubicBezTo>
                  <a:pt x="347362" y="625647"/>
                  <a:pt x="355171" y="625069"/>
                  <a:pt x="378714" y="626284"/>
                </a:cubicBezTo>
                <a:cubicBezTo>
                  <a:pt x="402256" y="627498"/>
                  <a:pt x="424122" y="614715"/>
                  <a:pt x="439277" y="608931"/>
                </a:cubicBezTo>
                <a:cubicBezTo>
                  <a:pt x="454432" y="603146"/>
                  <a:pt x="482255" y="605286"/>
                  <a:pt x="497121" y="601642"/>
                </a:cubicBezTo>
                <a:cubicBezTo>
                  <a:pt x="511987" y="597998"/>
                  <a:pt x="514070" y="619805"/>
                  <a:pt x="530382" y="617954"/>
                </a:cubicBezTo>
                <a:cubicBezTo>
                  <a:pt x="546693" y="616103"/>
                  <a:pt x="554040" y="622813"/>
                  <a:pt x="562485" y="622235"/>
                </a:cubicBezTo>
                <a:cubicBezTo>
                  <a:pt x="570930" y="621656"/>
                  <a:pt x="569773" y="628019"/>
                  <a:pt x="578277" y="630102"/>
                </a:cubicBezTo>
                <a:cubicBezTo>
                  <a:pt x="586780" y="632184"/>
                  <a:pt x="585507" y="639183"/>
                  <a:pt x="580070" y="647050"/>
                </a:cubicBezTo>
                <a:cubicBezTo>
                  <a:pt x="574633" y="654917"/>
                  <a:pt x="592796" y="654338"/>
                  <a:pt x="604307" y="670188"/>
                </a:cubicBezTo>
                <a:cubicBezTo>
                  <a:pt x="615818" y="686037"/>
                  <a:pt x="604885" y="688351"/>
                  <a:pt x="610959" y="700498"/>
                </a:cubicBezTo>
                <a:cubicBezTo>
                  <a:pt x="617032" y="712645"/>
                  <a:pt x="621255" y="709580"/>
                  <a:pt x="633402" y="692631"/>
                </a:cubicBezTo>
                <a:cubicBezTo>
                  <a:pt x="645550" y="675683"/>
                  <a:pt x="658796" y="686847"/>
                  <a:pt x="660647" y="672039"/>
                </a:cubicBezTo>
                <a:cubicBezTo>
                  <a:pt x="662498" y="657231"/>
                  <a:pt x="675224" y="640513"/>
                  <a:pt x="683785" y="647802"/>
                </a:cubicBezTo>
                <a:cubicBezTo>
                  <a:pt x="692346" y="655090"/>
                  <a:pt x="678000" y="658677"/>
                  <a:pt x="672216" y="686558"/>
                </a:cubicBezTo>
                <a:cubicBezTo>
                  <a:pt x="666431" y="714439"/>
                  <a:pt x="657061" y="699862"/>
                  <a:pt x="655267" y="707728"/>
                </a:cubicBezTo>
                <a:cubicBezTo>
                  <a:pt x="653474" y="715595"/>
                  <a:pt x="680719" y="719876"/>
                  <a:pt x="680719" y="705299"/>
                </a:cubicBezTo>
                <a:cubicBezTo>
                  <a:pt x="680719" y="690722"/>
                  <a:pt x="685520" y="684128"/>
                  <a:pt x="695816" y="697432"/>
                </a:cubicBezTo>
                <a:cubicBezTo>
                  <a:pt x="706113" y="710737"/>
                  <a:pt x="690032" y="721669"/>
                  <a:pt x="692230" y="727743"/>
                </a:cubicBezTo>
                <a:cubicBezTo>
                  <a:pt x="694428" y="733816"/>
                  <a:pt x="706113" y="725892"/>
                  <a:pt x="712244" y="726528"/>
                </a:cubicBezTo>
                <a:cubicBezTo>
                  <a:pt x="723003" y="727627"/>
                  <a:pt x="737637" y="751343"/>
                  <a:pt x="735381" y="764127"/>
                </a:cubicBezTo>
                <a:cubicBezTo>
                  <a:pt x="733126" y="776910"/>
                  <a:pt x="729597" y="788884"/>
                  <a:pt x="749842" y="799238"/>
                </a:cubicBezTo>
                <a:cubicBezTo>
                  <a:pt x="770088" y="809592"/>
                  <a:pt x="762569" y="811328"/>
                  <a:pt x="777724" y="811328"/>
                </a:cubicBezTo>
                <a:cubicBezTo>
                  <a:pt x="792879" y="811328"/>
                  <a:pt x="824404" y="823475"/>
                  <a:pt x="832850" y="830706"/>
                </a:cubicBezTo>
                <a:cubicBezTo>
                  <a:pt x="841295" y="837936"/>
                  <a:pt x="863160" y="825268"/>
                  <a:pt x="867556" y="810691"/>
                </a:cubicBezTo>
                <a:cubicBezTo>
                  <a:pt x="871952" y="796115"/>
                  <a:pt x="887512" y="810113"/>
                  <a:pt x="879125" y="814972"/>
                </a:cubicBezTo>
                <a:cubicBezTo>
                  <a:pt x="870737" y="819831"/>
                  <a:pt x="883405" y="831342"/>
                  <a:pt x="883984" y="823475"/>
                </a:cubicBezTo>
                <a:cubicBezTo>
                  <a:pt x="884562" y="815608"/>
                  <a:pt x="888206" y="808898"/>
                  <a:pt x="891272" y="818038"/>
                </a:cubicBezTo>
                <a:cubicBezTo>
                  <a:pt x="894338" y="827177"/>
                  <a:pt x="905213" y="827061"/>
                  <a:pt x="909377" y="834350"/>
                </a:cubicBezTo>
                <a:cubicBezTo>
                  <a:pt x="913542" y="841638"/>
                  <a:pt x="918517" y="847076"/>
                  <a:pt x="918517" y="841002"/>
                </a:cubicBezTo>
                <a:cubicBezTo>
                  <a:pt x="918517" y="834928"/>
                  <a:pt x="920946" y="829433"/>
                  <a:pt x="930606" y="825904"/>
                </a:cubicBezTo>
                <a:cubicBezTo>
                  <a:pt x="940266" y="822376"/>
                  <a:pt x="946398" y="815550"/>
                  <a:pt x="956694" y="807105"/>
                </a:cubicBezTo>
                <a:cubicBezTo>
                  <a:pt x="966990" y="798660"/>
                  <a:pt x="1009390" y="796751"/>
                  <a:pt x="1013613" y="796751"/>
                </a:cubicBezTo>
                <a:cubicBezTo>
                  <a:pt x="1017835" y="796751"/>
                  <a:pt x="1020264" y="760482"/>
                  <a:pt x="1022694" y="741683"/>
                </a:cubicBezTo>
                <a:cubicBezTo>
                  <a:pt x="1025124" y="722884"/>
                  <a:pt x="1040857" y="719876"/>
                  <a:pt x="1043287" y="699862"/>
                </a:cubicBezTo>
                <a:cubicBezTo>
                  <a:pt x="1045716" y="679848"/>
                  <a:pt x="1066887" y="642943"/>
                  <a:pt x="1072209" y="641092"/>
                </a:cubicBezTo>
                <a:cubicBezTo>
                  <a:pt x="1081001" y="638784"/>
                  <a:pt x="1087422" y="631351"/>
                  <a:pt x="1088521" y="622350"/>
                </a:cubicBezTo>
                <a:cubicBezTo>
                  <a:pt x="1089157" y="610781"/>
                  <a:pt x="1103098" y="598113"/>
                  <a:pt x="1103098" y="584173"/>
                </a:cubicBezTo>
                <a:cubicBezTo>
                  <a:pt x="1103098" y="570233"/>
                  <a:pt x="1110965" y="553863"/>
                  <a:pt x="1109750" y="549467"/>
                </a:cubicBezTo>
                <a:cubicBezTo>
                  <a:pt x="1108535" y="545070"/>
                  <a:pt x="1103676" y="531824"/>
                  <a:pt x="1112815" y="522164"/>
                </a:cubicBezTo>
                <a:cubicBezTo>
                  <a:pt x="1121955" y="512504"/>
                  <a:pt x="1108246" y="500646"/>
                  <a:pt x="1113105" y="497002"/>
                </a:cubicBezTo>
                <a:close/>
                <a:moveTo>
                  <a:pt x="506144" y="22679"/>
                </a:moveTo>
                <a:cubicBezTo>
                  <a:pt x="504930" y="15390"/>
                  <a:pt x="461778" y="23778"/>
                  <a:pt x="471033" y="31124"/>
                </a:cubicBezTo>
                <a:cubicBezTo>
                  <a:pt x="477049" y="36041"/>
                  <a:pt x="507360" y="29967"/>
                  <a:pt x="506144" y="22736"/>
                </a:cubicBezTo>
                <a:close/>
                <a:moveTo>
                  <a:pt x="642426" y="739948"/>
                </a:moveTo>
                <a:cubicBezTo>
                  <a:pt x="649078" y="745732"/>
                  <a:pt x="671348" y="744170"/>
                  <a:pt x="675166" y="735725"/>
                </a:cubicBezTo>
                <a:cubicBezTo>
                  <a:pt x="678983" y="727280"/>
                  <a:pt x="636641" y="734510"/>
                  <a:pt x="642426" y="739948"/>
                </a:cubicBezTo>
                <a:close/>
                <a:moveTo>
                  <a:pt x="916261" y="908332"/>
                </a:moveTo>
                <a:cubicBezTo>
                  <a:pt x="899891" y="910126"/>
                  <a:pt x="875365" y="893466"/>
                  <a:pt x="869581" y="895028"/>
                </a:cubicBezTo>
                <a:cubicBezTo>
                  <a:pt x="862928" y="896879"/>
                  <a:pt x="890809" y="938643"/>
                  <a:pt x="882364" y="949575"/>
                </a:cubicBezTo>
                <a:cubicBezTo>
                  <a:pt x="873919" y="960508"/>
                  <a:pt x="907121" y="990066"/>
                  <a:pt x="918632" y="991918"/>
                </a:cubicBezTo>
                <a:cubicBezTo>
                  <a:pt x="930143" y="993769"/>
                  <a:pt x="925921" y="980349"/>
                  <a:pt x="933845" y="981043"/>
                </a:cubicBezTo>
                <a:cubicBezTo>
                  <a:pt x="941770" y="981737"/>
                  <a:pt x="938704" y="973176"/>
                  <a:pt x="939630" y="967102"/>
                </a:cubicBezTo>
                <a:cubicBezTo>
                  <a:pt x="940556" y="961029"/>
                  <a:pt x="948711" y="973812"/>
                  <a:pt x="955363" y="970110"/>
                </a:cubicBezTo>
                <a:cubicBezTo>
                  <a:pt x="962016" y="966408"/>
                  <a:pt x="953513" y="940436"/>
                  <a:pt x="963230" y="940436"/>
                </a:cubicBezTo>
                <a:cubicBezTo>
                  <a:pt x="972948" y="940436"/>
                  <a:pt x="965024" y="908969"/>
                  <a:pt x="962016" y="898673"/>
                </a:cubicBezTo>
                <a:cubicBezTo>
                  <a:pt x="959008" y="888376"/>
                  <a:pt x="932631" y="906655"/>
                  <a:pt x="916261" y="90833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2" name="Forma libre: forma 221">
            <a:extLst>
              <a:ext uri="{FF2B5EF4-FFF2-40B4-BE49-F238E27FC236}">
                <a16:creationId xmlns:a16="http://schemas.microsoft.com/office/drawing/2014/main" id="{E9787D55-94DC-7675-71BD-0A999CA7BA2A}"/>
              </a:ext>
            </a:extLst>
          </p:cNvPr>
          <p:cNvSpPr/>
          <p:nvPr/>
        </p:nvSpPr>
        <p:spPr>
          <a:xfrm>
            <a:off x="10712456" y="5490542"/>
            <a:ext cx="331025" cy="389310"/>
          </a:xfrm>
          <a:custGeom>
            <a:avLst/>
            <a:gdLst>
              <a:gd name="connsiteX0" fmla="*/ 204797 w 331025"/>
              <a:gd name="connsiteY0" fmla="*/ 196657 h 389310"/>
              <a:gd name="connsiteX1" fmla="*/ 182990 w 331025"/>
              <a:gd name="connsiteY1" fmla="*/ 203367 h 389310"/>
              <a:gd name="connsiteX2" fmla="*/ 156324 w 331025"/>
              <a:gd name="connsiteY2" fmla="*/ 192492 h 389310"/>
              <a:gd name="connsiteX3" fmla="*/ 142383 w 331025"/>
              <a:gd name="connsiteY3" fmla="*/ 216093 h 389310"/>
              <a:gd name="connsiteX4" fmla="*/ 119939 w 331025"/>
              <a:gd name="connsiteY4" fmla="*/ 254270 h 389310"/>
              <a:gd name="connsiteX5" fmla="*/ 44742 w 331025"/>
              <a:gd name="connsiteY5" fmla="*/ 303958 h 389310"/>
              <a:gd name="connsiteX6" fmla="*/ 10035 w 331025"/>
              <a:gd name="connsiteY6" fmla="*/ 336640 h 389310"/>
              <a:gd name="connsiteX7" fmla="*/ 2805 w 331025"/>
              <a:gd name="connsiteY7" fmla="*/ 366314 h 389310"/>
              <a:gd name="connsiteX8" fmla="*/ 27620 w 331025"/>
              <a:gd name="connsiteY8" fmla="*/ 377247 h 389310"/>
              <a:gd name="connsiteX9" fmla="*/ 46998 w 331025"/>
              <a:gd name="connsiteY9" fmla="*/ 385114 h 389310"/>
              <a:gd name="connsiteX10" fmla="*/ 97265 w 331025"/>
              <a:gd name="connsiteY10" fmla="*/ 373545 h 389310"/>
              <a:gd name="connsiteX11" fmla="*/ 115428 w 331025"/>
              <a:gd name="connsiteY11" fmla="*/ 342020 h 389310"/>
              <a:gd name="connsiteX12" fmla="*/ 129368 w 331025"/>
              <a:gd name="connsiteY12" fmla="*/ 313560 h 389310"/>
              <a:gd name="connsiteX13" fmla="*/ 159678 w 331025"/>
              <a:gd name="connsiteY13" fmla="*/ 294761 h 389310"/>
              <a:gd name="connsiteX14" fmla="*/ 168760 w 331025"/>
              <a:gd name="connsiteY14" fmla="*/ 280242 h 389310"/>
              <a:gd name="connsiteX15" fmla="*/ 186923 w 331025"/>
              <a:gd name="connsiteY15" fmla="*/ 254849 h 389310"/>
              <a:gd name="connsiteX16" fmla="*/ 208152 w 331025"/>
              <a:gd name="connsiteY16" fmla="*/ 219043 h 389310"/>
              <a:gd name="connsiteX17" fmla="*/ 204797 w 331025"/>
              <a:gd name="connsiteY17" fmla="*/ 196657 h 389310"/>
              <a:gd name="connsiteX18" fmla="*/ 303537 w 331025"/>
              <a:gd name="connsiteY18" fmla="*/ 99190 h 389310"/>
              <a:gd name="connsiteX19" fmla="*/ 276871 w 331025"/>
              <a:gd name="connsiteY19" fmla="*/ 96760 h 389310"/>
              <a:gd name="connsiteX20" fmla="*/ 260501 w 331025"/>
              <a:gd name="connsiteY20" fmla="*/ 81935 h 389310"/>
              <a:gd name="connsiteX21" fmla="*/ 260501 w 331025"/>
              <a:gd name="connsiteY21" fmla="*/ 80390 h 389310"/>
              <a:gd name="connsiteX22" fmla="*/ 248412 w 331025"/>
              <a:gd name="connsiteY22" fmla="*/ 58583 h 389310"/>
              <a:gd name="connsiteX23" fmla="*/ 247776 w 331025"/>
              <a:gd name="connsiteY23" fmla="*/ 73738 h 389310"/>
              <a:gd name="connsiteX24" fmla="*/ 236901 w 331025"/>
              <a:gd name="connsiteY24" fmla="*/ 67954 h 389310"/>
              <a:gd name="connsiteX25" fmla="*/ 226605 w 331025"/>
              <a:gd name="connsiteY25" fmla="*/ 49212 h 389310"/>
              <a:gd name="connsiteX26" fmla="*/ 216366 w 331025"/>
              <a:gd name="connsiteY26" fmla="*/ 24686 h 389310"/>
              <a:gd name="connsiteX27" fmla="*/ 182411 w 331025"/>
              <a:gd name="connsiteY27" fmla="*/ -129 h 389310"/>
              <a:gd name="connsiteX28" fmla="*/ 190914 w 331025"/>
              <a:gd name="connsiteY28" fmla="*/ 28793 h 389310"/>
              <a:gd name="connsiteX29" fmla="*/ 209656 w 331025"/>
              <a:gd name="connsiteY29" fmla="*/ 48171 h 389310"/>
              <a:gd name="connsiteX30" fmla="*/ 226026 w 331025"/>
              <a:gd name="connsiteY30" fmla="*/ 69978 h 389310"/>
              <a:gd name="connsiteX31" fmla="*/ 221803 w 331025"/>
              <a:gd name="connsiteY31" fmla="*/ 110469 h 389310"/>
              <a:gd name="connsiteX32" fmla="*/ 199417 w 331025"/>
              <a:gd name="connsiteY32" fmla="*/ 135342 h 389310"/>
              <a:gd name="connsiteX33" fmla="*/ 235744 w 331025"/>
              <a:gd name="connsiteY33" fmla="*/ 167967 h 389310"/>
              <a:gd name="connsiteX34" fmla="*/ 227877 w 331025"/>
              <a:gd name="connsiteY34" fmla="*/ 211639 h 389310"/>
              <a:gd name="connsiteX35" fmla="*/ 252692 w 331025"/>
              <a:gd name="connsiteY35" fmla="*/ 215225 h 389310"/>
              <a:gd name="connsiteX36" fmla="*/ 283003 w 331025"/>
              <a:gd name="connsiteY36" fmla="*/ 172883 h 389310"/>
              <a:gd name="connsiteX37" fmla="*/ 291448 w 331025"/>
              <a:gd name="connsiteY37" fmla="*/ 144366 h 389310"/>
              <a:gd name="connsiteX38" fmla="*/ 309611 w 331025"/>
              <a:gd name="connsiteY38" fmla="*/ 138582 h 389310"/>
              <a:gd name="connsiteX39" fmla="*/ 321180 w 331025"/>
              <a:gd name="connsiteY39" fmla="*/ 122211 h 389310"/>
              <a:gd name="connsiteX40" fmla="*/ 330319 w 331025"/>
              <a:gd name="connsiteY40" fmla="*/ 97975 h 389310"/>
              <a:gd name="connsiteX41" fmla="*/ 303422 w 331025"/>
              <a:gd name="connsiteY41" fmla="*/ 99190 h 38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1025" h="389310">
                <a:moveTo>
                  <a:pt x="204797" y="196657"/>
                </a:moveTo>
                <a:cubicBezTo>
                  <a:pt x="196294" y="190873"/>
                  <a:pt x="192072" y="199145"/>
                  <a:pt x="182990" y="203367"/>
                </a:cubicBezTo>
                <a:cubicBezTo>
                  <a:pt x="173909" y="207590"/>
                  <a:pt x="167835" y="183411"/>
                  <a:pt x="156324" y="192492"/>
                </a:cubicBezTo>
                <a:cubicBezTo>
                  <a:pt x="144813" y="201574"/>
                  <a:pt x="155109" y="205218"/>
                  <a:pt x="142383" y="216093"/>
                </a:cubicBezTo>
                <a:cubicBezTo>
                  <a:pt x="129657" y="226968"/>
                  <a:pt x="135095" y="230612"/>
                  <a:pt x="119939" y="254270"/>
                </a:cubicBezTo>
                <a:cubicBezTo>
                  <a:pt x="104784" y="277929"/>
                  <a:pt x="52724" y="291233"/>
                  <a:pt x="44742" y="303958"/>
                </a:cubicBezTo>
                <a:cubicBezTo>
                  <a:pt x="36759" y="316684"/>
                  <a:pt x="10845" y="327096"/>
                  <a:pt x="10035" y="336640"/>
                </a:cubicBezTo>
                <a:cubicBezTo>
                  <a:pt x="9225" y="346185"/>
                  <a:pt x="-6450" y="353242"/>
                  <a:pt x="2805" y="366314"/>
                </a:cubicBezTo>
                <a:cubicBezTo>
                  <a:pt x="10035" y="376611"/>
                  <a:pt x="19753" y="369380"/>
                  <a:pt x="27620" y="377247"/>
                </a:cubicBezTo>
                <a:cubicBezTo>
                  <a:pt x="35487" y="385114"/>
                  <a:pt x="43354" y="378462"/>
                  <a:pt x="46998" y="385114"/>
                </a:cubicBezTo>
                <a:cubicBezTo>
                  <a:pt x="50642" y="391766"/>
                  <a:pt x="77250" y="391766"/>
                  <a:pt x="97265" y="373545"/>
                </a:cubicBezTo>
                <a:cubicBezTo>
                  <a:pt x="117279" y="355324"/>
                  <a:pt x="107561" y="346879"/>
                  <a:pt x="115428" y="342020"/>
                </a:cubicBezTo>
                <a:cubicBezTo>
                  <a:pt x="123295" y="337161"/>
                  <a:pt x="124509" y="322700"/>
                  <a:pt x="129368" y="313560"/>
                </a:cubicBezTo>
                <a:cubicBezTo>
                  <a:pt x="134227" y="304421"/>
                  <a:pt x="137872" y="294761"/>
                  <a:pt x="159678" y="294761"/>
                </a:cubicBezTo>
                <a:cubicBezTo>
                  <a:pt x="181486" y="294761"/>
                  <a:pt x="169975" y="290596"/>
                  <a:pt x="168760" y="280242"/>
                </a:cubicBezTo>
                <a:cubicBezTo>
                  <a:pt x="167546" y="269888"/>
                  <a:pt x="186923" y="268095"/>
                  <a:pt x="186923" y="254849"/>
                </a:cubicBezTo>
                <a:cubicBezTo>
                  <a:pt x="186923" y="241602"/>
                  <a:pt x="213590" y="229339"/>
                  <a:pt x="208152" y="219043"/>
                </a:cubicBezTo>
                <a:cubicBezTo>
                  <a:pt x="202715" y="208747"/>
                  <a:pt x="213126" y="202789"/>
                  <a:pt x="204797" y="196657"/>
                </a:cubicBezTo>
                <a:close/>
                <a:moveTo>
                  <a:pt x="303537" y="99190"/>
                </a:moveTo>
                <a:cubicBezTo>
                  <a:pt x="297753" y="108271"/>
                  <a:pt x="287167" y="96760"/>
                  <a:pt x="276871" y="96760"/>
                </a:cubicBezTo>
                <a:cubicBezTo>
                  <a:pt x="268252" y="97188"/>
                  <a:pt x="260906" y="90548"/>
                  <a:pt x="260501" y="81935"/>
                </a:cubicBezTo>
                <a:cubicBezTo>
                  <a:pt x="260501" y="81420"/>
                  <a:pt x="260501" y="80905"/>
                  <a:pt x="260501" y="80390"/>
                </a:cubicBezTo>
                <a:cubicBezTo>
                  <a:pt x="260501" y="71366"/>
                  <a:pt x="258072" y="58004"/>
                  <a:pt x="248412" y="58583"/>
                </a:cubicBezTo>
                <a:cubicBezTo>
                  <a:pt x="238752" y="59161"/>
                  <a:pt x="251420" y="68879"/>
                  <a:pt x="247776" y="73738"/>
                </a:cubicBezTo>
                <a:cubicBezTo>
                  <a:pt x="244132" y="78597"/>
                  <a:pt x="241702" y="67954"/>
                  <a:pt x="236901" y="67954"/>
                </a:cubicBezTo>
                <a:cubicBezTo>
                  <a:pt x="232099" y="67954"/>
                  <a:pt x="226605" y="61302"/>
                  <a:pt x="226605" y="49212"/>
                </a:cubicBezTo>
                <a:cubicBezTo>
                  <a:pt x="226605" y="37123"/>
                  <a:pt x="216366" y="38511"/>
                  <a:pt x="216366" y="24686"/>
                </a:cubicBezTo>
                <a:cubicBezTo>
                  <a:pt x="216366" y="10861"/>
                  <a:pt x="194559" y="-129"/>
                  <a:pt x="182411" y="-129"/>
                </a:cubicBezTo>
                <a:cubicBezTo>
                  <a:pt x="170264" y="-129"/>
                  <a:pt x="184841" y="21678"/>
                  <a:pt x="190914" y="28793"/>
                </a:cubicBezTo>
                <a:cubicBezTo>
                  <a:pt x="196988" y="35908"/>
                  <a:pt x="210292" y="42733"/>
                  <a:pt x="209656" y="48171"/>
                </a:cubicBezTo>
                <a:cubicBezTo>
                  <a:pt x="209020" y="53608"/>
                  <a:pt x="218796" y="67549"/>
                  <a:pt x="226026" y="69978"/>
                </a:cubicBezTo>
                <a:cubicBezTo>
                  <a:pt x="233257" y="72408"/>
                  <a:pt x="221803" y="93637"/>
                  <a:pt x="221803" y="110469"/>
                </a:cubicBezTo>
                <a:cubicBezTo>
                  <a:pt x="221803" y="127302"/>
                  <a:pt x="208499" y="124410"/>
                  <a:pt x="199417" y="135342"/>
                </a:cubicBezTo>
                <a:cubicBezTo>
                  <a:pt x="190336" y="146275"/>
                  <a:pt x="222555" y="157092"/>
                  <a:pt x="235744" y="167967"/>
                </a:cubicBezTo>
                <a:cubicBezTo>
                  <a:pt x="248932" y="178841"/>
                  <a:pt x="224175" y="205739"/>
                  <a:pt x="227877" y="211639"/>
                </a:cubicBezTo>
                <a:cubicBezTo>
                  <a:pt x="229670" y="214647"/>
                  <a:pt x="238752" y="218869"/>
                  <a:pt x="252692" y="215225"/>
                </a:cubicBezTo>
                <a:cubicBezTo>
                  <a:pt x="266632" y="211581"/>
                  <a:pt x="273285" y="181329"/>
                  <a:pt x="283003" y="172883"/>
                </a:cubicBezTo>
                <a:cubicBezTo>
                  <a:pt x="292720" y="164438"/>
                  <a:pt x="286589" y="151018"/>
                  <a:pt x="291448" y="144366"/>
                </a:cubicBezTo>
                <a:cubicBezTo>
                  <a:pt x="296307" y="137714"/>
                  <a:pt x="303017" y="138582"/>
                  <a:pt x="309611" y="138582"/>
                </a:cubicBezTo>
                <a:cubicBezTo>
                  <a:pt x="316205" y="138582"/>
                  <a:pt x="312677" y="122211"/>
                  <a:pt x="321180" y="122211"/>
                </a:cubicBezTo>
                <a:cubicBezTo>
                  <a:pt x="329683" y="122211"/>
                  <a:pt x="325460" y="110643"/>
                  <a:pt x="330319" y="97975"/>
                </a:cubicBezTo>
                <a:cubicBezTo>
                  <a:pt x="335178" y="85307"/>
                  <a:pt x="308917" y="90050"/>
                  <a:pt x="303422" y="9919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3" name="Forma libre: forma 222">
            <a:extLst>
              <a:ext uri="{FF2B5EF4-FFF2-40B4-BE49-F238E27FC236}">
                <a16:creationId xmlns:a16="http://schemas.microsoft.com/office/drawing/2014/main" id="{3D906830-945F-19C4-BA1E-16D8EADC960C}"/>
              </a:ext>
            </a:extLst>
          </p:cNvPr>
          <p:cNvSpPr/>
          <p:nvPr/>
        </p:nvSpPr>
        <p:spPr>
          <a:xfrm>
            <a:off x="7618731" y="3231770"/>
            <a:ext cx="386461" cy="241735"/>
          </a:xfrm>
          <a:custGeom>
            <a:avLst/>
            <a:gdLst>
              <a:gd name="connsiteX0" fmla="*/ 384847 w 386461"/>
              <a:gd name="connsiteY0" fmla="*/ 153111 h 241735"/>
              <a:gd name="connsiteX1" fmla="*/ 360610 w 386461"/>
              <a:gd name="connsiteY1" fmla="*/ 145070 h 241735"/>
              <a:gd name="connsiteX2" fmla="*/ 332324 w 386461"/>
              <a:gd name="connsiteY2" fmla="*/ 126502 h 241735"/>
              <a:gd name="connsiteX3" fmla="*/ 300857 w 386461"/>
              <a:gd name="connsiteY3" fmla="*/ 107934 h 241735"/>
              <a:gd name="connsiteX4" fmla="*/ 273266 w 386461"/>
              <a:gd name="connsiteY4" fmla="*/ 87631 h 241735"/>
              <a:gd name="connsiteX5" fmla="*/ 261176 w 386461"/>
              <a:gd name="connsiteY5" fmla="*/ 65014 h 241735"/>
              <a:gd name="connsiteX6" fmla="*/ 249608 w 386461"/>
              <a:gd name="connsiteY6" fmla="*/ 47256 h 241735"/>
              <a:gd name="connsiteX7" fmla="*/ 209117 w 386461"/>
              <a:gd name="connsiteY7" fmla="*/ 42397 h 241735"/>
              <a:gd name="connsiteX8" fmla="*/ 199456 w 386461"/>
              <a:gd name="connsiteY8" fmla="*/ 13475 h 241735"/>
              <a:gd name="connsiteX9" fmla="*/ 178459 w 386461"/>
              <a:gd name="connsiteY9" fmla="*/ 6244 h 241735"/>
              <a:gd name="connsiteX10" fmla="*/ 159023 w 386461"/>
              <a:gd name="connsiteY10" fmla="*/ 1385 h 241735"/>
              <a:gd name="connsiteX11" fmla="*/ 147744 w 386461"/>
              <a:gd name="connsiteY11" fmla="*/ 7170 h 241735"/>
              <a:gd name="connsiteX12" fmla="*/ 138084 w 386461"/>
              <a:gd name="connsiteY12" fmla="*/ 17697 h 241735"/>
              <a:gd name="connsiteX13" fmla="*/ 118648 w 386461"/>
              <a:gd name="connsiteY13" fmla="*/ 32216 h 241735"/>
              <a:gd name="connsiteX14" fmla="*/ 108988 w 386461"/>
              <a:gd name="connsiteY14" fmla="*/ 45173 h 241735"/>
              <a:gd name="connsiteX15" fmla="*/ 89726 w 386461"/>
              <a:gd name="connsiteY15" fmla="*/ 40546 h 241735"/>
              <a:gd name="connsiteX16" fmla="*/ 70637 w 386461"/>
              <a:gd name="connsiteY16" fmla="*/ 36034 h 241735"/>
              <a:gd name="connsiteX17" fmla="*/ 37203 w 386461"/>
              <a:gd name="connsiteY17" fmla="*/ 10177 h 241735"/>
              <a:gd name="connsiteX18" fmla="*/ 8975 w 386461"/>
              <a:gd name="connsiteY18" fmla="*/ 25043 h 241735"/>
              <a:gd name="connsiteX19" fmla="*/ 21759 w 386461"/>
              <a:gd name="connsiteY19" fmla="*/ 20127 h 241735"/>
              <a:gd name="connsiteX20" fmla="*/ 42698 w 386461"/>
              <a:gd name="connsiteY20" fmla="*/ 45173 h 241735"/>
              <a:gd name="connsiteX21" fmla="*/ 55655 w 386461"/>
              <a:gd name="connsiteY21" fmla="*/ 61312 h 241735"/>
              <a:gd name="connsiteX22" fmla="*/ 28179 w 386461"/>
              <a:gd name="connsiteY22" fmla="*/ 67096 h 241735"/>
              <a:gd name="connsiteX23" fmla="*/ 3133 w 386461"/>
              <a:gd name="connsiteY23" fmla="*/ 67096 h 241735"/>
              <a:gd name="connsiteX24" fmla="*/ 8918 w 386461"/>
              <a:gd name="connsiteY24" fmla="*/ 89656 h 241735"/>
              <a:gd name="connsiteX25" fmla="*/ 10479 w 386461"/>
              <a:gd name="connsiteY25" fmla="*/ 106662 h 241735"/>
              <a:gd name="connsiteX26" fmla="*/ 25808 w 386461"/>
              <a:gd name="connsiteY26" fmla="*/ 113140 h 241735"/>
              <a:gd name="connsiteX27" fmla="*/ 31592 w 386461"/>
              <a:gd name="connsiteY27" fmla="*/ 134890 h 241735"/>
              <a:gd name="connsiteX28" fmla="*/ 31592 w 386461"/>
              <a:gd name="connsiteY28" fmla="*/ 171505 h 241735"/>
              <a:gd name="connsiteX29" fmla="*/ 54151 w 386461"/>
              <a:gd name="connsiteY29" fmla="*/ 167225 h 241735"/>
              <a:gd name="connsiteX30" fmla="*/ 78331 w 386461"/>
              <a:gd name="connsiteY30" fmla="*/ 150276 h 241735"/>
              <a:gd name="connsiteX31" fmla="*/ 97766 w 386461"/>
              <a:gd name="connsiteY31" fmla="*/ 147847 h 241735"/>
              <a:gd name="connsiteX32" fmla="*/ 129291 w 386461"/>
              <a:gd name="connsiteY32" fmla="*/ 148657 h 241735"/>
              <a:gd name="connsiteX33" fmla="*/ 149421 w 386461"/>
              <a:gd name="connsiteY33" fmla="*/ 157507 h 241735"/>
              <a:gd name="connsiteX34" fmla="*/ 162436 w 386461"/>
              <a:gd name="connsiteY34" fmla="*/ 163986 h 241735"/>
              <a:gd name="connsiteX35" fmla="*/ 185573 w 386461"/>
              <a:gd name="connsiteY35" fmla="*/ 171274 h 241735"/>
              <a:gd name="connsiteX36" fmla="*/ 197721 w 386461"/>
              <a:gd name="connsiteY36" fmla="*/ 180934 h 241735"/>
              <a:gd name="connsiteX37" fmla="*/ 216289 w 386461"/>
              <a:gd name="connsiteY37" fmla="*/ 196263 h 241735"/>
              <a:gd name="connsiteX38" fmla="*/ 235667 w 386461"/>
              <a:gd name="connsiteY38" fmla="*/ 199560 h 241735"/>
              <a:gd name="connsiteX39" fmla="*/ 240526 w 386461"/>
              <a:gd name="connsiteY39" fmla="*/ 232994 h 241735"/>
              <a:gd name="connsiteX40" fmla="*/ 246310 w 386461"/>
              <a:gd name="connsiteY40" fmla="*/ 232415 h 241735"/>
              <a:gd name="connsiteX41" fmla="*/ 265746 w 386461"/>
              <a:gd name="connsiteY41" fmla="*/ 237853 h 241735"/>
              <a:gd name="connsiteX42" fmla="*/ 289462 w 386461"/>
              <a:gd name="connsiteY42" fmla="*/ 229176 h 241735"/>
              <a:gd name="connsiteX43" fmla="*/ 328276 w 386461"/>
              <a:gd name="connsiteY43" fmla="*/ 206559 h 241735"/>
              <a:gd name="connsiteX44" fmla="*/ 344472 w 386461"/>
              <a:gd name="connsiteY44" fmla="*/ 179603 h 241735"/>
              <a:gd name="connsiteX45" fmla="*/ 366048 w 386461"/>
              <a:gd name="connsiteY45" fmla="*/ 166646 h 241735"/>
              <a:gd name="connsiteX46" fmla="*/ 386351 w 386461"/>
              <a:gd name="connsiteY46" fmla="*/ 171505 h 2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6461" h="241735">
                <a:moveTo>
                  <a:pt x="384847" y="153111"/>
                </a:moveTo>
                <a:cubicBezTo>
                  <a:pt x="384847" y="153111"/>
                  <a:pt x="367089" y="144261"/>
                  <a:pt x="360610" y="145070"/>
                </a:cubicBezTo>
                <a:cubicBezTo>
                  <a:pt x="354132" y="145880"/>
                  <a:pt x="343662" y="130552"/>
                  <a:pt x="332324" y="126502"/>
                </a:cubicBezTo>
                <a:cubicBezTo>
                  <a:pt x="320987" y="122453"/>
                  <a:pt x="305716" y="114934"/>
                  <a:pt x="300857" y="107934"/>
                </a:cubicBezTo>
                <a:cubicBezTo>
                  <a:pt x="295999" y="100935"/>
                  <a:pt x="275810" y="93415"/>
                  <a:pt x="273266" y="87631"/>
                </a:cubicBezTo>
                <a:cubicBezTo>
                  <a:pt x="270142" y="79631"/>
                  <a:pt x="266093" y="72036"/>
                  <a:pt x="261176" y="65014"/>
                </a:cubicBezTo>
                <a:cubicBezTo>
                  <a:pt x="255392" y="57725"/>
                  <a:pt x="255392" y="48008"/>
                  <a:pt x="249608" y="47256"/>
                </a:cubicBezTo>
                <a:cubicBezTo>
                  <a:pt x="243823" y="46504"/>
                  <a:pt x="209117" y="47256"/>
                  <a:pt x="209117" y="42397"/>
                </a:cubicBezTo>
                <a:cubicBezTo>
                  <a:pt x="209117" y="37538"/>
                  <a:pt x="206687" y="14921"/>
                  <a:pt x="199456" y="13475"/>
                </a:cubicBezTo>
                <a:cubicBezTo>
                  <a:pt x="192226" y="12029"/>
                  <a:pt x="182450" y="10235"/>
                  <a:pt x="178459" y="6244"/>
                </a:cubicBezTo>
                <a:cubicBezTo>
                  <a:pt x="174468" y="2253"/>
                  <a:pt x="161453" y="-2664"/>
                  <a:pt x="159023" y="1385"/>
                </a:cubicBezTo>
                <a:cubicBezTo>
                  <a:pt x="156305" y="4862"/>
                  <a:pt x="152140" y="6973"/>
                  <a:pt x="147744" y="7170"/>
                </a:cubicBezTo>
                <a:cubicBezTo>
                  <a:pt x="145314" y="7170"/>
                  <a:pt x="146124" y="18738"/>
                  <a:pt x="138084" y="17697"/>
                </a:cubicBezTo>
                <a:cubicBezTo>
                  <a:pt x="130043" y="16656"/>
                  <a:pt x="118648" y="26605"/>
                  <a:pt x="118648" y="32216"/>
                </a:cubicBezTo>
                <a:cubicBezTo>
                  <a:pt x="118648" y="37827"/>
                  <a:pt x="119458" y="45983"/>
                  <a:pt x="108988" y="45173"/>
                </a:cubicBezTo>
                <a:cubicBezTo>
                  <a:pt x="102335" y="44797"/>
                  <a:pt x="95799" y="43230"/>
                  <a:pt x="89726" y="40546"/>
                </a:cubicBezTo>
                <a:cubicBezTo>
                  <a:pt x="88280" y="41818"/>
                  <a:pt x="79487" y="47834"/>
                  <a:pt x="70637" y="36034"/>
                </a:cubicBezTo>
                <a:cubicBezTo>
                  <a:pt x="60977" y="23077"/>
                  <a:pt x="45822" y="10177"/>
                  <a:pt x="37203" y="10177"/>
                </a:cubicBezTo>
                <a:cubicBezTo>
                  <a:pt x="29452" y="10177"/>
                  <a:pt x="2496" y="10177"/>
                  <a:pt x="8975" y="25043"/>
                </a:cubicBezTo>
                <a:cubicBezTo>
                  <a:pt x="10884" y="21746"/>
                  <a:pt x="14760" y="19259"/>
                  <a:pt x="21759" y="20127"/>
                </a:cubicBezTo>
                <a:cubicBezTo>
                  <a:pt x="41079" y="21746"/>
                  <a:pt x="32228" y="44363"/>
                  <a:pt x="42698" y="45173"/>
                </a:cubicBezTo>
                <a:cubicBezTo>
                  <a:pt x="53168" y="45983"/>
                  <a:pt x="65374" y="62122"/>
                  <a:pt x="55655" y="61312"/>
                </a:cubicBezTo>
                <a:cubicBezTo>
                  <a:pt x="45937" y="60502"/>
                  <a:pt x="37840" y="70162"/>
                  <a:pt x="28179" y="67096"/>
                </a:cubicBezTo>
                <a:cubicBezTo>
                  <a:pt x="18519" y="64031"/>
                  <a:pt x="6372" y="55528"/>
                  <a:pt x="3133" y="67096"/>
                </a:cubicBezTo>
                <a:cubicBezTo>
                  <a:pt x="-107" y="78665"/>
                  <a:pt x="-4155" y="90523"/>
                  <a:pt x="8918" y="89656"/>
                </a:cubicBezTo>
                <a:cubicBezTo>
                  <a:pt x="21990" y="88788"/>
                  <a:pt x="19329" y="97754"/>
                  <a:pt x="10479" y="106662"/>
                </a:cubicBezTo>
                <a:cubicBezTo>
                  <a:pt x="1629" y="115570"/>
                  <a:pt x="24188" y="105042"/>
                  <a:pt x="25808" y="113140"/>
                </a:cubicBezTo>
                <a:cubicBezTo>
                  <a:pt x="27427" y="121239"/>
                  <a:pt x="34658" y="121991"/>
                  <a:pt x="31592" y="134890"/>
                </a:cubicBezTo>
                <a:cubicBezTo>
                  <a:pt x="29510" y="143104"/>
                  <a:pt x="31072" y="159416"/>
                  <a:pt x="31592" y="171505"/>
                </a:cubicBezTo>
                <a:cubicBezTo>
                  <a:pt x="40153" y="171505"/>
                  <a:pt x="51664" y="170695"/>
                  <a:pt x="54151" y="167225"/>
                </a:cubicBezTo>
                <a:cubicBezTo>
                  <a:pt x="58200" y="161440"/>
                  <a:pt x="71100" y="150276"/>
                  <a:pt x="78331" y="150276"/>
                </a:cubicBezTo>
                <a:cubicBezTo>
                  <a:pt x="85561" y="150276"/>
                  <a:pt x="93717" y="153458"/>
                  <a:pt x="97766" y="147847"/>
                </a:cubicBezTo>
                <a:cubicBezTo>
                  <a:pt x="101815" y="142236"/>
                  <a:pt x="125242" y="143798"/>
                  <a:pt x="129291" y="148657"/>
                </a:cubicBezTo>
                <a:cubicBezTo>
                  <a:pt x="135018" y="153435"/>
                  <a:pt x="142017" y="156501"/>
                  <a:pt x="149421" y="157507"/>
                </a:cubicBezTo>
                <a:cubicBezTo>
                  <a:pt x="152718" y="157507"/>
                  <a:pt x="154337" y="164795"/>
                  <a:pt x="162436" y="163986"/>
                </a:cubicBezTo>
                <a:cubicBezTo>
                  <a:pt x="170534" y="163176"/>
                  <a:pt x="185573" y="166473"/>
                  <a:pt x="185573" y="171274"/>
                </a:cubicBezTo>
                <a:cubicBezTo>
                  <a:pt x="186557" y="177133"/>
                  <a:pt x="191821" y="181310"/>
                  <a:pt x="197721" y="180934"/>
                </a:cubicBezTo>
                <a:cubicBezTo>
                  <a:pt x="204142" y="180934"/>
                  <a:pt x="209811" y="197130"/>
                  <a:pt x="216289" y="196263"/>
                </a:cubicBezTo>
                <a:cubicBezTo>
                  <a:pt x="222768" y="195395"/>
                  <a:pt x="235667" y="195511"/>
                  <a:pt x="235667" y="199560"/>
                </a:cubicBezTo>
                <a:cubicBezTo>
                  <a:pt x="235956" y="210857"/>
                  <a:pt x="237575" y="222079"/>
                  <a:pt x="240526" y="232994"/>
                </a:cubicBezTo>
                <a:cubicBezTo>
                  <a:pt x="242261" y="231843"/>
                  <a:pt x="244401" y="231623"/>
                  <a:pt x="246310" y="232415"/>
                </a:cubicBezTo>
                <a:cubicBezTo>
                  <a:pt x="249550" y="234613"/>
                  <a:pt x="263663" y="230275"/>
                  <a:pt x="265746" y="237853"/>
                </a:cubicBezTo>
                <a:cubicBezTo>
                  <a:pt x="267829" y="245430"/>
                  <a:pt x="290561" y="241034"/>
                  <a:pt x="289462" y="229176"/>
                </a:cubicBezTo>
                <a:cubicBezTo>
                  <a:pt x="288363" y="217318"/>
                  <a:pt x="325036" y="217607"/>
                  <a:pt x="328276" y="206559"/>
                </a:cubicBezTo>
                <a:cubicBezTo>
                  <a:pt x="331515" y="195511"/>
                  <a:pt x="335853" y="176364"/>
                  <a:pt x="344472" y="179603"/>
                </a:cubicBezTo>
                <a:cubicBezTo>
                  <a:pt x="353091" y="182843"/>
                  <a:pt x="358470" y="165605"/>
                  <a:pt x="366048" y="166646"/>
                </a:cubicBezTo>
                <a:cubicBezTo>
                  <a:pt x="373625" y="167688"/>
                  <a:pt x="378079" y="173009"/>
                  <a:pt x="386351" y="171505"/>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4" name="Forma libre: forma 223">
            <a:extLst>
              <a:ext uri="{FF2B5EF4-FFF2-40B4-BE49-F238E27FC236}">
                <a16:creationId xmlns:a16="http://schemas.microsoft.com/office/drawing/2014/main" id="{093A90A7-67DE-2755-1739-82E0A240AD4D}"/>
              </a:ext>
            </a:extLst>
          </p:cNvPr>
          <p:cNvSpPr/>
          <p:nvPr/>
        </p:nvSpPr>
        <p:spPr>
          <a:xfrm>
            <a:off x="7380522" y="3321417"/>
            <a:ext cx="532005" cy="454450"/>
          </a:xfrm>
          <a:custGeom>
            <a:avLst/>
            <a:gdLst>
              <a:gd name="connsiteX0" fmla="*/ 521772 w 532005"/>
              <a:gd name="connsiteY0" fmla="*/ 391325 h 454450"/>
              <a:gd name="connsiteX1" fmla="*/ 508873 w 532005"/>
              <a:gd name="connsiteY1" fmla="*/ 361130 h 454450"/>
              <a:gd name="connsiteX2" fmla="*/ 480818 w 532005"/>
              <a:gd name="connsiteY2" fmla="*/ 337472 h 454450"/>
              <a:gd name="connsiteX3" fmla="*/ 462481 w 532005"/>
              <a:gd name="connsiteY3" fmla="*/ 313698 h 454450"/>
              <a:gd name="connsiteX4" fmla="*/ 490478 w 532005"/>
              <a:gd name="connsiteY4" fmla="*/ 274884 h 454450"/>
              <a:gd name="connsiteX5" fmla="*/ 463522 w 532005"/>
              <a:gd name="connsiteY5" fmla="*/ 260828 h 454450"/>
              <a:gd name="connsiteX6" fmla="*/ 459242 w 532005"/>
              <a:gd name="connsiteY6" fmla="*/ 229592 h 454450"/>
              <a:gd name="connsiteX7" fmla="*/ 459242 w 532005"/>
              <a:gd name="connsiteY7" fmla="*/ 200670 h 454450"/>
              <a:gd name="connsiteX8" fmla="*/ 462481 w 532005"/>
              <a:gd name="connsiteY8" fmla="*/ 176954 h 454450"/>
              <a:gd name="connsiteX9" fmla="*/ 473240 w 532005"/>
              <a:gd name="connsiteY9" fmla="*/ 155436 h 454450"/>
              <a:gd name="connsiteX10" fmla="*/ 479025 w 532005"/>
              <a:gd name="connsiteY10" fmla="*/ 142999 h 454450"/>
              <a:gd name="connsiteX11" fmla="*/ 474166 w 532005"/>
              <a:gd name="connsiteY11" fmla="*/ 109565 h 454450"/>
              <a:gd name="connsiteX12" fmla="*/ 454788 w 532005"/>
              <a:gd name="connsiteY12" fmla="*/ 106268 h 454450"/>
              <a:gd name="connsiteX13" fmla="*/ 436220 w 532005"/>
              <a:gd name="connsiteY13" fmla="*/ 90939 h 454450"/>
              <a:gd name="connsiteX14" fmla="*/ 424073 w 532005"/>
              <a:gd name="connsiteY14" fmla="*/ 81279 h 454450"/>
              <a:gd name="connsiteX15" fmla="*/ 400935 w 532005"/>
              <a:gd name="connsiteY15" fmla="*/ 73991 h 454450"/>
              <a:gd name="connsiteX16" fmla="*/ 387920 w 532005"/>
              <a:gd name="connsiteY16" fmla="*/ 67512 h 454450"/>
              <a:gd name="connsiteX17" fmla="*/ 367790 w 532005"/>
              <a:gd name="connsiteY17" fmla="*/ 58662 h 454450"/>
              <a:gd name="connsiteX18" fmla="*/ 336265 w 532005"/>
              <a:gd name="connsiteY18" fmla="*/ 57852 h 454450"/>
              <a:gd name="connsiteX19" fmla="*/ 316829 w 532005"/>
              <a:gd name="connsiteY19" fmla="*/ 60282 h 454450"/>
              <a:gd name="connsiteX20" fmla="*/ 292651 w 532005"/>
              <a:gd name="connsiteY20" fmla="*/ 77230 h 454450"/>
              <a:gd name="connsiteX21" fmla="*/ 270091 w 532005"/>
              <a:gd name="connsiteY21" fmla="*/ 81511 h 454450"/>
              <a:gd name="connsiteX22" fmla="*/ 269223 w 532005"/>
              <a:gd name="connsiteY22" fmla="*/ 95798 h 454450"/>
              <a:gd name="connsiteX23" fmla="*/ 210223 w 532005"/>
              <a:gd name="connsiteY23" fmla="*/ 108755 h 454450"/>
              <a:gd name="connsiteX24" fmla="*/ 160187 w 532005"/>
              <a:gd name="connsiteY24" fmla="*/ 78850 h 454450"/>
              <a:gd name="connsiteX25" fmla="*/ 127158 w 532005"/>
              <a:gd name="connsiteY25" fmla="*/ 46631 h 454450"/>
              <a:gd name="connsiteX26" fmla="*/ 107607 w 532005"/>
              <a:gd name="connsiteY26" fmla="*/ 32459 h 454450"/>
              <a:gd name="connsiteX27" fmla="*/ 102227 w 532005"/>
              <a:gd name="connsiteY27" fmla="*/ 7586 h 454450"/>
              <a:gd name="connsiteX28" fmla="*/ 47217 w 532005"/>
              <a:gd name="connsiteY28" fmla="*/ 31360 h 454450"/>
              <a:gd name="connsiteX29" fmla="*/ 28880 w 532005"/>
              <a:gd name="connsiteY29" fmla="*/ 20601 h 454450"/>
              <a:gd name="connsiteX30" fmla="*/ 12684 w 532005"/>
              <a:gd name="connsiteY30" fmla="*/ 66 h 454450"/>
              <a:gd name="connsiteX31" fmla="*/ 2966 w 532005"/>
              <a:gd name="connsiteY31" fmla="*/ 14122 h 454450"/>
              <a:gd name="connsiteX32" fmla="*/ 4065 w 532005"/>
              <a:gd name="connsiteY32" fmla="*/ 36739 h 454450"/>
              <a:gd name="connsiteX33" fmla="*/ 4065 w 532005"/>
              <a:gd name="connsiteY33" fmla="*/ 65661 h 454450"/>
              <a:gd name="connsiteX34" fmla="*/ 17022 w 532005"/>
              <a:gd name="connsiteY34" fmla="*/ 87295 h 454450"/>
              <a:gd name="connsiteX35" fmla="*/ 26682 w 532005"/>
              <a:gd name="connsiteY35" fmla="*/ 108813 h 454450"/>
              <a:gd name="connsiteX36" fmla="*/ 41780 w 532005"/>
              <a:gd name="connsiteY36" fmla="*/ 125010 h 454450"/>
              <a:gd name="connsiteX37" fmla="*/ 52597 w 532005"/>
              <a:gd name="connsiteY37" fmla="*/ 134728 h 454450"/>
              <a:gd name="connsiteX38" fmla="*/ 49357 w 532005"/>
              <a:gd name="connsiteY38" fmla="*/ 150866 h 454450"/>
              <a:gd name="connsiteX39" fmla="*/ 38598 w 532005"/>
              <a:gd name="connsiteY39" fmla="*/ 172442 h 454450"/>
              <a:gd name="connsiteX40" fmla="*/ 41780 w 532005"/>
              <a:gd name="connsiteY40" fmla="*/ 197257 h 454450"/>
              <a:gd name="connsiteX41" fmla="*/ 54737 w 532005"/>
              <a:gd name="connsiteY41" fmla="*/ 212354 h 454450"/>
              <a:gd name="connsiteX42" fmla="*/ 84990 w 532005"/>
              <a:gd name="connsiteY42" fmla="*/ 232889 h 454450"/>
              <a:gd name="connsiteX43" fmla="*/ 97889 w 532005"/>
              <a:gd name="connsiteY43" fmla="*/ 249028 h 454450"/>
              <a:gd name="connsiteX44" fmla="*/ 95748 w 532005"/>
              <a:gd name="connsiteY44" fmla="*/ 267364 h 454450"/>
              <a:gd name="connsiteX45" fmla="*/ 105409 w 532005"/>
              <a:gd name="connsiteY45" fmla="*/ 285701 h 454450"/>
              <a:gd name="connsiteX46" fmla="*/ 120853 w 532005"/>
              <a:gd name="connsiteY46" fmla="*/ 307161 h 454450"/>
              <a:gd name="connsiteX47" fmla="*/ 127447 w 532005"/>
              <a:gd name="connsiteY47" fmla="*/ 306062 h 454450"/>
              <a:gd name="connsiteX48" fmla="*/ 139999 w 532005"/>
              <a:gd name="connsiteY48" fmla="*/ 302823 h 454450"/>
              <a:gd name="connsiteX49" fmla="*/ 158973 w 532005"/>
              <a:gd name="connsiteY49" fmla="*/ 302013 h 454450"/>
              <a:gd name="connsiteX50" fmla="*/ 186853 w 532005"/>
              <a:gd name="connsiteY50" fmla="*/ 344818 h 454450"/>
              <a:gd name="connsiteX51" fmla="*/ 202587 w 532005"/>
              <a:gd name="connsiteY51" fmla="*/ 369864 h 454450"/>
              <a:gd name="connsiteX52" fmla="*/ 235673 w 532005"/>
              <a:gd name="connsiteY52" fmla="*/ 386408 h 454450"/>
              <a:gd name="connsiteX53" fmla="*/ 297856 w 532005"/>
              <a:gd name="connsiteY53" fmla="*/ 410240 h 454450"/>
              <a:gd name="connsiteX54" fmla="*/ 341933 w 532005"/>
              <a:gd name="connsiteY54" fmla="*/ 398092 h 454450"/>
              <a:gd name="connsiteX55" fmla="*/ 362874 w 532005"/>
              <a:gd name="connsiteY55" fmla="*/ 434072 h 454450"/>
              <a:gd name="connsiteX56" fmla="*/ 458259 w 532005"/>
              <a:gd name="connsiteY56" fmla="*/ 451830 h 454450"/>
              <a:gd name="connsiteX57" fmla="*/ 486834 w 532005"/>
              <a:gd name="connsiteY57" fmla="*/ 454317 h 454450"/>
              <a:gd name="connsiteX58" fmla="*/ 486139 w 532005"/>
              <a:gd name="connsiteY58" fmla="*/ 447492 h 454450"/>
              <a:gd name="connsiteX59" fmla="*/ 503493 w 532005"/>
              <a:gd name="connsiteY59" fmla="*/ 419495 h 454450"/>
              <a:gd name="connsiteX60" fmla="*/ 528308 w 532005"/>
              <a:gd name="connsiteY60" fmla="*/ 411917 h 454450"/>
              <a:gd name="connsiteX61" fmla="*/ 521772 w 532005"/>
              <a:gd name="connsiteY61" fmla="*/ 391325 h 45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32005" h="454450">
                <a:moveTo>
                  <a:pt x="521772" y="391325"/>
                </a:moveTo>
                <a:cubicBezTo>
                  <a:pt x="515293" y="389185"/>
                  <a:pt x="521772" y="366510"/>
                  <a:pt x="508873" y="361130"/>
                </a:cubicBezTo>
                <a:cubicBezTo>
                  <a:pt x="495973" y="355750"/>
                  <a:pt x="484404" y="346958"/>
                  <a:pt x="480818" y="337472"/>
                </a:cubicBezTo>
                <a:cubicBezTo>
                  <a:pt x="477231" y="327985"/>
                  <a:pt x="461382" y="320118"/>
                  <a:pt x="462481" y="313698"/>
                </a:cubicBezTo>
                <a:cubicBezTo>
                  <a:pt x="463580" y="307277"/>
                  <a:pt x="494816" y="286684"/>
                  <a:pt x="490478" y="274884"/>
                </a:cubicBezTo>
                <a:cubicBezTo>
                  <a:pt x="486139" y="263084"/>
                  <a:pt x="465662" y="265166"/>
                  <a:pt x="463522" y="260828"/>
                </a:cubicBezTo>
                <a:cubicBezTo>
                  <a:pt x="461382" y="256490"/>
                  <a:pt x="464622" y="241450"/>
                  <a:pt x="459242" y="229592"/>
                </a:cubicBezTo>
                <a:cubicBezTo>
                  <a:pt x="453863" y="217734"/>
                  <a:pt x="463522" y="206917"/>
                  <a:pt x="459242" y="200670"/>
                </a:cubicBezTo>
                <a:cubicBezTo>
                  <a:pt x="454961" y="194423"/>
                  <a:pt x="461382" y="181292"/>
                  <a:pt x="462481" y="176954"/>
                </a:cubicBezTo>
                <a:cubicBezTo>
                  <a:pt x="463580" y="172615"/>
                  <a:pt x="474050" y="166195"/>
                  <a:pt x="473240" y="155436"/>
                </a:cubicBezTo>
                <a:cubicBezTo>
                  <a:pt x="472373" y="150490"/>
                  <a:pt x="474686" y="145521"/>
                  <a:pt x="479025" y="142999"/>
                </a:cubicBezTo>
                <a:cubicBezTo>
                  <a:pt x="476075" y="132084"/>
                  <a:pt x="474455" y="120862"/>
                  <a:pt x="474166" y="109565"/>
                </a:cubicBezTo>
                <a:cubicBezTo>
                  <a:pt x="474166" y="105516"/>
                  <a:pt x="461266" y="105516"/>
                  <a:pt x="454788" y="106268"/>
                </a:cubicBezTo>
                <a:cubicBezTo>
                  <a:pt x="448309" y="107020"/>
                  <a:pt x="442640" y="90939"/>
                  <a:pt x="436220" y="90939"/>
                </a:cubicBezTo>
                <a:cubicBezTo>
                  <a:pt x="430320" y="91315"/>
                  <a:pt x="425056" y="87139"/>
                  <a:pt x="424073" y="81279"/>
                </a:cubicBezTo>
                <a:cubicBezTo>
                  <a:pt x="424073" y="76478"/>
                  <a:pt x="408744" y="73239"/>
                  <a:pt x="400935" y="73991"/>
                </a:cubicBezTo>
                <a:cubicBezTo>
                  <a:pt x="393126" y="74743"/>
                  <a:pt x="391217" y="67512"/>
                  <a:pt x="387920" y="67512"/>
                </a:cubicBezTo>
                <a:cubicBezTo>
                  <a:pt x="380516" y="66506"/>
                  <a:pt x="373517" y="63440"/>
                  <a:pt x="367790" y="58662"/>
                </a:cubicBezTo>
                <a:cubicBezTo>
                  <a:pt x="363741" y="53803"/>
                  <a:pt x="340314" y="52184"/>
                  <a:pt x="336265" y="57852"/>
                </a:cubicBezTo>
                <a:cubicBezTo>
                  <a:pt x="332216" y="63521"/>
                  <a:pt x="324175" y="60282"/>
                  <a:pt x="316829" y="60282"/>
                </a:cubicBezTo>
                <a:cubicBezTo>
                  <a:pt x="309483" y="60282"/>
                  <a:pt x="296699" y="71851"/>
                  <a:pt x="292651" y="77230"/>
                </a:cubicBezTo>
                <a:cubicBezTo>
                  <a:pt x="290163" y="80701"/>
                  <a:pt x="278652" y="81395"/>
                  <a:pt x="270091" y="81511"/>
                </a:cubicBezTo>
                <a:cubicBezTo>
                  <a:pt x="270727" y="86283"/>
                  <a:pt x="270438" y="91142"/>
                  <a:pt x="269223" y="95798"/>
                </a:cubicBezTo>
                <a:cubicBezTo>
                  <a:pt x="265001" y="102161"/>
                  <a:pt x="233707" y="107888"/>
                  <a:pt x="210223" y="108755"/>
                </a:cubicBezTo>
                <a:cubicBezTo>
                  <a:pt x="186737" y="109623"/>
                  <a:pt x="185233" y="78850"/>
                  <a:pt x="160187" y="78850"/>
                </a:cubicBezTo>
                <a:cubicBezTo>
                  <a:pt x="142602" y="78040"/>
                  <a:pt x="128373" y="64192"/>
                  <a:pt x="127158" y="46631"/>
                </a:cubicBezTo>
                <a:cubicBezTo>
                  <a:pt x="116341" y="42466"/>
                  <a:pt x="106045" y="35409"/>
                  <a:pt x="107607" y="32459"/>
                </a:cubicBezTo>
                <a:cubicBezTo>
                  <a:pt x="109747" y="28120"/>
                  <a:pt x="115126" y="1107"/>
                  <a:pt x="102227" y="7586"/>
                </a:cubicBezTo>
                <a:cubicBezTo>
                  <a:pt x="89328" y="14064"/>
                  <a:pt x="70933" y="34599"/>
                  <a:pt x="47217" y="31360"/>
                </a:cubicBezTo>
                <a:cubicBezTo>
                  <a:pt x="23501" y="28120"/>
                  <a:pt x="40681" y="25922"/>
                  <a:pt x="28880" y="20601"/>
                </a:cubicBezTo>
                <a:cubicBezTo>
                  <a:pt x="17080" y="15279"/>
                  <a:pt x="24542" y="2206"/>
                  <a:pt x="12684" y="66"/>
                </a:cubicBezTo>
                <a:cubicBezTo>
                  <a:pt x="826" y="-2074"/>
                  <a:pt x="9445" y="14122"/>
                  <a:pt x="2966" y="14122"/>
                </a:cubicBezTo>
                <a:cubicBezTo>
                  <a:pt x="-3513" y="14122"/>
                  <a:pt x="1925" y="32459"/>
                  <a:pt x="4065" y="36739"/>
                </a:cubicBezTo>
                <a:cubicBezTo>
                  <a:pt x="6206" y="41020"/>
                  <a:pt x="-273" y="64794"/>
                  <a:pt x="4065" y="65661"/>
                </a:cubicBezTo>
                <a:cubicBezTo>
                  <a:pt x="8404" y="66529"/>
                  <a:pt x="18063" y="84056"/>
                  <a:pt x="17022" y="87295"/>
                </a:cubicBezTo>
                <a:cubicBezTo>
                  <a:pt x="15981" y="90534"/>
                  <a:pt x="26682" y="101293"/>
                  <a:pt x="26682" y="108813"/>
                </a:cubicBezTo>
                <a:cubicBezTo>
                  <a:pt x="27897" y="116807"/>
                  <a:pt x="33913" y="123240"/>
                  <a:pt x="41780" y="125010"/>
                </a:cubicBezTo>
                <a:cubicBezTo>
                  <a:pt x="47217" y="125010"/>
                  <a:pt x="54737" y="128249"/>
                  <a:pt x="52597" y="134728"/>
                </a:cubicBezTo>
                <a:cubicBezTo>
                  <a:pt x="50457" y="141206"/>
                  <a:pt x="55778" y="150866"/>
                  <a:pt x="49357" y="150866"/>
                </a:cubicBezTo>
                <a:cubicBezTo>
                  <a:pt x="42937" y="150866"/>
                  <a:pt x="43920" y="169260"/>
                  <a:pt x="38598" y="172442"/>
                </a:cubicBezTo>
                <a:cubicBezTo>
                  <a:pt x="33276" y="175623"/>
                  <a:pt x="37500" y="195117"/>
                  <a:pt x="41780" y="197257"/>
                </a:cubicBezTo>
                <a:cubicBezTo>
                  <a:pt x="46060" y="199397"/>
                  <a:pt x="55778" y="204835"/>
                  <a:pt x="54737" y="212354"/>
                </a:cubicBezTo>
                <a:cubicBezTo>
                  <a:pt x="53696" y="219874"/>
                  <a:pt x="77412" y="231790"/>
                  <a:pt x="84990" y="232889"/>
                </a:cubicBezTo>
                <a:cubicBezTo>
                  <a:pt x="92567" y="233988"/>
                  <a:pt x="93550" y="244747"/>
                  <a:pt x="97889" y="249028"/>
                </a:cubicBezTo>
                <a:cubicBezTo>
                  <a:pt x="102227" y="253308"/>
                  <a:pt x="94649" y="261985"/>
                  <a:pt x="95748" y="267364"/>
                </a:cubicBezTo>
                <a:cubicBezTo>
                  <a:pt x="96847" y="272744"/>
                  <a:pt x="106507" y="277082"/>
                  <a:pt x="105409" y="285701"/>
                </a:cubicBezTo>
                <a:cubicBezTo>
                  <a:pt x="104830" y="290907"/>
                  <a:pt x="113564" y="299642"/>
                  <a:pt x="120853" y="307161"/>
                </a:cubicBezTo>
                <a:cubicBezTo>
                  <a:pt x="122993" y="306502"/>
                  <a:pt x="125191" y="306132"/>
                  <a:pt x="127447" y="306062"/>
                </a:cubicBezTo>
                <a:cubicBezTo>
                  <a:pt x="134735" y="306062"/>
                  <a:pt x="134331" y="297964"/>
                  <a:pt x="139999" y="302823"/>
                </a:cubicBezTo>
                <a:cubicBezTo>
                  <a:pt x="145668" y="307682"/>
                  <a:pt x="153303" y="302418"/>
                  <a:pt x="158973" y="302013"/>
                </a:cubicBezTo>
                <a:cubicBezTo>
                  <a:pt x="164641" y="301608"/>
                  <a:pt x="179969" y="330935"/>
                  <a:pt x="186853" y="344818"/>
                </a:cubicBezTo>
                <a:cubicBezTo>
                  <a:pt x="193736" y="358700"/>
                  <a:pt x="193274" y="363791"/>
                  <a:pt x="202587" y="369864"/>
                </a:cubicBezTo>
                <a:cubicBezTo>
                  <a:pt x="211900" y="375938"/>
                  <a:pt x="222370" y="372699"/>
                  <a:pt x="235673" y="386408"/>
                </a:cubicBezTo>
                <a:cubicBezTo>
                  <a:pt x="248978" y="400117"/>
                  <a:pt x="283338" y="409546"/>
                  <a:pt x="297856" y="410240"/>
                </a:cubicBezTo>
                <a:cubicBezTo>
                  <a:pt x="312375" y="410934"/>
                  <a:pt x="323308" y="394506"/>
                  <a:pt x="341933" y="398092"/>
                </a:cubicBezTo>
                <a:cubicBezTo>
                  <a:pt x="360560" y="401679"/>
                  <a:pt x="356048" y="425568"/>
                  <a:pt x="362874" y="434072"/>
                </a:cubicBezTo>
                <a:cubicBezTo>
                  <a:pt x="369699" y="442575"/>
                  <a:pt x="445302" y="448186"/>
                  <a:pt x="458259" y="451830"/>
                </a:cubicBezTo>
                <a:cubicBezTo>
                  <a:pt x="467687" y="453554"/>
                  <a:pt x="477231" y="454386"/>
                  <a:pt x="486834" y="454317"/>
                </a:cubicBezTo>
                <a:cubicBezTo>
                  <a:pt x="486834" y="451598"/>
                  <a:pt x="486313" y="449169"/>
                  <a:pt x="486139" y="447492"/>
                </a:cubicBezTo>
                <a:cubicBezTo>
                  <a:pt x="485908" y="435564"/>
                  <a:pt x="492734" y="424620"/>
                  <a:pt x="503493" y="419495"/>
                </a:cubicBezTo>
                <a:cubicBezTo>
                  <a:pt x="511244" y="415481"/>
                  <a:pt x="519632" y="412912"/>
                  <a:pt x="528308" y="411917"/>
                </a:cubicBezTo>
                <a:cubicBezTo>
                  <a:pt x="536869" y="410992"/>
                  <a:pt x="528250" y="393754"/>
                  <a:pt x="521772" y="391325"/>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5" name="Forma libre: forma 224">
            <a:extLst>
              <a:ext uri="{FF2B5EF4-FFF2-40B4-BE49-F238E27FC236}">
                <a16:creationId xmlns:a16="http://schemas.microsoft.com/office/drawing/2014/main" id="{63D59BC2-7F7A-70E9-7C9F-0DDD1D52145B}"/>
              </a:ext>
            </a:extLst>
          </p:cNvPr>
          <p:cNvSpPr/>
          <p:nvPr/>
        </p:nvSpPr>
        <p:spPr>
          <a:xfrm>
            <a:off x="7449432" y="2780286"/>
            <a:ext cx="1110949" cy="517148"/>
          </a:xfrm>
          <a:custGeom>
            <a:avLst/>
            <a:gdLst>
              <a:gd name="connsiteX0" fmla="*/ 1104188 w 1110949"/>
              <a:gd name="connsiteY0" fmla="*/ 212121 h 517148"/>
              <a:gd name="connsiteX1" fmla="*/ 1094470 w 1110949"/>
              <a:gd name="connsiteY1" fmla="*/ 211312 h 517148"/>
              <a:gd name="connsiteX2" fmla="*/ 1072663 w 1110949"/>
              <a:gd name="connsiteY2" fmla="*/ 215361 h 517148"/>
              <a:gd name="connsiteX3" fmla="*/ 1058954 w 1110949"/>
              <a:gd name="connsiteY3" fmla="*/ 203792 h 517148"/>
              <a:gd name="connsiteX4" fmla="*/ 1053170 w 1110949"/>
              <a:gd name="connsiteY4" fmla="*/ 193496 h 517148"/>
              <a:gd name="connsiteX5" fmla="*/ 1036221 w 1110949"/>
              <a:gd name="connsiteY5" fmla="*/ 179555 h 517148"/>
              <a:gd name="connsiteX6" fmla="*/ 1018868 w 1110949"/>
              <a:gd name="connsiteY6" fmla="*/ 165036 h 517148"/>
              <a:gd name="connsiteX7" fmla="*/ 991623 w 1110949"/>
              <a:gd name="connsiteY7" fmla="*/ 172845 h 517148"/>
              <a:gd name="connsiteX8" fmla="*/ 964957 w 1110949"/>
              <a:gd name="connsiteY8" fmla="*/ 168623 h 517148"/>
              <a:gd name="connsiteX9" fmla="*/ 943728 w 1110949"/>
              <a:gd name="connsiteY9" fmla="*/ 153525 h 517148"/>
              <a:gd name="connsiteX10" fmla="*/ 927937 w 1110949"/>
              <a:gd name="connsiteY10" fmla="*/ 170878 h 517148"/>
              <a:gd name="connsiteX11" fmla="*/ 899535 w 1110949"/>
              <a:gd name="connsiteY11" fmla="*/ 121769 h 517148"/>
              <a:gd name="connsiteX12" fmla="*/ 849268 w 1110949"/>
              <a:gd name="connsiteY12" fmla="*/ 62420 h 517148"/>
              <a:gd name="connsiteX13" fmla="*/ 841343 w 1110949"/>
              <a:gd name="connsiteY13" fmla="*/ 41828 h 517148"/>
              <a:gd name="connsiteX14" fmla="*/ 823181 w 1110949"/>
              <a:gd name="connsiteY14" fmla="*/ 39977 h 517148"/>
              <a:gd name="connsiteX15" fmla="*/ 798365 w 1110949"/>
              <a:gd name="connsiteY15" fmla="*/ 53917 h 517148"/>
              <a:gd name="connsiteX16" fmla="*/ 768691 w 1110949"/>
              <a:gd name="connsiteY16" fmla="*/ 66007 h 517148"/>
              <a:gd name="connsiteX17" fmla="*/ 748041 w 1110949"/>
              <a:gd name="connsiteY17" fmla="*/ 70866 h 517148"/>
              <a:gd name="connsiteX18" fmla="*/ 757758 w 1110949"/>
              <a:gd name="connsiteY18" fmla="*/ 53512 h 517148"/>
              <a:gd name="connsiteX19" fmla="*/ 743239 w 1110949"/>
              <a:gd name="connsiteY19" fmla="*/ 51661 h 517148"/>
              <a:gd name="connsiteX20" fmla="*/ 730514 w 1110949"/>
              <a:gd name="connsiteY20" fmla="*/ 49868 h 517148"/>
              <a:gd name="connsiteX21" fmla="*/ 722589 w 1110949"/>
              <a:gd name="connsiteY21" fmla="*/ 48017 h 517148"/>
              <a:gd name="connsiteX22" fmla="*/ 712351 w 1110949"/>
              <a:gd name="connsiteY22" fmla="*/ 41423 h 517148"/>
              <a:gd name="connsiteX23" fmla="*/ 687477 w 1110949"/>
              <a:gd name="connsiteY23" fmla="*/ 45646 h 517148"/>
              <a:gd name="connsiteX24" fmla="*/ 690543 w 1110949"/>
              <a:gd name="connsiteY24" fmla="*/ 34077 h 517148"/>
              <a:gd name="connsiteX25" fmla="*/ 685685 w 1110949"/>
              <a:gd name="connsiteY25" fmla="*/ 14699 h 517148"/>
              <a:gd name="connsiteX26" fmla="*/ 668331 w 1110949"/>
              <a:gd name="connsiteY26" fmla="*/ 3824 h 517148"/>
              <a:gd name="connsiteX27" fmla="*/ 647160 w 1110949"/>
              <a:gd name="connsiteY27" fmla="*/ 816 h 517148"/>
              <a:gd name="connsiteX28" fmla="*/ 613206 w 1110949"/>
              <a:gd name="connsiteY28" fmla="*/ 8683 h 517148"/>
              <a:gd name="connsiteX29" fmla="*/ 573235 w 1110949"/>
              <a:gd name="connsiteY29" fmla="*/ 21987 h 517148"/>
              <a:gd name="connsiteX30" fmla="*/ 534480 w 1110949"/>
              <a:gd name="connsiteY30" fmla="*/ 29276 h 517148"/>
              <a:gd name="connsiteX31" fmla="*/ 506598 w 1110949"/>
              <a:gd name="connsiteY31" fmla="*/ 37721 h 517148"/>
              <a:gd name="connsiteX32" fmla="*/ 465413 w 1110949"/>
              <a:gd name="connsiteY32" fmla="*/ 46224 h 517148"/>
              <a:gd name="connsiteX33" fmla="*/ 432732 w 1110949"/>
              <a:gd name="connsiteY33" fmla="*/ 49868 h 517148"/>
              <a:gd name="connsiteX34" fmla="*/ 409594 w 1110949"/>
              <a:gd name="connsiteY34" fmla="*/ 51083 h 517148"/>
              <a:gd name="connsiteX35" fmla="*/ 410866 w 1110949"/>
              <a:gd name="connsiteY35" fmla="*/ 74221 h 517148"/>
              <a:gd name="connsiteX36" fmla="*/ 435045 w 1110949"/>
              <a:gd name="connsiteY36" fmla="*/ 86368 h 517148"/>
              <a:gd name="connsiteX37" fmla="*/ 406123 w 1110949"/>
              <a:gd name="connsiteY37" fmla="*/ 91169 h 517148"/>
              <a:gd name="connsiteX38" fmla="*/ 401264 w 1110949"/>
              <a:gd name="connsiteY38" fmla="*/ 110547 h 517148"/>
              <a:gd name="connsiteX39" fmla="*/ 384316 w 1110949"/>
              <a:gd name="connsiteY39" fmla="*/ 125066 h 517148"/>
              <a:gd name="connsiteX40" fmla="*/ 391604 w 1110949"/>
              <a:gd name="connsiteY40" fmla="*/ 139643 h 517148"/>
              <a:gd name="connsiteX41" fmla="*/ 410982 w 1110949"/>
              <a:gd name="connsiteY41" fmla="*/ 145427 h 517148"/>
              <a:gd name="connsiteX42" fmla="*/ 418213 w 1110949"/>
              <a:gd name="connsiteY42" fmla="*/ 164805 h 517148"/>
              <a:gd name="connsiteX43" fmla="*/ 401264 w 1110949"/>
              <a:gd name="connsiteY43" fmla="*/ 174465 h 517148"/>
              <a:gd name="connsiteX44" fmla="*/ 380672 w 1110949"/>
              <a:gd name="connsiteY44" fmla="*/ 166020 h 517148"/>
              <a:gd name="connsiteX45" fmla="*/ 370954 w 1110949"/>
              <a:gd name="connsiteY45" fmla="*/ 179324 h 517148"/>
              <a:gd name="connsiteX46" fmla="*/ 357649 w 1110949"/>
              <a:gd name="connsiteY46" fmla="*/ 170878 h 517148"/>
              <a:gd name="connsiteX47" fmla="*/ 339429 w 1110949"/>
              <a:gd name="connsiteY47" fmla="*/ 162317 h 517148"/>
              <a:gd name="connsiteX48" fmla="*/ 312820 w 1110949"/>
              <a:gd name="connsiteY48" fmla="*/ 161161 h 517148"/>
              <a:gd name="connsiteX49" fmla="*/ 297029 w 1110949"/>
              <a:gd name="connsiteY49" fmla="*/ 159946 h 517148"/>
              <a:gd name="connsiteX50" fmla="*/ 270420 w 1110949"/>
              <a:gd name="connsiteY50" fmla="*/ 168391 h 517148"/>
              <a:gd name="connsiteX51" fmla="*/ 244969 w 1110949"/>
              <a:gd name="connsiteY51" fmla="*/ 170878 h 517148"/>
              <a:gd name="connsiteX52" fmla="*/ 229235 w 1110949"/>
              <a:gd name="connsiteY52" fmla="*/ 170878 h 517148"/>
              <a:gd name="connsiteX53" fmla="*/ 221947 w 1110949"/>
              <a:gd name="connsiteY53" fmla="*/ 167177 h 517148"/>
              <a:gd name="connsiteX54" fmla="*/ 198809 w 1110949"/>
              <a:gd name="connsiteY54" fmla="*/ 147856 h 517148"/>
              <a:gd name="connsiteX55" fmla="*/ 167284 w 1110949"/>
              <a:gd name="connsiteY55" fmla="*/ 138139 h 517148"/>
              <a:gd name="connsiteX56" fmla="*/ 147907 w 1110949"/>
              <a:gd name="connsiteY56" fmla="*/ 138139 h 517148"/>
              <a:gd name="connsiteX57" fmla="*/ 133388 w 1110949"/>
              <a:gd name="connsiteY57" fmla="*/ 138139 h 517148"/>
              <a:gd name="connsiteX58" fmla="*/ 112795 w 1110949"/>
              <a:gd name="connsiteY58" fmla="*/ 144212 h 517148"/>
              <a:gd name="connsiteX59" fmla="*/ 83873 w 1110949"/>
              <a:gd name="connsiteY59" fmla="*/ 157516 h 517148"/>
              <a:gd name="connsiteX60" fmla="*/ 69354 w 1110949"/>
              <a:gd name="connsiteY60" fmla="*/ 170878 h 517148"/>
              <a:gd name="connsiteX61" fmla="*/ 62065 w 1110949"/>
              <a:gd name="connsiteY61" fmla="*/ 185397 h 517148"/>
              <a:gd name="connsiteX62" fmla="*/ 59636 w 1110949"/>
              <a:gd name="connsiteY62" fmla="*/ 202346 h 517148"/>
              <a:gd name="connsiteX63" fmla="*/ 37829 w 1110949"/>
              <a:gd name="connsiteY63" fmla="*/ 184125 h 517148"/>
              <a:gd name="connsiteX64" fmla="*/ 22095 w 1110949"/>
              <a:gd name="connsiteY64" fmla="*/ 193901 h 517148"/>
              <a:gd name="connsiteX65" fmla="*/ 7576 w 1110949"/>
              <a:gd name="connsiteY65" fmla="*/ 210849 h 517148"/>
              <a:gd name="connsiteX66" fmla="*/ 16021 w 1110949"/>
              <a:gd name="connsiteY66" fmla="*/ 224153 h 517148"/>
              <a:gd name="connsiteX67" fmla="*/ 6361 w 1110949"/>
              <a:gd name="connsiteY67" fmla="*/ 232656 h 517148"/>
              <a:gd name="connsiteX68" fmla="*/ 577 w 1110949"/>
              <a:gd name="connsiteY68" fmla="*/ 249605 h 517148"/>
              <a:gd name="connsiteX69" fmla="*/ 16311 w 1110949"/>
              <a:gd name="connsiteY69" fmla="*/ 260537 h 517148"/>
              <a:gd name="connsiteX70" fmla="*/ 21169 w 1110949"/>
              <a:gd name="connsiteY70" fmla="*/ 275056 h 517148"/>
              <a:gd name="connsiteX71" fmla="*/ 40547 w 1110949"/>
              <a:gd name="connsiteY71" fmla="*/ 273841 h 517148"/>
              <a:gd name="connsiteX72" fmla="*/ 57496 w 1110949"/>
              <a:gd name="connsiteY72" fmla="*/ 293219 h 517148"/>
              <a:gd name="connsiteX73" fmla="*/ 61140 w 1110949"/>
              <a:gd name="connsiteY73" fmla="*/ 310168 h 517148"/>
              <a:gd name="connsiteX74" fmla="*/ 66925 w 1110949"/>
              <a:gd name="connsiteY74" fmla="*/ 322315 h 517148"/>
              <a:gd name="connsiteX75" fmla="*/ 75774 w 1110949"/>
              <a:gd name="connsiteY75" fmla="*/ 327579 h 517148"/>
              <a:gd name="connsiteX76" fmla="*/ 80691 w 1110949"/>
              <a:gd name="connsiteY76" fmla="*/ 323877 h 517148"/>
              <a:gd name="connsiteX77" fmla="*/ 138015 w 1110949"/>
              <a:gd name="connsiteY77" fmla="*/ 305366 h 517148"/>
              <a:gd name="connsiteX78" fmla="*/ 180010 w 1110949"/>
              <a:gd name="connsiteY78" fmla="*/ 313407 h 517148"/>
              <a:gd name="connsiteX79" fmla="*/ 183249 w 1110949"/>
              <a:gd name="connsiteY79" fmla="*/ 353898 h 517148"/>
              <a:gd name="connsiteX80" fmla="*/ 156583 w 1110949"/>
              <a:gd name="connsiteY80" fmla="*/ 361186 h 517148"/>
              <a:gd name="connsiteX81" fmla="*/ 122686 w 1110949"/>
              <a:gd name="connsiteY81" fmla="*/ 373276 h 517148"/>
              <a:gd name="connsiteX82" fmla="*/ 118637 w 1110949"/>
              <a:gd name="connsiteY82" fmla="*/ 388662 h 517148"/>
              <a:gd name="connsiteX83" fmla="*/ 104870 w 1110949"/>
              <a:gd name="connsiteY83" fmla="*/ 397512 h 517148"/>
              <a:gd name="connsiteX84" fmla="*/ 125925 w 1110949"/>
              <a:gd name="connsiteY84" fmla="*/ 415271 h 517148"/>
              <a:gd name="connsiteX85" fmla="*/ 134776 w 1110949"/>
              <a:gd name="connsiteY85" fmla="*/ 436268 h 517148"/>
              <a:gd name="connsiteX86" fmla="*/ 154153 w 1110949"/>
              <a:gd name="connsiteY86" fmla="*/ 447837 h 517148"/>
              <a:gd name="connsiteX87" fmla="*/ 167111 w 1110949"/>
              <a:gd name="connsiteY87" fmla="*/ 461546 h 517148"/>
              <a:gd name="connsiteX88" fmla="*/ 175961 w 1110949"/>
              <a:gd name="connsiteY88" fmla="*/ 494691 h 517148"/>
              <a:gd name="connsiteX89" fmla="*/ 179373 w 1110949"/>
              <a:gd name="connsiteY89" fmla="*/ 476181 h 517148"/>
              <a:gd name="connsiteX90" fmla="*/ 207602 w 1110949"/>
              <a:gd name="connsiteY90" fmla="*/ 461315 h 517148"/>
              <a:gd name="connsiteX91" fmla="*/ 241036 w 1110949"/>
              <a:gd name="connsiteY91" fmla="*/ 487171 h 517148"/>
              <a:gd name="connsiteX92" fmla="*/ 260471 w 1110949"/>
              <a:gd name="connsiteY92" fmla="*/ 491509 h 517148"/>
              <a:gd name="connsiteX93" fmla="*/ 263710 w 1110949"/>
              <a:gd name="connsiteY93" fmla="*/ 370673 h 517148"/>
              <a:gd name="connsiteX94" fmla="*/ 332777 w 1110949"/>
              <a:gd name="connsiteY94" fmla="*/ 352278 h 517148"/>
              <a:gd name="connsiteX95" fmla="*/ 335033 w 1110949"/>
              <a:gd name="connsiteY95" fmla="*/ 347708 h 517148"/>
              <a:gd name="connsiteX96" fmla="*/ 360079 w 1110949"/>
              <a:gd name="connsiteY96" fmla="*/ 348518 h 517148"/>
              <a:gd name="connsiteX97" fmla="*/ 371648 w 1110949"/>
              <a:gd name="connsiteY97" fmla="*/ 335561 h 517148"/>
              <a:gd name="connsiteX98" fmla="*/ 378126 w 1110949"/>
              <a:gd name="connsiteY98" fmla="*/ 351700 h 517148"/>
              <a:gd name="connsiteX99" fmla="*/ 392645 w 1110949"/>
              <a:gd name="connsiteY99" fmla="*/ 387563 h 517148"/>
              <a:gd name="connsiteX100" fmla="*/ 424633 w 1110949"/>
              <a:gd name="connsiteY100" fmla="*/ 422270 h 517148"/>
              <a:gd name="connsiteX101" fmla="*/ 460208 w 1110949"/>
              <a:gd name="connsiteY101" fmla="*/ 420129 h 517148"/>
              <a:gd name="connsiteX102" fmla="*/ 515218 w 1110949"/>
              <a:gd name="connsiteY102" fmla="*/ 422270 h 517148"/>
              <a:gd name="connsiteX103" fmla="*/ 536794 w 1110949"/>
              <a:gd name="connsiteY103" fmla="*/ 438466 h 517148"/>
              <a:gd name="connsiteX104" fmla="*/ 543272 w 1110949"/>
              <a:gd name="connsiteY104" fmla="*/ 464323 h 517148"/>
              <a:gd name="connsiteX105" fmla="*/ 558369 w 1110949"/>
              <a:gd name="connsiteY105" fmla="*/ 492435 h 517148"/>
              <a:gd name="connsiteX106" fmla="*/ 582085 w 1110949"/>
              <a:gd name="connsiteY106" fmla="*/ 498856 h 517148"/>
              <a:gd name="connsiteX107" fmla="*/ 604703 w 1110949"/>
              <a:gd name="connsiteY107" fmla="*/ 512854 h 517148"/>
              <a:gd name="connsiteX108" fmla="*/ 617660 w 1110949"/>
              <a:gd name="connsiteY108" fmla="*/ 508573 h 517148"/>
              <a:gd name="connsiteX109" fmla="*/ 645714 w 1110949"/>
              <a:gd name="connsiteY109" fmla="*/ 486997 h 517148"/>
              <a:gd name="connsiteX110" fmla="*/ 661448 w 1110949"/>
              <a:gd name="connsiteY110" fmla="*/ 485494 h 517148"/>
              <a:gd name="connsiteX111" fmla="*/ 669720 w 1110949"/>
              <a:gd name="connsiteY111" fmla="*/ 470281 h 517148"/>
              <a:gd name="connsiteX112" fmla="*/ 686725 w 1110949"/>
              <a:gd name="connsiteY112" fmla="*/ 451713 h 517148"/>
              <a:gd name="connsiteX113" fmla="*/ 723804 w 1110949"/>
              <a:gd name="connsiteY113" fmla="*/ 450845 h 517148"/>
              <a:gd name="connsiteX114" fmla="*/ 748041 w 1110949"/>
              <a:gd name="connsiteY114" fmla="*/ 446854 h 517148"/>
              <a:gd name="connsiteX115" fmla="*/ 776326 w 1110949"/>
              <a:gd name="connsiteY115" fmla="*/ 435285 h 517148"/>
              <a:gd name="connsiteX116" fmla="*/ 812653 w 1110949"/>
              <a:gd name="connsiteY116" fmla="*/ 445812 h 517148"/>
              <a:gd name="connsiteX117" fmla="*/ 882934 w 1110949"/>
              <a:gd name="connsiteY117" fmla="*/ 449862 h 517148"/>
              <a:gd name="connsiteX118" fmla="*/ 908790 w 1110949"/>
              <a:gd name="connsiteY118" fmla="*/ 457150 h 517148"/>
              <a:gd name="connsiteX119" fmla="*/ 931927 w 1110949"/>
              <a:gd name="connsiteY119" fmla="*/ 466000 h 517148"/>
              <a:gd name="connsiteX120" fmla="*/ 931233 w 1110949"/>
              <a:gd name="connsiteY120" fmla="*/ 454894 h 517148"/>
              <a:gd name="connsiteX121" fmla="*/ 945752 w 1110949"/>
              <a:gd name="connsiteY121" fmla="*/ 434301 h 517148"/>
              <a:gd name="connsiteX122" fmla="*/ 934878 w 1110949"/>
              <a:gd name="connsiteY122" fmla="*/ 403991 h 517148"/>
              <a:gd name="connsiteX123" fmla="*/ 928746 w 1110949"/>
              <a:gd name="connsiteY123" fmla="*/ 380390 h 517148"/>
              <a:gd name="connsiteX124" fmla="*/ 944480 w 1110949"/>
              <a:gd name="connsiteY124" fmla="*/ 369689 h 517148"/>
              <a:gd name="connsiteX125" fmla="*/ 970220 w 1110949"/>
              <a:gd name="connsiteY125" fmla="*/ 364657 h 517148"/>
              <a:gd name="connsiteX126" fmla="*/ 989772 w 1110949"/>
              <a:gd name="connsiteY126" fmla="*/ 369689 h 517148"/>
              <a:gd name="connsiteX127" fmla="*/ 989772 w 1110949"/>
              <a:gd name="connsiteY127" fmla="*/ 356848 h 517148"/>
              <a:gd name="connsiteX128" fmla="*/ 1006547 w 1110949"/>
              <a:gd name="connsiteY128" fmla="*/ 304267 h 517148"/>
              <a:gd name="connsiteX129" fmla="*/ 1024999 w 1110949"/>
              <a:gd name="connsiteY129" fmla="*/ 304267 h 517148"/>
              <a:gd name="connsiteX130" fmla="*/ 1050162 w 1110949"/>
              <a:gd name="connsiteY130" fmla="*/ 306523 h 517148"/>
              <a:gd name="connsiteX131" fmla="*/ 1075844 w 1110949"/>
              <a:gd name="connsiteY131" fmla="*/ 297037 h 517148"/>
              <a:gd name="connsiteX132" fmla="*/ 1071969 w 1110949"/>
              <a:gd name="connsiteY132" fmla="*/ 275230 h 517148"/>
              <a:gd name="connsiteX133" fmla="*/ 1089843 w 1110949"/>
              <a:gd name="connsiteY133" fmla="*/ 254521 h 517148"/>
              <a:gd name="connsiteX134" fmla="*/ 1101412 w 1110949"/>
              <a:gd name="connsiteY134" fmla="*/ 239424 h 517148"/>
              <a:gd name="connsiteX135" fmla="*/ 1110840 w 1110949"/>
              <a:gd name="connsiteY135" fmla="*/ 222071 h 517148"/>
              <a:gd name="connsiteX136" fmla="*/ 1104188 w 1110949"/>
              <a:gd name="connsiteY136" fmla="*/ 212121 h 517148"/>
              <a:gd name="connsiteX137" fmla="*/ 412891 w 1110949"/>
              <a:gd name="connsiteY137" fmla="*/ 330471 h 517148"/>
              <a:gd name="connsiteX138" fmla="*/ 375060 w 1110949"/>
              <a:gd name="connsiteY138" fmla="*/ 320117 h 517148"/>
              <a:gd name="connsiteX139" fmla="*/ 412891 w 1110949"/>
              <a:gd name="connsiteY139" fmla="*/ 330471 h 517148"/>
              <a:gd name="connsiteX140" fmla="*/ 871538 w 1110949"/>
              <a:gd name="connsiteY140" fmla="*/ 327579 h 517148"/>
              <a:gd name="connsiteX141" fmla="*/ 778640 w 1110949"/>
              <a:gd name="connsiteY141" fmla="*/ 338106 h 517148"/>
              <a:gd name="connsiteX142" fmla="*/ 764179 w 1110949"/>
              <a:gd name="connsiteY142" fmla="*/ 372813 h 517148"/>
              <a:gd name="connsiteX143" fmla="*/ 760882 w 1110949"/>
              <a:gd name="connsiteY143" fmla="*/ 328331 h 517148"/>
              <a:gd name="connsiteX144" fmla="*/ 831220 w 1110949"/>
              <a:gd name="connsiteY144" fmla="*/ 317861 h 517148"/>
              <a:gd name="connsiteX145" fmla="*/ 899882 w 1110949"/>
              <a:gd name="connsiteY145" fmla="*/ 314622 h 517148"/>
              <a:gd name="connsiteX146" fmla="*/ 871538 w 1110949"/>
              <a:gd name="connsiteY146" fmla="*/ 327579 h 51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110949" h="517148">
                <a:moveTo>
                  <a:pt x="1104188" y="212121"/>
                </a:moveTo>
                <a:cubicBezTo>
                  <a:pt x="1103378" y="206337"/>
                  <a:pt x="1098404" y="208882"/>
                  <a:pt x="1094470" y="211312"/>
                </a:cubicBezTo>
                <a:cubicBezTo>
                  <a:pt x="1087471" y="213874"/>
                  <a:pt x="1080125" y="215245"/>
                  <a:pt x="1072663" y="215361"/>
                </a:cubicBezTo>
                <a:cubicBezTo>
                  <a:pt x="1067862" y="215361"/>
                  <a:pt x="1058954" y="208882"/>
                  <a:pt x="1058954" y="203792"/>
                </a:cubicBezTo>
                <a:cubicBezTo>
                  <a:pt x="1058954" y="198702"/>
                  <a:pt x="1057913" y="193496"/>
                  <a:pt x="1053170" y="193496"/>
                </a:cubicBezTo>
                <a:cubicBezTo>
                  <a:pt x="1048426" y="193496"/>
                  <a:pt x="1041022" y="191066"/>
                  <a:pt x="1036221" y="179555"/>
                </a:cubicBezTo>
                <a:cubicBezTo>
                  <a:pt x="1031420" y="168044"/>
                  <a:pt x="1024074" y="167986"/>
                  <a:pt x="1018868" y="165036"/>
                </a:cubicBezTo>
                <a:cubicBezTo>
                  <a:pt x="1013661" y="162086"/>
                  <a:pt x="998275" y="170473"/>
                  <a:pt x="991623" y="172845"/>
                </a:cubicBezTo>
                <a:cubicBezTo>
                  <a:pt x="984971" y="175217"/>
                  <a:pt x="973460" y="170473"/>
                  <a:pt x="964957" y="168623"/>
                </a:cubicBezTo>
                <a:cubicBezTo>
                  <a:pt x="956453" y="166772"/>
                  <a:pt x="951595" y="151674"/>
                  <a:pt x="943728" y="153525"/>
                </a:cubicBezTo>
                <a:cubicBezTo>
                  <a:pt x="935861" y="155376"/>
                  <a:pt x="934068" y="170878"/>
                  <a:pt x="927937" y="170878"/>
                </a:cubicBezTo>
                <a:cubicBezTo>
                  <a:pt x="921805" y="170878"/>
                  <a:pt x="911046" y="139353"/>
                  <a:pt x="899535" y="121769"/>
                </a:cubicBezTo>
                <a:cubicBezTo>
                  <a:pt x="888024" y="104184"/>
                  <a:pt x="867373" y="69072"/>
                  <a:pt x="849268" y="62420"/>
                </a:cubicBezTo>
                <a:cubicBezTo>
                  <a:pt x="831163" y="55768"/>
                  <a:pt x="836484" y="46687"/>
                  <a:pt x="841343" y="41828"/>
                </a:cubicBezTo>
                <a:cubicBezTo>
                  <a:pt x="846203" y="36969"/>
                  <a:pt x="830469" y="35754"/>
                  <a:pt x="823181" y="39977"/>
                </a:cubicBezTo>
                <a:cubicBezTo>
                  <a:pt x="815892" y="44199"/>
                  <a:pt x="806868" y="52066"/>
                  <a:pt x="798365" y="53917"/>
                </a:cubicBezTo>
                <a:cubicBezTo>
                  <a:pt x="789862" y="55768"/>
                  <a:pt x="777772" y="69072"/>
                  <a:pt x="768691" y="66007"/>
                </a:cubicBezTo>
                <a:cubicBezTo>
                  <a:pt x="759610" y="62941"/>
                  <a:pt x="755329" y="77576"/>
                  <a:pt x="748041" y="70866"/>
                </a:cubicBezTo>
                <a:cubicBezTo>
                  <a:pt x="740753" y="64156"/>
                  <a:pt x="757758" y="59297"/>
                  <a:pt x="757758" y="53512"/>
                </a:cubicBezTo>
                <a:cubicBezTo>
                  <a:pt x="757758" y="47728"/>
                  <a:pt x="746190" y="55305"/>
                  <a:pt x="743239" y="51661"/>
                </a:cubicBezTo>
                <a:cubicBezTo>
                  <a:pt x="740289" y="48017"/>
                  <a:pt x="730514" y="44373"/>
                  <a:pt x="730514" y="49868"/>
                </a:cubicBezTo>
                <a:cubicBezTo>
                  <a:pt x="730514" y="55363"/>
                  <a:pt x="722589" y="52240"/>
                  <a:pt x="722589" y="48017"/>
                </a:cubicBezTo>
                <a:cubicBezTo>
                  <a:pt x="722589" y="43795"/>
                  <a:pt x="717152" y="35928"/>
                  <a:pt x="712351" y="41423"/>
                </a:cubicBezTo>
                <a:cubicBezTo>
                  <a:pt x="707550" y="46918"/>
                  <a:pt x="691122" y="49868"/>
                  <a:pt x="687477" y="45646"/>
                </a:cubicBezTo>
                <a:cubicBezTo>
                  <a:pt x="683833" y="41423"/>
                  <a:pt x="689907" y="39572"/>
                  <a:pt x="690543" y="34077"/>
                </a:cubicBezTo>
                <a:cubicBezTo>
                  <a:pt x="691180" y="28581"/>
                  <a:pt x="684759" y="21409"/>
                  <a:pt x="685685" y="14699"/>
                </a:cubicBezTo>
                <a:cubicBezTo>
                  <a:pt x="686610" y="7989"/>
                  <a:pt x="674116" y="1395"/>
                  <a:pt x="668331" y="3824"/>
                </a:cubicBezTo>
                <a:cubicBezTo>
                  <a:pt x="661159" y="5484"/>
                  <a:pt x="653581" y="4408"/>
                  <a:pt x="647160" y="816"/>
                </a:cubicBezTo>
                <a:cubicBezTo>
                  <a:pt x="640450" y="-2249"/>
                  <a:pt x="614420" y="2609"/>
                  <a:pt x="613206" y="8683"/>
                </a:cubicBezTo>
                <a:cubicBezTo>
                  <a:pt x="611991" y="14757"/>
                  <a:pt x="579309" y="19558"/>
                  <a:pt x="573235" y="21987"/>
                </a:cubicBezTo>
                <a:cubicBezTo>
                  <a:pt x="560510" y="25221"/>
                  <a:pt x="547553" y="27656"/>
                  <a:pt x="534480" y="29276"/>
                </a:cubicBezTo>
                <a:cubicBezTo>
                  <a:pt x="525977" y="30433"/>
                  <a:pt x="517531" y="37721"/>
                  <a:pt x="506598" y="37721"/>
                </a:cubicBezTo>
                <a:cubicBezTo>
                  <a:pt x="495666" y="37721"/>
                  <a:pt x="475131" y="38936"/>
                  <a:pt x="465413" y="46224"/>
                </a:cubicBezTo>
                <a:cubicBezTo>
                  <a:pt x="455696" y="53512"/>
                  <a:pt x="439962" y="47439"/>
                  <a:pt x="432732" y="49868"/>
                </a:cubicBezTo>
                <a:cubicBezTo>
                  <a:pt x="425501" y="52298"/>
                  <a:pt x="413295" y="48653"/>
                  <a:pt x="409594" y="51083"/>
                </a:cubicBezTo>
                <a:cubicBezTo>
                  <a:pt x="405892" y="53512"/>
                  <a:pt x="407222" y="68031"/>
                  <a:pt x="410866" y="74221"/>
                </a:cubicBezTo>
                <a:cubicBezTo>
                  <a:pt x="414511" y="80410"/>
                  <a:pt x="434004" y="82666"/>
                  <a:pt x="435045" y="86368"/>
                </a:cubicBezTo>
                <a:cubicBezTo>
                  <a:pt x="436086" y="90070"/>
                  <a:pt x="415667" y="89954"/>
                  <a:pt x="406123" y="91169"/>
                </a:cubicBezTo>
                <a:cubicBezTo>
                  <a:pt x="396579" y="92384"/>
                  <a:pt x="398834" y="104473"/>
                  <a:pt x="401264" y="110547"/>
                </a:cubicBezTo>
                <a:cubicBezTo>
                  <a:pt x="403694" y="116620"/>
                  <a:pt x="391604" y="122694"/>
                  <a:pt x="384316" y="125066"/>
                </a:cubicBezTo>
                <a:cubicBezTo>
                  <a:pt x="377028" y="127437"/>
                  <a:pt x="384316" y="139643"/>
                  <a:pt x="391604" y="139643"/>
                </a:cubicBezTo>
                <a:cubicBezTo>
                  <a:pt x="398892" y="139643"/>
                  <a:pt x="404908" y="145427"/>
                  <a:pt x="410982" y="145427"/>
                </a:cubicBezTo>
                <a:cubicBezTo>
                  <a:pt x="417055" y="145427"/>
                  <a:pt x="418213" y="157516"/>
                  <a:pt x="418213" y="164805"/>
                </a:cubicBezTo>
                <a:cubicBezTo>
                  <a:pt x="418213" y="172093"/>
                  <a:pt x="410982" y="174465"/>
                  <a:pt x="401264" y="174465"/>
                </a:cubicBezTo>
                <a:cubicBezTo>
                  <a:pt x="391547" y="174465"/>
                  <a:pt x="386745" y="167177"/>
                  <a:pt x="380672" y="166020"/>
                </a:cubicBezTo>
                <a:cubicBezTo>
                  <a:pt x="374598" y="164863"/>
                  <a:pt x="375812" y="176894"/>
                  <a:pt x="370954" y="179324"/>
                </a:cubicBezTo>
                <a:cubicBezTo>
                  <a:pt x="366095" y="181753"/>
                  <a:pt x="365169" y="170878"/>
                  <a:pt x="357649" y="170878"/>
                </a:cubicBezTo>
                <a:cubicBezTo>
                  <a:pt x="350130" y="170878"/>
                  <a:pt x="341916" y="169664"/>
                  <a:pt x="339429" y="162317"/>
                </a:cubicBezTo>
                <a:cubicBezTo>
                  <a:pt x="336941" y="154971"/>
                  <a:pt x="320108" y="153872"/>
                  <a:pt x="312820" y="161161"/>
                </a:cubicBezTo>
                <a:cubicBezTo>
                  <a:pt x="305532" y="168449"/>
                  <a:pt x="303102" y="164805"/>
                  <a:pt x="297029" y="159946"/>
                </a:cubicBezTo>
                <a:cubicBezTo>
                  <a:pt x="290955" y="155087"/>
                  <a:pt x="272792" y="162317"/>
                  <a:pt x="270420" y="168391"/>
                </a:cubicBezTo>
                <a:cubicBezTo>
                  <a:pt x="268049" y="174465"/>
                  <a:pt x="254687" y="176894"/>
                  <a:pt x="244969" y="170878"/>
                </a:cubicBezTo>
                <a:cubicBezTo>
                  <a:pt x="235251" y="164863"/>
                  <a:pt x="229235" y="162317"/>
                  <a:pt x="229235" y="170878"/>
                </a:cubicBezTo>
                <a:cubicBezTo>
                  <a:pt x="229235" y="179439"/>
                  <a:pt x="221947" y="172035"/>
                  <a:pt x="221947" y="167177"/>
                </a:cubicBezTo>
                <a:cubicBezTo>
                  <a:pt x="221947" y="162317"/>
                  <a:pt x="206213" y="152715"/>
                  <a:pt x="198809" y="147856"/>
                </a:cubicBezTo>
                <a:cubicBezTo>
                  <a:pt x="191405" y="142997"/>
                  <a:pt x="168499" y="142997"/>
                  <a:pt x="167284" y="138139"/>
                </a:cubicBezTo>
                <a:cubicBezTo>
                  <a:pt x="166069" y="133280"/>
                  <a:pt x="151550" y="129635"/>
                  <a:pt x="147907" y="138139"/>
                </a:cubicBezTo>
                <a:cubicBezTo>
                  <a:pt x="144262" y="146642"/>
                  <a:pt x="138246" y="140568"/>
                  <a:pt x="133388" y="138139"/>
                </a:cubicBezTo>
                <a:cubicBezTo>
                  <a:pt x="128528" y="135709"/>
                  <a:pt x="117653" y="141725"/>
                  <a:pt x="112795" y="144212"/>
                </a:cubicBezTo>
                <a:cubicBezTo>
                  <a:pt x="107936" y="146700"/>
                  <a:pt x="92202" y="157516"/>
                  <a:pt x="83873" y="157516"/>
                </a:cubicBezTo>
                <a:cubicBezTo>
                  <a:pt x="75543" y="157516"/>
                  <a:pt x="80228" y="168391"/>
                  <a:pt x="69354" y="170878"/>
                </a:cubicBezTo>
                <a:cubicBezTo>
                  <a:pt x="58479" y="173366"/>
                  <a:pt x="60851" y="180539"/>
                  <a:pt x="62065" y="185397"/>
                </a:cubicBezTo>
                <a:cubicBezTo>
                  <a:pt x="63280" y="190256"/>
                  <a:pt x="69354" y="198702"/>
                  <a:pt x="59636" y="202346"/>
                </a:cubicBezTo>
                <a:cubicBezTo>
                  <a:pt x="49918" y="205990"/>
                  <a:pt x="46332" y="190256"/>
                  <a:pt x="37829" y="184125"/>
                </a:cubicBezTo>
                <a:cubicBezTo>
                  <a:pt x="29326" y="177993"/>
                  <a:pt x="22095" y="185397"/>
                  <a:pt x="22095" y="193901"/>
                </a:cubicBezTo>
                <a:cubicBezTo>
                  <a:pt x="22095" y="202404"/>
                  <a:pt x="12377" y="202346"/>
                  <a:pt x="7576" y="210849"/>
                </a:cubicBezTo>
                <a:cubicBezTo>
                  <a:pt x="2775" y="219352"/>
                  <a:pt x="16021" y="220509"/>
                  <a:pt x="16021" y="224153"/>
                </a:cubicBezTo>
                <a:cubicBezTo>
                  <a:pt x="16021" y="227797"/>
                  <a:pt x="8791" y="231441"/>
                  <a:pt x="6361" y="232656"/>
                </a:cubicBezTo>
                <a:cubicBezTo>
                  <a:pt x="3932" y="233871"/>
                  <a:pt x="-2142" y="245960"/>
                  <a:pt x="577" y="249605"/>
                </a:cubicBezTo>
                <a:cubicBezTo>
                  <a:pt x="3296" y="253249"/>
                  <a:pt x="17525" y="252034"/>
                  <a:pt x="16311" y="260537"/>
                </a:cubicBezTo>
                <a:cubicBezTo>
                  <a:pt x="15096" y="269040"/>
                  <a:pt x="13939" y="277485"/>
                  <a:pt x="21169" y="275056"/>
                </a:cubicBezTo>
                <a:cubicBezTo>
                  <a:pt x="27532" y="273512"/>
                  <a:pt x="34069" y="273101"/>
                  <a:pt x="40547" y="273841"/>
                </a:cubicBezTo>
                <a:cubicBezTo>
                  <a:pt x="45406" y="273841"/>
                  <a:pt x="49050" y="283501"/>
                  <a:pt x="57496" y="293219"/>
                </a:cubicBezTo>
                <a:cubicBezTo>
                  <a:pt x="65941" y="302937"/>
                  <a:pt x="69643" y="307738"/>
                  <a:pt x="61140" y="310168"/>
                </a:cubicBezTo>
                <a:cubicBezTo>
                  <a:pt x="52636" y="312597"/>
                  <a:pt x="56281" y="317456"/>
                  <a:pt x="66925" y="322315"/>
                </a:cubicBezTo>
                <a:cubicBezTo>
                  <a:pt x="70048" y="323778"/>
                  <a:pt x="72998" y="325543"/>
                  <a:pt x="75774" y="327579"/>
                </a:cubicBezTo>
                <a:cubicBezTo>
                  <a:pt x="77510" y="326456"/>
                  <a:pt x="79130" y="325219"/>
                  <a:pt x="80691" y="323877"/>
                </a:cubicBezTo>
                <a:cubicBezTo>
                  <a:pt x="94401" y="311787"/>
                  <a:pt x="119447" y="300739"/>
                  <a:pt x="138015" y="305366"/>
                </a:cubicBezTo>
                <a:cubicBezTo>
                  <a:pt x="156583" y="309994"/>
                  <a:pt x="171911" y="302127"/>
                  <a:pt x="180010" y="313407"/>
                </a:cubicBezTo>
                <a:cubicBezTo>
                  <a:pt x="188108" y="324686"/>
                  <a:pt x="180010" y="345742"/>
                  <a:pt x="183249" y="353898"/>
                </a:cubicBezTo>
                <a:cubicBezTo>
                  <a:pt x="186488" y="362054"/>
                  <a:pt x="168672" y="362806"/>
                  <a:pt x="156583" y="361186"/>
                </a:cubicBezTo>
                <a:cubicBezTo>
                  <a:pt x="144493" y="359566"/>
                  <a:pt x="119389" y="366045"/>
                  <a:pt x="122686" y="373276"/>
                </a:cubicBezTo>
                <a:cubicBezTo>
                  <a:pt x="125983" y="380506"/>
                  <a:pt x="134776" y="397512"/>
                  <a:pt x="118637" y="388662"/>
                </a:cubicBezTo>
                <a:cubicBezTo>
                  <a:pt x="102498" y="379812"/>
                  <a:pt x="96020" y="397512"/>
                  <a:pt x="104870" y="397512"/>
                </a:cubicBezTo>
                <a:cubicBezTo>
                  <a:pt x="113720" y="397512"/>
                  <a:pt x="125925" y="408040"/>
                  <a:pt x="125925" y="415271"/>
                </a:cubicBezTo>
                <a:cubicBezTo>
                  <a:pt x="125925" y="422501"/>
                  <a:pt x="126677" y="438698"/>
                  <a:pt x="134776" y="436268"/>
                </a:cubicBezTo>
                <a:cubicBezTo>
                  <a:pt x="142873" y="433839"/>
                  <a:pt x="142873" y="448415"/>
                  <a:pt x="154153" y="447837"/>
                </a:cubicBezTo>
                <a:cubicBezTo>
                  <a:pt x="165433" y="447258"/>
                  <a:pt x="175961" y="451076"/>
                  <a:pt x="167111" y="461546"/>
                </a:cubicBezTo>
                <a:cubicBezTo>
                  <a:pt x="158260" y="472016"/>
                  <a:pt x="172895" y="501111"/>
                  <a:pt x="175961" y="494691"/>
                </a:cubicBezTo>
                <a:cubicBezTo>
                  <a:pt x="178043" y="490584"/>
                  <a:pt x="175961" y="481792"/>
                  <a:pt x="179373" y="476181"/>
                </a:cubicBezTo>
                <a:cubicBezTo>
                  <a:pt x="173069" y="461315"/>
                  <a:pt x="199851" y="461315"/>
                  <a:pt x="207602" y="461315"/>
                </a:cubicBezTo>
                <a:cubicBezTo>
                  <a:pt x="216220" y="461315"/>
                  <a:pt x="231375" y="474214"/>
                  <a:pt x="241036" y="487171"/>
                </a:cubicBezTo>
                <a:cubicBezTo>
                  <a:pt x="250695" y="500128"/>
                  <a:pt x="260471" y="491509"/>
                  <a:pt x="260471" y="491509"/>
                </a:cubicBezTo>
                <a:lnTo>
                  <a:pt x="263710" y="370673"/>
                </a:lnTo>
                <a:lnTo>
                  <a:pt x="332777" y="352278"/>
                </a:lnTo>
                <a:cubicBezTo>
                  <a:pt x="333355" y="350682"/>
                  <a:pt x="334107" y="349149"/>
                  <a:pt x="335033" y="347708"/>
                </a:cubicBezTo>
                <a:cubicBezTo>
                  <a:pt x="343998" y="334751"/>
                  <a:pt x="355914" y="345452"/>
                  <a:pt x="360079" y="348518"/>
                </a:cubicBezTo>
                <a:cubicBezTo>
                  <a:pt x="364244" y="351584"/>
                  <a:pt x="361699" y="334751"/>
                  <a:pt x="371648" y="335561"/>
                </a:cubicBezTo>
                <a:cubicBezTo>
                  <a:pt x="381597" y="336371"/>
                  <a:pt x="370896" y="351700"/>
                  <a:pt x="378126" y="351700"/>
                </a:cubicBezTo>
                <a:cubicBezTo>
                  <a:pt x="383911" y="351700"/>
                  <a:pt x="396694" y="371772"/>
                  <a:pt x="392645" y="387563"/>
                </a:cubicBezTo>
                <a:cubicBezTo>
                  <a:pt x="403404" y="396413"/>
                  <a:pt x="422840" y="417180"/>
                  <a:pt x="424633" y="422270"/>
                </a:cubicBezTo>
                <a:cubicBezTo>
                  <a:pt x="426774" y="428748"/>
                  <a:pt x="454770" y="417989"/>
                  <a:pt x="460208" y="420129"/>
                </a:cubicBezTo>
                <a:cubicBezTo>
                  <a:pt x="465645" y="422270"/>
                  <a:pt x="507640" y="422270"/>
                  <a:pt x="515218" y="422270"/>
                </a:cubicBezTo>
                <a:cubicBezTo>
                  <a:pt x="522795" y="422270"/>
                  <a:pt x="528117" y="436326"/>
                  <a:pt x="536794" y="438466"/>
                </a:cubicBezTo>
                <a:cubicBezTo>
                  <a:pt x="545470" y="440606"/>
                  <a:pt x="542173" y="454605"/>
                  <a:pt x="543272" y="464323"/>
                </a:cubicBezTo>
                <a:cubicBezTo>
                  <a:pt x="544371" y="474040"/>
                  <a:pt x="557270" y="483758"/>
                  <a:pt x="558369" y="492435"/>
                </a:cubicBezTo>
                <a:cubicBezTo>
                  <a:pt x="559468" y="501111"/>
                  <a:pt x="573467" y="496715"/>
                  <a:pt x="582085" y="498856"/>
                </a:cubicBezTo>
                <a:cubicBezTo>
                  <a:pt x="590704" y="500996"/>
                  <a:pt x="603661" y="504235"/>
                  <a:pt x="604703" y="512854"/>
                </a:cubicBezTo>
                <a:cubicBezTo>
                  <a:pt x="605743" y="521473"/>
                  <a:pt x="616618" y="515052"/>
                  <a:pt x="617660" y="508573"/>
                </a:cubicBezTo>
                <a:cubicBezTo>
                  <a:pt x="618701" y="502095"/>
                  <a:pt x="629517" y="493476"/>
                  <a:pt x="645714" y="486997"/>
                </a:cubicBezTo>
                <a:cubicBezTo>
                  <a:pt x="650573" y="484493"/>
                  <a:pt x="656184" y="483955"/>
                  <a:pt x="661448" y="485494"/>
                </a:cubicBezTo>
                <a:cubicBezTo>
                  <a:pt x="664456" y="477743"/>
                  <a:pt x="667232" y="471206"/>
                  <a:pt x="669720" y="470281"/>
                </a:cubicBezTo>
                <a:cubicBezTo>
                  <a:pt x="675504" y="467851"/>
                  <a:pt x="685858" y="459753"/>
                  <a:pt x="686725" y="451713"/>
                </a:cubicBezTo>
                <a:cubicBezTo>
                  <a:pt x="687593" y="443672"/>
                  <a:pt x="709285" y="443614"/>
                  <a:pt x="723804" y="450845"/>
                </a:cubicBezTo>
                <a:cubicBezTo>
                  <a:pt x="738323" y="458075"/>
                  <a:pt x="746942" y="458191"/>
                  <a:pt x="748041" y="446854"/>
                </a:cubicBezTo>
                <a:cubicBezTo>
                  <a:pt x="749140" y="435516"/>
                  <a:pt x="769848" y="432277"/>
                  <a:pt x="776326" y="435285"/>
                </a:cubicBezTo>
                <a:cubicBezTo>
                  <a:pt x="782805" y="438293"/>
                  <a:pt x="802935" y="449862"/>
                  <a:pt x="812653" y="445812"/>
                </a:cubicBezTo>
                <a:cubicBezTo>
                  <a:pt x="822371" y="441763"/>
                  <a:pt x="870844" y="446622"/>
                  <a:pt x="882934" y="449862"/>
                </a:cubicBezTo>
                <a:cubicBezTo>
                  <a:pt x="895023" y="453101"/>
                  <a:pt x="898320" y="445003"/>
                  <a:pt x="908790" y="457150"/>
                </a:cubicBezTo>
                <a:cubicBezTo>
                  <a:pt x="917582" y="467273"/>
                  <a:pt x="921921" y="458133"/>
                  <a:pt x="931927" y="466000"/>
                </a:cubicBezTo>
                <a:cubicBezTo>
                  <a:pt x="931927" y="462934"/>
                  <a:pt x="931233" y="459001"/>
                  <a:pt x="931233" y="454894"/>
                </a:cubicBezTo>
                <a:cubicBezTo>
                  <a:pt x="931233" y="447027"/>
                  <a:pt x="943381" y="440375"/>
                  <a:pt x="945752" y="434301"/>
                </a:cubicBezTo>
                <a:cubicBezTo>
                  <a:pt x="948124" y="428228"/>
                  <a:pt x="934878" y="410065"/>
                  <a:pt x="934878" y="403991"/>
                </a:cubicBezTo>
                <a:cubicBezTo>
                  <a:pt x="934878" y="397917"/>
                  <a:pt x="934878" y="383398"/>
                  <a:pt x="928746" y="380390"/>
                </a:cubicBezTo>
                <a:cubicBezTo>
                  <a:pt x="922615" y="377383"/>
                  <a:pt x="940315" y="369458"/>
                  <a:pt x="944480" y="369689"/>
                </a:cubicBezTo>
                <a:cubicBezTo>
                  <a:pt x="953503" y="370152"/>
                  <a:pt x="966287" y="360781"/>
                  <a:pt x="970220" y="364657"/>
                </a:cubicBezTo>
                <a:cubicBezTo>
                  <a:pt x="975947" y="368631"/>
                  <a:pt x="982889" y="370412"/>
                  <a:pt x="989772" y="369689"/>
                </a:cubicBezTo>
                <a:cubicBezTo>
                  <a:pt x="997581" y="369689"/>
                  <a:pt x="994226" y="360781"/>
                  <a:pt x="989772" y="356848"/>
                </a:cubicBezTo>
                <a:cubicBezTo>
                  <a:pt x="985318" y="352914"/>
                  <a:pt x="1003770" y="316357"/>
                  <a:pt x="1006547" y="304267"/>
                </a:cubicBezTo>
                <a:cubicBezTo>
                  <a:pt x="1009323" y="292178"/>
                  <a:pt x="1016033" y="303168"/>
                  <a:pt x="1024999" y="304267"/>
                </a:cubicBezTo>
                <a:cubicBezTo>
                  <a:pt x="1033965" y="305366"/>
                  <a:pt x="1044550" y="303747"/>
                  <a:pt x="1050162" y="306523"/>
                </a:cubicBezTo>
                <a:cubicBezTo>
                  <a:pt x="1055772" y="309300"/>
                  <a:pt x="1071969" y="303168"/>
                  <a:pt x="1075844" y="297037"/>
                </a:cubicBezTo>
                <a:cubicBezTo>
                  <a:pt x="1079720" y="290905"/>
                  <a:pt x="1071390" y="289170"/>
                  <a:pt x="1071969" y="275230"/>
                </a:cubicBezTo>
                <a:cubicBezTo>
                  <a:pt x="1072547" y="261289"/>
                  <a:pt x="1080877" y="254521"/>
                  <a:pt x="1089843" y="254521"/>
                </a:cubicBezTo>
                <a:cubicBezTo>
                  <a:pt x="1098808" y="254521"/>
                  <a:pt x="1101412" y="246134"/>
                  <a:pt x="1101412" y="239424"/>
                </a:cubicBezTo>
                <a:cubicBezTo>
                  <a:pt x="1101412" y="232714"/>
                  <a:pt x="1108700" y="229533"/>
                  <a:pt x="1110840" y="222071"/>
                </a:cubicBezTo>
                <a:cubicBezTo>
                  <a:pt x="1107774" y="219427"/>
                  <a:pt x="1105460" y="215985"/>
                  <a:pt x="1104188" y="212121"/>
                </a:cubicBezTo>
                <a:close/>
                <a:moveTo>
                  <a:pt x="412891" y="330471"/>
                </a:moveTo>
                <a:cubicBezTo>
                  <a:pt x="409652" y="334925"/>
                  <a:pt x="377722" y="326653"/>
                  <a:pt x="375060" y="320117"/>
                </a:cubicBezTo>
                <a:cubicBezTo>
                  <a:pt x="372400" y="313580"/>
                  <a:pt x="419890" y="320984"/>
                  <a:pt x="412891" y="330471"/>
                </a:cubicBezTo>
                <a:close/>
                <a:moveTo>
                  <a:pt x="871538" y="327579"/>
                </a:moveTo>
                <a:cubicBezTo>
                  <a:pt x="848979" y="327579"/>
                  <a:pt x="798886" y="316299"/>
                  <a:pt x="778640" y="338106"/>
                </a:cubicBezTo>
                <a:cubicBezTo>
                  <a:pt x="758395" y="359914"/>
                  <a:pt x="772856" y="371251"/>
                  <a:pt x="764179" y="372813"/>
                </a:cubicBezTo>
                <a:cubicBezTo>
                  <a:pt x="755502" y="374375"/>
                  <a:pt x="749602" y="339668"/>
                  <a:pt x="760882" y="328331"/>
                </a:cubicBezTo>
                <a:cubicBezTo>
                  <a:pt x="772162" y="316993"/>
                  <a:pt x="808546" y="312192"/>
                  <a:pt x="831220" y="317861"/>
                </a:cubicBezTo>
                <a:cubicBezTo>
                  <a:pt x="853896" y="323530"/>
                  <a:pt x="894213" y="313002"/>
                  <a:pt x="899882" y="314622"/>
                </a:cubicBezTo>
                <a:cubicBezTo>
                  <a:pt x="905551" y="316241"/>
                  <a:pt x="894213" y="327579"/>
                  <a:pt x="871538" y="32757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6" name="Forma libre: forma 225">
            <a:extLst>
              <a:ext uri="{FF2B5EF4-FFF2-40B4-BE49-F238E27FC236}">
                <a16:creationId xmlns:a16="http://schemas.microsoft.com/office/drawing/2014/main" id="{A1A07BA9-4017-858C-91B6-154C4A4CC68B}"/>
              </a:ext>
            </a:extLst>
          </p:cNvPr>
          <p:cNvSpPr/>
          <p:nvPr/>
        </p:nvSpPr>
        <p:spPr>
          <a:xfrm>
            <a:off x="6715785" y="1494159"/>
            <a:ext cx="4663705" cy="1782873"/>
          </a:xfrm>
          <a:custGeom>
            <a:avLst/>
            <a:gdLst>
              <a:gd name="connsiteX0" fmla="*/ 70634 w 4663705"/>
              <a:gd name="connsiteY0" fmla="*/ 1290818 h 1782873"/>
              <a:gd name="connsiteX1" fmla="*/ 54264 w 4663705"/>
              <a:gd name="connsiteY1" fmla="*/ 1285034 h 1782873"/>
              <a:gd name="connsiteX2" fmla="*/ 37605 w 4663705"/>
              <a:gd name="connsiteY2" fmla="*/ 1283530 h 1782873"/>
              <a:gd name="connsiteX3" fmla="*/ 41885 w 4663705"/>
              <a:gd name="connsiteY3" fmla="*/ 1287637 h 1782873"/>
              <a:gd name="connsiteX4" fmla="*/ 33035 w 4663705"/>
              <a:gd name="connsiteY4" fmla="*/ 1302561 h 1782873"/>
              <a:gd name="connsiteX5" fmla="*/ 20136 w 4663705"/>
              <a:gd name="connsiteY5" fmla="*/ 1302561 h 1782873"/>
              <a:gd name="connsiteX6" fmla="*/ 1568 w 4663705"/>
              <a:gd name="connsiteY6" fmla="*/ 1303775 h 1782873"/>
              <a:gd name="connsiteX7" fmla="*/ -110 w 4663705"/>
              <a:gd name="connsiteY7" fmla="*/ 1310254 h 1782873"/>
              <a:gd name="connsiteX8" fmla="*/ 13715 w 4663705"/>
              <a:gd name="connsiteY8" fmla="*/ 1315286 h 1782873"/>
              <a:gd name="connsiteX9" fmla="*/ 84748 w 4663705"/>
              <a:gd name="connsiteY9" fmla="*/ 1318294 h 1782873"/>
              <a:gd name="connsiteX10" fmla="*/ 85731 w 4663705"/>
              <a:gd name="connsiteY10" fmla="*/ 1300131 h 1782873"/>
              <a:gd name="connsiteX11" fmla="*/ 70634 w 4663705"/>
              <a:gd name="connsiteY11" fmla="*/ 1290818 h 1782873"/>
              <a:gd name="connsiteX12" fmla="*/ 1239088 w 4663705"/>
              <a:gd name="connsiteY12" fmla="*/ 46819 h 1782873"/>
              <a:gd name="connsiteX13" fmla="*/ 1252855 w 4663705"/>
              <a:gd name="connsiteY13" fmla="*/ 23392 h 1782873"/>
              <a:gd name="connsiteX14" fmla="*/ 1226189 w 4663705"/>
              <a:gd name="connsiteY14" fmla="*/ 32242 h 1782873"/>
              <a:gd name="connsiteX15" fmla="*/ 1193855 w 4663705"/>
              <a:gd name="connsiteY15" fmla="*/ 44389 h 1782873"/>
              <a:gd name="connsiteX16" fmla="*/ 1239320 w 4663705"/>
              <a:gd name="connsiteY16" fmla="*/ 46819 h 1782873"/>
              <a:gd name="connsiteX17" fmla="*/ 1394979 w 4663705"/>
              <a:gd name="connsiteY17" fmla="*/ 495864 h 1782873"/>
              <a:gd name="connsiteX18" fmla="*/ 1436974 w 4663705"/>
              <a:gd name="connsiteY18" fmla="*/ 486204 h 1782873"/>
              <a:gd name="connsiteX19" fmla="*/ 1407069 w 4663705"/>
              <a:gd name="connsiteY19" fmla="*/ 474057 h 1782873"/>
              <a:gd name="connsiteX20" fmla="*/ 1395210 w 4663705"/>
              <a:gd name="connsiteY20" fmla="*/ 495864 h 1782873"/>
              <a:gd name="connsiteX21" fmla="*/ 1991874 w 4663705"/>
              <a:gd name="connsiteY21" fmla="*/ 83145 h 1782873"/>
              <a:gd name="connsiteX22" fmla="*/ 1985396 w 4663705"/>
              <a:gd name="connsiteY22" fmla="*/ 93673 h 1782873"/>
              <a:gd name="connsiteX23" fmla="*/ 1966018 w 4663705"/>
              <a:gd name="connsiteY23" fmla="*/ 103333 h 1782873"/>
              <a:gd name="connsiteX24" fmla="*/ 1990254 w 4663705"/>
              <a:gd name="connsiteY24" fmla="*/ 119471 h 1782873"/>
              <a:gd name="connsiteX25" fmla="*/ 2022532 w 4663705"/>
              <a:gd name="connsiteY25" fmla="*/ 100093 h 1782873"/>
              <a:gd name="connsiteX26" fmla="*/ 2097729 w 4663705"/>
              <a:gd name="connsiteY26" fmla="*/ 77476 h 1782873"/>
              <a:gd name="connsiteX27" fmla="*/ 2105017 w 4663705"/>
              <a:gd name="connsiteY27" fmla="*/ 54859 h 1782873"/>
              <a:gd name="connsiteX28" fmla="*/ 2093738 w 4663705"/>
              <a:gd name="connsiteY28" fmla="*/ 41960 h 1782873"/>
              <a:gd name="connsiteX29" fmla="*/ 2073550 w 4663705"/>
              <a:gd name="connsiteY29" fmla="*/ 13674 h 1782873"/>
              <a:gd name="connsiteX30" fmla="*/ 2033927 w 4663705"/>
              <a:gd name="connsiteY30" fmla="*/ 27441 h 1782873"/>
              <a:gd name="connsiteX31" fmla="*/ 2003211 w 4663705"/>
              <a:gd name="connsiteY31" fmla="*/ 46009 h 1782873"/>
              <a:gd name="connsiteX32" fmla="*/ 1991122 w 4663705"/>
              <a:gd name="connsiteY32" fmla="*/ 64635 h 1782873"/>
              <a:gd name="connsiteX33" fmla="*/ 1992106 w 4663705"/>
              <a:gd name="connsiteY33" fmla="*/ 83145 h 1782873"/>
              <a:gd name="connsiteX34" fmla="*/ 2034679 w 4663705"/>
              <a:gd name="connsiteY34" fmla="*/ 105762 h 1782873"/>
              <a:gd name="connsiteX35" fmla="*/ 2016053 w 4663705"/>
              <a:gd name="connsiteY35" fmla="*/ 129999 h 1782873"/>
              <a:gd name="connsiteX36" fmla="*/ 2036298 w 4663705"/>
              <a:gd name="connsiteY36" fmla="*/ 135783 h 1782873"/>
              <a:gd name="connsiteX37" fmla="*/ 2062907 w 4663705"/>
              <a:gd name="connsiteY37" fmla="*/ 154409 h 1782873"/>
              <a:gd name="connsiteX38" fmla="*/ 2140476 w 4663705"/>
              <a:gd name="connsiteY38" fmla="*/ 170548 h 1782873"/>
              <a:gd name="connsiteX39" fmla="*/ 2159044 w 4663705"/>
              <a:gd name="connsiteY39" fmla="*/ 150360 h 1782873"/>
              <a:gd name="connsiteX40" fmla="*/ 2171134 w 4663705"/>
              <a:gd name="connsiteY40" fmla="*/ 119645 h 1782873"/>
              <a:gd name="connsiteX41" fmla="*/ 2130643 w 4663705"/>
              <a:gd name="connsiteY41" fmla="*/ 101887 h 1782873"/>
              <a:gd name="connsiteX42" fmla="*/ 2110455 w 4663705"/>
              <a:gd name="connsiteY42" fmla="*/ 89797 h 1782873"/>
              <a:gd name="connsiteX43" fmla="*/ 2034910 w 4663705"/>
              <a:gd name="connsiteY43" fmla="*/ 105762 h 1782873"/>
              <a:gd name="connsiteX44" fmla="*/ 1630810 w 4663705"/>
              <a:gd name="connsiteY44" fmla="*/ 508011 h 1782873"/>
              <a:gd name="connsiteX45" fmla="*/ 1651807 w 4663705"/>
              <a:gd name="connsiteY45" fmla="*/ 499103 h 1782873"/>
              <a:gd name="connsiteX46" fmla="*/ 1631041 w 4663705"/>
              <a:gd name="connsiteY46" fmla="*/ 508011 h 1782873"/>
              <a:gd name="connsiteX47" fmla="*/ 1970877 w 4663705"/>
              <a:gd name="connsiteY47" fmla="*/ 25821 h 1782873"/>
              <a:gd name="connsiteX48" fmla="*/ 1934492 w 4663705"/>
              <a:gd name="connsiteY48" fmla="*/ 30623 h 1782873"/>
              <a:gd name="connsiteX49" fmla="*/ 1971108 w 4663705"/>
              <a:gd name="connsiteY49" fmla="*/ 25821 h 1782873"/>
              <a:gd name="connsiteX50" fmla="*/ 4347929 w 4663705"/>
              <a:gd name="connsiteY50" fmla="*/ 611379 h 1782873"/>
              <a:gd name="connsiteX51" fmla="*/ 4386685 w 4663705"/>
              <a:gd name="connsiteY51" fmla="*/ 610569 h 1782873"/>
              <a:gd name="connsiteX52" fmla="*/ 4444067 w 4663705"/>
              <a:gd name="connsiteY52" fmla="*/ 604091 h 1782873"/>
              <a:gd name="connsiteX53" fmla="*/ 4414162 w 4663705"/>
              <a:gd name="connsiteY53" fmla="*/ 580953 h 1782873"/>
              <a:gd name="connsiteX54" fmla="*/ 4348161 w 4663705"/>
              <a:gd name="connsiteY54" fmla="*/ 611379 h 1782873"/>
              <a:gd name="connsiteX55" fmla="*/ 2160143 w 4663705"/>
              <a:gd name="connsiteY55" fmla="*/ 219658 h 1782873"/>
              <a:gd name="connsiteX56" fmla="*/ 2231986 w 4663705"/>
              <a:gd name="connsiteY56" fmla="*/ 212369 h 1782873"/>
              <a:gd name="connsiteX57" fmla="*/ 2326503 w 4663705"/>
              <a:gd name="connsiteY57" fmla="*/ 180902 h 1782873"/>
              <a:gd name="connsiteX58" fmla="*/ 2290987 w 4663705"/>
              <a:gd name="connsiteY58" fmla="*/ 157764 h 1782873"/>
              <a:gd name="connsiteX59" fmla="*/ 2251364 w 4663705"/>
              <a:gd name="connsiteY59" fmla="*/ 165805 h 1782873"/>
              <a:gd name="connsiteX60" fmla="*/ 2254603 w 4663705"/>
              <a:gd name="connsiteY60" fmla="*/ 151286 h 1782873"/>
              <a:gd name="connsiteX61" fmla="*/ 2238464 w 4663705"/>
              <a:gd name="connsiteY61" fmla="*/ 133527 h 1782873"/>
              <a:gd name="connsiteX62" fmla="*/ 2209542 w 4663705"/>
              <a:gd name="connsiteY62" fmla="*/ 143997 h 1782873"/>
              <a:gd name="connsiteX63" fmla="*/ 2199824 w 4663705"/>
              <a:gd name="connsiteY63" fmla="*/ 165805 h 1782873"/>
              <a:gd name="connsiteX64" fmla="*/ 2179694 w 4663705"/>
              <a:gd name="connsiteY64" fmla="*/ 181191 h 1782873"/>
              <a:gd name="connsiteX65" fmla="*/ 2160143 w 4663705"/>
              <a:gd name="connsiteY65" fmla="*/ 219658 h 1782873"/>
              <a:gd name="connsiteX66" fmla="*/ 3202034 w 4663705"/>
              <a:gd name="connsiteY66" fmla="*/ 386018 h 1782873"/>
              <a:gd name="connsiteX67" fmla="*/ 3223784 w 4663705"/>
              <a:gd name="connsiteY67" fmla="*/ 403834 h 1782873"/>
              <a:gd name="connsiteX68" fmla="*/ 3264275 w 4663705"/>
              <a:gd name="connsiteY68" fmla="*/ 397355 h 1782873"/>
              <a:gd name="connsiteX69" fmla="*/ 3290073 w 4663705"/>
              <a:gd name="connsiteY69" fmla="*/ 402214 h 1782873"/>
              <a:gd name="connsiteX70" fmla="*/ 3338604 w 4663705"/>
              <a:gd name="connsiteY70" fmla="*/ 397355 h 1782873"/>
              <a:gd name="connsiteX71" fmla="*/ 3336175 w 4663705"/>
              <a:gd name="connsiteY71" fmla="*/ 365830 h 1782873"/>
              <a:gd name="connsiteX72" fmla="*/ 3350694 w 4663705"/>
              <a:gd name="connsiteY72" fmla="*/ 370689 h 1782873"/>
              <a:gd name="connsiteX73" fmla="*/ 3386211 w 4663705"/>
              <a:gd name="connsiteY73" fmla="*/ 395736 h 1782873"/>
              <a:gd name="connsiteX74" fmla="*/ 3405646 w 4663705"/>
              <a:gd name="connsiteY74" fmla="*/ 372309 h 1782873"/>
              <a:gd name="connsiteX75" fmla="*/ 3398358 w 4663705"/>
              <a:gd name="connsiteY75" fmla="*/ 349171 h 1782873"/>
              <a:gd name="connsiteX76" fmla="*/ 3339356 w 4663705"/>
              <a:gd name="connsiteY76" fmla="*/ 337602 h 1782873"/>
              <a:gd name="connsiteX77" fmla="*/ 3300601 w 4663705"/>
              <a:gd name="connsiteY77" fmla="*/ 347262 h 1782873"/>
              <a:gd name="connsiteX78" fmla="*/ 3248079 w 4663705"/>
              <a:gd name="connsiteY78" fmla="*/ 322216 h 1782873"/>
              <a:gd name="connsiteX79" fmla="*/ 3202034 w 4663705"/>
              <a:gd name="connsiteY79" fmla="*/ 386018 h 1782873"/>
              <a:gd name="connsiteX80" fmla="*/ 3370824 w 4663705"/>
              <a:gd name="connsiteY80" fmla="*/ 489443 h 1782873"/>
              <a:gd name="connsiteX81" fmla="*/ 3335308 w 4663705"/>
              <a:gd name="connsiteY81" fmla="*/ 455489 h 1782873"/>
              <a:gd name="connsiteX82" fmla="*/ 3290016 w 4663705"/>
              <a:gd name="connsiteY82" fmla="*/ 476486 h 1782873"/>
              <a:gd name="connsiteX83" fmla="*/ 3370824 w 4663705"/>
              <a:gd name="connsiteY83" fmla="*/ 489443 h 1782873"/>
              <a:gd name="connsiteX84" fmla="*/ 3306212 w 4663705"/>
              <a:gd name="connsiteY84" fmla="*/ 436111 h 1782873"/>
              <a:gd name="connsiteX85" fmla="*/ 3280413 w 4663705"/>
              <a:gd name="connsiteY85" fmla="*/ 446639 h 1782873"/>
              <a:gd name="connsiteX86" fmla="*/ 3306212 w 4663705"/>
              <a:gd name="connsiteY86" fmla="*/ 436111 h 1782873"/>
              <a:gd name="connsiteX87" fmla="*/ 3446774 w 4663705"/>
              <a:gd name="connsiteY87" fmla="*/ 385208 h 1782873"/>
              <a:gd name="connsiteX88" fmla="*/ 3513005 w 4663705"/>
              <a:gd name="connsiteY88" fmla="*/ 407883 h 1782873"/>
              <a:gd name="connsiteX89" fmla="*/ 3578427 w 4663705"/>
              <a:gd name="connsiteY89" fmla="*/ 394926 h 1782873"/>
              <a:gd name="connsiteX90" fmla="*/ 3534003 w 4663705"/>
              <a:gd name="connsiteY90" fmla="*/ 381217 h 1782873"/>
              <a:gd name="connsiteX91" fmla="*/ 3502478 w 4663705"/>
              <a:gd name="connsiteY91" fmla="*/ 374738 h 1782873"/>
              <a:gd name="connsiteX92" fmla="*/ 3465341 w 4663705"/>
              <a:gd name="connsiteY92" fmla="*/ 366640 h 1782873"/>
              <a:gd name="connsiteX93" fmla="*/ 3446774 w 4663705"/>
              <a:gd name="connsiteY93" fmla="*/ 385208 h 1782873"/>
              <a:gd name="connsiteX94" fmla="*/ 748164 w 4663705"/>
              <a:gd name="connsiteY94" fmla="*/ 57289 h 1782873"/>
              <a:gd name="connsiteX95" fmla="*/ 794439 w 4663705"/>
              <a:gd name="connsiteY95" fmla="*/ 48381 h 1782873"/>
              <a:gd name="connsiteX96" fmla="*/ 746024 w 4663705"/>
              <a:gd name="connsiteY96" fmla="*/ 45199 h 1782873"/>
              <a:gd name="connsiteX97" fmla="*/ 704029 w 4663705"/>
              <a:gd name="connsiteY97" fmla="*/ 55669 h 1782873"/>
              <a:gd name="connsiteX98" fmla="*/ 748164 w 4663705"/>
              <a:gd name="connsiteY98" fmla="*/ 57289 h 1782873"/>
              <a:gd name="connsiteX99" fmla="*/ 3364346 w 4663705"/>
              <a:gd name="connsiteY99" fmla="*/ 1422414 h 1782873"/>
              <a:gd name="connsiteX100" fmla="*/ 3361106 w 4663705"/>
              <a:gd name="connsiteY100" fmla="*/ 1364223 h 1782873"/>
              <a:gd name="connsiteX101" fmla="*/ 3343290 w 4663705"/>
              <a:gd name="connsiteY101" fmla="*/ 1331946 h 1782873"/>
              <a:gd name="connsiteX102" fmla="*/ 3330391 w 4663705"/>
              <a:gd name="connsiteY102" fmla="*/ 1360231 h 1782873"/>
              <a:gd name="connsiteX103" fmla="*/ 3324607 w 4663705"/>
              <a:gd name="connsiteY103" fmla="*/ 1390137 h 1782873"/>
              <a:gd name="connsiteX104" fmla="*/ 3333514 w 4663705"/>
              <a:gd name="connsiteY104" fmla="*/ 1444221 h 1782873"/>
              <a:gd name="connsiteX105" fmla="*/ 3331085 w 4663705"/>
              <a:gd name="connsiteY105" fmla="*/ 1549267 h 1782873"/>
              <a:gd name="connsiteX106" fmla="*/ 3326226 w 4663705"/>
              <a:gd name="connsiteY106" fmla="*/ 1625968 h 1782873"/>
              <a:gd name="connsiteX107" fmla="*/ 3343984 w 4663705"/>
              <a:gd name="connsiteY107" fmla="*/ 1608210 h 1782873"/>
              <a:gd name="connsiteX108" fmla="*/ 3367122 w 4663705"/>
              <a:gd name="connsiteY108" fmla="*/ 1628398 h 1782873"/>
              <a:gd name="connsiteX109" fmla="*/ 3362321 w 4663705"/>
              <a:gd name="connsiteY109" fmla="*/ 1604161 h 1782873"/>
              <a:gd name="connsiteX110" fmla="*/ 3343695 w 4663705"/>
              <a:gd name="connsiteY110" fmla="*/ 1571826 h 1782873"/>
              <a:gd name="connsiteX111" fmla="*/ 3351793 w 4663705"/>
              <a:gd name="connsiteY111" fmla="*/ 1527402 h 1782873"/>
              <a:gd name="connsiteX112" fmla="*/ 3384128 w 4663705"/>
              <a:gd name="connsiteY112" fmla="*/ 1524162 h 1782873"/>
              <a:gd name="connsiteX113" fmla="*/ 3392978 w 4663705"/>
              <a:gd name="connsiteY113" fmla="*/ 1519361 h 1782873"/>
              <a:gd name="connsiteX114" fmla="*/ 3364403 w 4663705"/>
              <a:gd name="connsiteY114" fmla="*/ 1422298 h 1782873"/>
              <a:gd name="connsiteX115" fmla="*/ 824172 w 4663705"/>
              <a:gd name="connsiteY115" fmla="*/ 50058 h 1782873"/>
              <a:gd name="connsiteX116" fmla="*/ 787035 w 4663705"/>
              <a:gd name="connsiteY116" fmla="*/ 63767 h 1782873"/>
              <a:gd name="connsiteX117" fmla="*/ 761179 w 4663705"/>
              <a:gd name="connsiteY117" fmla="*/ 78286 h 1782873"/>
              <a:gd name="connsiteX118" fmla="*/ 806413 w 4663705"/>
              <a:gd name="connsiteY118" fmla="*/ 80716 h 1782873"/>
              <a:gd name="connsiteX119" fmla="*/ 828220 w 4663705"/>
              <a:gd name="connsiteY119" fmla="*/ 72617 h 1782873"/>
              <a:gd name="connsiteX120" fmla="*/ 860498 w 4663705"/>
              <a:gd name="connsiteY120" fmla="*/ 55669 h 1782873"/>
              <a:gd name="connsiteX121" fmla="*/ 862117 w 4663705"/>
              <a:gd name="connsiteY121" fmla="*/ 36291 h 1782873"/>
              <a:gd name="connsiteX122" fmla="*/ 824172 w 4663705"/>
              <a:gd name="connsiteY122" fmla="*/ 50058 h 1782873"/>
              <a:gd name="connsiteX123" fmla="*/ 789465 w 4663705"/>
              <a:gd name="connsiteY123" fmla="*/ 702657 h 1782873"/>
              <a:gd name="connsiteX124" fmla="*/ 840368 w 4663705"/>
              <a:gd name="connsiteY124" fmla="*/ 692130 h 1782873"/>
              <a:gd name="connsiteX125" fmla="*/ 816131 w 4663705"/>
              <a:gd name="connsiteY125" fmla="*/ 674372 h 1782873"/>
              <a:gd name="connsiteX126" fmla="*/ 789407 w 4663705"/>
              <a:gd name="connsiteY126" fmla="*/ 702657 h 1782873"/>
              <a:gd name="connsiteX127" fmla="*/ 4658438 w 4663705"/>
              <a:gd name="connsiteY127" fmla="*/ 840327 h 1782873"/>
              <a:gd name="connsiteX128" fmla="*/ 4617947 w 4663705"/>
              <a:gd name="connsiteY128" fmla="*/ 811405 h 1782873"/>
              <a:gd name="connsiteX129" fmla="*/ 4580406 w 4663705"/>
              <a:gd name="connsiteY129" fmla="*/ 802555 h 1782873"/>
              <a:gd name="connsiteX130" fmla="*/ 4567911 w 4663705"/>
              <a:gd name="connsiteY130" fmla="*/ 796076 h 1782873"/>
              <a:gd name="connsiteX131" fmla="*/ 4532337 w 4663705"/>
              <a:gd name="connsiteY131" fmla="*/ 795613 h 1782873"/>
              <a:gd name="connsiteX132" fmla="*/ 4544889 w 4663705"/>
              <a:gd name="connsiteY132" fmla="*/ 808223 h 1782873"/>
              <a:gd name="connsiteX133" fmla="*/ 4540783 w 4663705"/>
              <a:gd name="connsiteY133" fmla="*/ 825577 h 1782873"/>
              <a:gd name="connsiteX134" fmla="*/ 4523429 w 4663705"/>
              <a:gd name="connsiteY134" fmla="*/ 817941 h 1782873"/>
              <a:gd name="connsiteX135" fmla="*/ 4522272 w 4663705"/>
              <a:gd name="connsiteY135" fmla="*/ 790060 h 1782873"/>
              <a:gd name="connsiteX136" fmla="*/ 4511745 w 4663705"/>
              <a:gd name="connsiteY136" fmla="*/ 775541 h 1782873"/>
              <a:gd name="connsiteX137" fmla="*/ 4458875 w 4663705"/>
              <a:gd name="connsiteY137" fmla="*/ 744421 h 1782873"/>
              <a:gd name="connsiteX138" fmla="*/ 4418384 w 4663705"/>
              <a:gd name="connsiteY138" fmla="*/ 724233 h 1782873"/>
              <a:gd name="connsiteX139" fmla="*/ 4375232 w 4663705"/>
              <a:gd name="connsiteY139" fmla="*/ 704451 h 1782873"/>
              <a:gd name="connsiteX140" fmla="*/ 4298878 w 4663705"/>
              <a:gd name="connsiteY140" fmla="*/ 672926 h 1782873"/>
              <a:gd name="connsiteX141" fmla="*/ 4273831 w 4663705"/>
              <a:gd name="connsiteY141" fmla="*/ 662456 h 1782873"/>
              <a:gd name="connsiteX142" fmla="*/ 4209624 w 4663705"/>
              <a:gd name="connsiteY142" fmla="*/ 660026 h 1782873"/>
              <a:gd name="connsiteX143" fmla="*/ 4184577 w 4663705"/>
              <a:gd name="connsiteY143" fmla="*/ 664018 h 1782873"/>
              <a:gd name="connsiteX144" fmla="*/ 4121585 w 4663705"/>
              <a:gd name="connsiteY144" fmla="*/ 649499 h 1782873"/>
              <a:gd name="connsiteX145" fmla="*/ 4112677 w 4663705"/>
              <a:gd name="connsiteY145" fmla="*/ 666852 h 1782873"/>
              <a:gd name="connsiteX146" fmla="*/ 4126039 w 4663705"/>
              <a:gd name="connsiteY146" fmla="*/ 688659 h 1782873"/>
              <a:gd name="connsiteX147" fmla="*/ 4119156 w 4663705"/>
              <a:gd name="connsiteY147" fmla="*/ 715325 h 1782873"/>
              <a:gd name="connsiteX148" fmla="*/ 4081615 w 4663705"/>
              <a:gd name="connsiteY148" fmla="*/ 701211 h 1782873"/>
              <a:gd name="connsiteX149" fmla="*/ 4054949 w 4663705"/>
              <a:gd name="connsiteY149" fmla="*/ 683858 h 1782873"/>
              <a:gd name="connsiteX150" fmla="*/ 4067906 w 4663705"/>
              <a:gd name="connsiteY150" fmla="*/ 676570 h 1782873"/>
              <a:gd name="connsiteX151" fmla="*/ 4085201 w 4663705"/>
              <a:gd name="connsiteY151" fmla="*/ 675338 h 1782873"/>
              <a:gd name="connsiteX152" fmla="*/ 4088093 w 4663705"/>
              <a:gd name="connsiteY152" fmla="*/ 668934 h 1782873"/>
              <a:gd name="connsiteX153" fmla="*/ 4053733 w 4663705"/>
              <a:gd name="connsiteY153" fmla="*/ 654762 h 1782873"/>
              <a:gd name="connsiteX154" fmla="*/ 4021456 w 4663705"/>
              <a:gd name="connsiteY154" fmla="*/ 680214 h 1782873"/>
              <a:gd name="connsiteX155" fmla="*/ 3953200 w 4663705"/>
              <a:gd name="connsiteY155" fmla="*/ 672521 h 1782873"/>
              <a:gd name="connsiteX156" fmla="*/ 3870772 w 4663705"/>
              <a:gd name="connsiteY156" fmla="*/ 677380 h 1782873"/>
              <a:gd name="connsiteX157" fmla="*/ 3864987 w 4663705"/>
              <a:gd name="connsiteY157" fmla="*/ 702831 h 1782873"/>
              <a:gd name="connsiteX158" fmla="*/ 3857699 w 4663705"/>
              <a:gd name="connsiteY158" fmla="*/ 676570 h 1782873"/>
              <a:gd name="connsiteX159" fmla="*/ 3836701 w 4663705"/>
              <a:gd name="connsiteY159" fmla="*/ 668934 h 1782873"/>
              <a:gd name="connsiteX160" fmla="*/ 3822125 w 4663705"/>
              <a:gd name="connsiteY160" fmla="*/ 663150 h 1782873"/>
              <a:gd name="connsiteX161" fmla="*/ 3826984 w 4663705"/>
              <a:gd name="connsiteY161" fmla="*/ 645797 h 1782873"/>
              <a:gd name="connsiteX162" fmla="*/ 3782559 w 4663705"/>
              <a:gd name="connsiteY162" fmla="*/ 606983 h 1782873"/>
              <a:gd name="connsiteX163" fmla="*/ 3679192 w 4663705"/>
              <a:gd name="connsiteY163" fmla="*/ 607388 h 1782873"/>
              <a:gd name="connsiteX164" fmla="*/ 3615563 w 4663705"/>
              <a:gd name="connsiteY164" fmla="*/ 611032 h 1782873"/>
              <a:gd name="connsiteX165" fmla="*/ 3608274 w 4663705"/>
              <a:gd name="connsiteY165" fmla="*/ 597728 h 1782873"/>
              <a:gd name="connsiteX166" fmla="*/ 3573973 w 4663705"/>
              <a:gd name="connsiteY166" fmla="*/ 587605 h 1782873"/>
              <a:gd name="connsiteX167" fmla="*/ 3563445 w 4663705"/>
              <a:gd name="connsiteY167" fmla="*/ 583151 h 1782873"/>
              <a:gd name="connsiteX168" fmla="*/ 3529144 w 4663705"/>
              <a:gd name="connsiteY168" fmla="*/ 571582 h 1782873"/>
              <a:gd name="connsiteX169" fmla="*/ 3526310 w 4663705"/>
              <a:gd name="connsiteY169" fmla="*/ 562674 h 1782873"/>
              <a:gd name="connsiteX170" fmla="*/ 3548522 w 4663705"/>
              <a:gd name="connsiteY170" fmla="*/ 552205 h 1782873"/>
              <a:gd name="connsiteX171" fmla="*/ 3460483 w 4663705"/>
              <a:gd name="connsiteY171" fmla="*/ 537686 h 1782873"/>
              <a:gd name="connsiteX172" fmla="*/ 3444344 w 4663705"/>
              <a:gd name="connsiteY172" fmla="*/ 564294 h 1782873"/>
              <a:gd name="connsiteX173" fmla="*/ 3415422 w 4663705"/>
              <a:gd name="connsiteY173" fmla="*/ 561865 h 1782873"/>
              <a:gd name="connsiteX174" fmla="*/ 3436825 w 4663705"/>
              <a:gd name="connsiteY174" fmla="*/ 548560 h 1782873"/>
              <a:gd name="connsiteX175" fmla="*/ 3406167 w 4663705"/>
              <a:gd name="connsiteY175" fmla="*/ 539247 h 1782873"/>
              <a:gd name="connsiteX176" fmla="*/ 3421496 w 4663705"/>
              <a:gd name="connsiteY176" fmla="*/ 532017 h 1782873"/>
              <a:gd name="connsiteX177" fmla="*/ 3448914 w 4663705"/>
              <a:gd name="connsiteY177" fmla="*/ 532017 h 1782873"/>
              <a:gd name="connsiteX178" fmla="*/ 3422710 w 4663705"/>
              <a:gd name="connsiteY178" fmla="*/ 523919 h 1782873"/>
              <a:gd name="connsiteX179" fmla="*/ 3346761 w 4663705"/>
              <a:gd name="connsiteY179" fmla="*/ 513854 h 1782873"/>
              <a:gd name="connsiteX180" fmla="*/ 3305633 w 4663705"/>
              <a:gd name="connsiteY180" fmla="*/ 505351 h 1782873"/>
              <a:gd name="connsiteX181" fmla="*/ 3299502 w 4663705"/>
              <a:gd name="connsiteY181" fmla="*/ 517845 h 1782873"/>
              <a:gd name="connsiteX182" fmla="*/ 3275323 w 4663705"/>
              <a:gd name="connsiteY182" fmla="*/ 526348 h 1782873"/>
              <a:gd name="connsiteX183" fmla="*/ 3250277 w 4663705"/>
              <a:gd name="connsiteY183" fmla="*/ 543297 h 1782873"/>
              <a:gd name="connsiteX184" fmla="*/ 3272026 w 4663705"/>
              <a:gd name="connsiteY184" fmla="*/ 543701 h 1782873"/>
              <a:gd name="connsiteX185" fmla="*/ 3264795 w 4663705"/>
              <a:gd name="connsiteY185" fmla="*/ 558278 h 1782873"/>
              <a:gd name="connsiteX186" fmla="*/ 3273299 w 4663705"/>
              <a:gd name="connsiteY186" fmla="*/ 576846 h 1782873"/>
              <a:gd name="connsiteX187" fmla="*/ 3251086 w 4663705"/>
              <a:gd name="connsiteY187" fmla="*/ 576846 h 1782873"/>
              <a:gd name="connsiteX188" fmla="*/ 3225172 w 4663705"/>
              <a:gd name="connsiteY188" fmla="*/ 575227 h 1782873"/>
              <a:gd name="connsiteX189" fmla="*/ 3217595 w 4663705"/>
              <a:gd name="connsiteY189" fmla="*/ 581011 h 1782873"/>
              <a:gd name="connsiteX190" fmla="*/ 3217595 w 4663705"/>
              <a:gd name="connsiteY190" fmla="*/ 591944 h 1782873"/>
              <a:gd name="connsiteX191" fmla="*/ 3195787 w 4663705"/>
              <a:gd name="connsiteY191" fmla="*/ 578986 h 1782873"/>
              <a:gd name="connsiteX192" fmla="*/ 3153734 w 4663705"/>
              <a:gd name="connsiteY192" fmla="*/ 571756 h 1782873"/>
              <a:gd name="connsiteX193" fmla="*/ 3122209 w 4663705"/>
              <a:gd name="connsiteY193" fmla="*/ 582226 h 1782873"/>
              <a:gd name="connsiteX194" fmla="*/ 3081024 w 4663705"/>
              <a:gd name="connsiteY194" fmla="*/ 566492 h 1782873"/>
              <a:gd name="connsiteX195" fmla="*/ 3065696 w 4663705"/>
              <a:gd name="connsiteY195" fmla="*/ 565277 h 1782873"/>
              <a:gd name="connsiteX196" fmla="*/ 3050771 w 4663705"/>
              <a:gd name="connsiteY196" fmla="*/ 593563 h 1782873"/>
              <a:gd name="connsiteX197" fmla="*/ 3033418 w 4663705"/>
              <a:gd name="connsiteY197" fmla="*/ 614561 h 1782873"/>
              <a:gd name="connsiteX198" fmla="*/ 3016412 w 4663705"/>
              <a:gd name="connsiteY198" fmla="*/ 609297 h 1782873"/>
              <a:gd name="connsiteX199" fmla="*/ 2975632 w 4663705"/>
              <a:gd name="connsiteY199" fmla="*/ 572566 h 1782873"/>
              <a:gd name="connsiteX200" fmla="*/ 2950643 w 4663705"/>
              <a:gd name="connsiteY200" fmla="*/ 544685 h 1782873"/>
              <a:gd name="connsiteX201" fmla="*/ 2961518 w 4663705"/>
              <a:gd name="connsiteY201" fmla="*/ 545090 h 1782873"/>
              <a:gd name="connsiteX202" fmla="*/ 2981301 w 4663705"/>
              <a:gd name="connsiteY202" fmla="*/ 547114 h 1782873"/>
              <a:gd name="connsiteX203" fmla="*/ 2976037 w 4663705"/>
              <a:gd name="connsiteY203" fmla="*/ 528546 h 1782873"/>
              <a:gd name="connsiteX204" fmla="*/ 2974822 w 4663705"/>
              <a:gd name="connsiteY204" fmla="*/ 517614 h 1782873"/>
              <a:gd name="connsiteX205" fmla="*/ 2969037 w 4663705"/>
              <a:gd name="connsiteY205" fmla="*/ 498641 h 1782873"/>
              <a:gd name="connsiteX206" fmla="*/ 2963832 w 4663705"/>
              <a:gd name="connsiteY206" fmla="*/ 488981 h 1782873"/>
              <a:gd name="connsiteX207" fmla="*/ 2945205 w 4663705"/>
              <a:gd name="connsiteY207" fmla="*/ 476024 h 1782873"/>
              <a:gd name="connsiteX208" fmla="*/ 2908880 w 4663705"/>
              <a:gd name="connsiteY208" fmla="*/ 476429 h 1782873"/>
              <a:gd name="connsiteX209" fmla="*/ 2898815 w 4663705"/>
              <a:gd name="connsiteY209" fmla="*/ 475619 h 1782873"/>
              <a:gd name="connsiteX210" fmla="*/ 2867637 w 4663705"/>
              <a:gd name="connsiteY210" fmla="*/ 467173 h 1782873"/>
              <a:gd name="connsiteX211" fmla="*/ 2843458 w 4663705"/>
              <a:gd name="connsiteY211" fmla="*/ 449010 h 1782873"/>
              <a:gd name="connsiteX212" fmla="*/ 2830558 w 4663705"/>
              <a:gd name="connsiteY212" fmla="*/ 462315 h 1782873"/>
              <a:gd name="connsiteX213" fmla="*/ 2816676 w 4663705"/>
              <a:gd name="connsiteY213" fmla="*/ 466398 h 1782873"/>
              <a:gd name="connsiteX214" fmla="*/ 2816791 w 4663705"/>
              <a:gd name="connsiteY214" fmla="*/ 476429 h 1782873"/>
              <a:gd name="connsiteX215" fmla="*/ 2816387 w 4663705"/>
              <a:gd name="connsiteY215" fmla="*/ 497021 h 1782873"/>
              <a:gd name="connsiteX216" fmla="*/ 2800248 w 4663705"/>
              <a:gd name="connsiteY216" fmla="*/ 498236 h 1782873"/>
              <a:gd name="connsiteX217" fmla="*/ 2767103 w 4663705"/>
              <a:gd name="connsiteY217" fmla="*/ 501475 h 1782873"/>
              <a:gd name="connsiteX218" fmla="*/ 2730430 w 4663705"/>
              <a:gd name="connsiteY218" fmla="*/ 494592 h 1782873"/>
              <a:gd name="connsiteX219" fmla="*/ 2718861 w 4663705"/>
              <a:gd name="connsiteY219" fmla="*/ 492625 h 1782873"/>
              <a:gd name="connsiteX220" fmla="*/ 2680511 w 4663705"/>
              <a:gd name="connsiteY220" fmla="*/ 487361 h 1782873"/>
              <a:gd name="connsiteX221" fmla="*/ 2692079 w 4663705"/>
              <a:gd name="connsiteY221" fmla="*/ 474462 h 1782873"/>
              <a:gd name="connsiteX222" fmla="*/ 2667438 w 4663705"/>
              <a:gd name="connsiteY222" fmla="*/ 469603 h 1782873"/>
              <a:gd name="connsiteX223" fmla="*/ 2616939 w 4663705"/>
              <a:gd name="connsiteY223" fmla="*/ 461910 h 1782873"/>
              <a:gd name="connsiteX224" fmla="*/ 2548278 w 4663705"/>
              <a:gd name="connsiteY224" fmla="*/ 470760 h 1782873"/>
              <a:gd name="connsiteX225" fmla="*/ 2544692 w 4663705"/>
              <a:gd name="connsiteY225" fmla="*/ 485337 h 1782873"/>
              <a:gd name="connsiteX226" fmla="*/ 2540238 w 4663705"/>
              <a:gd name="connsiteY226" fmla="*/ 458670 h 1782873"/>
              <a:gd name="connsiteX227" fmla="*/ 2526528 w 4663705"/>
              <a:gd name="connsiteY227" fmla="*/ 455431 h 1782873"/>
              <a:gd name="connsiteX228" fmla="*/ 2498243 w 4663705"/>
              <a:gd name="connsiteY228" fmla="*/ 459480 h 1782873"/>
              <a:gd name="connsiteX229" fmla="*/ 2466718 w 4663705"/>
              <a:gd name="connsiteY229" fmla="*/ 443342 h 1782873"/>
              <a:gd name="connsiteX230" fmla="*/ 2436061 w 4663705"/>
              <a:gd name="connsiteY230" fmla="*/ 461100 h 1782873"/>
              <a:gd name="connsiteX231" fmla="*/ 2452604 w 4663705"/>
              <a:gd name="connsiteY231" fmla="*/ 465554 h 1782873"/>
              <a:gd name="connsiteX232" fmla="*/ 2419112 w 4663705"/>
              <a:gd name="connsiteY232" fmla="*/ 475214 h 1782873"/>
              <a:gd name="connsiteX233" fmla="*/ 2377522 w 4663705"/>
              <a:gd name="connsiteY233" fmla="*/ 489791 h 1782873"/>
              <a:gd name="connsiteX234" fmla="*/ 2332693 w 4663705"/>
              <a:gd name="connsiteY234" fmla="*/ 503500 h 1782873"/>
              <a:gd name="connsiteX235" fmla="*/ 2339518 w 4663705"/>
              <a:gd name="connsiteY235" fmla="*/ 484527 h 1782873"/>
              <a:gd name="connsiteX236" fmla="*/ 2364970 w 4663705"/>
              <a:gd name="connsiteY236" fmla="*/ 471222 h 1782873"/>
              <a:gd name="connsiteX237" fmla="*/ 2394876 w 4663705"/>
              <a:gd name="connsiteY237" fmla="*/ 461910 h 1782873"/>
              <a:gd name="connsiteX238" fmla="*/ 2416682 w 4663705"/>
              <a:gd name="connsiteY238" fmla="*/ 447391 h 1782873"/>
              <a:gd name="connsiteX239" fmla="*/ 2444910 w 4663705"/>
              <a:gd name="connsiteY239" fmla="*/ 430037 h 1782873"/>
              <a:gd name="connsiteX240" fmla="*/ 2491765 w 4663705"/>
              <a:gd name="connsiteY240" fmla="*/ 411064 h 1782873"/>
              <a:gd name="connsiteX241" fmla="*/ 2504664 w 4663705"/>
              <a:gd name="connsiteY241" fmla="*/ 396545 h 1782873"/>
              <a:gd name="connsiteX242" fmla="*/ 2537809 w 4663705"/>
              <a:gd name="connsiteY242" fmla="*/ 383646 h 1782873"/>
              <a:gd name="connsiteX243" fmla="*/ 2550361 w 4663705"/>
              <a:gd name="connsiteY243" fmla="*/ 367045 h 1782873"/>
              <a:gd name="connsiteX244" fmla="*/ 2538213 w 4663705"/>
              <a:gd name="connsiteY244" fmla="*/ 357790 h 1782873"/>
              <a:gd name="connsiteX245" fmla="*/ 2551922 w 4663705"/>
              <a:gd name="connsiteY245" fmla="*/ 352931 h 1782873"/>
              <a:gd name="connsiteX246" fmla="*/ 2545097 w 4663705"/>
              <a:gd name="connsiteY246" fmla="*/ 340437 h 1782873"/>
              <a:gd name="connsiteX247" fmla="*/ 2542667 w 4663705"/>
              <a:gd name="connsiteY247" fmla="*/ 327075 h 1782873"/>
              <a:gd name="connsiteX248" fmla="*/ 2524851 w 4663705"/>
              <a:gd name="connsiteY248" fmla="*/ 323835 h 1782873"/>
              <a:gd name="connsiteX249" fmla="*/ 2519067 w 4663705"/>
              <a:gd name="connsiteY249" fmla="*/ 301623 h 1782873"/>
              <a:gd name="connsiteX250" fmla="*/ 2495235 w 4663705"/>
              <a:gd name="connsiteY250" fmla="*/ 302433 h 1782873"/>
              <a:gd name="connsiteX251" fmla="*/ 2455669 w 4663705"/>
              <a:gd name="connsiteY251" fmla="*/ 293178 h 1782873"/>
              <a:gd name="connsiteX252" fmla="*/ 2438721 w 4663705"/>
              <a:gd name="connsiteY252" fmla="*/ 291500 h 1782873"/>
              <a:gd name="connsiteX253" fmla="*/ 2405171 w 4663705"/>
              <a:gd name="connsiteY253" fmla="*/ 292368 h 1782873"/>
              <a:gd name="connsiteX254" fmla="*/ 2387413 w 4663705"/>
              <a:gd name="connsiteY254" fmla="*/ 302433 h 1782873"/>
              <a:gd name="connsiteX255" fmla="*/ 2353054 w 4663705"/>
              <a:gd name="connsiteY255" fmla="*/ 305672 h 1782873"/>
              <a:gd name="connsiteX256" fmla="*/ 2372894 w 4663705"/>
              <a:gd name="connsiteY256" fmla="*/ 280221 h 1782873"/>
              <a:gd name="connsiteX257" fmla="*/ 2328065 w 4663705"/>
              <a:gd name="connsiteY257" fmla="*/ 277039 h 1782873"/>
              <a:gd name="connsiteX258" fmla="*/ 2295730 w 4663705"/>
              <a:gd name="connsiteY258" fmla="*/ 272180 h 1782873"/>
              <a:gd name="connsiteX259" fmla="*/ 2303828 w 4663705"/>
              <a:gd name="connsiteY259" fmla="*/ 268941 h 1782873"/>
              <a:gd name="connsiteX260" fmla="*/ 2329280 w 4663705"/>
              <a:gd name="connsiteY260" fmla="*/ 259223 h 1782873"/>
              <a:gd name="connsiteX261" fmla="*/ 2332519 w 4663705"/>
              <a:gd name="connsiteY261" fmla="*/ 248753 h 1782873"/>
              <a:gd name="connsiteX262" fmla="*/ 2309382 w 4663705"/>
              <a:gd name="connsiteY262" fmla="*/ 242969 h 1782873"/>
              <a:gd name="connsiteX263" fmla="*/ 2280459 w 4663705"/>
              <a:gd name="connsiteY263" fmla="*/ 235738 h 1782873"/>
              <a:gd name="connsiteX264" fmla="*/ 2244538 w 4663705"/>
              <a:gd name="connsiteY264" fmla="*/ 243374 h 1782873"/>
              <a:gd name="connsiteX265" fmla="*/ 2214227 w 4663705"/>
              <a:gd name="connsiteY265" fmla="*/ 265991 h 1782873"/>
              <a:gd name="connsiteX266" fmla="*/ 2195659 w 4663705"/>
              <a:gd name="connsiteY266" fmla="*/ 289765 h 1782873"/>
              <a:gd name="connsiteX267" fmla="*/ 2200923 w 4663705"/>
              <a:gd name="connsiteY267" fmla="*/ 301334 h 1782873"/>
              <a:gd name="connsiteX268" fmla="*/ 2185537 w 4663705"/>
              <a:gd name="connsiteY268" fmla="*/ 306193 h 1782873"/>
              <a:gd name="connsiteX269" fmla="*/ 2143947 w 4663705"/>
              <a:gd name="connsiteY269" fmla="*/ 311977 h 1782873"/>
              <a:gd name="connsiteX270" fmla="*/ 2161763 w 4663705"/>
              <a:gd name="connsiteY270" fmla="*/ 325686 h 1782873"/>
              <a:gd name="connsiteX271" fmla="*/ 2141113 w 4663705"/>
              <a:gd name="connsiteY271" fmla="*/ 321695 h 1782873"/>
              <a:gd name="connsiteX272" fmla="*/ 2117338 w 4663705"/>
              <a:gd name="connsiteY272" fmla="*/ 326901 h 1782873"/>
              <a:gd name="connsiteX273" fmla="*/ 2099522 w 4663705"/>
              <a:gd name="connsiteY273" fmla="*/ 330545 h 1782873"/>
              <a:gd name="connsiteX274" fmla="*/ 2081764 w 4663705"/>
              <a:gd name="connsiteY274" fmla="*/ 331760 h 1782873"/>
              <a:gd name="connsiteX275" fmla="*/ 2089399 w 4663705"/>
              <a:gd name="connsiteY275" fmla="*/ 316373 h 1782873"/>
              <a:gd name="connsiteX276" fmla="*/ 2063543 w 4663705"/>
              <a:gd name="connsiteY276" fmla="*/ 323257 h 1782873"/>
              <a:gd name="connsiteX277" fmla="*/ 2045380 w 4663705"/>
              <a:gd name="connsiteY277" fmla="*/ 320480 h 1782873"/>
              <a:gd name="connsiteX278" fmla="*/ 2027621 w 4663705"/>
              <a:gd name="connsiteY278" fmla="*/ 329330 h 1782873"/>
              <a:gd name="connsiteX279" fmla="*/ 2001361 w 4663705"/>
              <a:gd name="connsiteY279" fmla="*/ 331760 h 1782873"/>
              <a:gd name="connsiteX280" fmla="*/ 2017962 w 4663705"/>
              <a:gd name="connsiteY280" fmla="*/ 343329 h 1782873"/>
              <a:gd name="connsiteX281" fmla="*/ 1972727 w 4663705"/>
              <a:gd name="connsiteY281" fmla="*/ 350212 h 1782873"/>
              <a:gd name="connsiteX282" fmla="*/ 1938368 w 4663705"/>
              <a:gd name="connsiteY282" fmla="*/ 355071 h 1782873"/>
              <a:gd name="connsiteX283" fmla="*/ 1912916 w 4663705"/>
              <a:gd name="connsiteY283" fmla="*/ 367161 h 1782873"/>
              <a:gd name="connsiteX284" fmla="*/ 1887118 w 4663705"/>
              <a:gd name="connsiteY284" fmla="*/ 377688 h 1782873"/>
              <a:gd name="connsiteX285" fmla="*/ 1867625 w 4663705"/>
              <a:gd name="connsiteY285" fmla="*/ 381685 h 1782873"/>
              <a:gd name="connsiteX286" fmla="*/ 1866121 w 4663705"/>
              <a:gd name="connsiteY286" fmla="*/ 380523 h 1782873"/>
              <a:gd name="connsiteX287" fmla="*/ 1855188 w 4663705"/>
              <a:gd name="connsiteY287" fmla="*/ 384167 h 1782873"/>
              <a:gd name="connsiteX288" fmla="*/ 1851139 w 4663705"/>
              <a:gd name="connsiteY288" fmla="*/ 390588 h 1782873"/>
              <a:gd name="connsiteX289" fmla="*/ 1841074 w 4663705"/>
              <a:gd name="connsiteY289" fmla="*/ 397471 h 1782873"/>
              <a:gd name="connsiteX290" fmla="*/ 1848304 w 4663705"/>
              <a:gd name="connsiteY290" fmla="*/ 407189 h 1782873"/>
              <a:gd name="connsiteX291" fmla="*/ 1825166 w 4663705"/>
              <a:gd name="connsiteY291" fmla="*/ 405974 h 1782873"/>
              <a:gd name="connsiteX292" fmla="*/ 1840149 w 4663705"/>
              <a:gd name="connsiteY292" fmla="*/ 414419 h 1782873"/>
              <a:gd name="connsiteX293" fmla="*/ 1852180 w 4663705"/>
              <a:gd name="connsiteY293" fmla="*/ 423206 h 1782873"/>
              <a:gd name="connsiteX294" fmla="*/ 1852238 w 4663705"/>
              <a:gd name="connsiteY294" fmla="*/ 423732 h 1782873"/>
              <a:gd name="connsiteX295" fmla="*/ 1831646 w 4663705"/>
              <a:gd name="connsiteY295" fmla="*/ 424947 h 1782873"/>
              <a:gd name="connsiteX296" fmla="*/ 1842173 w 4663705"/>
              <a:gd name="connsiteY296" fmla="*/ 432178 h 1782873"/>
              <a:gd name="connsiteX297" fmla="*/ 1851023 w 4663705"/>
              <a:gd name="connsiteY297" fmla="*/ 441895 h 1782873"/>
              <a:gd name="connsiteX298" fmla="*/ 1852354 w 4663705"/>
              <a:gd name="connsiteY298" fmla="*/ 443226 h 1782873"/>
              <a:gd name="connsiteX299" fmla="*/ 1849461 w 4663705"/>
              <a:gd name="connsiteY299" fmla="*/ 454795 h 1782873"/>
              <a:gd name="connsiteX300" fmla="*/ 1841768 w 4663705"/>
              <a:gd name="connsiteY300" fmla="*/ 457224 h 1782873"/>
              <a:gd name="connsiteX301" fmla="*/ 1815912 w 4663705"/>
              <a:gd name="connsiteY301" fmla="*/ 456009 h 1782873"/>
              <a:gd name="connsiteX302" fmla="*/ 1803012 w 4663705"/>
              <a:gd name="connsiteY302" fmla="*/ 460463 h 1782873"/>
              <a:gd name="connsiteX303" fmla="*/ 1762521 w 4663705"/>
              <a:gd name="connsiteY303" fmla="*/ 462488 h 1782873"/>
              <a:gd name="connsiteX304" fmla="*/ 1691836 w 4663705"/>
              <a:gd name="connsiteY304" fmla="*/ 468562 h 1782873"/>
              <a:gd name="connsiteX305" fmla="*/ 1682523 w 4663705"/>
              <a:gd name="connsiteY305" fmla="*/ 495575 h 1782873"/>
              <a:gd name="connsiteX306" fmla="*/ 1682928 w 4663705"/>
              <a:gd name="connsiteY306" fmla="*/ 514953 h 1782873"/>
              <a:gd name="connsiteX307" fmla="*/ 1720064 w 4663705"/>
              <a:gd name="connsiteY307" fmla="*/ 534793 h 1782873"/>
              <a:gd name="connsiteX308" fmla="*/ 1735855 w 4663705"/>
              <a:gd name="connsiteY308" fmla="*/ 561402 h 1782873"/>
              <a:gd name="connsiteX309" fmla="*/ 1689580 w 4663705"/>
              <a:gd name="connsiteY309" fmla="*/ 546478 h 1782873"/>
              <a:gd name="connsiteX310" fmla="*/ 1626935 w 4663705"/>
              <a:gd name="connsiteY310" fmla="*/ 530339 h 1782873"/>
              <a:gd name="connsiteX311" fmla="*/ 1607210 w 4663705"/>
              <a:gd name="connsiteY311" fmla="*/ 520217 h 1782873"/>
              <a:gd name="connsiteX312" fmla="*/ 1589856 w 4663705"/>
              <a:gd name="connsiteY312" fmla="*/ 533984 h 1782873"/>
              <a:gd name="connsiteX313" fmla="*/ 1601425 w 4663705"/>
              <a:gd name="connsiteY313" fmla="*/ 537975 h 1782873"/>
              <a:gd name="connsiteX314" fmla="*/ 1616349 w 4663705"/>
              <a:gd name="connsiteY314" fmla="*/ 546883 h 1782873"/>
              <a:gd name="connsiteX315" fmla="*/ 1593732 w 4663705"/>
              <a:gd name="connsiteY315" fmla="*/ 550932 h 1782873"/>
              <a:gd name="connsiteX316" fmla="*/ 1564289 w 4663705"/>
              <a:gd name="connsiteY316" fmla="*/ 556890 h 1782873"/>
              <a:gd name="connsiteX317" fmla="*/ 1564231 w 4663705"/>
              <a:gd name="connsiteY317" fmla="*/ 557006 h 1782873"/>
              <a:gd name="connsiteX318" fmla="*/ 1600557 w 4663705"/>
              <a:gd name="connsiteY318" fmla="*/ 585234 h 1782873"/>
              <a:gd name="connsiteX319" fmla="*/ 1625257 w 4663705"/>
              <a:gd name="connsiteY319" fmla="*/ 598943 h 1782873"/>
              <a:gd name="connsiteX320" fmla="*/ 1621208 w 4663705"/>
              <a:gd name="connsiteY320" fmla="*/ 607041 h 1782873"/>
              <a:gd name="connsiteX321" fmla="*/ 1589741 w 4663705"/>
              <a:gd name="connsiteY321" fmla="*/ 590902 h 1782873"/>
              <a:gd name="connsiteX322" fmla="*/ 1543465 w 4663705"/>
              <a:gd name="connsiteY322" fmla="*/ 586853 h 1782873"/>
              <a:gd name="connsiteX323" fmla="*/ 1541787 w 4663705"/>
              <a:gd name="connsiteY323" fmla="*/ 569095 h 1782873"/>
              <a:gd name="connsiteX324" fmla="*/ 1548324 w 4663705"/>
              <a:gd name="connsiteY324" fmla="*/ 542024 h 1782873"/>
              <a:gd name="connsiteX325" fmla="*/ 1536755 w 4663705"/>
              <a:gd name="connsiteY325" fmla="*/ 508127 h 1782873"/>
              <a:gd name="connsiteX326" fmla="*/ 1529524 w 4663705"/>
              <a:gd name="connsiteY326" fmla="*/ 519002 h 1782873"/>
              <a:gd name="connsiteX327" fmla="*/ 1522641 w 4663705"/>
              <a:gd name="connsiteY327" fmla="*/ 547924 h 1782873"/>
              <a:gd name="connsiteX328" fmla="*/ 1489901 w 4663705"/>
              <a:gd name="connsiteY328" fmla="*/ 564872 h 1782873"/>
              <a:gd name="connsiteX329" fmla="*/ 1479026 w 4663705"/>
              <a:gd name="connsiteY329" fmla="*/ 581821 h 1782873"/>
              <a:gd name="connsiteX330" fmla="*/ 1510147 w 4663705"/>
              <a:gd name="connsiteY330" fmla="*/ 619420 h 1782873"/>
              <a:gd name="connsiteX331" fmla="*/ 1493951 w 4663705"/>
              <a:gd name="connsiteY331" fmla="*/ 665695 h 1782873"/>
              <a:gd name="connsiteX332" fmla="*/ 1495165 w 4663705"/>
              <a:gd name="connsiteY332" fmla="*/ 693113 h 1782873"/>
              <a:gd name="connsiteX333" fmla="*/ 1516163 w 4663705"/>
              <a:gd name="connsiteY333" fmla="*/ 696815 h 1782873"/>
              <a:gd name="connsiteX334" fmla="*/ 1548093 w 4663705"/>
              <a:gd name="connsiteY334" fmla="*/ 689874 h 1782873"/>
              <a:gd name="connsiteX335" fmla="*/ 1600557 w 4663705"/>
              <a:gd name="connsiteY335" fmla="*/ 707690 h 1782873"/>
              <a:gd name="connsiteX336" fmla="*/ 1610680 w 4663705"/>
              <a:gd name="connsiteY336" fmla="*/ 728687 h 1782873"/>
              <a:gd name="connsiteX337" fmla="*/ 1598128 w 4663705"/>
              <a:gd name="connsiteY337" fmla="*/ 748875 h 1782873"/>
              <a:gd name="connsiteX338" fmla="*/ 1629653 w 4663705"/>
              <a:gd name="connsiteY338" fmla="*/ 769873 h 1782873"/>
              <a:gd name="connsiteX339" fmla="*/ 1598938 w 4663705"/>
              <a:gd name="connsiteY339" fmla="*/ 767443 h 1782873"/>
              <a:gd name="connsiteX340" fmla="*/ 1586502 w 4663705"/>
              <a:gd name="connsiteY340" fmla="*/ 750090 h 1782873"/>
              <a:gd name="connsiteX341" fmla="*/ 1593269 w 4663705"/>
              <a:gd name="connsiteY341" fmla="*/ 730249 h 1782873"/>
              <a:gd name="connsiteX342" fmla="*/ 1579618 w 4663705"/>
              <a:gd name="connsiteY342" fmla="*/ 712896 h 1782873"/>
              <a:gd name="connsiteX343" fmla="*/ 1562264 w 4663705"/>
              <a:gd name="connsiteY343" fmla="*/ 701616 h 1782873"/>
              <a:gd name="connsiteX344" fmla="*/ 1520327 w 4663705"/>
              <a:gd name="connsiteY344" fmla="*/ 712896 h 1782873"/>
              <a:gd name="connsiteX345" fmla="*/ 1526112 w 4663705"/>
              <a:gd name="connsiteY345" fmla="*/ 750900 h 1782873"/>
              <a:gd name="connsiteX346" fmla="*/ 1503494 w 4663705"/>
              <a:gd name="connsiteY346" fmla="*/ 783177 h 1782873"/>
              <a:gd name="connsiteX347" fmla="*/ 1482902 w 4663705"/>
              <a:gd name="connsiteY347" fmla="*/ 801398 h 1782873"/>
              <a:gd name="connsiteX348" fmla="*/ 1457855 w 4663705"/>
              <a:gd name="connsiteY348" fmla="*/ 823205 h 1782873"/>
              <a:gd name="connsiteX349" fmla="*/ 1433214 w 4663705"/>
              <a:gd name="connsiteY349" fmla="*/ 823205 h 1782873"/>
              <a:gd name="connsiteX350" fmla="*/ 1401747 w 4663705"/>
              <a:gd name="connsiteY350" fmla="*/ 825577 h 1782873"/>
              <a:gd name="connsiteX351" fmla="*/ 1379881 w 4663705"/>
              <a:gd name="connsiteY351" fmla="*/ 818751 h 1782873"/>
              <a:gd name="connsiteX352" fmla="*/ 1367098 w 4663705"/>
              <a:gd name="connsiteY352" fmla="*/ 814899 h 1782873"/>
              <a:gd name="connsiteX353" fmla="*/ 1366578 w 4663705"/>
              <a:gd name="connsiteY353" fmla="*/ 807182 h 1782873"/>
              <a:gd name="connsiteX354" fmla="*/ 1381154 w 4663705"/>
              <a:gd name="connsiteY354" fmla="*/ 810826 h 1782873"/>
              <a:gd name="connsiteX355" fmla="*/ 1396888 w 4663705"/>
              <a:gd name="connsiteY355" fmla="*/ 809207 h 1782873"/>
              <a:gd name="connsiteX356" fmla="*/ 1412621 w 4663705"/>
              <a:gd name="connsiteY356" fmla="*/ 815685 h 1782873"/>
              <a:gd name="connsiteX357" fmla="*/ 1426736 w 4663705"/>
              <a:gd name="connsiteY357" fmla="*/ 810421 h 1782873"/>
              <a:gd name="connsiteX358" fmla="*/ 1433214 w 4663705"/>
              <a:gd name="connsiteY358" fmla="*/ 803943 h 1782873"/>
              <a:gd name="connsiteX359" fmla="*/ 1445361 w 4663705"/>
              <a:gd name="connsiteY359" fmla="*/ 793878 h 1782873"/>
              <a:gd name="connsiteX360" fmla="*/ 1453806 w 4663705"/>
              <a:gd name="connsiteY360" fmla="*/ 779359 h 1782873"/>
              <a:gd name="connsiteX361" fmla="*/ 1461095 w 4663705"/>
              <a:gd name="connsiteY361" fmla="*/ 770451 h 1782873"/>
              <a:gd name="connsiteX362" fmla="*/ 1474399 w 4663705"/>
              <a:gd name="connsiteY362" fmla="*/ 761543 h 1782873"/>
              <a:gd name="connsiteX363" fmla="*/ 1479258 w 4663705"/>
              <a:gd name="connsiteY363" fmla="*/ 748644 h 1782873"/>
              <a:gd name="connsiteX364" fmla="*/ 1486547 w 4663705"/>
              <a:gd name="connsiteY364" fmla="*/ 730423 h 1782873"/>
              <a:gd name="connsiteX365" fmla="*/ 1487356 w 4663705"/>
              <a:gd name="connsiteY365" fmla="*/ 720416 h 1782873"/>
              <a:gd name="connsiteX366" fmla="*/ 1465954 w 4663705"/>
              <a:gd name="connsiteY366" fmla="*/ 696989 h 1782873"/>
              <a:gd name="connsiteX367" fmla="*/ 1465144 w 4663705"/>
              <a:gd name="connsiteY367" fmla="*/ 669108 h 1782873"/>
              <a:gd name="connsiteX368" fmla="*/ 1464739 w 4663705"/>
              <a:gd name="connsiteY368" fmla="*/ 643194 h 1782873"/>
              <a:gd name="connsiteX369" fmla="*/ 1471622 w 4663705"/>
              <a:gd name="connsiteY369" fmla="*/ 614271 h 1782873"/>
              <a:gd name="connsiteX370" fmla="*/ 1449410 w 4663705"/>
              <a:gd name="connsiteY370" fmla="*/ 583151 h 1782873"/>
              <a:gd name="connsiteX371" fmla="*/ 1458261 w 4663705"/>
              <a:gd name="connsiteY371" fmla="*/ 562559 h 1782873"/>
              <a:gd name="connsiteX372" fmla="*/ 1469829 w 4663705"/>
              <a:gd name="connsiteY372" fmla="*/ 516283 h 1782873"/>
              <a:gd name="connsiteX373" fmla="*/ 1435875 w 4663705"/>
              <a:gd name="connsiteY373" fmla="*/ 504714 h 1782873"/>
              <a:gd name="connsiteX374" fmla="*/ 1383815 w 4663705"/>
              <a:gd name="connsiteY374" fmla="*/ 502285 h 1782873"/>
              <a:gd name="connsiteX375" fmla="*/ 1368428 w 4663705"/>
              <a:gd name="connsiteY375" fmla="*/ 517614 h 1782873"/>
              <a:gd name="connsiteX376" fmla="*/ 1350265 w 4663705"/>
              <a:gd name="connsiteY376" fmla="*/ 556427 h 1782873"/>
              <a:gd name="connsiteX377" fmla="*/ 1313939 w 4663705"/>
              <a:gd name="connsiteY377" fmla="*/ 584250 h 1782873"/>
              <a:gd name="connsiteX378" fmla="*/ 1302371 w 4663705"/>
              <a:gd name="connsiteY378" fmla="*/ 608082 h 1782873"/>
              <a:gd name="connsiteX379" fmla="*/ 1317757 w 4663705"/>
              <a:gd name="connsiteY379" fmla="*/ 611726 h 1782873"/>
              <a:gd name="connsiteX380" fmla="*/ 1314460 w 4663705"/>
              <a:gd name="connsiteY380" fmla="*/ 633534 h 1782873"/>
              <a:gd name="connsiteX381" fmla="*/ 1312898 w 4663705"/>
              <a:gd name="connsiteY381" fmla="*/ 646433 h 1782873"/>
              <a:gd name="connsiteX382" fmla="*/ 1303585 w 4663705"/>
              <a:gd name="connsiteY382" fmla="*/ 665059 h 1782873"/>
              <a:gd name="connsiteX383" fmla="*/ 1335920 w 4663705"/>
              <a:gd name="connsiteY383" fmla="*/ 677148 h 1782873"/>
              <a:gd name="connsiteX384" fmla="*/ 1347489 w 4663705"/>
              <a:gd name="connsiteY384" fmla="*/ 699360 h 1782873"/>
              <a:gd name="connsiteX385" fmla="*/ 1364032 w 4663705"/>
              <a:gd name="connsiteY385" fmla="*/ 707863 h 1782873"/>
              <a:gd name="connsiteX386" fmla="*/ 1347084 w 4663705"/>
              <a:gd name="connsiteY386" fmla="*/ 734877 h 1782873"/>
              <a:gd name="connsiteX387" fmla="*/ 1313997 w 4663705"/>
              <a:gd name="connsiteY387" fmla="*/ 708673 h 1782873"/>
              <a:gd name="connsiteX388" fmla="*/ 1269977 w 4663705"/>
              <a:gd name="connsiteY388" fmla="*/ 689643 h 1782873"/>
              <a:gd name="connsiteX389" fmla="*/ 1233651 w 4663705"/>
              <a:gd name="connsiteY389" fmla="*/ 674719 h 1782873"/>
              <a:gd name="connsiteX390" fmla="*/ 1183153 w 4663705"/>
              <a:gd name="connsiteY390" fmla="*/ 661414 h 1782873"/>
              <a:gd name="connsiteX391" fmla="*/ 1133465 w 4663705"/>
              <a:gd name="connsiteY391" fmla="*/ 656961 h 1782873"/>
              <a:gd name="connsiteX392" fmla="*/ 1113277 w 4663705"/>
              <a:gd name="connsiteY392" fmla="*/ 642037 h 1782873"/>
              <a:gd name="connsiteX393" fmla="*/ 1080190 w 4663705"/>
              <a:gd name="connsiteY393" fmla="*/ 631104 h 1782873"/>
              <a:gd name="connsiteX394" fmla="*/ 1087826 w 4663705"/>
              <a:gd name="connsiteY394" fmla="*/ 653721 h 1782873"/>
              <a:gd name="connsiteX395" fmla="*/ 1108013 w 4663705"/>
              <a:gd name="connsiteY395" fmla="*/ 661819 h 1782873"/>
              <a:gd name="connsiteX396" fmla="*/ 1125366 w 4663705"/>
              <a:gd name="connsiteY396" fmla="*/ 674314 h 1782873"/>
              <a:gd name="connsiteX397" fmla="*/ 1137861 w 4663705"/>
              <a:gd name="connsiteY397" fmla="*/ 696931 h 1782873"/>
              <a:gd name="connsiteX398" fmla="*/ 1129358 w 4663705"/>
              <a:gd name="connsiteY398" fmla="*/ 711855 h 1782873"/>
              <a:gd name="connsiteX399" fmla="*/ 1110790 w 4663705"/>
              <a:gd name="connsiteY399" fmla="*/ 721168 h 1782873"/>
              <a:gd name="connsiteX400" fmla="*/ 1096676 w 4663705"/>
              <a:gd name="connsiteY400" fmla="*/ 726952 h 1782873"/>
              <a:gd name="connsiteX401" fmla="*/ 1096676 w 4663705"/>
              <a:gd name="connsiteY401" fmla="*/ 710756 h 1782873"/>
              <a:gd name="connsiteX402" fmla="*/ 1080133 w 4663705"/>
              <a:gd name="connsiteY402" fmla="*/ 698261 h 1782873"/>
              <a:gd name="connsiteX403" fmla="*/ 1038137 w 4663705"/>
              <a:gd name="connsiteY403" fmla="*/ 719259 h 1782873"/>
              <a:gd name="connsiteX404" fmla="*/ 991862 w 4663705"/>
              <a:gd name="connsiteY404" fmla="*/ 719259 h 1782873"/>
              <a:gd name="connsiteX405" fmla="*/ 966410 w 4663705"/>
              <a:gd name="connsiteY405" fmla="*/ 737827 h 1782873"/>
              <a:gd name="connsiteX406" fmla="*/ 929679 w 4663705"/>
              <a:gd name="connsiteY406" fmla="*/ 734992 h 1782873"/>
              <a:gd name="connsiteX407" fmla="*/ 936563 w 4663705"/>
              <a:gd name="connsiteY407" fmla="*/ 727762 h 1782873"/>
              <a:gd name="connsiteX408" fmla="*/ 942984 w 4663705"/>
              <a:gd name="connsiteY408" fmla="*/ 719722 h 1782873"/>
              <a:gd name="connsiteX409" fmla="*/ 948768 w 4663705"/>
              <a:gd name="connsiteY409" fmla="*/ 701096 h 1782873"/>
              <a:gd name="connsiteX410" fmla="*/ 911632 w 4663705"/>
              <a:gd name="connsiteY410" fmla="*/ 711971 h 1782873"/>
              <a:gd name="connsiteX411" fmla="*/ 906368 w 4663705"/>
              <a:gd name="connsiteY411" fmla="*/ 727357 h 1782873"/>
              <a:gd name="connsiteX412" fmla="*/ 894279 w 4663705"/>
              <a:gd name="connsiteY412" fmla="*/ 720127 h 1782873"/>
              <a:gd name="connsiteX413" fmla="*/ 831691 w 4663705"/>
              <a:gd name="connsiteY413" fmla="*/ 738695 h 1782873"/>
              <a:gd name="connsiteX414" fmla="*/ 805430 w 4663705"/>
              <a:gd name="connsiteY414" fmla="*/ 754775 h 1782873"/>
              <a:gd name="connsiteX415" fmla="*/ 775524 w 4663705"/>
              <a:gd name="connsiteY415" fmla="*/ 764146 h 1782873"/>
              <a:gd name="connsiteX416" fmla="*/ 769740 w 4663705"/>
              <a:gd name="connsiteY416" fmla="*/ 792779 h 1782873"/>
              <a:gd name="connsiteX417" fmla="*/ 723464 w 4663705"/>
              <a:gd name="connsiteY417" fmla="*/ 798563 h 1782873"/>
              <a:gd name="connsiteX418" fmla="*/ 701657 w 4663705"/>
              <a:gd name="connsiteY418" fmla="*/ 777971 h 1782873"/>
              <a:gd name="connsiteX419" fmla="*/ 700847 w 4663705"/>
              <a:gd name="connsiteY419" fmla="*/ 760618 h 1782873"/>
              <a:gd name="connsiteX420" fmla="*/ 719820 w 4663705"/>
              <a:gd name="connsiteY420" fmla="*/ 753329 h 1782873"/>
              <a:gd name="connsiteX421" fmla="*/ 744057 w 4663705"/>
              <a:gd name="connsiteY421" fmla="*/ 752057 h 1782873"/>
              <a:gd name="connsiteX422" fmla="*/ 727456 w 4663705"/>
              <a:gd name="connsiteY422" fmla="*/ 725853 h 1782873"/>
              <a:gd name="connsiteX423" fmla="*/ 692749 w 4663705"/>
              <a:gd name="connsiteY423" fmla="*/ 716135 h 1782873"/>
              <a:gd name="connsiteX424" fmla="*/ 658853 w 4663705"/>
              <a:gd name="connsiteY424" fmla="*/ 712491 h 1782873"/>
              <a:gd name="connsiteX425" fmla="*/ 663654 w 4663705"/>
              <a:gd name="connsiteY425" fmla="*/ 723019 h 1782873"/>
              <a:gd name="connsiteX426" fmla="*/ 671752 w 4663705"/>
              <a:gd name="connsiteY426" fmla="*/ 741992 h 1782873"/>
              <a:gd name="connsiteX427" fmla="*/ 661224 w 4663705"/>
              <a:gd name="connsiteY427" fmla="*/ 772244 h 1782873"/>
              <a:gd name="connsiteX428" fmla="*/ 670132 w 4663705"/>
              <a:gd name="connsiteY428" fmla="*/ 781962 h 1782873"/>
              <a:gd name="connsiteX429" fmla="*/ 680255 w 4663705"/>
              <a:gd name="connsiteY429" fmla="*/ 806199 h 1782873"/>
              <a:gd name="connsiteX430" fmla="*/ 671752 w 4663705"/>
              <a:gd name="connsiteY430" fmla="*/ 827254 h 1782873"/>
              <a:gd name="connsiteX431" fmla="*/ 660183 w 4663705"/>
              <a:gd name="connsiteY431" fmla="*/ 826791 h 1782873"/>
              <a:gd name="connsiteX432" fmla="*/ 652143 w 4663705"/>
              <a:gd name="connsiteY432" fmla="*/ 818693 h 1782873"/>
              <a:gd name="connsiteX433" fmla="*/ 624667 w 4663705"/>
              <a:gd name="connsiteY433" fmla="*/ 813487 h 1782873"/>
              <a:gd name="connsiteX434" fmla="*/ 607313 w 4663705"/>
              <a:gd name="connsiteY434" fmla="*/ 821932 h 1782873"/>
              <a:gd name="connsiteX435" fmla="*/ 583076 w 4663705"/>
              <a:gd name="connsiteY435" fmla="*/ 832460 h 1782873"/>
              <a:gd name="connsiteX436" fmla="*/ 556815 w 4663705"/>
              <a:gd name="connsiteY436" fmla="*/ 851433 h 1782873"/>
              <a:gd name="connsiteX437" fmla="*/ 558435 w 4663705"/>
              <a:gd name="connsiteY437" fmla="*/ 875265 h 1782873"/>
              <a:gd name="connsiteX438" fmla="*/ 570003 w 4663705"/>
              <a:gd name="connsiteY438" fmla="*/ 896667 h 1782873"/>
              <a:gd name="connsiteX439" fmla="*/ 537264 w 4663705"/>
              <a:gd name="connsiteY439" fmla="*/ 894643 h 1782873"/>
              <a:gd name="connsiteX440" fmla="*/ 509036 w 4663705"/>
              <a:gd name="connsiteY440" fmla="*/ 888222 h 1782873"/>
              <a:gd name="connsiteX441" fmla="*/ 477916 w 4663705"/>
              <a:gd name="connsiteY441" fmla="*/ 869654 h 1782873"/>
              <a:gd name="connsiteX442" fmla="*/ 461314 w 4663705"/>
              <a:gd name="connsiteY442" fmla="*/ 884983 h 1782873"/>
              <a:gd name="connsiteX443" fmla="*/ 469470 w 4663705"/>
              <a:gd name="connsiteY443" fmla="*/ 900716 h 1782873"/>
              <a:gd name="connsiteX444" fmla="*/ 496079 w 4663705"/>
              <a:gd name="connsiteY444" fmla="*/ 910029 h 1782873"/>
              <a:gd name="connsiteX445" fmla="*/ 498508 w 4663705"/>
              <a:gd name="connsiteY445" fmla="*/ 926573 h 1782873"/>
              <a:gd name="connsiteX446" fmla="*/ 477916 w 4663705"/>
              <a:gd name="connsiteY446" fmla="*/ 929812 h 1782873"/>
              <a:gd name="connsiteX447" fmla="*/ 456513 w 4663705"/>
              <a:gd name="connsiteY447" fmla="*/ 923333 h 1782873"/>
              <a:gd name="connsiteX448" fmla="*/ 431467 w 4663705"/>
              <a:gd name="connsiteY448" fmla="*/ 909220 h 1782873"/>
              <a:gd name="connsiteX449" fmla="*/ 417353 w 4663705"/>
              <a:gd name="connsiteY449" fmla="*/ 893428 h 1782873"/>
              <a:gd name="connsiteX450" fmla="*/ 410816 w 4663705"/>
              <a:gd name="connsiteY450" fmla="*/ 873645 h 1782873"/>
              <a:gd name="connsiteX451" fmla="*/ 411626 w 4663705"/>
              <a:gd name="connsiteY451" fmla="*/ 855887 h 1782873"/>
              <a:gd name="connsiteX452" fmla="*/ 413651 w 4663705"/>
              <a:gd name="connsiteY452" fmla="*/ 838534 h 1782873"/>
              <a:gd name="connsiteX453" fmla="*/ 392653 w 4663705"/>
              <a:gd name="connsiteY453" fmla="*/ 823205 h 1782873"/>
              <a:gd name="connsiteX454" fmla="*/ 376110 w 4663705"/>
              <a:gd name="connsiteY454" fmla="*/ 811058 h 1782873"/>
              <a:gd name="connsiteX455" fmla="*/ 349501 w 4663705"/>
              <a:gd name="connsiteY455" fmla="*/ 788845 h 1782873"/>
              <a:gd name="connsiteX456" fmla="*/ 339784 w 4663705"/>
              <a:gd name="connsiteY456" fmla="*/ 779938 h 1782873"/>
              <a:gd name="connsiteX457" fmla="*/ 361591 w 4663705"/>
              <a:gd name="connsiteY457" fmla="*/ 788036 h 1782873"/>
              <a:gd name="connsiteX458" fmla="*/ 399536 w 4663705"/>
              <a:gd name="connsiteY458" fmla="*/ 804232 h 1782873"/>
              <a:gd name="connsiteX459" fmla="*/ 447200 w 4663705"/>
              <a:gd name="connsiteY459" fmla="*/ 819098 h 1782873"/>
              <a:gd name="connsiteX460" fmla="*/ 510829 w 4663705"/>
              <a:gd name="connsiteY460" fmla="*/ 829626 h 1782873"/>
              <a:gd name="connsiteX461" fmla="*/ 590018 w 4663705"/>
              <a:gd name="connsiteY461" fmla="*/ 794919 h 1782873"/>
              <a:gd name="connsiteX462" fmla="*/ 587588 w 4663705"/>
              <a:gd name="connsiteY462" fmla="*/ 762584 h 1782873"/>
              <a:gd name="connsiteX463" fmla="*/ 571855 w 4663705"/>
              <a:gd name="connsiteY463" fmla="*/ 750495 h 1782873"/>
              <a:gd name="connsiteX464" fmla="*/ 549237 w 4663705"/>
              <a:gd name="connsiteY464" fmla="*/ 736786 h 1782873"/>
              <a:gd name="connsiteX465" fmla="*/ 526620 w 4663705"/>
              <a:gd name="connsiteY465" fmla="*/ 724291 h 1782873"/>
              <a:gd name="connsiteX466" fmla="*/ 486650 w 4663705"/>
              <a:gd name="connsiteY466" fmla="*/ 704046 h 1782873"/>
              <a:gd name="connsiteX467" fmla="*/ 423022 w 4663705"/>
              <a:gd name="connsiteY467" fmla="*/ 678999 h 1782873"/>
              <a:gd name="connsiteX468" fmla="*/ 408849 w 4663705"/>
              <a:gd name="connsiteY468" fmla="*/ 677380 h 1782873"/>
              <a:gd name="connsiteX469" fmla="*/ 389067 w 4663705"/>
              <a:gd name="connsiteY469" fmla="*/ 676975 h 1782873"/>
              <a:gd name="connsiteX470" fmla="*/ 364020 w 4663705"/>
              <a:gd name="connsiteY470" fmla="*/ 675355 h 1782873"/>
              <a:gd name="connsiteX471" fmla="*/ 348634 w 4663705"/>
              <a:gd name="connsiteY471" fmla="*/ 666447 h 1782873"/>
              <a:gd name="connsiteX472" fmla="*/ 368879 w 4663705"/>
              <a:gd name="connsiteY472" fmla="*/ 660026 h 1782873"/>
              <a:gd name="connsiteX473" fmla="*/ 350716 w 4663705"/>
              <a:gd name="connsiteY473" fmla="*/ 652738 h 1782873"/>
              <a:gd name="connsiteX474" fmla="*/ 331281 w 4663705"/>
              <a:gd name="connsiteY474" fmla="*/ 656382 h 1782873"/>
              <a:gd name="connsiteX475" fmla="*/ 314737 w 4663705"/>
              <a:gd name="connsiteY475" fmla="*/ 655630 h 1782873"/>
              <a:gd name="connsiteX476" fmla="*/ 312886 w 4663705"/>
              <a:gd name="connsiteY476" fmla="*/ 654300 h 1782873"/>
              <a:gd name="connsiteX477" fmla="*/ 299003 w 4663705"/>
              <a:gd name="connsiteY477" fmla="*/ 664075 h 1782873"/>
              <a:gd name="connsiteX478" fmla="*/ 276386 w 4663705"/>
              <a:gd name="connsiteY478" fmla="*/ 674545 h 1782873"/>
              <a:gd name="connsiteX479" fmla="*/ 257818 w 4663705"/>
              <a:gd name="connsiteY479" fmla="*/ 690684 h 1782873"/>
              <a:gd name="connsiteX480" fmla="*/ 247348 w 4663705"/>
              <a:gd name="connsiteY480" fmla="*/ 698782 h 1782873"/>
              <a:gd name="connsiteX481" fmla="*/ 243241 w 4663705"/>
              <a:gd name="connsiteY481" fmla="*/ 713301 h 1782873"/>
              <a:gd name="connsiteX482" fmla="*/ 247348 w 4663705"/>
              <a:gd name="connsiteY482" fmla="*/ 728630 h 1782873"/>
              <a:gd name="connsiteX483" fmla="*/ 264296 w 4663705"/>
              <a:gd name="connsiteY483" fmla="*/ 738405 h 1782873"/>
              <a:gd name="connsiteX484" fmla="*/ 283674 w 4663705"/>
              <a:gd name="connsiteY484" fmla="*/ 758593 h 1782873"/>
              <a:gd name="connsiteX485" fmla="*/ 266726 w 4663705"/>
              <a:gd name="connsiteY485" fmla="*/ 778781 h 1782873"/>
              <a:gd name="connsiteX486" fmla="*/ 258628 w 4663705"/>
              <a:gd name="connsiteY486" fmla="*/ 794919 h 1782873"/>
              <a:gd name="connsiteX487" fmla="*/ 284484 w 4663705"/>
              <a:gd name="connsiteY487" fmla="*/ 836104 h 1782873"/>
              <a:gd name="connsiteX488" fmla="*/ 275577 w 4663705"/>
              <a:gd name="connsiteY488" fmla="*/ 852243 h 1782873"/>
              <a:gd name="connsiteX489" fmla="*/ 279625 w 4663705"/>
              <a:gd name="connsiteY489" fmla="*/ 873240 h 1782873"/>
              <a:gd name="connsiteX490" fmla="*/ 273147 w 4663705"/>
              <a:gd name="connsiteY490" fmla="*/ 881339 h 1782873"/>
              <a:gd name="connsiteX491" fmla="*/ 286856 w 4663705"/>
              <a:gd name="connsiteY491" fmla="*/ 890246 h 1782873"/>
              <a:gd name="connsiteX492" fmla="*/ 282865 w 4663705"/>
              <a:gd name="connsiteY492" fmla="*/ 903956 h 1782873"/>
              <a:gd name="connsiteX493" fmla="*/ 297383 w 4663705"/>
              <a:gd name="connsiteY493" fmla="*/ 918475 h 1782873"/>
              <a:gd name="connsiteX494" fmla="*/ 280435 w 4663705"/>
              <a:gd name="connsiteY494" fmla="*/ 933861 h 1782873"/>
              <a:gd name="connsiteX495" fmla="*/ 315142 w 4663705"/>
              <a:gd name="connsiteY495" fmla="*/ 960470 h 1782873"/>
              <a:gd name="connsiteX496" fmla="*/ 322430 w 4663705"/>
              <a:gd name="connsiteY496" fmla="*/ 982335 h 1782873"/>
              <a:gd name="connsiteX497" fmla="*/ 281939 w 4663705"/>
              <a:gd name="connsiteY497" fmla="*/ 1021090 h 1782873"/>
              <a:gd name="connsiteX498" fmla="*/ 239944 w 4663705"/>
              <a:gd name="connsiteY498" fmla="*/ 1054987 h 1782873"/>
              <a:gd name="connsiteX499" fmla="*/ 226871 w 4663705"/>
              <a:gd name="connsiteY499" fmla="*/ 1071588 h 1782873"/>
              <a:gd name="connsiteX500" fmla="*/ 238440 w 4663705"/>
              <a:gd name="connsiteY500" fmla="*/ 1067481 h 1782873"/>
              <a:gd name="connsiteX501" fmla="*/ 255794 w 4663705"/>
              <a:gd name="connsiteY501" fmla="*/ 1085240 h 1782873"/>
              <a:gd name="connsiteX502" fmla="*/ 279625 w 4663705"/>
              <a:gd name="connsiteY502" fmla="*/ 1090504 h 1782873"/>
              <a:gd name="connsiteX503" fmla="*/ 266726 w 4663705"/>
              <a:gd name="connsiteY503" fmla="*/ 1094148 h 1782873"/>
              <a:gd name="connsiteX504" fmla="*/ 240407 w 4663705"/>
              <a:gd name="connsiteY504" fmla="*/ 1103056 h 1782873"/>
              <a:gd name="connsiteX505" fmla="*/ 226987 w 4663705"/>
              <a:gd name="connsiteY505" fmla="*/ 1113583 h 1782873"/>
              <a:gd name="connsiteX506" fmla="*/ 221203 w 4663705"/>
              <a:gd name="connsiteY506" fmla="*/ 1131515 h 1782873"/>
              <a:gd name="connsiteX507" fmla="*/ 212063 w 4663705"/>
              <a:gd name="connsiteY507" fmla="*/ 1145398 h 1782873"/>
              <a:gd name="connsiteX508" fmla="*/ 213914 w 4663705"/>
              <a:gd name="connsiteY508" fmla="*/ 1161189 h 1782873"/>
              <a:gd name="connsiteX509" fmla="*/ 219988 w 4663705"/>
              <a:gd name="connsiteY509" fmla="*/ 1175708 h 1782873"/>
              <a:gd name="connsiteX510" fmla="*/ 212700 w 4663705"/>
              <a:gd name="connsiteY510" fmla="*/ 1184790 h 1782873"/>
              <a:gd name="connsiteX511" fmla="*/ 216344 w 4663705"/>
              <a:gd name="connsiteY511" fmla="*/ 1199309 h 1782873"/>
              <a:gd name="connsiteX512" fmla="*/ 219351 w 4663705"/>
              <a:gd name="connsiteY512" fmla="*/ 1214464 h 1782873"/>
              <a:gd name="connsiteX513" fmla="*/ 227855 w 4663705"/>
              <a:gd name="connsiteY513" fmla="*/ 1230255 h 1782873"/>
              <a:gd name="connsiteX514" fmla="*/ 235086 w 4663705"/>
              <a:gd name="connsiteY514" fmla="*/ 1248997 h 1782873"/>
              <a:gd name="connsiteX515" fmla="*/ 249662 w 4663705"/>
              <a:gd name="connsiteY515" fmla="*/ 1253219 h 1782873"/>
              <a:gd name="connsiteX516" fmla="*/ 263544 w 4663705"/>
              <a:gd name="connsiteY516" fmla="*/ 1259929 h 1782873"/>
              <a:gd name="connsiteX517" fmla="*/ 278121 w 4663705"/>
              <a:gd name="connsiteY517" fmla="*/ 1259929 h 1782873"/>
              <a:gd name="connsiteX518" fmla="*/ 303573 w 4663705"/>
              <a:gd name="connsiteY518" fmla="*/ 1267160 h 1782873"/>
              <a:gd name="connsiteX519" fmla="*/ 305945 w 4663705"/>
              <a:gd name="connsiteY519" fmla="*/ 1285959 h 1782873"/>
              <a:gd name="connsiteX520" fmla="*/ 309010 w 4663705"/>
              <a:gd name="connsiteY520" fmla="*/ 1305337 h 1782873"/>
              <a:gd name="connsiteX521" fmla="*/ 321736 w 4663705"/>
              <a:gd name="connsiteY521" fmla="*/ 1322286 h 1782873"/>
              <a:gd name="connsiteX522" fmla="*/ 337470 w 4663705"/>
              <a:gd name="connsiteY522" fmla="*/ 1337441 h 1782873"/>
              <a:gd name="connsiteX523" fmla="*/ 352625 w 4663705"/>
              <a:gd name="connsiteY523" fmla="*/ 1351381 h 1782873"/>
              <a:gd name="connsiteX524" fmla="*/ 338684 w 4663705"/>
              <a:gd name="connsiteY524" fmla="*/ 1364107 h 1782873"/>
              <a:gd name="connsiteX525" fmla="*/ 319306 w 4663705"/>
              <a:gd name="connsiteY525" fmla="*/ 1361099 h 1782873"/>
              <a:gd name="connsiteX526" fmla="*/ 323529 w 4663705"/>
              <a:gd name="connsiteY526" fmla="*/ 1386551 h 1782873"/>
              <a:gd name="connsiteX527" fmla="*/ 335098 w 4663705"/>
              <a:gd name="connsiteY527" fmla="*/ 1401012 h 1782873"/>
              <a:gd name="connsiteX528" fmla="*/ 347824 w 4663705"/>
              <a:gd name="connsiteY528" fmla="*/ 1394417 h 1782873"/>
              <a:gd name="connsiteX529" fmla="*/ 365987 w 4663705"/>
              <a:gd name="connsiteY529" fmla="*/ 1393781 h 1782873"/>
              <a:gd name="connsiteX530" fmla="*/ 388431 w 4663705"/>
              <a:gd name="connsiteY530" fmla="*/ 1396211 h 1782873"/>
              <a:gd name="connsiteX531" fmla="*/ 392074 w 4663705"/>
              <a:gd name="connsiteY531" fmla="*/ 1416803 h 1782873"/>
              <a:gd name="connsiteX532" fmla="*/ 397859 w 4663705"/>
              <a:gd name="connsiteY532" fmla="*/ 1431958 h 1782873"/>
              <a:gd name="connsiteX533" fmla="*/ 417873 w 4663705"/>
              <a:gd name="connsiteY533" fmla="*/ 1436817 h 1782873"/>
              <a:gd name="connsiteX534" fmla="*/ 430020 w 4663705"/>
              <a:gd name="connsiteY534" fmla="*/ 1457988 h 1782873"/>
              <a:gd name="connsiteX535" fmla="*/ 440259 w 4663705"/>
              <a:gd name="connsiteY535" fmla="*/ 1463483 h 1782873"/>
              <a:gd name="connsiteX536" fmla="*/ 453621 w 4663705"/>
              <a:gd name="connsiteY536" fmla="*/ 1469557 h 1782873"/>
              <a:gd name="connsiteX537" fmla="*/ 467561 w 4663705"/>
              <a:gd name="connsiteY537" fmla="*/ 1468342 h 1782873"/>
              <a:gd name="connsiteX538" fmla="*/ 482659 w 4663705"/>
              <a:gd name="connsiteY538" fmla="*/ 1467128 h 1782873"/>
              <a:gd name="connsiteX539" fmla="*/ 494806 w 4663705"/>
              <a:gd name="connsiteY539" fmla="*/ 1481647 h 1782873"/>
              <a:gd name="connsiteX540" fmla="*/ 517249 w 4663705"/>
              <a:gd name="connsiteY540" fmla="*/ 1485291 h 1782873"/>
              <a:gd name="connsiteX541" fmla="*/ 540387 w 4663705"/>
              <a:gd name="connsiteY541" fmla="*/ 1491364 h 1782873"/>
              <a:gd name="connsiteX542" fmla="*/ 556121 w 4663705"/>
              <a:gd name="connsiteY542" fmla="*/ 1501025 h 1782873"/>
              <a:gd name="connsiteX543" fmla="*/ 548254 w 4663705"/>
              <a:gd name="connsiteY543" fmla="*/ 1512593 h 1782873"/>
              <a:gd name="connsiteX544" fmla="*/ 554906 w 4663705"/>
              <a:gd name="connsiteY544" fmla="*/ 1520518 h 1782873"/>
              <a:gd name="connsiteX545" fmla="*/ 545247 w 4663705"/>
              <a:gd name="connsiteY545" fmla="*/ 1527170 h 1782873"/>
              <a:gd name="connsiteX546" fmla="*/ 551031 w 4663705"/>
              <a:gd name="connsiteY546" fmla="*/ 1537466 h 1782873"/>
              <a:gd name="connsiteX547" fmla="*/ 546229 w 4663705"/>
              <a:gd name="connsiteY547" fmla="*/ 1553836 h 1782873"/>
              <a:gd name="connsiteX548" fmla="*/ 523844 w 4663705"/>
              <a:gd name="connsiteY548" fmla="*/ 1553258 h 1782873"/>
              <a:gd name="connsiteX549" fmla="*/ 502615 w 4663705"/>
              <a:gd name="connsiteY549" fmla="*/ 1567777 h 1782873"/>
              <a:gd name="connsiteX550" fmla="*/ 501978 w 4663705"/>
              <a:gd name="connsiteY550" fmla="*/ 1580734 h 1782873"/>
              <a:gd name="connsiteX551" fmla="*/ 529918 w 4663705"/>
              <a:gd name="connsiteY551" fmla="*/ 1580098 h 1782873"/>
              <a:gd name="connsiteX552" fmla="*/ 495963 w 4663705"/>
              <a:gd name="connsiteY552" fmla="*/ 1599880 h 1782873"/>
              <a:gd name="connsiteX553" fmla="*/ 506433 w 4663705"/>
              <a:gd name="connsiteY553" fmla="*/ 1615209 h 1782873"/>
              <a:gd name="connsiteX554" fmla="*/ 490294 w 4663705"/>
              <a:gd name="connsiteY554" fmla="*/ 1630943 h 1782873"/>
              <a:gd name="connsiteX555" fmla="*/ 475370 w 4663705"/>
              <a:gd name="connsiteY555" fmla="*/ 1642512 h 1782873"/>
              <a:gd name="connsiteX556" fmla="*/ 468140 w 4663705"/>
              <a:gd name="connsiteY556" fmla="*/ 1648990 h 1782873"/>
              <a:gd name="connsiteX557" fmla="*/ 489542 w 4663705"/>
              <a:gd name="connsiteY557" fmla="*/ 1666343 h 1782873"/>
              <a:gd name="connsiteX558" fmla="*/ 540387 w 4663705"/>
              <a:gd name="connsiteY558" fmla="*/ 1703075 h 1782873"/>
              <a:gd name="connsiteX559" fmla="*/ 547503 w 4663705"/>
              <a:gd name="connsiteY559" fmla="*/ 1708859 h 1782873"/>
              <a:gd name="connsiteX560" fmla="*/ 557740 w 4663705"/>
              <a:gd name="connsiteY560" fmla="*/ 1704058 h 1782873"/>
              <a:gd name="connsiteX561" fmla="*/ 590480 w 4663705"/>
              <a:gd name="connsiteY561" fmla="*/ 1713776 h 1782873"/>
              <a:gd name="connsiteX562" fmla="*/ 632880 w 4663705"/>
              <a:gd name="connsiteY562" fmla="*/ 1717362 h 1782873"/>
              <a:gd name="connsiteX563" fmla="*/ 649829 w 4663705"/>
              <a:gd name="connsiteY563" fmla="*/ 1728295 h 1782873"/>
              <a:gd name="connsiteX564" fmla="*/ 666777 w 4663705"/>
              <a:gd name="connsiteY564" fmla="*/ 1736740 h 1782873"/>
              <a:gd name="connsiteX565" fmla="*/ 694658 w 4663705"/>
              <a:gd name="connsiteY565" fmla="*/ 1733154 h 1782873"/>
              <a:gd name="connsiteX566" fmla="*/ 704376 w 4663705"/>
              <a:gd name="connsiteY566" fmla="*/ 1736740 h 1782873"/>
              <a:gd name="connsiteX567" fmla="*/ 712821 w 4663705"/>
              <a:gd name="connsiteY567" fmla="*/ 1753746 h 1782873"/>
              <a:gd name="connsiteX568" fmla="*/ 738273 w 4663705"/>
              <a:gd name="connsiteY568" fmla="*/ 1765836 h 1782873"/>
              <a:gd name="connsiteX569" fmla="*/ 758865 w 4663705"/>
              <a:gd name="connsiteY569" fmla="*/ 1780412 h 1782873"/>
              <a:gd name="connsiteX570" fmla="*/ 770954 w 4663705"/>
              <a:gd name="connsiteY570" fmla="*/ 1780412 h 1782873"/>
              <a:gd name="connsiteX571" fmla="*/ 788308 w 4663705"/>
              <a:gd name="connsiteY571" fmla="*/ 1767455 h 1782873"/>
              <a:gd name="connsiteX572" fmla="*/ 756957 w 4663705"/>
              <a:gd name="connsiteY572" fmla="*/ 1719792 h 1782873"/>
              <a:gd name="connsiteX573" fmla="*/ 746486 w 4663705"/>
              <a:gd name="connsiteY573" fmla="*/ 1682656 h 1782873"/>
              <a:gd name="connsiteX574" fmla="*/ 760195 w 4663705"/>
              <a:gd name="connsiteY574" fmla="*/ 1643090 h 1782873"/>
              <a:gd name="connsiteX575" fmla="*/ 808669 w 4663705"/>
              <a:gd name="connsiteY575" fmla="*/ 1613589 h 1782873"/>
              <a:gd name="connsiteX576" fmla="*/ 799761 w 4663705"/>
              <a:gd name="connsiteY576" fmla="*/ 1608384 h 1782873"/>
              <a:gd name="connsiteX577" fmla="*/ 793977 w 4663705"/>
              <a:gd name="connsiteY577" fmla="*/ 1596236 h 1782873"/>
              <a:gd name="connsiteX578" fmla="*/ 790333 w 4663705"/>
              <a:gd name="connsiteY578" fmla="*/ 1579288 h 1782873"/>
              <a:gd name="connsiteX579" fmla="*/ 773384 w 4663705"/>
              <a:gd name="connsiteY579" fmla="*/ 1559910 h 1782873"/>
              <a:gd name="connsiteX580" fmla="*/ 754006 w 4663705"/>
              <a:gd name="connsiteY580" fmla="*/ 1561125 h 1782873"/>
              <a:gd name="connsiteX581" fmla="*/ 749148 w 4663705"/>
              <a:gd name="connsiteY581" fmla="*/ 1546606 h 1782873"/>
              <a:gd name="connsiteX582" fmla="*/ 733413 w 4663705"/>
              <a:gd name="connsiteY582" fmla="*/ 1535673 h 1782873"/>
              <a:gd name="connsiteX583" fmla="*/ 739198 w 4663705"/>
              <a:gd name="connsiteY583" fmla="*/ 1518725 h 1782873"/>
              <a:gd name="connsiteX584" fmla="*/ 748858 w 4663705"/>
              <a:gd name="connsiteY584" fmla="*/ 1510222 h 1782873"/>
              <a:gd name="connsiteX585" fmla="*/ 740413 w 4663705"/>
              <a:gd name="connsiteY585" fmla="*/ 1496917 h 1782873"/>
              <a:gd name="connsiteX586" fmla="*/ 754932 w 4663705"/>
              <a:gd name="connsiteY586" fmla="*/ 1479969 h 1782873"/>
              <a:gd name="connsiteX587" fmla="*/ 770666 w 4663705"/>
              <a:gd name="connsiteY587" fmla="*/ 1470193 h 1782873"/>
              <a:gd name="connsiteX588" fmla="*/ 792473 w 4663705"/>
              <a:gd name="connsiteY588" fmla="*/ 1488414 h 1782873"/>
              <a:gd name="connsiteX589" fmla="*/ 794902 w 4663705"/>
              <a:gd name="connsiteY589" fmla="*/ 1471466 h 1782873"/>
              <a:gd name="connsiteX590" fmla="*/ 802190 w 4663705"/>
              <a:gd name="connsiteY590" fmla="*/ 1456947 h 1782873"/>
              <a:gd name="connsiteX591" fmla="*/ 816709 w 4663705"/>
              <a:gd name="connsiteY591" fmla="*/ 1443585 h 1782873"/>
              <a:gd name="connsiteX592" fmla="*/ 845632 w 4663705"/>
              <a:gd name="connsiteY592" fmla="*/ 1430281 h 1782873"/>
              <a:gd name="connsiteX593" fmla="*/ 866224 w 4663705"/>
              <a:gd name="connsiteY593" fmla="*/ 1424207 h 1782873"/>
              <a:gd name="connsiteX594" fmla="*/ 880743 w 4663705"/>
              <a:gd name="connsiteY594" fmla="*/ 1424207 h 1782873"/>
              <a:gd name="connsiteX595" fmla="*/ 900121 w 4663705"/>
              <a:gd name="connsiteY595" fmla="*/ 1424207 h 1782873"/>
              <a:gd name="connsiteX596" fmla="*/ 931646 w 4663705"/>
              <a:gd name="connsiteY596" fmla="*/ 1433925 h 1782873"/>
              <a:gd name="connsiteX597" fmla="*/ 954784 w 4663705"/>
              <a:gd name="connsiteY597" fmla="*/ 1453245 h 1782873"/>
              <a:gd name="connsiteX598" fmla="*/ 962072 w 4663705"/>
              <a:gd name="connsiteY598" fmla="*/ 1456947 h 1782873"/>
              <a:gd name="connsiteX599" fmla="*/ 977806 w 4663705"/>
              <a:gd name="connsiteY599" fmla="*/ 1456947 h 1782873"/>
              <a:gd name="connsiteX600" fmla="*/ 1003257 w 4663705"/>
              <a:gd name="connsiteY600" fmla="*/ 1454460 h 1782873"/>
              <a:gd name="connsiteX601" fmla="*/ 1029865 w 4663705"/>
              <a:gd name="connsiteY601" fmla="*/ 1446015 h 1782873"/>
              <a:gd name="connsiteX602" fmla="*/ 1045658 w 4663705"/>
              <a:gd name="connsiteY602" fmla="*/ 1447229 h 1782873"/>
              <a:gd name="connsiteX603" fmla="*/ 1072266 w 4663705"/>
              <a:gd name="connsiteY603" fmla="*/ 1448386 h 1782873"/>
              <a:gd name="connsiteX604" fmla="*/ 1090487 w 4663705"/>
              <a:gd name="connsiteY604" fmla="*/ 1456947 h 1782873"/>
              <a:gd name="connsiteX605" fmla="*/ 1103791 w 4663705"/>
              <a:gd name="connsiteY605" fmla="*/ 1465392 h 1782873"/>
              <a:gd name="connsiteX606" fmla="*/ 1113509 w 4663705"/>
              <a:gd name="connsiteY606" fmla="*/ 1452088 h 1782873"/>
              <a:gd name="connsiteX607" fmla="*/ 1134101 w 4663705"/>
              <a:gd name="connsiteY607" fmla="*/ 1460534 h 1782873"/>
              <a:gd name="connsiteX608" fmla="*/ 1151050 w 4663705"/>
              <a:gd name="connsiteY608" fmla="*/ 1450873 h 1782873"/>
              <a:gd name="connsiteX609" fmla="*/ 1143819 w 4663705"/>
              <a:gd name="connsiteY609" fmla="*/ 1431496 h 1782873"/>
              <a:gd name="connsiteX610" fmla="*/ 1124441 w 4663705"/>
              <a:gd name="connsiteY610" fmla="*/ 1425711 h 1782873"/>
              <a:gd name="connsiteX611" fmla="*/ 1117153 w 4663705"/>
              <a:gd name="connsiteY611" fmla="*/ 1411134 h 1782873"/>
              <a:gd name="connsiteX612" fmla="*/ 1134101 w 4663705"/>
              <a:gd name="connsiteY612" fmla="*/ 1396615 h 1782873"/>
              <a:gd name="connsiteX613" fmla="*/ 1138960 w 4663705"/>
              <a:gd name="connsiteY613" fmla="*/ 1377238 h 1782873"/>
              <a:gd name="connsiteX614" fmla="*/ 1167883 w 4663705"/>
              <a:gd name="connsiteY614" fmla="*/ 1372437 h 1782873"/>
              <a:gd name="connsiteX615" fmla="*/ 1143703 w 4663705"/>
              <a:gd name="connsiteY615" fmla="*/ 1360289 h 1782873"/>
              <a:gd name="connsiteX616" fmla="*/ 1142431 w 4663705"/>
              <a:gd name="connsiteY616" fmla="*/ 1337152 h 1782873"/>
              <a:gd name="connsiteX617" fmla="*/ 1165569 w 4663705"/>
              <a:gd name="connsiteY617" fmla="*/ 1335937 h 1782873"/>
              <a:gd name="connsiteX618" fmla="*/ 1198251 w 4663705"/>
              <a:gd name="connsiteY618" fmla="*/ 1332293 h 1782873"/>
              <a:gd name="connsiteX619" fmla="*/ 1239436 w 4663705"/>
              <a:gd name="connsiteY619" fmla="*/ 1323790 h 1782873"/>
              <a:gd name="connsiteX620" fmla="*/ 1267317 w 4663705"/>
              <a:gd name="connsiteY620" fmla="*/ 1315344 h 1782873"/>
              <a:gd name="connsiteX621" fmla="*/ 1306072 w 4663705"/>
              <a:gd name="connsiteY621" fmla="*/ 1308056 h 1782873"/>
              <a:gd name="connsiteX622" fmla="*/ 1346043 w 4663705"/>
              <a:gd name="connsiteY622" fmla="*/ 1294752 h 1782873"/>
              <a:gd name="connsiteX623" fmla="*/ 1379997 w 4663705"/>
              <a:gd name="connsiteY623" fmla="*/ 1286885 h 1782873"/>
              <a:gd name="connsiteX624" fmla="*/ 1401168 w 4663705"/>
              <a:gd name="connsiteY624" fmla="*/ 1289893 h 1782873"/>
              <a:gd name="connsiteX625" fmla="*/ 1418522 w 4663705"/>
              <a:gd name="connsiteY625" fmla="*/ 1300767 h 1782873"/>
              <a:gd name="connsiteX626" fmla="*/ 1423380 w 4663705"/>
              <a:gd name="connsiteY626" fmla="*/ 1320145 h 1782873"/>
              <a:gd name="connsiteX627" fmla="*/ 1420314 w 4663705"/>
              <a:gd name="connsiteY627" fmla="*/ 1331714 h 1782873"/>
              <a:gd name="connsiteX628" fmla="*/ 1445188 w 4663705"/>
              <a:gd name="connsiteY628" fmla="*/ 1327492 h 1782873"/>
              <a:gd name="connsiteX629" fmla="*/ 1455426 w 4663705"/>
              <a:gd name="connsiteY629" fmla="*/ 1334086 h 1782873"/>
              <a:gd name="connsiteX630" fmla="*/ 1463351 w 4663705"/>
              <a:gd name="connsiteY630" fmla="*/ 1335937 h 1782873"/>
              <a:gd name="connsiteX631" fmla="*/ 1476076 w 4663705"/>
              <a:gd name="connsiteY631" fmla="*/ 1337730 h 1782873"/>
              <a:gd name="connsiteX632" fmla="*/ 1490595 w 4663705"/>
              <a:gd name="connsiteY632" fmla="*/ 1339581 h 1782873"/>
              <a:gd name="connsiteX633" fmla="*/ 1480878 w 4663705"/>
              <a:gd name="connsiteY633" fmla="*/ 1356934 h 1782873"/>
              <a:gd name="connsiteX634" fmla="*/ 1501528 w 4663705"/>
              <a:gd name="connsiteY634" fmla="*/ 1352075 h 1782873"/>
              <a:gd name="connsiteX635" fmla="*/ 1531202 w 4663705"/>
              <a:gd name="connsiteY635" fmla="*/ 1339986 h 1782873"/>
              <a:gd name="connsiteX636" fmla="*/ 1556018 w 4663705"/>
              <a:gd name="connsiteY636" fmla="*/ 1326046 h 1782873"/>
              <a:gd name="connsiteX637" fmla="*/ 1574181 w 4663705"/>
              <a:gd name="connsiteY637" fmla="*/ 1327896 h 1782873"/>
              <a:gd name="connsiteX638" fmla="*/ 1582105 w 4663705"/>
              <a:gd name="connsiteY638" fmla="*/ 1348489 h 1782873"/>
              <a:gd name="connsiteX639" fmla="*/ 1632372 w 4663705"/>
              <a:gd name="connsiteY639" fmla="*/ 1407837 h 1782873"/>
              <a:gd name="connsiteX640" fmla="*/ 1660773 w 4663705"/>
              <a:gd name="connsiteY640" fmla="*/ 1456947 h 1782873"/>
              <a:gd name="connsiteX641" fmla="*/ 1676565 w 4663705"/>
              <a:gd name="connsiteY641" fmla="*/ 1439594 h 1782873"/>
              <a:gd name="connsiteX642" fmla="*/ 1697794 w 4663705"/>
              <a:gd name="connsiteY642" fmla="*/ 1454691 h 1782873"/>
              <a:gd name="connsiteX643" fmla="*/ 1724460 w 4663705"/>
              <a:gd name="connsiteY643" fmla="*/ 1458914 h 1782873"/>
              <a:gd name="connsiteX644" fmla="*/ 1751705 w 4663705"/>
              <a:gd name="connsiteY644" fmla="*/ 1451105 h 1782873"/>
              <a:gd name="connsiteX645" fmla="*/ 1769058 w 4663705"/>
              <a:gd name="connsiteY645" fmla="*/ 1465624 h 1782873"/>
              <a:gd name="connsiteX646" fmla="*/ 1786006 w 4663705"/>
              <a:gd name="connsiteY646" fmla="*/ 1479564 h 1782873"/>
              <a:gd name="connsiteX647" fmla="*/ 1791791 w 4663705"/>
              <a:gd name="connsiteY647" fmla="*/ 1489860 h 1782873"/>
              <a:gd name="connsiteX648" fmla="*/ 1805500 w 4663705"/>
              <a:gd name="connsiteY648" fmla="*/ 1501429 h 1782873"/>
              <a:gd name="connsiteX649" fmla="*/ 1827307 w 4663705"/>
              <a:gd name="connsiteY649" fmla="*/ 1497380 h 1782873"/>
              <a:gd name="connsiteX650" fmla="*/ 1837025 w 4663705"/>
              <a:gd name="connsiteY650" fmla="*/ 1498190 h 1782873"/>
              <a:gd name="connsiteX651" fmla="*/ 1849924 w 4663705"/>
              <a:gd name="connsiteY651" fmla="*/ 1512709 h 1782873"/>
              <a:gd name="connsiteX652" fmla="*/ 1865311 w 4663705"/>
              <a:gd name="connsiteY652" fmla="*/ 1512709 h 1782873"/>
              <a:gd name="connsiteX653" fmla="*/ 1883879 w 4663705"/>
              <a:gd name="connsiteY653" fmla="*/ 1505421 h 1782873"/>
              <a:gd name="connsiteX654" fmla="*/ 1908926 w 4663705"/>
              <a:gd name="connsiteY654" fmla="*/ 1493852 h 1782873"/>
              <a:gd name="connsiteX655" fmla="*/ 1929923 w 4663705"/>
              <a:gd name="connsiteY655" fmla="*/ 1481762 h 1782873"/>
              <a:gd name="connsiteX656" fmla="*/ 1947681 w 4663705"/>
              <a:gd name="connsiteY656" fmla="*/ 1469615 h 1782873"/>
              <a:gd name="connsiteX657" fmla="*/ 1966249 w 4663705"/>
              <a:gd name="connsiteY657" fmla="*/ 1461517 h 1782873"/>
              <a:gd name="connsiteX658" fmla="*/ 1985627 w 4663705"/>
              <a:gd name="connsiteY658" fmla="*/ 1458278 h 1782873"/>
              <a:gd name="connsiteX659" fmla="*/ 2023573 w 4663705"/>
              <a:gd name="connsiteY659" fmla="*/ 1464756 h 1782873"/>
              <a:gd name="connsiteX660" fmla="*/ 2032481 w 4663705"/>
              <a:gd name="connsiteY660" fmla="*/ 1480143 h 1782873"/>
              <a:gd name="connsiteX661" fmla="*/ 2055097 w 4663705"/>
              <a:gd name="connsiteY661" fmla="*/ 1488993 h 1782873"/>
              <a:gd name="connsiteX662" fmla="*/ 2076905 w 4663705"/>
              <a:gd name="connsiteY662" fmla="*/ 1487373 h 1782873"/>
              <a:gd name="connsiteX663" fmla="*/ 2096283 w 4663705"/>
              <a:gd name="connsiteY663" fmla="*/ 1493158 h 1782873"/>
              <a:gd name="connsiteX664" fmla="*/ 2118900 w 4663705"/>
              <a:gd name="connsiteY664" fmla="*/ 1481878 h 1782873"/>
              <a:gd name="connsiteX665" fmla="*/ 2119710 w 4663705"/>
              <a:gd name="connsiteY665" fmla="*/ 1465682 h 1782873"/>
              <a:gd name="connsiteX666" fmla="*/ 2109992 w 4663705"/>
              <a:gd name="connsiteY666" fmla="*/ 1443064 h 1782873"/>
              <a:gd name="connsiteX667" fmla="*/ 2121561 w 4663705"/>
              <a:gd name="connsiteY667" fmla="*/ 1429355 h 1782873"/>
              <a:gd name="connsiteX668" fmla="*/ 2136137 w 4663705"/>
              <a:gd name="connsiteY668" fmla="*/ 1419638 h 1782873"/>
              <a:gd name="connsiteX669" fmla="*/ 2145798 w 4663705"/>
              <a:gd name="connsiteY669" fmla="*/ 1410729 h 1782873"/>
              <a:gd name="connsiteX670" fmla="*/ 2165985 w 4663705"/>
              <a:gd name="connsiteY670" fmla="*/ 1418886 h 1782873"/>
              <a:gd name="connsiteX671" fmla="*/ 2182934 w 4663705"/>
              <a:gd name="connsiteY671" fmla="*/ 1422877 h 1782873"/>
              <a:gd name="connsiteX672" fmla="*/ 2203122 w 4663705"/>
              <a:gd name="connsiteY672" fmla="*/ 1430975 h 1782873"/>
              <a:gd name="connsiteX673" fmla="*/ 2229788 w 4663705"/>
              <a:gd name="connsiteY673" fmla="*/ 1439073 h 1782873"/>
              <a:gd name="connsiteX674" fmla="*/ 2233027 w 4663705"/>
              <a:gd name="connsiteY674" fmla="*/ 1462500 h 1782873"/>
              <a:gd name="connsiteX675" fmla="*/ 2249975 w 4663705"/>
              <a:gd name="connsiteY675" fmla="*/ 1475342 h 1782873"/>
              <a:gd name="connsiteX676" fmla="*/ 2274212 w 4663705"/>
              <a:gd name="connsiteY676" fmla="*/ 1482630 h 1782873"/>
              <a:gd name="connsiteX677" fmla="*/ 2293590 w 4663705"/>
              <a:gd name="connsiteY677" fmla="*/ 1472970 h 1782873"/>
              <a:gd name="connsiteX678" fmla="*/ 2318636 w 4663705"/>
              <a:gd name="connsiteY678" fmla="*/ 1469731 h 1782873"/>
              <a:gd name="connsiteX679" fmla="*/ 2343683 w 4663705"/>
              <a:gd name="connsiteY679" fmla="*/ 1475515 h 1782873"/>
              <a:gd name="connsiteX680" fmla="*/ 2364680 w 4663705"/>
              <a:gd name="connsiteY680" fmla="*/ 1481300 h 1782873"/>
              <a:gd name="connsiteX681" fmla="*/ 2387298 w 4663705"/>
              <a:gd name="connsiteY681" fmla="*/ 1491769 h 1782873"/>
              <a:gd name="connsiteX682" fmla="*/ 2401817 w 4663705"/>
              <a:gd name="connsiteY682" fmla="*/ 1507098 h 1782873"/>
              <a:gd name="connsiteX683" fmla="*/ 2436523 w 4663705"/>
              <a:gd name="connsiteY683" fmla="*/ 1513577 h 1782873"/>
              <a:gd name="connsiteX684" fmla="*/ 2472850 w 4663705"/>
              <a:gd name="connsiteY684" fmla="*/ 1513577 h 1782873"/>
              <a:gd name="connsiteX685" fmla="*/ 2508366 w 4663705"/>
              <a:gd name="connsiteY685" fmla="*/ 1504669 h 1782873"/>
              <a:gd name="connsiteX686" fmla="*/ 2530231 w 4663705"/>
              <a:gd name="connsiteY686" fmla="*/ 1496628 h 1782873"/>
              <a:gd name="connsiteX687" fmla="*/ 2551980 w 4663705"/>
              <a:gd name="connsiteY687" fmla="*/ 1482109 h 1782873"/>
              <a:gd name="connsiteX688" fmla="*/ 2585935 w 4663705"/>
              <a:gd name="connsiteY688" fmla="*/ 1483729 h 1782873"/>
              <a:gd name="connsiteX689" fmla="*/ 2609072 w 4663705"/>
              <a:gd name="connsiteY689" fmla="*/ 1488530 h 1782873"/>
              <a:gd name="connsiteX690" fmla="*/ 2634929 w 4663705"/>
              <a:gd name="connsiteY690" fmla="*/ 1495009 h 1782873"/>
              <a:gd name="connsiteX691" fmla="*/ 2661538 w 4663705"/>
              <a:gd name="connsiteY691" fmla="*/ 1502297 h 1782873"/>
              <a:gd name="connsiteX692" fmla="*/ 2687452 w 4663705"/>
              <a:gd name="connsiteY692" fmla="*/ 1488530 h 1782873"/>
              <a:gd name="connsiteX693" fmla="*/ 2699483 w 4663705"/>
              <a:gd name="connsiteY693" fmla="*/ 1476441 h 1782873"/>
              <a:gd name="connsiteX694" fmla="*/ 2712440 w 4663705"/>
              <a:gd name="connsiteY694" fmla="*/ 1448155 h 1782873"/>
              <a:gd name="connsiteX695" fmla="*/ 2729389 w 4663705"/>
              <a:gd name="connsiteY695" fmla="*/ 1422298 h 1782873"/>
              <a:gd name="connsiteX696" fmla="*/ 2741478 w 4663705"/>
              <a:gd name="connsiteY696" fmla="*/ 1408531 h 1782873"/>
              <a:gd name="connsiteX697" fmla="*/ 2733438 w 4663705"/>
              <a:gd name="connsiteY697" fmla="*/ 1389154 h 1782873"/>
              <a:gd name="connsiteX698" fmla="*/ 2731066 w 4663705"/>
              <a:gd name="connsiteY698" fmla="*/ 1374635 h 1782873"/>
              <a:gd name="connsiteX699" fmla="*/ 2765773 w 4663705"/>
              <a:gd name="connsiteY699" fmla="*/ 1363066 h 1782873"/>
              <a:gd name="connsiteX700" fmla="*/ 2806264 w 4663705"/>
              <a:gd name="connsiteY700" fmla="*/ 1359827 h 1782873"/>
              <a:gd name="connsiteX701" fmla="*/ 2836979 w 4663705"/>
              <a:gd name="connsiteY701" fmla="*/ 1364628 h 1782873"/>
              <a:gd name="connsiteX702" fmla="*/ 2870066 w 4663705"/>
              <a:gd name="connsiteY702" fmla="*/ 1374345 h 1782873"/>
              <a:gd name="connsiteX703" fmla="*/ 2887824 w 4663705"/>
              <a:gd name="connsiteY703" fmla="*/ 1394591 h 1782873"/>
              <a:gd name="connsiteX704" fmla="*/ 2900723 w 4663705"/>
              <a:gd name="connsiteY704" fmla="*/ 1419580 h 1782873"/>
              <a:gd name="connsiteX705" fmla="*/ 2916920 w 4663705"/>
              <a:gd name="connsiteY705" fmla="*/ 1451857 h 1782873"/>
              <a:gd name="connsiteX706" fmla="*/ 2930629 w 4663705"/>
              <a:gd name="connsiteY706" fmla="*/ 1485002 h 1782873"/>
              <a:gd name="connsiteX707" fmla="*/ 2941099 w 4663705"/>
              <a:gd name="connsiteY707" fmla="*/ 1500388 h 1782873"/>
              <a:gd name="connsiteX708" fmla="*/ 2967823 w 4663705"/>
              <a:gd name="connsiteY708" fmla="*/ 1510048 h 1782873"/>
              <a:gd name="connsiteX709" fmla="*/ 2995241 w 4663705"/>
              <a:gd name="connsiteY709" fmla="*/ 1522195 h 1782873"/>
              <a:gd name="connsiteX710" fmla="*/ 3014619 w 4663705"/>
              <a:gd name="connsiteY710" fmla="*/ 1535095 h 1782873"/>
              <a:gd name="connsiteX711" fmla="*/ 3020403 w 4663705"/>
              <a:gd name="connsiteY711" fmla="*/ 1558522 h 1782873"/>
              <a:gd name="connsiteX712" fmla="*/ 3047070 w 4663705"/>
              <a:gd name="connsiteY712" fmla="*/ 1569049 h 1782873"/>
              <a:gd name="connsiteX713" fmla="*/ 3071306 w 4663705"/>
              <a:gd name="connsiteY713" fmla="*/ 1563265 h 1782873"/>
              <a:gd name="connsiteX714" fmla="*/ 3097914 w 4663705"/>
              <a:gd name="connsiteY714" fmla="*/ 1553547 h 1782873"/>
              <a:gd name="connsiteX715" fmla="*/ 3119780 w 4663705"/>
              <a:gd name="connsiteY715" fmla="*/ 1559331 h 1782873"/>
              <a:gd name="connsiteX716" fmla="*/ 3120590 w 4663705"/>
              <a:gd name="connsiteY716" fmla="*/ 1581949 h 1782873"/>
              <a:gd name="connsiteX717" fmla="*/ 3106013 w 4663705"/>
              <a:gd name="connsiteY717" fmla="*/ 1616655 h 1782873"/>
              <a:gd name="connsiteX718" fmla="*/ 3089874 w 4663705"/>
              <a:gd name="connsiteY718" fmla="*/ 1637653 h 1782873"/>
              <a:gd name="connsiteX719" fmla="*/ 3076917 w 4663705"/>
              <a:gd name="connsiteY719" fmla="*/ 1655411 h 1782873"/>
              <a:gd name="connsiteX720" fmla="*/ 3052681 w 4663705"/>
              <a:gd name="connsiteY720" fmla="*/ 1655411 h 1782873"/>
              <a:gd name="connsiteX721" fmla="*/ 3030121 w 4663705"/>
              <a:gd name="connsiteY721" fmla="*/ 1665938 h 1782873"/>
              <a:gd name="connsiteX722" fmla="*/ 3026072 w 4663705"/>
              <a:gd name="connsiteY722" fmla="*/ 1685316 h 1782873"/>
              <a:gd name="connsiteX723" fmla="*/ 3027691 w 4663705"/>
              <a:gd name="connsiteY723" fmla="*/ 1707933 h 1782873"/>
              <a:gd name="connsiteX724" fmla="*/ 3029601 w 4663705"/>
              <a:gd name="connsiteY724" fmla="*/ 1734021 h 1782873"/>
              <a:gd name="connsiteX725" fmla="*/ 3052333 w 4663705"/>
              <a:gd name="connsiteY725" fmla="*/ 1721643 h 1782873"/>
              <a:gd name="connsiteX726" fmla="*/ 3083801 w 4663705"/>
              <a:gd name="connsiteY726" fmla="*/ 1739401 h 1782873"/>
              <a:gd name="connsiteX727" fmla="*/ 3146793 w 4663705"/>
              <a:gd name="connsiteY727" fmla="*/ 1699893 h 1782873"/>
              <a:gd name="connsiteX728" fmla="*/ 3191217 w 4663705"/>
              <a:gd name="connsiteY728" fmla="*/ 1650610 h 1782873"/>
              <a:gd name="connsiteX729" fmla="*/ 3231246 w 4663705"/>
              <a:gd name="connsiteY729" fmla="*/ 1596872 h 1782873"/>
              <a:gd name="connsiteX730" fmla="*/ 3260168 w 4663705"/>
              <a:gd name="connsiteY730" fmla="*/ 1558117 h 1782873"/>
              <a:gd name="connsiteX731" fmla="*/ 3277116 w 4663705"/>
              <a:gd name="connsiteY731" fmla="*/ 1530236 h 1782873"/>
              <a:gd name="connsiteX732" fmla="*/ 3288685 w 4663705"/>
              <a:gd name="connsiteY732" fmla="*/ 1458335 h 1782873"/>
              <a:gd name="connsiteX733" fmla="*/ 3293891 w 4663705"/>
              <a:gd name="connsiteY733" fmla="*/ 1441387 h 1782873"/>
              <a:gd name="connsiteX734" fmla="*/ 3304014 w 4663705"/>
              <a:gd name="connsiteY734" fmla="*/ 1422009 h 1782873"/>
              <a:gd name="connsiteX735" fmla="*/ 3308468 w 4663705"/>
              <a:gd name="connsiteY735" fmla="*/ 1403846 h 1782873"/>
              <a:gd name="connsiteX736" fmla="*/ 3306848 w 4663705"/>
              <a:gd name="connsiteY736" fmla="*/ 1383253 h 1782873"/>
              <a:gd name="connsiteX737" fmla="*/ 3310030 w 4663705"/>
              <a:gd name="connsiteY737" fmla="*/ 1375155 h 1782873"/>
              <a:gd name="connsiteX738" fmla="*/ 3300023 w 4663705"/>
              <a:gd name="connsiteY738" fmla="*/ 1361851 h 1782873"/>
              <a:gd name="connsiteX739" fmla="*/ 3283421 w 4663705"/>
              <a:gd name="connsiteY739" fmla="*/ 1348084 h 1782873"/>
              <a:gd name="connsiteX740" fmla="*/ 3262019 w 4663705"/>
              <a:gd name="connsiteY740" fmla="*/ 1331946 h 1782873"/>
              <a:gd name="connsiteX741" fmla="*/ 3238881 w 4663705"/>
              <a:gd name="connsiteY741" fmla="*/ 1332755 h 1782873"/>
              <a:gd name="connsiteX742" fmla="*/ 3233675 w 4663705"/>
              <a:gd name="connsiteY742" fmla="*/ 1342010 h 1782873"/>
              <a:gd name="connsiteX743" fmla="*/ 3222106 w 4663705"/>
              <a:gd name="connsiteY743" fmla="*/ 1352538 h 1782873"/>
              <a:gd name="connsiteX744" fmla="*/ 3206720 w 4663705"/>
              <a:gd name="connsiteY744" fmla="*/ 1353753 h 1782873"/>
              <a:gd name="connsiteX745" fmla="*/ 3205505 w 4663705"/>
              <a:gd name="connsiteY745" fmla="*/ 1337614 h 1782873"/>
              <a:gd name="connsiteX746" fmla="*/ 3204753 w 4663705"/>
              <a:gd name="connsiteY746" fmla="*/ 1326682 h 1782873"/>
              <a:gd name="connsiteX747" fmla="*/ 3187747 w 4663705"/>
              <a:gd name="connsiteY747" fmla="*/ 1346118 h 1782873"/>
              <a:gd name="connsiteX748" fmla="*/ 3184507 w 4663705"/>
              <a:gd name="connsiteY748" fmla="*/ 1318237 h 1782873"/>
              <a:gd name="connsiteX749" fmla="*/ 3153445 w 4663705"/>
              <a:gd name="connsiteY749" fmla="*/ 1317427 h 1782873"/>
              <a:gd name="connsiteX750" fmla="*/ 3154660 w 4663705"/>
              <a:gd name="connsiteY750" fmla="*/ 1297181 h 1782873"/>
              <a:gd name="connsiteX751" fmla="*/ 3172823 w 4663705"/>
              <a:gd name="connsiteY751" fmla="*/ 1280233 h 1782873"/>
              <a:gd name="connsiteX752" fmla="*/ 3207934 w 4663705"/>
              <a:gd name="connsiteY752" fmla="*/ 1259640 h 1782873"/>
              <a:gd name="connsiteX753" fmla="*/ 3222916 w 4663705"/>
              <a:gd name="connsiteY753" fmla="*/ 1239857 h 1782873"/>
              <a:gd name="connsiteX754" fmla="*/ 3262134 w 4663705"/>
              <a:gd name="connsiteY754" fmla="*/ 1210415 h 1782873"/>
              <a:gd name="connsiteX755" fmla="*/ 3291982 w 4663705"/>
              <a:gd name="connsiteY755" fmla="*/ 1179699 h 1782873"/>
              <a:gd name="connsiteX756" fmla="*/ 3322293 w 4663705"/>
              <a:gd name="connsiteY756" fmla="*/ 1154248 h 1782873"/>
              <a:gd name="connsiteX757" fmla="*/ 3373543 w 4663705"/>
              <a:gd name="connsiteY757" fmla="*/ 1127582 h 1782873"/>
              <a:gd name="connsiteX758" fmla="*/ 3432891 w 4663705"/>
              <a:gd name="connsiteY758" fmla="*/ 1134870 h 1782873"/>
              <a:gd name="connsiteX759" fmla="*/ 3444633 w 4663705"/>
              <a:gd name="connsiteY759" fmla="*/ 1137033 h 1782873"/>
              <a:gd name="connsiteX760" fmla="*/ 3447062 w 4663705"/>
              <a:gd name="connsiteY760" fmla="*/ 1134465 h 1782873"/>
              <a:gd name="connsiteX761" fmla="*/ 3472514 w 4663705"/>
              <a:gd name="connsiteY761" fmla="*/ 1134060 h 1782873"/>
              <a:gd name="connsiteX762" fmla="*/ 3498718 w 4663705"/>
              <a:gd name="connsiteY762" fmla="*/ 1130416 h 1782873"/>
              <a:gd name="connsiteX763" fmla="*/ 3521335 w 4663705"/>
              <a:gd name="connsiteY763" fmla="*/ 1123995 h 1782873"/>
              <a:gd name="connsiteX764" fmla="*/ 3559744 w 4663705"/>
              <a:gd name="connsiteY764" fmla="*/ 1119541 h 1782873"/>
              <a:gd name="connsiteX765" fmla="*/ 3580336 w 4663705"/>
              <a:gd name="connsiteY765" fmla="*/ 1123591 h 1782873"/>
              <a:gd name="connsiteX766" fmla="*/ 3599251 w 4663705"/>
              <a:gd name="connsiteY766" fmla="*/ 1133250 h 1782873"/>
              <a:gd name="connsiteX767" fmla="*/ 3594450 w 4663705"/>
              <a:gd name="connsiteY767" fmla="*/ 1141754 h 1782873"/>
              <a:gd name="connsiteX768" fmla="*/ 3585542 w 4663705"/>
              <a:gd name="connsiteY768" fmla="*/ 1151067 h 1782873"/>
              <a:gd name="connsiteX769" fmla="*/ 3613018 w 4663705"/>
              <a:gd name="connsiteY769" fmla="*/ 1147017 h 1782873"/>
              <a:gd name="connsiteX770" fmla="*/ 3641940 w 4663705"/>
              <a:gd name="connsiteY770" fmla="*/ 1142158 h 1782873"/>
              <a:gd name="connsiteX771" fmla="*/ 3661318 w 4663705"/>
              <a:gd name="connsiteY771" fmla="*/ 1141754 h 1782873"/>
              <a:gd name="connsiteX772" fmla="*/ 3689604 w 4663705"/>
              <a:gd name="connsiteY772" fmla="*/ 1134870 h 1782873"/>
              <a:gd name="connsiteX773" fmla="*/ 3678671 w 4663705"/>
              <a:gd name="connsiteY773" fmla="*/ 1126367 h 1782873"/>
              <a:gd name="connsiteX774" fmla="*/ 3676647 w 4663705"/>
              <a:gd name="connsiteY774" fmla="*/ 1103229 h 1782873"/>
              <a:gd name="connsiteX775" fmla="*/ 3716617 w 4663705"/>
              <a:gd name="connsiteY775" fmla="*/ 1067655 h 1782873"/>
              <a:gd name="connsiteX776" fmla="*/ 3736863 w 4663705"/>
              <a:gd name="connsiteY776" fmla="*/ 1056086 h 1782873"/>
              <a:gd name="connsiteX777" fmla="*/ 3751381 w 4663705"/>
              <a:gd name="connsiteY777" fmla="*/ 1031040 h 1782873"/>
              <a:gd name="connsiteX778" fmla="*/ 3796210 w 4663705"/>
              <a:gd name="connsiteY778" fmla="*/ 1026990 h 1782873"/>
              <a:gd name="connsiteX779" fmla="*/ 3814374 w 4663705"/>
              <a:gd name="connsiteY779" fmla="*/ 1034684 h 1782873"/>
              <a:gd name="connsiteX780" fmla="*/ 3834157 w 4663705"/>
              <a:gd name="connsiteY780" fmla="*/ 1026990 h 1782873"/>
              <a:gd name="connsiteX781" fmla="*/ 3820852 w 4663705"/>
              <a:gd name="connsiteY781" fmla="*/ 1052442 h 1782873"/>
              <a:gd name="connsiteX782" fmla="*/ 3836181 w 4663705"/>
              <a:gd name="connsiteY782" fmla="*/ 1062970 h 1782873"/>
              <a:gd name="connsiteX783" fmla="*/ 3828893 w 4663705"/>
              <a:gd name="connsiteY783" fmla="*/ 1074539 h 1782873"/>
              <a:gd name="connsiteX784" fmla="*/ 3862037 w 4663705"/>
              <a:gd name="connsiteY784" fmla="*/ 1060020 h 1782873"/>
              <a:gd name="connsiteX785" fmla="*/ 3907272 w 4663705"/>
              <a:gd name="connsiteY785" fmla="*/ 1038617 h 1782873"/>
              <a:gd name="connsiteX786" fmla="*/ 3913056 w 4663705"/>
              <a:gd name="connsiteY786" fmla="*/ 1011951 h 1782873"/>
              <a:gd name="connsiteX787" fmla="*/ 3959852 w 4663705"/>
              <a:gd name="connsiteY787" fmla="*/ 995408 h 1782873"/>
              <a:gd name="connsiteX788" fmla="*/ 3959448 w 4663705"/>
              <a:gd name="connsiteY788" fmla="*/ 1001828 h 1782873"/>
              <a:gd name="connsiteX789" fmla="*/ 3938855 w 4663705"/>
              <a:gd name="connsiteY789" fmla="*/ 1022421 h 1782873"/>
              <a:gd name="connsiteX790" fmla="*/ 3934458 w 4663705"/>
              <a:gd name="connsiteY790" fmla="*/ 1045905 h 1782873"/>
              <a:gd name="connsiteX791" fmla="*/ 3926360 w 4663705"/>
              <a:gd name="connsiteY791" fmla="*/ 1057995 h 1782873"/>
              <a:gd name="connsiteX792" fmla="*/ 3918262 w 4663705"/>
              <a:gd name="connsiteY792" fmla="*/ 1070489 h 1782873"/>
              <a:gd name="connsiteX793" fmla="*/ 3882341 w 4663705"/>
              <a:gd name="connsiteY793" fmla="*/ 1086223 h 1782873"/>
              <a:gd name="connsiteX794" fmla="*/ 3860129 w 4663705"/>
              <a:gd name="connsiteY794" fmla="*/ 1110865 h 1782873"/>
              <a:gd name="connsiteX795" fmla="*/ 3809631 w 4663705"/>
              <a:gd name="connsiteY795" fmla="*/ 1157140 h 1782873"/>
              <a:gd name="connsiteX796" fmla="*/ 3764801 w 4663705"/>
              <a:gd name="connsiteY796" fmla="*/ 1187798 h 1782873"/>
              <a:gd name="connsiteX797" fmla="*/ 3739350 w 4663705"/>
              <a:gd name="connsiteY797" fmla="*/ 1193061 h 1782873"/>
              <a:gd name="connsiteX798" fmla="*/ 3730095 w 4663705"/>
              <a:gd name="connsiteY798" fmla="*/ 1226206 h 1782873"/>
              <a:gd name="connsiteX799" fmla="*/ 3705049 w 4663705"/>
              <a:gd name="connsiteY799" fmla="*/ 1288794 h 1782873"/>
              <a:gd name="connsiteX800" fmla="*/ 3719972 w 4663705"/>
              <a:gd name="connsiteY800" fmla="*/ 1389790 h 1782873"/>
              <a:gd name="connsiteX801" fmla="*/ 3728475 w 4663705"/>
              <a:gd name="connsiteY801" fmla="*/ 1436065 h 1782873"/>
              <a:gd name="connsiteX802" fmla="*/ 3735706 w 4663705"/>
              <a:gd name="connsiteY802" fmla="*/ 1455906 h 1782873"/>
              <a:gd name="connsiteX803" fmla="*/ 3764628 w 4663705"/>
              <a:gd name="connsiteY803" fmla="*/ 1431206 h 1782873"/>
              <a:gd name="connsiteX804" fmla="*/ 3778337 w 4663705"/>
              <a:gd name="connsiteY804" fmla="*/ 1415473 h 1782873"/>
              <a:gd name="connsiteX805" fmla="*/ 3784411 w 4663705"/>
              <a:gd name="connsiteY805" fmla="*/ 1387592 h 1782873"/>
              <a:gd name="connsiteX806" fmla="*/ 3802979 w 4663705"/>
              <a:gd name="connsiteY806" fmla="*/ 1375097 h 1782873"/>
              <a:gd name="connsiteX807" fmla="*/ 3823166 w 4663705"/>
              <a:gd name="connsiteY807" fmla="*/ 1371048 h 1782873"/>
              <a:gd name="connsiteX808" fmla="*/ 3820737 w 4663705"/>
              <a:gd name="connsiteY808" fmla="*/ 1347911 h 1782873"/>
              <a:gd name="connsiteX809" fmla="*/ 3847056 w 4663705"/>
              <a:gd name="connsiteY809" fmla="*/ 1322864 h 1782873"/>
              <a:gd name="connsiteX810" fmla="*/ 3879738 w 4663705"/>
              <a:gd name="connsiteY810" fmla="*/ 1317080 h 1782873"/>
              <a:gd name="connsiteX811" fmla="*/ 3874879 w 4663705"/>
              <a:gd name="connsiteY811" fmla="*/ 1290008 h 1782873"/>
              <a:gd name="connsiteX812" fmla="*/ 3894257 w 4663705"/>
              <a:gd name="connsiteY812" fmla="*/ 1256864 h 1782873"/>
              <a:gd name="connsiteX813" fmla="*/ 3915312 w 4663705"/>
              <a:gd name="connsiteY813" fmla="*/ 1255649 h 1782873"/>
              <a:gd name="connsiteX814" fmla="*/ 3902355 w 4663705"/>
              <a:gd name="connsiteY814" fmla="*/ 1237486 h 1782873"/>
              <a:gd name="connsiteX815" fmla="*/ 3908140 w 4663705"/>
              <a:gd name="connsiteY815" fmla="*/ 1206828 h 1782873"/>
              <a:gd name="connsiteX816" fmla="*/ 3907272 w 4663705"/>
              <a:gd name="connsiteY816" fmla="*/ 1192309 h 1782873"/>
              <a:gd name="connsiteX817" fmla="*/ 3889919 w 4663705"/>
              <a:gd name="connsiteY817" fmla="*/ 1193466 h 1782873"/>
              <a:gd name="connsiteX818" fmla="*/ 3886679 w 4663705"/>
              <a:gd name="connsiteY818" fmla="*/ 1165238 h 1782873"/>
              <a:gd name="connsiteX819" fmla="*/ 3909817 w 4663705"/>
              <a:gd name="connsiteY819" fmla="*/ 1141002 h 1782873"/>
              <a:gd name="connsiteX820" fmla="*/ 3930410 w 4663705"/>
              <a:gd name="connsiteY820" fmla="*/ 1106700 h 1782873"/>
              <a:gd name="connsiteX821" fmla="*/ 3954184 w 4663705"/>
              <a:gd name="connsiteY821" fmla="*/ 1105485 h 1782873"/>
              <a:gd name="connsiteX822" fmla="*/ 3964711 w 4663705"/>
              <a:gd name="connsiteY822" fmla="*/ 1110286 h 1782873"/>
              <a:gd name="connsiteX823" fmla="*/ 3992187 w 4663705"/>
              <a:gd name="connsiteY823" fmla="*/ 1084083 h 1782873"/>
              <a:gd name="connsiteX824" fmla="*/ 3997971 w 4663705"/>
              <a:gd name="connsiteY824" fmla="*/ 1107857 h 1782873"/>
              <a:gd name="connsiteX825" fmla="*/ 4023365 w 4663705"/>
              <a:gd name="connsiteY825" fmla="*/ 1093338 h 1782873"/>
              <a:gd name="connsiteX826" fmla="*/ 4091622 w 4663705"/>
              <a:gd name="connsiteY826" fmla="*/ 1088074 h 1782873"/>
              <a:gd name="connsiteX827" fmla="*/ 4111867 w 4663705"/>
              <a:gd name="connsiteY827" fmla="*/ 1105427 h 1782873"/>
              <a:gd name="connsiteX828" fmla="*/ 4123436 w 4663705"/>
              <a:gd name="connsiteY828" fmla="*/ 1089231 h 1782873"/>
              <a:gd name="connsiteX829" fmla="*/ 4163001 w 4663705"/>
              <a:gd name="connsiteY829" fmla="*/ 1067019 h 1782873"/>
              <a:gd name="connsiteX830" fmla="*/ 4179198 w 4663705"/>
              <a:gd name="connsiteY830" fmla="*/ 1056144 h 1782873"/>
              <a:gd name="connsiteX831" fmla="*/ 4194932 w 4663705"/>
              <a:gd name="connsiteY831" fmla="*/ 1045616 h 1782873"/>
              <a:gd name="connsiteX832" fmla="*/ 4241207 w 4663705"/>
              <a:gd name="connsiteY832" fmla="*/ 1025024 h 1782873"/>
              <a:gd name="connsiteX833" fmla="*/ 4298126 w 4663705"/>
              <a:gd name="connsiteY833" fmla="*/ 997201 h 1782873"/>
              <a:gd name="connsiteX834" fmla="*/ 4309000 w 4663705"/>
              <a:gd name="connsiteY834" fmla="*/ 994771 h 1782873"/>
              <a:gd name="connsiteX835" fmla="*/ 4333237 w 4663705"/>
              <a:gd name="connsiteY835" fmla="*/ 1000556 h 1782873"/>
              <a:gd name="connsiteX836" fmla="*/ 4363142 w 4663705"/>
              <a:gd name="connsiteY836" fmla="*/ 998184 h 1782873"/>
              <a:gd name="connsiteX837" fmla="*/ 4362333 w 4663705"/>
              <a:gd name="connsiteY837" fmla="*/ 975972 h 1782873"/>
              <a:gd name="connsiteX838" fmla="*/ 4346541 w 4663705"/>
              <a:gd name="connsiteY838" fmla="*/ 950925 h 1782873"/>
              <a:gd name="connsiteX839" fmla="*/ 4328031 w 4663705"/>
              <a:gd name="connsiteY839" fmla="*/ 924259 h 1782873"/>
              <a:gd name="connsiteX840" fmla="*/ 4311835 w 4663705"/>
              <a:gd name="connsiteY840" fmla="*/ 914136 h 1782873"/>
              <a:gd name="connsiteX841" fmla="*/ 4303332 w 4663705"/>
              <a:gd name="connsiteY841" fmla="*/ 904823 h 1782873"/>
              <a:gd name="connsiteX842" fmla="*/ 4280194 w 4663705"/>
              <a:gd name="connsiteY842" fmla="*/ 900022 h 1782873"/>
              <a:gd name="connsiteX843" fmla="*/ 4307208 w 4663705"/>
              <a:gd name="connsiteY843" fmla="*/ 892387 h 1782873"/>
              <a:gd name="connsiteX844" fmla="*/ 4321784 w 4663705"/>
              <a:gd name="connsiteY844" fmla="*/ 905691 h 1782873"/>
              <a:gd name="connsiteX845" fmla="*/ 4352847 w 4663705"/>
              <a:gd name="connsiteY845" fmla="*/ 903666 h 1782873"/>
              <a:gd name="connsiteX846" fmla="*/ 4389230 w 4663705"/>
              <a:gd name="connsiteY846" fmla="*/ 885098 h 1782873"/>
              <a:gd name="connsiteX847" fmla="*/ 4396924 w 4663705"/>
              <a:gd name="connsiteY847" fmla="*/ 870984 h 1782873"/>
              <a:gd name="connsiteX848" fmla="*/ 4392065 w 4663705"/>
              <a:gd name="connsiteY848" fmla="*/ 854788 h 1782873"/>
              <a:gd name="connsiteX849" fmla="*/ 4388074 w 4663705"/>
              <a:gd name="connsiteY849" fmla="*/ 845915 h 1782873"/>
              <a:gd name="connsiteX850" fmla="*/ 4394032 w 4663705"/>
              <a:gd name="connsiteY850" fmla="*/ 841484 h 1782873"/>
              <a:gd name="connsiteX851" fmla="*/ 4404155 w 4663705"/>
              <a:gd name="connsiteY851" fmla="*/ 832576 h 1782873"/>
              <a:gd name="connsiteX852" fmla="*/ 4418731 w 4663705"/>
              <a:gd name="connsiteY852" fmla="*/ 831766 h 1782873"/>
              <a:gd name="connsiteX853" fmla="*/ 4415087 w 4663705"/>
              <a:gd name="connsiteY853" fmla="*/ 846343 h 1782873"/>
              <a:gd name="connsiteX854" fmla="*/ 4424747 w 4663705"/>
              <a:gd name="connsiteY854" fmla="*/ 864911 h 1782873"/>
              <a:gd name="connsiteX855" fmla="*/ 4453033 w 4663705"/>
              <a:gd name="connsiteY855" fmla="*/ 865663 h 1782873"/>
              <a:gd name="connsiteX856" fmla="*/ 4495838 w 4663705"/>
              <a:gd name="connsiteY856" fmla="*/ 879777 h 1782873"/>
              <a:gd name="connsiteX857" fmla="*/ 4515215 w 4663705"/>
              <a:gd name="connsiteY857" fmla="*/ 903261 h 1782873"/>
              <a:gd name="connsiteX858" fmla="*/ 4542287 w 4663705"/>
              <a:gd name="connsiteY858" fmla="*/ 912979 h 1782873"/>
              <a:gd name="connsiteX859" fmla="*/ 4556748 w 4663705"/>
              <a:gd name="connsiteY859" fmla="*/ 920655 h 1782873"/>
              <a:gd name="connsiteX860" fmla="*/ 4556863 w 4663705"/>
              <a:gd name="connsiteY860" fmla="*/ 920615 h 1782873"/>
              <a:gd name="connsiteX861" fmla="*/ 4573407 w 4663705"/>
              <a:gd name="connsiteY861" fmla="*/ 922177 h 1782873"/>
              <a:gd name="connsiteX862" fmla="*/ 4588331 w 4663705"/>
              <a:gd name="connsiteY862" fmla="*/ 918995 h 1782873"/>
              <a:gd name="connsiteX863" fmla="*/ 4576241 w 4663705"/>
              <a:gd name="connsiteY863" fmla="*/ 904071 h 1782873"/>
              <a:gd name="connsiteX864" fmla="*/ 4589545 w 4663705"/>
              <a:gd name="connsiteY864" fmla="*/ 907311 h 1782873"/>
              <a:gd name="connsiteX865" fmla="*/ 4592379 w 4663705"/>
              <a:gd name="connsiteY865" fmla="*/ 893949 h 1782873"/>
              <a:gd name="connsiteX866" fmla="*/ 4588331 w 4663705"/>
              <a:gd name="connsiteY866" fmla="*/ 866935 h 1782873"/>
              <a:gd name="connsiteX867" fmla="*/ 4596834 w 4663705"/>
              <a:gd name="connsiteY867" fmla="*/ 863696 h 1782873"/>
              <a:gd name="connsiteX868" fmla="*/ 4627491 w 4663705"/>
              <a:gd name="connsiteY868" fmla="*/ 870117 h 1782873"/>
              <a:gd name="connsiteX869" fmla="*/ 4621071 w 4663705"/>
              <a:gd name="connsiteY869" fmla="*/ 862423 h 1782873"/>
              <a:gd name="connsiteX870" fmla="*/ 4626855 w 4663705"/>
              <a:gd name="connsiteY870" fmla="*/ 860052 h 1782873"/>
              <a:gd name="connsiteX871" fmla="*/ 4641779 w 4663705"/>
              <a:gd name="connsiteY871" fmla="*/ 861672 h 1782873"/>
              <a:gd name="connsiteX872" fmla="*/ 4655950 w 4663705"/>
              <a:gd name="connsiteY872" fmla="*/ 846748 h 1782873"/>
              <a:gd name="connsiteX873" fmla="*/ 4658438 w 4663705"/>
              <a:gd name="connsiteY873" fmla="*/ 840327 h 1782873"/>
              <a:gd name="connsiteX874" fmla="*/ 2406213 w 4663705"/>
              <a:gd name="connsiteY874" fmla="*/ 1370181 h 1782873"/>
              <a:gd name="connsiteX875" fmla="*/ 2337146 w 4663705"/>
              <a:gd name="connsiteY875" fmla="*/ 1412581 h 1782873"/>
              <a:gd name="connsiteX876" fmla="*/ 2276584 w 4663705"/>
              <a:gd name="connsiteY876" fmla="*/ 1430801 h 1782873"/>
              <a:gd name="connsiteX877" fmla="*/ 2328643 w 4663705"/>
              <a:gd name="connsiteY877" fmla="*/ 1398062 h 1782873"/>
              <a:gd name="connsiteX878" fmla="*/ 2401296 w 4663705"/>
              <a:gd name="connsiteY878" fmla="*/ 1328995 h 1782873"/>
              <a:gd name="connsiteX879" fmla="*/ 2436465 w 4663705"/>
              <a:gd name="connsiteY879" fmla="*/ 1273291 h 1782873"/>
              <a:gd name="connsiteX880" fmla="*/ 2406444 w 4663705"/>
              <a:gd name="connsiteY880" fmla="*/ 1370181 h 1782873"/>
              <a:gd name="connsiteX881" fmla="*/ 2508771 w 4663705"/>
              <a:gd name="connsiteY881" fmla="*/ 421534 h 1782873"/>
              <a:gd name="connsiteX882" fmla="*/ 2492632 w 4663705"/>
              <a:gd name="connsiteY882" fmla="*/ 434434 h 1782873"/>
              <a:gd name="connsiteX883" fmla="*/ 2541915 w 4663705"/>
              <a:gd name="connsiteY883" fmla="*/ 426393 h 1782873"/>
              <a:gd name="connsiteX884" fmla="*/ 2509002 w 4663705"/>
              <a:gd name="connsiteY884" fmla="*/ 421592 h 1782873"/>
              <a:gd name="connsiteX885" fmla="*/ 1038022 w 4663705"/>
              <a:gd name="connsiteY885" fmla="*/ 22409 h 1782873"/>
              <a:gd name="connsiteX886" fmla="*/ 1064630 w 4663705"/>
              <a:gd name="connsiteY886" fmla="*/ 11881 h 1782873"/>
              <a:gd name="connsiteX887" fmla="*/ 1087768 w 4663705"/>
              <a:gd name="connsiteY887" fmla="*/ 4650 h 1782873"/>
              <a:gd name="connsiteX888" fmla="*/ 1039294 w 4663705"/>
              <a:gd name="connsiteY888" fmla="*/ 6270 h 1782873"/>
              <a:gd name="connsiteX889" fmla="*/ 1002101 w 4663705"/>
              <a:gd name="connsiteY889" fmla="*/ 12691 h 1782873"/>
              <a:gd name="connsiteX890" fmla="*/ 1038253 w 4663705"/>
              <a:gd name="connsiteY890" fmla="*/ 22582 h 1782873"/>
              <a:gd name="connsiteX891" fmla="*/ 937778 w 4663705"/>
              <a:gd name="connsiteY891" fmla="*/ 76493 h 1782873"/>
              <a:gd name="connsiteX892" fmla="*/ 903881 w 4663705"/>
              <a:gd name="connsiteY892" fmla="*/ 80542 h 1782873"/>
              <a:gd name="connsiteX893" fmla="*/ 938009 w 4663705"/>
              <a:gd name="connsiteY893" fmla="*/ 76667 h 1782873"/>
              <a:gd name="connsiteX894" fmla="*/ 1041898 w 4663705"/>
              <a:gd name="connsiteY894" fmla="*/ 66023 h 1782873"/>
              <a:gd name="connsiteX895" fmla="*/ 1021710 w 4663705"/>
              <a:gd name="connsiteY895" fmla="*/ 73254 h 1782873"/>
              <a:gd name="connsiteX896" fmla="*/ 1005513 w 4663705"/>
              <a:gd name="connsiteY896" fmla="*/ 89450 h 1782873"/>
              <a:gd name="connsiteX897" fmla="*/ 1065324 w 4663705"/>
              <a:gd name="connsiteY897" fmla="*/ 84591 h 1782873"/>
              <a:gd name="connsiteX898" fmla="*/ 1094246 w 4663705"/>
              <a:gd name="connsiteY898" fmla="*/ 73022 h 1782873"/>
              <a:gd name="connsiteX899" fmla="*/ 1042244 w 4663705"/>
              <a:gd name="connsiteY899" fmla="*/ 66197 h 1782873"/>
              <a:gd name="connsiteX900" fmla="*/ 1180030 w 4663705"/>
              <a:gd name="connsiteY900" fmla="*/ 50695 h 1782873"/>
              <a:gd name="connsiteX901" fmla="*/ 1167883 w 4663705"/>
              <a:gd name="connsiteY901" fmla="*/ 36118 h 1782873"/>
              <a:gd name="connsiteX902" fmla="*/ 1123458 w 4663705"/>
              <a:gd name="connsiteY902" fmla="*/ 35308 h 1782873"/>
              <a:gd name="connsiteX903" fmla="*/ 1102518 w 4663705"/>
              <a:gd name="connsiteY903" fmla="*/ 60354 h 1782873"/>
              <a:gd name="connsiteX904" fmla="*/ 1180376 w 4663705"/>
              <a:gd name="connsiteY904" fmla="*/ 50868 h 1782873"/>
              <a:gd name="connsiteX905" fmla="*/ 1051615 w 4663705"/>
              <a:gd name="connsiteY905" fmla="*/ 37737 h 1782873"/>
              <a:gd name="connsiteX906" fmla="*/ 1004703 w 4663705"/>
              <a:gd name="connsiteY906" fmla="*/ 25648 h 1782873"/>
              <a:gd name="connsiteX907" fmla="*/ 985326 w 4663705"/>
              <a:gd name="connsiteY907" fmla="*/ 29697 h 1782873"/>
              <a:gd name="connsiteX908" fmla="*/ 956403 w 4663705"/>
              <a:gd name="connsiteY908" fmla="*/ 46645 h 1782873"/>
              <a:gd name="connsiteX909" fmla="*/ 1051962 w 4663705"/>
              <a:gd name="connsiteY909" fmla="*/ 37853 h 1782873"/>
              <a:gd name="connsiteX910" fmla="*/ 931241 w 4663705"/>
              <a:gd name="connsiteY910" fmla="*/ 486031 h 1782873"/>
              <a:gd name="connsiteX911" fmla="*/ 911922 w 4663705"/>
              <a:gd name="connsiteY911" fmla="*/ 499740 h 1782873"/>
              <a:gd name="connsiteX912" fmla="*/ 920713 w 4663705"/>
              <a:gd name="connsiteY912" fmla="*/ 518308 h 1782873"/>
              <a:gd name="connsiteX913" fmla="*/ 904575 w 4663705"/>
              <a:gd name="connsiteY913" fmla="*/ 534504 h 1782873"/>
              <a:gd name="connsiteX914" fmla="*/ 870679 w 4663705"/>
              <a:gd name="connsiteY914" fmla="*/ 552262 h 1782873"/>
              <a:gd name="connsiteX915" fmla="*/ 898155 w 4663705"/>
              <a:gd name="connsiteY915" fmla="*/ 568401 h 1782873"/>
              <a:gd name="connsiteX916" fmla="*/ 902955 w 4663705"/>
              <a:gd name="connsiteY916" fmla="*/ 588589 h 1782873"/>
              <a:gd name="connsiteX917" fmla="*/ 913483 w 4663705"/>
              <a:gd name="connsiteY917" fmla="*/ 579681 h 1782873"/>
              <a:gd name="connsiteX918" fmla="*/ 935290 w 4663705"/>
              <a:gd name="connsiteY918" fmla="*/ 595067 h 1782873"/>
              <a:gd name="connsiteX919" fmla="*/ 969997 w 4663705"/>
              <a:gd name="connsiteY919" fmla="*/ 614445 h 1782873"/>
              <a:gd name="connsiteX920" fmla="*/ 1041030 w 4663705"/>
              <a:gd name="connsiteY920" fmla="*/ 614445 h 1782873"/>
              <a:gd name="connsiteX921" fmla="*/ 1003893 w 4663705"/>
              <a:gd name="connsiteY921" fmla="*/ 581300 h 1782873"/>
              <a:gd name="connsiteX922" fmla="*/ 994176 w 4663705"/>
              <a:gd name="connsiteY922" fmla="*/ 522357 h 1782873"/>
              <a:gd name="connsiteX923" fmla="*/ 1015983 w 4663705"/>
              <a:gd name="connsiteY923" fmla="*/ 490890 h 1782873"/>
              <a:gd name="connsiteX924" fmla="*/ 1040220 w 4663705"/>
              <a:gd name="connsiteY924" fmla="*/ 462604 h 1782873"/>
              <a:gd name="connsiteX925" fmla="*/ 1054797 w 4663705"/>
              <a:gd name="connsiteY925" fmla="*/ 444036 h 1782873"/>
              <a:gd name="connsiteX926" fmla="*/ 1072034 w 4663705"/>
              <a:gd name="connsiteY926" fmla="*/ 418544 h 1782873"/>
              <a:gd name="connsiteX927" fmla="*/ 1071745 w 4663705"/>
              <a:gd name="connsiteY927" fmla="*/ 417369 h 1782873"/>
              <a:gd name="connsiteX928" fmla="*/ 1097602 w 4663705"/>
              <a:gd name="connsiteY928" fmla="*/ 408461 h 1782873"/>
              <a:gd name="connsiteX929" fmla="*/ 1133927 w 4663705"/>
              <a:gd name="connsiteY929" fmla="*/ 391513 h 1782873"/>
              <a:gd name="connsiteX930" fmla="*/ 1285769 w 4663705"/>
              <a:gd name="connsiteY930" fmla="*/ 334189 h 1782873"/>
              <a:gd name="connsiteX931" fmla="*/ 1356049 w 4663705"/>
              <a:gd name="connsiteY931" fmla="*/ 285716 h 1782873"/>
              <a:gd name="connsiteX932" fmla="*/ 1272059 w 4663705"/>
              <a:gd name="connsiteY932" fmla="*/ 301854 h 1782873"/>
              <a:gd name="connsiteX933" fmla="*/ 1227635 w 4663705"/>
              <a:gd name="connsiteY933" fmla="*/ 312324 h 1782873"/>
              <a:gd name="connsiteX934" fmla="*/ 1173493 w 4663705"/>
              <a:gd name="connsiteY934" fmla="*/ 317183 h 1782873"/>
              <a:gd name="connsiteX935" fmla="*/ 1133002 w 4663705"/>
              <a:gd name="connsiteY935" fmla="*/ 326901 h 1782873"/>
              <a:gd name="connsiteX936" fmla="*/ 1099106 w 4663705"/>
              <a:gd name="connsiteY936" fmla="*/ 336619 h 1782873"/>
              <a:gd name="connsiteX937" fmla="*/ 1063531 w 4663705"/>
              <a:gd name="connsiteY937" fmla="*/ 351948 h 1782873"/>
              <a:gd name="connsiteX938" fmla="*/ 1042534 w 4663705"/>
              <a:gd name="connsiteY938" fmla="*/ 364905 h 1782873"/>
              <a:gd name="connsiteX939" fmla="*/ 1019396 w 4663705"/>
              <a:gd name="connsiteY939" fmla="*/ 372945 h 1782873"/>
              <a:gd name="connsiteX940" fmla="*/ 1012917 w 4663705"/>
              <a:gd name="connsiteY940" fmla="*/ 391513 h 1782873"/>
              <a:gd name="connsiteX941" fmla="*/ 997589 w 4663705"/>
              <a:gd name="connsiteY941" fmla="*/ 409271 h 1782873"/>
              <a:gd name="connsiteX942" fmla="*/ 989490 w 4663705"/>
              <a:gd name="connsiteY942" fmla="*/ 427087 h 1782873"/>
              <a:gd name="connsiteX943" fmla="*/ 966353 w 4663705"/>
              <a:gd name="connsiteY943" fmla="*/ 439177 h 1782873"/>
              <a:gd name="connsiteX944" fmla="*/ 963172 w 4663705"/>
              <a:gd name="connsiteY944" fmla="*/ 458555 h 1782873"/>
              <a:gd name="connsiteX945" fmla="*/ 955941 w 4663705"/>
              <a:gd name="connsiteY945" fmla="*/ 473883 h 1782873"/>
              <a:gd name="connsiteX946" fmla="*/ 931588 w 4663705"/>
              <a:gd name="connsiteY946" fmla="*/ 486204 h 178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Lst>
            <a:rect l="l" t="t" r="r" b="b"/>
            <a:pathLst>
              <a:path w="4663705" h="1782873">
                <a:moveTo>
                  <a:pt x="70634" y="1290818"/>
                </a:moveTo>
                <a:cubicBezTo>
                  <a:pt x="66990" y="1292669"/>
                  <a:pt x="57272" y="1289025"/>
                  <a:pt x="54264" y="1285034"/>
                </a:cubicBezTo>
                <a:cubicBezTo>
                  <a:pt x="51256" y="1281043"/>
                  <a:pt x="44315" y="1282894"/>
                  <a:pt x="37605" y="1283530"/>
                </a:cubicBezTo>
                <a:cubicBezTo>
                  <a:pt x="39398" y="1284450"/>
                  <a:pt x="40902" y="1285878"/>
                  <a:pt x="41885" y="1287637"/>
                </a:cubicBezTo>
                <a:cubicBezTo>
                  <a:pt x="45530" y="1294115"/>
                  <a:pt x="27367" y="1294925"/>
                  <a:pt x="33035" y="1302561"/>
                </a:cubicBezTo>
                <a:cubicBezTo>
                  <a:pt x="38704" y="1310196"/>
                  <a:pt x="20136" y="1310659"/>
                  <a:pt x="20136" y="1302561"/>
                </a:cubicBezTo>
                <a:cubicBezTo>
                  <a:pt x="20136" y="1294462"/>
                  <a:pt x="700" y="1298512"/>
                  <a:pt x="1568" y="1303775"/>
                </a:cubicBezTo>
                <a:cubicBezTo>
                  <a:pt x="1747" y="1306060"/>
                  <a:pt x="1157" y="1308339"/>
                  <a:pt x="-110" y="1310254"/>
                </a:cubicBezTo>
                <a:cubicBezTo>
                  <a:pt x="5212" y="1312163"/>
                  <a:pt x="11459" y="1314303"/>
                  <a:pt x="13715" y="1315286"/>
                </a:cubicBezTo>
                <a:cubicBezTo>
                  <a:pt x="17359" y="1316790"/>
                  <a:pt x="65775" y="1321765"/>
                  <a:pt x="84748" y="1318294"/>
                </a:cubicBezTo>
                <a:cubicBezTo>
                  <a:pt x="84575" y="1312221"/>
                  <a:pt x="84922" y="1306147"/>
                  <a:pt x="85731" y="1300131"/>
                </a:cubicBezTo>
                <a:cubicBezTo>
                  <a:pt x="85731" y="1295099"/>
                  <a:pt x="74220" y="1289025"/>
                  <a:pt x="70634" y="1290818"/>
                </a:cubicBezTo>
                <a:close/>
                <a:moveTo>
                  <a:pt x="1239088" y="46819"/>
                </a:moveTo>
                <a:cubicBezTo>
                  <a:pt x="1269746" y="43580"/>
                  <a:pt x="1268994" y="26631"/>
                  <a:pt x="1252855" y="23392"/>
                </a:cubicBezTo>
                <a:cubicBezTo>
                  <a:pt x="1236717" y="20153"/>
                  <a:pt x="1234230" y="33052"/>
                  <a:pt x="1226189" y="32242"/>
                </a:cubicBezTo>
                <a:cubicBezTo>
                  <a:pt x="1218149" y="31432"/>
                  <a:pt x="1187607" y="37332"/>
                  <a:pt x="1193855" y="44389"/>
                </a:cubicBezTo>
                <a:cubicBezTo>
                  <a:pt x="1201374" y="52488"/>
                  <a:pt x="1223991" y="48381"/>
                  <a:pt x="1239320" y="46819"/>
                </a:cubicBezTo>
                <a:close/>
                <a:moveTo>
                  <a:pt x="1394979" y="495864"/>
                </a:moveTo>
                <a:cubicBezTo>
                  <a:pt x="1405507" y="497484"/>
                  <a:pt x="1433735" y="491815"/>
                  <a:pt x="1436974" y="486204"/>
                </a:cubicBezTo>
                <a:cubicBezTo>
                  <a:pt x="1440213" y="480593"/>
                  <a:pt x="1425405" y="474057"/>
                  <a:pt x="1407069" y="474057"/>
                </a:cubicBezTo>
                <a:cubicBezTo>
                  <a:pt x="1388732" y="474057"/>
                  <a:pt x="1386129" y="494476"/>
                  <a:pt x="1395210" y="495864"/>
                </a:cubicBezTo>
                <a:close/>
                <a:moveTo>
                  <a:pt x="1991874" y="83145"/>
                </a:moveTo>
                <a:cubicBezTo>
                  <a:pt x="2007203" y="89624"/>
                  <a:pt x="2001534" y="93673"/>
                  <a:pt x="1985396" y="93673"/>
                </a:cubicBezTo>
                <a:cubicBezTo>
                  <a:pt x="1969257" y="93673"/>
                  <a:pt x="1955374" y="99110"/>
                  <a:pt x="1966018" y="103333"/>
                </a:cubicBezTo>
                <a:cubicBezTo>
                  <a:pt x="1974115" y="106630"/>
                  <a:pt x="1973306" y="115480"/>
                  <a:pt x="1990254" y="119471"/>
                </a:cubicBezTo>
                <a:cubicBezTo>
                  <a:pt x="2007203" y="123463"/>
                  <a:pt x="2024151" y="109811"/>
                  <a:pt x="2022532" y="100093"/>
                </a:cubicBezTo>
                <a:cubicBezTo>
                  <a:pt x="2020912" y="90376"/>
                  <a:pt x="2081533" y="81526"/>
                  <a:pt x="2097729" y="77476"/>
                </a:cubicBezTo>
                <a:cubicBezTo>
                  <a:pt x="2113925" y="73427"/>
                  <a:pt x="2087201" y="56479"/>
                  <a:pt x="2105017" y="54859"/>
                </a:cubicBezTo>
                <a:cubicBezTo>
                  <a:pt x="2122834" y="53240"/>
                  <a:pt x="2115487" y="45199"/>
                  <a:pt x="2093738" y="41960"/>
                </a:cubicBezTo>
                <a:cubicBezTo>
                  <a:pt x="2071988" y="38721"/>
                  <a:pt x="2080781" y="20153"/>
                  <a:pt x="2073550" y="13674"/>
                </a:cubicBezTo>
                <a:cubicBezTo>
                  <a:pt x="2066320" y="7196"/>
                  <a:pt x="2061981" y="21772"/>
                  <a:pt x="2033927" y="27441"/>
                </a:cubicBezTo>
                <a:cubicBezTo>
                  <a:pt x="2005873" y="33110"/>
                  <a:pt x="1991932" y="40340"/>
                  <a:pt x="2003211" y="46009"/>
                </a:cubicBezTo>
                <a:cubicBezTo>
                  <a:pt x="2014491" y="51678"/>
                  <a:pt x="2003211" y="65387"/>
                  <a:pt x="1991122" y="64635"/>
                </a:cubicBezTo>
                <a:cubicBezTo>
                  <a:pt x="1979033" y="63883"/>
                  <a:pt x="1976777" y="76667"/>
                  <a:pt x="1992106" y="83145"/>
                </a:cubicBezTo>
                <a:close/>
                <a:moveTo>
                  <a:pt x="2034679" y="105762"/>
                </a:moveTo>
                <a:cubicBezTo>
                  <a:pt x="2034679" y="114670"/>
                  <a:pt x="2008707" y="123520"/>
                  <a:pt x="2016053" y="129999"/>
                </a:cubicBezTo>
                <a:cubicBezTo>
                  <a:pt x="2022532" y="135783"/>
                  <a:pt x="2028200" y="134048"/>
                  <a:pt x="2036298" y="135783"/>
                </a:cubicBezTo>
                <a:cubicBezTo>
                  <a:pt x="2044396" y="137519"/>
                  <a:pt x="2048388" y="157649"/>
                  <a:pt x="2062907" y="154409"/>
                </a:cubicBezTo>
                <a:cubicBezTo>
                  <a:pt x="2077426" y="151170"/>
                  <a:pt x="2117049" y="170548"/>
                  <a:pt x="2140476" y="170548"/>
                </a:cubicBezTo>
                <a:cubicBezTo>
                  <a:pt x="2163903" y="170548"/>
                  <a:pt x="2166333" y="151170"/>
                  <a:pt x="2159044" y="150360"/>
                </a:cubicBezTo>
                <a:cubicBezTo>
                  <a:pt x="2151756" y="149550"/>
                  <a:pt x="2158292" y="138271"/>
                  <a:pt x="2171134" y="119645"/>
                </a:cubicBezTo>
                <a:cubicBezTo>
                  <a:pt x="2183975" y="101019"/>
                  <a:pt x="2130643" y="87368"/>
                  <a:pt x="2130643" y="101887"/>
                </a:cubicBezTo>
                <a:cubicBezTo>
                  <a:pt x="2130643" y="116406"/>
                  <a:pt x="2115314" y="98647"/>
                  <a:pt x="2110455" y="89797"/>
                </a:cubicBezTo>
                <a:cubicBezTo>
                  <a:pt x="2105596" y="80947"/>
                  <a:pt x="2034910" y="96854"/>
                  <a:pt x="2034910" y="105762"/>
                </a:cubicBezTo>
                <a:close/>
                <a:moveTo>
                  <a:pt x="1630810" y="508011"/>
                </a:moveTo>
                <a:cubicBezTo>
                  <a:pt x="1643767" y="514490"/>
                  <a:pt x="1653485" y="512061"/>
                  <a:pt x="1651807" y="499103"/>
                </a:cubicBezTo>
                <a:cubicBezTo>
                  <a:pt x="1650130" y="486146"/>
                  <a:pt x="1620803" y="502863"/>
                  <a:pt x="1631041" y="508011"/>
                </a:cubicBezTo>
                <a:close/>
                <a:moveTo>
                  <a:pt x="1970877" y="25821"/>
                </a:moveTo>
                <a:cubicBezTo>
                  <a:pt x="1974115" y="13674"/>
                  <a:pt x="1920494" y="18938"/>
                  <a:pt x="1934492" y="30623"/>
                </a:cubicBezTo>
                <a:cubicBezTo>
                  <a:pt x="1939756" y="34672"/>
                  <a:pt x="1967869" y="37853"/>
                  <a:pt x="1971108" y="25821"/>
                </a:cubicBezTo>
                <a:close/>
                <a:moveTo>
                  <a:pt x="4347929" y="611379"/>
                </a:moveTo>
                <a:cubicBezTo>
                  <a:pt x="4364068" y="619477"/>
                  <a:pt x="4373728" y="601719"/>
                  <a:pt x="4386685" y="610569"/>
                </a:cubicBezTo>
                <a:cubicBezTo>
                  <a:pt x="4399643" y="619420"/>
                  <a:pt x="4431110" y="606520"/>
                  <a:pt x="4444067" y="604091"/>
                </a:cubicBezTo>
                <a:cubicBezTo>
                  <a:pt x="4457024" y="601661"/>
                  <a:pt x="4450488" y="585523"/>
                  <a:pt x="4414162" y="580953"/>
                </a:cubicBezTo>
                <a:cubicBezTo>
                  <a:pt x="4377835" y="576383"/>
                  <a:pt x="4330750" y="602703"/>
                  <a:pt x="4348161" y="611379"/>
                </a:cubicBezTo>
                <a:close/>
                <a:moveTo>
                  <a:pt x="2160143" y="219658"/>
                </a:moveTo>
                <a:cubicBezTo>
                  <a:pt x="2171712" y="226136"/>
                  <a:pt x="2207749" y="211617"/>
                  <a:pt x="2231986" y="212369"/>
                </a:cubicBezTo>
                <a:cubicBezTo>
                  <a:pt x="2256222" y="213121"/>
                  <a:pt x="2324073" y="193801"/>
                  <a:pt x="2326503" y="180902"/>
                </a:cubicBezTo>
                <a:cubicBezTo>
                  <a:pt x="2328933" y="168003"/>
                  <a:pt x="2301457" y="168755"/>
                  <a:pt x="2290987" y="157764"/>
                </a:cubicBezTo>
                <a:cubicBezTo>
                  <a:pt x="2280517" y="146774"/>
                  <a:pt x="2257032" y="156145"/>
                  <a:pt x="2251364" y="165805"/>
                </a:cubicBezTo>
                <a:cubicBezTo>
                  <a:pt x="2245695" y="175465"/>
                  <a:pt x="2239274" y="166672"/>
                  <a:pt x="2254603" y="151286"/>
                </a:cubicBezTo>
                <a:cubicBezTo>
                  <a:pt x="2269931" y="135899"/>
                  <a:pt x="2239274" y="123810"/>
                  <a:pt x="2238464" y="133527"/>
                </a:cubicBezTo>
                <a:cubicBezTo>
                  <a:pt x="2237654" y="143245"/>
                  <a:pt x="2209542" y="135147"/>
                  <a:pt x="2209542" y="143997"/>
                </a:cubicBezTo>
                <a:cubicBezTo>
                  <a:pt x="2209542" y="152848"/>
                  <a:pt x="2199072" y="156954"/>
                  <a:pt x="2199824" y="165805"/>
                </a:cubicBezTo>
                <a:cubicBezTo>
                  <a:pt x="2200576" y="174655"/>
                  <a:pt x="2180504" y="161004"/>
                  <a:pt x="2179694" y="181191"/>
                </a:cubicBezTo>
                <a:cubicBezTo>
                  <a:pt x="2178884" y="201379"/>
                  <a:pt x="2147996" y="212890"/>
                  <a:pt x="2160143" y="219658"/>
                </a:cubicBezTo>
                <a:close/>
                <a:moveTo>
                  <a:pt x="3202034" y="386018"/>
                </a:moveTo>
                <a:cubicBezTo>
                  <a:pt x="3210422" y="390455"/>
                  <a:pt x="3217768" y="396511"/>
                  <a:pt x="3223784" y="403834"/>
                </a:cubicBezTo>
                <a:cubicBezTo>
                  <a:pt x="3230262" y="410255"/>
                  <a:pt x="3254499" y="400595"/>
                  <a:pt x="3264275" y="397355"/>
                </a:cubicBezTo>
                <a:cubicBezTo>
                  <a:pt x="3274051" y="394116"/>
                  <a:pt x="3274745" y="411874"/>
                  <a:pt x="3290073" y="402214"/>
                </a:cubicBezTo>
                <a:cubicBezTo>
                  <a:pt x="3305402" y="392554"/>
                  <a:pt x="3320789" y="397355"/>
                  <a:pt x="3338604" y="397355"/>
                </a:cubicBezTo>
                <a:cubicBezTo>
                  <a:pt x="3356421" y="397355"/>
                  <a:pt x="3335366" y="375548"/>
                  <a:pt x="3336175" y="365830"/>
                </a:cubicBezTo>
                <a:cubicBezTo>
                  <a:pt x="3336985" y="356112"/>
                  <a:pt x="3357173" y="362649"/>
                  <a:pt x="3350694" y="370689"/>
                </a:cubicBezTo>
                <a:cubicBezTo>
                  <a:pt x="3344216" y="378729"/>
                  <a:pt x="3360412" y="397355"/>
                  <a:pt x="3386211" y="395736"/>
                </a:cubicBezTo>
                <a:cubicBezTo>
                  <a:pt x="3412009" y="394116"/>
                  <a:pt x="3392689" y="377978"/>
                  <a:pt x="3405646" y="372309"/>
                </a:cubicBezTo>
                <a:cubicBezTo>
                  <a:pt x="3418604" y="366640"/>
                  <a:pt x="3416926" y="360219"/>
                  <a:pt x="3398358" y="349171"/>
                </a:cubicBezTo>
                <a:cubicBezTo>
                  <a:pt x="3379790" y="338123"/>
                  <a:pt x="3355553" y="345122"/>
                  <a:pt x="3339356" y="337602"/>
                </a:cubicBezTo>
                <a:cubicBezTo>
                  <a:pt x="3322003" y="329793"/>
                  <a:pt x="3301411" y="329504"/>
                  <a:pt x="3300601" y="347262"/>
                </a:cubicBezTo>
                <a:cubicBezTo>
                  <a:pt x="3299791" y="365020"/>
                  <a:pt x="3265894" y="327884"/>
                  <a:pt x="3248079" y="322216"/>
                </a:cubicBezTo>
                <a:cubicBezTo>
                  <a:pt x="3230262" y="316547"/>
                  <a:pt x="3175310" y="372714"/>
                  <a:pt x="3202034" y="386018"/>
                </a:cubicBezTo>
                <a:close/>
                <a:moveTo>
                  <a:pt x="3370824" y="489443"/>
                </a:moveTo>
                <a:cubicBezTo>
                  <a:pt x="3385401" y="486204"/>
                  <a:pt x="3360354" y="459538"/>
                  <a:pt x="3335308" y="455489"/>
                </a:cubicBezTo>
                <a:cubicBezTo>
                  <a:pt x="3310261" y="451440"/>
                  <a:pt x="3286950" y="472090"/>
                  <a:pt x="3290016" y="476486"/>
                </a:cubicBezTo>
                <a:cubicBezTo>
                  <a:pt x="3297361" y="487014"/>
                  <a:pt x="3356247" y="492625"/>
                  <a:pt x="3370824" y="489443"/>
                </a:cubicBezTo>
                <a:close/>
                <a:moveTo>
                  <a:pt x="3306212" y="436111"/>
                </a:moveTo>
                <a:cubicBezTo>
                  <a:pt x="3306212" y="424022"/>
                  <a:pt x="3262192" y="440565"/>
                  <a:pt x="3280413" y="446639"/>
                </a:cubicBezTo>
                <a:cubicBezTo>
                  <a:pt x="3290016" y="449878"/>
                  <a:pt x="3306212" y="448548"/>
                  <a:pt x="3306212" y="436111"/>
                </a:cubicBezTo>
                <a:close/>
                <a:moveTo>
                  <a:pt x="3446774" y="385208"/>
                </a:moveTo>
                <a:cubicBezTo>
                  <a:pt x="3466151" y="386886"/>
                  <a:pt x="3475696" y="405454"/>
                  <a:pt x="3513005" y="407883"/>
                </a:cubicBezTo>
                <a:cubicBezTo>
                  <a:pt x="3550315" y="410312"/>
                  <a:pt x="3577617" y="403024"/>
                  <a:pt x="3578427" y="394926"/>
                </a:cubicBezTo>
                <a:cubicBezTo>
                  <a:pt x="3579237" y="386828"/>
                  <a:pt x="3544531" y="374738"/>
                  <a:pt x="3534003" y="381217"/>
                </a:cubicBezTo>
                <a:cubicBezTo>
                  <a:pt x="3523475" y="387695"/>
                  <a:pt x="3515435" y="370689"/>
                  <a:pt x="3502478" y="374738"/>
                </a:cubicBezTo>
                <a:cubicBezTo>
                  <a:pt x="3489521" y="378787"/>
                  <a:pt x="3471820" y="377978"/>
                  <a:pt x="3465341" y="366640"/>
                </a:cubicBezTo>
                <a:cubicBezTo>
                  <a:pt x="3458863" y="355303"/>
                  <a:pt x="3437056" y="384456"/>
                  <a:pt x="3446774" y="385208"/>
                </a:cubicBezTo>
                <a:close/>
                <a:moveTo>
                  <a:pt x="748164" y="57289"/>
                </a:moveTo>
                <a:cubicBezTo>
                  <a:pt x="766790" y="40340"/>
                  <a:pt x="791027" y="56479"/>
                  <a:pt x="794439" y="48381"/>
                </a:cubicBezTo>
                <a:cubicBezTo>
                  <a:pt x="797852" y="40283"/>
                  <a:pt x="759733" y="37911"/>
                  <a:pt x="746024" y="45199"/>
                </a:cubicBezTo>
                <a:cubicBezTo>
                  <a:pt x="732315" y="52488"/>
                  <a:pt x="700095" y="46645"/>
                  <a:pt x="704029" y="55669"/>
                </a:cubicBezTo>
                <a:cubicBezTo>
                  <a:pt x="706227" y="61338"/>
                  <a:pt x="729654" y="74237"/>
                  <a:pt x="748164" y="57289"/>
                </a:cubicBezTo>
                <a:close/>
                <a:moveTo>
                  <a:pt x="3364346" y="1422414"/>
                </a:moveTo>
                <a:cubicBezTo>
                  <a:pt x="3355437" y="1399276"/>
                  <a:pt x="3377245" y="1376139"/>
                  <a:pt x="3361106" y="1364223"/>
                </a:cubicBezTo>
                <a:cubicBezTo>
                  <a:pt x="3344968" y="1352307"/>
                  <a:pt x="3351331" y="1327087"/>
                  <a:pt x="3343290" y="1331946"/>
                </a:cubicBezTo>
                <a:cubicBezTo>
                  <a:pt x="3335250" y="1336805"/>
                  <a:pt x="3343290" y="1358670"/>
                  <a:pt x="3330391" y="1360231"/>
                </a:cubicBezTo>
                <a:cubicBezTo>
                  <a:pt x="3317492" y="1361793"/>
                  <a:pt x="3329581" y="1373941"/>
                  <a:pt x="3324607" y="1390137"/>
                </a:cubicBezTo>
                <a:cubicBezTo>
                  <a:pt x="3319632" y="1406333"/>
                  <a:pt x="3327036" y="1429702"/>
                  <a:pt x="3333514" y="1444221"/>
                </a:cubicBezTo>
                <a:cubicBezTo>
                  <a:pt x="3339993" y="1458740"/>
                  <a:pt x="3324607" y="1536309"/>
                  <a:pt x="3331085" y="1549267"/>
                </a:cubicBezTo>
                <a:cubicBezTo>
                  <a:pt x="3337564" y="1562224"/>
                  <a:pt x="3320557" y="1619316"/>
                  <a:pt x="3326226" y="1625968"/>
                </a:cubicBezTo>
                <a:cubicBezTo>
                  <a:pt x="3335944" y="1637537"/>
                  <a:pt x="3329465" y="1610582"/>
                  <a:pt x="3343984" y="1608210"/>
                </a:cubicBezTo>
                <a:cubicBezTo>
                  <a:pt x="3358503" y="1605838"/>
                  <a:pt x="3358561" y="1624348"/>
                  <a:pt x="3367122" y="1628398"/>
                </a:cubicBezTo>
                <a:cubicBezTo>
                  <a:pt x="3375683" y="1632447"/>
                  <a:pt x="3370361" y="1602541"/>
                  <a:pt x="3362321" y="1604161"/>
                </a:cubicBezTo>
                <a:cubicBezTo>
                  <a:pt x="3354281" y="1605780"/>
                  <a:pt x="3347802" y="1584783"/>
                  <a:pt x="3343695" y="1571826"/>
                </a:cubicBezTo>
                <a:cubicBezTo>
                  <a:pt x="3339588" y="1558869"/>
                  <a:pt x="3351793" y="1543598"/>
                  <a:pt x="3351793" y="1527402"/>
                </a:cubicBezTo>
                <a:cubicBezTo>
                  <a:pt x="3351793" y="1511205"/>
                  <a:pt x="3371981" y="1512073"/>
                  <a:pt x="3384128" y="1524162"/>
                </a:cubicBezTo>
                <a:cubicBezTo>
                  <a:pt x="3396276" y="1536252"/>
                  <a:pt x="3397837" y="1528211"/>
                  <a:pt x="3392978" y="1519361"/>
                </a:cubicBezTo>
                <a:cubicBezTo>
                  <a:pt x="3388119" y="1510511"/>
                  <a:pt x="3373253" y="1445725"/>
                  <a:pt x="3364403" y="1422298"/>
                </a:cubicBezTo>
                <a:close/>
                <a:moveTo>
                  <a:pt x="824172" y="50058"/>
                </a:moveTo>
                <a:cubicBezTo>
                  <a:pt x="835451" y="58099"/>
                  <a:pt x="792646" y="55843"/>
                  <a:pt x="787035" y="63767"/>
                </a:cubicBezTo>
                <a:cubicBezTo>
                  <a:pt x="781425" y="71692"/>
                  <a:pt x="756493" y="68915"/>
                  <a:pt x="761179" y="78286"/>
                </a:cubicBezTo>
                <a:cubicBezTo>
                  <a:pt x="765865" y="87657"/>
                  <a:pt x="806413" y="88814"/>
                  <a:pt x="806413" y="80716"/>
                </a:cubicBezTo>
                <a:cubicBezTo>
                  <a:pt x="806413" y="72617"/>
                  <a:pt x="827410" y="79906"/>
                  <a:pt x="828220" y="72617"/>
                </a:cubicBezTo>
                <a:cubicBezTo>
                  <a:pt x="829030" y="65329"/>
                  <a:pt x="837881" y="57289"/>
                  <a:pt x="860498" y="55669"/>
                </a:cubicBezTo>
                <a:cubicBezTo>
                  <a:pt x="883115" y="54049"/>
                  <a:pt x="883115" y="46009"/>
                  <a:pt x="862117" y="36291"/>
                </a:cubicBezTo>
                <a:cubicBezTo>
                  <a:pt x="841120" y="26573"/>
                  <a:pt x="812891" y="41960"/>
                  <a:pt x="824172" y="50058"/>
                </a:cubicBezTo>
                <a:close/>
                <a:moveTo>
                  <a:pt x="789465" y="702657"/>
                </a:moveTo>
                <a:cubicBezTo>
                  <a:pt x="811272" y="722845"/>
                  <a:pt x="829956" y="693807"/>
                  <a:pt x="840368" y="692130"/>
                </a:cubicBezTo>
                <a:cubicBezTo>
                  <a:pt x="850780" y="690452"/>
                  <a:pt x="833947" y="679231"/>
                  <a:pt x="816131" y="674372"/>
                </a:cubicBezTo>
                <a:cubicBezTo>
                  <a:pt x="798315" y="669513"/>
                  <a:pt x="772979" y="687444"/>
                  <a:pt x="789407" y="702657"/>
                </a:cubicBezTo>
                <a:close/>
                <a:moveTo>
                  <a:pt x="4658438" y="840327"/>
                </a:moveTo>
                <a:cubicBezTo>
                  <a:pt x="4650397" y="837550"/>
                  <a:pt x="4624541" y="820949"/>
                  <a:pt x="4617947" y="811405"/>
                </a:cubicBezTo>
                <a:cubicBezTo>
                  <a:pt x="4611352" y="801860"/>
                  <a:pt x="4580406" y="797638"/>
                  <a:pt x="4580406" y="802555"/>
                </a:cubicBezTo>
                <a:cubicBezTo>
                  <a:pt x="4580406" y="807471"/>
                  <a:pt x="4570341" y="801340"/>
                  <a:pt x="4567911" y="796076"/>
                </a:cubicBezTo>
                <a:cubicBezTo>
                  <a:pt x="4565482" y="790812"/>
                  <a:pt x="4532742" y="790002"/>
                  <a:pt x="4532337" y="795613"/>
                </a:cubicBezTo>
                <a:cubicBezTo>
                  <a:pt x="4531932" y="801224"/>
                  <a:pt x="4540031" y="801687"/>
                  <a:pt x="4544889" y="808223"/>
                </a:cubicBezTo>
                <a:cubicBezTo>
                  <a:pt x="4549748" y="814760"/>
                  <a:pt x="4538411" y="818230"/>
                  <a:pt x="4540783" y="825577"/>
                </a:cubicBezTo>
                <a:cubicBezTo>
                  <a:pt x="4543154" y="832923"/>
                  <a:pt x="4528693" y="821990"/>
                  <a:pt x="4523429" y="817941"/>
                </a:cubicBezTo>
                <a:cubicBezTo>
                  <a:pt x="4518165" y="813892"/>
                  <a:pt x="4520653" y="798158"/>
                  <a:pt x="4522272" y="790060"/>
                </a:cubicBezTo>
                <a:cubicBezTo>
                  <a:pt x="4523892" y="781962"/>
                  <a:pt x="4512959" y="783582"/>
                  <a:pt x="4511745" y="775541"/>
                </a:cubicBezTo>
                <a:cubicBezTo>
                  <a:pt x="4510530" y="767501"/>
                  <a:pt x="4474204" y="750900"/>
                  <a:pt x="4458875" y="744421"/>
                </a:cubicBezTo>
                <a:cubicBezTo>
                  <a:pt x="4443546" y="737943"/>
                  <a:pt x="4423706" y="732274"/>
                  <a:pt x="4418384" y="724233"/>
                </a:cubicBezTo>
                <a:cubicBezTo>
                  <a:pt x="4413062" y="716193"/>
                  <a:pt x="4385702" y="715325"/>
                  <a:pt x="4375232" y="704451"/>
                </a:cubicBezTo>
                <a:cubicBezTo>
                  <a:pt x="4364762" y="693576"/>
                  <a:pt x="4318661" y="674140"/>
                  <a:pt x="4298878" y="672926"/>
                </a:cubicBezTo>
                <a:cubicBezTo>
                  <a:pt x="4279095" y="671711"/>
                  <a:pt x="4283491" y="660836"/>
                  <a:pt x="4273831" y="662456"/>
                </a:cubicBezTo>
                <a:cubicBezTo>
                  <a:pt x="4252371" y="663381"/>
                  <a:pt x="4230911" y="662566"/>
                  <a:pt x="4209624" y="660026"/>
                </a:cubicBezTo>
                <a:cubicBezTo>
                  <a:pt x="4196667" y="658002"/>
                  <a:pt x="4193890" y="667720"/>
                  <a:pt x="4184577" y="664018"/>
                </a:cubicBezTo>
                <a:cubicBezTo>
                  <a:pt x="4175264" y="660315"/>
                  <a:pt x="4127254" y="643020"/>
                  <a:pt x="4121585" y="649499"/>
                </a:cubicBezTo>
                <a:cubicBezTo>
                  <a:pt x="4115916" y="655977"/>
                  <a:pt x="4118346" y="665290"/>
                  <a:pt x="4112677" y="666852"/>
                </a:cubicBezTo>
                <a:cubicBezTo>
                  <a:pt x="4107008" y="668414"/>
                  <a:pt x="4112677" y="676570"/>
                  <a:pt x="4126039" y="688659"/>
                </a:cubicBezTo>
                <a:cubicBezTo>
                  <a:pt x="4139401" y="700749"/>
                  <a:pt x="4131245" y="710119"/>
                  <a:pt x="4119156" y="715325"/>
                </a:cubicBezTo>
                <a:cubicBezTo>
                  <a:pt x="4107066" y="720531"/>
                  <a:pt x="4087630" y="710466"/>
                  <a:pt x="4081615" y="701211"/>
                </a:cubicBezTo>
                <a:cubicBezTo>
                  <a:pt x="4075599" y="691956"/>
                  <a:pt x="4058997" y="695948"/>
                  <a:pt x="4054949" y="683858"/>
                </a:cubicBezTo>
                <a:cubicBezTo>
                  <a:pt x="4050899" y="671769"/>
                  <a:pt x="4059807" y="669686"/>
                  <a:pt x="4067906" y="676570"/>
                </a:cubicBezTo>
                <a:cubicBezTo>
                  <a:pt x="4072996" y="681006"/>
                  <a:pt x="4080747" y="680457"/>
                  <a:pt x="4085201" y="675338"/>
                </a:cubicBezTo>
                <a:cubicBezTo>
                  <a:pt x="4086763" y="673533"/>
                  <a:pt x="4087804" y="671306"/>
                  <a:pt x="4088093" y="668934"/>
                </a:cubicBezTo>
                <a:cubicBezTo>
                  <a:pt x="4089308" y="660026"/>
                  <a:pt x="4066286" y="653953"/>
                  <a:pt x="4053733" y="654762"/>
                </a:cubicBezTo>
                <a:cubicBezTo>
                  <a:pt x="4041182" y="655572"/>
                  <a:pt x="4034356" y="672926"/>
                  <a:pt x="4021456" y="680214"/>
                </a:cubicBezTo>
                <a:cubicBezTo>
                  <a:pt x="4008557" y="687502"/>
                  <a:pt x="3958464" y="677380"/>
                  <a:pt x="3953200" y="672521"/>
                </a:cubicBezTo>
                <a:cubicBezTo>
                  <a:pt x="3947937" y="667662"/>
                  <a:pt x="3878002" y="672521"/>
                  <a:pt x="3870772" y="677380"/>
                </a:cubicBezTo>
                <a:cubicBezTo>
                  <a:pt x="3863541" y="682238"/>
                  <a:pt x="3868747" y="701211"/>
                  <a:pt x="3864987" y="702831"/>
                </a:cubicBezTo>
                <a:cubicBezTo>
                  <a:pt x="3861228" y="704451"/>
                  <a:pt x="3857699" y="681024"/>
                  <a:pt x="3857699" y="676570"/>
                </a:cubicBezTo>
                <a:cubicBezTo>
                  <a:pt x="3857699" y="672116"/>
                  <a:pt x="3849254" y="668934"/>
                  <a:pt x="3836701" y="668934"/>
                </a:cubicBezTo>
                <a:cubicBezTo>
                  <a:pt x="3824150" y="668934"/>
                  <a:pt x="3816919" y="668471"/>
                  <a:pt x="3822125" y="663150"/>
                </a:cubicBezTo>
                <a:cubicBezTo>
                  <a:pt x="3827331" y="657828"/>
                  <a:pt x="3817266" y="652622"/>
                  <a:pt x="3826984" y="645797"/>
                </a:cubicBezTo>
                <a:cubicBezTo>
                  <a:pt x="3836701" y="638971"/>
                  <a:pt x="3809225" y="617511"/>
                  <a:pt x="3782559" y="606983"/>
                </a:cubicBezTo>
                <a:cubicBezTo>
                  <a:pt x="3755893" y="596455"/>
                  <a:pt x="3695330" y="602529"/>
                  <a:pt x="3679192" y="607388"/>
                </a:cubicBezTo>
                <a:cubicBezTo>
                  <a:pt x="3663054" y="612247"/>
                  <a:pt x="3630718" y="610627"/>
                  <a:pt x="3615563" y="611032"/>
                </a:cubicBezTo>
                <a:cubicBezTo>
                  <a:pt x="3600408" y="611437"/>
                  <a:pt x="3612729" y="605248"/>
                  <a:pt x="3608274" y="597728"/>
                </a:cubicBezTo>
                <a:cubicBezTo>
                  <a:pt x="3603821" y="590208"/>
                  <a:pt x="3577617" y="581532"/>
                  <a:pt x="3573973" y="587605"/>
                </a:cubicBezTo>
                <a:cubicBezTo>
                  <a:pt x="3570329" y="593679"/>
                  <a:pt x="3563445" y="587605"/>
                  <a:pt x="3563445" y="583151"/>
                </a:cubicBezTo>
                <a:cubicBezTo>
                  <a:pt x="3563445" y="578697"/>
                  <a:pt x="3538803" y="569847"/>
                  <a:pt x="3529144" y="571582"/>
                </a:cubicBezTo>
                <a:cubicBezTo>
                  <a:pt x="3519484" y="573318"/>
                  <a:pt x="3515030" y="562674"/>
                  <a:pt x="3526310" y="562674"/>
                </a:cubicBezTo>
                <a:cubicBezTo>
                  <a:pt x="3537589" y="562674"/>
                  <a:pt x="3557025" y="565104"/>
                  <a:pt x="3548522" y="552205"/>
                </a:cubicBezTo>
                <a:cubicBezTo>
                  <a:pt x="3540019" y="539305"/>
                  <a:pt x="3467540" y="535256"/>
                  <a:pt x="3460483" y="537686"/>
                </a:cubicBezTo>
                <a:cubicBezTo>
                  <a:pt x="3453426" y="540115"/>
                  <a:pt x="3460077" y="549254"/>
                  <a:pt x="3444344" y="564294"/>
                </a:cubicBezTo>
                <a:cubicBezTo>
                  <a:pt x="3428610" y="579334"/>
                  <a:pt x="3413224" y="569153"/>
                  <a:pt x="3415422" y="561865"/>
                </a:cubicBezTo>
                <a:cubicBezTo>
                  <a:pt x="3417620" y="554576"/>
                  <a:pt x="3436825" y="556080"/>
                  <a:pt x="3436825" y="548560"/>
                </a:cubicBezTo>
                <a:cubicBezTo>
                  <a:pt x="3436825" y="541041"/>
                  <a:pt x="3410216" y="545321"/>
                  <a:pt x="3406167" y="539247"/>
                </a:cubicBezTo>
                <a:cubicBezTo>
                  <a:pt x="3402118" y="533174"/>
                  <a:pt x="3411951" y="529183"/>
                  <a:pt x="3421496" y="532017"/>
                </a:cubicBezTo>
                <a:cubicBezTo>
                  <a:pt x="3431040" y="534851"/>
                  <a:pt x="3448162" y="536471"/>
                  <a:pt x="3448914" y="532017"/>
                </a:cubicBezTo>
                <a:cubicBezTo>
                  <a:pt x="3449666" y="527563"/>
                  <a:pt x="3438849" y="526753"/>
                  <a:pt x="3422710" y="523919"/>
                </a:cubicBezTo>
                <a:cubicBezTo>
                  <a:pt x="3406571" y="521084"/>
                  <a:pt x="3367354" y="511829"/>
                  <a:pt x="3346761" y="513854"/>
                </a:cubicBezTo>
                <a:cubicBezTo>
                  <a:pt x="3326168" y="515878"/>
                  <a:pt x="3316855" y="506160"/>
                  <a:pt x="3305633" y="505351"/>
                </a:cubicBezTo>
                <a:cubicBezTo>
                  <a:pt x="3294411" y="504541"/>
                  <a:pt x="3294065" y="511135"/>
                  <a:pt x="3299502" y="517845"/>
                </a:cubicBezTo>
                <a:cubicBezTo>
                  <a:pt x="3304939" y="524555"/>
                  <a:pt x="3288627" y="528373"/>
                  <a:pt x="3275323" y="526348"/>
                </a:cubicBezTo>
                <a:cubicBezTo>
                  <a:pt x="3262019" y="524324"/>
                  <a:pt x="3242583" y="533637"/>
                  <a:pt x="3250277" y="543297"/>
                </a:cubicBezTo>
                <a:cubicBezTo>
                  <a:pt x="3257970" y="552957"/>
                  <a:pt x="3265605" y="540462"/>
                  <a:pt x="3272026" y="543701"/>
                </a:cubicBezTo>
                <a:cubicBezTo>
                  <a:pt x="3278447" y="546941"/>
                  <a:pt x="3255136" y="553824"/>
                  <a:pt x="3264795" y="558278"/>
                </a:cubicBezTo>
                <a:cubicBezTo>
                  <a:pt x="3274455" y="562732"/>
                  <a:pt x="3272836" y="571987"/>
                  <a:pt x="3273299" y="576846"/>
                </a:cubicBezTo>
                <a:cubicBezTo>
                  <a:pt x="3273761" y="581705"/>
                  <a:pt x="3257102" y="584077"/>
                  <a:pt x="3251086" y="576846"/>
                </a:cubicBezTo>
                <a:cubicBezTo>
                  <a:pt x="3245071" y="569616"/>
                  <a:pt x="3236510" y="576036"/>
                  <a:pt x="3225172" y="575227"/>
                </a:cubicBezTo>
                <a:cubicBezTo>
                  <a:pt x="3213835" y="574417"/>
                  <a:pt x="3205390" y="579623"/>
                  <a:pt x="3217595" y="581011"/>
                </a:cubicBezTo>
                <a:cubicBezTo>
                  <a:pt x="3229800" y="582399"/>
                  <a:pt x="3233675" y="590324"/>
                  <a:pt x="3217595" y="591944"/>
                </a:cubicBezTo>
                <a:cubicBezTo>
                  <a:pt x="3201514" y="593563"/>
                  <a:pt x="3205390" y="576962"/>
                  <a:pt x="3195787" y="578986"/>
                </a:cubicBezTo>
                <a:cubicBezTo>
                  <a:pt x="3186185" y="581011"/>
                  <a:pt x="3165014" y="571351"/>
                  <a:pt x="3153734" y="571756"/>
                </a:cubicBezTo>
                <a:cubicBezTo>
                  <a:pt x="3142455" y="572161"/>
                  <a:pt x="3137191" y="581011"/>
                  <a:pt x="3122209" y="582226"/>
                </a:cubicBezTo>
                <a:cubicBezTo>
                  <a:pt x="3107227" y="583440"/>
                  <a:pt x="3087098" y="574590"/>
                  <a:pt x="3081024" y="566492"/>
                </a:cubicBezTo>
                <a:cubicBezTo>
                  <a:pt x="3074950" y="558394"/>
                  <a:pt x="3072984" y="556022"/>
                  <a:pt x="3065696" y="565277"/>
                </a:cubicBezTo>
                <a:cubicBezTo>
                  <a:pt x="3058407" y="574532"/>
                  <a:pt x="3058002" y="592348"/>
                  <a:pt x="3050771" y="593563"/>
                </a:cubicBezTo>
                <a:cubicBezTo>
                  <a:pt x="3043541" y="594778"/>
                  <a:pt x="3040648" y="610512"/>
                  <a:pt x="3033418" y="614561"/>
                </a:cubicBezTo>
                <a:cubicBezTo>
                  <a:pt x="3026187" y="618610"/>
                  <a:pt x="3025725" y="608487"/>
                  <a:pt x="3016412" y="609297"/>
                </a:cubicBezTo>
                <a:cubicBezTo>
                  <a:pt x="3007099" y="610107"/>
                  <a:pt x="2977251" y="581011"/>
                  <a:pt x="2975632" y="572566"/>
                </a:cubicBezTo>
                <a:cubicBezTo>
                  <a:pt x="2974012" y="564120"/>
                  <a:pt x="2955444" y="547924"/>
                  <a:pt x="2950643" y="544685"/>
                </a:cubicBezTo>
                <a:cubicBezTo>
                  <a:pt x="2945842" y="541445"/>
                  <a:pt x="2955444" y="539826"/>
                  <a:pt x="2961518" y="545090"/>
                </a:cubicBezTo>
                <a:cubicBezTo>
                  <a:pt x="2967013" y="549850"/>
                  <a:pt x="2974937" y="550660"/>
                  <a:pt x="2981301" y="547114"/>
                </a:cubicBezTo>
                <a:cubicBezTo>
                  <a:pt x="2987374" y="543875"/>
                  <a:pt x="2986564" y="528951"/>
                  <a:pt x="2976037" y="528546"/>
                </a:cubicBezTo>
                <a:cubicBezTo>
                  <a:pt x="2965509" y="528141"/>
                  <a:pt x="2969558" y="519233"/>
                  <a:pt x="2974822" y="517614"/>
                </a:cubicBezTo>
                <a:cubicBezTo>
                  <a:pt x="2980086" y="515994"/>
                  <a:pt x="2962732" y="500260"/>
                  <a:pt x="2969037" y="498641"/>
                </a:cubicBezTo>
                <a:cubicBezTo>
                  <a:pt x="2975343" y="497021"/>
                  <a:pt x="2972681" y="490195"/>
                  <a:pt x="2963832" y="488981"/>
                </a:cubicBezTo>
                <a:cubicBezTo>
                  <a:pt x="2954981" y="487766"/>
                  <a:pt x="2945669" y="480478"/>
                  <a:pt x="2945205" y="476024"/>
                </a:cubicBezTo>
                <a:cubicBezTo>
                  <a:pt x="2944743" y="471570"/>
                  <a:pt x="2907318" y="469950"/>
                  <a:pt x="2908880" y="476429"/>
                </a:cubicBezTo>
                <a:cubicBezTo>
                  <a:pt x="2910442" y="482907"/>
                  <a:pt x="2896790" y="480882"/>
                  <a:pt x="2898815" y="475619"/>
                </a:cubicBezTo>
                <a:cubicBezTo>
                  <a:pt x="2900839" y="470355"/>
                  <a:pt x="2885453" y="472032"/>
                  <a:pt x="2867637" y="467173"/>
                </a:cubicBezTo>
                <a:cubicBezTo>
                  <a:pt x="2849820" y="462315"/>
                  <a:pt x="2849531" y="449820"/>
                  <a:pt x="2843458" y="449010"/>
                </a:cubicBezTo>
                <a:cubicBezTo>
                  <a:pt x="2837384" y="448200"/>
                  <a:pt x="2839409" y="466364"/>
                  <a:pt x="2830558" y="462315"/>
                </a:cubicBezTo>
                <a:cubicBezTo>
                  <a:pt x="2825584" y="459607"/>
                  <a:pt x="2819394" y="461435"/>
                  <a:pt x="2816676" y="466398"/>
                </a:cubicBezTo>
                <a:cubicBezTo>
                  <a:pt x="2814941" y="469533"/>
                  <a:pt x="2814999" y="473334"/>
                  <a:pt x="2816791" y="476429"/>
                </a:cubicBezTo>
                <a:cubicBezTo>
                  <a:pt x="2821650" y="486956"/>
                  <a:pt x="2817254" y="488576"/>
                  <a:pt x="2816387" y="497021"/>
                </a:cubicBezTo>
                <a:cubicBezTo>
                  <a:pt x="2815519" y="505466"/>
                  <a:pt x="2810602" y="501880"/>
                  <a:pt x="2800248" y="498236"/>
                </a:cubicBezTo>
                <a:cubicBezTo>
                  <a:pt x="2789894" y="494592"/>
                  <a:pt x="2789778" y="507144"/>
                  <a:pt x="2767103" y="501475"/>
                </a:cubicBezTo>
                <a:cubicBezTo>
                  <a:pt x="2744428" y="495806"/>
                  <a:pt x="2734421" y="501880"/>
                  <a:pt x="2730430" y="494592"/>
                </a:cubicBezTo>
                <a:cubicBezTo>
                  <a:pt x="2726439" y="487303"/>
                  <a:pt x="2719440" y="486551"/>
                  <a:pt x="2718861" y="492625"/>
                </a:cubicBezTo>
                <a:cubicBezTo>
                  <a:pt x="2718282" y="498699"/>
                  <a:pt x="2683345" y="496211"/>
                  <a:pt x="2680511" y="487361"/>
                </a:cubicBezTo>
                <a:cubicBezTo>
                  <a:pt x="2677676" y="478511"/>
                  <a:pt x="2686584" y="476833"/>
                  <a:pt x="2692079" y="474462"/>
                </a:cubicBezTo>
                <a:cubicBezTo>
                  <a:pt x="2697574" y="472090"/>
                  <a:pt x="2686295" y="468677"/>
                  <a:pt x="2667438" y="469603"/>
                </a:cubicBezTo>
                <a:cubicBezTo>
                  <a:pt x="2648580" y="470528"/>
                  <a:pt x="2636318" y="459885"/>
                  <a:pt x="2616939" y="461910"/>
                </a:cubicBezTo>
                <a:cubicBezTo>
                  <a:pt x="2597561" y="463934"/>
                  <a:pt x="2554352" y="467694"/>
                  <a:pt x="2548278" y="470760"/>
                </a:cubicBezTo>
                <a:cubicBezTo>
                  <a:pt x="2542205" y="473825"/>
                  <a:pt x="2554062" y="484527"/>
                  <a:pt x="2544692" y="485337"/>
                </a:cubicBezTo>
                <a:cubicBezTo>
                  <a:pt x="2535321" y="486146"/>
                  <a:pt x="2541857" y="467578"/>
                  <a:pt x="2540238" y="458670"/>
                </a:cubicBezTo>
                <a:cubicBezTo>
                  <a:pt x="2538618" y="449762"/>
                  <a:pt x="2524504" y="448548"/>
                  <a:pt x="2526528" y="455431"/>
                </a:cubicBezTo>
                <a:cubicBezTo>
                  <a:pt x="2528554" y="462315"/>
                  <a:pt x="2504259" y="464744"/>
                  <a:pt x="2498243" y="459480"/>
                </a:cubicBezTo>
                <a:cubicBezTo>
                  <a:pt x="2489161" y="451654"/>
                  <a:pt x="2478344" y="446118"/>
                  <a:pt x="2466718" y="443342"/>
                </a:cubicBezTo>
                <a:cubicBezTo>
                  <a:pt x="2450984" y="439292"/>
                  <a:pt x="2431607" y="456241"/>
                  <a:pt x="2436061" y="461100"/>
                </a:cubicBezTo>
                <a:cubicBezTo>
                  <a:pt x="2440514" y="465959"/>
                  <a:pt x="2452199" y="462315"/>
                  <a:pt x="2452604" y="465554"/>
                </a:cubicBezTo>
                <a:cubicBezTo>
                  <a:pt x="2453414" y="472206"/>
                  <a:pt x="2419112" y="469603"/>
                  <a:pt x="2419112" y="475214"/>
                </a:cubicBezTo>
                <a:cubicBezTo>
                  <a:pt x="2419112" y="480825"/>
                  <a:pt x="2387182" y="488576"/>
                  <a:pt x="2377522" y="489791"/>
                </a:cubicBezTo>
                <a:cubicBezTo>
                  <a:pt x="2350913" y="493088"/>
                  <a:pt x="2345187" y="492972"/>
                  <a:pt x="2332693" y="503500"/>
                </a:cubicBezTo>
                <a:cubicBezTo>
                  <a:pt x="2320198" y="514027"/>
                  <a:pt x="2329858" y="494187"/>
                  <a:pt x="2339518" y="484527"/>
                </a:cubicBezTo>
                <a:cubicBezTo>
                  <a:pt x="2349178" y="474867"/>
                  <a:pt x="2359301" y="478742"/>
                  <a:pt x="2364970" y="471222"/>
                </a:cubicBezTo>
                <a:cubicBezTo>
                  <a:pt x="2370638" y="463703"/>
                  <a:pt x="2379489" y="464339"/>
                  <a:pt x="2394876" y="461910"/>
                </a:cubicBezTo>
                <a:cubicBezTo>
                  <a:pt x="2410262" y="459480"/>
                  <a:pt x="2409394" y="450341"/>
                  <a:pt x="2416682" y="447391"/>
                </a:cubicBezTo>
                <a:cubicBezTo>
                  <a:pt x="2423971" y="444441"/>
                  <a:pt x="2441671" y="437268"/>
                  <a:pt x="2444910" y="430037"/>
                </a:cubicBezTo>
                <a:cubicBezTo>
                  <a:pt x="2448150" y="422807"/>
                  <a:pt x="2484476" y="410660"/>
                  <a:pt x="2491765" y="411064"/>
                </a:cubicBezTo>
                <a:cubicBezTo>
                  <a:pt x="2499052" y="411469"/>
                  <a:pt x="2500672" y="396545"/>
                  <a:pt x="2504664" y="396545"/>
                </a:cubicBezTo>
                <a:cubicBezTo>
                  <a:pt x="2508655" y="396545"/>
                  <a:pt x="2529710" y="387290"/>
                  <a:pt x="2537809" y="383646"/>
                </a:cubicBezTo>
                <a:cubicBezTo>
                  <a:pt x="2544577" y="380638"/>
                  <a:pt x="2549319" y="374368"/>
                  <a:pt x="2550361" y="367045"/>
                </a:cubicBezTo>
                <a:cubicBezTo>
                  <a:pt x="2550766" y="361839"/>
                  <a:pt x="2539428" y="362591"/>
                  <a:pt x="2538213" y="357790"/>
                </a:cubicBezTo>
                <a:cubicBezTo>
                  <a:pt x="2536999" y="352989"/>
                  <a:pt x="2543477" y="356170"/>
                  <a:pt x="2551922" y="352931"/>
                </a:cubicBezTo>
                <a:cubicBezTo>
                  <a:pt x="2560368" y="349692"/>
                  <a:pt x="2551922" y="338412"/>
                  <a:pt x="2545097" y="340437"/>
                </a:cubicBezTo>
                <a:cubicBezTo>
                  <a:pt x="2538271" y="342461"/>
                  <a:pt x="2548741" y="334652"/>
                  <a:pt x="2542667" y="327075"/>
                </a:cubicBezTo>
                <a:cubicBezTo>
                  <a:pt x="2536594" y="319497"/>
                  <a:pt x="2524504" y="331529"/>
                  <a:pt x="2524851" y="323835"/>
                </a:cubicBezTo>
                <a:cubicBezTo>
                  <a:pt x="2525198" y="316142"/>
                  <a:pt x="2524099" y="306482"/>
                  <a:pt x="2519067" y="301623"/>
                </a:cubicBezTo>
                <a:cubicBezTo>
                  <a:pt x="2514035" y="296764"/>
                  <a:pt x="2505300" y="310068"/>
                  <a:pt x="2495235" y="302433"/>
                </a:cubicBezTo>
                <a:cubicBezTo>
                  <a:pt x="2485170" y="294797"/>
                  <a:pt x="2455669" y="289881"/>
                  <a:pt x="2455669" y="293178"/>
                </a:cubicBezTo>
                <a:cubicBezTo>
                  <a:pt x="2455669" y="296475"/>
                  <a:pt x="2441498" y="288261"/>
                  <a:pt x="2438721" y="291500"/>
                </a:cubicBezTo>
                <a:cubicBezTo>
                  <a:pt x="2435945" y="294740"/>
                  <a:pt x="2412460" y="294393"/>
                  <a:pt x="2405171" y="292368"/>
                </a:cubicBezTo>
                <a:cubicBezTo>
                  <a:pt x="2397883" y="290343"/>
                  <a:pt x="2387818" y="295202"/>
                  <a:pt x="2387413" y="302433"/>
                </a:cubicBezTo>
                <a:cubicBezTo>
                  <a:pt x="2387008" y="309663"/>
                  <a:pt x="2358491" y="306887"/>
                  <a:pt x="2353054" y="305672"/>
                </a:cubicBezTo>
                <a:cubicBezTo>
                  <a:pt x="2347616" y="304457"/>
                  <a:pt x="2372894" y="283865"/>
                  <a:pt x="2372894" y="280221"/>
                </a:cubicBezTo>
                <a:cubicBezTo>
                  <a:pt x="2372894" y="276576"/>
                  <a:pt x="2330495" y="281030"/>
                  <a:pt x="2328065" y="277039"/>
                </a:cubicBezTo>
                <a:cubicBezTo>
                  <a:pt x="2325635" y="273048"/>
                  <a:pt x="2304927" y="271775"/>
                  <a:pt x="2295730" y="272180"/>
                </a:cubicBezTo>
                <a:cubicBezTo>
                  <a:pt x="2286533" y="272585"/>
                  <a:pt x="2295325" y="269693"/>
                  <a:pt x="2303828" y="268941"/>
                </a:cubicBezTo>
                <a:cubicBezTo>
                  <a:pt x="2312332" y="268189"/>
                  <a:pt x="2319967" y="260843"/>
                  <a:pt x="2329280" y="259223"/>
                </a:cubicBezTo>
                <a:cubicBezTo>
                  <a:pt x="2338592" y="257604"/>
                  <a:pt x="2336510" y="254422"/>
                  <a:pt x="2332519" y="248753"/>
                </a:cubicBezTo>
                <a:cubicBezTo>
                  <a:pt x="2328528" y="243085"/>
                  <a:pt x="2318752" y="245861"/>
                  <a:pt x="2309382" y="242969"/>
                </a:cubicBezTo>
                <a:cubicBezTo>
                  <a:pt x="2300011" y="239521"/>
                  <a:pt x="2290351" y="237092"/>
                  <a:pt x="2280459" y="235738"/>
                </a:cubicBezTo>
                <a:cubicBezTo>
                  <a:pt x="2272361" y="235333"/>
                  <a:pt x="2263511" y="239730"/>
                  <a:pt x="2244538" y="243374"/>
                </a:cubicBezTo>
                <a:cubicBezTo>
                  <a:pt x="2225565" y="247018"/>
                  <a:pt x="2223945" y="261537"/>
                  <a:pt x="2214227" y="265991"/>
                </a:cubicBezTo>
                <a:cubicBezTo>
                  <a:pt x="2204510" y="270445"/>
                  <a:pt x="2187561" y="288145"/>
                  <a:pt x="2195659" y="289765"/>
                </a:cubicBezTo>
                <a:cubicBezTo>
                  <a:pt x="2203758" y="291385"/>
                  <a:pt x="2199708" y="296301"/>
                  <a:pt x="2200923" y="301334"/>
                </a:cubicBezTo>
                <a:cubicBezTo>
                  <a:pt x="2202138" y="306366"/>
                  <a:pt x="2194792" y="307812"/>
                  <a:pt x="2185537" y="306193"/>
                </a:cubicBezTo>
                <a:cubicBezTo>
                  <a:pt x="2176282" y="304573"/>
                  <a:pt x="2143542" y="304978"/>
                  <a:pt x="2143947" y="311977"/>
                </a:cubicBezTo>
                <a:cubicBezTo>
                  <a:pt x="2144352" y="318976"/>
                  <a:pt x="2162919" y="322042"/>
                  <a:pt x="2161763" y="325686"/>
                </a:cubicBezTo>
                <a:cubicBezTo>
                  <a:pt x="2160606" y="329330"/>
                  <a:pt x="2147591" y="325281"/>
                  <a:pt x="2141113" y="321695"/>
                </a:cubicBezTo>
                <a:cubicBezTo>
                  <a:pt x="2134633" y="318109"/>
                  <a:pt x="2120115" y="320018"/>
                  <a:pt x="2117338" y="326901"/>
                </a:cubicBezTo>
                <a:cubicBezTo>
                  <a:pt x="2114562" y="333784"/>
                  <a:pt x="2103166" y="332165"/>
                  <a:pt x="2099522" y="330545"/>
                </a:cubicBezTo>
                <a:cubicBezTo>
                  <a:pt x="2095878" y="328926"/>
                  <a:pt x="2087953" y="333784"/>
                  <a:pt x="2081764" y="331760"/>
                </a:cubicBezTo>
                <a:cubicBezTo>
                  <a:pt x="2075575" y="329735"/>
                  <a:pt x="2093911" y="320885"/>
                  <a:pt x="2089399" y="316373"/>
                </a:cubicBezTo>
                <a:cubicBezTo>
                  <a:pt x="2084887" y="311861"/>
                  <a:pt x="2065568" y="316026"/>
                  <a:pt x="2063543" y="323257"/>
                </a:cubicBezTo>
                <a:cubicBezTo>
                  <a:pt x="2061519" y="330487"/>
                  <a:pt x="2049834" y="318051"/>
                  <a:pt x="2045380" y="320480"/>
                </a:cubicBezTo>
                <a:cubicBezTo>
                  <a:pt x="2039596" y="323749"/>
                  <a:pt x="2033695" y="326699"/>
                  <a:pt x="2027621" y="329330"/>
                </a:cubicBezTo>
                <a:cubicBezTo>
                  <a:pt x="2019176" y="332975"/>
                  <a:pt x="2004484" y="325281"/>
                  <a:pt x="2001361" y="331760"/>
                </a:cubicBezTo>
                <a:cubicBezTo>
                  <a:pt x="1998237" y="338238"/>
                  <a:pt x="2017557" y="340263"/>
                  <a:pt x="2017962" y="343329"/>
                </a:cubicBezTo>
                <a:cubicBezTo>
                  <a:pt x="2018367" y="346395"/>
                  <a:pt x="1973942" y="345758"/>
                  <a:pt x="1972727" y="350212"/>
                </a:cubicBezTo>
                <a:cubicBezTo>
                  <a:pt x="1971513" y="354666"/>
                  <a:pt x="1956531" y="354666"/>
                  <a:pt x="1938368" y="355071"/>
                </a:cubicBezTo>
                <a:cubicBezTo>
                  <a:pt x="1920205" y="355476"/>
                  <a:pt x="1927493" y="364384"/>
                  <a:pt x="1912916" y="367161"/>
                </a:cubicBezTo>
                <a:cubicBezTo>
                  <a:pt x="1898340" y="369937"/>
                  <a:pt x="1891919" y="370400"/>
                  <a:pt x="1887118" y="377688"/>
                </a:cubicBezTo>
                <a:cubicBezTo>
                  <a:pt x="1882838" y="384167"/>
                  <a:pt x="1874103" y="385960"/>
                  <a:pt x="1867625" y="381685"/>
                </a:cubicBezTo>
                <a:cubicBezTo>
                  <a:pt x="1867104" y="381333"/>
                  <a:pt x="1866583" y="380945"/>
                  <a:pt x="1866121" y="380523"/>
                </a:cubicBezTo>
                <a:cubicBezTo>
                  <a:pt x="1861262" y="374738"/>
                  <a:pt x="1847900" y="383357"/>
                  <a:pt x="1855188" y="384167"/>
                </a:cubicBezTo>
                <a:cubicBezTo>
                  <a:pt x="1862476" y="384977"/>
                  <a:pt x="1855593" y="392207"/>
                  <a:pt x="1851139" y="390588"/>
                </a:cubicBezTo>
                <a:cubicBezTo>
                  <a:pt x="1846685" y="388968"/>
                  <a:pt x="1833786" y="398281"/>
                  <a:pt x="1841074" y="397471"/>
                </a:cubicBezTo>
                <a:cubicBezTo>
                  <a:pt x="1848362" y="396661"/>
                  <a:pt x="1851948" y="402735"/>
                  <a:pt x="1848304" y="407189"/>
                </a:cubicBezTo>
                <a:cubicBezTo>
                  <a:pt x="1844661" y="411643"/>
                  <a:pt x="1828926" y="401925"/>
                  <a:pt x="1825166" y="405974"/>
                </a:cubicBezTo>
                <a:cubicBezTo>
                  <a:pt x="1821407" y="410023"/>
                  <a:pt x="1832860" y="415229"/>
                  <a:pt x="1840149" y="414419"/>
                </a:cubicBezTo>
                <a:cubicBezTo>
                  <a:pt x="1845875" y="413523"/>
                  <a:pt x="1851254" y="417456"/>
                  <a:pt x="1852180" y="423206"/>
                </a:cubicBezTo>
                <a:cubicBezTo>
                  <a:pt x="1852180" y="423380"/>
                  <a:pt x="1852238" y="423553"/>
                  <a:pt x="1852238" y="423732"/>
                </a:cubicBezTo>
                <a:cubicBezTo>
                  <a:pt x="1853048" y="428938"/>
                  <a:pt x="1835289" y="420493"/>
                  <a:pt x="1831646" y="424947"/>
                </a:cubicBezTo>
                <a:cubicBezTo>
                  <a:pt x="1828001" y="429401"/>
                  <a:pt x="1834480" y="431368"/>
                  <a:pt x="1842173" y="432178"/>
                </a:cubicBezTo>
                <a:cubicBezTo>
                  <a:pt x="1849866" y="432987"/>
                  <a:pt x="1844140" y="435822"/>
                  <a:pt x="1851023" y="441895"/>
                </a:cubicBezTo>
                <a:cubicBezTo>
                  <a:pt x="1851486" y="442295"/>
                  <a:pt x="1851948" y="442740"/>
                  <a:pt x="1852354" y="443226"/>
                </a:cubicBezTo>
                <a:cubicBezTo>
                  <a:pt x="1856518" y="448200"/>
                  <a:pt x="1848652" y="449994"/>
                  <a:pt x="1849461" y="454795"/>
                </a:cubicBezTo>
                <a:cubicBezTo>
                  <a:pt x="1850271" y="459596"/>
                  <a:pt x="1841768" y="462083"/>
                  <a:pt x="1841768" y="457224"/>
                </a:cubicBezTo>
                <a:cubicBezTo>
                  <a:pt x="1841768" y="452365"/>
                  <a:pt x="1820366" y="450746"/>
                  <a:pt x="1815912" y="456009"/>
                </a:cubicBezTo>
                <a:cubicBezTo>
                  <a:pt x="1811457" y="461273"/>
                  <a:pt x="1808218" y="465322"/>
                  <a:pt x="1803012" y="460463"/>
                </a:cubicBezTo>
                <a:cubicBezTo>
                  <a:pt x="1797806" y="455605"/>
                  <a:pt x="1782420" y="461678"/>
                  <a:pt x="1762521" y="462488"/>
                </a:cubicBezTo>
                <a:cubicBezTo>
                  <a:pt x="1742623" y="463298"/>
                  <a:pt x="1701901" y="464917"/>
                  <a:pt x="1691836" y="468562"/>
                </a:cubicBezTo>
                <a:cubicBezTo>
                  <a:pt x="1681771" y="472206"/>
                  <a:pt x="1673268" y="486320"/>
                  <a:pt x="1682523" y="495575"/>
                </a:cubicBezTo>
                <a:cubicBezTo>
                  <a:pt x="1691778" y="504830"/>
                  <a:pt x="1682928" y="508937"/>
                  <a:pt x="1682928" y="514953"/>
                </a:cubicBezTo>
                <a:cubicBezTo>
                  <a:pt x="1682928" y="520969"/>
                  <a:pt x="1707165" y="533579"/>
                  <a:pt x="1720064" y="534793"/>
                </a:cubicBezTo>
                <a:cubicBezTo>
                  <a:pt x="1732963" y="536008"/>
                  <a:pt x="1743202" y="551742"/>
                  <a:pt x="1735855" y="561402"/>
                </a:cubicBezTo>
                <a:cubicBezTo>
                  <a:pt x="1728509" y="571062"/>
                  <a:pt x="1704677" y="558567"/>
                  <a:pt x="1689580" y="546478"/>
                </a:cubicBezTo>
                <a:cubicBezTo>
                  <a:pt x="1674483" y="534388"/>
                  <a:pt x="1638677" y="529530"/>
                  <a:pt x="1626935" y="530339"/>
                </a:cubicBezTo>
                <a:cubicBezTo>
                  <a:pt x="1615192" y="531149"/>
                  <a:pt x="1622075" y="519812"/>
                  <a:pt x="1607210" y="520217"/>
                </a:cubicBezTo>
                <a:cubicBezTo>
                  <a:pt x="1592343" y="520622"/>
                  <a:pt x="1579676" y="533984"/>
                  <a:pt x="1589856" y="533984"/>
                </a:cubicBezTo>
                <a:cubicBezTo>
                  <a:pt x="1600037" y="533984"/>
                  <a:pt x="1606400" y="533174"/>
                  <a:pt x="1601425" y="537975"/>
                </a:cubicBezTo>
                <a:cubicBezTo>
                  <a:pt x="1596451" y="542776"/>
                  <a:pt x="1604259" y="541619"/>
                  <a:pt x="1616349" y="546883"/>
                </a:cubicBezTo>
                <a:cubicBezTo>
                  <a:pt x="1628439" y="552147"/>
                  <a:pt x="1606284" y="559377"/>
                  <a:pt x="1593732" y="550932"/>
                </a:cubicBezTo>
                <a:cubicBezTo>
                  <a:pt x="1583956" y="544453"/>
                  <a:pt x="1570767" y="547120"/>
                  <a:pt x="1564289" y="556890"/>
                </a:cubicBezTo>
                <a:cubicBezTo>
                  <a:pt x="1564289" y="556930"/>
                  <a:pt x="1564231" y="556965"/>
                  <a:pt x="1564231" y="557006"/>
                </a:cubicBezTo>
                <a:cubicBezTo>
                  <a:pt x="1560645" y="563426"/>
                  <a:pt x="1578750" y="581994"/>
                  <a:pt x="1600557" y="585234"/>
                </a:cubicBezTo>
                <a:cubicBezTo>
                  <a:pt x="1622365" y="588473"/>
                  <a:pt x="1615134" y="595356"/>
                  <a:pt x="1625257" y="598943"/>
                </a:cubicBezTo>
                <a:cubicBezTo>
                  <a:pt x="1635380" y="602529"/>
                  <a:pt x="1628091" y="606636"/>
                  <a:pt x="1621208" y="607041"/>
                </a:cubicBezTo>
                <a:cubicBezTo>
                  <a:pt x="1614324" y="607446"/>
                  <a:pt x="1600557" y="596571"/>
                  <a:pt x="1589741" y="590902"/>
                </a:cubicBezTo>
                <a:cubicBezTo>
                  <a:pt x="1578924" y="585234"/>
                  <a:pt x="1549250" y="593332"/>
                  <a:pt x="1543465" y="586853"/>
                </a:cubicBezTo>
                <a:cubicBezTo>
                  <a:pt x="1537681" y="580375"/>
                  <a:pt x="1547457" y="573954"/>
                  <a:pt x="1541787" y="569095"/>
                </a:cubicBezTo>
                <a:cubicBezTo>
                  <a:pt x="1536119" y="564236"/>
                  <a:pt x="1541035" y="553361"/>
                  <a:pt x="1548324" y="542024"/>
                </a:cubicBezTo>
                <a:cubicBezTo>
                  <a:pt x="1555612" y="530686"/>
                  <a:pt x="1547109" y="511366"/>
                  <a:pt x="1536755" y="508127"/>
                </a:cubicBezTo>
                <a:cubicBezTo>
                  <a:pt x="1526401" y="504888"/>
                  <a:pt x="1527095" y="515763"/>
                  <a:pt x="1529524" y="519002"/>
                </a:cubicBezTo>
                <a:cubicBezTo>
                  <a:pt x="1531954" y="522241"/>
                  <a:pt x="1530740" y="537628"/>
                  <a:pt x="1522641" y="547924"/>
                </a:cubicBezTo>
                <a:cubicBezTo>
                  <a:pt x="1514543" y="558220"/>
                  <a:pt x="1489901" y="557989"/>
                  <a:pt x="1489901" y="564872"/>
                </a:cubicBezTo>
                <a:cubicBezTo>
                  <a:pt x="1489901" y="571756"/>
                  <a:pt x="1473358" y="577020"/>
                  <a:pt x="1479026" y="581821"/>
                </a:cubicBezTo>
                <a:cubicBezTo>
                  <a:pt x="1484695" y="586622"/>
                  <a:pt x="1506908" y="611726"/>
                  <a:pt x="1510147" y="619420"/>
                </a:cubicBezTo>
                <a:cubicBezTo>
                  <a:pt x="1513386" y="627113"/>
                  <a:pt x="1490364" y="651292"/>
                  <a:pt x="1493951" y="665695"/>
                </a:cubicBezTo>
                <a:cubicBezTo>
                  <a:pt x="1497537" y="680098"/>
                  <a:pt x="1490711" y="686230"/>
                  <a:pt x="1495165" y="693113"/>
                </a:cubicBezTo>
                <a:cubicBezTo>
                  <a:pt x="1499619" y="699997"/>
                  <a:pt x="1509684" y="693923"/>
                  <a:pt x="1516163" y="696815"/>
                </a:cubicBezTo>
                <a:cubicBezTo>
                  <a:pt x="1522641" y="699708"/>
                  <a:pt x="1533169" y="692708"/>
                  <a:pt x="1548093" y="689874"/>
                </a:cubicBezTo>
                <a:cubicBezTo>
                  <a:pt x="1563016" y="687040"/>
                  <a:pt x="1590493" y="702831"/>
                  <a:pt x="1600557" y="707690"/>
                </a:cubicBezTo>
                <a:cubicBezTo>
                  <a:pt x="1610622" y="712549"/>
                  <a:pt x="1605416" y="720589"/>
                  <a:pt x="1610680" y="728687"/>
                </a:cubicBezTo>
                <a:cubicBezTo>
                  <a:pt x="1615944" y="736786"/>
                  <a:pt x="1598591" y="736728"/>
                  <a:pt x="1598128" y="748875"/>
                </a:cubicBezTo>
                <a:cubicBezTo>
                  <a:pt x="1597665" y="761022"/>
                  <a:pt x="1628496" y="766228"/>
                  <a:pt x="1629653" y="769873"/>
                </a:cubicBezTo>
                <a:cubicBezTo>
                  <a:pt x="1630810" y="773517"/>
                  <a:pt x="1607846" y="770682"/>
                  <a:pt x="1598938" y="767443"/>
                </a:cubicBezTo>
                <a:cubicBezTo>
                  <a:pt x="1590030" y="764204"/>
                  <a:pt x="1589278" y="752462"/>
                  <a:pt x="1586502" y="750090"/>
                </a:cubicBezTo>
                <a:cubicBezTo>
                  <a:pt x="1583724" y="747718"/>
                  <a:pt x="1592286" y="737943"/>
                  <a:pt x="1593269" y="730249"/>
                </a:cubicBezTo>
                <a:cubicBezTo>
                  <a:pt x="1594253" y="722556"/>
                  <a:pt x="1583262" y="718160"/>
                  <a:pt x="1579618" y="712896"/>
                </a:cubicBezTo>
                <a:cubicBezTo>
                  <a:pt x="1575974" y="707632"/>
                  <a:pt x="1569495" y="699997"/>
                  <a:pt x="1562264" y="701616"/>
                </a:cubicBezTo>
                <a:cubicBezTo>
                  <a:pt x="1555034" y="703236"/>
                  <a:pt x="1528368" y="705665"/>
                  <a:pt x="1520327" y="712896"/>
                </a:cubicBezTo>
                <a:cubicBezTo>
                  <a:pt x="1512287" y="720127"/>
                  <a:pt x="1521484" y="740777"/>
                  <a:pt x="1526112" y="750900"/>
                </a:cubicBezTo>
                <a:cubicBezTo>
                  <a:pt x="1530740" y="761022"/>
                  <a:pt x="1502974" y="775136"/>
                  <a:pt x="1503494" y="783177"/>
                </a:cubicBezTo>
                <a:cubicBezTo>
                  <a:pt x="1504016" y="791217"/>
                  <a:pt x="1494992" y="794746"/>
                  <a:pt x="1482902" y="801398"/>
                </a:cubicBezTo>
                <a:cubicBezTo>
                  <a:pt x="1470813" y="808050"/>
                  <a:pt x="1457451" y="812677"/>
                  <a:pt x="1457855" y="823205"/>
                </a:cubicBezTo>
                <a:cubicBezTo>
                  <a:pt x="1458261" y="833733"/>
                  <a:pt x="1441717" y="828006"/>
                  <a:pt x="1433214" y="823205"/>
                </a:cubicBezTo>
                <a:cubicBezTo>
                  <a:pt x="1424711" y="818404"/>
                  <a:pt x="1413836" y="825982"/>
                  <a:pt x="1401747" y="825577"/>
                </a:cubicBezTo>
                <a:cubicBezTo>
                  <a:pt x="1389657" y="825172"/>
                  <a:pt x="1389599" y="815107"/>
                  <a:pt x="1379881" y="818751"/>
                </a:cubicBezTo>
                <a:cubicBezTo>
                  <a:pt x="1375312" y="821215"/>
                  <a:pt x="1369586" y="819486"/>
                  <a:pt x="1367098" y="814899"/>
                </a:cubicBezTo>
                <a:cubicBezTo>
                  <a:pt x="1365826" y="812521"/>
                  <a:pt x="1365652" y="809716"/>
                  <a:pt x="1366578" y="807182"/>
                </a:cubicBezTo>
                <a:cubicBezTo>
                  <a:pt x="1369412" y="799952"/>
                  <a:pt x="1380287" y="805563"/>
                  <a:pt x="1381154" y="810826"/>
                </a:cubicBezTo>
                <a:cubicBezTo>
                  <a:pt x="1382021" y="816090"/>
                  <a:pt x="1388790" y="813661"/>
                  <a:pt x="1396888" y="809207"/>
                </a:cubicBezTo>
                <a:cubicBezTo>
                  <a:pt x="1404986" y="804753"/>
                  <a:pt x="1400937" y="814991"/>
                  <a:pt x="1412621" y="815685"/>
                </a:cubicBezTo>
                <a:cubicBezTo>
                  <a:pt x="1424306" y="816379"/>
                  <a:pt x="1417885" y="809612"/>
                  <a:pt x="1426736" y="810421"/>
                </a:cubicBezTo>
                <a:cubicBezTo>
                  <a:pt x="1435585" y="811231"/>
                  <a:pt x="1436049" y="808455"/>
                  <a:pt x="1433214" y="803943"/>
                </a:cubicBezTo>
                <a:cubicBezTo>
                  <a:pt x="1430379" y="799431"/>
                  <a:pt x="1439693" y="796307"/>
                  <a:pt x="1445361" y="793878"/>
                </a:cubicBezTo>
                <a:cubicBezTo>
                  <a:pt x="1451030" y="791449"/>
                  <a:pt x="1448600" y="782309"/>
                  <a:pt x="1453806" y="779359"/>
                </a:cubicBezTo>
                <a:cubicBezTo>
                  <a:pt x="1459013" y="776409"/>
                  <a:pt x="1455426" y="770856"/>
                  <a:pt x="1461095" y="770451"/>
                </a:cubicBezTo>
                <a:cubicBezTo>
                  <a:pt x="1466764" y="770046"/>
                  <a:pt x="1469193" y="761543"/>
                  <a:pt x="1474399" y="761543"/>
                </a:cubicBezTo>
                <a:cubicBezTo>
                  <a:pt x="1479605" y="761543"/>
                  <a:pt x="1482497" y="753040"/>
                  <a:pt x="1479258" y="748644"/>
                </a:cubicBezTo>
                <a:cubicBezTo>
                  <a:pt x="1476018" y="744248"/>
                  <a:pt x="1481340" y="732042"/>
                  <a:pt x="1486547" y="730423"/>
                </a:cubicBezTo>
                <a:cubicBezTo>
                  <a:pt x="1491753" y="728803"/>
                  <a:pt x="1492331" y="724002"/>
                  <a:pt x="1487356" y="720416"/>
                </a:cubicBezTo>
                <a:cubicBezTo>
                  <a:pt x="1482382" y="716829"/>
                  <a:pt x="1464739" y="704624"/>
                  <a:pt x="1465954" y="696989"/>
                </a:cubicBezTo>
                <a:cubicBezTo>
                  <a:pt x="1467169" y="689353"/>
                  <a:pt x="1462715" y="675124"/>
                  <a:pt x="1465144" y="669108"/>
                </a:cubicBezTo>
                <a:cubicBezTo>
                  <a:pt x="1467573" y="663092"/>
                  <a:pt x="1465549" y="650482"/>
                  <a:pt x="1464739" y="643194"/>
                </a:cubicBezTo>
                <a:cubicBezTo>
                  <a:pt x="1463929" y="635905"/>
                  <a:pt x="1469193" y="627865"/>
                  <a:pt x="1471622" y="614271"/>
                </a:cubicBezTo>
                <a:cubicBezTo>
                  <a:pt x="1474052" y="600678"/>
                  <a:pt x="1457451" y="586795"/>
                  <a:pt x="1449410" y="583151"/>
                </a:cubicBezTo>
                <a:cubicBezTo>
                  <a:pt x="1441370" y="579507"/>
                  <a:pt x="1446576" y="572276"/>
                  <a:pt x="1458261" y="562559"/>
                </a:cubicBezTo>
                <a:cubicBezTo>
                  <a:pt x="1469945" y="552841"/>
                  <a:pt x="1470755" y="522588"/>
                  <a:pt x="1469829" y="516283"/>
                </a:cubicBezTo>
                <a:cubicBezTo>
                  <a:pt x="1468904" y="509978"/>
                  <a:pt x="1445188" y="504194"/>
                  <a:pt x="1435875" y="504714"/>
                </a:cubicBezTo>
                <a:cubicBezTo>
                  <a:pt x="1418464" y="505137"/>
                  <a:pt x="1401110" y="504327"/>
                  <a:pt x="1383815" y="502285"/>
                </a:cubicBezTo>
                <a:cubicBezTo>
                  <a:pt x="1375312" y="500665"/>
                  <a:pt x="1372246" y="509573"/>
                  <a:pt x="1368428" y="517614"/>
                </a:cubicBezTo>
                <a:cubicBezTo>
                  <a:pt x="1360909" y="529825"/>
                  <a:pt x="1354835" y="542845"/>
                  <a:pt x="1350265" y="556427"/>
                </a:cubicBezTo>
                <a:cubicBezTo>
                  <a:pt x="1345002" y="574590"/>
                  <a:pt x="1323599" y="580259"/>
                  <a:pt x="1313939" y="584250"/>
                </a:cubicBezTo>
                <a:cubicBezTo>
                  <a:pt x="1304279" y="588241"/>
                  <a:pt x="1298205" y="601604"/>
                  <a:pt x="1302371" y="608082"/>
                </a:cubicBezTo>
                <a:cubicBezTo>
                  <a:pt x="1306535" y="614561"/>
                  <a:pt x="1313302" y="609297"/>
                  <a:pt x="1317757" y="611726"/>
                </a:cubicBezTo>
                <a:cubicBezTo>
                  <a:pt x="1322211" y="614156"/>
                  <a:pt x="1317352" y="631104"/>
                  <a:pt x="1314460" y="633534"/>
                </a:cubicBezTo>
                <a:cubicBezTo>
                  <a:pt x="1311568" y="635963"/>
                  <a:pt x="1319724" y="642037"/>
                  <a:pt x="1312898" y="646433"/>
                </a:cubicBezTo>
                <a:cubicBezTo>
                  <a:pt x="1306072" y="650829"/>
                  <a:pt x="1299535" y="660200"/>
                  <a:pt x="1303585" y="665059"/>
                </a:cubicBezTo>
                <a:cubicBezTo>
                  <a:pt x="1307634" y="669918"/>
                  <a:pt x="1327417" y="672289"/>
                  <a:pt x="1335920" y="677148"/>
                </a:cubicBezTo>
                <a:cubicBezTo>
                  <a:pt x="1344423" y="682007"/>
                  <a:pt x="1341126" y="690857"/>
                  <a:pt x="1347489" y="699360"/>
                </a:cubicBezTo>
                <a:cubicBezTo>
                  <a:pt x="1353851" y="707863"/>
                  <a:pt x="1360851" y="702600"/>
                  <a:pt x="1364032" y="707863"/>
                </a:cubicBezTo>
                <a:cubicBezTo>
                  <a:pt x="1367214" y="713127"/>
                  <a:pt x="1352463" y="734125"/>
                  <a:pt x="1347084" y="734877"/>
                </a:cubicBezTo>
                <a:cubicBezTo>
                  <a:pt x="1341704" y="735629"/>
                  <a:pt x="1320418" y="713474"/>
                  <a:pt x="1313997" y="708673"/>
                </a:cubicBezTo>
                <a:cubicBezTo>
                  <a:pt x="1307576" y="703872"/>
                  <a:pt x="1282472" y="696121"/>
                  <a:pt x="1269977" y="689643"/>
                </a:cubicBezTo>
                <a:cubicBezTo>
                  <a:pt x="1257483" y="683164"/>
                  <a:pt x="1247361" y="683858"/>
                  <a:pt x="1233651" y="674719"/>
                </a:cubicBezTo>
                <a:cubicBezTo>
                  <a:pt x="1219942" y="665579"/>
                  <a:pt x="1208200" y="660952"/>
                  <a:pt x="1183153" y="661414"/>
                </a:cubicBezTo>
                <a:cubicBezTo>
                  <a:pt x="1158107" y="661877"/>
                  <a:pt x="1141968" y="655630"/>
                  <a:pt x="1133465" y="656961"/>
                </a:cubicBezTo>
                <a:cubicBezTo>
                  <a:pt x="1124962" y="658291"/>
                  <a:pt x="1128201" y="648457"/>
                  <a:pt x="1113277" y="642037"/>
                </a:cubicBezTo>
                <a:cubicBezTo>
                  <a:pt x="1098354" y="635616"/>
                  <a:pt x="1088635" y="626650"/>
                  <a:pt x="1080190" y="631104"/>
                </a:cubicBezTo>
                <a:cubicBezTo>
                  <a:pt x="1071745" y="635558"/>
                  <a:pt x="1074868" y="651697"/>
                  <a:pt x="1087826" y="653721"/>
                </a:cubicBezTo>
                <a:cubicBezTo>
                  <a:pt x="1100783" y="655746"/>
                  <a:pt x="1094304" y="662629"/>
                  <a:pt x="1108013" y="661819"/>
                </a:cubicBezTo>
                <a:cubicBezTo>
                  <a:pt x="1121722" y="661010"/>
                  <a:pt x="1125772" y="665869"/>
                  <a:pt x="1125366" y="674314"/>
                </a:cubicBezTo>
                <a:cubicBezTo>
                  <a:pt x="1124962" y="682759"/>
                  <a:pt x="1131787" y="691262"/>
                  <a:pt x="1137861" y="696931"/>
                </a:cubicBezTo>
                <a:cubicBezTo>
                  <a:pt x="1143935" y="702600"/>
                  <a:pt x="1140291" y="711855"/>
                  <a:pt x="1129358" y="711855"/>
                </a:cubicBezTo>
                <a:cubicBezTo>
                  <a:pt x="1118425" y="711855"/>
                  <a:pt x="1106220" y="713474"/>
                  <a:pt x="1110790" y="721168"/>
                </a:cubicBezTo>
                <a:cubicBezTo>
                  <a:pt x="1115359" y="728861"/>
                  <a:pt x="1107551" y="730828"/>
                  <a:pt x="1096676" y="726952"/>
                </a:cubicBezTo>
                <a:cubicBezTo>
                  <a:pt x="1085801" y="723077"/>
                  <a:pt x="1092164" y="715383"/>
                  <a:pt x="1096676" y="710756"/>
                </a:cubicBezTo>
                <a:cubicBezTo>
                  <a:pt x="1101188" y="706128"/>
                  <a:pt x="1086958" y="700691"/>
                  <a:pt x="1080133" y="698261"/>
                </a:cubicBezTo>
                <a:cubicBezTo>
                  <a:pt x="1073307" y="695832"/>
                  <a:pt x="1045773" y="716020"/>
                  <a:pt x="1038137" y="719259"/>
                </a:cubicBezTo>
                <a:cubicBezTo>
                  <a:pt x="1030502" y="722498"/>
                  <a:pt x="1011471" y="714400"/>
                  <a:pt x="991862" y="719259"/>
                </a:cubicBezTo>
                <a:cubicBezTo>
                  <a:pt x="972253" y="724118"/>
                  <a:pt x="973757" y="739447"/>
                  <a:pt x="966410" y="737827"/>
                </a:cubicBezTo>
                <a:cubicBezTo>
                  <a:pt x="959064" y="736207"/>
                  <a:pt x="937488" y="739851"/>
                  <a:pt x="929679" y="734992"/>
                </a:cubicBezTo>
                <a:cubicBezTo>
                  <a:pt x="921871" y="730134"/>
                  <a:pt x="928118" y="727357"/>
                  <a:pt x="936563" y="727762"/>
                </a:cubicBezTo>
                <a:cubicBezTo>
                  <a:pt x="945008" y="728167"/>
                  <a:pt x="948131" y="725333"/>
                  <a:pt x="942984" y="719722"/>
                </a:cubicBezTo>
                <a:cubicBezTo>
                  <a:pt x="937836" y="714111"/>
                  <a:pt x="949462" y="705145"/>
                  <a:pt x="948768" y="701096"/>
                </a:cubicBezTo>
                <a:cubicBezTo>
                  <a:pt x="948074" y="697047"/>
                  <a:pt x="916896" y="707574"/>
                  <a:pt x="911632" y="711971"/>
                </a:cubicBezTo>
                <a:cubicBezTo>
                  <a:pt x="906368" y="716367"/>
                  <a:pt x="912095" y="724581"/>
                  <a:pt x="906368" y="727357"/>
                </a:cubicBezTo>
                <a:cubicBezTo>
                  <a:pt x="900642" y="730134"/>
                  <a:pt x="900584" y="722498"/>
                  <a:pt x="894279" y="720127"/>
                </a:cubicBezTo>
                <a:cubicBezTo>
                  <a:pt x="887974" y="717755"/>
                  <a:pt x="840541" y="728572"/>
                  <a:pt x="831691" y="738695"/>
                </a:cubicBezTo>
                <a:cubicBezTo>
                  <a:pt x="822841" y="748817"/>
                  <a:pt x="805430" y="749164"/>
                  <a:pt x="805430" y="754775"/>
                </a:cubicBezTo>
                <a:cubicBezTo>
                  <a:pt x="805430" y="760386"/>
                  <a:pt x="784027" y="760039"/>
                  <a:pt x="775524" y="764146"/>
                </a:cubicBezTo>
                <a:cubicBezTo>
                  <a:pt x="767021" y="768253"/>
                  <a:pt x="772748" y="784681"/>
                  <a:pt x="769740" y="792779"/>
                </a:cubicBezTo>
                <a:cubicBezTo>
                  <a:pt x="766732" y="800877"/>
                  <a:pt x="733356" y="798563"/>
                  <a:pt x="723464" y="798563"/>
                </a:cubicBezTo>
                <a:cubicBezTo>
                  <a:pt x="713573" y="798563"/>
                  <a:pt x="709697" y="779243"/>
                  <a:pt x="701657" y="777971"/>
                </a:cubicBezTo>
                <a:cubicBezTo>
                  <a:pt x="693617" y="776698"/>
                  <a:pt x="698360" y="765476"/>
                  <a:pt x="700847" y="760618"/>
                </a:cubicBezTo>
                <a:cubicBezTo>
                  <a:pt x="703335" y="755759"/>
                  <a:pt x="709697" y="759750"/>
                  <a:pt x="719820" y="753329"/>
                </a:cubicBezTo>
                <a:cubicBezTo>
                  <a:pt x="729943" y="746908"/>
                  <a:pt x="740008" y="756511"/>
                  <a:pt x="744057" y="752057"/>
                </a:cubicBezTo>
                <a:cubicBezTo>
                  <a:pt x="748106" y="747603"/>
                  <a:pt x="728671" y="735918"/>
                  <a:pt x="727456" y="725853"/>
                </a:cubicBezTo>
                <a:cubicBezTo>
                  <a:pt x="726241" y="715788"/>
                  <a:pt x="704839" y="712896"/>
                  <a:pt x="692749" y="716135"/>
                </a:cubicBezTo>
                <a:cubicBezTo>
                  <a:pt x="681354" y="718796"/>
                  <a:pt x="669438" y="717512"/>
                  <a:pt x="658853" y="712491"/>
                </a:cubicBezTo>
                <a:cubicBezTo>
                  <a:pt x="650349" y="708500"/>
                  <a:pt x="651159" y="719837"/>
                  <a:pt x="663654" y="723019"/>
                </a:cubicBezTo>
                <a:cubicBezTo>
                  <a:pt x="676148" y="726200"/>
                  <a:pt x="669727" y="735918"/>
                  <a:pt x="671752" y="741992"/>
                </a:cubicBezTo>
                <a:cubicBezTo>
                  <a:pt x="673776" y="748065"/>
                  <a:pt x="668512" y="761832"/>
                  <a:pt x="661224" y="772244"/>
                </a:cubicBezTo>
                <a:cubicBezTo>
                  <a:pt x="653936" y="782656"/>
                  <a:pt x="659257" y="782425"/>
                  <a:pt x="670132" y="781962"/>
                </a:cubicBezTo>
                <a:cubicBezTo>
                  <a:pt x="681007" y="781499"/>
                  <a:pt x="680255" y="795729"/>
                  <a:pt x="680255" y="806199"/>
                </a:cubicBezTo>
                <a:cubicBezTo>
                  <a:pt x="680255" y="816669"/>
                  <a:pt x="671752" y="819561"/>
                  <a:pt x="671752" y="827254"/>
                </a:cubicBezTo>
                <a:cubicBezTo>
                  <a:pt x="671752" y="834947"/>
                  <a:pt x="662844" y="823552"/>
                  <a:pt x="660183" y="826791"/>
                </a:cubicBezTo>
                <a:cubicBezTo>
                  <a:pt x="657522" y="830031"/>
                  <a:pt x="653763" y="825172"/>
                  <a:pt x="652143" y="818693"/>
                </a:cubicBezTo>
                <a:cubicBezTo>
                  <a:pt x="650523" y="812215"/>
                  <a:pt x="633980" y="815859"/>
                  <a:pt x="624667" y="813487"/>
                </a:cubicBezTo>
                <a:cubicBezTo>
                  <a:pt x="615354" y="811116"/>
                  <a:pt x="611767" y="815107"/>
                  <a:pt x="607313" y="821932"/>
                </a:cubicBezTo>
                <a:cubicBezTo>
                  <a:pt x="602859" y="828758"/>
                  <a:pt x="589960" y="831650"/>
                  <a:pt x="583076" y="832460"/>
                </a:cubicBezTo>
                <a:cubicBezTo>
                  <a:pt x="576193" y="833270"/>
                  <a:pt x="564104" y="846632"/>
                  <a:pt x="556815" y="851433"/>
                </a:cubicBezTo>
                <a:cubicBezTo>
                  <a:pt x="549527" y="856234"/>
                  <a:pt x="548370" y="865605"/>
                  <a:pt x="558435" y="875265"/>
                </a:cubicBezTo>
                <a:cubicBezTo>
                  <a:pt x="568499" y="884925"/>
                  <a:pt x="570582" y="891403"/>
                  <a:pt x="570003" y="896667"/>
                </a:cubicBezTo>
                <a:cubicBezTo>
                  <a:pt x="569425" y="901931"/>
                  <a:pt x="541718" y="900312"/>
                  <a:pt x="537264" y="894643"/>
                </a:cubicBezTo>
                <a:cubicBezTo>
                  <a:pt x="532810" y="888974"/>
                  <a:pt x="515051" y="887007"/>
                  <a:pt x="509036" y="888222"/>
                </a:cubicBezTo>
                <a:cubicBezTo>
                  <a:pt x="503020" y="889437"/>
                  <a:pt x="486361" y="870059"/>
                  <a:pt x="477916" y="869654"/>
                </a:cubicBezTo>
                <a:cubicBezTo>
                  <a:pt x="469470" y="869249"/>
                  <a:pt x="464149" y="879719"/>
                  <a:pt x="461314" y="884983"/>
                </a:cubicBezTo>
                <a:cubicBezTo>
                  <a:pt x="458480" y="890246"/>
                  <a:pt x="465363" y="891866"/>
                  <a:pt x="469470" y="900716"/>
                </a:cubicBezTo>
                <a:cubicBezTo>
                  <a:pt x="473577" y="909567"/>
                  <a:pt x="488443" y="910029"/>
                  <a:pt x="496079" y="910029"/>
                </a:cubicBezTo>
                <a:cubicBezTo>
                  <a:pt x="503714" y="910029"/>
                  <a:pt x="500880" y="921598"/>
                  <a:pt x="498508" y="926573"/>
                </a:cubicBezTo>
                <a:cubicBezTo>
                  <a:pt x="496137" y="931547"/>
                  <a:pt x="481907" y="935018"/>
                  <a:pt x="477916" y="929812"/>
                </a:cubicBezTo>
                <a:cubicBezTo>
                  <a:pt x="473924" y="924606"/>
                  <a:pt x="456860" y="929812"/>
                  <a:pt x="456513" y="923333"/>
                </a:cubicBezTo>
                <a:cubicBezTo>
                  <a:pt x="456166" y="916855"/>
                  <a:pt x="443961" y="907195"/>
                  <a:pt x="431467" y="909220"/>
                </a:cubicBezTo>
                <a:cubicBezTo>
                  <a:pt x="418972" y="911244"/>
                  <a:pt x="416485" y="903146"/>
                  <a:pt x="417353" y="893428"/>
                </a:cubicBezTo>
                <a:cubicBezTo>
                  <a:pt x="418220" y="883710"/>
                  <a:pt x="410469" y="878099"/>
                  <a:pt x="410816" y="873645"/>
                </a:cubicBezTo>
                <a:cubicBezTo>
                  <a:pt x="411163" y="869191"/>
                  <a:pt x="405032" y="860341"/>
                  <a:pt x="411626" y="855887"/>
                </a:cubicBezTo>
                <a:cubicBezTo>
                  <a:pt x="418220" y="851433"/>
                  <a:pt x="413246" y="844607"/>
                  <a:pt x="413651" y="838534"/>
                </a:cubicBezTo>
                <a:cubicBezTo>
                  <a:pt x="414055" y="832460"/>
                  <a:pt x="402776" y="823205"/>
                  <a:pt x="392653" y="823205"/>
                </a:cubicBezTo>
                <a:cubicBezTo>
                  <a:pt x="382531" y="823205"/>
                  <a:pt x="384613" y="813082"/>
                  <a:pt x="376110" y="811058"/>
                </a:cubicBezTo>
                <a:cubicBezTo>
                  <a:pt x="367606" y="809033"/>
                  <a:pt x="350716" y="794919"/>
                  <a:pt x="349501" y="788845"/>
                </a:cubicBezTo>
                <a:cubicBezTo>
                  <a:pt x="348286" y="782772"/>
                  <a:pt x="335329" y="781962"/>
                  <a:pt x="339784" y="779938"/>
                </a:cubicBezTo>
                <a:cubicBezTo>
                  <a:pt x="344238" y="777913"/>
                  <a:pt x="354360" y="780805"/>
                  <a:pt x="361591" y="788036"/>
                </a:cubicBezTo>
                <a:cubicBezTo>
                  <a:pt x="372060" y="797499"/>
                  <a:pt x="385423" y="803197"/>
                  <a:pt x="399536" y="804232"/>
                </a:cubicBezTo>
                <a:cubicBezTo>
                  <a:pt x="418567" y="806604"/>
                  <a:pt x="426203" y="815512"/>
                  <a:pt x="447200" y="819098"/>
                </a:cubicBezTo>
                <a:cubicBezTo>
                  <a:pt x="468198" y="822684"/>
                  <a:pt x="480750" y="825172"/>
                  <a:pt x="510829" y="829626"/>
                </a:cubicBezTo>
                <a:cubicBezTo>
                  <a:pt x="540908" y="834080"/>
                  <a:pt x="581514" y="803364"/>
                  <a:pt x="590018" y="794919"/>
                </a:cubicBezTo>
                <a:cubicBezTo>
                  <a:pt x="598521" y="786474"/>
                  <a:pt x="587588" y="769063"/>
                  <a:pt x="587588" y="762584"/>
                </a:cubicBezTo>
                <a:cubicBezTo>
                  <a:pt x="587588" y="756106"/>
                  <a:pt x="573879" y="755296"/>
                  <a:pt x="571855" y="750495"/>
                </a:cubicBezTo>
                <a:cubicBezTo>
                  <a:pt x="567285" y="742229"/>
                  <a:pt x="558666" y="737006"/>
                  <a:pt x="549237" y="736786"/>
                </a:cubicBezTo>
                <a:cubicBezTo>
                  <a:pt x="537669" y="736786"/>
                  <a:pt x="535876" y="723424"/>
                  <a:pt x="526620" y="724291"/>
                </a:cubicBezTo>
                <a:cubicBezTo>
                  <a:pt x="517365" y="725159"/>
                  <a:pt x="510829" y="720184"/>
                  <a:pt x="486650" y="704046"/>
                </a:cubicBezTo>
                <a:cubicBezTo>
                  <a:pt x="462471" y="687907"/>
                  <a:pt x="428806" y="676165"/>
                  <a:pt x="423022" y="678999"/>
                </a:cubicBezTo>
                <a:cubicBezTo>
                  <a:pt x="417237" y="681834"/>
                  <a:pt x="412899" y="683453"/>
                  <a:pt x="408849" y="677380"/>
                </a:cubicBezTo>
                <a:cubicBezTo>
                  <a:pt x="404800" y="671306"/>
                  <a:pt x="395488" y="672116"/>
                  <a:pt x="389067" y="676975"/>
                </a:cubicBezTo>
                <a:cubicBezTo>
                  <a:pt x="382646" y="681834"/>
                  <a:pt x="376110" y="672521"/>
                  <a:pt x="364020" y="675355"/>
                </a:cubicBezTo>
                <a:cubicBezTo>
                  <a:pt x="351931" y="678189"/>
                  <a:pt x="345452" y="670091"/>
                  <a:pt x="348634" y="666447"/>
                </a:cubicBezTo>
                <a:cubicBezTo>
                  <a:pt x="351815" y="662803"/>
                  <a:pt x="369689" y="666100"/>
                  <a:pt x="368879" y="660026"/>
                </a:cubicBezTo>
                <a:cubicBezTo>
                  <a:pt x="368069" y="653953"/>
                  <a:pt x="361591" y="660026"/>
                  <a:pt x="350716" y="652738"/>
                </a:cubicBezTo>
                <a:cubicBezTo>
                  <a:pt x="339841" y="645450"/>
                  <a:pt x="333710" y="650308"/>
                  <a:pt x="331281" y="656382"/>
                </a:cubicBezTo>
                <a:cubicBezTo>
                  <a:pt x="328851" y="662456"/>
                  <a:pt x="320406" y="660778"/>
                  <a:pt x="314737" y="655630"/>
                </a:cubicBezTo>
                <a:cubicBezTo>
                  <a:pt x="314158" y="655109"/>
                  <a:pt x="313580" y="654664"/>
                  <a:pt x="312886" y="654300"/>
                </a:cubicBezTo>
                <a:cubicBezTo>
                  <a:pt x="311035" y="664365"/>
                  <a:pt x="305019" y="665406"/>
                  <a:pt x="299003" y="664075"/>
                </a:cubicBezTo>
                <a:cubicBezTo>
                  <a:pt x="291715" y="662456"/>
                  <a:pt x="284484" y="674545"/>
                  <a:pt x="276386" y="674545"/>
                </a:cubicBezTo>
                <a:cubicBezTo>
                  <a:pt x="267536" y="675795"/>
                  <a:pt x="260306" y="682117"/>
                  <a:pt x="257818" y="690684"/>
                </a:cubicBezTo>
                <a:cubicBezTo>
                  <a:pt x="256198" y="697972"/>
                  <a:pt x="247348" y="693923"/>
                  <a:pt x="247348" y="698782"/>
                </a:cubicBezTo>
                <a:cubicBezTo>
                  <a:pt x="247927" y="703976"/>
                  <a:pt x="246481" y="709194"/>
                  <a:pt x="243241" y="713301"/>
                </a:cubicBezTo>
                <a:cubicBezTo>
                  <a:pt x="239250" y="718218"/>
                  <a:pt x="243241" y="720589"/>
                  <a:pt x="247348" y="728630"/>
                </a:cubicBezTo>
                <a:cubicBezTo>
                  <a:pt x="251455" y="736670"/>
                  <a:pt x="260248" y="735918"/>
                  <a:pt x="264296" y="738405"/>
                </a:cubicBezTo>
                <a:cubicBezTo>
                  <a:pt x="268346" y="740893"/>
                  <a:pt x="283674" y="753676"/>
                  <a:pt x="283674" y="758593"/>
                </a:cubicBezTo>
                <a:cubicBezTo>
                  <a:pt x="283674" y="763510"/>
                  <a:pt x="271527" y="775483"/>
                  <a:pt x="266726" y="778781"/>
                </a:cubicBezTo>
                <a:cubicBezTo>
                  <a:pt x="261925" y="782078"/>
                  <a:pt x="255157" y="790060"/>
                  <a:pt x="258628" y="794919"/>
                </a:cubicBezTo>
                <a:cubicBezTo>
                  <a:pt x="262098" y="799778"/>
                  <a:pt x="275577" y="819966"/>
                  <a:pt x="284484" y="836104"/>
                </a:cubicBezTo>
                <a:cubicBezTo>
                  <a:pt x="293392" y="852243"/>
                  <a:pt x="281245" y="845012"/>
                  <a:pt x="275577" y="852243"/>
                </a:cubicBezTo>
                <a:cubicBezTo>
                  <a:pt x="269907" y="859473"/>
                  <a:pt x="278006" y="868439"/>
                  <a:pt x="279625" y="873240"/>
                </a:cubicBezTo>
                <a:cubicBezTo>
                  <a:pt x="281245" y="878041"/>
                  <a:pt x="272337" y="877289"/>
                  <a:pt x="273147" y="881339"/>
                </a:cubicBezTo>
                <a:cubicBezTo>
                  <a:pt x="273957" y="885388"/>
                  <a:pt x="286104" y="887123"/>
                  <a:pt x="286856" y="890246"/>
                </a:cubicBezTo>
                <a:cubicBezTo>
                  <a:pt x="287608" y="893370"/>
                  <a:pt x="278815" y="897477"/>
                  <a:pt x="282865" y="903956"/>
                </a:cubicBezTo>
                <a:cubicBezTo>
                  <a:pt x="286914" y="910434"/>
                  <a:pt x="296574" y="910434"/>
                  <a:pt x="297383" y="918475"/>
                </a:cubicBezTo>
                <a:cubicBezTo>
                  <a:pt x="298193" y="926515"/>
                  <a:pt x="279625" y="927383"/>
                  <a:pt x="280435" y="933861"/>
                </a:cubicBezTo>
                <a:cubicBezTo>
                  <a:pt x="281245" y="940340"/>
                  <a:pt x="304672" y="948380"/>
                  <a:pt x="315142" y="960470"/>
                </a:cubicBezTo>
                <a:cubicBezTo>
                  <a:pt x="325611" y="972559"/>
                  <a:pt x="324859" y="975798"/>
                  <a:pt x="322430" y="982335"/>
                </a:cubicBezTo>
                <a:cubicBezTo>
                  <a:pt x="317572" y="995292"/>
                  <a:pt x="288534" y="1006514"/>
                  <a:pt x="281939" y="1021090"/>
                </a:cubicBezTo>
                <a:cubicBezTo>
                  <a:pt x="275345" y="1035667"/>
                  <a:pt x="251224" y="1043650"/>
                  <a:pt x="239944" y="1054987"/>
                </a:cubicBezTo>
                <a:cubicBezTo>
                  <a:pt x="235086" y="1060089"/>
                  <a:pt x="230689" y="1065648"/>
                  <a:pt x="226871" y="1071588"/>
                </a:cubicBezTo>
                <a:cubicBezTo>
                  <a:pt x="230862" y="1070651"/>
                  <a:pt x="234738" y="1069275"/>
                  <a:pt x="238440" y="1067481"/>
                </a:cubicBezTo>
                <a:cubicBezTo>
                  <a:pt x="244861" y="1064242"/>
                  <a:pt x="249315" y="1080034"/>
                  <a:pt x="255794" y="1085240"/>
                </a:cubicBezTo>
                <a:cubicBezTo>
                  <a:pt x="262272" y="1090446"/>
                  <a:pt x="275171" y="1085645"/>
                  <a:pt x="279625" y="1090504"/>
                </a:cubicBezTo>
                <a:cubicBezTo>
                  <a:pt x="284079" y="1095362"/>
                  <a:pt x="275981" y="1095767"/>
                  <a:pt x="266726" y="1094148"/>
                </a:cubicBezTo>
                <a:cubicBezTo>
                  <a:pt x="257471" y="1092528"/>
                  <a:pt x="255157" y="1098197"/>
                  <a:pt x="240407" y="1103056"/>
                </a:cubicBezTo>
                <a:cubicBezTo>
                  <a:pt x="229590" y="1106642"/>
                  <a:pt x="230689" y="1110518"/>
                  <a:pt x="226987" y="1113583"/>
                </a:cubicBezTo>
                <a:cubicBezTo>
                  <a:pt x="233582" y="1123070"/>
                  <a:pt x="224847" y="1124285"/>
                  <a:pt x="221203" y="1131515"/>
                </a:cubicBezTo>
                <a:cubicBezTo>
                  <a:pt x="217559" y="1138746"/>
                  <a:pt x="212700" y="1140597"/>
                  <a:pt x="212063" y="1145398"/>
                </a:cubicBezTo>
                <a:cubicBezTo>
                  <a:pt x="212237" y="1150708"/>
                  <a:pt x="212815" y="1155989"/>
                  <a:pt x="213914" y="1161189"/>
                </a:cubicBezTo>
                <a:cubicBezTo>
                  <a:pt x="214088" y="1166615"/>
                  <a:pt x="216228" y="1171786"/>
                  <a:pt x="219988" y="1175708"/>
                </a:cubicBezTo>
                <a:cubicBezTo>
                  <a:pt x="224211" y="1181782"/>
                  <a:pt x="216344" y="1181782"/>
                  <a:pt x="212700" y="1184790"/>
                </a:cubicBezTo>
                <a:cubicBezTo>
                  <a:pt x="209056" y="1187798"/>
                  <a:pt x="211485" y="1194508"/>
                  <a:pt x="216344" y="1199309"/>
                </a:cubicBezTo>
                <a:cubicBezTo>
                  <a:pt x="220451" y="1203219"/>
                  <a:pt x="221665" y="1209281"/>
                  <a:pt x="219351" y="1214464"/>
                </a:cubicBezTo>
                <a:cubicBezTo>
                  <a:pt x="217559" y="1218687"/>
                  <a:pt x="223575" y="1226033"/>
                  <a:pt x="227855" y="1230255"/>
                </a:cubicBezTo>
                <a:cubicBezTo>
                  <a:pt x="232135" y="1234478"/>
                  <a:pt x="231499" y="1245989"/>
                  <a:pt x="235086" y="1248997"/>
                </a:cubicBezTo>
                <a:cubicBezTo>
                  <a:pt x="238787" y="1252988"/>
                  <a:pt x="244398" y="1254614"/>
                  <a:pt x="249662" y="1253219"/>
                </a:cubicBezTo>
                <a:cubicBezTo>
                  <a:pt x="255331" y="1251594"/>
                  <a:pt x="261288" y="1254486"/>
                  <a:pt x="263544" y="1259929"/>
                </a:cubicBezTo>
                <a:cubicBezTo>
                  <a:pt x="266610" y="1265367"/>
                  <a:pt x="271469" y="1262937"/>
                  <a:pt x="278121" y="1259929"/>
                </a:cubicBezTo>
                <a:cubicBezTo>
                  <a:pt x="284774" y="1256922"/>
                  <a:pt x="299929" y="1265367"/>
                  <a:pt x="303573" y="1267160"/>
                </a:cubicBezTo>
                <a:cubicBezTo>
                  <a:pt x="307217" y="1268953"/>
                  <a:pt x="305366" y="1279307"/>
                  <a:pt x="305945" y="1285959"/>
                </a:cubicBezTo>
                <a:cubicBezTo>
                  <a:pt x="306523" y="1292612"/>
                  <a:pt x="302358" y="1301115"/>
                  <a:pt x="309010" y="1305337"/>
                </a:cubicBezTo>
                <a:cubicBezTo>
                  <a:pt x="315662" y="1309560"/>
                  <a:pt x="313869" y="1319278"/>
                  <a:pt x="321736" y="1322286"/>
                </a:cubicBezTo>
                <a:cubicBezTo>
                  <a:pt x="329603" y="1325294"/>
                  <a:pt x="332611" y="1336226"/>
                  <a:pt x="337470" y="1337441"/>
                </a:cubicBezTo>
                <a:cubicBezTo>
                  <a:pt x="344180" y="1339864"/>
                  <a:pt x="349675" y="1344891"/>
                  <a:pt x="352625" y="1351381"/>
                </a:cubicBezTo>
                <a:cubicBezTo>
                  <a:pt x="353839" y="1356819"/>
                  <a:pt x="344122" y="1361677"/>
                  <a:pt x="338684" y="1364107"/>
                </a:cubicBezTo>
                <a:cubicBezTo>
                  <a:pt x="333247" y="1366537"/>
                  <a:pt x="322951" y="1356819"/>
                  <a:pt x="319306" y="1361099"/>
                </a:cubicBezTo>
                <a:cubicBezTo>
                  <a:pt x="315662" y="1365380"/>
                  <a:pt x="320521" y="1373189"/>
                  <a:pt x="323529" y="1386551"/>
                </a:cubicBezTo>
                <a:cubicBezTo>
                  <a:pt x="326537" y="1399913"/>
                  <a:pt x="329313" y="1401012"/>
                  <a:pt x="335098" y="1401012"/>
                </a:cubicBezTo>
                <a:cubicBezTo>
                  <a:pt x="340882" y="1401012"/>
                  <a:pt x="343601" y="1396847"/>
                  <a:pt x="347824" y="1394417"/>
                </a:cubicBezTo>
                <a:cubicBezTo>
                  <a:pt x="352047" y="1391988"/>
                  <a:pt x="361764" y="1395574"/>
                  <a:pt x="365987" y="1393781"/>
                </a:cubicBezTo>
                <a:cubicBezTo>
                  <a:pt x="370210" y="1391988"/>
                  <a:pt x="385365" y="1391410"/>
                  <a:pt x="388431" y="1396211"/>
                </a:cubicBezTo>
                <a:cubicBezTo>
                  <a:pt x="391496" y="1401012"/>
                  <a:pt x="394215" y="1412581"/>
                  <a:pt x="392074" y="1416803"/>
                </a:cubicBezTo>
                <a:cubicBezTo>
                  <a:pt x="389934" y="1421026"/>
                  <a:pt x="395082" y="1425885"/>
                  <a:pt x="397859" y="1431958"/>
                </a:cubicBezTo>
                <a:cubicBezTo>
                  <a:pt x="400636" y="1438032"/>
                  <a:pt x="413651" y="1435024"/>
                  <a:pt x="417873" y="1436817"/>
                </a:cubicBezTo>
                <a:cubicBezTo>
                  <a:pt x="422096" y="1438610"/>
                  <a:pt x="431814" y="1451973"/>
                  <a:pt x="430020" y="1457988"/>
                </a:cubicBezTo>
                <a:cubicBezTo>
                  <a:pt x="428227" y="1464004"/>
                  <a:pt x="435805" y="1465277"/>
                  <a:pt x="440259" y="1463483"/>
                </a:cubicBezTo>
                <a:cubicBezTo>
                  <a:pt x="444713" y="1461690"/>
                  <a:pt x="448820" y="1466491"/>
                  <a:pt x="453621" y="1469557"/>
                </a:cubicBezTo>
                <a:cubicBezTo>
                  <a:pt x="458075" y="1472172"/>
                  <a:pt x="463628" y="1471686"/>
                  <a:pt x="467561" y="1468342"/>
                </a:cubicBezTo>
                <a:cubicBezTo>
                  <a:pt x="472420" y="1465277"/>
                  <a:pt x="480287" y="1462558"/>
                  <a:pt x="482659" y="1467128"/>
                </a:cubicBezTo>
                <a:cubicBezTo>
                  <a:pt x="485030" y="1471697"/>
                  <a:pt x="494806" y="1479217"/>
                  <a:pt x="494806" y="1481647"/>
                </a:cubicBezTo>
                <a:cubicBezTo>
                  <a:pt x="494806" y="1484076"/>
                  <a:pt x="509961" y="1481647"/>
                  <a:pt x="517249" y="1485291"/>
                </a:cubicBezTo>
                <a:cubicBezTo>
                  <a:pt x="524538" y="1488935"/>
                  <a:pt x="532405" y="1487084"/>
                  <a:pt x="540387" y="1491364"/>
                </a:cubicBezTo>
                <a:cubicBezTo>
                  <a:pt x="548370" y="1495645"/>
                  <a:pt x="555484" y="1496165"/>
                  <a:pt x="556121" y="1501025"/>
                </a:cubicBezTo>
                <a:cubicBezTo>
                  <a:pt x="556758" y="1505883"/>
                  <a:pt x="548254" y="1510106"/>
                  <a:pt x="548254" y="1512593"/>
                </a:cubicBezTo>
                <a:cubicBezTo>
                  <a:pt x="548254" y="1515081"/>
                  <a:pt x="554906" y="1516874"/>
                  <a:pt x="554906" y="1520518"/>
                </a:cubicBezTo>
                <a:cubicBezTo>
                  <a:pt x="554906" y="1524162"/>
                  <a:pt x="546403" y="1524162"/>
                  <a:pt x="545247" y="1527170"/>
                </a:cubicBezTo>
                <a:cubicBezTo>
                  <a:pt x="544089" y="1530178"/>
                  <a:pt x="550047" y="1534459"/>
                  <a:pt x="551031" y="1537466"/>
                </a:cubicBezTo>
                <a:cubicBezTo>
                  <a:pt x="552014" y="1540474"/>
                  <a:pt x="546229" y="1550828"/>
                  <a:pt x="546229" y="1553836"/>
                </a:cubicBezTo>
                <a:cubicBezTo>
                  <a:pt x="546229" y="1556844"/>
                  <a:pt x="528066" y="1553258"/>
                  <a:pt x="523844" y="1553258"/>
                </a:cubicBezTo>
                <a:cubicBezTo>
                  <a:pt x="519621" y="1553258"/>
                  <a:pt x="506896" y="1567198"/>
                  <a:pt x="502615" y="1567777"/>
                </a:cubicBezTo>
                <a:cubicBezTo>
                  <a:pt x="498335" y="1568355"/>
                  <a:pt x="500706" y="1575007"/>
                  <a:pt x="501978" y="1580734"/>
                </a:cubicBezTo>
                <a:cubicBezTo>
                  <a:pt x="515051" y="1578247"/>
                  <a:pt x="528472" y="1577205"/>
                  <a:pt x="529918" y="1580098"/>
                </a:cubicBezTo>
                <a:cubicBezTo>
                  <a:pt x="532347" y="1584956"/>
                  <a:pt x="501632" y="1597856"/>
                  <a:pt x="495963" y="1599880"/>
                </a:cubicBezTo>
                <a:cubicBezTo>
                  <a:pt x="490294" y="1601905"/>
                  <a:pt x="506896" y="1610350"/>
                  <a:pt x="506433" y="1615209"/>
                </a:cubicBezTo>
                <a:cubicBezTo>
                  <a:pt x="505970" y="1620068"/>
                  <a:pt x="488675" y="1621283"/>
                  <a:pt x="490294" y="1630943"/>
                </a:cubicBezTo>
                <a:cubicBezTo>
                  <a:pt x="491914" y="1640603"/>
                  <a:pt x="484510" y="1642512"/>
                  <a:pt x="475370" y="1642512"/>
                </a:cubicBezTo>
                <a:cubicBezTo>
                  <a:pt x="466231" y="1642512"/>
                  <a:pt x="463801" y="1648296"/>
                  <a:pt x="468140" y="1648990"/>
                </a:cubicBezTo>
                <a:cubicBezTo>
                  <a:pt x="472478" y="1649684"/>
                  <a:pt x="472131" y="1661889"/>
                  <a:pt x="489542" y="1666343"/>
                </a:cubicBezTo>
                <a:cubicBezTo>
                  <a:pt x="506954" y="1670797"/>
                  <a:pt x="525464" y="1686936"/>
                  <a:pt x="540387" y="1703075"/>
                </a:cubicBezTo>
                <a:cubicBezTo>
                  <a:pt x="542469" y="1705336"/>
                  <a:pt x="544841" y="1707286"/>
                  <a:pt x="547503" y="1708859"/>
                </a:cubicBezTo>
                <a:cubicBezTo>
                  <a:pt x="550626" y="1706736"/>
                  <a:pt x="554096" y="1705116"/>
                  <a:pt x="557740" y="1704058"/>
                </a:cubicBezTo>
                <a:cubicBezTo>
                  <a:pt x="569367" y="1703867"/>
                  <a:pt x="580820" y="1707257"/>
                  <a:pt x="590480" y="1713776"/>
                </a:cubicBezTo>
                <a:cubicBezTo>
                  <a:pt x="598983" y="1719560"/>
                  <a:pt x="629236" y="1712561"/>
                  <a:pt x="632880" y="1717362"/>
                </a:cubicBezTo>
                <a:cubicBezTo>
                  <a:pt x="636814" y="1723129"/>
                  <a:pt x="642946" y="1727068"/>
                  <a:pt x="649829" y="1728295"/>
                </a:cubicBezTo>
                <a:cubicBezTo>
                  <a:pt x="655613" y="1728295"/>
                  <a:pt x="661976" y="1740384"/>
                  <a:pt x="666777" y="1736740"/>
                </a:cubicBezTo>
                <a:cubicBezTo>
                  <a:pt x="671578" y="1733096"/>
                  <a:pt x="689915" y="1733154"/>
                  <a:pt x="694658" y="1733154"/>
                </a:cubicBezTo>
                <a:cubicBezTo>
                  <a:pt x="699401" y="1733154"/>
                  <a:pt x="699517" y="1736740"/>
                  <a:pt x="704376" y="1736740"/>
                </a:cubicBezTo>
                <a:cubicBezTo>
                  <a:pt x="709235" y="1736740"/>
                  <a:pt x="709177" y="1754961"/>
                  <a:pt x="712821" y="1753746"/>
                </a:cubicBezTo>
                <a:cubicBezTo>
                  <a:pt x="716466" y="1752531"/>
                  <a:pt x="729769" y="1764621"/>
                  <a:pt x="738273" y="1765836"/>
                </a:cubicBezTo>
                <a:cubicBezTo>
                  <a:pt x="746776" y="1767050"/>
                  <a:pt x="755221" y="1781569"/>
                  <a:pt x="758865" y="1780412"/>
                </a:cubicBezTo>
                <a:cubicBezTo>
                  <a:pt x="762509" y="1779255"/>
                  <a:pt x="768583" y="1786197"/>
                  <a:pt x="770954" y="1780412"/>
                </a:cubicBezTo>
                <a:cubicBezTo>
                  <a:pt x="773326" y="1774628"/>
                  <a:pt x="785242" y="1777405"/>
                  <a:pt x="788308" y="1767455"/>
                </a:cubicBezTo>
                <a:cubicBezTo>
                  <a:pt x="772922" y="1748714"/>
                  <a:pt x="756493" y="1727890"/>
                  <a:pt x="756957" y="1719792"/>
                </a:cubicBezTo>
                <a:cubicBezTo>
                  <a:pt x="757766" y="1706082"/>
                  <a:pt x="763435" y="1697174"/>
                  <a:pt x="746486" y="1682656"/>
                </a:cubicBezTo>
                <a:cubicBezTo>
                  <a:pt x="729538" y="1668137"/>
                  <a:pt x="748048" y="1658477"/>
                  <a:pt x="760195" y="1643090"/>
                </a:cubicBezTo>
                <a:cubicBezTo>
                  <a:pt x="771070" y="1629381"/>
                  <a:pt x="794035" y="1623365"/>
                  <a:pt x="808669" y="1613589"/>
                </a:cubicBezTo>
                <a:cubicBezTo>
                  <a:pt x="805835" y="1611600"/>
                  <a:pt x="802885" y="1609859"/>
                  <a:pt x="799761" y="1608384"/>
                </a:cubicBezTo>
                <a:cubicBezTo>
                  <a:pt x="788829" y="1603525"/>
                  <a:pt x="785242" y="1598666"/>
                  <a:pt x="793977" y="1596236"/>
                </a:cubicBezTo>
                <a:cubicBezTo>
                  <a:pt x="802712" y="1593807"/>
                  <a:pt x="798836" y="1588948"/>
                  <a:pt x="790333" y="1579288"/>
                </a:cubicBezTo>
                <a:cubicBezTo>
                  <a:pt x="781829" y="1569628"/>
                  <a:pt x="778243" y="1559910"/>
                  <a:pt x="773384" y="1559910"/>
                </a:cubicBezTo>
                <a:cubicBezTo>
                  <a:pt x="766906" y="1559170"/>
                  <a:pt x="760369" y="1559580"/>
                  <a:pt x="754006" y="1561125"/>
                </a:cubicBezTo>
                <a:cubicBezTo>
                  <a:pt x="746776" y="1563554"/>
                  <a:pt x="748222" y="1555051"/>
                  <a:pt x="749148" y="1546606"/>
                </a:cubicBezTo>
                <a:cubicBezTo>
                  <a:pt x="750073" y="1538160"/>
                  <a:pt x="735843" y="1539317"/>
                  <a:pt x="733413" y="1535673"/>
                </a:cubicBezTo>
                <a:cubicBezTo>
                  <a:pt x="730984" y="1532029"/>
                  <a:pt x="737058" y="1519940"/>
                  <a:pt x="739198" y="1518725"/>
                </a:cubicBezTo>
                <a:cubicBezTo>
                  <a:pt x="741338" y="1517510"/>
                  <a:pt x="748858" y="1513866"/>
                  <a:pt x="748858" y="1510222"/>
                </a:cubicBezTo>
                <a:cubicBezTo>
                  <a:pt x="748858" y="1506578"/>
                  <a:pt x="735554" y="1505363"/>
                  <a:pt x="740413" y="1496917"/>
                </a:cubicBezTo>
                <a:cubicBezTo>
                  <a:pt x="745272" y="1488472"/>
                  <a:pt x="754932" y="1488414"/>
                  <a:pt x="754932" y="1479969"/>
                </a:cubicBezTo>
                <a:cubicBezTo>
                  <a:pt x="754932" y="1471524"/>
                  <a:pt x="762221" y="1464178"/>
                  <a:pt x="770666" y="1470193"/>
                </a:cubicBezTo>
                <a:cubicBezTo>
                  <a:pt x="779111" y="1476209"/>
                  <a:pt x="782813" y="1492059"/>
                  <a:pt x="792473" y="1488414"/>
                </a:cubicBezTo>
                <a:cubicBezTo>
                  <a:pt x="802133" y="1484770"/>
                  <a:pt x="796117" y="1476325"/>
                  <a:pt x="794902" y="1471466"/>
                </a:cubicBezTo>
                <a:cubicBezTo>
                  <a:pt x="793687" y="1466607"/>
                  <a:pt x="791258" y="1459377"/>
                  <a:pt x="802190" y="1456947"/>
                </a:cubicBezTo>
                <a:cubicBezTo>
                  <a:pt x="813123" y="1454518"/>
                  <a:pt x="808264" y="1443585"/>
                  <a:pt x="816709" y="1443585"/>
                </a:cubicBezTo>
                <a:cubicBezTo>
                  <a:pt x="825155" y="1443585"/>
                  <a:pt x="840947" y="1432653"/>
                  <a:pt x="845632" y="1430281"/>
                </a:cubicBezTo>
                <a:cubicBezTo>
                  <a:pt x="850317" y="1427909"/>
                  <a:pt x="861365" y="1421778"/>
                  <a:pt x="866224" y="1424207"/>
                </a:cubicBezTo>
                <a:cubicBezTo>
                  <a:pt x="871083" y="1426637"/>
                  <a:pt x="877157" y="1432653"/>
                  <a:pt x="880743" y="1424207"/>
                </a:cubicBezTo>
                <a:cubicBezTo>
                  <a:pt x="884330" y="1415762"/>
                  <a:pt x="898907" y="1419348"/>
                  <a:pt x="900121" y="1424207"/>
                </a:cubicBezTo>
                <a:cubicBezTo>
                  <a:pt x="901336" y="1429066"/>
                  <a:pt x="924358" y="1429066"/>
                  <a:pt x="931646" y="1433925"/>
                </a:cubicBezTo>
                <a:cubicBezTo>
                  <a:pt x="938934" y="1438784"/>
                  <a:pt x="954784" y="1448386"/>
                  <a:pt x="954784" y="1453245"/>
                </a:cubicBezTo>
                <a:cubicBezTo>
                  <a:pt x="954784" y="1458104"/>
                  <a:pt x="962072" y="1465392"/>
                  <a:pt x="962072" y="1456947"/>
                </a:cubicBezTo>
                <a:cubicBezTo>
                  <a:pt x="962072" y="1448502"/>
                  <a:pt x="967857" y="1450873"/>
                  <a:pt x="977806" y="1456947"/>
                </a:cubicBezTo>
                <a:cubicBezTo>
                  <a:pt x="987755" y="1463021"/>
                  <a:pt x="1000943" y="1460534"/>
                  <a:pt x="1003257" y="1454460"/>
                </a:cubicBezTo>
                <a:cubicBezTo>
                  <a:pt x="1005571" y="1448386"/>
                  <a:pt x="1023850" y="1441156"/>
                  <a:pt x="1029865" y="1446015"/>
                </a:cubicBezTo>
                <a:cubicBezTo>
                  <a:pt x="1035881" y="1450873"/>
                  <a:pt x="1038427" y="1454460"/>
                  <a:pt x="1045658" y="1447229"/>
                </a:cubicBezTo>
                <a:cubicBezTo>
                  <a:pt x="1052888" y="1439999"/>
                  <a:pt x="1069894" y="1441156"/>
                  <a:pt x="1072266" y="1448386"/>
                </a:cubicBezTo>
                <a:cubicBezTo>
                  <a:pt x="1074637" y="1455617"/>
                  <a:pt x="1083198" y="1456947"/>
                  <a:pt x="1090487" y="1456947"/>
                </a:cubicBezTo>
                <a:cubicBezTo>
                  <a:pt x="1097775" y="1456947"/>
                  <a:pt x="1098990" y="1467822"/>
                  <a:pt x="1103791" y="1465392"/>
                </a:cubicBezTo>
                <a:cubicBezTo>
                  <a:pt x="1108592" y="1462963"/>
                  <a:pt x="1107435" y="1450873"/>
                  <a:pt x="1113509" y="1452088"/>
                </a:cubicBezTo>
                <a:cubicBezTo>
                  <a:pt x="1119582" y="1453303"/>
                  <a:pt x="1124441" y="1460534"/>
                  <a:pt x="1134101" y="1460534"/>
                </a:cubicBezTo>
                <a:cubicBezTo>
                  <a:pt x="1143761" y="1460534"/>
                  <a:pt x="1151050" y="1458104"/>
                  <a:pt x="1151050" y="1450873"/>
                </a:cubicBezTo>
                <a:cubicBezTo>
                  <a:pt x="1151050" y="1443643"/>
                  <a:pt x="1149834" y="1431496"/>
                  <a:pt x="1143819" y="1431496"/>
                </a:cubicBezTo>
                <a:cubicBezTo>
                  <a:pt x="1137803" y="1431496"/>
                  <a:pt x="1131672" y="1425711"/>
                  <a:pt x="1124441" y="1425711"/>
                </a:cubicBezTo>
                <a:cubicBezTo>
                  <a:pt x="1117211" y="1425711"/>
                  <a:pt x="1109865" y="1413622"/>
                  <a:pt x="1117153" y="1411134"/>
                </a:cubicBezTo>
                <a:cubicBezTo>
                  <a:pt x="1124441" y="1408647"/>
                  <a:pt x="1136531" y="1402689"/>
                  <a:pt x="1134101" y="1396615"/>
                </a:cubicBezTo>
                <a:cubicBezTo>
                  <a:pt x="1131672" y="1390542"/>
                  <a:pt x="1129242" y="1378452"/>
                  <a:pt x="1138960" y="1377238"/>
                </a:cubicBezTo>
                <a:cubicBezTo>
                  <a:pt x="1148678" y="1376023"/>
                  <a:pt x="1169213" y="1376023"/>
                  <a:pt x="1167883" y="1372437"/>
                </a:cubicBezTo>
                <a:cubicBezTo>
                  <a:pt x="1166552" y="1368850"/>
                  <a:pt x="1147290" y="1366305"/>
                  <a:pt x="1143703" y="1360289"/>
                </a:cubicBezTo>
                <a:cubicBezTo>
                  <a:pt x="1140117" y="1354273"/>
                  <a:pt x="1138845" y="1339697"/>
                  <a:pt x="1142431" y="1337152"/>
                </a:cubicBezTo>
                <a:cubicBezTo>
                  <a:pt x="1146017" y="1334606"/>
                  <a:pt x="1158222" y="1338309"/>
                  <a:pt x="1165569" y="1335937"/>
                </a:cubicBezTo>
                <a:cubicBezTo>
                  <a:pt x="1172915" y="1333565"/>
                  <a:pt x="1188706" y="1339581"/>
                  <a:pt x="1198251" y="1332293"/>
                </a:cubicBezTo>
                <a:cubicBezTo>
                  <a:pt x="1207795" y="1325004"/>
                  <a:pt x="1228561" y="1323790"/>
                  <a:pt x="1239436" y="1323790"/>
                </a:cubicBezTo>
                <a:cubicBezTo>
                  <a:pt x="1250311" y="1323790"/>
                  <a:pt x="1258814" y="1316501"/>
                  <a:pt x="1267317" y="1315344"/>
                </a:cubicBezTo>
                <a:cubicBezTo>
                  <a:pt x="1280389" y="1313725"/>
                  <a:pt x="1293346" y="1311289"/>
                  <a:pt x="1306072" y="1308056"/>
                </a:cubicBezTo>
                <a:cubicBezTo>
                  <a:pt x="1311856" y="1305627"/>
                  <a:pt x="1344828" y="1300767"/>
                  <a:pt x="1346043" y="1294752"/>
                </a:cubicBezTo>
                <a:cubicBezTo>
                  <a:pt x="1347257" y="1288736"/>
                  <a:pt x="1373287" y="1283819"/>
                  <a:pt x="1379997" y="1286885"/>
                </a:cubicBezTo>
                <a:cubicBezTo>
                  <a:pt x="1386418" y="1290477"/>
                  <a:pt x="1393996" y="1291553"/>
                  <a:pt x="1401168" y="1289893"/>
                </a:cubicBezTo>
                <a:cubicBezTo>
                  <a:pt x="1406953" y="1287463"/>
                  <a:pt x="1419968" y="1294115"/>
                  <a:pt x="1418522" y="1300767"/>
                </a:cubicBezTo>
                <a:cubicBezTo>
                  <a:pt x="1417075" y="1307420"/>
                  <a:pt x="1423959" y="1314708"/>
                  <a:pt x="1423380" y="1320145"/>
                </a:cubicBezTo>
                <a:cubicBezTo>
                  <a:pt x="1422802" y="1325583"/>
                  <a:pt x="1416670" y="1327492"/>
                  <a:pt x="1420314" y="1331714"/>
                </a:cubicBezTo>
                <a:cubicBezTo>
                  <a:pt x="1423959" y="1335937"/>
                  <a:pt x="1440329" y="1332929"/>
                  <a:pt x="1445188" y="1327492"/>
                </a:cubicBezTo>
                <a:cubicBezTo>
                  <a:pt x="1450046" y="1322054"/>
                  <a:pt x="1455426" y="1329863"/>
                  <a:pt x="1455426" y="1334086"/>
                </a:cubicBezTo>
                <a:cubicBezTo>
                  <a:pt x="1455426" y="1338309"/>
                  <a:pt x="1463351" y="1341374"/>
                  <a:pt x="1463351" y="1335937"/>
                </a:cubicBezTo>
                <a:cubicBezTo>
                  <a:pt x="1463351" y="1330499"/>
                  <a:pt x="1473011" y="1334086"/>
                  <a:pt x="1476076" y="1337730"/>
                </a:cubicBezTo>
                <a:cubicBezTo>
                  <a:pt x="1479142" y="1341374"/>
                  <a:pt x="1490595" y="1333507"/>
                  <a:pt x="1490595" y="1339581"/>
                </a:cubicBezTo>
                <a:cubicBezTo>
                  <a:pt x="1490595" y="1345655"/>
                  <a:pt x="1473647" y="1350456"/>
                  <a:pt x="1480878" y="1356934"/>
                </a:cubicBezTo>
                <a:cubicBezTo>
                  <a:pt x="1488108" y="1363413"/>
                  <a:pt x="1492447" y="1349067"/>
                  <a:pt x="1501528" y="1352075"/>
                </a:cubicBezTo>
                <a:cubicBezTo>
                  <a:pt x="1510610" y="1355083"/>
                  <a:pt x="1522699" y="1341779"/>
                  <a:pt x="1531202" y="1339986"/>
                </a:cubicBezTo>
                <a:cubicBezTo>
                  <a:pt x="1539705" y="1338193"/>
                  <a:pt x="1548555" y="1330268"/>
                  <a:pt x="1556018" y="1326046"/>
                </a:cubicBezTo>
                <a:cubicBezTo>
                  <a:pt x="1563479" y="1321823"/>
                  <a:pt x="1579155" y="1323038"/>
                  <a:pt x="1574181" y="1327896"/>
                </a:cubicBezTo>
                <a:cubicBezTo>
                  <a:pt x="1569206" y="1332755"/>
                  <a:pt x="1563884" y="1341779"/>
                  <a:pt x="1582105" y="1348489"/>
                </a:cubicBezTo>
                <a:cubicBezTo>
                  <a:pt x="1600326" y="1355199"/>
                  <a:pt x="1620861" y="1390253"/>
                  <a:pt x="1632372" y="1407837"/>
                </a:cubicBezTo>
                <a:cubicBezTo>
                  <a:pt x="1643883" y="1425422"/>
                  <a:pt x="1654757" y="1456947"/>
                  <a:pt x="1660773" y="1456947"/>
                </a:cubicBezTo>
                <a:cubicBezTo>
                  <a:pt x="1666789" y="1456947"/>
                  <a:pt x="1668698" y="1441156"/>
                  <a:pt x="1676565" y="1439594"/>
                </a:cubicBezTo>
                <a:cubicBezTo>
                  <a:pt x="1684432" y="1438032"/>
                  <a:pt x="1689290" y="1452898"/>
                  <a:pt x="1697794" y="1454691"/>
                </a:cubicBezTo>
                <a:cubicBezTo>
                  <a:pt x="1706297" y="1456484"/>
                  <a:pt x="1717750" y="1461401"/>
                  <a:pt x="1724460" y="1458914"/>
                </a:cubicBezTo>
                <a:cubicBezTo>
                  <a:pt x="1731170" y="1456426"/>
                  <a:pt x="1746210" y="1448039"/>
                  <a:pt x="1751705" y="1451105"/>
                </a:cubicBezTo>
                <a:cubicBezTo>
                  <a:pt x="1757199" y="1454171"/>
                  <a:pt x="1764430" y="1454113"/>
                  <a:pt x="1769058" y="1465624"/>
                </a:cubicBezTo>
                <a:cubicBezTo>
                  <a:pt x="1773686" y="1477135"/>
                  <a:pt x="1781147" y="1479564"/>
                  <a:pt x="1786006" y="1479564"/>
                </a:cubicBezTo>
                <a:cubicBezTo>
                  <a:pt x="1790865" y="1479564"/>
                  <a:pt x="1791791" y="1485002"/>
                  <a:pt x="1791791" y="1489860"/>
                </a:cubicBezTo>
                <a:cubicBezTo>
                  <a:pt x="1791791" y="1494719"/>
                  <a:pt x="1800698" y="1501429"/>
                  <a:pt x="1805500" y="1501429"/>
                </a:cubicBezTo>
                <a:cubicBezTo>
                  <a:pt x="1812961" y="1501314"/>
                  <a:pt x="1820308" y="1499943"/>
                  <a:pt x="1827307" y="1497380"/>
                </a:cubicBezTo>
                <a:cubicBezTo>
                  <a:pt x="1831356" y="1494951"/>
                  <a:pt x="1836215" y="1492521"/>
                  <a:pt x="1837025" y="1498190"/>
                </a:cubicBezTo>
                <a:cubicBezTo>
                  <a:pt x="1837835" y="1503859"/>
                  <a:pt x="1845123" y="1512709"/>
                  <a:pt x="1849924" y="1512709"/>
                </a:cubicBezTo>
                <a:cubicBezTo>
                  <a:pt x="1854726" y="1512709"/>
                  <a:pt x="1864501" y="1516758"/>
                  <a:pt x="1865311" y="1512709"/>
                </a:cubicBezTo>
                <a:cubicBezTo>
                  <a:pt x="1866121" y="1508660"/>
                  <a:pt x="1879020" y="1506230"/>
                  <a:pt x="1883879" y="1505421"/>
                </a:cubicBezTo>
                <a:cubicBezTo>
                  <a:pt x="1888738" y="1504611"/>
                  <a:pt x="1905686" y="1501429"/>
                  <a:pt x="1908926" y="1493852"/>
                </a:cubicBezTo>
                <a:cubicBezTo>
                  <a:pt x="1912164" y="1486274"/>
                  <a:pt x="1925874" y="1486563"/>
                  <a:pt x="1929923" y="1481762"/>
                </a:cubicBezTo>
                <a:cubicBezTo>
                  <a:pt x="1933972" y="1476961"/>
                  <a:pt x="1945251" y="1474474"/>
                  <a:pt x="1947681" y="1469615"/>
                </a:cubicBezTo>
                <a:cubicBezTo>
                  <a:pt x="1950111" y="1464756"/>
                  <a:pt x="1964630" y="1465566"/>
                  <a:pt x="1966249" y="1461517"/>
                </a:cubicBezTo>
                <a:cubicBezTo>
                  <a:pt x="1967869" y="1457468"/>
                  <a:pt x="1979958" y="1456716"/>
                  <a:pt x="1985627" y="1458278"/>
                </a:cubicBezTo>
                <a:cubicBezTo>
                  <a:pt x="1998063" y="1461505"/>
                  <a:pt x="2010789" y="1463669"/>
                  <a:pt x="2023573" y="1464756"/>
                </a:cubicBezTo>
                <a:cubicBezTo>
                  <a:pt x="2027621" y="1463946"/>
                  <a:pt x="2028431" y="1479333"/>
                  <a:pt x="2032481" y="1480143"/>
                </a:cubicBezTo>
                <a:cubicBezTo>
                  <a:pt x="2036530" y="1480953"/>
                  <a:pt x="2051107" y="1492232"/>
                  <a:pt x="2055097" y="1488993"/>
                </a:cubicBezTo>
                <a:cubicBezTo>
                  <a:pt x="2061461" y="1484267"/>
                  <a:pt x="2069964" y="1483631"/>
                  <a:pt x="2076905" y="1487373"/>
                </a:cubicBezTo>
                <a:cubicBezTo>
                  <a:pt x="2085003" y="1492232"/>
                  <a:pt x="2093102" y="1498942"/>
                  <a:pt x="2096283" y="1493158"/>
                </a:cubicBezTo>
                <a:cubicBezTo>
                  <a:pt x="2099464" y="1487373"/>
                  <a:pt x="2116471" y="1485059"/>
                  <a:pt x="2118900" y="1481878"/>
                </a:cubicBezTo>
                <a:cubicBezTo>
                  <a:pt x="2121330" y="1478697"/>
                  <a:pt x="2123759" y="1468921"/>
                  <a:pt x="2119710" y="1465682"/>
                </a:cubicBezTo>
                <a:cubicBezTo>
                  <a:pt x="2115661" y="1462442"/>
                  <a:pt x="2111612" y="1449543"/>
                  <a:pt x="2109992" y="1443064"/>
                </a:cubicBezTo>
                <a:cubicBezTo>
                  <a:pt x="2108373" y="1436586"/>
                  <a:pt x="2119710" y="1435024"/>
                  <a:pt x="2121561" y="1429355"/>
                </a:cubicBezTo>
                <a:cubicBezTo>
                  <a:pt x="2123412" y="1423687"/>
                  <a:pt x="2133130" y="1422877"/>
                  <a:pt x="2136137" y="1419638"/>
                </a:cubicBezTo>
                <a:cubicBezTo>
                  <a:pt x="2139145" y="1416398"/>
                  <a:pt x="2140129" y="1409168"/>
                  <a:pt x="2145798" y="1410729"/>
                </a:cubicBezTo>
                <a:cubicBezTo>
                  <a:pt x="2152855" y="1412517"/>
                  <a:pt x="2159680" y="1415259"/>
                  <a:pt x="2165985" y="1418886"/>
                </a:cubicBezTo>
                <a:cubicBezTo>
                  <a:pt x="2171191" y="1421697"/>
                  <a:pt x="2177034" y="1423073"/>
                  <a:pt x="2182934" y="1422877"/>
                </a:cubicBezTo>
                <a:cubicBezTo>
                  <a:pt x="2190165" y="1424149"/>
                  <a:pt x="2197048" y="1426909"/>
                  <a:pt x="2203122" y="1430975"/>
                </a:cubicBezTo>
                <a:cubicBezTo>
                  <a:pt x="2208906" y="1434214"/>
                  <a:pt x="2226606" y="1434214"/>
                  <a:pt x="2229788" y="1439073"/>
                </a:cubicBezTo>
                <a:cubicBezTo>
                  <a:pt x="2232969" y="1443932"/>
                  <a:pt x="2228978" y="1457641"/>
                  <a:pt x="2233027" y="1462500"/>
                </a:cubicBezTo>
                <a:cubicBezTo>
                  <a:pt x="2237076" y="1467359"/>
                  <a:pt x="2246794" y="1477829"/>
                  <a:pt x="2249975" y="1475342"/>
                </a:cubicBezTo>
                <a:cubicBezTo>
                  <a:pt x="2253157" y="1472854"/>
                  <a:pt x="2268543" y="1483498"/>
                  <a:pt x="2274212" y="1482630"/>
                </a:cubicBezTo>
                <a:cubicBezTo>
                  <a:pt x="2279881" y="1481762"/>
                  <a:pt x="2288789" y="1472970"/>
                  <a:pt x="2293590" y="1472970"/>
                </a:cubicBezTo>
                <a:cubicBezTo>
                  <a:pt x="2298391" y="1472970"/>
                  <a:pt x="2313836" y="1468921"/>
                  <a:pt x="2318636" y="1469731"/>
                </a:cubicBezTo>
                <a:cubicBezTo>
                  <a:pt x="2323437" y="1470540"/>
                  <a:pt x="2341254" y="1477019"/>
                  <a:pt x="2343683" y="1475515"/>
                </a:cubicBezTo>
                <a:cubicBezTo>
                  <a:pt x="2346112" y="1474011"/>
                  <a:pt x="2362251" y="1476383"/>
                  <a:pt x="2364680" y="1481300"/>
                </a:cubicBezTo>
                <a:cubicBezTo>
                  <a:pt x="2367110" y="1486216"/>
                  <a:pt x="2387298" y="1486101"/>
                  <a:pt x="2387298" y="1491769"/>
                </a:cubicBezTo>
                <a:cubicBezTo>
                  <a:pt x="2387298" y="1497438"/>
                  <a:pt x="2398866" y="1500677"/>
                  <a:pt x="2401817" y="1507098"/>
                </a:cubicBezTo>
                <a:cubicBezTo>
                  <a:pt x="2404767" y="1513519"/>
                  <a:pt x="2431722" y="1509585"/>
                  <a:pt x="2436523" y="1513577"/>
                </a:cubicBezTo>
                <a:cubicBezTo>
                  <a:pt x="2441324" y="1517568"/>
                  <a:pt x="2472040" y="1516816"/>
                  <a:pt x="2472850" y="1513577"/>
                </a:cubicBezTo>
                <a:cubicBezTo>
                  <a:pt x="2473659" y="1510337"/>
                  <a:pt x="2502755" y="1508718"/>
                  <a:pt x="2508366" y="1504669"/>
                </a:cubicBezTo>
                <a:cubicBezTo>
                  <a:pt x="2513977" y="1500620"/>
                  <a:pt x="2529363" y="1502297"/>
                  <a:pt x="2530231" y="1496628"/>
                </a:cubicBezTo>
                <a:cubicBezTo>
                  <a:pt x="2531098" y="1490960"/>
                  <a:pt x="2545559" y="1486911"/>
                  <a:pt x="2551980" y="1482109"/>
                </a:cubicBezTo>
                <a:cubicBezTo>
                  <a:pt x="2558401" y="1477308"/>
                  <a:pt x="2584316" y="1478060"/>
                  <a:pt x="2585935" y="1483729"/>
                </a:cubicBezTo>
                <a:cubicBezTo>
                  <a:pt x="2587554" y="1489398"/>
                  <a:pt x="2602883" y="1490902"/>
                  <a:pt x="2609072" y="1488530"/>
                </a:cubicBezTo>
                <a:cubicBezTo>
                  <a:pt x="2615262" y="1486159"/>
                  <a:pt x="2632210" y="1489340"/>
                  <a:pt x="2634929" y="1495009"/>
                </a:cubicBezTo>
                <a:cubicBezTo>
                  <a:pt x="2637648" y="1500677"/>
                  <a:pt x="2656736" y="1503917"/>
                  <a:pt x="2661538" y="1502297"/>
                </a:cubicBezTo>
                <a:cubicBezTo>
                  <a:pt x="2666338" y="1500677"/>
                  <a:pt x="2681725" y="1489340"/>
                  <a:pt x="2687452" y="1488530"/>
                </a:cubicBezTo>
                <a:cubicBezTo>
                  <a:pt x="2693178" y="1487720"/>
                  <a:pt x="2701103" y="1482109"/>
                  <a:pt x="2699483" y="1476441"/>
                </a:cubicBezTo>
                <a:cubicBezTo>
                  <a:pt x="2697864" y="1470772"/>
                  <a:pt x="2711052" y="1454633"/>
                  <a:pt x="2712440" y="1448155"/>
                </a:cubicBezTo>
                <a:cubicBezTo>
                  <a:pt x="2713828" y="1441676"/>
                  <a:pt x="2725397" y="1423918"/>
                  <a:pt x="2729389" y="1422298"/>
                </a:cubicBezTo>
                <a:cubicBezTo>
                  <a:pt x="2733380" y="1420679"/>
                  <a:pt x="2742346" y="1413448"/>
                  <a:pt x="2741478" y="1408531"/>
                </a:cubicBezTo>
                <a:cubicBezTo>
                  <a:pt x="2740610" y="1403615"/>
                  <a:pt x="2738297" y="1389154"/>
                  <a:pt x="2733438" y="1389154"/>
                </a:cubicBezTo>
                <a:cubicBezTo>
                  <a:pt x="2728579" y="1389154"/>
                  <a:pt x="2719729" y="1390021"/>
                  <a:pt x="2731066" y="1374635"/>
                </a:cubicBezTo>
                <a:cubicBezTo>
                  <a:pt x="2742404" y="1359248"/>
                  <a:pt x="2762533" y="1363066"/>
                  <a:pt x="2765773" y="1363066"/>
                </a:cubicBezTo>
                <a:cubicBezTo>
                  <a:pt x="2769012" y="1363066"/>
                  <a:pt x="2794695" y="1356587"/>
                  <a:pt x="2806264" y="1359827"/>
                </a:cubicBezTo>
                <a:cubicBezTo>
                  <a:pt x="2817833" y="1363066"/>
                  <a:pt x="2824832" y="1358265"/>
                  <a:pt x="2836979" y="1364628"/>
                </a:cubicBezTo>
                <a:cubicBezTo>
                  <a:pt x="2849126" y="1370991"/>
                  <a:pt x="2865901" y="1368677"/>
                  <a:pt x="2870066" y="1374345"/>
                </a:cubicBezTo>
                <a:cubicBezTo>
                  <a:pt x="2874231" y="1380014"/>
                  <a:pt x="2890253" y="1384873"/>
                  <a:pt x="2887824" y="1394591"/>
                </a:cubicBezTo>
                <a:cubicBezTo>
                  <a:pt x="2885395" y="1404309"/>
                  <a:pt x="2896732" y="1398640"/>
                  <a:pt x="2900723" y="1419580"/>
                </a:cubicBezTo>
                <a:cubicBezTo>
                  <a:pt x="2904714" y="1440519"/>
                  <a:pt x="2914490" y="1442197"/>
                  <a:pt x="2916920" y="1451857"/>
                </a:cubicBezTo>
                <a:cubicBezTo>
                  <a:pt x="2919349" y="1461517"/>
                  <a:pt x="2932248" y="1479391"/>
                  <a:pt x="2930629" y="1485002"/>
                </a:cubicBezTo>
                <a:cubicBezTo>
                  <a:pt x="2929009" y="1490612"/>
                  <a:pt x="2927390" y="1499521"/>
                  <a:pt x="2941099" y="1500388"/>
                </a:cubicBezTo>
                <a:cubicBezTo>
                  <a:pt x="2954808" y="1501256"/>
                  <a:pt x="2964584" y="1511668"/>
                  <a:pt x="2967823" y="1510048"/>
                </a:cubicBezTo>
                <a:cubicBezTo>
                  <a:pt x="2971062" y="1508429"/>
                  <a:pt x="2987143" y="1514097"/>
                  <a:pt x="2995241" y="1522195"/>
                </a:cubicBezTo>
                <a:cubicBezTo>
                  <a:pt x="3003339" y="1530294"/>
                  <a:pt x="3015428" y="1526245"/>
                  <a:pt x="3014619" y="1535095"/>
                </a:cubicBezTo>
                <a:cubicBezTo>
                  <a:pt x="3013809" y="1543945"/>
                  <a:pt x="3021097" y="1551233"/>
                  <a:pt x="3020403" y="1558522"/>
                </a:cubicBezTo>
                <a:cubicBezTo>
                  <a:pt x="3019709" y="1565810"/>
                  <a:pt x="3035790" y="1570669"/>
                  <a:pt x="3047070" y="1569049"/>
                </a:cubicBezTo>
                <a:cubicBezTo>
                  <a:pt x="3058349" y="1567430"/>
                  <a:pt x="3066448" y="1573041"/>
                  <a:pt x="3071306" y="1563265"/>
                </a:cubicBezTo>
                <a:cubicBezTo>
                  <a:pt x="3076165" y="1553489"/>
                  <a:pt x="3092304" y="1557480"/>
                  <a:pt x="3097914" y="1553547"/>
                </a:cubicBezTo>
                <a:cubicBezTo>
                  <a:pt x="3103525" y="1549614"/>
                  <a:pt x="3120590" y="1544639"/>
                  <a:pt x="3119780" y="1559331"/>
                </a:cubicBezTo>
                <a:cubicBezTo>
                  <a:pt x="3118970" y="1574024"/>
                  <a:pt x="3128630" y="1577090"/>
                  <a:pt x="3120590" y="1581949"/>
                </a:cubicBezTo>
                <a:cubicBezTo>
                  <a:pt x="3112549" y="1586808"/>
                  <a:pt x="3108443" y="1607805"/>
                  <a:pt x="3106013" y="1616655"/>
                </a:cubicBezTo>
                <a:cubicBezTo>
                  <a:pt x="3103583" y="1625505"/>
                  <a:pt x="3091494" y="1628224"/>
                  <a:pt x="3089874" y="1637653"/>
                </a:cubicBezTo>
                <a:cubicBezTo>
                  <a:pt x="3088255" y="1647081"/>
                  <a:pt x="3076917" y="1648180"/>
                  <a:pt x="3076917" y="1655411"/>
                </a:cubicBezTo>
                <a:cubicBezTo>
                  <a:pt x="3076917" y="1662641"/>
                  <a:pt x="3060779" y="1661195"/>
                  <a:pt x="3052681" y="1655411"/>
                </a:cubicBezTo>
                <a:cubicBezTo>
                  <a:pt x="3044582" y="1649627"/>
                  <a:pt x="3036542" y="1665938"/>
                  <a:pt x="3030121" y="1665938"/>
                </a:cubicBezTo>
                <a:cubicBezTo>
                  <a:pt x="3023700" y="1665938"/>
                  <a:pt x="3024337" y="1679648"/>
                  <a:pt x="3026072" y="1685316"/>
                </a:cubicBezTo>
                <a:cubicBezTo>
                  <a:pt x="3027807" y="1690985"/>
                  <a:pt x="3023643" y="1698216"/>
                  <a:pt x="3027691" y="1707933"/>
                </a:cubicBezTo>
                <a:cubicBezTo>
                  <a:pt x="3029832" y="1713139"/>
                  <a:pt x="3028501" y="1723031"/>
                  <a:pt x="3029601" y="1734021"/>
                </a:cubicBezTo>
                <a:cubicBezTo>
                  <a:pt x="3039434" y="1726906"/>
                  <a:pt x="3048342" y="1721643"/>
                  <a:pt x="3052333" y="1721643"/>
                </a:cubicBezTo>
                <a:cubicBezTo>
                  <a:pt x="3062398" y="1721643"/>
                  <a:pt x="3072521" y="1738996"/>
                  <a:pt x="3083801" y="1739401"/>
                </a:cubicBezTo>
                <a:cubicBezTo>
                  <a:pt x="3095080" y="1739806"/>
                  <a:pt x="3146388" y="1705504"/>
                  <a:pt x="3146793" y="1699893"/>
                </a:cubicBezTo>
                <a:cubicBezTo>
                  <a:pt x="3147198" y="1694282"/>
                  <a:pt x="3177104" y="1665534"/>
                  <a:pt x="3191217" y="1650610"/>
                </a:cubicBezTo>
                <a:cubicBezTo>
                  <a:pt x="3205332" y="1635686"/>
                  <a:pt x="3223957" y="1613821"/>
                  <a:pt x="3231246" y="1596872"/>
                </a:cubicBezTo>
                <a:cubicBezTo>
                  <a:pt x="3235700" y="1586403"/>
                  <a:pt x="3255424" y="1566157"/>
                  <a:pt x="3260168" y="1558117"/>
                </a:cubicBezTo>
                <a:cubicBezTo>
                  <a:pt x="3266820" y="1549463"/>
                  <a:pt x="3272489" y="1540110"/>
                  <a:pt x="3277116" y="1530236"/>
                </a:cubicBezTo>
                <a:cubicBezTo>
                  <a:pt x="3285966" y="1511263"/>
                  <a:pt x="3285966" y="1461575"/>
                  <a:pt x="3288685" y="1458335"/>
                </a:cubicBezTo>
                <a:cubicBezTo>
                  <a:pt x="3291404" y="1455096"/>
                  <a:pt x="3289900" y="1446767"/>
                  <a:pt x="3293891" y="1441387"/>
                </a:cubicBezTo>
                <a:cubicBezTo>
                  <a:pt x="3297883" y="1436007"/>
                  <a:pt x="3295915" y="1428893"/>
                  <a:pt x="3304014" y="1422009"/>
                </a:cubicBezTo>
                <a:cubicBezTo>
                  <a:pt x="3309972" y="1418012"/>
                  <a:pt x="3311880" y="1410140"/>
                  <a:pt x="3308468" y="1403846"/>
                </a:cubicBezTo>
                <a:cubicBezTo>
                  <a:pt x="3306443" y="1398640"/>
                  <a:pt x="3308872" y="1386898"/>
                  <a:pt x="3306848" y="1383253"/>
                </a:cubicBezTo>
                <a:cubicBezTo>
                  <a:pt x="3304824" y="1379609"/>
                  <a:pt x="3305229" y="1377990"/>
                  <a:pt x="3310030" y="1375155"/>
                </a:cubicBezTo>
                <a:cubicBezTo>
                  <a:pt x="3314831" y="1372321"/>
                  <a:pt x="3306848" y="1365090"/>
                  <a:pt x="3300023" y="1361851"/>
                </a:cubicBezTo>
                <a:cubicBezTo>
                  <a:pt x="3293197" y="1358612"/>
                  <a:pt x="3284289" y="1356067"/>
                  <a:pt x="3283421" y="1348084"/>
                </a:cubicBezTo>
                <a:cubicBezTo>
                  <a:pt x="3282554" y="1340102"/>
                  <a:pt x="3270927" y="1331136"/>
                  <a:pt x="3262019" y="1331946"/>
                </a:cubicBezTo>
                <a:cubicBezTo>
                  <a:pt x="3253111" y="1332755"/>
                  <a:pt x="3236567" y="1327087"/>
                  <a:pt x="3238881" y="1332755"/>
                </a:cubicBezTo>
                <a:cubicBezTo>
                  <a:pt x="3241195" y="1338424"/>
                  <a:pt x="3238071" y="1343225"/>
                  <a:pt x="3233675" y="1342010"/>
                </a:cubicBezTo>
                <a:cubicBezTo>
                  <a:pt x="3229279" y="1340796"/>
                  <a:pt x="3227139" y="1344440"/>
                  <a:pt x="3222106" y="1352538"/>
                </a:cubicBezTo>
                <a:cubicBezTo>
                  <a:pt x="3217074" y="1360636"/>
                  <a:pt x="3198274" y="1361446"/>
                  <a:pt x="3206720" y="1353753"/>
                </a:cubicBezTo>
                <a:cubicBezTo>
                  <a:pt x="3215165" y="1346060"/>
                  <a:pt x="3203943" y="1345655"/>
                  <a:pt x="3205505" y="1337614"/>
                </a:cubicBezTo>
                <a:cubicBezTo>
                  <a:pt x="3207067" y="1329574"/>
                  <a:pt x="3214008" y="1321418"/>
                  <a:pt x="3204753" y="1326682"/>
                </a:cubicBezTo>
                <a:cubicBezTo>
                  <a:pt x="3195498" y="1331946"/>
                  <a:pt x="3195498" y="1344440"/>
                  <a:pt x="3187747" y="1346118"/>
                </a:cubicBezTo>
                <a:cubicBezTo>
                  <a:pt x="3179996" y="1347795"/>
                  <a:pt x="3182483" y="1324310"/>
                  <a:pt x="3184507" y="1318237"/>
                </a:cubicBezTo>
                <a:cubicBezTo>
                  <a:pt x="3186532" y="1312163"/>
                  <a:pt x="3170394" y="1318641"/>
                  <a:pt x="3153445" y="1317427"/>
                </a:cubicBezTo>
                <a:cubicBezTo>
                  <a:pt x="3136497" y="1316212"/>
                  <a:pt x="3140893" y="1304470"/>
                  <a:pt x="3154660" y="1297181"/>
                </a:cubicBezTo>
                <a:cubicBezTo>
                  <a:pt x="3168427" y="1289893"/>
                  <a:pt x="3166229" y="1283067"/>
                  <a:pt x="3172823" y="1280233"/>
                </a:cubicBezTo>
                <a:cubicBezTo>
                  <a:pt x="3179418" y="1277398"/>
                  <a:pt x="3197465" y="1265714"/>
                  <a:pt x="3207934" y="1259640"/>
                </a:cubicBezTo>
                <a:cubicBezTo>
                  <a:pt x="3215512" y="1255475"/>
                  <a:pt x="3220949" y="1248280"/>
                  <a:pt x="3222916" y="1239857"/>
                </a:cubicBezTo>
                <a:cubicBezTo>
                  <a:pt x="3225346" y="1233032"/>
                  <a:pt x="3244723" y="1224529"/>
                  <a:pt x="3262134" y="1210415"/>
                </a:cubicBezTo>
                <a:cubicBezTo>
                  <a:pt x="3279546" y="1196301"/>
                  <a:pt x="3287933" y="1188203"/>
                  <a:pt x="3291982" y="1179699"/>
                </a:cubicBezTo>
                <a:cubicBezTo>
                  <a:pt x="3296031" y="1171196"/>
                  <a:pt x="3321887" y="1160726"/>
                  <a:pt x="3322293" y="1154248"/>
                </a:cubicBezTo>
                <a:cubicBezTo>
                  <a:pt x="3322697" y="1147769"/>
                  <a:pt x="3352950" y="1131631"/>
                  <a:pt x="3373543" y="1127582"/>
                </a:cubicBezTo>
                <a:cubicBezTo>
                  <a:pt x="3394136" y="1123533"/>
                  <a:pt x="3426875" y="1128796"/>
                  <a:pt x="3432891" y="1134870"/>
                </a:cubicBezTo>
                <a:cubicBezTo>
                  <a:pt x="3435552" y="1138711"/>
                  <a:pt x="3440816" y="1139683"/>
                  <a:pt x="3444633" y="1137033"/>
                </a:cubicBezTo>
                <a:cubicBezTo>
                  <a:pt x="3445616" y="1136357"/>
                  <a:pt x="3446426" y="1135483"/>
                  <a:pt x="3447062" y="1134465"/>
                </a:cubicBezTo>
                <a:cubicBezTo>
                  <a:pt x="3450707" y="1130416"/>
                  <a:pt x="3458631" y="1132441"/>
                  <a:pt x="3472514" y="1134060"/>
                </a:cubicBezTo>
                <a:cubicBezTo>
                  <a:pt x="3486397" y="1135680"/>
                  <a:pt x="3489463" y="1127582"/>
                  <a:pt x="3498718" y="1130416"/>
                </a:cubicBezTo>
                <a:cubicBezTo>
                  <a:pt x="3507973" y="1133250"/>
                  <a:pt x="3515666" y="1134870"/>
                  <a:pt x="3521335" y="1123995"/>
                </a:cubicBezTo>
                <a:cubicBezTo>
                  <a:pt x="3527004" y="1113121"/>
                  <a:pt x="3553670" y="1115087"/>
                  <a:pt x="3559744" y="1119541"/>
                </a:cubicBezTo>
                <a:cubicBezTo>
                  <a:pt x="3565817" y="1123995"/>
                  <a:pt x="3570618" y="1130011"/>
                  <a:pt x="3580336" y="1123591"/>
                </a:cubicBezTo>
                <a:cubicBezTo>
                  <a:pt x="3590054" y="1117170"/>
                  <a:pt x="3589996" y="1132036"/>
                  <a:pt x="3599251" y="1133250"/>
                </a:cubicBezTo>
                <a:cubicBezTo>
                  <a:pt x="3608506" y="1134465"/>
                  <a:pt x="3602490" y="1142563"/>
                  <a:pt x="3594450" y="1141754"/>
                </a:cubicBezTo>
                <a:cubicBezTo>
                  <a:pt x="3586410" y="1140944"/>
                  <a:pt x="3576287" y="1145745"/>
                  <a:pt x="3585542" y="1151067"/>
                </a:cubicBezTo>
                <a:cubicBezTo>
                  <a:pt x="3594797" y="1156388"/>
                  <a:pt x="3605788" y="1146207"/>
                  <a:pt x="3613018" y="1147017"/>
                </a:cubicBezTo>
                <a:cubicBezTo>
                  <a:pt x="3622909" y="1148851"/>
                  <a:pt x="3633148" y="1147127"/>
                  <a:pt x="3641940" y="1142158"/>
                </a:cubicBezTo>
                <a:cubicBezTo>
                  <a:pt x="3652063" y="1135680"/>
                  <a:pt x="3654839" y="1147422"/>
                  <a:pt x="3661318" y="1141754"/>
                </a:cubicBezTo>
                <a:cubicBezTo>
                  <a:pt x="3667796" y="1136085"/>
                  <a:pt x="3682315" y="1134465"/>
                  <a:pt x="3689604" y="1134870"/>
                </a:cubicBezTo>
                <a:cubicBezTo>
                  <a:pt x="3696892" y="1135275"/>
                  <a:pt x="3690818" y="1126367"/>
                  <a:pt x="3678671" y="1126367"/>
                </a:cubicBezTo>
                <a:cubicBezTo>
                  <a:pt x="3666524" y="1126367"/>
                  <a:pt x="3667102" y="1119946"/>
                  <a:pt x="3676647" y="1103229"/>
                </a:cubicBezTo>
                <a:cubicBezTo>
                  <a:pt x="3686191" y="1086512"/>
                  <a:pt x="3704933" y="1077778"/>
                  <a:pt x="3716617" y="1067655"/>
                </a:cubicBezTo>
                <a:cubicBezTo>
                  <a:pt x="3728301" y="1057532"/>
                  <a:pt x="3736863" y="1062449"/>
                  <a:pt x="3736863" y="1056086"/>
                </a:cubicBezTo>
                <a:cubicBezTo>
                  <a:pt x="3736863" y="1049723"/>
                  <a:pt x="3742647" y="1031444"/>
                  <a:pt x="3751381" y="1031040"/>
                </a:cubicBezTo>
                <a:cubicBezTo>
                  <a:pt x="3760116" y="1030635"/>
                  <a:pt x="3782444" y="1034684"/>
                  <a:pt x="3796210" y="1026990"/>
                </a:cubicBezTo>
                <a:cubicBezTo>
                  <a:pt x="3809977" y="1019297"/>
                  <a:pt x="3808705" y="1032775"/>
                  <a:pt x="3814374" y="1034684"/>
                </a:cubicBezTo>
                <a:cubicBezTo>
                  <a:pt x="3820043" y="1036593"/>
                  <a:pt x="3827736" y="1023115"/>
                  <a:pt x="3834157" y="1026990"/>
                </a:cubicBezTo>
                <a:cubicBezTo>
                  <a:pt x="3840577" y="1030866"/>
                  <a:pt x="3824439" y="1040757"/>
                  <a:pt x="3820852" y="1052442"/>
                </a:cubicBezTo>
                <a:cubicBezTo>
                  <a:pt x="3817266" y="1064127"/>
                  <a:pt x="3829356" y="1059730"/>
                  <a:pt x="3836181" y="1062970"/>
                </a:cubicBezTo>
                <a:cubicBezTo>
                  <a:pt x="3843007" y="1066209"/>
                  <a:pt x="3827274" y="1071010"/>
                  <a:pt x="3828893" y="1074539"/>
                </a:cubicBezTo>
                <a:cubicBezTo>
                  <a:pt x="3830512" y="1078067"/>
                  <a:pt x="3844222" y="1077778"/>
                  <a:pt x="3862037" y="1060020"/>
                </a:cubicBezTo>
                <a:cubicBezTo>
                  <a:pt x="3879854" y="1042261"/>
                  <a:pt x="3895992" y="1037402"/>
                  <a:pt x="3907272" y="1038617"/>
                </a:cubicBezTo>
                <a:cubicBezTo>
                  <a:pt x="3918551" y="1039832"/>
                  <a:pt x="3912131" y="1028494"/>
                  <a:pt x="3913056" y="1011951"/>
                </a:cubicBezTo>
                <a:cubicBezTo>
                  <a:pt x="3913982" y="995408"/>
                  <a:pt x="3948573" y="990549"/>
                  <a:pt x="3959852" y="995408"/>
                </a:cubicBezTo>
                <a:cubicBezTo>
                  <a:pt x="3971132" y="1000266"/>
                  <a:pt x="3970380" y="1004663"/>
                  <a:pt x="3959448" y="1001828"/>
                </a:cubicBezTo>
                <a:cubicBezTo>
                  <a:pt x="3948515" y="998994"/>
                  <a:pt x="3938508" y="1008712"/>
                  <a:pt x="3938855" y="1022421"/>
                </a:cubicBezTo>
                <a:cubicBezTo>
                  <a:pt x="3939202" y="1036130"/>
                  <a:pt x="3929137" y="1040584"/>
                  <a:pt x="3934458" y="1045905"/>
                </a:cubicBezTo>
                <a:cubicBezTo>
                  <a:pt x="3939780" y="1051227"/>
                  <a:pt x="3926765" y="1052326"/>
                  <a:pt x="3926360" y="1057995"/>
                </a:cubicBezTo>
                <a:cubicBezTo>
                  <a:pt x="3925956" y="1063664"/>
                  <a:pt x="3926360" y="1068060"/>
                  <a:pt x="3918262" y="1070489"/>
                </a:cubicBezTo>
                <a:cubicBezTo>
                  <a:pt x="3910164" y="1072919"/>
                  <a:pt x="3883093" y="1075753"/>
                  <a:pt x="3882341" y="1086223"/>
                </a:cubicBezTo>
                <a:cubicBezTo>
                  <a:pt x="3881589" y="1096693"/>
                  <a:pt x="3867013" y="1097792"/>
                  <a:pt x="3860129" y="1110865"/>
                </a:cubicBezTo>
                <a:cubicBezTo>
                  <a:pt x="3853246" y="1123938"/>
                  <a:pt x="3826984" y="1131457"/>
                  <a:pt x="3809631" y="1157140"/>
                </a:cubicBezTo>
                <a:cubicBezTo>
                  <a:pt x="3792277" y="1182823"/>
                  <a:pt x="3764801" y="1182997"/>
                  <a:pt x="3764801" y="1187798"/>
                </a:cubicBezTo>
                <a:cubicBezTo>
                  <a:pt x="3764801" y="1192599"/>
                  <a:pt x="3745828" y="1192309"/>
                  <a:pt x="3739350" y="1193061"/>
                </a:cubicBezTo>
                <a:cubicBezTo>
                  <a:pt x="3732871" y="1193813"/>
                  <a:pt x="3745134" y="1209663"/>
                  <a:pt x="3730095" y="1226206"/>
                </a:cubicBezTo>
                <a:cubicBezTo>
                  <a:pt x="3714130" y="1243149"/>
                  <a:pt x="3705164" y="1265511"/>
                  <a:pt x="3705049" y="1288794"/>
                </a:cubicBezTo>
                <a:cubicBezTo>
                  <a:pt x="3705453" y="1311932"/>
                  <a:pt x="3713088" y="1378048"/>
                  <a:pt x="3719972" y="1389790"/>
                </a:cubicBezTo>
                <a:cubicBezTo>
                  <a:pt x="3726855" y="1401532"/>
                  <a:pt x="3722806" y="1430281"/>
                  <a:pt x="3728475" y="1436065"/>
                </a:cubicBezTo>
                <a:cubicBezTo>
                  <a:pt x="3734144" y="1441850"/>
                  <a:pt x="3732119" y="1452262"/>
                  <a:pt x="3735706" y="1455906"/>
                </a:cubicBezTo>
                <a:cubicBezTo>
                  <a:pt x="3739292" y="1459550"/>
                  <a:pt x="3754331" y="1439710"/>
                  <a:pt x="3764628" y="1431206"/>
                </a:cubicBezTo>
                <a:cubicBezTo>
                  <a:pt x="3774924" y="1422703"/>
                  <a:pt x="3771512" y="1419985"/>
                  <a:pt x="3778337" y="1415473"/>
                </a:cubicBezTo>
                <a:cubicBezTo>
                  <a:pt x="3785163" y="1410961"/>
                  <a:pt x="3782386" y="1392335"/>
                  <a:pt x="3784411" y="1387592"/>
                </a:cubicBezTo>
                <a:cubicBezTo>
                  <a:pt x="3786435" y="1382849"/>
                  <a:pt x="3798988" y="1380361"/>
                  <a:pt x="3802979" y="1375097"/>
                </a:cubicBezTo>
                <a:cubicBezTo>
                  <a:pt x="3806970" y="1369834"/>
                  <a:pt x="3817555" y="1373073"/>
                  <a:pt x="3823166" y="1371048"/>
                </a:cubicBezTo>
                <a:cubicBezTo>
                  <a:pt x="3828777" y="1369024"/>
                  <a:pt x="3822762" y="1355777"/>
                  <a:pt x="3820737" y="1347911"/>
                </a:cubicBezTo>
                <a:cubicBezTo>
                  <a:pt x="3818712" y="1340044"/>
                  <a:pt x="3837338" y="1329747"/>
                  <a:pt x="3847056" y="1322864"/>
                </a:cubicBezTo>
                <a:cubicBezTo>
                  <a:pt x="3856774" y="1315981"/>
                  <a:pt x="3868863" y="1327376"/>
                  <a:pt x="3879738" y="1317080"/>
                </a:cubicBezTo>
                <a:cubicBezTo>
                  <a:pt x="3890613" y="1306783"/>
                  <a:pt x="3878928" y="1295272"/>
                  <a:pt x="3874879" y="1290008"/>
                </a:cubicBezTo>
                <a:cubicBezTo>
                  <a:pt x="3870830" y="1284745"/>
                  <a:pt x="3885754" y="1259293"/>
                  <a:pt x="3894257" y="1256864"/>
                </a:cubicBezTo>
                <a:cubicBezTo>
                  <a:pt x="3902760" y="1254434"/>
                  <a:pt x="3907156" y="1262648"/>
                  <a:pt x="3915312" y="1255649"/>
                </a:cubicBezTo>
                <a:cubicBezTo>
                  <a:pt x="3923468" y="1248650"/>
                  <a:pt x="3908024" y="1236676"/>
                  <a:pt x="3902355" y="1237486"/>
                </a:cubicBezTo>
                <a:cubicBezTo>
                  <a:pt x="3896687" y="1238296"/>
                  <a:pt x="3894662" y="1216893"/>
                  <a:pt x="3908140" y="1206828"/>
                </a:cubicBezTo>
                <a:cubicBezTo>
                  <a:pt x="3921617" y="1196764"/>
                  <a:pt x="3916237" y="1194681"/>
                  <a:pt x="3907272" y="1192309"/>
                </a:cubicBezTo>
                <a:cubicBezTo>
                  <a:pt x="3898306" y="1189938"/>
                  <a:pt x="3896802" y="1193119"/>
                  <a:pt x="3889919" y="1193466"/>
                </a:cubicBezTo>
                <a:cubicBezTo>
                  <a:pt x="3883035" y="1193813"/>
                  <a:pt x="3876210" y="1179352"/>
                  <a:pt x="3886679" y="1165238"/>
                </a:cubicBezTo>
                <a:cubicBezTo>
                  <a:pt x="3897149" y="1151124"/>
                  <a:pt x="3907272" y="1152686"/>
                  <a:pt x="3909817" y="1141002"/>
                </a:cubicBezTo>
                <a:cubicBezTo>
                  <a:pt x="3912362" y="1129317"/>
                  <a:pt x="3926765" y="1112716"/>
                  <a:pt x="3930410" y="1106700"/>
                </a:cubicBezTo>
                <a:cubicBezTo>
                  <a:pt x="3934054" y="1100684"/>
                  <a:pt x="3948573" y="1106700"/>
                  <a:pt x="3954184" y="1105485"/>
                </a:cubicBezTo>
                <a:cubicBezTo>
                  <a:pt x="3959794" y="1104270"/>
                  <a:pt x="3957886" y="1116360"/>
                  <a:pt x="3964711" y="1110286"/>
                </a:cubicBezTo>
                <a:cubicBezTo>
                  <a:pt x="3971537" y="1104213"/>
                  <a:pt x="3982874" y="1084083"/>
                  <a:pt x="3992187" y="1084083"/>
                </a:cubicBezTo>
                <a:cubicBezTo>
                  <a:pt x="4001500" y="1084083"/>
                  <a:pt x="3995427" y="1099007"/>
                  <a:pt x="3997971" y="1107857"/>
                </a:cubicBezTo>
                <a:cubicBezTo>
                  <a:pt x="4000517" y="1116707"/>
                  <a:pt x="4005607" y="1105485"/>
                  <a:pt x="4023365" y="1093338"/>
                </a:cubicBezTo>
                <a:cubicBezTo>
                  <a:pt x="4041124" y="1081191"/>
                  <a:pt x="4079937" y="1082405"/>
                  <a:pt x="4091622" y="1088074"/>
                </a:cubicBezTo>
                <a:cubicBezTo>
                  <a:pt x="4103306" y="1093743"/>
                  <a:pt x="4105389" y="1107105"/>
                  <a:pt x="4111867" y="1105427"/>
                </a:cubicBezTo>
                <a:cubicBezTo>
                  <a:pt x="4121700" y="1102998"/>
                  <a:pt x="4113429" y="1092065"/>
                  <a:pt x="4123436" y="1089231"/>
                </a:cubicBezTo>
                <a:cubicBezTo>
                  <a:pt x="4137608" y="1083684"/>
                  <a:pt x="4150912" y="1076210"/>
                  <a:pt x="4163001" y="1067019"/>
                </a:cubicBezTo>
                <a:cubicBezTo>
                  <a:pt x="4175900" y="1057764"/>
                  <a:pt x="4172314" y="1064647"/>
                  <a:pt x="4179198" y="1056144"/>
                </a:cubicBezTo>
                <a:cubicBezTo>
                  <a:pt x="4186081" y="1047641"/>
                  <a:pt x="4192907" y="1051285"/>
                  <a:pt x="4194932" y="1045616"/>
                </a:cubicBezTo>
                <a:cubicBezTo>
                  <a:pt x="4196956" y="1039948"/>
                  <a:pt x="4215524" y="1030693"/>
                  <a:pt x="4241207" y="1025024"/>
                </a:cubicBezTo>
                <a:cubicBezTo>
                  <a:pt x="4266890" y="1019355"/>
                  <a:pt x="4299745" y="1002407"/>
                  <a:pt x="4298126" y="997201"/>
                </a:cubicBezTo>
                <a:cubicBezTo>
                  <a:pt x="4296506" y="991995"/>
                  <a:pt x="4307786" y="989507"/>
                  <a:pt x="4309000" y="994771"/>
                </a:cubicBezTo>
                <a:cubicBezTo>
                  <a:pt x="4310216" y="1000035"/>
                  <a:pt x="4319933" y="998010"/>
                  <a:pt x="4333237" y="1000556"/>
                </a:cubicBezTo>
                <a:cubicBezTo>
                  <a:pt x="4346541" y="1003101"/>
                  <a:pt x="4352673" y="1008654"/>
                  <a:pt x="4363142" y="998184"/>
                </a:cubicBezTo>
                <a:cubicBezTo>
                  <a:pt x="4373613" y="987714"/>
                  <a:pt x="4361928" y="984012"/>
                  <a:pt x="4362333" y="975972"/>
                </a:cubicBezTo>
                <a:cubicBezTo>
                  <a:pt x="4362738" y="967931"/>
                  <a:pt x="4344170" y="959370"/>
                  <a:pt x="4346541" y="950925"/>
                </a:cubicBezTo>
                <a:cubicBezTo>
                  <a:pt x="4348913" y="942480"/>
                  <a:pt x="4332890" y="919805"/>
                  <a:pt x="4328031" y="924259"/>
                </a:cubicBezTo>
                <a:cubicBezTo>
                  <a:pt x="4323173" y="928713"/>
                  <a:pt x="4311835" y="920615"/>
                  <a:pt x="4311835" y="914136"/>
                </a:cubicBezTo>
                <a:cubicBezTo>
                  <a:pt x="4311835" y="907658"/>
                  <a:pt x="4311025" y="900022"/>
                  <a:pt x="4303332" y="904823"/>
                </a:cubicBezTo>
                <a:cubicBezTo>
                  <a:pt x="4295639" y="909624"/>
                  <a:pt x="4282797" y="907311"/>
                  <a:pt x="4280194" y="900022"/>
                </a:cubicBezTo>
                <a:cubicBezTo>
                  <a:pt x="4277591" y="892734"/>
                  <a:pt x="4295118" y="887528"/>
                  <a:pt x="4307208" y="892387"/>
                </a:cubicBezTo>
                <a:cubicBezTo>
                  <a:pt x="4319297" y="897246"/>
                  <a:pt x="4315710" y="902047"/>
                  <a:pt x="4321784" y="905691"/>
                </a:cubicBezTo>
                <a:cubicBezTo>
                  <a:pt x="4327858" y="909335"/>
                  <a:pt x="4344401" y="907716"/>
                  <a:pt x="4352847" y="903666"/>
                </a:cubicBezTo>
                <a:cubicBezTo>
                  <a:pt x="4361292" y="899617"/>
                  <a:pt x="4385181" y="892098"/>
                  <a:pt x="4389230" y="885098"/>
                </a:cubicBezTo>
                <a:cubicBezTo>
                  <a:pt x="4393280" y="878099"/>
                  <a:pt x="4388826" y="874976"/>
                  <a:pt x="4396924" y="870984"/>
                </a:cubicBezTo>
                <a:cubicBezTo>
                  <a:pt x="4405022" y="866993"/>
                  <a:pt x="4398891" y="858432"/>
                  <a:pt x="4392065" y="854788"/>
                </a:cubicBezTo>
                <a:cubicBezTo>
                  <a:pt x="4388536" y="853440"/>
                  <a:pt x="4386743" y="849466"/>
                  <a:pt x="4388074" y="845915"/>
                </a:cubicBezTo>
                <a:cubicBezTo>
                  <a:pt x="4388999" y="843398"/>
                  <a:pt x="4391371" y="841669"/>
                  <a:pt x="4394032" y="841484"/>
                </a:cubicBezTo>
                <a:cubicBezTo>
                  <a:pt x="4401320" y="841484"/>
                  <a:pt x="4399295" y="832981"/>
                  <a:pt x="4404155" y="832576"/>
                </a:cubicBezTo>
                <a:cubicBezTo>
                  <a:pt x="4409013" y="832171"/>
                  <a:pt x="4409939" y="836162"/>
                  <a:pt x="4418731" y="831766"/>
                </a:cubicBezTo>
                <a:cubicBezTo>
                  <a:pt x="4427523" y="827370"/>
                  <a:pt x="4419136" y="838649"/>
                  <a:pt x="4415087" y="846343"/>
                </a:cubicBezTo>
                <a:cubicBezTo>
                  <a:pt x="4411038" y="854036"/>
                  <a:pt x="4423590" y="860457"/>
                  <a:pt x="4424747" y="864911"/>
                </a:cubicBezTo>
                <a:cubicBezTo>
                  <a:pt x="4425904" y="869365"/>
                  <a:pt x="4443315" y="870984"/>
                  <a:pt x="4453033" y="865663"/>
                </a:cubicBezTo>
                <a:cubicBezTo>
                  <a:pt x="4462751" y="860341"/>
                  <a:pt x="4493813" y="872141"/>
                  <a:pt x="4495838" y="879777"/>
                </a:cubicBezTo>
                <a:cubicBezTo>
                  <a:pt x="4498325" y="890171"/>
                  <a:pt x="4505498" y="898836"/>
                  <a:pt x="4515215" y="903261"/>
                </a:cubicBezTo>
                <a:cubicBezTo>
                  <a:pt x="4528172" y="909740"/>
                  <a:pt x="4539857" y="906906"/>
                  <a:pt x="4542287" y="912979"/>
                </a:cubicBezTo>
                <a:cubicBezTo>
                  <a:pt x="4544137" y="919088"/>
                  <a:pt x="4550616" y="922524"/>
                  <a:pt x="4556748" y="920655"/>
                </a:cubicBezTo>
                <a:cubicBezTo>
                  <a:pt x="4556806" y="920644"/>
                  <a:pt x="4556806" y="920626"/>
                  <a:pt x="4556863" y="920615"/>
                </a:cubicBezTo>
                <a:cubicBezTo>
                  <a:pt x="4564093" y="918995"/>
                  <a:pt x="4568432" y="927093"/>
                  <a:pt x="4573407" y="922177"/>
                </a:cubicBezTo>
                <a:cubicBezTo>
                  <a:pt x="4578382" y="917260"/>
                  <a:pt x="4581447" y="925069"/>
                  <a:pt x="4588331" y="918995"/>
                </a:cubicBezTo>
                <a:cubicBezTo>
                  <a:pt x="4595214" y="912922"/>
                  <a:pt x="4573407" y="908930"/>
                  <a:pt x="4576241" y="904071"/>
                </a:cubicBezTo>
                <a:cubicBezTo>
                  <a:pt x="4579076" y="899212"/>
                  <a:pt x="4583472" y="907716"/>
                  <a:pt x="4589545" y="907311"/>
                </a:cubicBezTo>
                <a:cubicBezTo>
                  <a:pt x="4595619" y="906906"/>
                  <a:pt x="4587926" y="895163"/>
                  <a:pt x="4592379" y="893949"/>
                </a:cubicBezTo>
                <a:cubicBezTo>
                  <a:pt x="4596834" y="892734"/>
                  <a:pt x="4593189" y="868555"/>
                  <a:pt x="4588331" y="866935"/>
                </a:cubicBezTo>
                <a:cubicBezTo>
                  <a:pt x="4583472" y="865316"/>
                  <a:pt x="4587521" y="856755"/>
                  <a:pt x="4596834" y="863696"/>
                </a:cubicBezTo>
                <a:cubicBezTo>
                  <a:pt x="4606146" y="870637"/>
                  <a:pt x="4620607" y="870117"/>
                  <a:pt x="4627491" y="870117"/>
                </a:cubicBezTo>
                <a:cubicBezTo>
                  <a:pt x="4634374" y="870117"/>
                  <a:pt x="4627896" y="863696"/>
                  <a:pt x="4621071" y="862423"/>
                </a:cubicBezTo>
                <a:cubicBezTo>
                  <a:pt x="4614245" y="861151"/>
                  <a:pt x="4622227" y="855598"/>
                  <a:pt x="4626855" y="860052"/>
                </a:cubicBezTo>
                <a:cubicBezTo>
                  <a:pt x="4631482" y="864506"/>
                  <a:pt x="4640969" y="866530"/>
                  <a:pt x="4641779" y="861672"/>
                </a:cubicBezTo>
                <a:cubicBezTo>
                  <a:pt x="4642589" y="856812"/>
                  <a:pt x="4647563" y="846343"/>
                  <a:pt x="4655950" y="846748"/>
                </a:cubicBezTo>
                <a:cubicBezTo>
                  <a:pt x="4664338" y="847153"/>
                  <a:pt x="4666767" y="843161"/>
                  <a:pt x="4658438" y="840327"/>
                </a:cubicBezTo>
                <a:close/>
                <a:moveTo>
                  <a:pt x="2406213" y="1370181"/>
                </a:moveTo>
                <a:cubicBezTo>
                  <a:pt x="2383075" y="1390773"/>
                  <a:pt x="2337146" y="1395632"/>
                  <a:pt x="2337146" y="1412581"/>
                </a:cubicBezTo>
                <a:cubicBezTo>
                  <a:pt x="2337146" y="1429529"/>
                  <a:pt x="2281442" y="1438032"/>
                  <a:pt x="2276584" y="1430801"/>
                </a:cubicBezTo>
                <a:cubicBezTo>
                  <a:pt x="2271725" y="1423571"/>
                  <a:pt x="2317769" y="1422298"/>
                  <a:pt x="2328643" y="1398062"/>
                </a:cubicBezTo>
                <a:cubicBezTo>
                  <a:pt x="2339518" y="1373825"/>
                  <a:pt x="2380703" y="1361388"/>
                  <a:pt x="2401296" y="1328995"/>
                </a:cubicBezTo>
                <a:cubicBezTo>
                  <a:pt x="2415873" y="1305858"/>
                  <a:pt x="2427962" y="1271151"/>
                  <a:pt x="2436465" y="1273291"/>
                </a:cubicBezTo>
                <a:cubicBezTo>
                  <a:pt x="2444968" y="1275432"/>
                  <a:pt x="2429466" y="1349588"/>
                  <a:pt x="2406444" y="1370181"/>
                </a:cubicBezTo>
                <a:close/>
                <a:moveTo>
                  <a:pt x="2508771" y="421534"/>
                </a:moveTo>
                <a:cubicBezTo>
                  <a:pt x="2505532" y="428013"/>
                  <a:pt x="2488005" y="428418"/>
                  <a:pt x="2492632" y="434434"/>
                </a:cubicBezTo>
                <a:cubicBezTo>
                  <a:pt x="2500730" y="444961"/>
                  <a:pt x="2541105" y="439292"/>
                  <a:pt x="2541915" y="426393"/>
                </a:cubicBezTo>
                <a:cubicBezTo>
                  <a:pt x="2542725" y="413494"/>
                  <a:pt x="2512415" y="415114"/>
                  <a:pt x="2509002" y="421592"/>
                </a:cubicBezTo>
                <a:close/>
                <a:moveTo>
                  <a:pt x="1038022" y="22409"/>
                </a:moveTo>
                <a:cubicBezTo>
                  <a:pt x="1057399" y="22409"/>
                  <a:pt x="1051731" y="10261"/>
                  <a:pt x="1064630" y="11881"/>
                </a:cubicBezTo>
                <a:cubicBezTo>
                  <a:pt x="1077529" y="13501"/>
                  <a:pt x="1094478" y="12691"/>
                  <a:pt x="1087768" y="4650"/>
                </a:cubicBezTo>
                <a:cubicBezTo>
                  <a:pt x="1081058" y="-3390"/>
                  <a:pt x="1034493" y="-208"/>
                  <a:pt x="1039294" y="6270"/>
                </a:cubicBezTo>
                <a:cubicBezTo>
                  <a:pt x="1044096" y="12749"/>
                  <a:pt x="1001349" y="10261"/>
                  <a:pt x="1002101" y="12691"/>
                </a:cubicBezTo>
                <a:cubicBezTo>
                  <a:pt x="1004299" y="17723"/>
                  <a:pt x="1018876" y="22582"/>
                  <a:pt x="1038253" y="22582"/>
                </a:cubicBezTo>
                <a:close/>
                <a:moveTo>
                  <a:pt x="937778" y="76493"/>
                </a:moveTo>
                <a:cubicBezTo>
                  <a:pt x="937778" y="63594"/>
                  <a:pt x="895783" y="77881"/>
                  <a:pt x="903881" y="80542"/>
                </a:cubicBezTo>
                <a:cubicBezTo>
                  <a:pt x="911979" y="83203"/>
                  <a:pt x="938009" y="89913"/>
                  <a:pt x="938009" y="76667"/>
                </a:cubicBezTo>
                <a:close/>
                <a:moveTo>
                  <a:pt x="1041898" y="66023"/>
                </a:moveTo>
                <a:cubicBezTo>
                  <a:pt x="1044327" y="72444"/>
                  <a:pt x="1037906" y="73254"/>
                  <a:pt x="1021710" y="73254"/>
                </a:cubicBezTo>
                <a:cubicBezTo>
                  <a:pt x="1005513" y="73254"/>
                  <a:pt x="997068" y="82451"/>
                  <a:pt x="1005513" y="89450"/>
                </a:cubicBezTo>
                <a:cubicBezTo>
                  <a:pt x="1015289" y="97491"/>
                  <a:pt x="1058036" y="94251"/>
                  <a:pt x="1065324" y="84591"/>
                </a:cubicBezTo>
                <a:cubicBezTo>
                  <a:pt x="1072612" y="74931"/>
                  <a:pt x="1091123" y="82972"/>
                  <a:pt x="1094246" y="73022"/>
                </a:cubicBezTo>
                <a:cubicBezTo>
                  <a:pt x="1097370" y="63073"/>
                  <a:pt x="1039815" y="59718"/>
                  <a:pt x="1042244" y="66197"/>
                </a:cubicBezTo>
                <a:close/>
                <a:moveTo>
                  <a:pt x="1180030" y="50695"/>
                </a:moveTo>
                <a:cubicBezTo>
                  <a:pt x="1185814" y="43406"/>
                  <a:pt x="1169502" y="43406"/>
                  <a:pt x="1167883" y="36118"/>
                </a:cubicBezTo>
                <a:cubicBezTo>
                  <a:pt x="1166263" y="28829"/>
                  <a:pt x="1121028" y="27268"/>
                  <a:pt x="1123458" y="35308"/>
                </a:cubicBezTo>
                <a:cubicBezTo>
                  <a:pt x="1125888" y="43348"/>
                  <a:pt x="1092222" y="52198"/>
                  <a:pt x="1102518" y="60354"/>
                </a:cubicBezTo>
                <a:cubicBezTo>
                  <a:pt x="1122243" y="75857"/>
                  <a:pt x="1174708" y="58099"/>
                  <a:pt x="1180376" y="50868"/>
                </a:cubicBezTo>
                <a:close/>
                <a:moveTo>
                  <a:pt x="1051615" y="37737"/>
                </a:moveTo>
                <a:cubicBezTo>
                  <a:pt x="1054045" y="20789"/>
                  <a:pt x="1025759" y="34498"/>
                  <a:pt x="1004703" y="25648"/>
                </a:cubicBezTo>
                <a:cubicBezTo>
                  <a:pt x="983648" y="16798"/>
                  <a:pt x="971385" y="17434"/>
                  <a:pt x="985326" y="29697"/>
                </a:cubicBezTo>
                <a:cubicBezTo>
                  <a:pt x="991862" y="35481"/>
                  <a:pt x="949405" y="39762"/>
                  <a:pt x="956403" y="46645"/>
                </a:cubicBezTo>
                <a:cubicBezTo>
                  <a:pt x="971963" y="62148"/>
                  <a:pt x="1049475" y="54859"/>
                  <a:pt x="1051962" y="37853"/>
                </a:cubicBezTo>
                <a:close/>
                <a:moveTo>
                  <a:pt x="931241" y="486031"/>
                </a:moveTo>
                <a:cubicBezTo>
                  <a:pt x="932051" y="494129"/>
                  <a:pt x="927192" y="499740"/>
                  <a:pt x="911922" y="499740"/>
                </a:cubicBezTo>
                <a:cubicBezTo>
                  <a:pt x="896651" y="499740"/>
                  <a:pt x="919152" y="509458"/>
                  <a:pt x="920713" y="518308"/>
                </a:cubicBezTo>
                <a:cubicBezTo>
                  <a:pt x="922275" y="527158"/>
                  <a:pt x="905385" y="520737"/>
                  <a:pt x="904575" y="534504"/>
                </a:cubicBezTo>
                <a:cubicBezTo>
                  <a:pt x="903765" y="548271"/>
                  <a:pt x="874669" y="534504"/>
                  <a:pt x="870679" y="552262"/>
                </a:cubicBezTo>
                <a:cubicBezTo>
                  <a:pt x="866687" y="570021"/>
                  <a:pt x="885197" y="567591"/>
                  <a:pt x="898155" y="568401"/>
                </a:cubicBezTo>
                <a:cubicBezTo>
                  <a:pt x="911112" y="569211"/>
                  <a:pt x="893295" y="581300"/>
                  <a:pt x="902955" y="588589"/>
                </a:cubicBezTo>
                <a:cubicBezTo>
                  <a:pt x="912616" y="595877"/>
                  <a:pt x="919903" y="593447"/>
                  <a:pt x="913483" y="579681"/>
                </a:cubicBezTo>
                <a:cubicBezTo>
                  <a:pt x="907062" y="565914"/>
                  <a:pt x="947379" y="584539"/>
                  <a:pt x="935290" y="595067"/>
                </a:cubicBezTo>
                <a:cubicBezTo>
                  <a:pt x="923201" y="605595"/>
                  <a:pt x="954668" y="613635"/>
                  <a:pt x="969997" y="614445"/>
                </a:cubicBezTo>
                <a:cubicBezTo>
                  <a:pt x="985326" y="615255"/>
                  <a:pt x="1039757" y="627171"/>
                  <a:pt x="1041030" y="614445"/>
                </a:cubicBezTo>
                <a:cubicBezTo>
                  <a:pt x="1041840" y="606347"/>
                  <a:pt x="1020842" y="599116"/>
                  <a:pt x="1003893" y="581300"/>
                </a:cubicBezTo>
                <a:cubicBezTo>
                  <a:pt x="986945" y="563484"/>
                  <a:pt x="974971" y="534504"/>
                  <a:pt x="994176" y="522357"/>
                </a:cubicBezTo>
                <a:cubicBezTo>
                  <a:pt x="1013380" y="510210"/>
                  <a:pt x="996605" y="504599"/>
                  <a:pt x="1015983" y="490890"/>
                </a:cubicBezTo>
                <a:cubicBezTo>
                  <a:pt x="1035361" y="477180"/>
                  <a:pt x="1024081" y="464223"/>
                  <a:pt x="1040220" y="462604"/>
                </a:cubicBezTo>
                <a:cubicBezTo>
                  <a:pt x="1056359" y="460984"/>
                  <a:pt x="1038600" y="446465"/>
                  <a:pt x="1054797" y="444036"/>
                </a:cubicBezTo>
                <a:cubicBezTo>
                  <a:pt x="1066597" y="441751"/>
                  <a:pt x="1074290" y="430332"/>
                  <a:pt x="1072034" y="418544"/>
                </a:cubicBezTo>
                <a:cubicBezTo>
                  <a:pt x="1071918" y="418150"/>
                  <a:pt x="1071860" y="417757"/>
                  <a:pt x="1071745" y="417369"/>
                </a:cubicBezTo>
                <a:cubicBezTo>
                  <a:pt x="1069316" y="410949"/>
                  <a:pt x="1088693" y="418179"/>
                  <a:pt x="1097602" y="408461"/>
                </a:cubicBezTo>
                <a:cubicBezTo>
                  <a:pt x="1106509" y="398744"/>
                  <a:pt x="1127449" y="405280"/>
                  <a:pt x="1133927" y="391513"/>
                </a:cubicBezTo>
                <a:cubicBezTo>
                  <a:pt x="1140407" y="377746"/>
                  <a:pt x="1233246" y="346279"/>
                  <a:pt x="1285769" y="334189"/>
                </a:cubicBezTo>
                <a:cubicBezTo>
                  <a:pt x="1338292" y="322100"/>
                  <a:pt x="1374618" y="300235"/>
                  <a:pt x="1356049" y="285716"/>
                </a:cubicBezTo>
                <a:cubicBezTo>
                  <a:pt x="1337482" y="271197"/>
                  <a:pt x="1284959" y="291500"/>
                  <a:pt x="1272059" y="301854"/>
                </a:cubicBezTo>
                <a:cubicBezTo>
                  <a:pt x="1259160" y="312209"/>
                  <a:pt x="1240535" y="305094"/>
                  <a:pt x="1227635" y="312324"/>
                </a:cubicBezTo>
                <a:cubicBezTo>
                  <a:pt x="1214736" y="319555"/>
                  <a:pt x="1187144" y="326091"/>
                  <a:pt x="1173493" y="317183"/>
                </a:cubicBezTo>
                <a:cubicBezTo>
                  <a:pt x="1159842" y="308275"/>
                  <a:pt x="1143645" y="327711"/>
                  <a:pt x="1133002" y="326901"/>
                </a:cubicBezTo>
                <a:cubicBezTo>
                  <a:pt x="1122358" y="326091"/>
                  <a:pt x="1110385" y="337429"/>
                  <a:pt x="1099106" y="336619"/>
                </a:cubicBezTo>
                <a:cubicBezTo>
                  <a:pt x="1087826" y="335809"/>
                  <a:pt x="1065151" y="345469"/>
                  <a:pt x="1063531" y="351948"/>
                </a:cubicBezTo>
                <a:cubicBezTo>
                  <a:pt x="1061911" y="358426"/>
                  <a:pt x="1042534" y="356806"/>
                  <a:pt x="1042534" y="364905"/>
                </a:cubicBezTo>
                <a:cubicBezTo>
                  <a:pt x="1042534" y="373003"/>
                  <a:pt x="1027147" y="380233"/>
                  <a:pt x="1019396" y="372945"/>
                </a:cubicBezTo>
                <a:cubicBezTo>
                  <a:pt x="1011645" y="365657"/>
                  <a:pt x="1001637" y="381043"/>
                  <a:pt x="1012917" y="391513"/>
                </a:cubicBezTo>
                <a:cubicBezTo>
                  <a:pt x="1024197" y="401983"/>
                  <a:pt x="991978" y="403082"/>
                  <a:pt x="997589" y="409271"/>
                </a:cubicBezTo>
                <a:cubicBezTo>
                  <a:pt x="1003199" y="415461"/>
                  <a:pt x="985441" y="419799"/>
                  <a:pt x="989490" y="427087"/>
                </a:cubicBezTo>
                <a:cubicBezTo>
                  <a:pt x="993540" y="434376"/>
                  <a:pt x="977921" y="436747"/>
                  <a:pt x="966353" y="439177"/>
                </a:cubicBezTo>
                <a:cubicBezTo>
                  <a:pt x="954784" y="441606"/>
                  <a:pt x="947785" y="457745"/>
                  <a:pt x="963172" y="458555"/>
                </a:cubicBezTo>
                <a:cubicBezTo>
                  <a:pt x="978558" y="459364"/>
                  <a:pt x="954263" y="461794"/>
                  <a:pt x="955941" y="473883"/>
                </a:cubicBezTo>
                <a:cubicBezTo>
                  <a:pt x="957618" y="485973"/>
                  <a:pt x="930778" y="478106"/>
                  <a:pt x="931588" y="48620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7" name="Forma libre: forma 226">
            <a:extLst>
              <a:ext uri="{FF2B5EF4-FFF2-40B4-BE49-F238E27FC236}">
                <a16:creationId xmlns:a16="http://schemas.microsoft.com/office/drawing/2014/main" id="{4C3B2F8B-905C-4926-D910-A1C3451AF845}"/>
              </a:ext>
            </a:extLst>
          </p:cNvPr>
          <p:cNvSpPr/>
          <p:nvPr/>
        </p:nvSpPr>
        <p:spPr>
          <a:xfrm>
            <a:off x="6715785" y="1494159"/>
            <a:ext cx="4663705" cy="1782873"/>
          </a:xfrm>
          <a:custGeom>
            <a:avLst/>
            <a:gdLst>
              <a:gd name="connsiteX0" fmla="*/ 70634 w 4663705"/>
              <a:gd name="connsiteY0" fmla="*/ 1290818 h 1782873"/>
              <a:gd name="connsiteX1" fmla="*/ 54264 w 4663705"/>
              <a:gd name="connsiteY1" fmla="*/ 1285034 h 1782873"/>
              <a:gd name="connsiteX2" fmla="*/ 37605 w 4663705"/>
              <a:gd name="connsiteY2" fmla="*/ 1283530 h 1782873"/>
              <a:gd name="connsiteX3" fmla="*/ 41885 w 4663705"/>
              <a:gd name="connsiteY3" fmla="*/ 1287637 h 1782873"/>
              <a:gd name="connsiteX4" fmla="*/ 33035 w 4663705"/>
              <a:gd name="connsiteY4" fmla="*/ 1302561 h 1782873"/>
              <a:gd name="connsiteX5" fmla="*/ 20136 w 4663705"/>
              <a:gd name="connsiteY5" fmla="*/ 1302561 h 1782873"/>
              <a:gd name="connsiteX6" fmla="*/ 1568 w 4663705"/>
              <a:gd name="connsiteY6" fmla="*/ 1303775 h 1782873"/>
              <a:gd name="connsiteX7" fmla="*/ -110 w 4663705"/>
              <a:gd name="connsiteY7" fmla="*/ 1310254 h 1782873"/>
              <a:gd name="connsiteX8" fmla="*/ 13715 w 4663705"/>
              <a:gd name="connsiteY8" fmla="*/ 1315286 h 1782873"/>
              <a:gd name="connsiteX9" fmla="*/ 84748 w 4663705"/>
              <a:gd name="connsiteY9" fmla="*/ 1318294 h 1782873"/>
              <a:gd name="connsiteX10" fmla="*/ 85731 w 4663705"/>
              <a:gd name="connsiteY10" fmla="*/ 1300131 h 1782873"/>
              <a:gd name="connsiteX11" fmla="*/ 70634 w 4663705"/>
              <a:gd name="connsiteY11" fmla="*/ 1290818 h 1782873"/>
              <a:gd name="connsiteX12" fmla="*/ 1239088 w 4663705"/>
              <a:gd name="connsiteY12" fmla="*/ 46819 h 1782873"/>
              <a:gd name="connsiteX13" fmla="*/ 1252855 w 4663705"/>
              <a:gd name="connsiteY13" fmla="*/ 23392 h 1782873"/>
              <a:gd name="connsiteX14" fmla="*/ 1226189 w 4663705"/>
              <a:gd name="connsiteY14" fmla="*/ 32242 h 1782873"/>
              <a:gd name="connsiteX15" fmla="*/ 1193855 w 4663705"/>
              <a:gd name="connsiteY15" fmla="*/ 44389 h 1782873"/>
              <a:gd name="connsiteX16" fmla="*/ 1239320 w 4663705"/>
              <a:gd name="connsiteY16" fmla="*/ 46819 h 1782873"/>
              <a:gd name="connsiteX17" fmla="*/ 1394979 w 4663705"/>
              <a:gd name="connsiteY17" fmla="*/ 495864 h 1782873"/>
              <a:gd name="connsiteX18" fmla="*/ 1436974 w 4663705"/>
              <a:gd name="connsiteY18" fmla="*/ 486204 h 1782873"/>
              <a:gd name="connsiteX19" fmla="*/ 1407069 w 4663705"/>
              <a:gd name="connsiteY19" fmla="*/ 474057 h 1782873"/>
              <a:gd name="connsiteX20" fmla="*/ 1395210 w 4663705"/>
              <a:gd name="connsiteY20" fmla="*/ 495864 h 1782873"/>
              <a:gd name="connsiteX21" fmla="*/ 1991874 w 4663705"/>
              <a:gd name="connsiteY21" fmla="*/ 83145 h 1782873"/>
              <a:gd name="connsiteX22" fmla="*/ 1985396 w 4663705"/>
              <a:gd name="connsiteY22" fmla="*/ 93673 h 1782873"/>
              <a:gd name="connsiteX23" fmla="*/ 1966018 w 4663705"/>
              <a:gd name="connsiteY23" fmla="*/ 103333 h 1782873"/>
              <a:gd name="connsiteX24" fmla="*/ 1990254 w 4663705"/>
              <a:gd name="connsiteY24" fmla="*/ 119471 h 1782873"/>
              <a:gd name="connsiteX25" fmla="*/ 2022532 w 4663705"/>
              <a:gd name="connsiteY25" fmla="*/ 100093 h 1782873"/>
              <a:gd name="connsiteX26" fmla="*/ 2097729 w 4663705"/>
              <a:gd name="connsiteY26" fmla="*/ 77476 h 1782873"/>
              <a:gd name="connsiteX27" fmla="*/ 2105017 w 4663705"/>
              <a:gd name="connsiteY27" fmla="*/ 54859 h 1782873"/>
              <a:gd name="connsiteX28" fmla="*/ 2093738 w 4663705"/>
              <a:gd name="connsiteY28" fmla="*/ 41960 h 1782873"/>
              <a:gd name="connsiteX29" fmla="*/ 2073550 w 4663705"/>
              <a:gd name="connsiteY29" fmla="*/ 13674 h 1782873"/>
              <a:gd name="connsiteX30" fmla="*/ 2033927 w 4663705"/>
              <a:gd name="connsiteY30" fmla="*/ 27441 h 1782873"/>
              <a:gd name="connsiteX31" fmla="*/ 2003211 w 4663705"/>
              <a:gd name="connsiteY31" fmla="*/ 46009 h 1782873"/>
              <a:gd name="connsiteX32" fmla="*/ 1991122 w 4663705"/>
              <a:gd name="connsiteY32" fmla="*/ 64635 h 1782873"/>
              <a:gd name="connsiteX33" fmla="*/ 1992106 w 4663705"/>
              <a:gd name="connsiteY33" fmla="*/ 83145 h 1782873"/>
              <a:gd name="connsiteX34" fmla="*/ 2034679 w 4663705"/>
              <a:gd name="connsiteY34" fmla="*/ 105762 h 1782873"/>
              <a:gd name="connsiteX35" fmla="*/ 2016053 w 4663705"/>
              <a:gd name="connsiteY35" fmla="*/ 129999 h 1782873"/>
              <a:gd name="connsiteX36" fmla="*/ 2036298 w 4663705"/>
              <a:gd name="connsiteY36" fmla="*/ 135783 h 1782873"/>
              <a:gd name="connsiteX37" fmla="*/ 2062907 w 4663705"/>
              <a:gd name="connsiteY37" fmla="*/ 154409 h 1782873"/>
              <a:gd name="connsiteX38" fmla="*/ 2140476 w 4663705"/>
              <a:gd name="connsiteY38" fmla="*/ 170548 h 1782873"/>
              <a:gd name="connsiteX39" fmla="*/ 2159044 w 4663705"/>
              <a:gd name="connsiteY39" fmla="*/ 150360 h 1782873"/>
              <a:gd name="connsiteX40" fmla="*/ 2171134 w 4663705"/>
              <a:gd name="connsiteY40" fmla="*/ 119645 h 1782873"/>
              <a:gd name="connsiteX41" fmla="*/ 2130643 w 4663705"/>
              <a:gd name="connsiteY41" fmla="*/ 101887 h 1782873"/>
              <a:gd name="connsiteX42" fmla="*/ 2110455 w 4663705"/>
              <a:gd name="connsiteY42" fmla="*/ 89797 h 1782873"/>
              <a:gd name="connsiteX43" fmla="*/ 2034910 w 4663705"/>
              <a:gd name="connsiteY43" fmla="*/ 105762 h 1782873"/>
              <a:gd name="connsiteX44" fmla="*/ 1630810 w 4663705"/>
              <a:gd name="connsiteY44" fmla="*/ 508011 h 1782873"/>
              <a:gd name="connsiteX45" fmla="*/ 1651807 w 4663705"/>
              <a:gd name="connsiteY45" fmla="*/ 499103 h 1782873"/>
              <a:gd name="connsiteX46" fmla="*/ 1631041 w 4663705"/>
              <a:gd name="connsiteY46" fmla="*/ 508011 h 1782873"/>
              <a:gd name="connsiteX47" fmla="*/ 1970877 w 4663705"/>
              <a:gd name="connsiteY47" fmla="*/ 25821 h 1782873"/>
              <a:gd name="connsiteX48" fmla="*/ 1934492 w 4663705"/>
              <a:gd name="connsiteY48" fmla="*/ 30623 h 1782873"/>
              <a:gd name="connsiteX49" fmla="*/ 1971108 w 4663705"/>
              <a:gd name="connsiteY49" fmla="*/ 25821 h 1782873"/>
              <a:gd name="connsiteX50" fmla="*/ 4347929 w 4663705"/>
              <a:gd name="connsiteY50" fmla="*/ 611379 h 1782873"/>
              <a:gd name="connsiteX51" fmla="*/ 4386685 w 4663705"/>
              <a:gd name="connsiteY51" fmla="*/ 610569 h 1782873"/>
              <a:gd name="connsiteX52" fmla="*/ 4444067 w 4663705"/>
              <a:gd name="connsiteY52" fmla="*/ 604091 h 1782873"/>
              <a:gd name="connsiteX53" fmla="*/ 4414162 w 4663705"/>
              <a:gd name="connsiteY53" fmla="*/ 580953 h 1782873"/>
              <a:gd name="connsiteX54" fmla="*/ 4348161 w 4663705"/>
              <a:gd name="connsiteY54" fmla="*/ 611379 h 1782873"/>
              <a:gd name="connsiteX55" fmla="*/ 2160143 w 4663705"/>
              <a:gd name="connsiteY55" fmla="*/ 219658 h 1782873"/>
              <a:gd name="connsiteX56" fmla="*/ 2231986 w 4663705"/>
              <a:gd name="connsiteY56" fmla="*/ 212369 h 1782873"/>
              <a:gd name="connsiteX57" fmla="*/ 2326503 w 4663705"/>
              <a:gd name="connsiteY57" fmla="*/ 180902 h 1782873"/>
              <a:gd name="connsiteX58" fmla="*/ 2290987 w 4663705"/>
              <a:gd name="connsiteY58" fmla="*/ 157764 h 1782873"/>
              <a:gd name="connsiteX59" fmla="*/ 2251364 w 4663705"/>
              <a:gd name="connsiteY59" fmla="*/ 165805 h 1782873"/>
              <a:gd name="connsiteX60" fmla="*/ 2254603 w 4663705"/>
              <a:gd name="connsiteY60" fmla="*/ 151286 h 1782873"/>
              <a:gd name="connsiteX61" fmla="*/ 2238464 w 4663705"/>
              <a:gd name="connsiteY61" fmla="*/ 133527 h 1782873"/>
              <a:gd name="connsiteX62" fmla="*/ 2209542 w 4663705"/>
              <a:gd name="connsiteY62" fmla="*/ 143997 h 1782873"/>
              <a:gd name="connsiteX63" fmla="*/ 2199824 w 4663705"/>
              <a:gd name="connsiteY63" fmla="*/ 165805 h 1782873"/>
              <a:gd name="connsiteX64" fmla="*/ 2179694 w 4663705"/>
              <a:gd name="connsiteY64" fmla="*/ 181191 h 1782873"/>
              <a:gd name="connsiteX65" fmla="*/ 2160143 w 4663705"/>
              <a:gd name="connsiteY65" fmla="*/ 219658 h 1782873"/>
              <a:gd name="connsiteX66" fmla="*/ 3202034 w 4663705"/>
              <a:gd name="connsiteY66" fmla="*/ 386018 h 1782873"/>
              <a:gd name="connsiteX67" fmla="*/ 3223784 w 4663705"/>
              <a:gd name="connsiteY67" fmla="*/ 403834 h 1782873"/>
              <a:gd name="connsiteX68" fmla="*/ 3264275 w 4663705"/>
              <a:gd name="connsiteY68" fmla="*/ 397355 h 1782873"/>
              <a:gd name="connsiteX69" fmla="*/ 3290073 w 4663705"/>
              <a:gd name="connsiteY69" fmla="*/ 402214 h 1782873"/>
              <a:gd name="connsiteX70" fmla="*/ 3338604 w 4663705"/>
              <a:gd name="connsiteY70" fmla="*/ 397355 h 1782873"/>
              <a:gd name="connsiteX71" fmla="*/ 3336175 w 4663705"/>
              <a:gd name="connsiteY71" fmla="*/ 365830 h 1782873"/>
              <a:gd name="connsiteX72" fmla="*/ 3350694 w 4663705"/>
              <a:gd name="connsiteY72" fmla="*/ 370689 h 1782873"/>
              <a:gd name="connsiteX73" fmla="*/ 3386211 w 4663705"/>
              <a:gd name="connsiteY73" fmla="*/ 395736 h 1782873"/>
              <a:gd name="connsiteX74" fmla="*/ 3405646 w 4663705"/>
              <a:gd name="connsiteY74" fmla="*/ 372309 h 1782873"/>
              <a:gd name="connsiteX75" fmla="*/ 3398358 w 4663705"/>
              <a:gd name="connsiteY75" fmla="*/ 349171 h 1782873"/>
              <a:gd name="connsiteX76" fmla="*/ 3339356 w 4663705"/>
              <a:gd name="connsiteY76" fmla="*/ 337602 h 1782873"/>
              <a:gd name="connsiteX77" fmla="*/ 3300601 w 4663705"/>
              <a:gd name="connsiteY77" fmla="*/ 347262 h 1782873"/>
              <a:gd name="connsiteX78" fmla="*/ 3248079 w 4663705"/>
              <a:gd name="connsiteY78" fmla="*/ 322216 h 1782873"/>
              <a:gd name="connsiteX79" fmla="*/ 3202034 w 4663705"/>
              <a:gd name="connsiteY79" fmla="*/ 386018 h 1782873"/>
              <a:gd name="connsiteX80" fmla="*/ 3370824 w 4663705"/>
              <a:gd name="connsiteY80" fmla="*/ 489443 h 1782873"/>
              <a:gd name="connsiteX81" fmla="*/ 3335308 w 4663705"/>
              <a:gd name="connsiteY81" fmla="*/ 455489 h 1782873"/>
              <a:gd name="connsiteX82" fmla="*/ 3290016 w 4663705"/>
              <a:gd name="connsiteY82" fmla="*/ 476486 h 1782873"/>
              <a:gd name="connsiteX83" fmla="*/ 3370824 w 4663705"/>
              <a:gd name="connsiteY83" fmla="*/ 489443 h 1782873"/>
              <a:gd name="connsiteX84" fmla="*/ 3306212 w 4663705"/>
              <a:gd name="connsiteY84" fmla="*/ 436111 h 1782873"/>
              <a:gd name="connsiteX85" fmla="*/ 3280413 w 4663705"/>
              <a:gd name="connsiteY85" fmla="*/ 446639 h 1782873"/>
              <a:gd name="connsiteX86" fmla="*/ 3306212 w 4663705"/>
              <a:gd name="connsiteY86" fmla="*/ 436111 h 1782873"/>
              <a:gd name="connsiteX87" fmla="*/ 3446774 w 4663705"/>
              <a:gd name="connsiteY87" fmla="*/ 385208 h 1782873"/>
              <a:gd name="connsiteX88" fmla="*/ 3513005 w 4663705"/>
              <a:gd name="connsiteY88" fmla="*/ 407883 h 1782873"/>
              <a:gd name="connsiteX89" fmla="*/ 3578427 w 4663705"/>
              <a:gd name="connsiteY89" fmla="*/ 394926 h 1782873"/>
              <a:gd name="connsiteX90" fmla="*/ 3534003 w 4663705"/>
              <a:gd name="connsiteY90" fmla="*/ 381217 h 1782873"/>
              <a:gd name="connsiteX91" fmla="*/ 3502478 w 4663705"/>
              <a:gd name="connsiteY91" fmla="*/ 374738 h 1782873"/>
              <a:gd name="connsiteX92" fmla="*/ 3465341 w 4663705"/>
              <a:gd name="connsiteY92" fmla="*/ 366640 h 1782873"/>
              <a:gd name="connsiteX93" fmla="*/ 3446774 w 4663705"/>
              <a:gd name="connsiteY93" fmla="*/ 385208 h 1782873"/>
              <a:gd name="connsiteX94" fmla="*/ 748164 w 4663705"/>
              <a:gd name="connsiteY94" fmla="*/ 57289 h 1782873"/>
              <a:gd name="connsiteX95" fmla="*/ 794439 w 4663705"/>
              <a:gd name="connsiteY95" fmla="*/ 48381 h 1782873"/>
              <a:gd name="connsiteX96" fmla="*/ 746024 w 4663705"/>
              <a:gd name="connsiteY96" fmla="*/ 45199 h 1782873"/>
              <a:gd name="connsiteX97" fmla="*/ 704029 w 4663705"/>
              <a:gd name="connsiteY97" fmla="*/ 55669 h 1782873"/>
              <a:gd name="connsiteX98" fmla="*/ 748164 w 4663705"/>
              <a:gd name="connsiteY98" fmla="*/ 57289 h 1782873"/>
              <a:gd name="connsiteX99" fmla="*/ 3364346 w 4663705"/>
              <a:gd name="connsiteY99" fmla="*/ 1422414 h 1782873"/>
              <a:gd name="connsiteX100" fmla="*/ 3361106 w 4663705"/>
              <a:gd name="connsiteY100" fmla="*/ 1364223 h 1782873"/>
              <a:gd name="connsiteX101" fmla="*/ 3343290 w 4663705"/>
              <a:gd name="connsiteY101" fmla="*/ 1331946 h 1782873"/>
              <a:gd name="connsiteX102" fmla="*/ 3330391 w 4663705"/>
              <a:gd name="connsiteY102" fmla="*/ 1360231 h 1782873"/>
              <a:gd name="connsiteX103" fmla="*/ 3324607 w 4663705"/>
              <a:gd name="connsiteY103" fmla="*/ 1390137 h 1782873"/>
              <a:gd name="connsiteX104" fmla="*/ 3333514 w 4663705"/>
              <a:gd name="connsiteY104" fmla="*/ 1444221 h 1782873"/>
              <a:gd name="connsiteX105" fmla="*/ 3331085 w 4663705"/>
              <a:gd name="connsiteY105" fmla="*/ 1549267 h 1782873"/>
              <a:gd name="connsiteX106" fmla="*/ 3326226 w 4663705"/>
              <a:gd name="connsiteY106" fmla="*/ 1625968 h 1782873"/>
              <a:gd name="connsiteX107" fmla="*/ 3343984 w 4663705"/>
              <a:gd name="connsiteY107" fmla="*/ 1608210 h 1782873"/>
              <a:gd name="connsiteX108" fmla="*/ 3367122 w 4663705"/>
              <a:gd name="connsiteY108" fmla="*/ 1628398 h 1782873"/>
              <a:gd name="connsiteX109" fmla="*/ 3362321 w 4663705"/>
              <a:gd name="connsiteY109" fmla="*/ 1604161 h 1782873"/>
              <a:gd name="connsiteX110" fmla="*/ 3343695 w 4663705"/>
              <a:gd name="connsiteY110" fmla="*/ 1571826 h 1782873"/>
              <a:gd name="connsiteX111" fmla="*/ 3351793 w 4663705"/>
              <a:gd name="connsiteY111" fmla="*/ 1527402 h 1782873"/>
              <a:gd name="connsiteX112" fmla="*/ 3384128 w 4663705"/>
              <a:gd name="connsiteY112" fmla="*/ 1524162 h 1782873"/>
              <a:gd name="connsiteX113" fmla="*/ 3392978 w 4663705"/>
              <a:gd name="connsiteY113" fmla="*/ 1519361 h 1782873"/>
              <a:gd name="connsiteX114" fmla="*/ 3364403 w 4663705"/>
              <a:gd name="connsiteY114" fmla="*/ 1422298 h 1782873"/>
              <a:gd name="connsiteX115" fmla="*/ 824172 w 4663705"/>
              <a:gd name="connsiteY115" fmla="*/ 50058 h 1782873"/>
              <a:gd name="connsiteX116" fmla="*/ 787035 w 4663705"/>
              <a:gd name="connsiteY116" fmla="*/ 63767 h 1782873"/>
              <a:gd name="connsiteX117" fmla="*/ 761179 w 4663705"/>
              <a:gd name="connsiteY117" fmla="*/ 78286 h 1782873"/>
              <a:gd name="connsiteX118" fmla="*/ 806413 w 4663705"/>
              <a:gd name="connsiteY118" fmla="*/ 80716 h 1782873"/>
              <a:gd name="connsiteX119" fmla="*/ 828220 w 4663705"/>
              <a:gd name="connsiteY119" fmla="*/ 72617 h 1782873"/>
              <a:gd name="connsiteX120" fmla="*/ 860498 w 4663705"/>
              <a:gd name="connsiteY120" fmla="*/ 55669 h 1782873"/>
              <a:gd name="connsiteX121" fmla="*/ 862117 w 4663705"/>
              <a:gd name="connsiteY121" fmla="*/ 36291 h 1782873"/>
              <a:gd name="connsiteX122" fmla="*/ 824172 w 4663705"/>
              <a:gd name="connsiteY122" fmla="*/ 50058 h 1782873"/>
              <a:gd name="connsiteX123" fmla="*/ 789465 w 4663705"/>
              <a:gd name="connsiteY123" fmla="*/ 702657 h 1782873"/>
              <a:gd name="connsiteX124" fmla="*/ 840368 w 4663705"/>
              <a:gd name="connsiteY124" fmla="*/ 692130 h 1782873"/>
              <a:gd name="connsiteX125" fmla="*/ 816131 w 4663705"/>
              <a:gd name="connsiteY125" fmla="*/ 674372 h 1782873"/>
              <a:gd name="connsiteX126" fmla="*/ 789407 w 4663705"/>
              <a:gd name="connsiteY126" fmla="*/ 702657 h 1782873"/>
              <a:gd name="connsiteX127" fmla="*/ 4658438 w 4663705"/>
              <a:gd name="connsiteY127" fmla="*/ 840327 h 1782873"/>
              <a:gd name="connsiteX128" fmla="*/ 4617947 w 4663705"/>
              <a:gd name="connsiteY128" fmla="*/ 811405 h 1782873"/>
              <a:gd name="connsiteX129" fmla="*/ 4580406 w 4663705"/>
              <a:gd name="connsiteY129" fmla="*/ 802555 h 1782873"/>
              <a:gd name="connsiteX130" fmla="*/ 4567911 w 4663705"/>
              <a:gd name="connsiteY130" fmla="*/ 796076 h 1782873"/>
              <a:gd name="connsiteX131" fmla="*/ 4532337 w 4663705"/>
              <a:gd name="connsiteY131" fmla="*/ 795613 h 1782873"/>
              <a:gd name="connsiteX132" fmla="*/ 4544889 w 4663705"/>
              <a:gd name="connsiteY132" fmla="*/ 808223 h 1782873"/>
              <a:gd name="connsiteX133" fmla="*/ 4540783 w 4663705"/>
              <a:gd name="connsiteY133" fmla="*/ 825577 h 1782873"/>
              <a:gd name="connsiteX134" fmla="*/ 4523429 w 4663705"/>
              <a:gd name="connsiteY134" fmla="*/ 817941 h 1782873"/>
              <a:gd name="connsiteX135" fmla="*/ 4522272 w 4663705"/>
              <a:gd name="connsiteY135" fmla="*/ 790060 h 1782873"/>
              <a:gd name="connsiteX136" fmla="*/ 4511745 w 4663705"/>
              <a:gd name="connsiteY136" fmla="*/ 775541 h 1782873"/>
              <a:gd name="connsiteX137" fmla="*/ 4458875 w 4663705"/>
              <a:gd name="connsiteY137" fmla="*/ 744421 h 1782873"/>
              <a:gd name="connsiteX138" fmla="*/ 4418384 w 4663705"/>
              <a:gd name="connsiteY138" fmla="*/ 724233 h 1782873"/>
              <a:gd name="connsiteX139" fmla="*/ 4375232 w 4663705"/>
              <a:gd name="connsiteY139" fmla="*/ 704451 h 1782873"/>
              <a:gd name="connsiteX140" fmla="*/ 4298878 w 4663705"/>
              <a:gd name="connsiteY140" fmla="*/ 672926 h 1782873"/>
              <a:gd name="connsiteX141" fmla="*/ 4273831 w 4663705"/>
              <a:gd name="connsiteY141" fmla="*/ 662456 h 1782873"/>
              <a:gd name="connsiteX142" fmla="*/ 4209624 w 4663705"/>
              <a:gd name="connsiteY142" fmla="*/ 660026 h 1782873"/>
              <a:gd name="connsiteX143" fmla="*/ 4184577 w 4663705"/>
              <a:gd name="connsiteY143" fmla="*/ 664018 h 1782873"/>
              <a:gd name="connsiteX144" fmla="*/ 4121585 w 4663705"/>
              <a:gd name="connsiteY144" fmla="*/ 649499 h 1782873"/>
              <a:gd name="connsiteX145" fmla="*/ 4112677 w 4663705"/>
              <a:gd name="connsiteY145" fmla="*/ 666852 h 1782873"/>
              <a:gd name="connsiteX146" fmla="*/ 4126039 w 4663705"/>
              <a:gd name="connsiteY146" fmla="*/ 688659 h 1782873"/>
              <a:gd name="connsiteX147" fmla="*/ 4119156 w 4663705"/>
              <a:gd name="connsiteY147" fmla="*/ 715325 h 1782873"/>
              <a:gd name="connsiteX148" fmla="*/ 4081615 w 4663705"/>
              <a:gd name="connsiteY148" fmla="*/ 701211 h 1782873"/>
              <a:gd name="connsiteX149" fmla="*/ 4054949 w 4663705"/>
              <a:gd name="connsiteY149" fmla="*/ 683858 h 1782873"/>
              <a:gd name="connsiteX150" fmla="*/ 4067906 w 4663705"/>
              <a:gd name="connsiteY150" fmla="*/ 676570 h 1782873"/>
              <a:gd name="connsiteX151" fmla="*/ 4085201 w 4663705"/>
              <a:gd name="connsiteY151" fmla="*/ 675338 h 1782873"/>
              <a:gd name="connsiteX152" fmla="*/ 4088093 w 4663705"/>
              <a:gd name="connsiteY152" fmla="*/ 668934 h 1782873"/>
              <a:gd name="connsiteX153" fmla="*/ 4053733 w 4663705"/>
              <a:gd name="connsiteY153" fmla="*/ 654762 h 1782873"/>
              <a:gd name="connsiteX154" fmla="*/ 4021456 w 4663705"/>
              <a:gd name="connsiteY154" fmla="*/ 680214 h 1782873"/>
              <a:gd name="connsiteX155" fmla="*/ 3953200 w 4663705"/>
              <a:gd name="connsiteY155" fmla="*/ 672521 h 1782873"/>
              <a:gd name="connsiteX156" fmla="*/ 3870772 w 4663705"/>
              <a:gd name="connsiteY156" fmla="*/ 677380 h 1782873"/>
              <a:gd name="connsiteX157" fmla="*/ 3864987 w 4663705"/>
              <a:gd name="connsiteY157" fmla="*/ 702831 h 1782873"/>
              <a:gd name="connsiteX158" fmla="*/ 3857699 w 4663705"/>
              <a:gd name="connsiteY158" fmla="*/ 676570 h 1782873"/>
              <a:gd name="connsiteX159" fmla="*/ 3836701 w 4663705"/>
              <a:gd name="connsiteY159" fmla="*/ 668934 h 1782873"/>
              <a:gd name="connsiteX160" fmla="*/ 3822125 w 4663705"/>
              <a:gd name="connsiteY160" fmla="*/ 663150 h 1782873"/>
              <a:gd name="connsiteX161" fmla="*/ 3826984 w 4663705"/>
              <a:gd name="connsiteY161" fmla="*/ 645797 h 1782873"/>
              <a:gd name="connsiteX162" fmla="*/ 3782559 w 4663705"/>
              <a:gd name="connsiteY162" fmla="*/ 606983 h 1782873"/>
              <a:gd name="connsiteX163" fmla="*/ 3679192 w 4663705"/>
              <a:gd name="connsiteY163" fmla="*/ 607388 h 1782873"/>
              <a:gd name="connsiteX164" fmla="*/ 3615563 w 4663705"/>
              <a:gd name="connsiteY164" fmla="*/ 611032 h 1782873"/>
              <a:gd name="connsiteX165" fmla="*/ 3608274 w 4663705"/>
              <a:gd name="connsiteY165" fmla="*/ 597728 h 1782873"/>
              <a:gd name="connsiteX166" fmla="*/ 3573973 w 4663705"/>
              <a:gd name="connsiteY166" fmla="*/ 587605 h 1782873"/>
              <a:gd name="connsiteX167" fmla="*/ 3563445 w 4663705"/>
              <a:gd name="connsiteY167" fmla="*/ 583151 h 1782873"/>
              <a:gd name="connsiteX168" fmla="*/ 3529144 w 4663705"/>
              <a:gd name="connsiteY168" fmla="*/ 571582 h 1782873"/>
              <a:gd name="connsiteX169" fmla="*/ 3526310 w 4663705"/>
              <a:gd name="connsiteY169" fmla="*/ 562674 h 1782873"/>
              <a:gd name="connsiteX170" fmla="*/ 3548522 w 4663705"/>
              <a:gd name="connsiteY170" fmla="*/ 552205 h 1782873"/>
              <a:gd name="connsiteX171" fmla="*/ 3460483 w 4663705"/>
              <a:gd name="connsiteY171" fmla="*/ 537686 h 1782873"/>
              <a:gd name="connsiteX172" fmla="*/ 3444344 w 4663705"/>
              <a:gd name="connsiteY172" fmla="*/ 564294 h 1782873"/>
              <a:gd name="connsiteX173" fmla="*/ 3415422 w 4663705"/>
              <a:gd name="connsiteY173" fmla="*/ 561865 h 1782873"/>
              <a:gd name="connsiteX174" fmla="*/ 3436825 w 4663705"/>
              <a:gd name="connsiteY174" fmla="*/ 548560 h 1782873"/>
              <a:gd name="connsiteX175" fmla="*/ 3406167 w 4663705"/>
              <a:gd name="connsiteY175" fmla="*/ 539247 h 1782873"/>
              <a:gd name="connsiteX176" fmla="*/ 3421496 w 4663705"/>
              <a:gd name="connsiteY176" fmla="*/ 532017 h 1782873"/>
              <a:gd name="connsiteX177" fmla="*/ 3448914 w 4663705"/>
              <a:gd name="connsiteY177" fmla="*/ 532017 h 1782873"/>
              <a:gd name="connsiteX178" fmla="*/ 3422710 w 4663705"/>
              <a:gd name="connsiteY178" fmla="*/ 523919 h 1782873"/>
              <a:gd name="connsiteX179" fmla="*/ 3346761 w 4663705"/>
              <a:gd name="connsiteY179" fmla="*/ 513854 h 1782873"/>
              <a:gd name="connsiteX180" fmla="*/ 3305633 w 4663705"/>
              <a:gd name="connsiteY180" fmla="*/ 505351 h 1782873"/>
              <a:gd name="connsiteX181" fmla="*/ 3299502 w 4663705"/>
              <a:gd name="connsiteY181" fmla="*/ 517845 h 1782873"/>
              <a:gd name="connsiteX182" fmla="*/ 3275323 w 4663705"/>
              <a:gd name="connsiteY182" fmla="*/ 526348 h 1782873"/>
              <a:gd name="connsiteX183" fmla="*/ 3250277 w 4663705"/>
              <a:gd name="connsiteY183" fmla="*/ 543297 h 1782873"/>
              <a:gd name="connsiteX184" fmla="*/ 3272026 w 4663705"/>
              <a:gd name="connsiteY184" fmla="*/ 543701 h 1782873"/>
              <a:gd name="connsiteX185" fmla="*/ 3264795 w 4663705"/>
              <a:gd name="connsiteY185" fmla="*/ 558278 h 1782873"/>
              <a:gd name="connsiteX186" fmla="*/ 3273299 w 4663705"/>
              <a:gd name="connsiteY186" fmla="*/ 576846 h 1782873"/>
              <a:gd name="connsiteX187" fmla="*/ 3251086 w 4663705"/>
              <a:gd name="connsiteY187" fmla="*/ 576846 h 1782873"/>
              <a:gd name="connsiteX188" fmla="*/ 3225172 w 4663705"/>
              <a:gd name="connsiteY188" fmla="*/ 575227 h 1782873"/>
              <a:gd name="connsiteX189" fmla="*/ 3217595 w 4663705"/>
              <a:gd name="connsiteY189" fmla="*/ 581011 h 1782873"/>
              <a:gd name="connsiteX190" fmla="*/ 3217595 w 4663705"/>
              <a:gd name="connsiteY190" fmla="*/ 591944 h 1782873"/>
              <a:gd name="connsiteX191" fmla="*/ 3195787 w 4663705"/>
              <a:gd name="connsiteY191" fmla="*/ 578986 h 1782873"/>
              <a:gd name="connsiteX192" fmla="*/ 3153734 w 4663705"/>
              <a:gd name="connsiteY192" fmla="*/ 571756 h 1782873"/>
              <a:gd name="connsiteX193" fmla="*/ 3122209 w 4663705"/>
              <a:gd name="connsiteY193" fmla="*/ 582226 h 1782873"/>
              <a:gd name="connsiteX194" fmla="*/ 3081024 w 4663705"/>
              <a:gd name="connsiteY194" fmla="*/ 566492 h 1782873"/>
              <a:gd name="connsiteX195" fmla="*/ 3065696 w 4663705"/>
              <a:gd name="connsiteY195" fmla="*/ 565277 h 1782873"/>
              <a:gd name="connsiteX196" fmla="*/ 3050771 w 4663705"/>
              <a:gd name="connsiteY196" fmla="*/ 593563 h 1782873"/>
              <a:gd name="connsiteX197" fmla="*/ 3033418 w 4663705"/>
              <a:gd name="connsiteY197" fmla="*/ 614561 h 1782873"/>
              <a:gd name="connsiteX198" fmla="*/ 3016412 w 4663705"/>
              <a:gd name="connsiteY198" fmla="*/ 609297 h 1782873"/>
              <a:gd name="connsiteX199" fmla="*/ 2975632 w 4663705"/>
              <a:gd name="connsiteY199" fmla="*/ 572566 h 1782873"/>
              <a:gd name="connsiteX200" fmla="*/ 2950643 w 4663705"/>
              <a:gd name="connsiteY200" fmla="*/ 544685 h 1782873"/>
              <a:gd name="connsiteX201" fmla="*/ 2961518 w 4663705"/>
              <a:gd name="connsiteY201" fmla="*/ 545090 h 1782873"/>
              <a:gd name="connsiteX202" fmla="*/ 2981301 w 4663705"/>
              <a:gd name="connsiteY202" fmla="*/ 547114 h 1782873"/>
              <a:gd name="connsiteX203" fmla="*/ 2976037 w 4663705"/>
              <a:gd name="connsiteY203" fmla="*/ 528546 h 1782873"/>
              <a:gd name="connsiteX204" fmla="*/ 2974822 w 4663705"/>
              <a:gd name="connsiteY204" fmla="*/ 517614 h 1782873"/>
              <a:gd name="connsiteX205" fmla="*/ 2969037 w 4663705"/>
              <a:gd name="connsiteY205" fmla="*/ 498641 h 1782873"/>
              <a:gd name="connsiteX206" fmla="*/ 2963832 w 4663705"/>
              <a:gd name="connsiteY206" fmla="*/ 488981 h 1782873"/>
              <a:gd name="connsiteX207" fmla="*/ 2945205 w 4663705"/>
              <a:gd name="connsiteY207" fmla="*/ 476024 h 1782873"/>
              <a:gd name="connsiteX208" fmla="*/ 2908880 w 4663705"/>
              <a:gd name="connsiteY208" fmla="*/ 476429 h 1782873"/>
              <a:gd name="connsiteX209" fmla="*/ 2898815 w 4663705"/>
              <a:gd name="connsiteY209" fmla="*/ 475619 h 1782873"/>
              <a:gd name="connsiteX210" fmla="*/ 2867637 w 4663705"/>
              <a:gd name="connsiteY210" fmla="*/ 467173 h 1782873"/>
              <a:gd name="connsiteX211" fmla="*/ 2843458 w 4663705"/>
              <a:gd name="connsiteY211" fmla="*/ 449010 h 1782873"/>
              <a:gd name="connsiteX212" fmla="*/ 2830558 w 4663705"/>
              <a:gd name="connsiteY212" fmla="*/ 462315 h 1782873"/>
              <a:gd name="connsiteX213" fmla="*/ 2816676 w 4663705"/>
              <a:gd name="connsiteY213" fmla="*/ 466398 h 1782873"/>
              <a:gd name="connsiteX214" fmla="*/ 2816791 w 4663705"/>
              <a:gd name="connsiteY214" fmla="*/ 476429 h 1782873"/>
              <a:gd name="connsiteX215" fmla="*/ 2816387 w 4663705"/>
              <a:gd name="connsiteY215" fmla="*/ 497021 h 1782873"/>
              <a:gd name="connsiteX216" fmla="*/ 2800248 w 4663705"/>
              <a:gd name="connsiteY216" fmla="*/ 498236 h 1782873"/>
              <a:gd name="connsiteX217" fmla="*/ 2767103 w 4663705"/>
              <a:gd name="connsiteY217" fmla="*/ 501475 h 1782873"/>
              <a:gd name="connsiteX218" fmla="*/ 2730430 w 4663705"/>
              <a:gd name="connsiteY218" fmla="*/ 494592 h 1782873"/>
              <a:gd name="connsiteX219" fmla="*/ 2718861 w 4663705"/>
              <a:gd name="connsiteY219" fmla="*/ 492625 h 1782873"/>
              <a:gd name="connsiteX220" fmla="*/ 2680511 w 4663705"/>
              <a:gd name="connsiteY220" fmla="*/ 487361 h 1782873"/>
              <a:gd name="connsiteX221" fmla="*/ 2692079 w 4663705"/>
              <a:gd name="connsiteY221" fmla="*/ 474462 h 1782873"/>
              <a:gd name="connsiteX222" fmla="*/ 2667438 w 4663705"/>
              <a:gd name="connsiteY222" fmla="*/ 469603 h 1782873"/>
              <a:gd name="connsiteX223" fmla="*/ 2616939 w 4663705"/>
              <a:gd name="connsiteY223" fmla="*/ 461910 h 1782873"/>
              <a:gd name="connsiteX224" fmla="*/ 2548278 w 4663705"/>
              <a:gd name="connsiteY224" fmla="*/ 470760 h 1782873"/>
              <a:gd name="connsiteX225" fmla="*/ 2544692 w 4663705"/>
              <a:gd name="connsiteY225" fmla="*/ 485337 h 1782873"/>
              <a:gd name="connsiteX226" fmla="*/ 2540238 w 4663705"/>
              <a:gd name="connsiteY226" fmla="*/ 458670 h 1782873"/>
              <a:gd name="connsiteX227" fmla="*/ 2526528 w 4663705"/>
              <a:gd name="connsiteY227" fmla="*/ 455431 h 1782873"/>
              <a:gd name="connsiteX228" fmla="*/ 2498243 w 4663705"/>
              <a:gd name="connsiteY228" fmla="*/ 459480 h 1782873"/>
              <a:gd name="connsiteX229" fmla="*/ 2466718 w 4663705"/>
              <a:gd name="connsiteY229" fmla="*/ 443342 h 1782873"/>
              <a:gd name="connsiteX230" fmla="*/ 2436061 w 4663705"/>
              <a:gd name="connsiteY230" fmla="*/ 461100 h 1782873"/>
              <a:gd name="connsiteX231" fmla="*/ 2452604 w 4663705"/>
              <a:gd name="connsiteY231" fmla="*/ 465554 h 1782873"/>
              <a:gd name="connsiteX232" fmla="*/ 2419112 w 4663705"/>
              <a:gd name="connsiteY232" fmla="*/ 475214 h 1782873"/>
              <a:gd name="connsiteX233" fmla="*/ 2377522 w 4663705"/>
              <a:gd name="connsiteY233" fmla="*/ 489791 h 1782873"/>
              <a:gd name="connsiteX234" fmla="*/ 2332693 w 4663705"/>
              <a:gd name="connsiteY234" fmla="*/ 503500 h 1782873"/>
              <a:gd name="connsiteX235" fmla="*/ 2339518 w 4663705"/>
              <a:gd name="connsiteY235" fmla="*/ 484527 h 1782873"/>
              <a:gd name="connsiteX236" fmla="*/ 2364970 w 4663705"/>
              <a:gd name="connsiteY236" fmla="*/ 471222 h 1782873"/>
              <a:gd name="connsiteX237" fmla="*/ 2394876 w 4663705"/>
              <a:gd name="connsiteY237" fmla="*/ 461910 h 1782873"/>
              <a:gd name="connsiteX238" fmla="*/ 2416682 w 4663705"/>
              <a:gd name="connsiteY238" fmla="*/ 447391 h 1782873"/>
              <a:gd name="connsiteX239" fmla="*/ 2444910 w 4663705"/>
              <a:gd name="connsiteY239" fmla="*/ 430037 h 1782873"/>
              <a:gd name="connsiteX240" fmla="*/ 2491765 w 4663705"/>
              <a:gd name="connsiteY240" fmla="*/ 411064 h 1782873"/>
              <a:gd name="connsiteX241" fmla="*/ 2504664 w 4663705"/>
              <a:gd name="connsiteY241" fmla="*/ 396545 h 1782873"/>
              <a:gd name="connsiteX242" fmla="*/ 2537809 w 4663705"/>
              <a:gd name="connsiteY242" fmla="*/ 383646 h 1782873"/>
              <a:gd name="connsiteX243" fmla="*/ 2550361 w 4663705"/>
              <a:gd name="connsiteY243" fmla="*/ 367045 h 1782873"/>
              <a:gd name="connsiteX244" fmla="*/ 2538213 w 4663705"/>
              <a:gd name="connsiteY244" fmla="*/ 357790 h 1782873"/>
              <a:gd name="connsiteX245" fmla="*/ 2551922 w 4663705"/>
              <a:gd name="connsiteY245" fmla="*/ 352931 h 1782873"/>
              <a:gd name="connsiteX246" fmla="*/ 2545097 w 4663705"/>
              <a:gd name="connsiteY246" fmla="*/ 340437 h 1782873"/>
              <a:gd name="connsiteX247" fmla="*/ 2542667 w 4663705"/>
              <a:gd name="connsiteY247" fmla="*/ 327075 h 1782873"/>
              <a:gd name="connsiteX248" fmla="*/ 2524851 w 4663705"/>
              <a:gd name="connsiteY248" fmla="*/ 323835 h 1782873"/>
              <a:gd name="connsiteX249" fmla="*/ 2519067 w 4663705"/>
              <a:gd name="connsiteY249" fmla="*/ 301623 h 1782873"/>
              <a:gd name="connsiteX250" fmla="*/ 2495235 w 4663705"/>
              <a:gd name="connsiteY250" fmla="*/ 302433 h 1782873"/>
              <a:gd name="connsiteX251" fmla="*/ 2455669 w 4663705"/>
              <a:gd name="connsiteY251" fmla="*/ 293178 h 1782873"/>
              <a:gd name="connsiteX252" fmla="*/ 2438721 w 4663705"/>
              <a:gd name="connsiteY252" fmla="*/ 291500 h 1782873"/>
              <a:gd name="connsiteX253" fmla="*/ 2405171 w 4663705"/>
              <a:gd name="connsiteY253" fmla="*/ 292368 h 1782873"/>
              <a:gd name="connsiteX254" fmla="*/ 2387413 w 4663705"/>
              <a:gd name="connsiteY254" fmla="*/ 302433 h 1782873"/>
              <a:gd name="connsiteX255" fmla="*/ 2353054 w 4663705"/>
              <a:gd name="connsiteY255" fmla="*/ 305672 h 1782873"/>
              <a:gd name="connsiteX256" fmla="*/ 2372894 w 4663705"/>
              <a:gd name="connsiteY256" fmla="*/ 280221 h 1782873"/>
              <a:gd name="connsiteX257" fmla="*/ 2328065 w 4663705"/>
              <a:gd name="connsiteY257" fmla="*/ 277039 h 1782873"/>
              <a:gd name="connsiteX258" fmla="*/ 2295730 w 4663705"/>
              <a:gd name="connsiteY258" fmla="*/ 272180 h 1782873"/>
              <a:gd name="connsiteX259" fmla="*/ 2303828 w 4663705"/>
              <a:gd name="connsiteY259" fmla="*/ 268941 h 1782873"/>
              <a:gd name="connsiteX260" fmla="*/ 2329280 w 4663705"/>
              <a:gd name="connsiteY260" fmla="*/ 259223 h 1782873"/>
              <a:gd name="connsiteX261" fmla="*/ 2332519 w 4663705"/>
              <a:gd name="connsiteY261" fmla="*/ 248753 h 1782873"/>
              <a:gd name="connsiteX262" fmla="*/ 2309382 w 4663705"/>
              <a:gd name="connsiteY262" fmla="*/ 242969 h 1782873"/>
              <a:gd name="connsiteX263" fmla="*/ 2280459 w 4663705"/>
              <a:gd name="connsiteY263" fmla="*/ 235738 h 1782873"/>
              <a:gd name="connsiteX264" fmla="*/ 2244538 w 4663705"/>
              <a:gd name="connsiteY264" fmla="*/ 243374 h 1782873"/>
              <a:gd name="connsiteX265" fmla="*/ 2214227 w 4663705"/>
              <a:gd name="connsiteY265" fmla="*/ 265991 h 1782873"/>
              <a:gd name="connsiteX266" fmla="*/ 2195659 w 4663705"/>
              <a:gd name="connsiteY266" fmla="*/ 289765 h 1782873"/>
              <a:gd name="connsiteX267" fmla="*/ 2200923 w 4663705"/>
              <a:gd name="connsiteY267" fmla="*/ 301334 h 1782873"/>
              <a:gd name="connsiteX268" fmla="*/ 2185537 w 4663705"/>
              <a:gd name="connsiteY268" fmla="*/ 306193 h 1782873"/>
              <a:gd name="connsiteX269" fmla="*/ 2143947 w 4663705"/>
              <a:gd name="connsiteY269" fmla="*/ 311977 h 1782873"/>
              <a:gd name="connsiteX270" fmla="*/ 2161763 w 4663705"/>
              <a:gd name="connsiteY270" fmla="*/ 325686 h 1782873"/>
              <a:gd name="connsiteX271" fmla="*/ 2141113 w 4663705"/>
              <a:gd name="connsiteY271" fmla="*/ 321695 h 1782873"/>
              <a:gd name="connsiteX272" fmla="*/ 2117338 w 4663705"/>
              <a:gd name="connsiteY272" fmla="*/ 326901 h 1782873"/>
              <a:gd name="connsiteX273" fmla="*/ 2099522 w 4663705"/>
              <a:gd name="connsiteY273" fmla="*/ 330545 h 1782873"/>
              <a:gd name="connsiteX274" fmla="*/ 2081764 w 4663705"/>
              <a:gd name="connsiteY274" fmla="*/ 331760 h 1782873"/>
              <a:gd name="connsiteX275" fmla="*/ 2089399 w 4663705"/>
              <a:gd name="connsiteY275" fmla="*/ 316373 h 1782873"/>
              <a:gd name="connsiteX276" fmla="*/ 2063543 w 4663705"/>
              <a:gd name="connsiteY276" fmla="*/ 323257 h 1782873"/>
              <a:gd name="connsiteX277" fmla="*/ 2045380 w 4663705"/>
              <a:gd name="connsiteY277" fmla="*/ 320480 h 1782873"/>
              <a:gd name="connsiteX278" fmla="*/ 2027621 w 4663705"/>
              <a:gd name="connsiteY278" fmla="*/ 329330 h 1782873"/>
              <a:gd name="connsiteX279" fmla="*/ 2001361 w 4663705"/>
              <a:gd name="connsiteY279" fmla="*/ 331760 h 1782873"/>
              <a:gd name="connsiteX280" fmla="*/ 2017962 w 4663705"/>
              <a:gd name="connsiteY280" fmla="*/ 343329 h 1782873"/>
              <a:gd name="connsiteX281" fmla="*/ 1972727 w 4663705"/>
              <a:gd name="connsiteY281" fmla="*/ 350212 h 1782873"/>
              <a:gd name="connsiteX282" fmla="*/ 1938368 w 4663705"/>
              <a:gd name="connsiteY282" fmla="*/ 355071 h 1782873"/>
              <a:gd name="connsiteX283" fmla="*/ 1912916 w 4663705"/>
              <a:gd name="connsiteY283" fmla="*/ 367161 h 1782873"/>
              <a:gd name="connsiteX284" fmla="*/ 1887118 w 4663705"/>
              <a:gd name="connsiteY284" fmla="*/ 377688 h 1782873"/>
              <a:gd name="connsiteX285" fmla="*/ 1867625 w 4663705"/>
              <a:gd name="connsiteY285" fmla="*/ 381685 h 1782873"/>
              <a:gd name="connsiteX286" fmla="*/ 1866121 w 4663705"/>
              <a:gd name="connsiteY286" fmla="*/ 380523 h 1782873"/>
              <a:gd name="connsiteX287" fmla="*/ 1855188 w 4663705"/>
              <a:gd name="connsiteY287" fmla="*/ 384167 h 1782873"/>
              <a:gd name="connsiteX288" fmla="*/ 1851139 w 4663705"/>
              <a:gd name="connsiteY288" fmla="*/ 390588 h 1782873"/>
              <a:gd name="connsiteX289" fmla="*/ 1841074 w 4663705"/>
              <a:gd name="connsiteY289" fmla="*/ 397471 h 1782873"/>
              <a:gd name="connsiteX290" fmla="*/ 1848304 w 4663705"/>
              <a:gd name="connsiteY290" fmla="*/ 407189 h 1782873"/>
              <a:gd name="connsiteX291" fmla="*/ 1825166 w 4663705"/>
              <a:gd name="connsiteY291" fmla="*/ 405974 h 1782873"/>
              <a:gd name="connsiteX292" fmla="*/ 1840149 w 4663705"/>
              <a:gd name="connsiteY292" fmla="*/ 414419 h 1782873"/>
              <a:gd name="connsiteX293" fmla="*/ 1852180 w 4663705"/>
              <a:gd name="connsiteY293" fmla="*/ 423206 h 1782873"/>
              <a:gd name="connsiteX294" fmla="*/ 1852238 w 4663705"/>
              <a:gd name="connsiteY294" fmla="*/ 423732 h 1782873"/>
              <a:gd name="connsiteX295" fmla="*/ 1831646 w 4663705"/>
              <a:gd name="connsiteY295" fmla="*/ 424947 h 1782873"/>
              <a:gd name="connsiteX296" fmla="*/ 1842173 w 4663705"/>
              <a:gd name="connsiteY296" fmla="*/ 432178 h 1782873"/>
              <a:gd name="connsiteX297" fmla="*/ 1851023 w 4663705"/>
              <a:gd name="connsiteY297" fmla="*/ 441895 h 1782873"/>
              <a:gd name="connsiteX298" fmla="*/ 1852354 w 4663705"/>
              <a:gd name="connsiteY298" fmla="*/ 443226 h 1782873"/>
              <a:gd name="connsiteX299" fmla="*/ 1849461 w 4663705"/>
              <a:gd name="connsiteY299" fmla="*/ 454795 h 1782873"/>
              <a:gd name="connsiteX300" fmla="*/ 1841768 w 4663705"/>
              <a:gd name="connsiteY300" fmla="*/ 457224 h 1782873"/>
              <a:gd name="connsiteX301" fmla="*/ 1815912 w 4663705"/>
              <a:gd name="connsiteY301" fmla="*/ 456009 h 1782873"/>
              <a:gd name="connsiteX302" fmla="*/ 1803012 w 4663705"/>
              <a:gd name="connsiteY302" fmla="*/ 460463 h 1782873"/>
              <a:gd name="connsiteX303" fmla="*/ 1762521 w 4663705"/>
              <a:gd name="connsiteY303" fmla="*/ 462488 h 1782873"/>
              <a:gd name="connsiteX304" fmla="*/ 1691836 w 4663705"/>
              <a:gd name="connsiteY304" fmla="*/ 468562 h 1782873"/>
              <a:gd name="connsiteX305" fmla="*/ 1682523 w 4663705"/>
              <a:gd name="connsiteY305" fmla="*/ 495575 h 1782873"/>
              <a:gd name="connsiteX306" fmla="*/ 1682928 w 4663705"/>
              <a:gd name="connsiteY306" fmla="*/ 514953 h 1782873"/>
              <a:gd name="connsiteX307" fmla="*/ 1720064 w 4663705"/>
              <a:gd name="connsiteY307" fmla="*/ 534793 h 1782873"/>
              <a:gd name="connsiteX308" fmla="*/ 1735855 w 4663705"/>
              <a:gd name="connsiteY308" fmla="*/ 561402 h 1782873"/>
              <a:gd name="connsiteX309" fmla="*/ 1689580 w 4663705"/>
              <a:gd name="connsiteY309" fmla="*/ 546478 h 1782873"/>
              <a:gd name="connsiteX310" fmla="*/ 1626935 w 4663705"/>
              <a:gd name="connsiteY310" fmla="*/ 530339 h 1782873"/>
              <a:gd name="connsiteX311" fmla="*/ 1607210 w 4663705"/>
              <a:gd name="connsiteY311" fmla="*/ 520217 h 1782873"/>
              <a:gd name="connsiteX312" fmla="*/ 1589856 w 4663705"/>
              <a:gd name="connsiteY312" fmla="*/ 533984 h 1782873"/>
              <a:gd name="connsiteX313" fmla="*/ 1601425 w 4663705"/>
              <a:gd name="connsiteY313" fmla="*/ 537975 h 1782873"/>
              <a:gd name="connsiteX314" fmla="*/ 1616349 w 4663705"/>
              <a:gd name="connsiteY314" fmla="*/ 546883 h 1782873"/>
              <a:gd name="connsiteX315" fmla="*/ 1593732 w 4663705"/>
              <a:gd name="connsiteY315" fmla="*/ 550932 h 1782873"/>
              <a:gd name="connsiteX316" fmla="*/ 1564289 w 4663705"/>
              <a:gd name="connsiteY316" fmla="*/ 556890 h 1782873"/>
              <a:gd name="connsiteX317" fmla="*/ 1564231 w 4663705"/>
              <a:gd name="connsiteY317" fmla="*/ 557006 h 1782873"/>
              <a:gd name="connsiteX318" fmla="*/ 1600557 w 4663705"/>
              <a:gd name="connsiteY318" fmla="*/ 585234 h 1782873"/>
              <a:gd name="connsiteX319" fmla="*/ 1625257 w 4663705"/>
              <a:gd name="connsiteY319" fmla="*/ 598943 h 1782873"/>
              <a:gd name="connsiteX320" fmla="*/ 1621208 w 4663705"/>
              <a:gd name="connsiteY320" fmla="*/ 607041 h 1782873"/>
              <a:gd name="connsiteX321" fmla="*/ 1589741 w 4663705"/>
              <a:gd name="connsiteY321" fmla="*/ 590902 h 1782873"/>
              <a:gd name="connsiteX322" fmla="*/ 1543465 w 4663705"/>
              <a:gd name="connsiteY322" fmla="*/ 586853 h 1782873"/>
              <a:gd name="connsiteX323" fmla="*/ 1541787 w 4663705"/>
              <a:gd name="connsiteY323" fmla="*/ 569095 h 1782873"/>
              <a:gd name="connsiteX324" fmla="*/ 1548324 w 4663705"/>
              <a:gd name="connsiteY324" fmla="*/ 542024 h 1782873"/>
              <a:gd name="connsiteX325" fmla="*/ 1536755 w 4663705"/>
              <a:gd name="connsiteY325" fmla="*/ 508127 h 1782873"/>
              <a:gd name="connsiteX326" fmla="*/ 1529524 w 4663705"/>
              <a:gd name="connsiteY326" fmla="*/ 519002 h 1782873"/>
              <a:gd name="connsiteX327" fmla="*/ 1522641 w 4663705"/>
              <a:gd name="connsiteY327" fmla="*/ 547924 h 1782873"/>
              <a:gd name="connsiteX328" fmla="*/ 1489901 w 4663705"/>
              <a:gd name="connsiteY328" fmla="*/ 564872 h 1782873"/>
              <a:gd name="connsiteX329" fmla="*/ 1479026 w 4663705"/>
              <a:gd name="connsiteY329" fmla="*/ 581821 h 1782873"/>
              <a:gd name="connsiteX330" fmla="*/ 1510147 w 4663705"/>
              <a:gd name="connsiteY330" fmla="*/ 619420 h 1782873"/>
              <a:gd name="connsiteX331" fmla="*/ 1493951 w 4663705"/>
              <a:gd name="connsiteY331" fmla="*/ 665695 h 1782873"/>
              <a:gd name="connsiteX332" fmla="*/ 1495165 w 4663705"/>
              <a:gd name="connsiteY332" fmla="*/ 693113 h 1782873"/>
              <a:gd name="connsiteX333" fmla="*/ 1516163 w 4663705"/>
              <a:gd name="connsiteY333" fmla="*/ 696815 h 1782873"/>
              <a:gd name="connsiteX334" fmla="*/ 1548093 w 4663705"/>
              <a:gd name="connsiteY334" fmla="*/ 689874 h 1782873"/>
              <a:gd name="connsiteX335" fmla="*/ 1600557 w 4663705"/>
              <a:gd name="connsiteY335" fmla="*/ 707690 h 1782873"/>
              <a:gd name="connsiteX336" fmla="*/ 1610680 w 4663705"/>
              <a:gd name="connsiteY336" fmla="*/ 728687 h 1782873"/>
              <a:gd name="connsiteX337" fmla="*/ 1598128 w 4663705"/>
              <a:gd name="connsiteY337" fmla="*/ 748875 h 1782873"/>
              <a:gd name="connsiteX338" fmla="*/ 1629653 w 4663705"/>
              <a:gd name="connsiteY338" fmla="*/ 769873 h 1782873"/>
              <a:gd name="connsiteX339" fmla="*/ 1598938 w 4663705"/>
              <a:gd name="connsiteY339" fmla="*/ 767443 h 1782873"/>
              <a:gd name="connsiteX340" fmla="*/ 1586502 w 4663705"/>
              <a:gd name="connsiteY340" fmla="*/ 750090 h 1782873"/>
              <a:gd name="connsiteX341" fmla="*/ 1593269 w 4663705"/>
              <a:gd name="connsiteY341" fmla="*/ 730249 h 1782873"/>
              <a:gd name="connsiteX342" fmla="*/ 1579618 w 4663705"/>
              <a:gd name="connsiteY342" fmla="*/ 712896 h 1782873"/>
              <a:gd name="connsiteX343" fmla="*/ 1562264 w 4663705"/>
              <a:gd name="connsiteY343" fmla="*/ 701616 h 1782873"/>
              <a:gd name="connsiteX344" fmla="*/ 1520327 w 4663705"/>
              <a:gd name="connsiteY344" fmla="*/ 712896 h 1782873"/>
              <a:gd name="connsiteX345" fmla="*/ 1526112 w 4663705"/>
              <a:gd name="connsiteY345" fmla="*/ 750900 h 1782873"/>
              <a:gd name="connsiteX346" fmla="*/ 1503494 w 4663705"/>
              <a:gd name="connsiteY346" fmla="*/ 783177 h 1782873"/>
              <a:gd name="connsiteX347" fmla="*/ 1482902 w 4663705"/>
              <a:gd name="connsiteY347" fmla="*/ 801398 h 1782873"/>
              <a:gd name="connsiteX348" fmla="*/ 1457855 w 4663705"/>
              <a:gd name="connsiteY348" fmla="*/ 823205 h 1782873"/>
              <a:gd name="connsiteX349" fmla="*/ 1433214 w 4663705"/>
              <a:gd name="connsiteY349" fmla="*/ 823205 h 1782873"/>
              <a:gd name="connsiteX350" fmla="*/ 1401747 w 4663705"/>
              <a:gd name="connsiteY350" fmla="*/ 825577 h 1782873"/>
              <a:gd name="connsiteX351" fmla="*/ 1379881 w 4663705"/>
              <a:gd name="connsiteY351" fmla="*/ 818751 h 1782873"/>
              <a:gd name="connsiteX352" fmla="*/ 1367098 w 4663705"/>
              <a:gd name="connsiteY352" fmla="*/ 814899 h 1782873"/>
              <a:gd name="connsiteX353" fmla="*/ 1366578 w 4663705"/>
              <a:gd name="connsiteY353" fmla="*/ 807182 h 1782873"/>
              <a:gd name="connsiteX354" fmla="*/ 1381154 w 4663705"/>
              <a:gd name="connsiteY354" fmla="*/ 810826 h 1782873"/>
              <a:gd name="connsiteX355" fmla="*/ 1396888 w 4663705"/>
              <a:gd name="connsiteY355" fmla="*/ 809207 h 1782873"/>
              <a:gd name="connsiteX356" fmla="*/ 1412621 w 4663705"/>
              <a:gd name="connsiteY356" fmla="*/ 815685 h 1782873"/>
              <a:gd name="connsiteX357" fmla="*/ 1426736 w 4663705"/>
              <a:gd name="connsiteY357" fmla="*/ 810421 h 1782873"/>
              <a:gd name="connsiteX358" fmla="*/ 1433214 w 4663705"/>
              <a:gd name="connsiteY358" fmla="*/ 803943 h 1782873"/>
              <a:gd name="connsiteX359" fmla="*/ 1445361 w 4663705"/>
              <a:gd name="connsiteY359" fmla="*/ 793878 h 1782873"/>
              <a:gd name="connsiteX360" fmla="*/ 1453806 w 4663705"/>
              <a:gd name="connsiteY360" fmla="*/ 779359 h 1782873"/>
              <a:gd name="connsiteX361" fmla="*/ 1461095 w 4663705"/>
              <a:gd name="connsiteY361" fmla="*/ 770451 h 1782873"/>
              <a:gd name="connsiteX362" fmla="*/ 1474399 w 4663705"/>
              <a:gd name="connsiteY362" fmla="*/ 761543 h 1782873"/>
              <a:gd name="connsiteX363" fmla="*/ 1479258 w 4663705"/>
              <a:gd name="connsiteY363" fmla="*/ 748644 h 1782873"/>
              <a:gd name="connsiteX364" fmla="*/ 1486547 w 4663705"/>
              <a:gd name="connsiteY364" fmla="*/ 730423 h 1782873"/>
              <a:gd name="connsiteX365" fmla="*/ 1487356 w 4663705"/>
              <a:gd name="connsiteY365" fmla="*/ 720416 h 1782873"/>
              <a:gd name="connsiteX366" fmla="*/ 1465954 w 4663705"/>
              <a:gd name="connsiteY366" fmla="*/ 696989 h 1782873"/>
              <a:gd name="connsiteX367" fmla="*/ 1465144 w 4663705"/>
              <a:gd name="connsiteY367" fmla="*/ 669108 h 1782873"/>
              <a:gd name="connsiteX368" fmla="*/ 1464739 w 4663705"/>
              <a:gd name="connsiteY368" fmla="*/ 643194 h 1782873"/>
              <a:gd name="connsiteX369" fmla="*/ 1471622 w 4663705"/>
              <a:gd name="connsiteY369" fmla="*/ 614271 h 1782873"/>
              <a:gd name="connsiteX370" fmla="*/ 1449410 w 4663705"/>
              <a:gd name="connsiteY370" fmla="*/ 583151 h 1782873"/>
              <a:gd name="connsiteX371" fmla="*/ 1458261 w 4663705"/>
              <a:gd name="connsiteY371" fmla="*/ 562559 h 1782873"/>
              <a:gd name="connsiteX372" fmla="*/ 1469829 w 4663705"/>
              <a:gd name="connsiteY372" fmla="*/ 516283 h 1782873"/>
              <a:gd name="connsiteX373" fmla="*/ 1435875 w 4663705"/>
              <a:gd name="connsiteY373" fmla="*/ 504714 h 1782873"/>
              <a:gd name="connsiteX374" fmla="*/ 1383815 w 4663705"/>
              <a:gd name="connsiteY374" fmla="*/ 502285 h 1782873"/>
              <a:gd name="connsiteX375" fmla="*/ 1368428 w 4663705"/>
              <a:gd name="connsiteY375" fmla="*/ 517614 h 1782873"/>
              <a:gd name="connsiteX376" fmla="*/ 1350265 w 4663705"/>
              <a:gd name="connsiteY376" fmla="*/ 556427 h 1782873"/>
              <a:gd name="connsiteX377" fmla="*/ 1313939 w 4663705"/>
              <a:gd name="connsiteY377" fmla="*/ 584250 h 1782873"/>
              <a:gd name="connsiteX378" fmla="*/ 1302371 w 4663705"/>
              <a:gd name="connsiteY378" fmla="*/ 608082 h 1782873"/>
              <a:gd name="connsiteX379" fmla="*/ 1317757 w 4663705"/>
              <a:gd name="connsiteY379" fmla="*/ 611726 h 1782873"/>
              <a:gd name="connsiteX380" fmla="*/ 1314460 w 4663705"/>
              <a:gd name="connsiteY380" fmla="*/ 633534 h 1782873"/>
              <a:gd name="connsiteX381" fmla="*/ 1312898 w 4663705"/>
              <a:gd name="connsiteY381" fmla="*/ 646433 h 1782873"/>
              <a:gd name="connsiteX382" fmla="*/ 1303585 w 4663705"/>
              <a:gd name="connsiteY382" fmla="*/ 665059 h 1782873"/>
              <a:gd name="connsiteX383" fmla="*/ 1335920 w 4663705"/>
              <a:gd name="connsiteY383" fmla="*/ 677148 h 1782873"/>
              <a:gd name="connsiteX384" fmla="*/ 1347489 w 4663705"/>
              <a:gd name="connsiteY384" fmla="*/ 699360 h 1782873"/>
              <a:gd name="connsiteX385" fmla="*/ 1364032 w 4663705"/>
              <a:gd name="connsiteY385" fmla="*/ 707863 h 1782873"/>
              <a:gd name="connsiteX386" fmla="*/ 1347084 w 4663705"/>
              <a:gd name="connsiteY386" fmla="*/ 734877 h 1782873"/>
              <a:gd name="connsiteX387" fmla="*/ 1313997 w 4663705"/>
              <a:gd name="connsiteY387" fmla="*/ 708673 h 1782873"/>
              <a:gd name="connsiteX388" fmla="*/ 1269977 w 4663705"/>
              <a:gd name="connsiteY388" fmla="*/ 689643 h 1782873"/>
              <a:gd name="connsiteX389" fmla="*/ 1233651 w 4663705"/>
              <a:gd name="connsiteY389" fmla="*/ 674719 h 1782873"/>
              <a:gd name="connsiteX390" fmla="*/ 1183153 w 4663705"/>
              <a:gd name="connsiteY390" fmla="*/ 661414 h 1782873"/>
              <a:gd name="connsiteX391" fmla="*/ 1133465 w 4663705"/>
              <a:gd name="connsiteY391" fmla="*/ 656961 h 1782873"/>
              <a:gd name="connsiteX392" fmla="*/ 1113277 w 4663705"/>
              <a:gd name="connsiteY392" fmla="*/ 642037 h 1782873"/>
              <a:gd name="connsiteX393" fmla="*/ 1080190 w 4663705"/>
              <a:gd name="connsiteY393" fmla="*/ 631104 h 1782873"/>
              <a:gd name="connsiteX394" fmla="*/ 1087826 w 4663705"/>
              <a:gd name="connsiteY394" fmla="*/ 653721 h 1782873"/>
              <a:gd name="connsiteX395" fmla="*/ 1108013 w 4663705"/>
              <a:gd name="connsiteY395" fmla="*/ 661819 h 1782873"/>
              <a:gd name="connsiteX396" fmla="*/ 1125366 w 4663705"/>
              <a:gd name="connsiteY396" fmla="*/ 674314 h 1782873"/>
              <a:gd name="connsiteX397" fmla="*/ 1137861 w 4663705"/>
              <a:gd name="connsiteY397" fmla="*/ 696931 h 1782873"/>
              <a:gd name="connsiteX398" fmla="*/ 1129358 w 4663705"/>
              <a:gd name="connsiteY398" fmla="*/ 711855 h 1782873"/>
              <a:gd name="connsiteX399" fmla="*/ 1110790 w 4663705"/>
              <a:gd name="connsiteY399" fmla="*/ 721168 h 1782873"/>
              <a:gd name="connsiteX400" fmla="*/ 1096676 w 4663705"/>
              <a:gd name="connsiteY400" fmla="*/ 726952 h 1782873"/>
              <a:gd name="connsiteX401" fmla="*/ 1096676 w 4663705"/>
              <a:gd name="connsiteY401" fmla="*/ 710756 h 1782873"/>
              <a:gd name="connsiteX402" fmla="*/ 1080133 w 4663705"/>
              <a:gd name="connsiteY402" fmla="*/ 698261 h 1782873"/>
              <a:gd name="connsiteX403" fmla="*/ 1038137 w 4663705"/>
              <a:gd name="connsiteY403" fmla="*/ 719259 h 1782873"/>
              <a:gd name="connsiteX404" fmla="*/ 991862 w 4663705"/>
              <a:gd name="connsiteY404" fmla="*/ 719259 h 1782873"/>
              <a:gd name="connsiteX405" fmla="*/ 966410 w 4663705"/>
              <a:gd name="connsiteY405" fmla="*/ 737827 h 1782873"/>
              <a:gd name="connsiteX406" fmla="*/ 929679 w 4663705"/>
              <a:gd name="connsiteY406" fmla="*/ 734992 h 1782873"/>
              <a:gd name="connsiteX407" fmla="*/ 936563 w 4663705"/>
              <a:gd name="connsiteY407" fmla="*/ 727762 h 1782873"/>
              <a:gd name="connsiteX408" fmla="*/ 942984 w 4663705"/>
              <a:gd name="connsiteY408" fmla="*/ 719722 h 1782873"/>
              <a:gd name="connsiteX409" fmla="*/ 948768 w 4663705"/>
              <a:gd name="connsiteY409" fmla="*/ 701096 h 1782873"/>
              <a:gd name="connsiteX410" fmla="*/ 911632 w 4663705"/>
              <a:gd name="connsiteY410" fmla="*/ 711971 h 1782873"/>
              <a:gd name="connsiteX411" fmla="*/ 906368 w 4663705"/>
              <a:gd name="connsiteY411" fmla="*/ 727357 h 1782873"/>
              <a:gd name="connsiteX412" fmla="*/ 894279 w 4663705"/>
              <a:gd name="connsiteY412" fmla="*/ 720127 h 1782873"/>
              <a:gd name="connsiteX413" fmla="*/ 831691 w 4663705"/>
              <a:gd name="connsiteY413" fmla="*/ 738695 h 1782873"/>
              <a:gd name="connsiteX414" fmla="*/ 805430 w 4663705"/>
              <a:gd name="connsiteY414" fmla="*/ 754775 h 1782873"/>
              <a:gd name="connsiteX415" fmla="*/ 775524 w 4663705"/>
              <a:gd name="connsiteY415" fmla="*/ 764146 h 1782873"/>
              <a:gd name="connsiteX416" fmla="*/ 769740 w 4663705"/>
              <a:gd name="connsiteY416" fmla="*/ 792779 h 1782873"/>
              <a:gd name="connsiteX417" fmla="*/ 723464 w 4663705"/>
              <a:gd name="connsiteY417" fmla="*/ 798563 h 1782873"/>
              <a:gd name="connsiteX418" fmla="*/ 701657 w 4663705"/>
              <a:gd name="connsiteY418" fmla="*/ 777971 h 1782873"/>
              <a:gd name="connsiteX419" fmla="*/ 700847 w 4663705"/>
              <a:gd name="connsiteY419" fmla="*/ 760618 h 1782873"/>
              <a:gd name="connsiteX420" fmla="*/ 719820 w 4663705"/>
              <a:gd name="connsiteY420" fmla="*/ 753329 h 1782873"/>
              <a:gd name="connsiteX421" fmla="*/ 744057 w 4663705"/>
              <a:gd name="connsiteY421" fmla="*/ 752057 h 1782873"/>
              <a:gd name="connsiteX422" fmla="*/ 727456 w 4663705"/>
              <a:gd name="connsiteY422" fmla="*/ 725853 h 1782873"/>
              <a:gd name="connsiteX423" fmla="*/ 692749 w 4663705"/>
              <a:gd name="connsiteY423" fmla="*/ 716135 h 1782873"/>
              <a:gd name="connsiteX424" fmla="*/ 658853 w 4663705"/>
              <a:gd name="connsiteY424" fmla="*/ 712491 h 1782873"/>
              <a:gd name="connsiteX425" fmla="*/ 663654 w 4663705"/>
              <a:gd name="connsiteY425" fmla="*/ 723019 h 1782873"/>
              <a:gd name="connsiteX426" fmla="*/ 671752 w 4663705"/>
              <a:gd name="connsiteY426" fmla="*/ 741992 h 1782873"/>
              <a:gd name="connsiteX427" fmla="*/ 661224 w 4663705"/>
              <a:gd name="connsiteY427" fmla="*/ 772244 h 1782873"/>
              <a:gd name="connsiteX428" fmla="*/ 670132 w 4663705"/>
              <a:gd name="connsiteY428" fmla="*/ 781962 h 1782873"/>
              <a:gd name="connsiteX429" fmla="*/ 680255 w 4663705"/>
              <a:gd name="connsiteY429" fmla="*/ 806199 h 1782873"/>
              <a:gd name="connsiteX430" fmla="*/ 671752 w 4663705"/>
              <a:gd name="connsiteY430" fmla="*/ 827254 h 1782873"/>
              <a:gd name="connsiteX431" fmla="*/ 660183 w 4663705"/>
              <a:gd name="connsiteY431" fmla="*/ 826791 h 1782873"/>
              <a:gd name="connsiteX432" fmla="*/ 652143 w 4663705"/>
              <a:gd name="connsiteY432" fmla="*/ 818693 h 1782873"/>
              <a:gd name="connsiteX433" fmla="*/ 624667 w 4663705"/>
              <a:gd name="connsiteY433" fmla="*/ 813487 h 1782873"/>
              <a:gd name="connsiteX434" fmla="*/ 607313 w 4663705"/>
              <a:gd name="connsiteY434" fmla="*/ 821932 h 1782873"/>
              <a:gd name="connsiteX435" fmla="*/ 583076 w 4663705"/>
              <a:gd name="connsiteY435" fmla="*/ 832460 h 1782873"/>
              <a:gd name="connsiteX436" fmla="*/ 556815 w 4663705"/>
              <a:gd name="connsiteY436" fmla="*/ 851433 h 1782873"/>
              <a:gd name="connsiteX437" fmla="*/ 558435 w 4663705"/>
              <a:gd name="connsiteY437" fmla="*/ 875265 h 1782873"/>
              <a:gd name="connsiteX438" fmla="*/ 570003 w 4663705"/>
              <a:gd name="connsiteY438" fmla="*/ 896667 h 1782873"/>
              <a:gd name="connsiteX439" fmla="*/ 537264 w 4663705"/>
              <a:gd name="connsiteY439" fmla="*/ 894643 h 1782873"/>
              <a:gd name="connsiteX440" fmla="*/ 509036 w 4663705"/>
              <a:gd name="connsiteY440" fmla="*/ 888222 h 1782873"/>
              <a:gd name="connsiteX441" fmla="*/ 477916 w 4663705"/>
              <a:gd name="connsiteY441" fmla="*/ 869654 h 1782873"/>
              <a:gd name="connsiteX442" fmla="*/ 461314 w 4663705"/>
              <a:gd name="connsiteY442" fmla="*/ 884983 h 1782873"/>
              <a:gd name="connsiteX443" fmla="*/ 469470 w 4663705"/>
              <a:gd name="connsiteY443" fmla="*/ 900716 h 1782873"/>
              <a:gd name="connsiteX444" fmla="*/ 496079 w 4663705"/>
              <a:gd name="connsiteY444" fmla="*/ 910029 h 1782873"/>
              <a:gd name="connsiteX445" fmla="*/ 498508 w 4663705"/>
              <a:gd name="connsiteY445" fmla="*/ 926573 h 1782873"/>
              <a:gd name="connsiteX446" fmla="*/ 477916 w 4663705"/>
              <a:gd name="connsiteY446" fmla="*/ 929812 h 1782873"/>
              <a:gd name="connsiteX447" fmla="*/ 456513 w 4663705"/>
              <a:gd name="connsiteY447" fmla="*/ 923333 h 1782873"/>
              <a:gd name="connsiteX448" fmla="*/ 431467 w 4663705"/>
              <a:gd name="connsiteY448" fmla="*/ 909220 h 1782873"/>
              <a:gd name="connsiteX449" fmla="*/ 417353 w 4663705"/>
              <a:gd name="connsiteY449" fmla="*/ 893428 h 1782873"/>
              <a:gd name="connsiteX450" fmla="*/ 410816 w 4663705"/>
              <a:gd name="connsiteY450" fmla="*/ 873645 h 1782873"/>
              <a:gd name="connsiteX451" fmla="*/ 411626 w 4663705"/>
              <a:gd name="connsiteY451" fmla="*/ 855887 h 1782873"/>
              <a:gd name="connsiteX452" fmla="*/ 413651 w 4663705"/>
              <a:gd name="connsiteY452" fmla="*/ 838534 h 1782873"/>
              <a:gd name="connsiteX453" fmla="*/ 392653 w 4663705"/>
              <a:gd name="connsiteY453" fmla="*/ 823205 h 1782873"/>
              <a:gd name="connsiteX454" fmla="*/ 376110 w 4663705"/>
              <a:gd name="connsiteY454" fmla="*/ 811058 h 1782873"/>
              <a:gd name="connsiteX455" fmla="*/ 349501 w 4663705"/>
              <a:gd name="connsiteY455" fmla="*/ 788845 h 1782873"/>
              <a:gd name="connsiteX456" fmla="*/ 339784 w 4663705"/>
              <a:gd name="connsiteY456" fmla="*/ 779938 h 1782873"/>
              <a:gd name="connsiteX457" fmla="*/ 361591 w 4663705"/>
              <a:gd name="connsiteY457" fmla="*/ 788036 h 1782873"/>
              <a:gd name="connsiteX458" fmla="*/ 399536 w 4663705"/>
              <a:gd name="connsiteY458" fmla="*/ 804232 h 1782873"/>
              <a:gd name="connsiteX459" fmla="*/ 447200 w 4663705"/>
              <a:gd name="connsiteY459" fmla="*/ 819098 h 1782873"/>
              <a:gd name="connsiteX460" fmla="*/ 510829 w 4663705"/>
              <a:gd name="connsiteY460" fmla="*/ 829626 h 1782873"/>
              <a:gd name="connsiteX461" fmla="*/ 590018 w 4663705"/>
              <a:gd name="connsiteY461" fmla="*/ 794919 h 1782873"/>
              <a:gd name="connsiteX462" fmla="*/ 587588 w 4663705"/>
              <a:gd name="connsiteY462" fmla="*/ 762584 h 1782873"/>
              <a:gd name="connsiteX463" fmla="*/ 571855 w 4663705"/>
              <a:gd name="connsiteY463" fmla="*/ 750495 h 1782873"/>
              <a:gd name="connsiteX464" fmla="*/ 549237 w 4663705"/>
              <a:gd name="connsiteY464" fmla="*/ 736786 h 1782873"/>
              <a:gd name="connsiteX465" fmla="*/ 526620 w 4663705"/>
              <a:gd name="connsiteY465" fmla="*/ 724291 h 1782873"/>
              <a:gd name="connsiteX466" fmla="*/ 486650 w 4663705"/>
              <a:gd name="connsiteY466" fmla="*/ 704046 h 1782873"/>
              <a:gd name="connsiteX467" fmla="*/ 423022 w 4663705"/>
              <a:gd name="connsiteY467" fmla="*/ 678999 h 1782873"/>
              <a:gd name="connsiteX468" fmla="*/ 408849 w 4663705"/>
              <a:gd name="connsiteY468" fmla="*/ 677380 h 1782873"/>
              <a:gd name="connsiteX469" fmla="*/ 389067 w 4663705"/>
              <a:gd name="connsiteY469" fmla="*/ 676975 h 1782873"/>
              <a:gd name="connsiteX470" fmla="*/ 364020 w 4663705"/>
              <a:gd name="connsiteY470" fmla="*/ 675355 h 1782873"/>
              <a:gd name="connsiteX471" fmla="*/ 348634 w 4663705"/>
              <a:gd name="connsiteY471" fmla="*/ 666447 h 1782873"/>
              <a:gd name="connsiteX472" fmla="*/ 368879 w 4663705"/>
              <a:gd name="connsiteY472" fmla="*/ 660026 h 1782873"/>
              <a:gd name="connsiteX473" fmla="*/ 350716 w 4663705"/>
              <a:gd name="connsiteY473" fmla="*/ 652738 h 1782873"/>
              <a:gd name="connsiteX474" fmla="*/ 331281 w 4663705"/>
              <a:gd name="connsiteY474" fmla="*/ 656382 h 1782873"/>
              <a:gd name="connsiteX475" fmla="*/ 314737 w 4663705"/>
              <a:gd name="connsiteY475" fmla="*/ 655630 h 1782873"/>
              <a:gd name="connsiteX476" fmla="*/ 312886 w 4663705"/>
              <a:gd name="connsiteY476" fmla="*/ 654300 h 1782873"/>
              <a:gd name="connsiteX477" fmla="*/ 299003 w 4663705"/>
              <a:gd name="connsiteY477" fmla="*/ 664075 h 1782873"/>
              <a:gd name="connsiteX478" fmla="*/ 276386 w 4663705"/>
              <a:gd name="connsiteY478" fmla="*/ 674545 h 1782873"/>
              <a:gd name="connsiteX479" fmla="*/ 257818 w 4663705"/>
              <a:gd name="connsiteY479" fmla="*/ 690684 h 1782873"/>
              <a:gd name="connsiteX480" fmla="*/ 247348 w 4663705"/>
              <a:gd name="connsiteY480" fmla="*/ 698782 h 1782873"/>
              <a:gd name="connsiteX481" fmla="*/ 243241 w 4663705"/>
              <a:gd name="connsiteY481" fmla="*/ 713301 h 1782873"/>
              <a:gd name="connsiteX482" fmla="*/ 247348 w 4663705"/>
              <a:gd name="connsiteY482" fmla="*/ 728630 h 1782873"/>
              <a:gd name="connsiteX483" fmla="*/ 264296 w 4663705"/>
              <a:gd name="connsiteY483" fmla="*/ 738405 h 1782873"/>
              <a:gd name="connsiteX484" fmla="*/ 283674 w 4663705"/>
              <a:gd name="connsiteY484" fmla="*/ 758593 h 1782873"/>
              <a:gd name="connsiteX485" fmla="*/ 266726 w 4663705"/>
              <a:gd name="connsiteY485" fmla="*/ 778781 h 1782873"/>
              <a:gd name="connsiteX486" fmla="*/ 258628 w 4663705"/>
              <a:gd name="connsiteY486" fmla="*/ 794919 h 1782873"/>
              <a:gd name="connsiteX487" fmla="*/ 284484 w 4663705"/>
              <a:gd name="connsiteY487" fmla="*/ 836104 h 1782873"/>
              <a:gd name="connsiteX488" fmla="*/ 275577 w 4663705"/>
              <a:gd name="connsiteY488" fmla="*/ 852243 h 1782873"/>
              <a:gd name="connsiteX489" fmla="*/ 279625 w 4663705"/>
              <a:gd name="connsiteY489" fmla="*/ 873240 h 1782873"/>
              <a:gd name="connsiteX490" fmla="*/ 273147 w 4663705"/>
              <a:gd name="connsiteY490" fmla="*/ 881339 h 1782873"/>
              <a:gd name="connsiteX491" fmla="*/ 286856 w 4663705"/>
              <a:gd name="connsiteY491" fmla="*/ 890246 h 1782873"/>
              <a:gd name="connsiteX492" fmla="*/ 282865 w 4663705"/>
              <a:gd name="connsiteY492" fmla="*/ 903956 h 1782873"/>
              <a:gd name="connsiteX493" fmla="*/ 297383 w 4663705"/>
              <a:gd name="connsiteY493" fmla="*/ 918475 h 1782873"/>
              <a:gd name="connsiteX494" fmla="*/ 280435 w 4663705"/>
              <a:gd name="connsiteY494" fmla="*/ 933861 h 1782873"/>
              <a:gd name="connsiteX495" fmla="*/ 315142 w 4663705"/>
              <a:gd name="connsiteY495" fmla="*/ 960470 h 1782873"/>
              <a:gd name="connsiteX496" fmla="*/ 322430 w 4663705"/>
              <a:gd name="connsiteY496" fmla="*/ 982335 h 1782873"/>
              <a:gd name="connsiteX497" fmla="*/ 281939 w 4663705"/>
              <a:gd name="connsiteY497" fmla="*/ 1021090 h 1782873"/>
              <a:gd name="connsiteX498" fmla="*/ 239944 w 4663705"/>
              <a:gd name="connsiteY498" fmla="*/ 1054987 h 1782873"/>
              <a:gd name="connsiteX499" fmla="*/ 226871 w 4663705"/>
              <a:gd name="connsiteY499" fmla="*/ 1071588 h 1782873"/>
              <a:gd name="connsiteX500" fmla="*/ 238440 w 4663705"/>
              <a:gd name="connsiteY500" fmla="*/ 1067481 h 1782873"/>
              <a:gd name="connsiteX501" fmla="*/ 255794 w 4663705"/>
              <a:gd name="connsiteY501" fmla="*/ 1085240 h 1782873"/>
              <a:gd name="connsiteX502" fmla="*/ 279625 w 4663705"/>
              <a:gd name="connsiteY502" fmla="*/ 1090504 h 1782873"/>
              <a:gd name="connsiteX503" fmla="*/ 266726 w 4663705"/>
              <a:gd name="connsiteY503" fmla="*/ 1094148 h 1782873"/>
              <a:gd name="connsiteX504" fmla="*/ 240407 w 4663705"/>
              <a:gd name="connsiteY504" fmla="*/ 1103056 h 1782873"/>
              <a:gd name="connsiteX505" fmla="*/ 226987 w 4663705"/>
              <a:gd name="connsiteY505" fmla="*/ 1113583 h 1782873"/>
              <a:gd name="connsiteX506" fmla="*/ 221203 w 4663705"/>
              <a:gd name="connsiteY506" fmla="*/ 1131515 h 1782873"/>
              <a:gd name="connsiteX507" fmla="*/ 212063 w 4663705"/>
              <a:gd name="connsiteY507" fmla="*/ 1145398 h 1782873"/>
              <a:gd name="connsiteX508" fmla="*/ 213914 w 4663705"/>
              <a:gd name="connsiteY508" fmla="*/ 1161189 h 1782873"/>
              <a:gd name="connsiteX509" fmla="*/ 219988 w 4663705"/>
              <a:gd name="connsiteY509" fmla="*/ 1175708 h 1782873"/>
              <a:gd name="connsiteX510" fmla="*/ 212700 w 4663705"/>
              <a:gd name="connsiteY510" fmla="*/ 1184790 h 1782873"/>
              <a:gd name="connsiteX511" fmla="*/ 216344 w 4663705"/>
              <a:gd name="connsiteY511" fmla="*/ 1199309 h 1782873"/>
              <a:gd name="connsiteX512" fmla="*/ 219351 w 4663705"/>
              <a:gd name="connsiteY512" fmla="*/ 1214464 h 1782873"/>
              <a:gd name="connsiteX513" fmla="*/ 227855 w 4663705"/>
              <a:gd name="connsiteY513" fmla="*/ 1230255 h 1782873"/>
              <a:gd name="connsiteX514" fmla="*/ 235086 w 4663705"/>
              <a:gd name="connsiteY514" fmla="*/ 1248997 h 1782873"/>
              <a:gd name="connsiteX515" fmla="*/ 249662 w 4663705"/>
              <a:gd name="connsiteY515" fmla="*/ 1253219 h 1782873"/>
              <a:gd name="connsiteX516" fmla="*/ 263544 w 4663705"/>
              <a:gd name="connsiteY516" fmla="*/ 1259929 h 1782873"/>
              <a:gd name="connsiteX517" fmla="*/ 278121 w 4663705"/>
              <a:gd name="connsiteY517" fmla="*/ 1259929 h 1782873"/>
              <a:gd name="connsiteX518" fmla="*/ 303573 w 4663705"/>
              <a:gd name="connsiteY518" fmla="*/ 1267160 h 1782873"/>
              <a:gd name="connsiteX519" fmla="*/ 305945 w 4663705"/>
              <a:gd name="connsiteY519" fmla="*/ 1285959 h 1782873"/>
              <a:gd name="connsiteX520" fmla="*/ 309010 w 4663705"/>
              <a:gd name="connsiteY520" fmla="*/ 1305337 h 1782873"/>
              <a:gd name="connsiteX521" fmla="*/ 321736 w 4663705"/>
              <a:gd name="connsiteY521" fmla="*/ 1322286 h 1782873"/>
              <a:gd name="connsiteX522" fmla="*/ 337470 w 4663705"/>
              <a:gd name="connsiteY522" fmla="*/ 1337441 h 1782873"/>
              <a:gd name="connsiteX523" fmla="*/ 352625 w 4663705"/>
              <a:gd name="connsiteY523" fmla="*/ 1351381 h 1782873"/>
              <a:gd name="connsiteX524" fmla="*/ 338684 w 4663705"/>
              <a:gd name="connsiteY524" fmla="*/ 1364107 h 1782873"/>
              <a:gd name="connsiteX525" fmla="*/ 319306 w 4663705"/>
              <a:gd name="connsiteY525" fmla="*/ 1361099 h 1782873"/>
              <a:gd name="connsiteX526" fmla="*/ 323529 w 4663705"/>
              <a:gd name="connsiteY526" fmla="*/ 1386551 h 1782873"/>
              <a:gd name="connsiteX527" fmla="*/ 335098 w 4663705"/>
              <a:gd name="connsiteY527" fmla="*/ 1401012 h 1782873"/>
              <a:gd name="connsiteX528" fmla="*/ 347824 w 4663705"/>
              <a:gd name="connsiteY528" fmla="*/ 1394417 h 1782873"/>
              <a:gd name="connsiteX529" fmla="*/ 365987 w 4663705"/>
              <a:gd name="connsiteY529" fmla="*/ 1393781 h 1782873"/>
              <a:gd name="connsiteX530" fmla="*/ 388431 w 4663705"/>
              <a:gd name="connsiteY530" fmla="*/ 1396211 h 1782873"/>
              <a:gd name="connsiteX531" fmla="*/ 392074 w 4663705"/>
              <a:gd name="connsiteY531" fmla="*/ 1416803 h 1782873"/>
              <a:gd name="connsiteX532" fmla="*/ 397859 w 4663705"/>
              <a:gd name="connsiteY532" fmla="*/ 1431958 h 1782873"/>
              <a:gd name="connsiteX533" fmla="*/ 417873 w 4663705"/>
              <a:gd name="connsiteY533" fmla="*/ 1436817 h 1782873"/>
              <a:gd name="connsiteX534" fmla="*/ 430020 w 4663705"/>
              <a:gd name="connsiteY534" fmla="*/ 1457988 h 1782873"/>
              <a:gd name="connsiteX535" fmla="*/ 440259 w 4663705"/>
              <a:gd name="connsiteY535" fmla="*/ 1463483 h 1782873"/>
              <a:gd name="connsiteX536" fmla="*/ 453621 w 4663705"/>
              <a:gd name="connsiteY536" fmla="*/ 1469557 h 1782873"/>
              <a:gd name="connsiteX537" fmla="*/ 467561 w 4663705"/>
              <a:gd name="connsiteY537" fmla="*/ 1468342 h 1782873"/>
              <a:gd name="connsiteX538" fmla="*/ 482659 w 4663705"/>
              <a:gd name="connsiteY538" fmla="*/ 1467128 h 1782873"/>
              <a:gd name="connsiteX539" fmla="*/ 494806 w 4663705"/>
              <a:gd name="connsiteY539" fmla="*/ 1481647 h 1782873"/>
              <a:gd name="connsiteX540" fmla="*/ 517249 w 4663705"/>
              <a:gd name="connsiteY540" fmla="*/ 1485291 h 1782873"/>
              <a:gd name="connsiteX541" fmla="*/ 540387 w 4663705"/>
              <a:gd name="connsiteY541" fmla="*/ 1491364 h 1782873"/>
              <a:gd name="connsiteX542" fmla="*/ 556121 w 4663705"/>
              <a:gd name="connsiteY542" fmla="*/ 1501025 h 1782873"/>
              <a:gd name="connsiteX543" fmla="*/ 548254 w 4663705"/>
              <a:gd name="connsiteY543" fmla="*/ 1512593 h 1782873"/>
              <a:gd name="connsiteX544" fmla="*/ 554906 w 4663705"/>
              <a:gd name="connsiteY544" fmla="*/ 1520518 h 1782873"/>
              <a:gd name="connsiteX545" fmla="*/ 545247 w 4663705"/>
              <a:gd name="connsiteY545" fmla="*/ 1527170 h 1782873"/>
              <a:gd name="connsiteX546" fmla="*/ 551031 w 4663705"/>
              <a:gd name="connsiteY546" fmla="*/ 1537466 h 1782873"/>
              <a:gd name="connsiteX547" fmla="*/ 546229 w 4663705"/>
              <a:gd name="connsiteY547" fmla="*/ 1553836 h 1782873"/>
              <a:gd name="connsiteX548" fmla="*/ 523844 w 4663705"/>
              <a:gd name="connsiteY548" fmla="*/ 1553258 h 1782873"/>
              <a:gd name="connsiteX549" fmla="*/ 502615 w 4663705"/>
              <a:gd name="connsiteY549" fmla="*/ 1567777 h 1782873"/>
              <a:gd name="connsiteX550" fmla="*/ 501978 w 4663705"/>
              <a:gd name="connsiteY550" fmla="*/ 1580734 h 1782873"/>
              <a:gd name="connsiteX551" fmla="*/ 529918 w 4663705"/>
              <a:gd name="connsiteY551" fmla="*/ 1580098 h 1782873"/>
              <a:gd name="connsiteX552" fmla="*/ 495963 w 4663705"/>
              <a:gd name="connsiteY552" fmla="*/ 1599880 h 1782873"/>
              <a:gd name="connsiteX553" fmla="*/ 506433 w 4663705"/>
              <a:gd name="connsiteY553" fmla="*/ 1615209 h 1782873"/>
              <a:gd name="connsiteX554" fmla="*/ 490294 w 4663705"/>
              <a:gd name="connsiteY554" fmla="*/ 1630943 h 1782873"/>
              <a:gd name="connsiteX555" fmla="*/ 475370 w 4663705"/>
              <a:gd name="connsiteY555" fmla="*/ 1642512 h 1782873"/>
              <a:gd name="connsiteX556" fmla="*/ 468140 w 4663705"/>
              <a:gd name="connsiteY556" fmla="*/ 1648990 h 1782873"/>
              <a:gd name="connsiteX557" fmla="*/ 489542 w 4663705"/>
              <a:gd name="connsiteY557" fmla="*/ 1666343 h 1782873"/>
              <a:gd name="connsiteX558" fmla="*/ 540387 w 4663705"/>
              <a:gd name="connsiteY558" fmla="*/ 1703075 h 1782873"/>
              <a:gd name="connsiteX559" fmla="*/ 547503 w 4663705"/>
              <a:gd name="connsiteY559" fmla="*/ 1708859 h 1782873"/>
              <a:gd name="connsiteX560" fmla="*/ 557740 w 4663705"/>
              <a:gd name="connsiteY560" fmla="*/ 1704058 h 1782873"/>
              <a:gd name="connsiteX561" fmla="*/ 590480 w 4663705"/>
              <a:gd name="connsiteY561" fmla="*/ 1713776 h 1782873"/>
              <a:gd name="connsiteX562" fmla="*/ 632880 w 4663705"/>
              <a:gd name="connsiteY562" fmla="*/ 1717362 h 1782873"/>
              <a:gd name="connsiteX563" fmla="*/ 649829 w 4663705"/>
              <a:gd name="connsiteY563" fmla="*/ 1728295 h 1782873"/>
              <a:gd name="connsiteX564" fmla="*/ 666777 w 4663705"/>
              <a:gd name="connsiteY564" fmla="*/ 1736740 h 1782873"/>
              <a:gd name="connsiteX565" fmla="*/ 694658 w 4663705"/>
              <a:gd name="connsiteY565" fmla="*/ 1733154 h 1782873"/>
              <a:gd name="connsiteX566" fmla="*/ 704376 w 4663705"/>
              <a:gd name="connsiteY566" fmla="*/ 1736740 h 1782873"/>
              <a:gd name="connsiteX567" fmla="*/ 712821 w 4663705"/>
              <a:gd name="connsiteY567" fmla="*/ 1753746 h 1782873"/>
              <a:gd name="connsiteX568" fmla="*/ 738273 w 4663705"/>
              <a:gd name="connsiteY568" fmla="*/ 1765836 h 1782873"/>
              <a:gd name="connsiteX569" fmla="*/ 758865 w 4663705"/>
              <a:gd name="connsiteY569" fmla="*/ 1780412 h 1782873"/>
              <a:gd name="connsiteX570" fmla="*/ 770954 w 4663705"/>
              <a:gd name="connsiteY570" fmla="*/ 1780412 h 1782873"/>
              <a:gd name="connsiteX571" fmla="*/ 788308 w 4663705"/>
              <a:gd name="connsiteY571" fmla="*/ 1767455 h 1782873"/>
              <a:gd name="connsiteX572" fmla="*/ 756957 w 4663705"/>
              <a:gd name="connsiteY572" fmla="*/ 1719792 h 1782873"/>
              <a:gd name="connsiteX573" fmla="*/ 746486 w 4663705"/>
              <a:gd name="connsiteY573" fmla="*/ 1682656 h 1782873"/>
              <a:gd name="connsiteX574" fmla="*/ 760195 w 4663705"/>
              <a:gd name="connsiteY574" fmla="*/ 1643090 h 1782873"/>
              <a:gd name="connsiteX575" fmla="*/ 808669 w 4663705"/>
              <a:gd name="connsiteY575" fmla="*/ 1613589 h 1782873"/>
              <a:gd name="connsiteX576" fmla="*/ 799761 w 4663705"/>
              <a:gd name="connsiteY576" fmla="*/ 1608384 h 1782873"/>
              <a:gd name="connsiteX577" fmla="*/ 793977 w 4663705"/>
              <a:gd name="connsiteY577" fmla="*/ 1596236 h 1782873"/>
              <a:gd name="connsiteX578" fmla="*/ 790333 w 4663705"/>
              <a:gd name="connsiteY578" fmla="*/ 1579288 h 1782873"/>
              <a:gd name="connsiteX579" fmla="*/ 773384 w 4663705"/>
              <a:gd name="connsiteY579" fmla="*/ 1559910 h 1782873"/>
              <a:gd name="connsiteX580" fmla="*/ 754006 w 4663705"/>
              <a:gd name="connsiteY580" fmla="*/ 1561125 h 1782873"/>
              <a:gd name="connsiteX581" fmla="*/ 749148 w 4663705"/>
              <a:gd name="connsiteY581" fmla="*/ 1546606 h 1782873"/>
              <a:gd name="connsiteX582" fmla="*/ 733413 w 4663705"/>
              <a:gd name="connsiteY582" fmla="*/ 1535673 h 1782873"/>
              <a:gd name="connsiteX583" fmla="*/ 739198 w 4663705"/>
              <a:gd name="connsiteY583" fmla="*/ 1518725 h 1782873"/>
              <a:gd name="connsiteX584" fmla="*/ 748858 w 4663705"/>
              <a:gd name="connsiteY584" fmla="*/ 1510222 h 1782873"/>
              <a:gd name="connsiteX585" fmla="*/ 740413 w 4663705"/>
              <a:gd name="connsiteY585" fmla="*/ 1496917 h 1782873"/>
              <a:gd name="connsiteX586" fmla="*/ 754932 w 4663705"/>
              <a:gd name="connsiteY586" fmla="*/ 1479969 h 1782873"/>
              <a:gd name="connsiteX587" fmla="*/ 770666 w 4663705"/>
              <a:gd name="connsiteY587" fmla="*/ 1470193 h 1782873"/>
              <a:gd name="connsiteX588" fmla="*/ 792473 w 4663705"/>
              <a:gd name="connsiteY588" fmla="*/ 1488414 h 1782873"/>
              <a:gd name="connsiteX589" fmla="*/ 794902 w 4663705"/>
              <a:gd name="connsiteY589" fmla="*/ 1471466 h 1782873"/>
              <a:gd name="connsiteX590" fmla="*/ 802190 w 4663705"/>
              <a:gd name="connsiteY590" fmla="*/ 1456947 h 1782873"/>
              <a:gd name="connsiteX591" fmla="*/ 816709 w 4663705"/>
              <a:gd name="connsiteY591" fmla="*/ 1443585 h 1782873"/>
              <a:gd name="connsiteX592" fmla="*/ 845632 w 4663705"/>
              <a:gd name="connsiteY592" fmla="*/ 1430281 h 1782873"/>
              <a:gd name="connsiteX593" fmla="*/ 866224 w 4663705"/>
              <a:gd name="connsiteY593" fmla="*/ 1424207 h 1782873"/>
              <a:gd name="connsiteX594" fmla="*/ 880743 w 4663705"/>
              <a:gd name="connsiteY594" fmla="*/ 1424207 h 1782873"/>
              <a:gd name="connsiteX595" fmla="*/ 900121 w 4663705"/>
              <a:gd name="connsiteY595" fmla="*/ 1424207 h 1782873"/>
              <a:gd name="connsiteX596" fmla="*/ 931646 w 4663705"/>
              <a:gd name="connsiteY596" fmla="*/ 1433925 h 1782873"/>
              <a:gd name="connsiteX597" fmla="*/ 954784 w 4663705"/>
              <a:gd name="connsiteY597" fmla="*/ 1453245 h 1782873"/>
              <a:gd name="connsiteX598" fmla="*/ 962072 w 4663705"/>
              <a:gd name="connsiteY598" fmla="*/ 1456947 h 1782873"/>
              <a:gd name="connsiteX599" fmla="*/ 977806 w 4663705"/>
              <a:gd name="connsiteY599" fmla="*/ 1456947 h 1782873"/>
              <a:gd name="connsiteX600" fmla="*/ 1003257 w 4663705"/>
              <a:gd name="connsiteY600" fmla="*/ 1454460 h 1782873"/>
              <a:gd name="connsiteX601" fmla="*/ 1029865 w 4663705"/>
              <a:gd name="connsiteY601" fmla="*/ 1446015 h 1782873"/>
              <a:gd name="connsiteX602" fmla="*/ 1045658 w 4663705"/>
              <a:gd name="connsiteY602" fmla="*/ 1447229 h 1782873"/>
              <a:gd name="connsiteX603" fmla="*/ 1072266 w 4663705"/>
              <a:gd name="connsiteY603" fmla="*/ 1448386 h 1782873"/>
              <a:gd name="connsiteX604" fmla="*/ 1090487 w 4663705"/>
              <a:gd name="connsiteY604" fmla="*/ 1456947 h 1782873"/>
              <a:gd name="connsiteX605" fmla="*/ 1103791 w 4663705"/>
              <a:gd name="connsiteY605" fmla="*/ 1465392 h 1782873"/>
              <a:gd name="connsiteX606" fmla="*/ 1113509 w 4663705"/>
              <a:gd name="connsiteY606" fmla="*/ 1452088 h 1782873"/>
              <a:gd name="connsiteX607" fmla="*/ 1134101 w 4663705"/>
              <a:gd name="connsiteY607" fmla="*/ 1460534 h 1782873"/>
              <a:gd name="connsiteX608" fmla="*/ 1151050 w 4663705"/>
              <a:gd name="connsiteY608" fmla="*/ 1450873 h 1782873"/>
              <a:gd name="connsiteX609" fmla="*/ 1143819 w 4663705"/>
              <a:gd name="connsiteY609" fmla="*/ 1431496 h 1782873"/>
              <a:gd name="connsiteX610" fmla="*/ 1124441 w 4663705"/>
              <a:gd name="connsiteY610" fmla="*/ 1425711 h 1782873"/>
              <a:gd name="connsiteX611" fmla="*/ 1117153 w 4663705"/>
              <a:gd name="connsiteY611" fmla="*/ 1411134 h 1782873"/>
              <a:gd name="connsiteX612" fmla="*/ 1134101 w 4663705"/>
              <a:gd name="connsiteY612" fmla="*/ 1396615 h 1782873"/>
              <a:gd name="connsiteX613" fmla="*/ 1138960 w 4663705"/>
              <a:gd name="connsiteY613" fmla="*/ 1377238 h 1782873"/>
              <a:gd name="connsiteX614" fmla="*/ 1167883 w 4663705"/>
              <a:gd name="connsiteY614" fmla="*/ 1372437 h 1782873"/>
              <a:gd name="connsiteX615" fmla="*/ 1143703 w 4663705"/>
              <a:gd name="connsiteY615" fmla="*/ 1360289 h 1782873"/>
              <a:gd name="connsiteX616" fmla="*/ 1142431 w 4663705"/>
              <a:gd name="connsiteY616" fmla="*/ 1337152 h 1782873"/>
              <a:gd name="connsiteX617" fmla="*/ 1165569 w 4663705"/>
              <a:gd name="connsiteY617" fmla="*/ 1335937 h 1782873"/>
              <a:gd name="connsiteX618" fmla="*/ 1198251 w 4663705"/>
              <a:gd name="connsiteY618" fmla="*/ 1332293 h 1782873"/>
              <a:gd name="connsiteX619" fmla="*/ 1239436 w 4663705"/>
              <a:gd name="connsiteY619" fmla="*/ 1323790 h 1782873"/>
              <a:gd name="connsiteX620" fmla="*/ 1267317 w 4663705"/>
              <a:gd name="connsiteY620" fmla="*/ 1315344 h 1782873"/>
              <a:gd name="connsiteX621" fmla="*/ 1306072 w 4663705"/>
              <a:gd name="connsiteY621" fmla="*/ 1308056 h 1782873"/>
              <a:gd name="connsiteX622" fmla="*/ 1346043 w 4663705"/>
              <a:gd name="connsiteY622" fmla="*/ 1294752 h 1782873"/>
              <a:gd name="connsiteX623" fmla="*/ 1379997 w 4663705"/>
              <a:gd name="connsiteY623" fmla="*/ 1286885 h 1782873"/>
              <a:gd name="connsiteX624" fmla="*/ 1401168 w 4663705"/>
              <a:gd name="connsiteY624" fmla="*/ 1289893 h 1782873"/>
              <a:gd name="connsiteX625" fmla="*/ 1418522 w 4663705"/>
              <a:gd name="connsiteY625" fmla="*/ 1300767 h 1782873"/>
              <a:gd name="connsiteX626" fmla="*/ 1423380 w 4663705"/>
              <a:gd name="connsiteY626" fmla="*/ 1320145 h 1782873"/>
              <a:gd name="connsiteX627" fmla="*/ 1420314 w 4663705"/>
              <a:gd name="connsiteY627" fmla="*/ 1331714 h 1782873"/>
              <a:gd name="connsiteX628" fmla="*/ 1445188 w 4663705"/>
              <a:gd name="connsiteY628" fmla="*/ 1327492 h 1782873"/>
              <a:gd name="connsiteX629" fmla="*/ 1455426 w 4663705"/>
              <a:gd name="connsiteY629" fmla="*/ 1334086 h 1782873"/>
              <a:gd name="connsiteX630" fmla="*/ 1463351 w 4663705"/>
              <a:gd name="connsiteY630" fmla="*/ 1335937 h 1782873"/>
              <a:gd name="connsiteX631" fmla="*/ 1476076 w 4663705"/>
              <a:gd name="connsiteY631" fmla="*/ 1337730 h 1782873"/>
              <a:gd name="connsiteX632" fmla="*/ 1490595 w 4663705"/>
              <a:gd name="connsiteY632" fmla="*/ 1339581 h 1782873"/>
              <a:gd name="connsiteX633" fmla="*/ 1480878 w 4663705"/>
              <a:gd name="connsiteY633" fmla="*/ 1356934 h 1782873"/>
              <a:gd name="connsiteX634" fmla="*/ 1501528 w 4663705"/>
              <a:gd name="connsiteY634" fmla="*/ 1352075 h 1782873"/>
              <a:gd name="connsiteX635" fmla="*/ 1531202 w 4663705"/>
              <a:gd name="connsiteY635" fmla="*/ 1339986 h 1782873"/>
              <a:gd name="connsiteX636" fmla="*/ 1556018 w 4663705"/>
              <a:gd name="connsiteY636" fmla="*/ 1326046 h 1782873"/>
              <a:gd name="connsiteX637" fmla="*/ 1574181 w 4663705"/>
              <a:gd name="connsiteY637" fmla="*/ 1327896 h 1782873"/>
              <a:gd name="connsiteX638" fmla="*/ 1582105 w 4663705"/>
              <a:gd name="connsiteY638" fmla="*/ 1348489 h 1782873"/>
              <a:gd name="connsiteX639" fmla="*/ 1632372 w 4663705"/>
              <a:gd name="connsiteY639" fmla="*/ 1407837 h 1782873"/>
              <a:gd name="connsiteX640" fmla="*/ 1660773 w 4663705"/>
              <a:gd name="connsiteY640" fmla="*/ 1456947 h 1782873"/>
              <a:gd name="connsiteX641" fmla="*/ 1676565 w 4663705"/>
              <a:gd name="connsiteY641" fmla="*/ 1439594 h 1782873"/>
              <a:gd name="connsiteX642" fmla="*/ 1697794 w 4663705"/>
              <a:gd name="connsiteY642" fmla="*/ 1454691 h 1782873"/>
              <a:gd name="connsiteX643" fmla="*/ 1724460 w 4663705"/>
              <a:gd name="connsiteY643" fmla="*/ 1458914 h 1782873"/>
              <a:gd name="connsiteX644" fmla="*/ 1751705 w 4663705"/>
              <a:gd name="connsiteY644" fmla="*/ 1451105 h 1782873"/>
              <a:gd name="connsiteX645" fmla="*/ 1769058 w 4663705"/>
              <a:gd name="connsiteY645" fmla="*/ 1465624 h 1782873"/>
              <a:gd name="connsiteX646" fmla="*/ 1786006 w 4663705"/>
              <a:gd name="connsiteY646" fmla="*/ 1479564 h 1782873"/>
              <a:gd name="connsiteX647" fmla="*/ 1791791 w 4663705"/>
              <a:gd name="connsiteY647" fmla="*/ 1489860 h 1782873"/>
              <a:gd name="connsiteX648" fmla="*/ 1805500 w 4663705"/>
              <a:gd name="connsiteY648" fmla="*/ 1501429 h 1782873"/>
              <a:gd name="connsiteX649" fmla="*/ 1827307 w 4663705"/>
              <a:gd name="connsiteY649" fmla="*/ 1497380 h 1782873"/>
              <a:gd name="connsiteX650" fmla="*/ 1837025 w 4663705"/>
              <a:gd name="connsiteY650" fmla="*/ 1498190 h 1782873"/>
              <a:gd name="connsiteX651" fmla="*/ 1849924 w 4663705"/>
              <a:gd name="connsiteY651" fmla="*/ 1512709 h 1782873"/>
              <a:gd name="connsiteX652" fmla="*/ 1865311 w 4663705"/>
              <a:gd name="connsiteY652" fmla="*/ 1512709 h 1782873"/>
              <a:gd name="connsiteX653" fmla="*/ 1883879 w 4663705"/>
              <a:gd name="connsiteY653" fmla="*/ 1505421 h 1782873"/>
              <a:gd name="connsiteX654" fmla="*/ 1908926 w 4663705"/>
              <a:gd name="connsiteY654" fmla="*/ 1493852 h 1782873"/>
              <a:gd name="connsiteX655" fmla="*/ 1929923 w 4663705"/>
              <a:gd name="connsiteY655" fmla="*/ 1481762 h 1782873"/>
              <a:gd name="connsiteX656" fmla="*/ 1947681 w 4663705"/>
              <a:gd name="connsiteY656" fmla="*/ 1469615 h 1782873"/>
              <a:gd name="connsiteX657" fmla="*/ 1966249 w 4663705"/>
              <a:gd name="connsiteY657" fmla="*/ 1461517 h 1782873"/>
              <a:gd name="connsiteX658" fmla="*/ 1985627 w 4663705"/>
              <a:gd name="connsiteY658" fmla="*/ 1458278 h 1782873"/>
              <a:gd name="connsiteX659" fmla="*/ 2023573 w 4663705"/>
              <a:gd name="connsiteY659" fmla="*/ 1464756 h 1782873"/>
              <a:gd name="connsiteX660" fmla="*/ 2032481 w 4663705"/>
              <a:gd name="connsiteY660" fmla="*/ 1480143 h 1782873"/>
              <a:gd name="connsiteX661" fmla="*/ 2055097 w 4663705"/>
              <a:gd name="connsiteY661" fmla="*/ 1488993 h 1782873"/>
              <a:gd name="connsiteX662" fmla="*/ 2076905 w 4663705"/>
              <a:gd name="connsiteY662" fmla="*/ 1487373 h 1782873"/>
              <a:gd name="connsiteX663" fmla="*/ 2096283 w 4663705"/>
              <a:gd name="connsiteY663" fmla="*/ 1493158 h 1782873"/>
              <a:gd name="connsiteX664" fmla="*/ 2118900 w 4663705"/>
              <a:gd name="connsiteY664" fmla="*/ 1481878 h 1782873"/>
              <a:gd name="connsiteX665" fmla="*/ 2119710 w 4663705"/>
              <a:gd name="connsiteY665" fmla="*/ 1465682 h 1782873"/>
              <a:gd name="connsiteX666" fmla="*/ 2109992 w 4663705"/>
              <a:gd name="connsiteY666" fmla="*/ 1443064 h 1782873"/>
              <a:gd name="connsiteX667" fmla="*/ 2121561 w 4663705"/>
              <a:gd name="connsiteY667" fmla="*/ 1429355 h 1782873"/>
              <a:gd name="connsiteX668" fmla="*/ 2136137 w 4663705"/>
              <a:gd name="connsiteY668" fmla="*/ 1419638 h 1782873"/>
              <a:gd name="connsiteX669" fmla="*/ 2145798 w 4663705"/>
              <a:gd name="connsiteY669" fmla="*/ 1410729 h 1782873"/>
              <a:gd name="connsiteX670" fmla="*/ 2165985 w 4663705"/>
              <a:gd name="connsiteY670" fmla="*/ 1418886 h 1782873"/>
              <a:gd name="connsiteX671" fmla="*/ 2182934 w 4663705"/>
              <a:gd name="connsiteY671" fmla="*/ 1422877 h 1782873"/>
              <a:gd name="connsiteX672" fmla="*/ 2203122 w 4663705"/>
              <a:gd name="connsiteY672" fmla="*/ 1430975 h 1782873"/>
              <a:gd name="connsiteX673" fmla="*/ 2229788 w 4663705"/>
              <a:gd name="connsiteY673" fmla="*/ 1439073 h 1782873"/>
              <a:gd name="connsiteX674" fmla="*/ 2233027 w 4663705"/>
              <a:gd name="connsiteY674" fmla="*/ 1462500 h 1782873"/>
              <a:gd name="connsiteX675" fmla="*/ 2249975 w 4663705"/>
              <a:gd name="connsiteY675" fmla="*/ 1475342 h 1782873"/>
              <a:gd name="connsiteX676" fmla="*/ 2274212 w 4663705"/>
              <a:gd name="connsiteY676" fmla="*/ 1482630 h 1782873"/>
              <a:gd name="connsiteX677" fmla="*/ 2293590 w 4663705"/>
              <a:gd name="connsiteY677" fmla="*/ 1472970 h 1782873"/>
              <a:gd name="connsiteX678" fmla="*/ 2318636 w 4663705"/>
              <a:gd name="connsiteY678" fmla="*/ 1469731 h 1782873"/>
              <a:gd name="connsiteX679" fmla="*/ 2343683 w 4663705"/>
              <a:gd name="connsiteY679" fmla="*/ 1475515 h 1782873"/>
              <a:gd name="connsiteX680" fmla="*/ 2364680 w 4663705"/>
              <a:gd name="connsiteY680" fmla="*/ 1481300 h 1782873"/>
              <a:gd name="connsiteX681" fmla="*/ 2387298 w 4663705"/>
              <a:gd name="connsiteY681" fmla="*/ 1491769 h 1782873"/>
              <a:gd name="connsiteX682" fmla="*/ 2401817 w 4663705"/>
              <a:gd name="connsiteY682" fmla="*/ 1507098 h 1782873"/>
              <a:gd name="connsiteX683" fmla="*/ 2436523 w 4663705"/>
              <a:gd name="connsiteY683" fmla="*/ 1513577 h 1782873"/>
              <a:gd name="connsiteX684" fmla="*/ 2472850 w 4663705"/>
              <a:gd name="connsiteY684" fmla="*/ 1513577 h 1782873"/>
              <a:gd name="connsiteX685" fmla="*/ 2508366 w 4663705"/>
              <a:gd name="connsiteY685" fmla="*/ 1504669 h 1782873"/>
              <a:gd name="connsiteX686" fmla="*/ 2530231 w 4663705"/>
              <a:gd name="connsiteY686" fmla="*/ 1496628 h 1782873"/>
              <a:gd name="connsiteX687" fmla="*/ 2551980 w 4663705"/>
              <a:gd name="connsiteY687" fmla="*/ 1482109 h 1782873"/>
              <a:gd name="connsiteX688" fmla="*/ 2585935 w 4663705"/>
              <a:gd name="connsiteY688" fmla="*/ 1483729 h 1782873"/>
              <a:gd name="connsiteX689" fmla="*/ 2609072 w 4663705"/>
              <a:gd name="connsiteY689" fmla="*/ 1488530 h 1782873"/>
              <a:gd name="connsiteX690" fmla="*/ 2634929 w 4663705"/>
              <a:gd name="connsiteY690" fmla="*/ 1495009 h 1782873"/>
              <a:gd name="connsiteX691" fmla="*/ 2661538 w 4663705"/>
              <a:gd name="connsiteY691" fmla="*/ 1502297 h 1782873"/>
              <a:gd name="connsiteX692" fmla="*/ 2687452 w 4663705"/>
              <a:gd name="connsiteY692" fmla="*/ 1488530 h 1782873"/>
              <a:gd name="connsiteX693" fmla="*/ 2699483 w 4663705"/>
              <a:gd name="connsiteY693" fmla="*/ 1476441 h 1782873"/>
              <a:gd name="connsiteX694" fmla="*/ 2712440 w 4663705"/>
              <a:gd name="connsiteY694" fmla="*/ 1448155 h 1782873"/>
              <a:gd name="connsiteX695" fmla="*/ 2729389 w 4663705"/>
              <a:gd name="connsiteY695" fmla="*/ 1422298 h 1782873"/>
              <a:gd name="connsiteX696" fmla="*/ 2741478 w 4663705"/>
              <a:gd name="connsiteY696" fmla="*/ 1408531 h 1782873"/>
              <a:gd name="connsiteX697" fmla="*/ 2733438 w 4663705"/>
              <a:gd name="connsiteY697" fmla="*/ 1389154 h 1782873"/>
              <a:gd name="connsiteX698" fmla="*/ 2731066 w 4663705"/>
              <a:gd name="connsiteY698" fmla="*/ 1374635 h 1782873"/>
              <a:gd name="connsiteX699" fmla="*/ 2765773 w 4663705"/>
              <a:gd name="connsiteY699" fmla="*/ 1363066 h 1782873"/>
              <a:gd name="connsiteX700" fmla="*/ 2806264 w 4663705"/>
              <a:gd name="connsiteY700" fmla="*/ 1359827 h 1782873"/>
              <a:gd name="connsiteX701" fmla="*/ 2836979 w 4663705"/>
              <a:gd name="connsiteY701" fmla="*/ 1364628 h 1782873"/>
              <a:gd name="connsiteX702" fmla="*/ 2870066 w 4663705"/>
              <a:gd name="connsiteY702" fmla="*/ 1374345 h 1782873"/>
              <a:gd name="connsiteX703" fmla="*/ 2887824 w 4663705"/>
              <a:gd name="connsiteY703" fmla="*/ 1394591 h 1782873"/>
              <a:gd name="connsiteX704" fmla="*/ 2900723 w 4663705"/>
              <a:gd name="connsiteY704" fmla="*/ 1419580 h 1782873"/>
              <a:gd name="connsiteX705" fmla="*/ 2916920 w 4663705"/>
              <a:gd name="connsiteY705" fmla="*/ 1451857 h 1782873"/>
              <a:gd name="connsiteX706" fmla="*/ 2930629 w 4663705"/>
              <a:gd name="connsiteY706" fmla="*/ 1485002 h 1782873"/>
              <a:gd name="connsiteX707" fmla="*/ 2941099 w 4663705"/>
              <a:gd name="connsiteY707" fmla="*/ 1500388 h 1782873"/>
              <a:gd name="connsiteX708" fmla="*/ 2967823 w 4663705"/>
              <a:gd name="connsiteY708" fmla="*/ 1510048 h 1782873"/>
              <a:gd name="connsiteX709" fmla="*/ 2995241 w 4663705"/>
              <a:gd name="connsiteY709" fmla="*/ 1522195 h 1782873"/>
              <a:gd name="connsiteX710" fmla="*/ 3014619 w 4663705"/>
              <a:gd name="connsiteY710" fmla="*/ 1535095 h 1782873"/>
              <a:gd name="connsiteX711" fmla="*/ 3020403 w 4663705"/>
              <a:gd name="connsiteY711" fmla="*/ 1558522 h 1782873"/>
              <a:gd name="connsiteX712" fmla="*/ 3047070 w 4663705"/>
              <a:gd name="connsiteY712" fmla="*/ 1569049 h 1782873"/>
              <a:gd name="connsiteX713" fmla="*/ 3071306 w 4663705"/>
              <a:gd name="connsiteY713" fmla="*/ 1563265 h 1782873"/>
              <a:gd name="connsiteX714" fmla="*/ 3097914 w 4663705"/>
              <a:gd name="connsiteY714" fmla="*/ 1553547 h 1782873"/>
              <a:gd name="connsiteX715" fmla="*/ 3119780 w 4663705"/>
              <a:gd name="connsiteY715" fmla="*/ 1559331 h 1782873"/>
              <a:gd name="connsiteX716" fmla="*/ 3120590 w 4663705"/>
              <a:gd name="connsiteY716" fmla="*/ 1581949 h 1782873"/>
              <a:gd name="connsiteX717" fmla="*/ 3106013 w 4663705"/>
              <a:gd name="connsiteY717" fmla="*/ 1616655 h 1782873"/>
              <a:gd name="connsiteX718" fmla="*/ 3089874 w 4663705"/>
              <a:gd name="connsiteY718" fmla="*/ 1637653 h 1782873"/>
              <a:gd name="connsiteX719" fmla="*/ 3076917 w 4663705"/>
              <a:gd name="connsiteY719" fmla="*/ 1655411 h 1782873"/>
              <a:gd name="connsiteX720" fmla="*/ 3052681 w 4663705"/>
              <a:gd name="connsiteY720" fmla="*/ 1655411 h 1782873"/>
              <a:gd name="connsiteX721" fmla="*/ 3030121 w 4663705"/>
              <a:gd name="connsiteY721" fmla="*/ 1665938 h 1782873"/>
              <a:gd name="connsiteX722" fmla="*/ 3026072 w 4663705"/>
              <a:gd name="connsiteY722" fmla="*/ 1685316 h 1782873"/>
              <a:gd name="connsiteX723" fmla="*/ 3027691 w 4663705"/>
              <a:gd name="connsiteY723" fmla="*/ 1707933 h 1782873"/>
              <a:gd name="connsiteX724" fmla="*/ 3029601 w 4663705"/>
              <a:gd name="connsiteY724" fmla="*/ 1734021 h 1782873"/>
              <a:gd name="connsiteX725" fmla="*/ 3052333 w 4663705"/>
              <a:gd name="connsiteY725" fmla="*/ 1721643 h 1782873"/>
              <a:gd name="connsiteX726" fmla="*/ 3083801 w 4663705"/>
              <a:gd name="connsiteY726" fmla="*/ 1739401 h 1782873"/>
              <a:gd name="connsiteX727" fmla="*/ 3146793 w 4663705"/>
              <a:gd name="connsiteY727" fmla="*/ 1699893 h 1782873"/>
              <a:gd name="connsiteX728" fmla="*/ 3191217 w 4663705"/>
              <a:gd name="connsiteY728" fmla="*/ 1650610 h 1782873"/>
              <a:gd name="connsiteX729" fmla="*/ 3231246 w 4663705"/>
              <a:gd name="connsiteY729" fmla="*/ 1596872 h 1782873"/>
              <a:gd name="connsiteX730" fmla="*/ 3260168 w 4663705"/>
              <a:gd name="connsiteY730" fmla="*/ 1558117 h 1782873"/>
              <a:gd name="connsiteX731" fmla="*/ 3277116 w 4663705"/>
              <a:gd name="connsiteY731" fmla="*/ 1530236 h 1782873"/>
              <a:gd name="connsiteX732" fmla="*/ 3288685 w 4663705"/>
              <a:gd name="connsiteY732" fmla="*/ 1458335 h 1782873"/>
              <a:gd name="connsiteX733" fmla="*/ 3293891 w 4663705"/>
              <a:gd name="connsiteY733" fmla="*/ 1441387 h 1782873"/>
              <a:gd name="connsiteX734" fmla="*/ 3304014 w 4663705"/>
              <a:gd name="connsiteY734" fmla="*/ 1422009 h 1782873"/>
              <a:gd name="connsiteX735" fmla="*/ 3308468 w 4663705"/>
              <a:gd name="connsiteY735" fmla="*/ 1403846 h 1782873"/>
              <a:gd name="connsiteX736" fmla="*/ 3306848 w 4663705"/>
              <a:gd name="connsiteY736" fmla="*/ 1383253 h 1782873"/>
              <a:gd name="connsiteX737" fmla="*/ 3310030 w 4663705"/>
              <a:gd name="connsiteY737" fmla="*/ 1375155 h 1782873"/>
              <a:gd name="connsiteX738" fmla="*/ 3300023 w 4663705"/>
              <a:gd name="connsiteY738" fmla="*/ 1361851 h 1782873"/>
              <a:gd name="connsiteX739" fmla="*/ 3283421 w 4663705"/>
              <a:gd name="connsiteY739" fmla="*/ 1348084 h 1782873"/>
              <a:gd name="connsiteX740" fmla="*/ 3262019 w 4663705"/>
              <a:gd name="connsiteY740" fmla="*/ 1331946 h 1782873"/>
              <a:gd name="connsiteX741" fmla="*/ 3238881 w 4663705"/>
              <a:gd name="connsiteY741" fmla="*/ 1332755 h 1782873"/>
              <a:gd name="connsiteX742" fmla="*/ 3233675 w 4663705"/>
              <a:gd name="connsiteY742" fmla="*/ 1342010 h 1782873"/>
              <a:gd name="connsiteX743" fmla="*/ 3222106 w 4663705"/>
              <a:gd name="connsiteY743" fmla="*/ 1352538 h 1782873"/>
              <a:gd name="connsiteX744" fmla="*/ 3206720 w 4663705"/>
              <a:gd name="connsiteY744" fmla="*/ 1353753 h 1782873"/>
              <a:gd name="connsiteX745" fmla="*/ 3205505 w 4663705"/>
              <a:gd name="connsiteY745" fmla="*/ 1337614 h 1782873"/>
              <a:gd name="connsiteX746" fmla="*/ 3204753 w 4663705"/>
              <a:gd name="connsiteY746" fmla="*/ 1326682 h 1782873"/>
              <a:gd name="connsiteX747" fmla="*/ 3187747 w 4663705"/>
              <a:gd name="connsiteY747" fmla="*/ 1346118 h 1782873"/>
              <a:gd name="connsiteX748" fmla="*/ 3184507 w 4663705"/>
              <a:gd name="connsiteY748" fmla="*/ 1318237 h 1782873"/>
              <a:gd name="connsiteX749" fmla="*/ 3153445 w 4663705"/>
              <a:gd name="connsiteY749" fmla="*/ 1317427 h 1782873"/>
              <a:gd name="connsiteX750" fmla="*/ 3154660 w 4663705"/>
              <a:gd name="connsiteY750" fmla="*/ 1297181 h 1782873"/>
              <a:gd name="connsiteX751" fmla="*/ 3172823 w 4663705"/>
              <a:gd name="connsiteY751" fmla="*/ 1280233 h 1782873"/>
              <a:gd name="connsiteX752" fmla="*/ 3207934 w 4663705"/>
              <a:gd name="connsiteY752" fmla="*/ 1259640 h 1782873"/>
              <a:gd name="connsiteX753" fmla="*/ 3222916 w 4663705"/>
              <a:gd name="connsiteY753" fmla="*/ 1239857 h 1782873"/>
              <a:gd name="connsiteX754" fmla="*/ 3262134 w 4663705"/>
              <a:gd name="connsiteY754" fmla="*/ 1210415 h 1782873"/>
              <a:gd name="connsiteX755" fmla="*/ 3291982 w 4663705"/>
              <a:gd name="connsiteY755" fmla="*/ 1179699 h 1782873"/>
              <a:gd name="connsiteX756" fmla="*/ 3322293 w 4663705"/>
              <a:gd name="connsiteY756" fmla="*/ 1154248 h 1782873"/>
              <a:gd name="connsiteX757" fmla="*/ 3373543 w 4663705"/>
              <a:gd name="connsiteY757" fmla="*/ 1127582 h 1782873"/>
              <a:gd name="connsiteX758" fmla="*/ 3432891 w 4663705"/>
              <a:gd name="connsiteY758" fmla="*/ 1134870 h 1782873"/>
              <a:gd name="connsiteX759" fmla="*/ 3444633 w 4663705"/>
              <a:gd name="connsiteY759" fmla="*/ 1137033 h 1782873"/>
              <a:gd name="connsiteX760" fmla="*/ 3447062 w 4663705"/>
              <a:gd name="connsiteY760" fmla="*/ 1134465 h 1782873"/>
              <a:gd name="connsiteX761" fmla="*/ 3472514 w 4663705"/>
              <a:gd name="connsiteY761" fmla="*/ 1134060 h 1782873"/>
              <a:gd name="connsiteX762" fmla="*/ 3498718 w 4663705"/>
              <a:gd name="connsiteY762" fmla="*/ 1130416 h 1782873"/>
              <a:gd name="connsiteX763" fmla="*/ 3521335 w 4663705"/>
              <a:gd name="connsiteY763" fmla="*/ 1123995 h 1782873"/>
              <a:gd name="connsiteX764" fmla="*/ 3559744 w 4663705"/>
              <a:gd name="connsiteY764" fmla="*/ 1119541 h 1782873"/>
              <a:gd name="connsiteX765" fmla="*/ 3580336 w 4663705"/>
              <a:gd name="connsiteY765" fmla="*/ 1123591 h 1782873"/>
              <a:gd name="connsiteX766" fmla="*/ 3599251 w 4663705"/>
              <a:gd name="connsiteY766" fmla="*/ 1133250 h 1782873"/>
              <a:gd name="connsiteX767" fmla="*/ 3594450 w 4663705"/>
              <a:gd name="connsiteY767" fmla="*/ 1141754 h 1782873"/>
              <a:gd name="connsiteX768" fmla="*/ 3585542 w 4663705"/>
              <a:gd name="connsiteY768" fmla="*/ 1151067 h 1782873"/>
              <a:gd name="connsiteX769" fmla="*/ 3613018 w 4663705"/>
              <a:gd name="connsiteY769" fmla="*/ 1147017 h 1782873"/>
              <a:gd name="connsiteX770" fmla="*/ 3641940 w 4663705"/>
              <a:gd name="connsiteY770" fmla="*/ 1142158 h 1782873"/>
              <a:gd name="connsiteX771" fmla="*/ 3661318 w 4663705"/>
              <a:gd name="connsiteY771" fmla="*/ 1141754 h 1782873"/>
              <a:gd name="connsiteX772" fmla="*/ 3689604 w 4663705"/>
              <a:gd name="connsiteY772" fmla="*/ 1134870 h 1782873"/>
              <a:gd name="connsiteX773" fmla="*/ 3678671 w 4663705"/>
              <a:gd name="connsiteY773" fmla="*/ 1126367 h 1782873"/>
              <a:gd name="connsiteX774" fmla="*/ 3676647 w 4663705"/>
              <a:gd name="connsiteY774" fmla="*/ 1103229 h 1782873"/>
              <a:gd name="connsiteX775" fmla="*/ 3716617 w 4663705"/>
              <a:gd name="connsiteY775" fmla="*/ 1067655 h 1782873"/>
              <a:gd name="connsiteX776" fmla="*/ 3736863 w 4663705"/>
              <a:gd name="connsiteY776" fmla="*/ 1056086 h 1782873"/>
              <a:gd name="connsiteX777" fmla="*/ 3751381 w 4663705"/>
              <a:gd name="connsiteY777" fmla="*/ 1031040 h 1782873"/>
              <a:gd name="connsiteX778" fmla="*/ 3796210 w 4663705"/>
              <a:gd name="connsiteY778" fmla="*/ 1026990 h 1782873"/>
              <a:gd name="connsiteX779" fmla="*/ 3814374 w 4663705"/>
              <a:gd name="connsiteY779" fmla="*/ 1034684 h 1782873"/>
              <a:gd name="connsiteX780" fmla="*/ 3834157 w 4663705"/>
              <a:gd name="connsiteY780" fmla="*/ 1026990 h 1782873"/>
              <a:gd name="connsiteX781" fmla="*/ 3820852 w 4663705"/>
              <a:gd name="connsiteY781" fmla="*/ 1052442 h 1782873"/>
              <a:gd name="connsiteX782" fmla="*/ 3836181 w 4663705"/>
              <a:gd name="connsiteY782" fmla="*/ 1062970 h 1782873"/>
              <a:gd name="connsiteX783" fmla="*/ 3828893 w 4663705"/>
              <a:gd name="connsiteY783" fmla="*/ 1074539 h 1782873"/>
              <a:gd name="connsiteX784" fmla="*/ 3862037 w 4663705"/>
              <a:gd name="connsiteY784" fmla="*/ 1060020 h 1782873"/>
              <a:gd name="connsiteX785" fmla="*/ 3907272 w 4663705"/>
              <a:gd name="connsiteY785" fmla="*/ 1038617 h 1782873"/>
              <a:gd name="connsiteX786" fmla="*/ 3913056 w 4663705"/>
              <a:gd name="connsiteY786" fmla="*/ 1011951 h 1782873"/>
              <a:gd name="connsiteX787" fmla="*/ 3959852 w 4663705"/>
              <a:gd name="connsiteY787" fmla="*/ 995408 h 1782873"/>
              <a:gd name="connsiteX788" fmla="*/ 3959448 w 4663705"/>
              <a:gd name="connsiteY788" fmla="*/ 1001828 h 1782873"/>
              <a:gd name="connsiteX789" fmla="*/ 3938855 w 4663705"/>
              <a:gd name="connsiteY789" fmla="*/ 1022421 h 1782873"/>
              <a:gd name="connsiteX790" fmla="*/ 3934458 w 4663705"/>
              <a:gd name="connsiteY790" fmla="*/ 1045905 h 1782873"/>
              <a:gd name="connsiteX791" fmla="*/ 3926360 w 4663705"/>
              <a:gd name="connsiteY791" fmla="*/ 1057995 h 1782873"/>
              <a:gd name="connsiteX792" fmla="*/ 3918262 w 4663705"/>
              <a:gd name="connsiteY792" fmla="*/ 1070489 h 1782873"/>
              <a:gd name="connsiteX793" fmla="*/ 3882341 w 4663705"/>
              <a:gd name="connsiteY793" fmla="*/ 1086223 h 1782873"/>
              <a:gd name="connsiteX794" fmla="*/ 3860129 w 4663705"/>
              <a:gd name="connsiteY794" fmla="*/ 1110865 h 1782873"/>
              <a:gd name="connsiteX795" fmla="*/ 3809631 w 4663705"/>
              <a:gd name="connsiteY795" fmla="*/ 1157140 h 1782873"/>
              <a:gd name="connsiteX796" fmla="*/ 3764801 w 4663705"/>
              <a:gd name="connsiteY796" fmla="*/ 1187798 h 1782873"/>
              <a:gd name="connsiteX797" fmla="*/ 3739350 w 4663705"/>
              <a:gd name="connsiteY797" fmla="*/ 1193061 h 1782873"/>
              <a:gd name="connsiteX798" fmla="*/ 3730095 w 4663705"/>
              <a:gd name="connsiteY798" fmla="*/ 1226206 h 1782873"/>
              <a:gd name="connsiteX799" fmla="*/ 3705049 w 4663705"/>
              <a:gd name="connsiteY799" fmla="*/ 1288794 h 1782873"/>
              <a:gd name="connsiteX800" fmla="*/ 3719972 w 4663705"/>
              <a:gd name="connsiteY800" fmla="*/ 1389790 h 1782873"/>
              <a:gd name="connsiteX801" fmla="*/ 3728475 w 4663705"/>
              <a:gd name="connsiteY801" fmla="*/ 1436065 h 1782873"/>
              <a:gd name="connsiteX802" fmla="*/ 3735706 w 4663705"/>
              <a:gd name="connsiteY802" fmla="*/ 1455906 h 1782873"/>
              <a:gd name="connsiteX803" fmla="*/ 3764628 w 4663705"/>
              <a:gd name="connsiteY803" fmla="*/ 1431206 h 1782873"/>
              <a:gd name="connsiteX804" fmla="*/ 3778337 w 4663705"/>
              <a:gd name="connsiteY804" fmla="*/ 1415473 h 1782873"/>
              <a:gd name="connsiteX805" fmla="*/ 3784411 w 4663705"/>
              <a:gd name="connsiteY805" fmla="*/ 1387592 h 1782873"/>
              <a:gd name="connsiteX806" fmla="*/ 3802979 w 4663705"/>
              <a:gd name="connsiteY806" fmla="*/ 1375097 h 1782873"/>
              <a:gd name="connsiteX807" fmla="*/ 3823166 w 4663705"/>
              <a:gd name="connsiteY807" fmla="*/ 1371048 h 1782873"/>
              <a:gd name="connsiteX808" fmla="*/ 3820737 w 4663705"/>
              <a:gd name="connsiteY808" fmla="*/ 1347911 h 1782873"/>
              <a:gd name="connsiteX809" fmla="*/ 3847056 w 4663705"/>
              <a:gd name="connsiteY809" fmla="*/ 1322864 h 1782873"/>
              <a:gd name="connsiteX810" fmla="*/ 3879738 w 4663705"/>
              <a:gd name="connsiteY810" fmla="*/ 1317080 h 1782873"/>
              <a:gd name="connsiteX811" fmla="*/ 3874879 w 4663705"/>
              <a:gd name="connsiteY811" fmla="*/ 1290008 h 1782873"/>
              <a:gd name="connsiteX812" fmla="*/ 3894257 w 4663705"/>
              <a:gd name="connsiteY812" fmla="*/ 1256864 h 1782873"/>
              <a:gd name="connsiteX813" fmla="*/ 3915312 w 4663705"/>
              <a:gd name="connsiteY813" fmla="*/ 1255649 h 1782873"/>
              <a:gd name="connsiteX814" fmla="*/ 3902355 w 4663705"/>
              <a:gd name="connsiteY814" fmla="*/ 1237486 h 1782873"/>
              <a:gd name="connsiteX815" fmla="*/ 3908140 w 4663705"/>
              <a:gd name="connsiteY815" fmla="*/ 1206828 h 1782873"/>
              <a:gd name="connsiteX816" fmla="*/ 3907272 w 4663705"/>
              <a:gd name="connsiteY816" fmla="*/ 1192309 h 1782873"/>
              <a:gd name="connsiteX817" fmla="*/ 3889919 w 4663705"/>
              <a:gd name="connsiteY817" fmla="*/ 1193466 h 1782873"/>
              <a:gd name="connsiteX818" fmla="*/ 3886679 w 4663705"/>
              <a:gd name="connsiteY818" fmla="*/ 1165238 h 1782873"/>
              <a:gd name="connsiteX819" fmla="*/ 3909817 w 4663705"/>
              <a:gd name="connsiteY819" fmla="*/ 1141002 h 1782873"/>
              <a:gd name="connsiteX820" fmla="*/ 3930410 w 4663705"/>
              <a:gd name="connsiteY820" fmla="*/ 1106700 h 1782873"/>
              <a:gd name="connsiteX821" fmla="*/ 3954184 w 4663705"/>
              <a:gd name="connsiteY821" fmla="*/ 1105485 h 1782873"/>
              <a:gd name="connsiteX822" fmla="*/ 3964711 w 4663705"/>
              <a:gd name="connsiteY822" fmla="*/ 1110286 h 1782873"/>
              <a:gd name="connsiteX823" fmla="*/ 3992187 w 4663705"/>
              <a:gd name="connsiteY823" fmla="*/ 1084083 h 1782873"/>
              <a:gd name="connsiteX824" fmla="*/ 3997971 w 4663705"/>
              <a:gd name="connsiteY824" fmla="*/ 1107857 h 1782873"/>
              <a:gd name="connsiteX825" fmla="*/ 4023365 w 4663705"/>
              <a:gd name="connsiteY825" fmla="*/ 1093338 h 1782873"/>
              <a:gd name="connsiteX826" fmla="*/ 4091622 w 4663705"/>
              <a:gd name="connsiteY826" fmla="*/ 1088074 h 1782873"/>
              <a:gd name="connsiteX827" fmla="*/ 4111867 w 4663705"/>
              <a:gd name="connsiteY827" fmla="*/ 1105427 h 1782873"/>
              <a:gd name="connsiteX828" fmla="*/ 4123436 w 4663705"/>
              <a:gd name="connsiteY828" fmla="*/ 1089231 h 1782873"/>
              <a:gd name="connsiteX829" fmla="*/ 4163001 w 4663705"/>
              <a:gd name="connsiteY829" fmla="*/ 1067019 h 1782873"/>
              <a:gd name="connsiteX830" fmla="*/ 4179198 w 4663705"/>
              <a:gd name="connsiteY830" fmla="*/ 1056144 h 1782873"/>
              <a:gd name="connsiteX831" fmla="*/ 4194932 w 4663705"/>
              <a:gd name="connsiteY831" fmla="*/ 1045616 h 1782873"/>
              <a:gd name="connsiteX832" fmla="*/ 4241207 w 4663705"/>
              <a:gd name="connsiteY832" fmla="*/ 1025024 h 1782873"/>
              <a:gd name="connsiteX833" fmla="*/ 4298126 w 4663705"/>
              <a:gd name="connsiteY833" fmla="*/ 997201 h 1782873"/>
              <a:gd name="connsiteX834" fmla="*/ 4309000 w 4663705"/>
              <a:gd name="connsiteY834" fmla="*/ 994771 h 1782873"/>
              <a:gd name="connsiteX835" fmla="*/ 4333237 w 4663705"/>
              <a:gd name="connsiteY835" fmla="*/ 1000556 h 1782873"/>
              <a:gd name="connsiteX836" fmla="*/ 4363142 w 4663705"/>
              <a:gd name="connsiteY836" fmla="*/ 998184 h 1782873"/>
              <a:gd name="connsiteX837" fmla="*/ 4362333 w 4663705"/>
              <a:gd name="connsiteY837" fmla="*/ 975972 h 1782873"/>
              <a:gd name="connsiteX838" fmla="*/ 4346541 w 4663705"/>
              <a:gd name="connsiteY838" fmla="*/ 950925 h 1782873"/>
              <a:gd name="connsiteX839" fmla="*/ 4328031 w 4663705"/>
              <a:gd name="connsiteY839" fmla="*/ 924259 h 1782873"/>
              <a:gd name="connsiteX840" fmla="*/ 4311835 w 4663705"/>
              <a:gd name="connsiteY840" fmla="*/ 914136 h 1782873"/>
              <a:gd name="connsiteX841" fmla="*/ 4303332 w 4663705"/>
              <a:gd name="connsiteY841" fmla="*/ 904823 h 1782873"/>
              <a:gd name="connsiteX842" fmla="*/ 4280194 w 4663705"/>
              <a:gd name="connsiteY842" fmla="*/ 900022 h 1782873"/>
              <a:gd name="connsiteX843" fmla="*/ 4307208 w 4663705"/>
              <a:gd name="connsiteY843" fmla="*/ 892387 h 1782873"/>
              <a:gd name="connsiteX844" fmla="*/ 4321784 w 4663705"/>
              <a:gd name="connsiteY844" fmla="*/ 905691 h 1782873"/>
              <a:gd name="connsiteX845" fmla="*/ 4352847 w 4663705"/>
              <a:gd name="connsiteY845" fmla="*/ 903666 h 1782873"/>
              <a:gd name="connsiteX846" fmla="*/ 4389230 w 4663705"/>
              <a:gd name="connsiteY846" fmla="*/ 885098 h 1782873"/>
              <a:gd name="connsiteX847" fmla="*/ 4396924 w 4663705"/>
              <a:gd name="connsiteY847" fmla="*/ 870984 h 1782873"/>
              <a:gd name="connsiteX848" fmla="*/ 4392065 w 4663705"/>
              <a:gd name="connsiteY848" fmla="*/ 854788 h 1782873"/>
              <a:gd name="connsiteX849" fmla="*/ 4388074 w 4663705"/>
              <a:gd name="connsiteY849" fmla="*/ 845915 h 1782873"/>
              <a:gd name="connsiteX850" fmla="*/ 4394032 w 4663705"/>
              <a:gd name="connsiteY850" fmla="*/ 841484 h 1782873"/>
              <a:gd name="connsiteX851" fmla="*/ 4404155 w 4663705"/>
              <a:gd name="connsiteY851" fmla="*/ 832576 h 1782873"/>
              <a:gd name="connsiteX852" fmla="*/ 4418731 w 4663705"/>
              <a:gd name="connsiteY852" fmla="*/ 831766 h 1782873"/>
              <a:gd name="connsiteX853" fmla="*/ 4415087 w 4663705"/>
              <a:gd name="connsiteY853" fmla="*/ 846343 h 1782873"/>
              <a:gd name="connsiteX854" fmla="*/ 4424747 w 4663705"/>
              <a:gd name="connsiteY854" fmla="*/ 864911 h 1782873"/>
              <a:gd name="connsiteX855" fmla="*/ 4453033 w 4663705"/>
              <a:gd name="connsiteY855" fmla="*/ 865663 h 1782873"/>
              <a:gd name="connsiteX856" fmla="*/ 4495838 w 4663705"/>
              <a:gd name="connsiteY856" fmla="*/ 879777 h 1782873"/>
              <a:gd name="connsiteX857" fmla="*/ 4515215 w 4663705"/>
              <a:gd name="connsiteY857" fmla="*/ 903261 h 1782873"/>
              <a:gd name="connsiteX858" fmla="*/ 4542287 w 4663705"/>
              <a:gd name="connsiteY858" fmla="*/ 912979 h 1782873"/>
              <a:gd name="connsiteX859" fmla="*/ 4556748 w 4663705"/>
              <a:gd name="connsiteY859" fmla="*/ 920655 h 1782873"/>
              <a:gd name="connsiteX860" fmla="*/ 4556863 w 4663705"/>
              <a:gd name="connsiteY860" fmla="*/ 920615 h 1782873"/>
              <a:gd name="connsiteX861" fmla="*/ 4573407 w 4663705"/>
              <a:gd name="connsiteY861" fmla="*/ 922177 h 1782873"/>
              <a:gd name="connsiteX862" fmla="*/ 4588331 w 4663705"/>
              <a:gd name="connsiteY862" fmla="*/ 918995 h 1782873"/>
              <a:gd name="connsiteX863" fmla="*/ 4576241 w 4663705"/>
              <a:gd name="connsiteY863" fmla="*/ 904071 h 1782873"/>
              <a:gd name="connsiteX864" fmla="*/ 4589545 w 4663705"/>
              <a:gd name="connsiteY864" fmla="*/ 907311 h 1782873"/>
              <a:gd name="connsiteX865" fmla="*/ 4592379 w 4663705"/>
              <a:gd name="connsiteY865" fmla="*/ 893949 h 1782873"/>
              <a:gd name="connsiteX866" fmla="*/ 4588331 w 4663705"/>
              <a:gd name="connsiteY866" fmla="*/ 866935 h 1782873"/>
              <a:gd name="connsiteX867" fmla="*/ 4596834 w 4663705"/>
              <a:gd name="connsiteY867" fmla="*/ 863696 h 1782873"/>
              <a:gd name="connsiteX868" fmla="*/ 4627491 w 4663705"/>
              <a:gd name="connsiteY868" fmla="*/ 870117 h 1782873"/>
              <a:gd name="connsiteX869" fmla="*/ 4621071 w 4663705"/>
              <a:gd name="connsiteY869" fmla="*/ 862423 h 1782873"/>
              <a:gd name="connsiteX870" fmla="*/ 4626855 w 4663705"/>
              <a:gd name="connsiteY870" fmla="*/ 860052 h 1782873"/>
              <a:gd name="connsiteX871" fmla="*/ 4641779 w 4663705"/>
              <a:gd name="connsiteY871" fmla="*/ 861672 h 1782873"/>
              <a:gd name="connsiteX872" fmla="*/ 4655950 w 4663705"/>
              <a:gd name="connsiteY872" fmla="*/ 846748 h 1782873"/>
              <a:gd name="connsiteX873" fmla="*/ 4658438 w 4663705"/>
              <a:gd name="connsiteY873" fmla="*/ 840327 h 1782873"/>
              <a:gd name="connsiteX874" fmla="*/ 2406213 w 4663705"/>
              <a:gd name="connsiteY874" fmla="*/ 1370181 h 1782873"/>
              <a:gd name="connsiteX875" fmla="*/ 2337146 w 4663705"/>
              <a:gd name="connsiteY875" fmla="*/ 1412581 h 1782873"/>
              <a:gd name="connsiteX876" fmla="*/ 2276584 w 4663705"/>
              <a:gd name="connsiteY876" fmla="*/ 1430801 h 1782873"/>
              <a:gd name="connsiteX877" fmla="*/ 2328643 w 4663705"/>
              <a:gd name="connsiteY877" fmla="*/ 1398062 h 1782873"/>
              <a:gd name="connsiteX878" fmla="*/ 2401296 w 4663705"/>
              <a:gd name="connsiteY878" fmla="*/ 1328995 h 1782873"/>
              <a:gd name="connsiteX879" fmla="*/ 2436465 w 4663705"/>
              <a:gd name="connsiteY879" fmla="*/ 1273291 h 1782873"/>
              <a:gd name="connsiteX880" fmla="*/ 2406444 w 4663705"/>
              <a:gd name="connsiteY880" fmla="*/ 1370181 h 1782873"/>
              <a:gd name="connsiteX881" fmla="*/ 2508771 w 4663705"/>
              <a:gd name="connsiteY881" fmla="*/ 421534 h 1782873"/>
              <a:gd name="connsiteX882" fmla="*/ 2492632 w 4663705"/>
              <a:gd name="connsiteY882" fmla="*/ 434434 h 1782873"/>
              <a:gd name="connsiteX883" fmla="*/ 2541915 w 4663705"/>
              <a:gd name="connsiteY883" fmla="*/ 426393 h 1782873"/>
              <a:gd name="connsiteX884" fmla="*/ 2509002 w 4663705"/>
              <a:gd name="connsiteY884" fmla="*/ 421592 h 1782873"/>
              <a:gd name="connsiteX885" fmla="*/ 1038022 w 4663705"/>
              <a:gd name="connsiteY885" fmla="*/ 22409 h 1782873"/>
              <a:gd name="connsiteX886" fmla="*/ 1064630 w 4663705"/>
              <a:gd name="connsiteY886" fmla="*/ 11881 h 1782873"/>
              <a:gd name="connsiteX887" fmla="*/ 1087768 w 4663705"/>
              <a:gd name="connsiteY887" fmla="*/ 4650 h 1782873"/>
              <a:gd name="connsiteX888" fmla="*/ 1039294 w 4663705"/>
              <a:gd name="connsiteY888" fmla="*/ 6270 h 1782873"/>
              <a:gd name="connsiteX889" fmla="*/ 1002101 w 4663705"/>
              <a:gd name="connsiteY889" fmla="*/ 12691 h 1782873"/>
              <a:gd name="connsiteX890" fmla="*/ 1038253 w 4663705"/>
              <a:gd name="connsiteY890" fmla="*/ 22582 h 1782873"/>
              <a:gd name="connsiteX891" fmla="*/ 937778 w 4663705"/>
              <a:gd name="connsiteY891" fmla="*/ 76493 h 1782873"/>
              <a:gd name="connsiteX892" fmla="*/ 903881 w 4663705"/>
              <a:gd name="connsiteY892" fmla="*/ 80542 h 1782873"/>
              <a:gd name="connsiteX893" fmla="*/ 938009 w 4663705"/>
              <a:gd name="connsiteY893" fmla="*/ 76667 h 1782873"/>
              <a:gd name="connsiteX894" fmla="*/ 1041898 w 4663705"/>
              <a:gd name="connsiteY894" fmla="*/ 66023 h 1782873"/>
              <a:gd name="connsiteX895" fmla="*/ 1021710 w 4663705"/>
              <a:gd name="connsiteY895" fmla="*/ 73254 h 1782873"/>
              <a:gd name="connsiteX896" fmla="*/ 1005513 w 4663705"/>
              <a:gd name="connsiteY896" fmla="*/ 89450 h 1782873"/>
              <a:gd name="connsiteX897" fmla="*/ 1065324 w 4663705"/>
              <a:gd name="connsiteY897" fmla="*/ 84591 h 1782873"/>
              <a:gd name="connsiteX898" fmla="*/ 1094246 w 4663705"/>
              <a:gd name="connsiteY898" fmla="*/ 73022 h 1782873"/>
              <a:gd name="connsiteX899" fmla="*/ 1042244 w 4663705"/>
              <a:gd name="connsiteY899" fmla="*/ 66197 h 1782873"/>
              <a:gd name="connsiteX900" fmla="*/ 1180030 w 4663705"/>
              <a:gd name="connsiteY900" fmla="*/ 50695 h 1782873"/>
              <a:gd name="connsiteX901" fmla="*/ 1167883 w 4663705"/>
              <a:gd name="connsiteY901" fmla="*/ 36118 h 1782873"/>
              <a:gd name="connsiteX902" fmla="*/ 1123458 w 4663705"/>
              <a:gd name="connsiteY902" fmla="*/ 35308 h 1782873"/>
              <a:gd name="connsiteX903" fmla="*/ 1102518 w 4663705"/>
              <a:gd name="connsiteY903" fmla="*/ 60354 h 1782873"/>
              <a:gd name="connsiteX904" fmla="*/ 1180376 w 4663705"/>
              <a:gd name="connsiteY904" fmla="*/ 50868 h 1782873"/>
              <a:gd name="connsiteX905" fmla="*/ 1051615 w 4663705"/>
              <a:gd name="connsiteY905" fmla="*/ 37737 h 1782873"/>
              <a:gd name="connsiteX906" fmla="*/ 1004703 w 4663705"/>
              <a:gd name="connsiteY906" fmla="*/ 25648 h 1782873"/>
              <a:gd name="connsiteX907" fmla="*/ 985326 w 4663705"/>
              <a:gd name="connsiteY907" fmla="*/ 29697 h 1782873"/>
              <a:gd name="connsiteX908" fmla="*/ 956403 w 4663705"/>
              <a:gd name="connsiteY908" fmla="*/ 46645 h 1782873"/>
              <a:gd name="connsiteX909" fmla="*/ 1051962 w 4663705"/>
              <a:gd name="connsiteY909" fmla="*/ 37853 h 1782873"/>
              <a:gd name="connsiteX910" fmla="*/ 931241 w 4663705"/>
              <a:gd name="connsiteY910" fmla="*/ 486031 h 1782873"/>
              <a:gd name="connsiteX911" fmla="*/ 911922 w 4663705"/>
              <a:gd name="connsiteY911" fmla="*/ 499740 h 1782873"/>
              <a:gd name="connsiteX912" fmla="*/ 920713 w 4663705"/>
              <a:gd name="connsiteY912" fmla="*/ 518308 h 1782873"/>
              <a:gd name="connsiteX913" fmla="*/ 904575 w 4663705"/>
              <a:gd name="connsiteY913" fmla="*/ 534504 h 1782873"/>
              <a:gd name="connsiteX914" fmla="*/ 870679 w 4663705"/>
              <a:gd name="connsiteY914" fmla="*/ 552262 h 1782873"/>
              <a:gd name="connsiteX915" fmla="*/ 898155 w 4663705"/>
              <a:gd name="connsiteY915" fmla="*/ 568401 h 1782873"/>
              <a:gd name="connsiteX916" fmla="*/ 902955 w 4663705"/>
              <a:gd name="connsiteY916" fmla="*/ 588589 h 1782873"/>
              <a:gd name="connsiteX917" fmla="*/ 913483 w 4663705"/>
              <a:gd name="connsiteY917" fmla="*/ 579681 h 1782873"/>
              <a:gd name="connsiteX918" fmla="*/ 935290 w 4663705"/>
              <a:gd name="connsiteY918" fmla="*/ 595067 h 1782873"/>
              <a:gd name="connsiteX919" fmla="*/ 969997 w 4663705"/>
              <a:gd name="connsiteY919" fmla="*/ 614445 h 1782873"/>
              <a:gd name="connsiteX920" fmla="*/ 1041030 w 4663705"/>
              <a:gd name="connsiteY920" fmla="*/ 614445 h 1782873"/>
              <a:gd name="connsiteX921" fmla="*/ 1003893 w 4663705"/>
              <a:gd name="connsiteY921" fmla="*/ 581300 h 1782873"/>
              <a:gd name="connsiteX922" fmla="*/ 994176 w 4663705"/>
              <a:gd name="connsiteY922" fmla="*/ 522357 h 1782873"/>
              <a:gd name="connsiteX923" fmla="*/ 1015983 w 4663705"/>
              <a:gd name="connsiteY923" fmla="*/ 490890 h 1782873"/>
              <a:gd name="connsiteX924" fmla="*/ 1040220 w 4663705"/>
              <a:gd name="connsiteY924" fmla="*/ 462604 h 1782873"/>
              <a:gd name="connsiteX925" fmla="*/ 1054797 w 4663705"/>
              <a:gd name="connsiteY925" fmla="*/ 444036 h 1782873"/>
              <a:gd name="connsiteX926" fmla="*/ 1072034 w 4663705"/>
              <a:gd name="connsiteY926" fmla="*/ 418544 h 1782873"/>
              <a:gd name="connsiteX927" fmla="*/ 1071745 w 4663705"/>
              <a:gd name="connsiteY927" fmla="*/ 417369 h 1782873"/>
              <a:gd name="connsiteX928" fmla="*/ 1097602 w 4663705"/>
              <a:gd name="connsiteY928" fmla="*/ 408461 h 1782873"/>
              <a:gd name="connsiteX929" fmla="*/ 1133927 w 4663705"/>
              <a:gd name="connsiteY929" fmla="*/ 391513 h 1782873"/>
              <a:gd name="connsiteX930" fmla="*/ 1285769 w 4663705"/>
              <a:gd name="connsiteY930" fmla="*/ 334189 h 1782873"/>
              <a:gd name="connsiteX931" fmla="*/ 1356049 w 4663705"/>
              <a:gd name="connsiteY931" fmla="*/ 285716 h 1782873"/>
              <a:gd name="connsiteX932" fmla="*/ 1272059 w 4663705"/>
              <a:gd name="connsiteY932" fmla="*/ 301854 h 1782873"/>
              <a:gd name="connsiteX933" fmla="*/ 1227635 w 4663705"/>
              <a:gd name="connsiteY933" fmla="*/ 312324 h 1782873"/>
              <a:gd name="connsiteX934" fmla="*/ 1173493 w 4663705"/>
              <a:gd name="connsiteY934" fmla="*/ 317183 h 1782873"/>
              <a:gd name="connsiteX935" fmla="*/ 1133002 w 4663705"/>
              <a:gd name="connsiteY935" fmla="*/ 326901 h 1782873"/>
              <a:gd name="connsiteX936" fmla="*/ 1099106 w 4663705"/>
              <a:gd name="connsiteY936" fmla="*/ 336619 h 1782873"/>
              <a:gd name="connsiteX937" fmla="*/ 1063531 w 4663705"/>
              <a:gd name="connsiteY937" fmla="*/ 351948 h 1782873"/>
              <a:gd name="connsiteX938" fmla="*/ 1042534 w 4663705"/>
              <a:gd name="connsiteY938" fmla="*/ 364905 h 1782873"/>
              <a:gd name="connsiteX939" fmla="*/ 1019396 w 4663705"/>
              <a:gd name="connsiteY939" fmla="*/ 372945 h 1782873"/>
              <a:gd name="connsiteX940" fmla="*/ 1012917 w 4663705"/>
              <a:gd name="connsiteY940" fmla="*/ 391513 h 1782873"/>
              <a:gd name="connsiteX941" fmla="*/ 997589 w 4663705"/>
              <a:gd name="connsiteY941" fmla="*/ 409271 h 1782873"/>
              <a:gd name="connsiteX942" fmla="*/ 989490 w 4663705"/>
              <a:gd name="connsiteY942" fmla="*/ 427087 h 1782873"/>
              <a:gd name="connsiteX943" fmla="*/ 966353 w 4663705"/>
              <a:gd name="connsiteY943" fmla="*/ 439177 h 1782873"/>
              <a:gd name="connsiteX944" fmla="*/ 963172 w 4663705"/>
              <a:gd name="connsiteY944" fmla="*/ 458555 h 1782873"/>
              <a:gd name="connsiteX945" fmla="*/ 955941 w 4663705"/>
              <a:gd name="connsiteY945" fmla="*/ 473883 h 1782873"/>
              <a:gd name="connsiteX946" fmla="*/ 931588 w 4663705"/>
              <a:gd name="connsiteY946" fmla="*/ 486204 h 178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Lst>
            <a:rect l="l" t="t" r="r" b="b"/>
            <a:pathLst>
              <a:path w="4663705" h="1782873">
                <a:moveTo>
                  <a:pt x="70634" y="1290818"/>
                </a:moveTo>
                <a:cubicBezTo>
                  <a:pt x="66990" y="1292669"/>
                  <a:pt x="57272" y="1289025"/>
                  <a:pt x="54264" y="1285034"/>
                </a:cubicBezTo>
                <a:cubicBezTo>
                  <a:pt x="51256" y="1281043"/>
                  <a:pt x="44315" y="1282894"/>
                  <a:pt x="37605" y="1283530"/>
                </a:cubicBezTo>
                <a:cubicBezTo>
                  <a:pt x="39398" y="1284450"/>
                  <a:pt x="40902" y="1285878"/>
                  <a:pt x="41885" y="1287637"/>
                </a:cubicBezTo>
                <a:cubicBezTo>
                  <a:pt x="45530" y="1294115"/>
                  <a:pt x="27367" y="1294925"/>
                  <a:pt x="33035" y="1302561"/>
                </a:cubicBezTo>
                <a:cubicBezTo>
                  <a:pt x="38704" y="1310196"/>
                  <a:pt x="20136" y="1310659"/>
                  <a:pt x="20136" y="1302561"/>
                </a:cubicBezTo>
                <a:cubicBezTo>
                  <a:pt x="20136" y="1294462"/>
                  <a:pt x="700" y="1298512"/>
                  <a:pt x="1568" y="1303775"/>
                </a:cubicBezTo>
                <a:cubicBezTo>
                  <a:pt x="1747" y="1306060"/>
                  <a:pt x="1157" y="1308339"/>
                  <a:pt x="-110" y="1310254"/>
                </a:cubicBezTo>
                <a:cubicBezTo>
                  <a:pt x="5212" y="1312163"/>
                  <a:pt x="11459" y="1314303"/>
                  <a:pt x="13715" y="1315286"/>
                </a:cubicBezTo>
                <a:cubicBezTo>
                  <a:pt x="17359" y="1316790"/>
                  <a:pt x="65775" y="1321765"/>
                  <a:pt x="84748" y="1318294"/>
                </a:cubicBezTo>
                <a:cubicBezTo>
                  <a:pt x="84575" y="1312221"/>
                  <a:pt x="84922" y="1306147"/>
                  <a:pt x="85731" y="1300131"/>
                </a:cubicBezTo>
                <a:cubicBezTo>
                  <a:pt x="85731" y="1295099"/>
                  <a:pt x="74220" y="1289025"/>
                  <a:pt x="70634" y="1290818"/>
                </a:cubicBezTo>
                <a:close/>
                <a:moveTo>
                  <a:pt x="1239088" y="46819"/>
                </a:moveTo>
                <a:cubicBezTo>
                  <a:pt x="1269746" y="43580"/>
                  <a:pt x="1268994" y="26631"/>
                  <a:pt x="1252855" y="23392"/>
                </a:cubicBezTo>
                <a:cubicBezTo>
                  <a:pt x="1236717" y="20153"/>
                  <a:pt x="1234230" y="33052"/>
                  <a:pt x="1226189" y="32242"/>
                </a:cubicBezTo>
                <a:cubicBezTo>
                  <a:pt x="1218149" y="31432"/>
                  <a:pt x="1187607" y="37332"/>
                  <a:pt x="1193855" y="44389"/>
                </a:cubicBezTo>
                <a:cubicBezTo>
                  <a:pt x="1201374" y="52488"/>
                  <a:pt x="1223991" y="48381"/>
                  <a:pt x="1239320" y="46819"/>
                </a:cubicBezTo>
                <a:close/>
                <a:moveTo>
                  <a:pt x="1394979" y="495864"/>
                </a:moveTo>
                <a:cubicBezTo>
                  <a:pt x="1405507" y="497484"/>
                  <a:pt x="1433735" y="491815"/>
                  <a:pt x="1436974" y="486204"/>
                </a:cubicBezTo>
                <a:cubicBezTo>
                  <a:pt x="1440213" y="480593"/>
                  <a:pt x="1425405" y="474057"/>
                  <a:pt x="1407069" y="474057"/>
                </a:cubicBezTo>
                <a:cubicBezTo>
                  <a:pt x="1388732" y="474057"/>
                  <a:pt x="1386129" y="494476"/>
                  <a:pt x="1395210" y="495864"/>
                </a:cubicBezTo>
                <a:close/>
                <a:moveTo>
                  <a:pt x="1991874" y="83145"/>
                </a:moveTo>
                <a:cubicBezTo>
                  <a:pt x="2007203" y="89624"/>
                  <a:pt x="2001534" y="93673"/>
                  <a:pt x="1985396" y="93673"/>
                </a:cubicBezTo>
                <a:cubicBezTo>
                  <a:pt x="1969257" y="93673"/>
                  <a:pt x="1955374" y="99110"/>
                  <a:pt x="1966018" y="103333"/>
                </a:cubicBezTo>
                <a:cubicBezTo>
                  <a:pt x="1974115" y="106630"/>
                  <a:pt x="1973306" y="115480"/>
                  <a:pt x="1990254" y="119471"/>
                </a:cubicBezTo>
                <a:cubicBezTo>
                  <a:pt x="2007203" y="123463"/>
                  <a:pt x="2024151" y="109811"/>
                  <a:pt x="2022532" y="100093"/>
                </a:cubicBezTo>
                <a:cubicBezTo>
                  <a:pt x="2020912" y="90376"/>
                  <a:pt x="2081533" y="81526"/>
                  <a:pt x="2097729" y="77476"/>
                </a:cubicBezTo>
                <a:cubicBezTo>
                  <a:pt x="2113925" y="73427"/>
                  <a:pt x="2087201" y="56479"/>
                  <a:pt x="2105017" y="54859"/>
                </a:cubicBezTo>
                <a:cubicBezTo>
                  <a:pt x="2122834" y="53240"/>
                  <a:pt x="2115487" y="45199"/>
                  <a:pt x="2093738" y="41960"/>
                </a:cubicBezTo>
                <a:cubicBezTo>
                  <a:pt x="2071988" y="38721"/>
                  <a:pt x="2080781" y="20153"/>
                  <a:pt x="2073550" y="13674"/>
                </a:cubicBezTo>
                <a:cubicBezTo>
                  <a:pt x="2066320" y="7196"/>
                  <a:pt x="2061981" y="21772"/>
                  <a:pt x="2033927" y="27441"/>
                </a:cubicBezTo>
                <a:cubicBezTo>
                  <a:pt x="2005873" y="33110"/>
                  <a:pt x="1991932" y="40340"/>
                  <a:pt x="2003211" y="46009"/>
                </a:cubicBezTo>
                <a:cubicBezTo>
                  <a:pt x="2014491" y="51678"/>
                  <a:pt x="2003211" y="65387"/>
                  <a:pt x="1991122" y="64635"/>
                </a:cubicBezTo>
                <a:cubicBezTo>
                  <a:pt x="1979033" y="63883"/>
                  <a:pt x="1976777" y="76667"/>
                  <a:pt x="1992106" y="83145"/>
                </a:cubicBezTo>
                <a:close/>
                <a:moveTo>
                  <a:pt x="2034679" y="105762"/>
                </a:moveTo>
                <a:cubicBezTo>
                  <a:pt x="2034679" y="114670"/>
                  <a:pt x="2008707" y="123520"/>
                  <a:pt x="2016053" y="129999"/>
                </a:cubicBezTo>
                <a:cubicBezTo>
                  <a:pt x="2022532" y="135783"/>
                  <a:pt x="2028200" y="134048"/>
                  <a:pt x="2036298" y="135783"/>
                </a:cubicBezTo>
                <a:cubicBezTo>
                  <a:pt x="2044396" y="137519"/>
                  <a:pt x="2048388" y="157649"/>
                  <a:pt x="2062907" y="154409"/>
                </a:cubicBezTo>
                <a:cubicBezTo>
                  <a:pt x="2077426" y="151170"/>
                  <a:pt x="2117049" y="170548"/>
                  <a:pt x="2140476" y="170548"/>
                </a:cubicBezTo>
                <a:cubicBezTo>
                  <a:pt x="2163903" y="170548"/>
                  <a:pt x="2166333" y="151170"/>
                  <a:pt x="2159044" y="150360"/>
                </a:cubicBezTo>
                <a:cubicBezTo>
                  <a:pt x="2151756" y="149550"/>
                  <a:pt x="2158292" y="138271"/>
                  <a:pt x="2171134" y="119645"/>
                </a:cubicBezTo>
                <a:cubicBezTo>
                  <a:pt x="2183975" y="101019"/>
                  <a:pt x="2130643" y="87368"/>
                  <a:pt x="2130643" y="101887"/>
                </a:cubicBezTo>
                <a:cubicBezTo>
                  <a:pt x="2130643" y="116406"/>
                  <a:pt x="2115314" y="98647"/>
                  <a:pt x="2110455" y="89797"/>
                </a:cubicBezTo>
                <a:cubicBezTo>
                  <a:pt x="2105596" y="80947"/>
                  <a:pt x="2034910" y="96854"/>
                  <a:pt x="2034910" y="105762"/>
                </a:cubicBezTo>
                <a:close/>
                <a:moveTo>
                  <a:pt x="1630810" y="508011"/>
                </a:moveTo>
                <a:cubicBezTo>
                  <a:pt x="1643767" y="514490"/>
                  <a:pt x="1653485" y="512061"/>
                  <a:pt x="1651807" y="499103"/>
                </a:cubicBezTo>
                <a:cubicBezTo>
                  <a:pt x="1650130" y="486146"/>
                  <a:pt x="1620803" y="502863"/>
                  <a:pt x="1631041" y="508011"/>
                </a:cubicBezTo>
                <a:close/>
                <a:moveTo>
                  <a:pt x="1970877" y="25821"/>
                </a:moveTo>
                <a:cubicBezTo>
                  <a:pt x="1974115" y="13674"/>
                  <a:pt x="1920494" y="18938"/>
                  <a:pt x="1934492" y="30623"/>
                </a:cubicBezTo>
                <a:cubicBezTo>
                  <a:pt x="1939756" y="34672"/>
                  <a:pt x="1967869" y="37853"/>
                  <a:pt x="1971108" y="25821"/>
                </a:cubicBezTo>
                <a:close/>
                <a:moveTo>
                  <a:pt x="4347929" y="611379"/>
                </a:moveTo>
                <a:cubicBezTo>
                  <a:pt x="4364068" y="619477"/>
                  <a:pt x="4373728" y="601719"/>
                  <a:pt x="4386685" y="610569"/>
                </a:cubicBezTo>
                <a:cubicBezTo>
                  <a:pt x="4399643" y="619420"/>
                  <a:pt x="4431110" y="606520"/>
                  <a:pt x="4444067" y="604091"/>
                </a:cubicBezTo>
                <a:cubicBezTo>
                  <a:pt x="4457024" y="601661"/>
                  <a:pt x="4450488" y="585523"/>
                  <a:pt x="4414162" y="580953"/>
                </a:cubicBezTo>
                <a:cubicBezTo>
                  <a:pt x="4377835" y="576383"/>
                  <a:pt x="4330750" y="602703"/>
                  <a:pt x="4348161" y="611379"/>
                </a:cubicBezTo>
                <a:close/>
                <a:moveTo>
                  <a:pt x="2160143" y="219658"/>
                </a:moveTo>
                <a:cubicBezTo>
                  <a:pt x="2171712" y="226136"/>
                  <a:pt x="2207749" y="211617"/>
                  <a:pt x="2231986" y="212369"/>
                </a:cubicBezTo>
                <a:cubicBezTo>
                  <a:pt x="2256222" y="213121"/>
                  <a:pt x="2324073" y="193801"/>
                  <a:pt x="2326503" y="180902"/>
                </a:cubicBezTo>
                <a:cubicBezTo>
                  <a:pt x="2328933" y="168003"/>
                  <a:pt x="2301457" y="168755"/>
                  <a:pt x="2290987" y="157764"/>
                </a:cubicBezTo>
                <a:cubicBezTo>
                  <a:pt x="2280517" y="146774"/>
                  <a:pt x="2257032" y="156145"/>
                  <a:pt x="2251364" y="165805"/>
                </a:cubicBezTo>
                <a:cubicBezTo>
                  <a:pt x="2245695" y="175465"/>
                  <a:pt x="2239274" y="166672"/>
                  <a:pt x="2254603" y="151286"/>
                </a:cubicBezTo>
                <a:cubicBezTo>
                  <a:pt x="2269931" y="135899"/>
                  <a:pt x="2239274" y="123810"/>
                  <a:pt x="2238464" y="133527"/>
                </a:cubicBezTo>
                <a:cubicBezTo>
                  <a:pt x="2237654" y="143245"/>
                  <a:pt x="2209542" y="135147"/>
                  <a:pt x="2209542" y="143997"/>
                </a:cubicBezTo>
                <a:cubicBezTo>
                  <a:pt x="2209542" y="152848"/>
                  <a:pt x="2199072" y="156954"/>
                  <a:pt x="2199824" y="165805"/>
                </a:cubicBezTo>
                <a:cubicBezTo>
                  <a:pt x="2200576" y="174655"/>
                  <a:pt x="2180504" y="161004"/>
                  <a:pt x="2179694" y="181191"/>
                </a:cubicBezTo>
                <a:cubicBezTo>
                  <a:pt x="2178884" y="201379"/>
                  <a:pt x="2147996" y="212890"/>
                  <a:pt x="2160143" y="219658"/>
                </a:cubicBezTo>
                <a:close/>
                <a:moveTo>
                  <a:pt x="3202034" y="386018"/>
                </a:moveTo>
                <a:cubicBezTo>
                  <a:pt x="3210422" y="390455"/>
                  <a:pt x="3217768" y="396511"/>
                  <a:pt x="3223784" y="403834"/>
                </a:cubicBezTo>
                <a:cubicBezTo>
                  <a:pt x="3230262" y="410255"/>
                  <a:pt x="3254499" y="400595"/>
                  <a:pt x="3264275" y="397355"/>
                </a:cubicBezTo>
                <a:cubicBezTo>
                  <a:pt x="3274051" y="394116"/>
                  <a:pt x="3274745" y="411874"/>
                  <a:pt x="3290073" y="402214"/>
                </a:cubicBezTo>
                <a:cubicBezTo>
                  <a:pt x="3305402" y="392554"/>
                  <a:pt x="3320789" y="397355"/>
                  <a:pt x="3338604" y="397355"/>
                </a:cubicBezTo>
                <a:cubicBezTo>
                  <a:pt x="3356421" y="397355"/>
                  <a:pt x="3335366" y="375548"/>
                  <a:pt x="3336175" y="365830"/>
                </a:cubicBezTo>
                <a:cubicBezTo>
                  <a:pt x="3336985" y="356112"/>
                  <a:pt x="3357173" y="362649"/>
                  <a:pt x="3350694" y="370689"/>
                </a:cubicBezTo>
                <a:cubicBezTo>
                  <a:pt x="3344216" y="378729"/>
                  <a:pt x="3360412" y="397355"/>
                  <a:pt x="3386211" y="395736"/>
                </a:cubicBezTo>
                <a:cubicBezTo>
                  <a:pt x="3412009" y="394116"/>
                  <a:pt x="3392689" y="377978"/>
                  <a:pt x="3405646" y="372309"/>
                </a:cubicBezTo>
                <a:cubicBezTo>
                  <a:pt x="3418604" y="366640"/>
                  <a:pt x="3416926" y="360219"/>
                  <a:pt x="3398358" y="349171"/>
                </a:cubicBezTo>
                <a:cubicBezTo>
                  <a:pt x="3379790" y="338123"/>
                  <a:pt x="3355553" y="345122"/>
                  <a:pt x="3339356" y="337602"/>
                </a:cubicBezTo>
                <a:cubicBezTo>
                  <a:pt x="3322003" y="329793"/>
                  <a:pt x="3301411" y="329504"/>
                  <a:pt x="3300601" y="347262"/>
                </a:cubicBezTo>
                <a:cubicBezTo>
                  <a:pt x="3299791" y="365020"/>
                  <a:pt x="3265894" y="327884"/>
                  <a:pt x="3248079" y="322216"/>
                </a:cubicBezTo>
                <a:cubicBezTo>
                  <a:pt x="3230262" y="316547"/>
                  <a:pt x="3175310" y="372714"/>
                  <a:pt x="3202034" y="386018"/>
                </a:cubicBezTo>
                <a:close/>
                <a:moveTo>
                  <a:pt x="3370824" y="489443"/>
                </a:moveTo>
                <a:cubicBezTo>
                  <a:pt x="3385401" y="486204"/>
                  <a:pt x="3360354" y="459538"/>
                  <a:pt x="3335308" y="455489"/>
                </a:cubicBezTo>
                <a:cubicBezTo>
                  <a:pt x="3310261" y="451440"/>
                  <a:pt x="3286950" y="472090"/>
                  <a:pt x="3290016" y="476486"/>
                </a:cubicBezTo>
                <a:cubicBezTo>
                  <a:pt x="3297361" y="487014"/>
                  <a:pt x="3356247" y="492625"/>
                  <a:pt x="3370824" y="489443"/>
                </a:cubicBezTo>
                <a:close/>
                <a:moveTo>
                  <a:pt x="3306212" y="436111"/>
                </a:moveTo>
                <a:cubicBezTo>
                  <a:pt x="3306212" y="424022"/>
                  <a:pt x="3262192" y="440565"/>
                  <a:pt x="3280413" y="446639"/>
                </a:cubicBezTo>
                <a:cubicBezTo>
                  <a:pt x="3290016" y="449878"/>
                  <a:pt x="3306212" y="448548"/>
                  <a:pt x="3306212" y="436111"/>
                </a:cubicBezTo>
                <a:close/>
                <a:moveTo>
                  <a:pt x="3446774" y="385208"/>
                </a:moveTo>
                <a:cubicBezTo>
                  <a:pt x="3466151" y="386886"/>
                  <a:pt x="3475696" y="405454"/>
                  <a:pt x="3513005" y="407883"/>
                </a:cubicBezTo>
                <a:cubicBezTo>
                  <a:pt x="3550315" y="410312"/>
                  <a:pt x="3577617" y="403024"/>
                  <a:pt x="3578427" y="394926"/>
                </a:cubicBezTo>
                <a:cubicBezTo>
                  <a:pt x="3579237" y="386828"/>
                  <a:pt x="3544531" y="374738"/>
                  <a:pt x="3534003" y="381217"/>
                </a:cubicBezTo>
                <a:cubicBezTo>
                  <a:pt x="3523475" y="387695"/>
                  <a:pt x="3515435" y="370689"/>
                  <a:pt x="3502478" y="374738"/>
                </a:cubicBezTo>
                <a:cubicBezTo>
                  <a:pt x="3489521" y="378787"/>
                  <a:pt x="3471820" y="377978"/>
                  <a:pt x="3465341" y="366640"/>
                </a:cubicBezTo>
                <a:cubicBezTo>
                  <a:pt x="3458863" y="355303"/>
                  <a:pt x="3437056" y="384456"/>
                  <a:pt x="3446774" y="385208"/>
                </a:cubicBezTo>
                <a:close/>
                <a:moveTo>
                  <a:pt x="748164" y="57289"/>
                </a:moveTo>
                <a:cubicBezTo>
                  <a:pt x="766790" y="40340"/>
                  <a:pt x="791027" y="56479"/>
                  <a:pt x="794439" y="48381"/>
                </a:cubicBezTo>
                <a:cubicBezTo>
                  <a:pt x="797852" y="40283"/>
                  <a:pt x="759733" y="37911"/>
                  <a:pt x="746024" y="45199"/>
                </a:cubicBezTo>
                <a:cubicBezTo>
                  <a:pt x="732315" y="52488"/>
                  <a:pt x="700095" y="46645"/>
                  <a:pt x="704029" y="55669"/>
                </a:cubicBezTo>
                <a:cubicBezTo>
                  <a:pt x="706227" y="61338"/>
                  <a:pt x="729654" y="74237"/>
                  <a:pt x="748164" y="57289"/>
                </a:cubicBezTo>
                <a:close/>
                <a:moveTo>
                  <a:pt x="3364346" y="1422414"/>
                </a:moveTo>
                <a:cubicBezTo>
                  <a:pt x="3355437" y="1399276"/>
                  <a:pt x="3377245" y="1376139"/>
                  <a:pt x="3361106" y="1364223"/>
                </a:cubicBezTo>
                <a:cubicBezTo>
                  <a:pt x="3344968" y="1352307"/>
                  <a:pt x="3351331" y="1327087"/>
                  <a:pt x="3343290" y="1331946"/>
                </a:cubicBezTo>
                <a:cubicBezTo>
                  <a:pt x="3335250" y="1336805"/>
                  <a:pt x="3343290" y="1358670"/>
                  <a:pt x="3330391" y="1360231"/>
                </a:cubicBezTo>
                <a:cubicBezTo>
                  <a:pt x="3317492" y="1361793"/>
                  <a:pt x="3329581" y="1373941"/>
                  <a:pt x="3324607" y="1390137"/>
                </a:cubicBezTo>
                <a:cubicBezTo>
                  <a:pt x="3319632" y="1406333"/>
                  <a:pt x="3327036" y="1429702"/>
                  <a:pt x="3333514" y="1444221"/>
                </a:cubicBezTo>
                <a:cubicBezTo>
                  <a:pt x="3339993" y="1458740"/>
                  <a:pt x="3324607" y="1536309"/>
                  <a:pt x="3331085" y="1549267"/>
                </a:cubicBezTo>
                <a:cubicBezTo>
                  <a:pt x="3337564" y="1562224"/>
                  <a:pt x="3320557" y="1619316"/>
                  <a:pt x="3326226" y="1625968"/>
                </a:cubicBezTo>
                <a:cubicBezTo>
                  <a:pt x="3335944" y="1637537"/>
                  <a:pt x="3329465" y="1610582"/>
                  <a:pt x="3343984" y="1608210"/>
                </a:cubicBezTo>
                <a:cubicBezTo>
                  <a:pt x="3358503" y="1605838"/>
                  <a:pt x="3358561" y="1624348"/>
                  <a:pt x="3367122" y="1628398"/>
                </a:cubicBezTo>
                <a:cubicBezTo>
                  <a:pt x="3375683" y="1632447"/>
                  <a:pt x="3370361" y="1602541"/>
                  <a:pt x="3362321" y="1604161"/>
                </a:cubicBezTo>
                <a:cubicBezTo>
                  <a:pt x="3354281" y="1605780"/>
                  <a:pt x="3347802" y="1584783"/>
                  <a:pt x="3343695" y="1571826"/>
                </a:cubicBezTo>
                <a:cubicBezTo>
                  <a:pt x="3339588" y="1558869"/>
                  <a:pt x="3351793" y="1543598"/>
                  <a:pt x="3351793" y="1527402"/>
                </a:cubicBezTo>
                <a:cubicBezTo>
                  <a:pt x="3351793" y="1511205"/>
                  <a:pt x="3371981" y="1512073"/>
                  <a:pt x="3384128" y="1524162"/>
                </a:cubicBezTo>
                <a:cubicBezTo>
                  <a:pt x="3396276" y="1536252"/>
                  <a:pt x="3397837" y="1528211"/>
                  <a:pt x="3392978" y="1519361"/>
                </a:cubicBezTo>
                <a:cubicBezTo>
                  <a:pt x="3388119" y="1510511"/>
                  <a:pt x="3373253" y="1445725"/>
                  <a:pt x="3364403" y="1422298"/>
                </a:cubicBezTo>
                <a:close/>
                <a:moveTo>
                  <a:pt x="824172" y="50058"/>
                </a:moveTo>
                <a:cubicBezTo>
                  <a:pt x="835451" y="58099"/>
                  <a:pt x="792646" y="55843"/>
                  <a:pt x="787035" y="63767"/>
                </a:cubicBezTo>
                <a:cubicBezTo>
                  <a:pt x="781425" y="71692"/>
                  <a:pt x="756493" y="68915"/>
                  <a:pt x="761179" y="78286"/>
                </a:cubicBezTo>
                <a:cubicBezTo>
                  <a:pt x="765865" y="87657"/>
                  <a:pt x="806413" y="88814"/>
                  <a:pt x="806413" y="80716"/>
                </a:cubicBezTo>
                <a:cubicBezTo>
                  <a:pt x="806413" y="72617"/>
                  <a:pt x="827410" y="79906"/>
                  <a:pt x="828220" y="72617"/>
                </a:cubicBezTo>
                <a:cubicBezTo>
                  <a:pt x="829030" y="65329"/>
                  <a:pt x="837881" y="57289"/>
                  <a:pt x="860498" y="55669"/>
                </a:cubicBezTo>
                <a:cubicBezTo>
                  <a:pt x="883115" y="54049"/>
                  <a:pt x="883115" y="46009"/>
                  <a:pt x="862117" y="36291"/>
                </a:cubicBezTo>
                <a:cubicBezTo>
                  <a:pt x="841120" y="26573"/>
                  <a:pt x="812891" y="41960"/>
                  <a:pt x="824172" y="50058"/>
                </a:cubicBezTo>
                <a:close/>
                <a:moveTo>
                  <a:pt x="789465" y="702657"/>
                </a:moveTo>
                <a:cubicBezTo>
                  <a:pt x="811272" y="722845"/>
                  <a:pt x="829956" y="693807"/>
                  <a:pt x="840368" y="692130"/>
                </a:cubicBezTo>
                <a:cubicBezTo>
                  <a:pt x="850780" y="690452"/>
                  <a:pt x="833947" y="679231"/>
                  <a:pt x="816131" y="674372"/>
                </a:cubicBezTo>
                <a:cubicBezTo>
                  <a:pt x="798315" y="669513"/>
                  <a:pt x="772979" y="687444"/>
                  <a:pt x="789407" y="702657"/>
                </a:cubicBezTo>
                <a:close/>
                <a:moveTo>
                  <a:pt x="4658438" y="840327"/>
                </a:moveTo>
                <a:cubicBezTo>
                  <a:pt x="4650397" y="837550"/>
                  <a:pt x="4624541" y="820949"/>
                  <a:pt x="4617947" y="811405"/>
                </a:cubicBezTo>
                <a:cubicBezTo>
                  <a:pt x="4611352" y="801860"/>
                  <a:pt x="4580406" y="797638"/>
                  <a:pt x="4580406" y="802555"/>
                </a:cubicBezTo>
                <a:cubicBezTo>
                  <a:pt x="4580406" y="807471"/>
                  <a:pt x="4570341" y="801340"/>
                  <a:pt x="4567911" y="796076"/>
                </a:cubicBezTo>
                <a:cubicBezTo>
                  <a:pt x="4565482" y="790812"/>
                  <a:pt x="4532742" y="790002"/>
                  <a:pt x="4532337" y="795613"/>
                </a:cubicBezTo>
                <a:cubicBezTo>
                  <a:pt x="4531932" y="801224"/>
                  <a:pt x="4540031" y="801687"/>
                  <a:pt x="4544889" y="808223"/>
                </a:cubicBezTo>
                <a:cubicBezTo>
                  <a:pt x="4549748" y="814760"/>
                  <a:pt x="4538411" y="818230"/>
                  <a:pt x="4540783" y="825577"/>
                </a:cubicBezTo>
                <a:cubicBezTo>
                  <a:pt x="4543154" y="832923"/>
                  <a:pt x="4528693" y="821990"/>
                  <a:pt x="4523429" y="817941"/>
                </a:cubicBezTo>
                <a:cubicBezTo>
                  <a:pt x="4518165" y="813892"/>
                  <a:pt x="4520653" y="798158"/>
                  <a:pt x="4522272" y="790060"/>
                </a:cubicBezTo>
                <a:cubicBezTo>
                  <a:pt x="4523892" y="781962"/>
                  <a:pt x="4512959" y="783582"/>
                  <a:pt x="4511745" y="775541"/>
                </a:cubicBezTo>
                <a:cubicBezTo>
                  <a:pt x="4510530" y="767501"/>
                  <a:pt x="4474204" y="750900"/>
                  <a:pt x="4458875" y="744421"/>
                </a:cubicBezTo>
                <a:cubicBezTo>
                  <a:pt x="4443546" y="737943"/>
                  <a:pt x="4423706" y="732274"/>
                  <a:pt x="4418384" y="724233"/>
                </a:cubicBezTo>
                <a:cubicBezTo>
                  <a:pt x="4413062" y="716193"/>
                  <a:pt x="4385702" y="715325"/>
                  <a:pt x="4375232" y="704451"/>
                </a:cubicBezTo>
                <a:cubicBezTo>
                  <a:pt x="4364762" y="693576"/>
                  <a:pt x="4318661" y="674140"/>
                  <a:pt x="4298878" y="672926"/>
                </a:cubicBezTo>
                <a:cubicBezTo>
                  <a:pt x="4279095" y="671711"/>
                  <a:pt x="4283491" y="660836"/>
                  <a:pt x="4273831" y="662456"/>
                </a:cubicBezTo>
                <a:cubicBezTo>
                  <a:pt x="4252371" y="663381"/>
                  <a:pt x="4230911" y="662566"/>
                  <a:pt x="4209624" y="660026"/>
                </a:cubicBezTo>
                <a:cubicBezTo>
                  <a:pt x="4196667" y="658002"/>
                  <a:pt x="4193890" y="667720"/>
                  <a:pt x="4184577" y="664018"/>
                </a:cubicBezTo>
                <a:cubicBezTo>
                  <a:pt x="4175264" y="660315"/>
                  <a:pt x="4127254" y="643020"/>
                  <a:pt x="4121585" y="649499"/>
                </a:cubicBezTo>
                <a:cubicBezTo>
                  <a:pt x="4115916" y="655977"/>
                  <a:pt x="4118346" y="665290"/>
                  <a:pt x="4112677" y="666852"/>
                </a:cubicBezTo>
                <a:cubicBezTo>
                  <a:pt x="4107008" y="668414"/>
                  <a:pt x="4112677" y="676570"/>
                  <a:pt x="4126039" y="688659"/>
                </a:cubicBezTo>
                <a:cubicBezTo>
                  <a:pt x="4139401" y="700749"/>
                  <a:pt x="4131245" y="710119"/>
                  <a:pt x="4119156" y="715325"/>
                </a:cubicBezTo>
                <a:cubicBezTo>
                  <a:pt x="4107066" y="720531"/>
                  <a:pt x="4087630" y="710466"/>
                  <a:pt x="4081615" y="701211"/>
                </a:cubicBezTo>
                <a:cubicBezTo>
                  <a:pt x="4075599" y="691956"/>
                  <a:pt x="4058997" y="695948"/>
                  <a:pt x="4054949" y="683858"/>
                </a:cubicBezTo>
                <a:cubicBezTo>
                  <a:pt x="4050899" y="671769"/>
                  <a:pt x="4059807" y="669686"/>
                  <a:pt x="4067906" y="676570"/>
                </a:cubicBezTo>
                <a:cubicBezTo>
                  <a:pt x="4072996" y="681006"/>
                  <a:pt x="4080747" y="680457"/>
                  <a:pt x="4085201" y="675338"/>
                </a:cubicBezTo>
                <a:cubicBezTo>
                  <a:pt x="4086763" y="673533"/>
                  <a:pt x="4087804" y="671306"/>
                  <a:pt x="4088093" y="668934"/>
                </a:cubicBezTo>
                <a:cubicBezTo>
                  <a:pt x="4089308" y="660026"/>
                  <a:pt x="4066286" y="653953"/>
                  <a:pt x="4053733" y="654762"/>
                </a:cubicBezTo>
                <a:cubicBezTo>
                  <a:pt x="4041182" y="655572"/>
                  <a:pt x="4034356" y="672926"/>
                  <a:pt x="4021456" y="680214"/>
                </a:cubicBezTo>
                <a:cubicBezTo>
                  <a:pt x="4008557" y="687502"/>
                  <a:pt x="3958464" y="677380"/>
                  <a:pt x="3953200" y="672521"/>
                </a:cubicBezTo>
                <a:cubicBezTo>
                  <a:pt x="3947937" y="667662"/>
                  <a:pt x="3878002" y="672521"/>
                  <a:pt x="3870772" y="677380"/>
                </a:cubicBezTo>
                <a:cubicBezTo>
                  <a:pt x="3863541" y="682238"/>
                  <a:pt x="3868747" y="701211"/>
                  <a:pt x="3864987" y="702831"/>
                </a:cubicBezTo>
                <a:cubicBezTo>
                  <a:pt x="3861228" y="704451"/>
                  <a:pt x="3857699" y="681024"/>
                  <a:pt x="3857699" y="676570"/>
                </a:cubicBezTo>
                <a:cubicBezTo>
                  <a:pt x="3857699" y="672116"/>
                  <a:pt x="3849254" y="668934"/>
                  <a:pt x="3836701" y="668934"/>
                </a:cubicBezTo>
                <a:cubicBezTo>
                  <a:pt x="3824150" y="668934"/>
                  <a:pt x="3816919" y="668471"/>
                  <a:pt x="3822125" y="663150"/>
                </a:cubicBezTo>
                <a:cubicBezTo>
                  <a:pt x="3827331" y="657828"/>
                  <a:pt x="3817266" y="652622"/>
                  <a:pt x="3826984" y="645797"/>
                </a:cubicBezTo>
                <a:cubicBezTo>
                  <a:pt x="3836701" y="638971"/>
                  <a:pt x="3809225" y="617511"/>
                  <a:pt x="3782559" y="606983"/>
                </a:cubicBezTo>
                <a:cubicBezTo>
                  <a:pt x="3755893" y="596455"/>
                  <a:pt x="3695330" y="602529"/>
                  <a:pt x="3679192" y="607388"/>
                </a:cubicBezTo>
                <a:cubicBezTo>
                  <a:pt x="3663054" y="612247"/>
                  <a:pt x="3630718" y="610627"/>
                  <a:pt x="3615563" y="611032"/>
                </a:cubicBezTo>
                <a:cubicBezTo>
                  <a:pt x="3600408" y="611437"/>
                  <a:pt x="3612729" y="605248"/>
                  <a:pt x="3608274" y="597728"/>
                </a:cubicBezTo>
                <a:cubicBezTo>
                  <a:pt x="3603821" y="590208"/>
                  <a:pt x="3577617" y="581532"/>
                  <a:pt x="3573973" y="587605"/>
                </a:cubicBezTo>
                <a:cubicBezTo>
                  <a:pt x="3570329" y="593679"/>
                  <a:pt x="3563445" y="587605"/>
                  <a:pt x="3563445" y="583151"/>
                </a:cubicBezTo>
                <a:cubicBezTo>
                  <a:pt x="3563445" y="578697"/>
                  <a:pt x="3538803" y="569847"/>
                  <a:pt x="3529144" y="571582"/>
                </a:cubicBezTo>
                <a:cubicBezTo>
                  <a:pt x="3519484" y="573318"/>
                  <a:pt x="3515030" y="562674"/>
                  <a:pt x="3526310" y="562674"/>
                </a:cubicBezTo>
                <a:cubicBezTo>
                  <a:pt x="3537589" y="562674"/>
                  <a:pt x="3557025" y="565104"/>
                  <a:pt x="3548522" y="552205"/>
                </a:cubicBezTo>
                <a:cubicBezTo>
                  <a:pt x="3540019" y="539305"/>
                  <a:pt x="3467540" y="535256"/>
                  <a:pt x="3460483" y="537686"/>
                </a:cubicBezTo>
                <a:cubicBezTo>
                  <a:pt x="3453426" y="540115"/>
                  <a:pt x="3460077" y="549254"/>
                  <a:pt x="3444344" y="564294"/>
                </a:cubicBezTo>
                <a:cubicBezTo>
                  <a:pt x="3428610" y="579334"/>
                  <a:pt x="3413224" y="569153"/>
                  <a:pt x="3415422" y="561865"/>
                </a:cubicBezTo>
                <a:cubicBezTo>
                  <a:pt x="3417620" y="554576"/>
                  <a:pt x="3436825" y="556080"/>
                  <a:pt x="3436825" y="548560"/>
                </a:cubicBezTo>
                <a:cubicBezTo>
                  <a:pt x="3436825" y="541041"/>
                  <a:pt x="3410216" y="545321"/>
                  <a:pt x="3406167" y="539247"/>
                </a:cubicBezTo>
                <a:cubicBezTo>
                  <a:pt x="3402118" y="533174"/>
                  <a:pt x="3411951" y="529183"/>
                  <a:pt x="3421496" y="532017"/>
                </a:cubicBezTo>
                <a:cubicBezTo>
                  <a:pt x="3431040" y="534851"/>
                  <a:pt x="3448162" y="536471"/>
                  <a:pt x="3448914" y="532017"/>
                </a:cubicBezTo>
                <a:cubicBezTo>
                  <a:pt x="3449666" y="527563"/>
                  <a:pt x="3438849" y="526753"/>
                  <a:pt x="3422710" y="523919"/>
                </a:cubicBezTo>
                <a:cubicBezTo>
                  <a:pt x="3406571" y="521084"/>
                  <a:pt x="3367354" y="511829"/>
                  <a:pt x="3346761" y="513854"/>
                </a:cubicBezTo>
                <a:cubicBezTo>
                  <a:pt x="3326168" y="515878"/>
                  <a:pt x="3316855" y="506160"/>
                  <a:pt x="3305633" y="505351"/>
                </a:cubicBezTo>
                <a:cubicBezTo>
                  <a:pt x="3294411" y="504541"/>
                  <a:pt x="3294065" y="511135"/>
                  <a:pt x="3299502" y="517845"/>
                </a:cubicBezTo>
                <a:cubicBezTo>
                  <a:pt x="3304939" y="524555"/>
                  <a:pt x="3288627" y="528373"/>
                  <a:pt x="3275323" y="526348"/>
                </a:cubicBezTo>
                <a:cubicBezTo>
                  <a:pt x="3262019" y="524324"/>
                  <a:pt x="3242583" y="533637"/>
                  <a:pt x="3250277" y="543297"/>
                </a:cubicBezTo>
                <a:cubicBezTo>
                  <a:pt x="3257970" y="552957"/>
                  <a:pt x="3265605" y="540462"/>
                  <a:pt x="3272026" y="543701"/>
                </a:cubicBezTo>
                <a:cubicBezTo>
                  <a:pt x="3278447" y="546941"/>
                  <a:pt x="3255136" y="553824"/>
                  <a:pt x="3264795" y="558278"/>
                </a:cubicBezTo>
                <a:cubicBezTo>
                  <a:pt x="3274455" y="562732"/>
                  <a:pt x="3272836" y="571987"/>
                  <a:pt x="3273299" y="576846"/>
                </a:cubicBezTo>
                <a:cubicBezTo>
                  <a:pt x="3273761" y="581705"/>
                  <a:pt x="3257102" y="584077"/>
                  <a:pt x="3251086" y="576846"/>
                </a:cubicBezTo>
                <a:cubicBezTo>
                  <a:pt x="3245071" y="569616"/>
                  <a:pt x="3236510" y="576036"/>
                  <a:pt x="3225172" y="575227"/>
                </a:cubicBezTo>
                <a:cubicBezTo>
                  <a:pt x="3213835" y="574417"/>
                  <a:pt x="3205390" y="579623"/>
                  <a:pt x="3217595" y="581011"/>
                </a:cubicBezTo>
                <a:cubicBezTo>
                  <a:pt x="3229800" y="582399"/>
                  <a:pt x="3233675" y="590324"/>
                  <a:pt x="3217595" y="591944"/>
                </a:cubicBezTo>
                <a:cubicBezTo>
                  <a:pt x="3201514" y="593563"/>
                  <a:pt x="3205390" y="576962"/>
                  <a:pt x="3195787" y="578986"/>
                </a:cubicBezTo>
                <a:cubicBezTo>
                  <a:pt x="3186185" y="581011"/>
                  <a:pt x="3165014" y="571351"/>
                  <a:pt x="3153734" y="571756"/>
                </a:cubicBezTo>
                <a:cubicBezTo>
                  <a:pt x="3142455" y="572161"/>
                  <a:pt x="3137191" y="581011"/>
                  <a:pt x="3122209" y="582226"/>
                </a:cubicBezTo>
                <a:cubicBezTo>
                  <a:pt x="3107227" y="583440"/>
                  <a:pt x="3087098" y="574590"/>
                  <a:pt x="3081024" y="566492"/>
                </a:cubicBezTo>
                <a:cubicBezTo>
                  <a:pt x="3074950" y="558394"/>
                  <a:pt x="3072984" y="556022"/>
                  <a:pt x="3065696" y="565277"/>
                </a:cubicBezTo>
                <a:cubicBezTo>
                  <a:pt x="3058407" y="574532"/>
                  <a:pt x="3058002" y="592348"/>
                  <a:pt x="3050771" y="593563"/>
                </a:cubicBezTo>
                <a:cubicBezTo>
                  <a:pt x="3043541" y="594778"/>
                  <a:pt x="3040648" y="610512"/>
                  <a:pt x="3033418" y="614561"/>
                </a:cubicBezTo>
                <a:cubicBezTo>
                  <a:pt x="3026187" y="618610"/>
                  <a:pt x="3025725" y="608487"/>
                  <a:pt x="3016412" y="609297"/>
                </a:cubicBezTo>
                <a:cubicBezTo>
                  <a:pt x="3007099" y="610107"/>
                  <a:pt x="2977251" y="581011"/>
                  <a:pt x="2975632" y="572566"/>
                </a:cubicBezTo>
                <a:cubicBezTo>
                  <a:pt x="2974012" y="564120"/>
                  <a:pt x="2955444" y="547924"/>
                  <a:pt x="2950643" y="544685"/>
                </a:cubicBezTo>
                <a:cubicBezTo>
                  <a:pt x="2945842" y="541445"/>
                  <a:pt x="2955444" y="539826"/>
                  <a:pt x="2961518" y="545090"/>
                </a:cubicBezTo>
                <a:cubicBezTo>
                  <a:pt x="2967013" y="549850"/>
                  <a:pt x="2974937" y="550660"/>
                  <a:pt x="2981301" y="547114"/>
                </a:cubicBezTo>
                <a:cubicBezTo>
                  <a:pt x="2987374" y="543875"/>
                  <a:pt x="2986564" y="528951"/>
                  <a:pt x="2976037" y="528546"/>
                </a:cubicBezTo>
                <a:cubicBezTo>
                  <a:pt x="2965509" y="528141"/>
                  <a:pt x="2969558" y="519233"/>
                  <a:pt x="2974822" y="517614"/>
                </a:cubicBezTo>
                <a:cubicBezTo>
                  <a:pt x="2980086" y="515994"/>
                  <a:pt x="2962732" y="500260"/>
                  <a:pt x="2969037" y="498641"/>
                </a:cubicBezTo>
                <a:cubicBezTo>
                  <a:pt x="2975343" y="497021"/>
                  <a:pt x="2972681" y="490195"/>
                  <a:pt x="2963832" y="488981"/>
                </a:cubicBezTo>
                <a:cubicBezTo>
                  <a:pt x="2954981" y="487766"/>
                  <a:pt x="2945669" y="480478"/>
                  <a:pt x="2945205" y="476024"/>
                </a:cubicBezTo>
                <a:cubicBezTo>
                  <a:pt x="2944743" y="471570"/>
                  <a:pt x="2907318" y="469950"/>
                  <a:pt x="2908880" y="476429"/>
                </a:cubicBezTo>
                <a:cubicBezTo>
                  <a:pt x="2910442" y="482907"/>
                  <a:pt x="2896790" y="480882"/>
                  <a:pt x="2898815" y="475619"/>
                </a:cubicBezTo>
                <a:cubicBezTo>
                  <a:pt x="2900839" y="470355"/>
                  <a:pt x="2885453" y="472032"/>
                  <a:pt x="2867637" y="467173"/>
                </a:cubicBezTo>
                <a:cubicBezTo>
                  <a:pt x="2849820" y="462315"/>
                  <a:pt x="2849531" y="449820"/>
                  <a:pt x="2843458" y="449010"/>
                </a:cubicBezTo>
                <a:cubicBezTo>
                  <a:pt x="2837384" y="448200"/>
                  <a:pt x="2839409" y="466364"/>
                  <a:pt x="2830558" y="462315"/>
                </a:cubicBezTo>
                <a:cubicBezTo>
                  <a:pt x="2825584" y="459607"/>
                  <a:pt x="2819394" y="461435"/>
                  <a:pt x="2816676" y="466398"/>
                </a:cubicBezTo>
                <a:cubicBezTo>
                  <a:pt x="2814941" y="469533"/>
                  <a:pt x="2814999" y="473334"/>
                  <a:pt x="2816791" y="476429"/>
                </a:cubicBezTo>
                <a:cubicBezTo>
                  <a:pt x="2821650" y="486956"/>
                  <a:pt x="2817254" y="488576"/>
                  <a:pt x="2816387" y="497021"/>
                </a:cubicBezTo>
                <a:cubicBezTo>
                  <a:pt x="2815519" y="505466"/>
                  <a:pt x="2810602" y="501880"/>
                  <a:pt x="2800248" y="498236"/>
                </a:cubicBezTo>
                <a:cubicBezTo>
                  <a:pt x="2789894" y="494592"/>
                  <a:pt x="2789778" y="507144"/>
                  <a:pt x="2767103" y="501475"/>
                </a:cubicBezTo>
                <a:cubicBezTo>
                  <a:pt x="2744428" y="495806"/>
                  <a:pt x="2734421" y="501880"/>
                  <a:pt x="2730430" y="494592"/>
                </a:cubicBezTo>
                <a:cubicBezTo>
                  <a:pt x="2726439" y="487303"/>
                  <a:pt x="2719440" y="486551"/>
                  <a:pt x="2718861" y="492625"/>
                </a:cubicBezTo>
                <a:cubicBezTo>
                  <a:pt x="2718282" y="498699"/>
                  <a:pt x="2683345" y="496211"/>
                  <a:pt x="2680511" y="487361"/>
                </a:cubicBezTo>
                <a:cubicBezTo>
                  <a:pt x="2677676" y="478511"/>
                  <a:pt x="2686584" y="476833"/>
                  <a:pt x="2692079" y="474462"/>
                </a:cubicBezTo>
                <a:cubicBezTo>
                  <a:pt x="2697574" y="472090"/>
                  <a:pt x="2686295" y="468677"/>
                  <a:pt x="2667438" y="469603"/>
                </a:cubicBezTo>
                <a:cubicBezTo>
                  <a:pt x="2648580" y="470528"/>
                  <a:pt x="2636318" y="459885"/>
                  <a:pt x="2616939" y="461910"/>
                </a:cubicBezTo>
                <a:cubicBezTo>
                  <a:pt x="2597561" y="463934"/>
                  <a:pt x="2554352" y="467694"/>
                  <a:pt x="2548278" y="470760"/>
                </a:cubicBezTo>
                <a:cubicBezTo>
                  <a:pt x="2542205" y="473825"/>
                  <a:pt x="2554062" y="484527"/>
                  <a:pt x="2544692" y="485337"/>
                </a:cubicBezTo>
                <a:cubicBezTo>
                  <a:pt x="2535321" y="486146"/>
                  <a:pt x="2541857" y="467578"/>
                  <a:pt x="2540238" y="458670"/>
                </a:cubicBezTo>
                <a:cubicBezTo>
                  <a:pt x="2538618" y="449762"/>
                  <a:pt x="2524504" y="448548"/>
                  <a:pt x="2526528" y="455431"/>
                </a:cubicBezTo>
                <a:cubicBezTo>
                  <a:pt x="2528554" y="462315"/>
                  <a:pt x="2504259" y="464744"/>
                  <a:pt x="2498243" y="459480"/>
                </a:cubicBezTo>
                <a:cubicBezTo>
                  <a:pt x="2489161" y="451654"/>
                  <a:pt x="2478344" y="446118"/>
                  <a:pt x="2466718" y="443342"/>
                </a:cubicBezTo>
                <a:cubicBezTo>
                  <a:pt x="2450984" y="439292"/>
                  <a:pt x="2431607" y="456241"/>
                  <a:pt x="2436061" y="461100"/>
                </a:cubicBezTo>
                <a:cubicBezTo>
                  <a:pt x="2440514" y="465959"/>
                  <a:pt x="2452199" y="462315"/>
                  <a:pt x="2452604" y="465554"/>
                </a:cubicBezTo>
                <a:cubicBezTo>
                  <a:pt x="2453414" y="472206"/>
                  <a:pt x="2419112" y="469603"/>
                  <a:pt x="2419112" y="475214"/>
                </a:cubicBezTo>
                <a:cubicBezTo>
                  <a:pt x="2419112" y="480825"/>
                  <a:pt x="2387182" y="488576"/>
                  <a:pt x="2377522" y="489791"/>
                </a:cubicBezTo>
                <a:cubicBezTo>
                  <a:pt x="2350913" y="493088"/>
                  <a:pt x="2345187" y="492972"/>
                  <a:pt x="2332693" y="503500"/>
                </a:cubicBezTo>
                <a:cubicBezTo>
                  <a:pt x="2320198" y="514027"/>
                  <a:pt x="2329858" y="494187"/>
                  <a:pt x="2339518" y="484527"/>
                </a:cubicBezTo>
                <a:cubicBezTo>
                  <a:pt x="2349178" y="474867"/>
                  <a:pt x="2359301" y="478742"/>
                  <a:pt x="2364970" y="471222"/>
                </a:cubicBezTo>
                <a:cubicBezTo>
                  <a:pt x="2370638" y="463703"/>
                  <a:pt x="2379489" y="464339"/>
                  <a:pt x="2394876" y="461910"/>
                </a:cubicBezTo>
                <a:cubicBezTo>
                  <a:pt x="2410262" y="459480"/>
                  <a:pt x="2409394" y="450341"/>
                  <a:pt x="2416682" y="447391"/>
                </a:cubicBezTo>
                <a:cubicBezTo>
                  <a:pt x="2423971" y="444441"/>
                  <a:pt x="2441671" y="437268"/>
                  <a:pt x="2444910" y="430037"/>
                </a:cubicBezTo>
                <a:cubicBezTo>
                  <a:pt x="2448150" y="422807"/>
                  <a:pt x="2484476" y="410660"/>
                  <a:pt x="2491765" y="411064"/>
                </a:cubicBezTo>
                <a:cubicBezTo>
                  <a:pt x="2499052" y="411469"/>
                  <a:pt x="2500672" y="396545"/>
                  <a:pt x="2504664" y="396545"/>
                </a:cubicBezTo>
                <a:cubicBezTo>
                  <a:pt x="2508655" y="396545"/>
                  <a:pt x="2529710" y="387290"/>
                  <a:pt x="2537809" y="383646"/>
                </a:cubicBezTo>
                <a:cubicBezTo>
                  <a:pt x="2544577" y="380638"/>
                  <a:pt x="2549319" y="374368"/>
                  <a:pt x="2550361" y="367045"/>
                </a:cubicBezTo>
                <a:cubicBezTo>
                  <a:pt x="2550766" y="361839"/>
                  <a:pt x="2539428" y="362591"/>
                  <a:pt x="2538213" y="357790"/>
                </a:cubicBezTo>
                <a:cubicBezTo>
                  <a:pt x="2536999" y="352989"/>
                  <a:pt x="2543477" y="356170"/>
                  <a:pt x="2551922" y="352931"/>
                </a:cubicBezTo>
                <a:cubicBezTo>
                  <a:pt x="2560368" y="349692"/>
                  <a:pt x="2551922" y="338412"/>
                  <a:pt x="2545097" y="340437"/>
                </a:cubicBezTo>
                <a:cubicBezTo>
                  <a:pt x="2538271" y="342461"/>
                  <a:pt x="2548741" y="334652"/>
                  <a:pt x="2542667" y="327075"/>
                </a:cubicBezTo>
                <a:cubicBezTo>
                  <a:pt x="2536594" y="319497"/>
                  <a:pt x="2524504" y="331529"/>
                  <a:pt x="2524851" y="323835"/>
                </a:cubicBezTo>
                <a:cubicBezTo>
                  <a:pt x="2525198" y="316142"/>
                  <a:pt x="2524099" y="306482"/>
                  <a:pt x="2519067" y="301623"/>
                </a:cubicBezTo>
                <a:cubicBezTo>
                  <a:pt x="2514035" y="296764"/>
                  <a:pt x="2505300" y="310068"/>
                  <a:pt x="2495235" y="302433"/>
                </a:cubicBezTo>
                <a:cubicBezTo>
                  <a:pt x="2485170" y="294797"/>
                  <a:pt x="2455669" y="289881"/>
                  <a:pt x="2455669" y="293178"/>
                </a:cubicBezTo>
                <a:cubicBezTo>
                  <a:pt x="2455669" y="296475"/>
                  <a:pt x="2441498" y="288261"/>
                  <a:pt x="2438721" y="291500"/>
                </a:cubicBezTo>
                <a:cubicBezTo>
                  <a:pt x="2435945" y="294740"/>
                  <a:pt x="2412460" y="294393"/>
                  <a:pt x="2405171" y="292368"/>
                </a:cubicBezTo>
                <a:cubicBezTo>
                  <a:pt x="2397883" y="290343"/>
                  <a:pt x="2387818" y="295202"/>
                  <a:pt x="2387413" y="302433"/>
                </a:cubicBezTo>
                <a:cubicBezTo>
                  <a:pt x="2387008" y="309663"/>
                  <a:pt x="2358491" y="306887"/>
                  <a:pt x="2353054" y="305672"/>
                </a:cubicBezTo>
                <a:cubicBezTo>
                  <a:pt x="2347616" y="304457"/>
                  <a:pt x="2372894" y="283865"/>
                  <a:pt x="2372894" y="280221"/>
                </a:cubicBezTo>
                <a:cubicBezTo>
                  <a:pt x="2372894" y="276576"/>
                  <a:pt x="2330495" y="281030"/>
                  <a:pt x="2328065" y="277039"/>
                </a:cubicBezTo>
                <a:cubicBezTo>
                  <a:pt x="2325635" y="273048"/>
                  <a:pt x="2304927" y="271775"/>
                  <a:pt x="2295730" y="272180"/>
                </a:cubicBezTo>
                <a:cubicBezTo>
                  <a:pt x="2286533" y="272585"/>
                  <a:pt x="2295325" y="269693"/>
                  <a:pt x="2303828" y="268941"/>
                </a:cubicBezTo>
                <a:cubicBezTo>
                  <a:pt x="2312332" y="268189"/>
                  <a:pt x="2319967" y="260843"/>
                  <a:pt x="2329280" y="259223"/>
                </a:cubicBezTo>
                <a:cubicBezTo>
                  <a:pt x="2338592" y="257604"/>
                  <a:pt x="2336510" y="254422"/>
                  <a:pt x="2332519" y="248753"/>
                </a:cubicBezTo>
                <a:cubicBezTo>
                  <a:pt x="2328528" y="243085"/>
                  <a:pt x="2318752" y="245861"/>
                  <a:pt x="2309382" y="242969"/>
                </a:cubicBezTo>
                <a:cubicBezTo>
                  <a:pt x="2300011" y="239521"/>
                  <a:pt x="2290351" y="237092"/>
                  <a:pt x="2280459" y="235738"/>
                </a:cubicBezTo>
                <a:cubicBezTo>
                  <a:pt x="2272361" y="235333"/>
                  <a:pt x="2263511" y="239730"/>
                  <a:pt x="2244538" y="243374"/>
                </a:cubicBezTo>
                <a:cubicBezTo>
                  <a:pt x="2225565" y="247018"/>
                  <a:pt x="2223945" y="261537"/>
                  <a:pt x="2214227" y="265991"/>
                </a:cubicBezTo>
                <a:cubicBezTo>
                  <a:pt x="2204510" y="270445"/>
                  <a:pt x="2187561" y="288145"/>
                  <a:pt x="2195659" y="289765"/>
                </a:cubicBezTo>
                <a:cubicBezTo>
                  <a:pt x="2203758" y="291385"/>
                  <a:pt x="2199708" y="296301"/>
                  <a:pt x="2200923" y="301334"/>
                </a:cubicBezTo>
                <a:cubicBezTo>
                  <a:pt x="2202138" y="306366"/>
                  <a:pt x="2194792" y="307812"/>
                  <a:pt x="2185537" y="306193"/>
                </a:cubicBezTo>
                <a:cubicBezTo>
                  <a:pt x="2176282" y="304573"/>
                  <a:pt x="2143542" y="304978"/>
                  <a:pt x="2143947" y="311977"/>
                </a:cubicBezTo>
                <a:cubicBezTo>
                  <a:pt x="2144352" y="318976"/>
                  <a:pt x="2162919" y="322042"/>
                  <a:pt x="2161763" y="325686"/>
                </a:cubicBezTo>
                <a:cubicBezTo>
                  <a:pt x="2160606" y="329330"/>
                  <a:pt x="2147591" y="325281"/>
                  <a:pt x="2141113" y="321695"/>
                </a:cubicBezTo>
                <a:cubicBezTo>
                  <a:pt x="2134633" y="318109"/>
                  <a:pt x="2120115" y="320018"/>
                  <a:pt x="2117338" y="326901"/>
                </a:cubicBezTo>
                <a:cubicBezTo>
                  <a:pt x="2114562" y="333784"/>
                  <a:pt x="2103166" y="332165"/>
                  <a:pt x="2099522" y="330545"/>
                </a:cubicBezTo>
                <a:cubicBezTo>
                  <a:pt x="2095878" y="328926"/>
                  <a:pt x="2087953" y="333784"/>
                  <a:pt x="2081764" y="331760"/>
                </a:cubicBezTo>
                <a:cubicBezTo>
                  <a:pt x="2075575" y="329735"/>
                  <a:pt x="2093911" y="320885"/>
                  <a:pt x="2089399" y="316373"/>
                </a:cubicBezTo>
                <a:cubicBezTo>
                  <a:pt x="2084887" y="311861"/>
                  <a:pt x="2065568" y="316026"/>
                  <a:pt x="2063543" y="323257"/>
                </a:cubicBezTo>
                <a:cubicBezTo>
                  <a:pt x="2061519" y="330487"/>
                  <a:pt x="2049834" y="318051"/>
                  <a:pt x="2045380" y="320480"/>
                </a:cubicBezTo>
                <a:cubicBezTo>
                  <a:pt x="2039596" y="323749"/>
                  <a:pt x="2033695" y="326699"/>
                  <a:pt x="2027621" y="329330"/>
                </a:cubicBezTo>
                <a:cubicBezTo>
                  <a:pt x="2019176" y="332975"/>
                  <a:pt x="2004484" y="325281"/>
                  <a:pt x="2001361" y="331760"/>
                </a:cubicBezTo>
                <a:cubicBezTo>
                  <a:pt x="1998237" y="338238"/>
                  <a:pt x="2017557" y="340263"/>
                  <a:pt x="2017962" y="343329"/>
                </a:cubicBezTo>
                <a:cubicBezTo>
                  <a:pt x="2018367" y="346395"/>
                  <a:pt x="1973942" y="345758"/>
                  <a:pt x="1972727" y="350212"/>
                </a:cubicBezTo>
                <a:cubicBezTo>
                  <a:pt x="1971513" y="354666"/>
                  <a:pt x="1956531" y="354666"/>
                  <a:pt x="1938368" y="355071"/>
                </a:cubicBezTo>
                <a:cubicBezTo>
                  <a:pt x="1920205" y="355476"/>
                  <a:pt x="1927493" y="364384"/>
                  <a:pt x="1912916" y="367161"/>
                </a:cubicBezTo>
                <a:cubicBezTo>
                  <a:pt x="1898340" y="369937"/>
                  <a:pt x="1891919" y="370400"/>
                  <a:pt x="1887118" y="377688"/>
                </a:cubicBezTo>
                <a:cubicBezTo>
                  <a:pt x="1882838" y="384167"/>
                  <a:pt x="1874103" y="385960"/>
                  <a:pt x="1867625" y="381685"/>
                </a:cubicBezTo>
                <a:cubicBezTo>
                  <a:pt x="1867104" y="381333"/>
                  <a:pt x="1866583" y="380945"/>
                  <a:pt x="1866121" y="380523"/>
                </a:cubicBezTo>
                <a:cubicBezTo>
                  <a:pt x="1861262" y="374738"/>
                  <a:pt x="1847900" y="383357"/>
                  <a:pt x="1855188" y="384167"/>
                </a:cubicBezTo>
                <a:cubicBezTo>
                  <a:pt x="1862476" y="384977"/>
                  <a:pt x="1855593" y="392207"/>
                  <a:pt x="1851139" y="390588"/>
                </a:cubicBezTo>
                <a:cubicBezTo>
                  <a:pt x="1846685" y="388968"/>
                  <a:pt x="1833786" y="398281"/>
                  <a:pt x="1841074" y="397471"/>
                </a:cubicBezTo>
                <a:cubicBezTo>
                  <a:pt x="1848362" y="396661"/>
                  <a:pt x="1851948" y="402735"/>
                  <a:pt x="1848304" y="407189"/>
                </a:cubicBezTo>
                <a:cubicBezTo>
                  <a:pt x="1844661" y="411643"/>
                  <a:pt x="1828926" y="401925"/>
                  <a:pt x="1825166" y="405974"/>
                </a:cubicBezTo>
                <a:cubicBezTo>
                  <a:pt x="1821407" y="410023"/>
                  <a:pt x="1832860" y="415229"/>
                  <a:pt x="1840149" y="414419"/>
                </a:cubicBezTo>
                <a:cubicBezTo>
                  <a:pt x="1845875" y="413523"/>
                  <a:pt x="1851254" y="417456"/>
                  <a:pt x="1852180" y="423206"/>
                </a:cubicBezTo>
                <a:cubicBezTo>
                  <a:pt x="1852180" y="423380"/>
                  <a:pt x="1852238" y="423553"/>
                  <a:pt x="1852238" y="423732"/>
                </a:cubicBezTo>
                <a:cubicBezTo>
                  <a:pt x="1853048" y="428938"/>
                  <a:pt x="1835289" y="420493"/>
                  <a:pt x="1831646" y="424947"/>
                </a:cubicBezTo>
                <a:cubicBezTo>
                  <a:pt x="1828001" y="429401"/>
                  <a:pt x="1834480" y="431368"/>
                  <a:pt x="1842173" y="432178"/>
                </a:cubicBezTo>
                <a:cubicBezTo>
                  <a:pt x="1849866" y="432987"/>
                  <a:pt x="1844140" y="435822"/>
                  <a:pt x="1851023" y="441895"/>
                </a:cubicBezTo>
                <a:cubicBezTo>
                  <a:pt x="1851486" y="442295"/>
                  <a:pt x="1851948" y="442740"/>
                  <a:pt x="1852354" y="443226"/>
                </a:cubicBezTo>
                <a:cubicBezTo>
                  <a:pt x="1856518" y="448200"/>
                  <a:pt x="1848652" y="449994"/>
                  <a:pt x="1849461" y="454795"/>
                </a:cubicBezTo>
                <a:cubicBezTo>
                  <a:pt x="1850271" y="459596"/>
                  <a:pt x="1841768" y="462083"/>
                  <a:pt x="1841768" y="457224"/>
                </a:cubicBezTo>
                <a:cubicBezTo>
                  <a:pt x="1841768" y="452365"/>
                  <a:pt x="1820366" y="450746"/>
                  <a:pt x="1815912" y="456009"/>
                </a:cubicBezTo>
                <a:cubicBezTo>
                  <a:pt x="1811457" y="461273"/>
                  <a:pt x="1808218" y="465322"/>
                  <a:pt x="1803012" y="460463"/>
                </a:cubicBezTo>
                <a:cubicBezTo>
                  <a:pt x="1797806" y="455605"/>
                  <a:pt x="1782420" y="461678"/>
                  <a:pt x="1762521" y="462488"/>
                </a:cubicBezTo>
                <a:cubicBezTo>
                  <a:pt x="1742623" y="463298"/>
                  <a:pt x="1701901" y="464917"/>
                  <a:pt x="1691836" y="468562"/>
                </a:cubicBezTo>
                <a:cubicBezTo>
                  <a:pt x="1681771" y="472206"/>
                  <a:pt x="1673268" y="486320"/>
                  <a:pt x="1682523" y="495575"/>
                </a:cubicBezTo>
                <a:cubicBezTo>
                  <a:pt x="1691778" y="504830"/>
                  <a:pt x="1682928" y="508937"/>
                  <a:pt x="1682928" y="514953"/>
                </a:cubicBezTo>
                <a:cubicBezTo>
                  <a:pt x="1682928" y="520969"/>
                  <a:pt x="1707165" y="533579"/>
                  <a:pt x="1720064" y="534793"/>
                </a:cubicBezTo>
                <a:cubicBezTo>
                  <a:pt x="1732963" y="536008"/>
                  <a:pt x="1743202" y="551742"/>
                  <a:pt x="1735855" y="561402"/>
                </a:cubicBezTo>
                <a:cubicBezTo>
                  <a:pt x="1728509" y="571062"/>
                  <a:pt x="1704677" y="558567"/>
                  <a:pt x="1689580" y="546478"/>
                </a:cubicBezTo>
                <a:cubicBezTo>
                  <a:pt x="1674483" y="534388"/>
                  <a:pt x="1638677" y="529530"/>
                  <a:pt x="1626935" y="530339"/>
                </a:cubicBezTo>
                <a:cubicBezTo>
                  <a:pt x="1615192" y="531149"/>
                  <a:pt x="1622075" y="519812"/>
                  <a:pt x="1607210" y="520217"/>
                </a:cubicBezTo>
                <a:cubicBezTo>
                  <a:pt x="1592343" y="520622"/>
                  <a:pt x="1579676" y="533984"/>
                  <a:pt x="1589856" y="533984"/>
                </a:cubicBezTo>
                <a:cubicBezTo>
                  <a:pt x="1600037" y="533984"/>
                  <a:pt x="1606400" y="533174"/>
                  <a:pt x="1601425" y="537975"/>
                </a:cubicBezTo>
                <a:cubicBezTo>
                  <a:pt x="1596451" y="542776"/>
                  <a:pt x="1604259" y="541619"/>
                  <a:pt x="1616349" y="546883"/>
                </a:cubicBezTo>
                <a:cubicBezTo>
                  <a:pt x="1628439" y="552147"/>
                  <a:pt x="1606284" y="559377"/>
                  <a:pt x="1593732" y="550932"/>
                </a:cubicBezTo>
                <a:cubicBezTo>
                  <a:pt x="1583956" y="544453"/>
                  <a:pt x="1570767" y="547120"/>
                  <a:pt x="1564289" y="556890"/>
                </a:cubicBezTo>
                <a:cubicBezTo>
                  <a:pt x="1564289" y="556930"/>
                  <a:pt x="1564231" y="556965"/>
                  <a:pt x="1564231" y="557006"/>
                </a:cubicBezTo>
                <a:cubicBezTo>
                  <a:pt x="1560645" y="563426"/>
                  <a:pt x="1578750" y="581994"/>
                  <a:pt x="1600557" y="585234"/>
                </a:cubicBezTo>
                <a:cubicBezTo>
                  <a:pt x="1622365" y="588473"/>
                  <a:pt x="1615134" y="595356"/>
                  <a:pt x="1625257" y="598943"/>
                </a:cubicBezTo>
                <a:cubicBezTo>
                  <a:pt x="1635380" y="602529"/>
                  <a:pt x="1628091" y="606636"/>
                  <a:pt x="1621208" y="607041"/>
                </a:cubicBezTo>
                <a:cubicBezTo>
                  <a:pt x="1614324" y="607446"/>
                  <a:pt x="1600557" y="596571"/>
                  <a:pt x="1589741" y="590902"/>
                </a:cubicBezTo>
                <a:cubicBezTo>
                  <a:pt x="1578924" y="585234"/>
                  <a:pt x="1549250" y="593332"/>
                  <a:pt x="1543465" y="586853"/>
                </a:cubicBezTo>
                <a:cubicBezTo>
                  <a:pt x="1537681" y="580375"/>
                  <a:pt x="1547457" y="573954"/>
                  <a:pt x="1541787" y="569095"/>
                </a:cubicBezTo>
                <a:cubicBezTo>
                  <a:pt x="1536119" y="564236"/>
                  <a:pt x="1541035" y="553361"/>
                  <a:pt x="1548324" y="542024"/>
                </a:cubicBezTo>
                <a:cubicBezTo>
                  <a:pt x="1555612" y="530686"/>
                  <a:pt x="1547109" y="511366"/>
                  <a:pt x="1536755" y="508127"/>
                </a:cubicBezTo>
                <a:cubicBezTo>
                  <a:pt x="1526401" y="504888"/>
                  <a:pt x="1527095" y="515763"/>
                  <a:pt x="1529524" y="519002"/>
                </a:cubicBezTo>
                <a:cubicBezTo>
                  <a:pt x="1531954" y="522241"/>
                  <a:pt x="1530740" y="537628"/>
                  <a:pt x="1522641" y="547924"/>
                </a:cubicBezTo>
                <a:cubicBezTo>
                  <a:pt x="1514543" y="558220"/>
                  <a:pt x="1489901" y="557989"/>
                  <a:pt x="1489901" y="564872"/>
                </a:cubicBezTo>
                <a:cubicBezTo>
                  <a:pt x="1489901" y="571756"/>
                  <a:pt x="1473358" y="577020"/>
                  <a:pt x="1479026" y="581821"/>
                </a:cubicBezTo>
                <a:cubicBezTo>
                  <a:pt x="1484695" y="586622"/>
                  <a:pt x="1506908" y="611726"/>
                  <a:pt x="1510147" y="619420"/>
                </a:cubicBezTo>
                <a:cubicBezTo>
                  <a:pt x="1513386" y="627113"/>
                  <a:pt x="1490364" y="651292"/>
                  <a:pt x="1493951" y="665695"/>
                </a:cubicBezTo>
                <a:cubicBezTo>
                  <a:pt x="1497537" y="680098"/>
                  <a:pt x="1490711" y="686230"/>
                  <a:pt x="1495165" y="693113"/>
                </a:cubicBezTo>
                <a:cubicBezTo>
                  <a:pt x="1499619" y="699997"/>
                  <a:pt x="1509684" y="693923"/>
                  <a:pt x="1516163" y="696815"/>
                </a:cubicBezTo>
                <a:cubicBezTo>
                  <a:pt x="1522641" y="699708"/>
                  <a:pt x="1533169" y="692708"/>
                  <a:pt x="1548093" y="689874"/>
                </a:cubicBezTo>
                <a:cubicBezTo>
                  <a:pt x="1563016" y="687040"/>
                  <a:pt x="1590493" y="702831"/>
                  <a:pt x="1600557" y="707690"/>
                </a:cubicBezTo>
                <a:cubicBezTo>
                  <a:pt x="1610622" y="712549"/>
                  <a:pt x="1605416" y="720589"/>
                  <a:pt x="1610680" y="728687"/>
                </a:cubicBezTo>
                <a:cubicBezTo>
                  <a:pt x="1615944" y="736786"/>
                  <a:pt x="1598591" y="736728"/>
                  <a:pt x="1598128" y="748875"/>
                </a:cubicBezTo>
                <a:cubicBezTo>
                  <a:pt x="1597665" y="761022"/>
                  <a:pt x="1628496" y="766228"/>
                  <a:pt x="1629653" y="769873"/>
                </a:cubicBezTo>
                <a:cubicBezTo>
                  <a:pt x="1630810" y="773517"/>
                  <a:pt x="1607846" y="770682"/>
                  <a:pt x="1598938" y="767443"/>
                </a:cubicBezTo>
                <a:cubicBezTo>
                  <a:pt x="1590030" y="764204"/>
                  <a:pt x="1589278" y="752462"/>
                  <a:pt x="1586502" y="750090"/>
                </a:cubicBezTo>
                <a:cubicBezTo>
                  <a:pt x="1583724" y="747718"/>
                  <a:pt x="1592286" y="737943"/>
                  <a:pt x="1593269" y="730249"/>
                </a:cubicBezTo>
                <a:cubicBezTo>
                  <a:pt x="1594253" y="722556"/>
                  <a:pt x="1583262" y="718160"/>
                  <a:pt x="1579618" y="712896"/>
                </a:cubicBezTo>
                <a:cubicBezTo>
                  <a:pt x="1575974" y="707632"/>
                  <a:pt x="1569495" y="699997"/>
                  <a:pt x="1562264" y="701616"/>
                </a:cubicBezTo>
                <a:cubicBezTo>
                  <a:pt x="1555034" y="703236"/>
                  <a:pt x="1528368" y="705665"/>
                  <a:pt x="1520327" y="712896"/>
                </a:cubicBezTo>
                <a:cubicBezTo>
                  <a:pt x="1512287" y="720127"/>
                  <a:pt x="1521484" y="740777"/>
                  <a:pt x="1526112" y="750900"/>
                </a:cubicBezTo>
                <a:cubicBezTo>
                  <a:pt x="1530740" y="761022"/>
                  <a:pt x="1502974" y="775136"/>
                  <a:pt x="1503494" y="783177"/>
                </a:cubicBezTo>
                <a:cubicBezTo>
                  <a:pt x="1504016" y="791217"/>
                  <a:pt x="1494992" y="794746"/>
                  <a:pt x="1482902" y="801398"/>
                </a:cubicBezTo>
                <a:cubicBezTo>
                  <a:pt x="1470813" y="808050"/>
                  <a:pt x="1457451" y="812677"/>
                  <a:pt x="1457855" y="823205"/>
                </a:cubicBezTo>
                <a:cubicBezTo>
                  <a:pt x="1458261" y="833733"/>
                  <a:pt x="1441717" y="828006"/>
                  <a:pt x="1433214" y="823205"/>
                </a:cubicBezTo>
                <a:cubicBezTo>
                  <a:pt x="1424711" y="818404"/>
                  <a:pt x="1413836" y="825982"/>
                  <a:pt x="1401747" y="825577"/>
                </a:cubicBezTo>
                <a:cubicBezTo>
                  <a:pt x="1389657" y="825172"/>
                  <a:pt x="1389599" y="815107"/>
                  <a:pt x="1379881" y="818751"/>
                </a:cubicBezTo>
                <a:cubicBezTo>
                  <a:pt x="1375312" y="821215"/>
                  <a:pt x="1369586" y="819486"/>
                  <a:pt x="1367098" y="814899"/>
                </a:cubicBezTo>
                <a:cubicBezTo>
                  <a:pt x="1365826" y="812521"/>
                  <a:pt x="1365652" y="809716"/>
                  <a:pt x="1366578" y="807182"/>
                </a:cubicBezTo>
                <a:cubicBezTo>
                  <a:pt x="1369412" y="799952"/>
                  <a:pt x="1380287" y="805563"/>
                  <a:pt x="1381154" y="810826"/>
                </a:cubicBezTo>
                <a:cubicBezTo>
                  <a:pt x="1382021" y="816090"/>
                  <a:pt x="1388790" y="813661"/>
                  <a:pt x="1396888" y="809207"/>
                </a:cubicBezTo>
                <a:cubicBezTo>
                  <a:pt x="1404986" y="804753"/>
                  <a:pt x="1400937" y="814991"/>
                  <a:pt x="1412621" y="815685"/>
                </a:cubicBezTo>
                <a:cubicBezTo>
                  <a:pt x="1424306" y="816379"/>
                  <a:pt x="1417885" y="809612"/>
                  <a:pt x="1426736" y="810421"/>
                </a:cubicBezTo>
                <a:cubicBezTo>
                  <a:pt x="1435585" y="811231"/>
                  <a:pt x="1436049" y="808455"/>
                  <a:pt x="1433214" y="803943"/>
                </a:cubicBezTo>
                <a:cubicBezTo>
                  <a:pt x="1430379" y="799431"/>
                  <a:pt x="1439693" y="796307"/>
                  <a:pt x="1445361" y="793878"/>
                </a:cubicBezTo>
                <a:cubicBezTo>
                  <a:pt x="1451030" y="791449"/>
                  <a:pt x="1448600" y="782309"/>
                  <a:pt x="1453806" y="779359"/>
                </a:cubicBezTo>
                <a:cubicBezTo>
                  <a:pt x="1459013" y="776409"/>
                  <a:pt x="1455426" y="770856"/>
                  <a:pt x="1461095" y="770451"/>
                </a:cubicBezTo>
                <a:cubicBezTo>
                  <a:pt x="1466764" y="770046"/>
                  <a:pt x="1469193" y="761543"/>
                  <a:pt x="1474399" y="761543"/>
                </a:cubicBezTo>
                <a:cubicBezTo>
                  <a:pt x="1479605" y="761543"/>
                  <a:pt x="1482497" y="753040"/>
                  <a:pt x="1479258" y="748644"/>
                </a:cubicBezTo>
                <a:cubicBezTo>
                  <a:pt x="1476018" y="744248"/>
                  <a:pt x="1481340" y="732042"/>
                  <a:pt x="1486547" y="730423"/>
                </a:cubicBezTo>
                <a:cubicBezTo>
                  <a:pt x="1491753" y="728803"/>
                  <a:pt x="1492331" y="724002"/>
                  <a:pt x="1487356" y="720416"/>
                </a:cubicBezTo>
                <a:cubicBezTo>
                  <a:pt x="1482382" y="716829"/>
                  <a:pt x="1464739" y="704624"/>
                  <a:pt x="1465954" y="696989"/>
                </a:cubicBezTo>
                <a:cubicBezTo>
                  <a:pt x="1467169" y="689353"/>
                  <a:pt x="1462715" y="675124"/>
                  <a:pt x="1465144" y="669108"/>
                </a:cubicBezTo>
                <a:cubicBezTo>
                  <a:pt x="1467573" y="663092"/>
                  <a:pt x="1465549" y="650482"/>
                  <a:pt x="1464739" y="643194"/>
                </a:cubicBezTo>
                <a:cubicBezTo>
                  <a:pt x="1463929" y="635905"/>
                  <a:pt x="1469193" y="627865"/>
                  <a:pt x="1471622" y="614271"/>
                </a:cubicBezTo>
                <a:cubicBezTo>
                  <a:pt x="1474052" y="600678"/>
                  <a:pt x="1457451" y="586795"/>
                  <a:pt x="1449410" y="583151"/>
                </a:cubicBezTo>
                <a:cubicBezTo>
                  <a:pt x="1441370" y="579507"/>
                  <a:pt x="1446576" y="572276"/>
                  <a:pt x="1458261" y="562559"/>
                </a:cubicBezTo>
                <a:cubicBezTo>
                  <a:pt x="1469945" y="552841"/>
                  <a:pt x="1470755" y="522588"/>
                  <a:pt x="1469829" y="516283"/>
                </a:cubicBezTo>
                <a:cubicBezTo>
                  <a:pt x="1468904" y="509978"/>
                  <a:pt x="1445188" y="504194"/>
                  <a:pt x="1435875" y="504714"/>
                </a:cubicBezTo>
                <a:cubicBezTo>
                  <a:pt x="1418464" y="505137"/>
                  <a:pt x="1401110" y="504327"/>
                  <a:pt x="1383815" y="502285"/>
                </a:cubicBezTo>
                <a:cubicBezTo>
                  <a:pt x="1375312" y="500665"/>
                  <a:pt x="1372246" y="509573"/>
                  <a:pt x="1368428" y="517614"/>
                </a:cubicBezTo>
                <a:cubicBezTo>
                  <a:pt x="1360909" y="529825"/>
                  <a:pt x="1354835" y="542845"/>
                  <a:pt x="1350265" y="556427"/>
                </a:cubicBezTo>
                <a:cubicBezTo>
                  <a:pt x="1345002" y="574590"/>
                  <a:pt x="1323599" y="580259"/>
                  <a:pt x="1313939" y="584250"/>
                </a:cubicBezTo>
                <a:cubicBezTo>
                  <a:pt x="1304279" y="588241"/>
                  <a:pt x="1298205" y="601604"/>
                  <a:pt x="1302371" y="608082"/>
                </a:cubicBezTo>
                <a:cubicBezTo>
                  <a:pt x="1306535" y="614561"/>
                  <a:pt x="1313302" y="609297"/>
                  <a:pt x="1317757" y="611726"/>
                </a:cubicBezTo>
                <a:cubicBezTo>
                  <a:pt x="1322211" y="614156"/>
                  <a:pt x="1317352" y="631104"/>
                  <a:pt x="1314460" y="633534"/>
                </a:cubicBezTo>
                <a:cubicBezTo>
                  <a:pt x="1311568" y="635963"/>
                  <a:pt x="1319724" y="642037"/>
                  <a:pt x="1312898" y="646433"/>
                </a:cubicBezTo>
                <a:cubicBezTo>
                  <a:pt x="1306072" y="650829"/>
                  <a:pt x="1299535" y="660200"/>
                  <a:pt x="1303585" y="665059"/>
                </a:cubicBezTo>
                <a:cubicBezTo>
                  <a:pt x="1307634" y="669918"/>
                  <a:pt x="1327417" y="672289"/>
                  <a:pt x="1335920" y="677148"/>
                </a:cubicBezTo>
                <a:cubicBezTo>
                  <a:pt x="1344423" y="682007"/>
                  <a:pt x="1341126" y="690857"/>
                  <a:pt x="1347489" y="699360"/>
                </a:cubicBezTo>
                <a:cubicBezTo>
                  <a:pt x="1353851" y="707863"/>
                  <a:pt x="1360851" y="702600"/>
                  <a:pt x="1364032" y="707863"/>
                </a:cubicBezTo>
                <a:cubicBezTo>
                  <a:pt x="1367214" y="713127"/>
                  <a:pt x="1352463" y="734125"/>
                  <a:pt x="1347084" y="734877"/>
                </a:cubicBezTo>
                <a:cubicBezTo>
                  <a:pt x="1341704" y="735629"/>
                  <a:pt x="1320418" y="713474"/>
                  <a:pt x="1313997" y="708673"/>
                </a:cubicBezTo>
                <a:cubicBezTo>
                  <a:pt x="1307576" y="703872"/>
                  <a:pt x="1282472" y="696121"/>
                  <a:pt x="1269977" y="689643"/>
                </a:cubicBezTo>
                <a:cubicBezTo>
                  <a:pt x="1257483" y="683164"/>
                  <a:pt x="1247361" y="683858"/>
                  <a:pt x="1233651" y="674719"/>
                </a:cubicBezTo>
                <a:cubicBezTo>
                  <a:pt x="1219942" y="665579"/>
                  <a:pt x="1208200" y="660952"/>
                  <a:pt x="1183153" y="661414"/>
                </a:cubicBezTo>
                <a:cubicBezTo>
                  <a:pt x="1158107" y="661877"/>
                  <a:pt x="1141968" y="655630"/>
                  <a:pt x="1133465" y="656961"/>
                </a:cubicBezTo>
                <a:cubicBezTo>
                  <a:pt x="1124962" y="658291"/>
                  <a:pt x="1128201" y="648457"/>
                  <a:pt x="1113277" y="642037"/>
                </a:cubicBezTo>
                <a:cubicBezTo>
                  <a:pt x="1098354" y="635616"/>
                  <a:pt x="1088635" y="626650"/>
                  <a:pt x="1080190" y="631104"/>
                </a:cubicBezTo>
                <a:cubicBezTo>
                  <a:pt x="1071745" y="635558"/>
                  <a:pt x="1074868" y="651697"/>
                  <a:pt x="1087826" y="653721"/>
                </a:cubicBezTo>
                <a:cubicBezTo>
                  <a:pt x="1100783" y="655746"/>
                  <a:pt x="1094304" y="662629"/>
                  <a:pt x="1108013" y="661819"/>
                </a:cubicBezTo>
                <a:cubicBezTo>
                  <a:pt x="1121722" y="661010"/>
                  <a:pt x="1125772" y="665869"/>
                  <a:pt x="1125366" y="674314"/>
                </a:cubicBezTo>
                <a:cubicBezTo>
                  <a:pt x="1124962" y="682759"/>
                  <a:pt x="1131787" y="691262"/>
                  <a:pt x="1137861" y="696931"/>
                </a:cubicBezTo>
                <a:cubicBezTo>
                  <a:pt x="1143935" y="702600"/>
                  <a:pt x="1140291" y="711855"/>
                  <a:pt x="1129358" y="711855"/>
                </a:cubicBezTo>
                <a:cubicBezTo>
                  <a:pt x="1118425" y="711855"/>
                  <a:pt x="1106220" y="713474"/>
                  <a:pt x="1110790" y="721168"/>
                </a:cubicBezTo>
                <a:cubicBezTo>
                  <a:pt x="1115359" y="728861"/>
                  <a:pt x="1107551" y="730828"/>
                  <a:pt x="1096676" y="726952"/>
                </a:cubicBezTo>
                <a:cubicBezTo>
                  <a:pt x="1085801" y="723077"/>
                  <a:pt x="1092164" y="715383"/>
                  <a:pt x="1096676" y="710756"/>
                </a:cubicBezTo>
                <a:cubicBezTo>
                  <a:pt x="1101188" y="706128"/>
                  <a:pt x="1086958" y="700691"/>
                  <a:pt x="1080133" y="698261"/>
                </a:cubicBezTo>
                <a:cubicBezTo>
                  <a:pt x="1073307" y="695832"/>
                  <a:pt x="1045773" y="716020"/>
                  <a:pt x="1038137" y="719259"/>
                </a:cubicBezTo>
                <a:cubicBezTo>
                  <a:pt x="1030502" y="722498"/>
                  <a:pt x="1011471" y="714400"/>
                  <a:pt x="991862" y="719259"/>
                </a:cubicBezTo>
                <a:cubicBezTo>
                  <a:pt x="972253" y="724118"/>
                  <a:pt x="973757" y="739447"/>
                  <a:pt x="966410" y="737827"/>
                </a:cubicBezTo>
                <a:cubicBezTo>
                  <a:pt x="959064" y="736207"/>
                  <a:pt x="937488" y="739851"/>
                  <a:pt x="929679" y="734992"/>
                </a:cubicBezTo>
                <a:cubicBezTo>
                  <a:pt x="921871" y="730134"/>
                  <a:pt x="928118" y="727357"/>
                  <a:pt x="936563" y="727762"/>
                </a:cubicBezTo>
                <a:cubicBezTo>
                  <a:pt x="945008" y="728167"/>
                  <a:pt x="948131" y="725333"/>
                  <a:pt x="942984" y="719722"/>
                </a:cubicBezTo>
                <a:cubicBezTo>
                  <a:pt x="937836" y="714111"/>
                  <a:pt x="949462" y="705145"/>
                  <a:pt x="948768" y="701096"/>
                </a:cubicBezTo>
                <a:cubicBezTo>
                  <a:pt x="948074" y="697047"/>
                  <a:pt x="916896" y="707574"/>
                  <a:pt x="911632" y="711971"/>
                </a:cubicBezTo>
                <a:cubicBezTo>
                  <a:pt x="906368" y="716367"/>
                  <a:pt x="912095" y="724581"/>
                  <a:pt x="906368" y="727357"/>
                </a:cubicBezTo>
                <a:cubicBezTo>
                  <a:pt x="900642" y="730134"/>
                  <a:pt x="900584" y="722498"/>
                  <a:pt x="894279" y="720127"/>
                </a:cubicBezTo>
                <a:cubicBezTo>
                  <a:pt x="887974" y="717755"/>
                  <a:pt x="840541" y="728572"/>
                  <a:pt x="831691" y="738695"/>
                </a:cubicBezTo>
                <a:cubicBezTo>
                  <a:pt x="822841" y="748817"/>
                  <a:pt x="805430" y="749164"/>
                  <a:pt x="805430" y="754775"/>
                </a:cubicBezTo>
                <a:cubicBezTo>
                  <a:pt x="805430" y="760386"/>
                  <a:pt x="784027" y="760039"/>
                  <a:pt x="775524" y="764146"/>
                </a:cubicBezTo>
                <a:cubicBezTo>
                  <a:pt x="767021" y="768253"/>
                  <a:pt x="772748" y="784681"/>
                  <a:pt x="769740" y="792779"/>
                </a:cubicBezTo>
                <a:cubicBezTo>
                  <a:pt x="766732" y="800877"/>
                  <a:pt x="733356" y="798563"/>
                  <a:pt x="723464" y="798563"/>
                </a:cubicBezTo>
                <a:cubicBezTo>
                  <a:pt x="713573" y="798563"/>
                  <a:pt x="709697" y="779243"/>
                  <a:pt x="701657" y="777971"/>
                </a:cubicBezTo>
                <a:cubicBezTo>
                  <a:pt x="693617" y="776698"/>
                  <a:pt x="698360" y="765476"/>
                  <a:pt x="700847" y="760618"/>
                </a:cubicBezTo>
                <a:cubicBezTo>
                  <a:pt x="703335" y="755759"/>
                  <a:pt x="709697" y="759750"/>
                  <a:pt x="719820" y="753329"/>
                </a:cubicBezTo>
                <a:cubicBezTo>
                  <a:pt x="729943" y="746908"/>
                  <a:pt x="740008" y="756511"/>
                  <a:pt x="744057" y="752057"/>
                </a:cubicBezTo>
                <a:cubicBezTo>
                  <a:pt x="748106" y="747603"/>
                  <a:pt x="728671" y="735918"/>
                  <a:pt x="727456" y="725853"/>
                </a:cubicBezTo>
                <a:cubicBezTo>
                  <a:pt x="726241" y="715788"/>
                  <a:pt x="704839" y="712896"/>
                  <a:pt x="692749" y="716135"/>
                </a:cubicBezTo>
                <a:cubicBezTo>
                  <a:pt x="681354" y="718796"/>
                  <a:pt x="669438" y="717512"/>
                  <a:pt x="658853" y="712491"/>
                </a:cubicBezTo>
                <a:cubicBezTo>
                  <a:pt x="650349" y="708500"/>
                  <a:pt x="651159" y="719837"/>
                  <a:pt x="663654" y="723019"/>
                </a:cubicBezTo>
                <a:cubicBezTo>
                  <a:pt x="676148" y="726200"/>
                  <a:pt x="669727" y="735918"/>
                  <a:pt x="671752" y="741992"/>
                </a:cubicBezTo>
                <a:cubicBezTo>
                  <a:pt x="673776" y="748065"/>
                  <a:pt x="668512" y="761832"/>
                  <a:pt x="661224" y="772244"/>
                </a:cubicBezTo>
                <a:cubicBezTo>
                  <a:pt x="653936" y="782656"/>
                  <a:pt x="659257" y="782425"/>
                  <a:pt x="670132" y="781962"/>
                </a:cubicBezTo>
                <a:cubicBezTo>
                  <a:pt x="681007" y="781499"/>
                  <a:pt x="680255" y="795729"/>
                  <a:pt x="680255" y="806199"/>
                </a:cubicBezTo>
                <a:cubicBezTo>
                  <a:pt x="680255" y="816669"/>
                  <a:pt x="671752" y="819561"/>
                  <a:pt x="671752" y="827254"/>
                </a:cubicBezTo>
                <a:cubicBezTo>
                  <a:pt x="671752" y="834947"/>
                  <a:pt x="662844" y="823552"/>
                  <a:pt x="660183" y="826791"/>
                </a:cubicBezTo>
                <a:cubicBezTo>
                  <a:pt x="657522" y="830031"/>
                  <a:pt x="653763" y="825172"/>
                  <a:pt x="652143" y="818693"/>
                </a:cubicBezTo>
                <a:cubicBezTo>
                  <a:pt x="650523" y="812215"/>
                  <a:pt x="633980" y="815859"/>
                  <a:pt x="624667" y="813487"/>
                </a:cubicBezTo>
                <a:cubicBezTo>
                  <a:pt x="615354" y="811116"/>
                  <a:pt x="611767" y="815107"/>
                  <a:pt x="607313" y="821932"/>
                </a:cubicBezTo>
                <a:cubicBezTo>
                  <a:pt x="602859" y="828758"/>
                  <a:pt x="589960" y="831650"/>
                  <a:pt x="583076" y="832460"/>
                </a:cubicBezTo>
                <a:cubicBezTo>
                  <a:pt x="576193" y="833270"/>
                  <a:pt x="564104" y="846632"/>
                  <a:pt x="556815" y="851433"/>
                </a:cubicBezTo>
                <a:cubicBezTo>
                  <a:pt x="549527" y="856234"/>
                  <a:pt x="548370" y="865605"/>
                  <a:pt x="558435" y="875265"/>
                </a:cubicBezTo>
                <a:cubicBezTo>
                  <a:pt x="568499" y="884925"/>
                  <a:pt x="570582" y="891403"/>
                  <a:pt x="570003" y="896667"/>
                </a:cubicBezTo>
                <a:cubicBezTo>
                  <a:pt x="569425" y="901931"/>
                  <a:pt x="541718" y="900312"/>
                  <a:pt x="537264" y="894643"/>
                </a:cubicBezTo>
                <a:cubicBezTo>
                  <a:pt x="532810" y="888974"/>
                  <a:pt x="515051" y="887007"/>
                  <a:pt x="509036" y="888222"/>
                </a:cubicBezTo>
                <a:cubicBezTo>
                  <a:pt x="503020" y="889437"/>
                  <a:pt x="486361" y="870059"/>
                  <a:pt x="477916" y="869654"/>
                </a:cubicBezTo>
                <a:cubicBezTo>
                  <a:pt x="469470" y="869249"/>
                  <a:pt x="464149" y="879719"/>
                  <a:pt x="461314" y="884983"/>
                </a:cubicBezTo>
                <a:cubicBezTo>
                  <a:pt x="458480" y="890246"/>
                  <a:pt x="465363" y="891866"/>
                  <a:pt x="469470" y="900716"/>
                </a:cubicBezTo>
                <a:cubicBezTo>
                  <a:pt x="473577" y="909567"/>
                  <a:pt x="488443" y="910029"/>
                  <a:pt x="496079" y="910029"/>
                </a:cubicBezTo>
                <a:cubicBezTo>
                  <a:pt x="503714" y="910029"/>
                  <a:pt x="500880" y="921598"/>
                  <a:pt x="498508" y="926573"/>
                </a:cubicBezTo>
                <a:cubicBezTo>
                  <a:pt x="496137" y="931547"/>
                  <a:pt x="481907" y="935018"/>
                  <a:pt x="477916" y="929812"/>
                </a:cubicBezTo>
                <a:cubicBezTo>
                  <a:pt x="473924" y="924606"/>
                  <a:pt x="456860" y="929812"/>
                  <a:pt x="456513" y="923333"/>
                </a:cubicBezTo>
                <a:cubicBezTo>
                  <a:pt x="456166" y="916855"/>
                  <a:pt x="443961" y="907195"/>
                  <a:pt x="431467" y="909220"/>
                </a:cubicBezTo>
                <a:cubicBezTo>
                  <a:pt x="418972" y="911244"/>
                  <a:pt x="416485" y="903146"/>
                  <a:pt x="417353" y="893428"/>
                </a:cubicBezTo>
                <a:cubicBezTo>
                  <a:pt x="418220" y="883710"/>
                  <a:pt x="410469" y="878099"/>
                  <a:pt x="410816" y="873645"/>
                </a:cubicBezTo>
                <a:cubicBezTo>
                  <a:pt x="411163" y="869191"/>
                  <a:pt x="405032" y="860341"/>
                  <a:pt x="411626" y="855887"/>
                </a:cubicBezTo>
                <a:cubicBezTo>
                  <a:pt x="418220" y="851433"/>
                  <a:pt x="413246" y="844607"/>
                  <a:pt x="413651" y="838534"/>
                </a:cubicBezTo>
                <a:cubicBezTo>
                  <a:pt x="414055" y="832460"/>
                  <a:pt x="402776" y="823205"/>
                  <a:pt x="392653" y="823205"/>
                </a:cubicBezTo>
                <a:cubicBezTo>
                  <a:pt x="382531" y="823205"/>
                  <a:pt x="384613" y="813082"/>
                  <a:pt x="376110" y="811058"/>
                </a:cubicBezTo>
                <a:cubicBezTo>
                  <a:pt x="367606" y="809033"/>
                  <a:pt x="350716" y="794919"/>
                  <a:pt x="349501" y="788845"/>
                </a:cubicBezTo>
                <a:cubicBezTo>
                  <a:pt x="348286" y="782772"/>
                  <a:pt x="335329" y="781962"/>
                  <a:pt x="339784" y="779938"/>
                </a:cubicBezTo>
                <a:cubicBezTo>
                  <a:pt x="344238" y="777913"/>
                  <a:pt x="354360" y="780805"/>
                  <a:pt x="361591" y="788036"/>
                </a:cubicBezTo>
                <a:cubicBezTo>
                  <a:pt x="372060" y="797499"/>
                  <a:pt x="385423" y="803197"/>
                  <a:pt x="399536" y="804232"/>
                </a:cubicBezTo>
                <a:cubicBezTo>
                  <a:pt x="418567" y="806604"/>
                  <a:pt x="426203" y="815512"/>
                  <a:pt x="447200" y="819098"/>
                </a:cubicBezTo>
                <a:cubicBezTo>
                  <a:pt x="468198" y="822684"/>
                  <a:pt x="480750" y="825172"/>
                  <a:pt x="510829" y="829626"/>
                </a:cubicBezTo>
                <a:cubicBezTo>
                  <a:pt x="540908" y="834080"/>
                  <a:pt x="581514" y="803364"/>
                  <a:pt x="590018" y="794919"/>
                </a:cubicBezTo>
                <a:cubicBezTo>
                  <a:pt x="598521" y="786474"/>
                  <a:pt x="587588" y="769063"/>
                  <a:pt x="587588" y="762584"/>
                </a:cubicBezTo>
                <a:cubicBezTo>
                  <a:pt x="587588" y="756106"/>
                  <a:pt x="573879" y="755296"/>
                  <a:pt x="571855" y="750495"/>
                </a:cubicBezTo>
                <a:cubicBezTo>
                  <a:pt x="567285" y="742229"/>
                  <a:pt x="558666" y="737006"/>
                  <a:pt x="549237" y="736786"/>
                </a:cubicBezTo>
                <a:cubicBezTo>
                  <a:pt x="537669" y="736786"/>
                  <a:pt x="535876" y="723424"/>
                  <a:pt x="526620" y="724291"/>
                </a:cubicBezTo>
                <a:cubicBezTo>
                  <a:pt x="517365" y="725159"/>
                  <a:pt x="510829" y="720184"/>
                  <a:pt x="486650" y="704046"/>
                </a:cubicBezTo>
                <a:cubicBezTo>
                  <a:pt x="462471" y="687907"/>
                  <a:pt x="428806" y="676165"/>
                  <a:pt x="423022" y="678999"/>
                </a:cubicBezTo>
                <a:cubicBezTo>
                  <a:pt x="417237" y="681834"/>
                  <a:pt x="412899" y="683453"/>
                  <a:pt x="408849" y="677380"/>
                </a:cubicBezTo>
                <a:cubicBezTo>
                  <a:pt x="404800" y="671306"/>
                  <a:pt x="395488" y="672116"/>
                  <a:pt x="389067" y="676975"/>
                </a:cubicBezTo>
                <a:cubicBezTo>
                  <a:pt x="382646" y="681834"/>
                  <a:pt x="376110" y="672521"/>
                  <a:pt x="364020" y="675355"/>
                </a:cubicBezTo>
                <a:cubicBezTo>
                  <a:pt x="351931" y="678189"/>
                  <a:pt x="345452" y="670091"/>
                  <a:pt x="348634" y="666447"/>
                </a:cubicBezTo>
                <a:cubicBezTo>
                  <a:pt x="351815" y="662803"/>
                  <a:pt x="369689" y="666100"/>
                  <a:pt x="368879" y="660026"/>
                </a:cubicBezTo>
                <a:cubicBezTo>
                  <a:pt x="368069" y="653953"/>
                  <a:pt x="361591" y="660026"/>
                  <a:pt x="350716" y="652738"/>
                </a:cubicBezTo>
                <a:cubicBezTo>
                  <a:pt x="339841" y="645450"/>
                  <a:pt x="333710" y="650308"/>
                  <a:pt x="331281" y="656382"/>
                </a:cubicBezTo>
                <a:cubicBezTo>
                  <a:pt x="328851" y="662456"/>
                  <a:pt x="320406" y="660778"/>
                  <a:pt x="314737" y="655630"/>
                </a:cubicBezTo>
                <a:cubicBezTo>
                  <a:pt x="314158" y="655109"/>
                  <a:pt x="313580" y="654664"/>
                  <a:pt x="312886" y="654300"/>
                </a:cubicBezTo>
                <a:cubicBezTo>
                  <a:pt x="311035" y="664365"/>
                  <a:pt x="305019" y="665406"/>
                  <a:pt x="299003" y="664075"/>
                </a:cubicBezTo>
                <a:cubicBezTo>
                  <a:pt x="291715" y="662456"/>
                  <a:pt x="284484" y="674545"/>
                  <a:pt x="276386" y="674545"/>
                </a:cubicBezTo>
                <a:cubicBezTo>
                  <a:pt x="267536" y="675795"/>
                  <a:pt x="260306" y="682117"/>
                  <a:pt x="257818" y="690684"/>
                </a:cubicBezTo>
                <a:cubicBezTo>
                  <a:pt x="256198" y="697972"/>
                  <a:pt x="247348" y="693923"/>
                  <a:pt x="247348" y="698782"/>
                </a:cubicBezTo>
                <a:cubicBezTo>
                  <a:pt x="247927" y="703976"/>
                  <a:pt x="246481" y="709194"/>
                  <a:pt x="243241" y="713301"/>
                </a:cubicBezTo>
                <a:cubicBezTo>
                  <a:pt x="239250" y="718218"/>
                  <a:pt x="243241" y="720589"/>
                  <a:pt x="247348" y="728630"/>
                </a:cubicBezTo>
                <a:cubicBezTo>
                  <a:pt x="251455" y="736670"/>
                  <a:pt x="260248" y="735918"/>
                  <a:pt x="264296" y="738405"/>
                </a:cubicBezTo>
                <a:cubicBezTo>
                  <a:pt x="268346" y="740893"/>
                  <a:pt x="283674" y="753676"/>
                  <a:pt x="283674" y="758593"/>
                </a:cubicBezTo>
                <a:cubicBezTo>
                  <a:pt x="283674" y="763510"/>
                  <a:pt x="271527" y="775483"/>
                  <a:pt x="266726" y="778781"/>
                </a:cubicBezTo>
                <a:cubicBezTo>
                  <a:pt x="261925" y="782078"/>
                  <a:pt x="255157" y="790060"/>
                  <a:pt x="258628" y="794919"/>
                </a:cubicBezTo>
                <a:cubicBezTo>
                  <a:pt x="262098" y="799778"/>
                  <a:pt x="275577" y="819966"/>
                  <a:pt x="284484" y="836104"/>
                </a:cubicBezTo>
                <a:cubicBezTo>
                  <a:pt x="293392" y="852243"/>
                  <a:pt x="281245" y="845012"/>
                  <a:pt x="275577" y="852243"/>
                </a:cubicBezTo>
                <a:cubicBezTo>
                  <a:pt x="269907" y="859473"/>
                  <a:pt x="278006" y="868439"/>
                  <a:pt x="279625" y="873240"/>
                </a:cubicBezTo>
                <a:cubicBezTo>
                  <a:pt x="281245" y="878041"/>
                  <a:pt x="272337" y="877289"/>
                  <a:pt x="273147" y="881339"/>
                </a:cubicBezTo>
                <a:cubicBezTo>
                  <a:pt x="273957" y="885388"/>
                  <a:pt x="286104" y="887123"/>
                  <a:pt x="286856" y="890246"/>
                </a:cubicBezTo>
                <a:cubicBezTo>
                  <a:pt x="287608" y="893370"/>
                  <a:pt x="278815" y="897477"/>
                  <a:pt x="282865" y="903956"/>
                </a:cubicBezTo>
                <a:cubicBezTo>
                  <a:pt x="286914" y="910434"/>
                  <a:pt x="296574" y="910434"/>
                  <a:pt x="297383" y="918475"/>
                </a:cubicBezTo>
                <a:cubicBezTo>
                  <a:pt x="298193" y="926515"/>
                  <a:pt x="279625" y="927383"/>
                  <a:pt x="280435" y="933861"/>
                </a:cubicBezTo>
                <a:cubicBezTo>
                  <a:pt x="281245" y="940340"/>
                  <a:pt x="304672" y="948380"/>
                  <a:pt x="315142" y="960470"/>
                </a:cubicBezTo>
                <a:cubicBezTo>
                  <a:pt x="325611" y="972559"/>
                  <a:pt x="324859" y="975798"/>
                  <a:pt x="322430" y="982335"/>
                </a:cubicBezTo>
                <a:cubicBezTo>
                  <a:pt x="317572" y="995292"/>
                  <a:pt x="288534" y="1006514"/>
                  <a:pt x="281939" y="1021090"/>
                </a:cubicBezTo>
                <a:cubicBezTo>
                  <a:pt x="275345" y="1035667"/>
                  <a:pt x="251224" y="1043650"/>
                  <a:pt x="239944" y="1054987"/>
                </a:cubicBezTo>
                <a:cubicBezTo>
                  <a:pt x="235086" y="1060089"/>
                  <a:pt x="230689" y="1065648"/>
                  <a:pt x="226871" y="1071588"/>
                </a:cubicBezTo>
                <a:cubicBezTo>
                  <a:pt x="230862" y="1070651"/>
                  <a:pt x="234738" y="1069275"/>
                  <a:pt x="238440" y="1067481"/>
                </a:cubicBezTo>
                <a:cubicBezTo>
                  <a:pt x="244861" y="1064242"/>
                  <a:pt x="249315" y="1080034"/>
                  <a:pt x="255794" y="1085240"/>
                </a:cubicBezTo>
                <a:cubicBezTo>
                  <a:pt x="262272" y="1090446"/>
                  <a:pt x="275171" y="1085645"/>
                  <a:pt x="279625" y="1090504"/>
                </a:cubicBezTo>
                <a:cubicBezTo>
                  <a:pt x="284079" y="1095362"/>
                  <a:pt x="275981" y="1095767"/>
                  <a:pt x="266726" y="1094148"/>
                </a:cubicBezTo>
                <a:cubicBezTo>
                  <a:pt x="257471" y="1092528"/>
                  <a:pt x="255157" y="1098197"/>
                  <a:pt x="240407" y="1103056"/>
                </a:cubicBezTo>
                <a:cubicBezTo>
                  <a:pt x="229590" y="1106642"/>
                  <a:pt x="230689" y="1110518"/>
                  <a:pt x="226987" y="1113583"/>
                </a:cubicBezTo>
                <a:cubicBezTo>
                  <a:pt x="233582" y="1123070"/>
                  <a:pt x="224847" y="1124285"/>
                  <a:pt x="221203" y="1131515"/>
                </a:cubicBezTo>
                <a:cubicBezTo>
                  <a:pt x="217559" y="1138746"/>
                  <a:pt x="212700" y="1140597"/>
                  <a:pt x="212063" y="1145398"/>
                </a:cubicBezTo>
                <a:cubicBezTo>
                  <a:pt x="212237" y="1150708"/>
                  <a:pt x="212815" y="1155989"/>
                  <a:pt x="213914" y="1161189"/>
                </a:cubicBezTo>
                <a:cubicBezTo>
                  <a:pt x="214088" y="1166615"/>
                  <a:pt x="216228" y="1171786"/>
                  <a:pt x="219988" y="1175708"/>
                </a:cubicBezTo>
                <a:cubicBezTo>
                  <a:pt x="224211" y="1181782"/>
                  <a:pt x="216344" y="1181782"/>
                  <a:pt x="212700" y="1184790"/>
                </a:cubicBezTo>
                <a:cubicBezTo>
                  <a:pt x="209056" y="1187798"/>
                  <a:pt x="211485" y="1194508"/>
                  <a:pt x="216344" y="1199309"/>
                </a:cubicBezTo>
                <a:cubicBezTo>
                  <a:pt x="220451" y="1203219"/>
                  <a:pt x="221665" y="1209281"/>
                  <a:pt x="219351" y="1214464"/>
                </a:cubicBezTo>
                <a:cubicBezTo>
                  <a:pt x="217559" y="1218687"/>
                  <a:pt x="223575" y="1226033"/>
                  <a:pt x="227855" y="1230255"/>
                </a:cubicBezTo>
                <a:cubicBezTo>
                  <a:pt x="232135" y="1234478"/>
                  <a:pt x="231499" y="1245989"/>
                  <a:pt x="235086" y="1248997"/>
                </a:cubicBezTo>
                <a:cubicBezTo>
                  <a:pt x="238787" y="1252988"/>
                  <a:pt x="244398" y="1254614"/>
                  <a:pt x="249662" y="1253219"/>
                </a:cubicBezTo>
                <a:cubicBezTo>
                  <a:pt x="255331" y="1251594"/>
                  <a:pt x="261288" y="1254486"/>
                  <a:pt x="263544" y="1259929"/>
                </a:cubicBezTo>
                <a:cubicBezTo>
                  <a:pt x="266610" y="1265367"/>
                  <a:pt x="271469" y="1262937"/>
                  <a:pt x="278121" y="1259929"/>
                </a:cubicBezTo>
                <a:cubicBezTo>
                  <a:pt x="284774" y="1256922"/>
                  <a:pt x="299929" y="1265367"/>
                  <a:pt x="303573" y="1267160"/>
                </a:cubicBezTo>
                <a:cubicBezTo>
                  <a:pt x="307217" y="1268953"/>
                  <a:pt x="305366" y="1279307"/>
                  <a:pt x="305945" y="1285959"/>
                </a:cubicBezTo>
                <a:cubicBezTo>
                  <a:pt x="306523" y="1292612"/>
                  <a:pt x="302358" y="1301115"/>
                  <a:pt x="309010" y="1305337"/>
                </a:cubicBezTo>
                <a:cubicBezTo>
                  <a:pt x="315662" y="1309560"/>
                  <a:pt x="313869" y="1319278"/>
                  <a:pt x="321736" y="1322286"/>
                </a:cubicBezTo>
                <a:cubicBezTo>
                  <a:pt x="329603" y="1325294"/>
                  <a:pt x="332611" y="1336226"/>
                  <a:pt x="337470" y="1337441"/>
                </a:cubicBezTo>
                <a:cubicBezTo>
                  <a:pt x="344180" y="1339864"/>
                  <a:pt x="349675" y="1344891"/>
                  <a:pt x="352625" y="1351381"/>
                </a:cubicBezTo>
                <a:cubicBezTo>
                  <a:pt x="353839" y="1356819"/>
                  <a:pt x="344122" y="1361677"/>
                  <a:pt x="338684" y="1364107"/>
                </a:cubicBezTo>
                <a:cubicBezTo>
                  <a:pt x="333247" y="1366537"/>
                  <a:pt x="322951" y="1356819"/>
                  <a:pt x="319306" y="1361099"/>
                </a:cubicBezTo>
                <a:cubicBezTo>
                  <a:pt x="315662" y="1365380"/>
                  <a:pt x="320521" y="1373189"/>
                  <a:pt x="323529" y="1386551"/>
                </a:cubicBezTo>
                <a:cubicBezTo>
                  <a:pt x="326537" y="1399913"/>
                  <a:pt x="329313" y="1401012"/>
                  <a:pt x="335098" y="1401012"/>
                </a:cubicBezTo>
                <a:cubicBezTo>
                  <a:pt x="340882" y="1401012"/>
                  <a:pt x="343601" y="1396847"/>
                  <a:pt x="347824" y="1394417"/>
                </a:cubicBezTo>
                <a:cubicBezTo>
                  <a:pt x="352047" y="1391988"/>
                  <a:pt x="361764" y="1395574"/>
                  <a:pt x="365987" y="1393781"/>
                </a:cubicBezTo>
                <a:cubicBezTo>
                  <a:pt x="370210" y="1391988"/>
                  <a:pt x="385365" y="1391410"/>
                  <a:pt x="388431" y="1396211"/>
                </a:cubicBezTo>
                <a:cubicBezTo>
                  <a:pt x="391496" y="1401012"/>
                  <a:pt x="394215" y="1412581"/>
                  <a:pt x="392074" y="1416803"/>
                </a:cubicBezTo>
                <a:cubicBezTo>
                  <a:pt x="389934" y="1421026"/>
                  <a:pt x="395082" y="1425885"/>
                  <a:pt x="397859" y="1431958"/>
                </a:cubicBezTo>
                <a:cubicBezTo>
                  <a:pt x="400636" y="1438032"/>
                  <a:pt x="413651" y="1435024"/>
                  <a:pt x="417873" y="1436817"/>
                </a:cubicBezTo>
                <a:cubicBezTo>
                  <a:pt x="422096" y="1438610"/>
                  <a:pt x="431814" y="1451973"/>
                  <a:pt x="430020" y="1457988"/>
                </a:cubicBezTo>
                <a:cubicBezTo>
                  <a:pt x="428227" y="1464004"/>
                  <a:pt x="435805" y="1465277"/>
                  <a:pt x="440259" y="1463483"/>
                </a:cubicBezTo>
                <a:cubicBezTo>
                  <a:pt x="444713" y="1461690"/>
                  <a:pt x="448820" y="1466491"/>
                  <a:pt x="453621" y="1469557"/>
                </a:cubicBezTo>
                <a:cubicBezTo>
                  <a:pt x="458075" y="1472172"/>
                  <a:pt x="463628" y="1471686"/>
                  <a:pt x="467561" y="1468342"/>
                </a:cubicBezTo>
                <a:cubicBezTo>
                  <a:pt x="472420" y="1465277"/>
                  <a:pt x="480287" y="1462558"/>
                  <a:pt x="482659" y="1467128"/>
                </a:cubicBezTo>
                <a:cubicBezTo>
                  <a:pt x="485030" y="1471697"/>
                  <a:pt x="494806" y="1479217"/>
                  <a:pt x="494806" y="1481647"/>
                </a:cubicBezTo>
                <a:cubicBezTo>
                  <a:pt x="494806" y="1484076"/>
                  <a:pt x="509961" y="1481647"/>
                  <a:pt x="517249" y="1485291"/>
                </a:cubicBezTo>
                <a:cubicBezTo>
                  <a:pt x="524538" y="1488935"/>
                  <a:pt x="532405" y="1487084"/>
                  <a:pt x="540387" y="1491364"/>
                </a:cubicBezTo>
                <a:cubicBezTo>
                  <a:pt x="548370" y="1495645"/>
                  <a:pt x="555484" y="1496165"/>
                  <a:pt x="556121" y="1501025"/>
                </a:cubicBezTo>
                <a:cubicBezTo>
                  <a:pt x="556758" y="1505883"/>
                  <a:pt x="548254" y="1510106"/>
                  <a:pt x="548254" y="1512593"/>
                </a:cubicBezTo>
                <a:cubicBezTo>
                  <a:pt x="548254" y="1515081"/>
                  <a:pt x="554906" y="1516874"/>
                  <a:pt x="554906" y="1520518"/>
                </a:cubicBezTo>
                <a:cubicBezTo>
                  <a:pt x="554906" y="1524162"/>
                  <a:pt x="546403" y="1524162"/>
                  <a:pt x="545247" y="1527170"/>
                </a:cubicBezTo>
                <a:cubicBezTo>
                  <a:pt x="544089" y="1530178"/>
                  <a:pt x="550047" y="1534459"/>
                  <a:pt x="551031" y="1537466"/>
                </a:cubicBezTo>
                <a:cubicBezTo>
                  <a:pt x="552014" y="1540474"/>
                  <a:pt x="546229" y="1550828"/>
                  <a:pt x="546229" y="1553836"/>
                </a:cubicBezTo>
                <a:cubicBezTo>
                  <a:pt x="546229" y="1556844"/>
                  <a:pt x="528066" y="1553258"/>
                  <a:pt x="523844" y="1553258"/>
                </a:cubicBezTo>
                <a:cubicBezTo>
                  <a:pt x="519621" y="1553258"/>
                  <a:pt x="506896" y="1567198"/>
                  <a:pt x="502615" y="1567777"/>
                </a:cubicBezTo>
                <a:cubicBezTo>
                  <a:pt x="498335" y="1568355"/>
                  <a:pt x="500706" y="1575007"/>
                  <a:pt x="501978" y="1580734"/>
                </a:cubicBezTo>
                <a:cubicBezTo>
                  <a:pt x="515051" y="1578247"/>
                  <a:pt x="528472" y="1577205"/>
                  <a:pt x="529918" y="1580098"/>
                </a:cubicBezTo>
                <a:cubicBezTo>
                  <a:pt x="532347" y="1584956"/>
                  <a:pt x="501632" y="1597856"/>
                  <a:pt x="495963" y="1599880"/>
                </a:cubicBezTo>
                <a:cubicBezTo>
                  <a:pt x="490294" y="1601905"/>
                  <a:pt x="506896" y="1610350"/>
                  <a:pt x="506433" y="1615209"/>
                </a:cubicBezTo>
                <a:cubicBezTo>
                  <a:pt x="505970" y="1620068"/>
                  <a:pt x="488675" y="1621283"/>
                  <a:pt x="490294" y="1630943"/>
                </a:cubicBezTo>
                <a:cubicBezTo>
                  <a:pt x="491914" y="1640603"/>
                  <a:pt x="484510" y="1642512"/>
                  <a:pt x="475370" y="1642512"/>
                </a:cubicBezTo>
                <a:cubicBezTo>
                  <a:pt x="466231" y="1642512"/>
                  <a:pt x="463801" y="1648296"/>
                  <a:pt x="468140" y="1648990"/>
                </a:cubicBezTo>
                <a:cubicBezTo>
                  <a:pt x="472478" y="1649684"/>
                  <a:pt x="472131" y="1661889"/>
                  <a:pt x="489542" y="1666343"/>
                </a:cubicBezTo>
                <a:cubicBezTo>
                  <a:pt x="506954" y="1670797"/>
                  <a:pt x="525464" y="1686936"/>
                  <a:pt x="540387" y="1703075"/>
                </a:cubicBezTo>
                <a:cubicBezTo>
                  <a:pt x="542469" y="1705336"/>
                  <a:pt x="544841" y="1707286"/>
                  <a:pt x="547503" y="1708859"/>
                </a:cubicBezTo>
                <a:cubicBezTo>
                  <a:pt x="550626" y="1706736"/>
                  <a:pt x="554096" y="1705116"/>
                  <a:pt x="557740" y="1704058"/>
                </a:cubicBezTo>
                <a:cubicBezTo>
                  <a:pt x="569367" y="1703867"/>
                  <a:pt x="580820" y="1707257"/>
                  <a:pt x="590480" y="1713776"/>
                </a:cubicBezTo>
                <a:cubicBezTo>
                  <a:pt x="598983" y="1719560"/>
                  <a:pt x="629236" y="1712561"/>
                  <a:pt x="632880" y="1717362"/>
                </a:cubicBezTo>
                <a:cubicBezTo>
                  <a:pt x="636814" y="1723129"/>
                  <a:pt x="642946" y="1727068"/>
                  <a:pt x="649829" y="1728295"/>
                </a:cubicBezTo>
                <a:cubicBezTo>
                  <a:pt x="655613" y="1728295"/>
                  <a:pt x="661976" y="1740384"/>
                  <a:pt x="666777" y="1736740"/>
                </a:cubicBezTo>
                <a:cubicBezTo>
                  <a:pt x="671578" y="1733096"/>
                  <a:pt x="689915" y="1733154"/>
                  <a:pt x="694658" y="1733154"/>
                </a:cubicBezTo>
                <a:cubicBezTo>
                  <a:pt x="699401" y="1733154"/>
                  <a:pt x="699517" y="1736740"/>
                  <a:pt x="704376" y="1736740"/>
                </a:cubicBezTo>
                <a:cubicBezTo>
                  <a:pt x="709235" y="1736740"/>
                  <a:pt x="709177" y="1754961"/>
                  <a:pt x="712821" y="1753746"/>
                </a:cubicBezTo>
                <a:cubicBezTo>
                  <a:pt x="716466" y="1752531"/>
                  <a:pt x="729769" y="1764621"/>
                  <a:pt x="738273" y="1765836"/>
                </a:cubicBezTo>
                <a:cubicBezTo>
                  <a:pt x="746776" y="1767050"/>
                  <a:pt x="755221" y="1781569"/>
                  <a:pt x="758865" y="1780412"/>
                </a:cubicBezTo>
                <a:cubicBezTo>
                  <a:pt x="762509" y="1779255"/>
                  <a:pt x="768583" y="1786197"/>
                  <a:pt x="770954" y="1780412"/>
                </a:cubicBezTo>
                <a:cubicBezTo>
                  <a:pt x="773326" y="1774628"/>
                  <a:pt x="785242" y="1777405"/>
                  <a:pt x="788308" y="1767455"/>
                </a:cubicBezTo>
                <a:cubicBezTo>
                  <a:pt x="772922" y="1748714"/>
                  <a:pt x="756493" y="1727890"/>
                  <a:pt x="756957" y="1719792"/>
                </a:cubicBezTo>
                <a:cubicBezTo>
                  <a:pt x="757766" y="1706082"/>
                  <a:pt x="763435" y="1697174"/>
                  <a:pt x="746486" y="1682656"/>
                </a:cubicBezTo>
                <a:cubicBezTo>
                  <a:pt x="729538" y="1668137"/>
                  <a:pt x="748048" y="1658477"/>
                  <a:pt x="760195" y="1643090"/>
                </a:cubicBezTo>
                <a:cubicBezTo>
                  <a:pt x="771070" y="1629381"/>
                  <a:pt x="794035" y="1623365"/>
                  <a:pt x="808669" y="1613589"/>
                </a:cubicBezTo>
                <a:cubicBezTo>
                  <a:pt x="805835" y="1611600"/>
                  <a:pt x="802885" y="1609859"/>
                  <a:pt x="799761" y="1608384"/>
                </a:cubicBezTo>
                <a:cubicBezTo>
                  <a:pt x="788829" y="1603525"/>
                  <a:pt x="785242" y="1598666"/>
                  <a:pt x="793977" y="1596236"/>
                </a:cubicBezTo>
                <a:cubicBezTo>
                  <a:pt x="802712" y="1593807"/>
                  <a:pt x="798836" y="1588948"/>
                  <a:pt x="790333" y="1579288"/>
                </a:cubicBezTo>
                <a:cubicBezTo>
                  <a:pt x="781829" y="1569628"/>
                  <a:pt x="778243" y="1559910"/>
                  <a:pt x="773384" y="1559910"/>
                </a:cubicBezTo>
                <a:cubicBezTo>
                  <a:pt x="766906" y="1559170"/>
                  <a:pt x="760369" y="1559580"/>
                  <a:pt x="754006" y="1561125"/>
                </a:cubicBezTo>
                <a:cubicBezTo>
                  <a:pt x="746776" y="1563554"/>
                  <a:pt x="748222" y="1555051"/>
                  <a:pt x="749148" y="1546606"/>
                </a:cubicBezTo>
                <a:cubicBezTo>
                  <a:pt x="750073" y="1538160"/>
                  <a:pt x="735843" y="1539317"/>
                  <a:pt x="733413" y="1535673"/>
                </a:cubicBezTo>
                <a:cubicBezTo>
                  <a:pt x="730984" y="1532029"/>
                  <a:pt x="737058" y="1519940"/>
                  <a:pt x="739198" y="1518725"/>
                </a:cubicBezTo>
                <a:cubicBezTo>
                  <a:pt x="741338" y="1517510"/>
                  <a:pt x="748858" y="1513866"/>
                  <a:pt x="748858" y="1510222"/>
                </a:cubicBezTo>
                <a:cubicBezTo>
                  <a:pt x="748858" y="1506578"/>
                  <a:pt x="735554" y="1505363"/>
                  <a:pt x="740413" y="1496917"/>
                </a:cubicBezTo>
                <a:cubicBezTo>
                  <a:pt x="745272" y="1488472"/>
                  <a:pt x="754932" y="1488414"/>
                  <a:pt x="754932" y="1479969"/>
                </a:cubicBezTo>
                <a:cubicBezTo>
                  <a:pt x="754932" y="1471524"/>
                  <a:pt x="762221" y="1464178"/>
                  <a:pt x="770666" y="1470193"/>
                </a:cubicBezTo>
                <a:cubicBezTo>
                  <a:pt x="779111" y="1476209"/>
                  <a:pt x="782813" y="1492059"/>
                  <a:pt x="792473" y="1488414"/>
                </a:cubicBezTo>
                <a:cubicBezTo>
                  <a:pt x="802133" y="1484770"/>
                  <a:pt x="796117" y="1476325"/>
                  <a:pt x="794902" y="1471466"/>
                </a:cubicBezTo>
                <a:cubicBezTo>
                  <a:pt x="793687" y="1466607"/>
                  <a:pt x="791258" y="1459377"/>
                  <a:pt x="802190" y="1456947"/>
                </a:cubicBezTo>
                <a:cubicBezTo>
                  <a:pt x="813123" y="1454518"/>
                  <a:pt x="808264" y="1443585"/>
                  <a:pt x="816709" y="1443585"/>
                </a:cubicBezTo>
                <a:cubicBezTo>
                  <a:pt x="825155" y="1443585"/>
                  <a:pt x="840947" y="1432653"/>
                  <a:pt x="845632" y="1430281"/>
                </a:cubicBezTo>
                <a:cubicBezTo>
                  <a:pt x="850317" y="1427909"/>
                  <a:pt x="861365" y="1421778"/>
                  <a:pt x="866224" y="1424207"/>
                </a:cubicBezTo>
                <a:cubicBezTo>
                  <a:pt x="871083" y="1426637"/>
                  <a:pt x="877157" y="1432653"/>
                  <a:pt x="880743" y="1424207"/>
                </a:cubicBezTo>
                <a:cubicBezTo>
                  <a:pt x="884330" y="1415762"/>
                  <a:pt x="898907" y="1419348"/>
                  <a:pt x="900121" y="1424207"/>
                </a:cubicBezTo>
                <a:cubicBezTo>
                  <a:pt x="901336" y="1429066"/>
                  <a:pt x="924358" y="1429066"/>
                  <a:pt x="931646" y="1433925"/>
                </a:cubicBezTo>
                <a:cubicBezTo>
                  <a:pt x="938934" y="1438784"/>
                  <a:pt x="954784" y="1448386"/>
                  <a:pt x="954784" y="1453245"/>
                </a:cubicBezTo>
                <a:cubicBezTo>
                  <a:pt x="954784" y="1458104"/>
                  <a:pt x="962072" y="1465392"/>
                  <a:pt x="962072" y="1456947"/>
                </a:cubicBezTo>
                <a:cubicBezTo>
                  <a:pt x="962072" y="1448502"/>
                  <a:pt x="967857" y="1450873"/>
                  <a:pt x="977806" y="1456947"/>
                </a:cubicBezTo>
                <a:cubicBezTo>
                  <a:pt x="987755" y="1463021"/>
                  <a:pt x="1000943" y="1460534"/>
                  <a:pt x="1003257" y="1454460"/>
                </a:cubicBezTo>
                <a:cubicBezTo>
                  <a:pt x="1005571" y="1448386"/>
                  <a:pt x="1023850" y="1441156"/>
                  <a:pt x="1029865" y="1446015"/>
                </a:cubicBezTo>
                <a:cubicBezTo>
                  <a:pt x="1035881" y="1450873"/>
                  <a:pt x="1038427" y="1454460"/>
                  <a:pt x="1045658" y="1447229"/>
                </a:cubicBezTo>
                <a:cubicBezTo>
                  <a:pt x="1052888" y="1439999"/>
                  <a:pt x="1069894" y="1441156"/>
                  <a:pt x="1072266" y="1448386"/>
                </a:cubicBezTo>
                <a:cubicBezTo>
                  <a:pt x="1074637" y="1455617"/>
                  <a:pt x="1083198" y="1456947"/>
                  <a:pt x="1090487" y="1456947"/>
                </a:cubicBezTo>
                <a:cubicBezTo>
                  <a:pt x="1097775" y="1456947"/>
                  <a:pt x="1098990" y="1467822"/>
                  <a:pt x="1103791" y="1465392"/>
                </a:cubicBezTo>
                <a:cubicBezTo>
                  <a:pt x="1108592" y="1462963"/>
                  <a:pt x="1107435" y="1450873"/>
                  <a:pt x="1113509" y="1452088"/>
                </a:cubicBezTo>
                <a:cubicBezTo>
                  <a:pt x="1119582" y="1453303"/>
                  <a:pt x="1124441" y="1460534"/>
                  <a:pt x="1134101" y="1460534"/>
                </a:cubicBezTo>
                <a:cubicBezTo>
                  <a:pt x="1143761" y="1460534"/>
                  <a:pt x="1151050" y="1458104"/>
                  <a:pt x="1151050" y="1450873"/>
                </a:cubicBezTo>
                <a:cubicBezTo>
                  <a:pt x="1151050" y="1443643"/>
                  <a:pt x="1149834" y="1431496"/>
                  <a:pt x="1143819" y="1431496"/>
                </a:cubicBezTo>
                <a:cubicBezTo>
                  <a:pt x="1137803" y="1431496"/>
                  <a:pt x="1131672" y="1425711"/>
                  <a:pt x="1124441" y="1425711"/>
                </a:cubicBezTo>
                <a:cubicBezTo>
                  <a:pt x="1117211" y="1425711"/>
                  <a:pt x="1109865" y="1413622"/>
                  <a:pt x="1117153" y="1411134"/>
                </a:cubicBezTo>
                <a:cubicBezTo>
                  <a:pt x="1124441" y="1408647"/>
                  <a:pt x="1136531" y="1402689"/>
                  <a:pt x="1134101" y="1396615"/>
                </a:cubicBezTo>
                <a:cubicBezTo>
                  <a:pt x="1131672" y="1390542"/>
                  <a:pt x="1129242" y="1378452"/>
                  <a:pt x="1138960" y="1377238"/>
                </a:cubicBezTo>
                <a:cubicBezTo>
                  <a:pt x="1148678" y="1376023"/>
                  <a:pt x="1169213" y="1376023"/>
                  <a:pt x="1167883" y="1372437"/>
                </a:cubicBezTo>
                <a:cubicBezTo>
                  <a:pt x="1166552" y="1368850"/>
                  <a:pt x="1147290" y="1366305"/>
                  <a:pt x="1143703" y="1360289"/>
                </a:cubicBezTo>
                <a:cubicBezTo>
                  <a:pt x="1140117" y="1354273"/>
                  <a:pt x="1138845" y="1339697"/>
                  <a:pt x="1142431" y="1337152"/>
                </a:cubicBezTo>
                <a:cubicBezTo>
                  <a:pt x="1146017" y="1334606"/>
                  <a:pt x="1158222" y="1338309"/>
                  <a:pt x="1165569" y="1335937"/>
                </a:cubicBezTo>
                <a:cubicBezTo>
                  <a:pt x="1172915" y="1333565"/>
                  <a:pt x="1188706" y="1339581"/>
                  <a:pt x="1198251" y="1332293"/>
                </a:cubicBezTo>
                <a:cubicBezTo>
                  <a:pt x="1207795" y="1325004"/>
                  <a:pt x="1228561" y="1323790"/>
                  <a:pt x="1239436" y="1323790"/>
                </a:cubicBezTo>
                <a:cubicBezTo>
                  <a:pt x="1250311" y="1323790"/>
                  <a:pt x="1258814" y="1316501"/>
                  <a:pt x="1267317" y="1315344"/>
                </a:cubicBezTo>
                <a:cubicBezTo>
                  <a:pt x="1280389" y="1313725"/>
                  <a:pt x="1293346" y="1311289"/>
                  <a:pt x="1306072" y="1308056"/>
                </a:cubicBezTo>
                <a:cubicBezTo>
                  <a:pt x="1311856" y="1305627"/>
                  <a:pt x="1344828" y="1300767"/>
                  <a:pt x="1346043" y="1294752"/>
                </a:cubicBezTo>
                <a:cubicBezTo>
                  <a:pt x="1347257" y="1288736"/>
                  <a:pt x="1373287" y="1283819"/>
                  <a:pt x="1379997" y="1286885"/>
                </a:cubicBezTo>
                <a:cubicBezTo>
                  <a:pt x="1386418" y="1290477"/>
                  <a:pt x="1393996" y="1291553"/>
                  <a:pt x="1401168" y="1289893"/>
                </a:cubicBezTo>
                <a:cubicBezTo>
                  <a:pt x="1406953" y="1287463"/>
                  <a:pt x="1419968" y="1294115"/>
                  <a:pt x="1418522" y="1300767"/>
                </a:cubicBezTo>
                <a:cubicBezTo>
                  <a:pt x="1417075" y="1307420"/>
                  <a:pt x="1423959" y="1314708"/>
                  <a:pt x="1423380" y="1320145"/>
                </a:cubicBezTo>
                <a:cubicBezTo>
                  <a:pt x="1422802" y="1325583"/>
                  <a:pt x="1416670" y="1327492"/>
                  <a:pt x="1420314" y="1331714"/>
                </a:cubicBezTo>
                <a:cubicBezTo>
                  <a:pt x="1423959" y="1335937"/>
                  <a:pt x="1440329" y="1332929"/>
                  <a:pt x="1445188" y="1327492"/>
                </a:cubicBezTo>
                <a:cubicBezTo>
                  <a:pt x="1450046" y="1322054"/>
                  <a:pt x="1455426" y="1329863"/>
                  <a:pt x="1455426" y="1334086"/>
                </a:cubicBezTo>
                <a:cubicBezTo>
                  <a:pt x="1455426" y="1338309"/>
                  <a:pt x="1463351" y="1341374"/>
                  <a:pt x="1463351" y="1335937"/>
                </a:cubicBezTo>
                <a:cubicBezTo>
                  <a:pt x="1463351" y="1330499"/>
                  <a:pt x="1473011" y="1334086"/>
                  <a:pt x="1476076" y="1337730"/>
                </a:cubicBezTo>
                <a:cubicBezTo>
                  <a:pt x="1479142" y="1341374"/>
                  <a:pt x="1490595" y="1333507"/>
                  <a:pt x="1490595" y="1339581"/>
                </a:cubicBezTo>
                <a:cubicBezTo>
                  <a:pt x="1490595" y="1345655"/>
                  <a:pt x="1473647" y="1350456"/>
                  <a:pt x="1480878" y="1356934"/>
                </a:cubicBezTo>
                <a:cubicBezTo>
                  <a:pt x="1488108" y="1363413"/>
                  <a:pt x="1492447" y="1349067"/>
                  <a:pt x="1501528" y="1352075"/>
                </a:cubicBezTo>
                <a:cubicBezTo>
                  <a:pt x="1510610" y="1355083"/>
                  <a:pt x="1522699" y="1341779"/>
                  <a:pt x="1531202" y="1339986"/>
                </a:cubicBezTo>
                <a:cubicBezTo>
                  <a:pt x="1539705" y="1338193"/>
                  <a:pt x="1548555" y="1330268"/>
                  <a:pt x="1556018" y="1326046"/>
                </a:cubicBezTo>
                <a:cubicBezTo>
                  <a:pt x="1563479" y="1321823"/>
                  <a:pt x="1579155" y="1323038"/>
                  <a:pt x="1574181" y="1327896"/>
                </a:cubicBezTo>
                <a:cubicBezTo>
                  <a:pt x="1569206" y="1332755"/>
                  <a:pt x="1563884" y="1341779"/>
                  <a:pt x="1582105" y="1348489"/>
                </a:cubicBezTo>
                <a:cubicBezTo>
                  <a:pt x="1600326" y="1355199"/>
                  <a:pt x="1620861" y="1390253"/>
                  <a:pt x="1632372" y="1407837"/>
                </a:cubicBezTo>
                <a:cubicBezTo>
                  <a:pt x="1643883" y="1425422"/>
                  <a:pt x="1654757" y="1456947"/>
                  <a:pt x="1660773" y="1456947"/>
                </a:cubicBezTo>
                <a:cubicBezTo>
                  <a:pt x="1666789" y="1456947"/>
                  <a:pt x="1668698" y="1441156"/>
                  <a:pt x="1676565" y="1439594"/>
                </a:cubicBezTo>
                <a:cubicBezTo>
                  <a:pt x="1684432" y="1438032"/>
                  <a:pt x="1689290" y="1452898"/>
                  <a:pt x="1697794" y="1454691"/>
                </a:cubicBezTo>
                <a:cubicBezTo>
                  <a:pt x="1706297" y="1456484"/>
                  <a:pt x="1717750" y="1461401"/>
                  <a:pt x="1724460" y="1458914"/>
                </a:cubicBezTo>
                <a:cubicBezTo>
                  <a:pt x="1731170" y="1456426"/>
                  <a:pt x="1746210" y="1448039"/>
                  <a:pt x="1751705" y="1451105"/>
                </a:cubicBezTo>
                <a:cubicBezTo>
                  <a:pt x="1757199" y="1454171"/>
                  <a:pt x="1764430" y="1454113"/>
                  <a:pt x="1769058" y="1465624"/>
                </a:cubicBezTo>
                <a:cubicBezTo>
                  <a:pt x="1773686" y="1477135"/>
                  <a:pt x="1781147" y="1479564"/>
                  <a:pt x="1786006" y="1479564"/>
                </a:cubicBezTo>
                <a:cubicBezTo>
                  <a:pt x="1790865" y="1479564"/>
                  <a:pt x="1791791" y="1485002"/>
                  <a:pt x="1791791" y="1489860"/>
                </a:cubicBezTo>
                <a:cubicBezTo>
                  <a:pt x="1791791" y="1494719"/>
                  <a:pt x="1800698" y="1501429"/>
                  <a:pt x="1805500" y="1501429"/>
                </a:cubicBezTo>
                <a:cubicBezTo>
                  <a:pt x="1812961" y="1501314"/>
                  <a:pt x="1820308" y="1499943"/>
                  <a:pt x="1827307" y="1497380"/>
                </a:cubicBezTo>
                <a:cubicBezTo>
                  <a:pt x="1831356" y="1494951"/>
                  <a:pt x="1836215" y="1492521"/>
                  <a:pt x="1837025" y="1498190"/>
                </a:cubicBezTo>
                <a:cubicBezTo>
                  <a:pt x="1837835" y="1503859"/>
                  <a:pt x="1845123" y="1512709"/>
                  <a:pt x="1849924" y="1512709"/>
                </a:cubicBezTo>
                <a:cubicBezTo>
                  <a:pt x="1854726" y="1512709"/>
                  <a:pt x="1864501" y="1516758"/>
                  <a:pt x="1865311" y="1512709"/>
                </a:cubicBezTo>
                <a:cubicBezTo>
                  <a:pt x="1866121" y="1508660"/>
                  <a:pt x="1879020" y="1506230"/>
                  <a:pt x="1883879" y="1505421"/>
                </a:cubicBezTo>
                <a:cubicBezTo>
                  <a:pt x="1888738" y="1504611"/>
                  <a:pt x="1905686" y="1501429"/>
                  <a:pt x="1908926" y="1493852"/>
                </a:cubicBezTo>
                <a:cubicBezTo>
                  <a:pt x="1912164" y="1486274"/>
                  <a:pt x="1925874" y="1486563"/>
                  <a:pt x="1929923" y="1481762"/>
                </a:cubicBezTo>
                <a:cubicBezTo>
                  <a:pt x="1933972" y="1476961"/>
                  <a:pt x="1945251" y="1474474"/>
                  <a:pt x="1947681" y="1469615"/>
                </a:cubicBezTo>
                <a:cubicBezTo>
                  <a:pt x="1950111" y="1464756"/>
                  <a:pt x="1964630" y="1465566"/>
                  <a:pt x="1966249" y="1461517"/>
                </a:cubicBezTo>
                <a:cubicBezTo>
                  <a:pt x="1967869" y="1457468"/>
                  <a:pt x="1979958" y="1456716"/>
                  <a:pt x="1985627" y="1458278"/>
                </a:cubicBezTo>
                <a:cubicBezTo>
                  <a:pt x="1998063" y="1461505"/>
                  <a:pt x="2010789" y="1463669"/>
                  <a:pt x="2023573" y="1464756"/>
                </a:cubicBezTo>
                <a:cubicBezTo>
                  <a:pt x="2027621" y="1463946"/>
                  <a:pt x="2028431" y="1479333"/>
                  <a:pt x="2032481" y="1480143"/>
                </a:cubicBezTo>
                <a:cubicBezTo>
                  <a:pt x="2036530" y="1480953"/>
                  <a:pt x="2051107" y="1492232"/>
                  <a:pt x="2055097" y="1488993"/>
                </a:cubicBezTo>
                <a:cubicBezTo>
                  <a:pt x="2061461" y="1484267"/>
                  <a:pt x="2069964" y="1483631"/>
                  <a:pt x="2076905" y="1487373"/>
                </a:cubicBezTo>
                <a:cubicBezTo>
                  <a:pt x="2085003" y="1492232"/>
                  <a:pt x="2093102" y="1498942"/>
                  <a:pt x="2096283" y="1493158"/>
                </a:cubicBezTo>
                <a:cubicBezTo>
                  <a:pt x="2099464" y="1487373"/>
                  <a:pt x="2116471" y="1485059"/>
                  <a:pt x="2118900" y="1481878"/>
                </a:cubicBezTo>
                <a:cubicBezTo>
                  <a:pt x="2121330" y="1478697"/>
                  <a:pt x="2123759" y="1468921"/>
                  <a:pt x="2119710" y="1465682"/>
                </a:cubicBezTo>
                <a:cubicBezTo>
                  <a:pt x="2115661" y="1462442"/>
                  <a:pt x="2111612" y="1449543"/>
                  <a:pt x="2109992" y="1443064"/>
                </a:cubicBezTo>
                <a:cubicBezTo>
                  <a:pt x="2108373" y="1436586"/>
                  <a:pt x="2119710" y="1435024"/>
                  <a:pt x="2121561" y="1429355"/>
                </a:cubicBezTo>
                <a:cubicBezTo>
                  <a:pt x="2123412" y="1423687"/>
                  <a:pt x="2133130" y="1422877"/>
                  <a:pt x="2136137" y="1419638"/>
                </a:cubicBezTo>
                <a:cubicBezTo>
                  <a:pt x="2139145" y="1416398"/>
                  <a:pt x="2140129" y="1409168"/>
                  <a:pt x="2145798" y="1410729"/>
                </a:cubicBezTo>
                <a:cubicBezTo>
                  <a:pt x="2152855" y="1412517"/>
                  <a:pt x="2159680" y="1415259"/>
                  <a:pt x="2165985" y="1418886"/>
                </a:cubicBezTo>
                <a:cubicBezTo>
                  <a:pt x="2171191" y="1421697"/>
                  <a:pt x="2177034" y="1423073"/>
                  <a:pt x="2182934" y="1422877"/>
                </a:cubicBezTo>
                <a:cubicBezTo>
                  <a:pt x="2190165" y="1424149"/>
                  <a:pt x="2197048" y="1426909"/>
                  <a:pt x="2203122" y="1430975"/>
                </a:cubicBezTo>
                <a:cubicBezTo>
                  <a:pt x="2208906" y="1434214"/>
                  <a:pt x="2226606" y="1434214"/>
                  <a:pt x="2229788" y="1439073"/>
                </a:cubicBezTo>
                <a:cubicBezTo>
                  <a:pt x="2232969" y="1443932"/>
                  <a:pt x="2228978" y="1457641"/>
                  <a:pt x="2233027" y="1462500"/>
                </a:cubicBezTo>
                <a:cubicBezTo>
                  <a:pt x="2237076" y="1467359"/>
                  <a:pt x="2246794" y="1477829"/>
                  <a:pt x="2249975" y="1475342"/>
                </a:cubicBezTo>
                <a:cubicBezTo>
                  <a:pt x="2253157" y="1472854"/>
                  <a:pt x="2268543" y="1483498"/>
                  <a:pt x="2274212" y="1482630"/>
                </a:cubicBezTo>
                <a:cubicBezTo>
                  <a:pt x="2279881" y="1481762"/>
                  <a:pt x="2288789" y="1472970"/>
                  <a:pt x="2293590" y="1472970"/>
                </a:cubicBezTo>
                <a:cubicBezTo>
                  <a:pt x="2298391" y="1472970"/>
                  <a:pt x="2313836" y="1468921"/>
                  <a:pt x="2318636" y="1469731"/>
                </a:cubicBezTo>
                <a:cubicBezTo>
                  <a:pt x="2323437" y="1470540"/>
                  <a:pt x="2341254" y="1477019"/>
                  <a:pt x="2343683" y="1475515"/>
                </a:cubicBezTo>
                <a:cubicBezTo>
                  <a:pt x="2346112" y="1474011"/>
                  <a:pt x="2362251" y="1476383"/>
                  <a:pt x="2364680" y="1481300"/>
                </a:cubicBezTo>
                <a:cubicBezTo>
                  <a:pt x="2367110" y="1486216"/>
                  <a:pt x="2387298" y="1486101"/>
                  <a:pt x="2387298" y="1491769"/>
                </a:cubicBezTo>
                <a:cubicBezTo>
                  <a:pt x="2387298" y="1497438"/>
                  <a:pt x="2398866" y="1500677"/>
                  <a:pt x="2401817" y="1507098"/>
                </a:cubicBezTo>
                <a:cubicBezTo>
                  <a:pt x="2404767" y="1513519"/>
                  <a:pt x="2431722" y="1509585"/>
                  <a:pt x="2436523" y="1513577"/>
                </a:cubicBezTo>
                <a:cubicBezTo>
                  <a:pt x="2441324" y="1517568"/>
                  <a:pt x="2472040" y="1516816"/>
                  <a:pt x="2472850" y="1513577"/>
                </a:cubicBezTo>
                <a:cubicBezTo>
                  <a:pt x="2473659" y="1510337"/>
                  <a:pt x="2502755" y="1508718"/>
                  <a:pt x="2508366" y="1504669"/>
                </a:cubicBezTo>
                <a:cubicBezTo>
                  <a:pt x="2513977" y="1500620"/>
                  <a:pt x="2529363" y="1502297"/>
                  <a:pt x="2530231" y="1496628"/>
                </a:cubicBezTo>
                <a:cubicBezTo>
                  <a:pt x="2531098" y="1490960"/>
                  <a:pt x="2545559" y="1486911"/>
                  <a:pt x="2551980" y="1482109"/>
                </a:cubicBezTo>
                <a:cubicBezTo>
                  <a:pt x="2558401" y="1477308"/>
                  <a:pt x="2584316" y="1478060"/>
                  <a:pt x="2585935" y="1483729"/>
                </a:cubicBezTo>
                <a:cubicBezTo>
                  <a:pt x="2587554" y="1489398"/>
                  <a:pt x="2602883" y="1490902"/>
                  <a:pt x="2609072" y="1488530"/>
                </a:cubicBezTo>
                <a:cubicBezTo>
                  <a:pt x="2615262" y="1486159"/>
                  <a:pt x="2632210" y="1489340"/>
                  <a:pt x="2634929" y="1495009"/>
                </a:cubicBezTo>
                <a:cubicBezTo>
                  <a:pt x="2637648" y="1500677"/>
                  <a:pt x="2656736" y="1503917"/>
                  <a:pt x="2661538" y="1502297"/>
                </a:cubicBezTo>
                <a:cubicBezTo>
                  <a:pt x="2666338" y="1500677"/>
                  <a:pt x="2681725" y="1489340"/>
                  <a:pt x="2687452" y="1488530"/>
                </a:cubicBezTo>
                <a:cubicBezTo>
                  <a:pt x="2693178" y="1487720"/>
                  <a:pt x="2701103" y="1482109"/>
                  <a:pt x="2699483" y="1476441"/>
                </a:cubicBezTo>
                <a:cubicBezTo>
                  <a:pt x="2697864" y="1470772"/>
                  <a:pt x="2711052" y="1454633"/>
                  <a:pt x="2712440" y="1448155"/>
                </a:cubicBezTo>
                <a:cubicBezTo>
                  <a:pt x="2713828" y="1441676"/>
                  <a:pt x="2725397" y="1423918"/>
                  <a:pt x="2729389" y="1422298"/>
                </a:cubicBezTo>
                <a:cubicBezTo>
                  <a:pt x="2733380" y="1420679"/>
                  <a:pt x="2742346" y="1413448"/>
                  <a:pt x="2741478" y="1408531"/>
                </a:cubicBezTo>
                <a:cubicBezTo>
                  <a:pt x="2740610" y="1403615"/>
                  <a:pt x="2738297" y="1389154"/>
                  <a:pt x="2733438" y="1389154"/>
                </a:cubicBezTo>
                <a:cubicBezTo>
                  <a:pt x="2728579" y="1389154"/>
                  <a:pt x="2719729" y="1390021"/>
                  <a:pt x="2731066" y="1374635"/>
                </a:cubicBezTo>
                <a:cubicBezTo>
                  <a:pt x="2742404" y="1359248"/>
                  <a:pt x="2762533" y="1363066"/>
                  <a:pt x="2765773" y="1363066"/>
                </a:cubicBezTo>
                <a:cubicBezTo>
                  <a:pt x="2769012" y="1363066"/>
                  <a:pt x="2794695" y="1356587"/>
                  <a:pt x="2806264" y="1359827"/>
                </a:cubicBezTo>
                <a:cubicBezTo>
                  <a:pt x="2817833" y="1363066"/>
                  <a:pt x="2824832" y="1358265"/>
                  <a:pt x="2836979" y="1364628"/>
                </a:cubicBezTo>
                <a:cubicBezTo>
                  <a:pt x="2849126" y="1370991"/>
                  <a:pt x="2865901" y="1368677"/>
                  <a:pt x="2870066" y="1374345"/>
                </a:cubicBezTo>
                <a:cubicBezTo>
                  <a:pt x="2874231" y="1380014"/>
                  <a:pt x="2890253" y="1384873"/>
                  <a:pt x="2887824" y="1394591"/>
                </a:cubicBezTo>
                <a:cubicBezTo>
                  <a:pt x="2885395" y="1404309"/>
                  <a:pt x="2896732" y="1398640"/>
                  <a:pt x="2900723" y="1419580"/>
                </a:cubicBezTo>
                <a:cubicBezTo>
                  <a:pt x="2904714" y="1440519"/>
                  <a:pt x="2914490" y="1442197"/>
                  <a:pt x="2916920" y="1451857"/>
                </a:cubicBezTo>
                <a:cubicBezTo>
                  <a:pt x="2919349" y="1461517"/>
                  <a:pt x="2932248" y="1479391"/>
                  <a:pt x="2930629" y="1485002"/>
                </a:cubicBezTo>
                <a:cubicBezTo>
                  <a:pt x="2929009" y="1490612"/>
                  <a:pt x="2927390" y="1499521"/>
                  <a:pt x="2941099" y="1500388"/>
                </a:cubicBezTo>
                <a:cubicBezTo>
                  <a:pt x="2954808" y="1501256"/>
                  <a:pt x="2964584" y="1511668"/>
                  <a:pt x="2967823" y="1510048"/>
                </a:cubicBezTo>
                <a:cubicBezTo>
                  <a:pt x="2971062" y="1508429"/>
                  <a:pt x="2987143" y="1514097"/>
                  <a:pt x="2995241" y="1522195"/>
                </a:cubicBezTo>
                <a:cubicBezTo>
                  <a:pt x="3003339" y="1530294"/>
                  <a:pt x="3015428" y="1526245"/>
                  <a:pt x="3014619" y="1535095"/>
                </a:cubicBezTo>
                <a:cubicBezTo>
                  <a:pt x="3013809" y="1543945"/>
                  <a:pt x="3021097" y="1551233"/>
                  <a:pt x="3020403" y="1558522"/>
                </a:cubicBezTo>
                <a:cubicBezTo>
                  <a:pt x="3019709" y="1565810"/>
                  <a:pt x="3035790" y="1570669"/>
                  <a:pt x="3047070" y="1569049"/>
                </a:cubicBezTo>
                <a:cubicBezTo>
                  <a:pt x="3058349" y="1567430"/>
                  <a:pt x="3066448" y="1573041"/>
                  <a:pt x="3071306" y="1563265"/>
                </a:cubicBezTo>
                <a:cubicBezTo>
                  <a:pt x="3076165" y="1553489"/>
                  <a:pt x="3092304" y="1557480"/>
                  <a:pt x="3097914" y="1553547"/>
                </a:cubicBezTo>
                <a:cubicBezTo>
                  <a:pt x="3103525" y="1549614"/>
                  <a:pt x="3120590" y="1544639"/>
                  <a:pt x="3119780" y="1559331"/>
                </a:cubicBezTo>
                <a:cubicBezTo>
                  <a:pt x="3118970" y="1574024"/>
                  <a:pt x="3128630" y="1577090"/>
                  <a:pt x="3120590" y="1581949"/>
                </a:cubicBezTo>
                <a:cubicBezTo>
                  <a:pt x="3112549" y="1586808"/>
                  <a:pt x="3108443" y="1607805"/>
                  <a:pt x="3106013" y="1616655"/>
                </a:cubicBezTo>
                <a:cubicBezTo>
                  <a:pt x="3103583" y="1625505"/>
                  <a:pt x="3091494" y="1628224"/>
                  <a:pt x="3089874" y="1637653"/>
                </a:cubicBezTo>
                <a:cubicBezTo>
                  <a:pt x="3088255" y="1647081"/>
                  <a:pt x="3076917" y="1648180"/>
                  <a:pt x="3076917" y="1655411"/>
                </a:cubicBezTo>
                <a:cubicBezTo>
                  <a:pt x="3076917" y="1662641"/>
                  <a:pt x="3060779" y="1661195"/>
                  <a:pt x="3052681" y="1655411"/>
                </a:cubicBezTo>
                <a:cubicBezTo>
                  <a:pt x="3044582" y="1649627"/>
                  <a:pt x="3036542" y="1665938"/>
                  <a:pt x="3030121" y="1665938"/>
                </a:cubicBezTo>
                <a:cubicBezTo>
                  <a:pt x="3023700" y="1665938"/>
                  <a:pt x="3024337" y="1679648"/>
                  <a:pt x="3026072" y="1685316"/>
                </a:cubicBezTo>
                <a:cubicBezTo>
                  <a:pt x="3027807" y="1690985"/>
                  <a:pt x="3023643" y="1698216"/>
                  <a:pt x="3027691" y="1707933"/>
                </a:cubicBezTo>
                <a:cubicBezTo>
                  <a:pt x="3029832" y="1713139"/>
                  <a:pt x="3028501" y="1723031"/>
                  <a:pt x="3029601" y="1734021"/>
                </a:cubicBezTo>
                <a:cubicBezTo>
                  <a:pt x="3039434" y="1726906"/>
                  <a:pt x="3048342" y="1721643"/>
                  <a:pt x="3052333" y="1721643"/>
                </a:cubicBezTo>
                <a:cubicBezTo>
                  <a:pt x="3062398" y="1721643"/>
                  <a:pt x="3072521" y="1738996"/>
                  <a:pt x="3083801" y="1739401"/>
                </a:cubicBezTo>
                <a:cubicBezTo>
                  <a:pt x="3095080" y="1739806"/>
                  <a:pt x="3146388" y="1705504"/>
                  <a:pt x="3146793" y="1699893"/>
                </a:cubicBezTo>
                <a:cubicBezTo>
                  <a:pt x="3147198" y="1694282"/>
                  <a:pt x="3177104" y="1665534"/>
                  <a:pt x="3191217" y="1650610"/>
                </a:cubicBezTo>
                <a:cubicBezTo>
                  <a:pt x="3205332" y="1635686"/>
                  <a:pt x="3223957" y="1613821"/>
                  <a:pt x="3231246" y="1596872"/>
                </a:cubicBezTo>
                <a:cubicBezTo>
                  <a:pt x="3235700" y="1586403"/>
                  <a:pt x="3255424" y="1566157"/>
                  <a:pt x="3260168" y="1558117"/>
                </a:cubicBezTo>
                <a:cubicBezTo>
                  <a:pt x="3266820" y="1549463"/>
                  <a:pt x="3272489" y="1540110"/>
                  <a:pt x="3277116" y="1530236"/>
                </a:cubicBezTo>
                <a:cubicBezTo>
                  <a:pt x="3285966" y="1511263"/>
                  <a:pt x="3285966" y="1461575"/>
                  <a:pt x="3288685" y="1458335"/>
                </a:cubicBezTo>
                <a:cubicBezTo>
                  <a:pt x="3291404" y="1455096"/>
                  <a:pt x="3289900" y="1446767"/>
                  <a:pt x="3293891" y="1441387"/>
                </a:cubicBezTo>
                <a:cubicBezTo>
                  <a:pt x="3297883" y="1436007"/>
                  <a:pt x="3295915" y="1428893"/>
                  <a:pt x="3304014" y="1422009"/>
                </a:cubicBezTo>
                <a:cubicBezTo>
                  <a:pt x="3309972" y="1418012"/>
                  <a:pt x="3311880" y="1410140"/>
                  <a:pt x="3308468" y="1403846"/>
                </a:cubicBezTo>
                <a:cubicBezTo>
                  <a:pt x="3306443" y="1398640"/>
                  <a:pt x="3308872" y="1386898"/>
                  <a:pt x="3306848" y="1383253"/>
                </a:cubicBezTo>
                <a:cubicBezTo>
                  <a:pt x="3304824" y="1379609"/>
                  <a:pt x="3305229" y="1377990"/>
                  <a:pt x="3310030" y="1375155"/>
                </a:cubicBezTo>
                <a:cubicBezTo>
                  <a:pt x="3314831" y="1372321"/>
                  <a:pt x="3306848" y="1365090"/>
                  <a:pt x="3300023" y="1361851"/>
                </a:cubicBezTo>
                <a:cubicBezTo>
                  <a:pt x="3293197" y="1358612"/>
                  <a:pt x="3284289" y="1356067"/>
                  <a:pt x="3283421" y="1348084"/>
                </a:cubicBezTo>
                <a:cubicBezTo>
                  <a:pt x="3282554" y="1340102"/>
                  <a:pt x="3270927" y="1331136"/>
                  <a:pt x="3262019" y="1331946"/>
                </a:cubicBezTo>
                <a:cubicBezTo>
                  <a:pt x="3253111" y="1332755"/>
                  <a:pt x="3236567" y="1327087"/>
                  <a:pt x="3238881" y="1332755"/>
                </a:cubicBezTo>
                <a:cubicBezTo>
                  <a:pt x="3241195" y="1338424"/>
                  <a:pt x="3238071" y="1343225"/>
                  <a:pt x="3233675" y="1342010"/>
                </a:cubicBezTo>
                <a:cubicBezTo>
                  <a:pt x="3229279" y="1340796"/>
                  <a:pt x="3227139" y="1344440"/>
                  <a:pt x="3222106" y="1352538"/>
                </a:cubicBezTo>
                <a:cubicBezTo>
                  <a:pt x="3217074" y="1360636"/>
                  <a:pt x="3198274" y="1361446"/>
                  <a:pt x="3206720" y="1353753"/>
                </a:cubicBezTo>
                <a:cubicBezTo>
                  <a:pt x="3215165" y="1346060"/>
                  <a:pt x="3203943" y="1345655"/>
                  <a:pt x="3205505" y="1337614"/>
                </a:cubicBezTo>
                <a:cubicBezTo>
                  <a:pt x="3207067" y="1329574"/>
                  <a:pt x="3214008" y="1321418"/>
                  <a:pt x="3204753" y="1326682"/>
                </a:cubicBezTo>
                <a:cubicBezTo>
                  <a:pt x="3195498" y="1331946"/>
                  <a:pt x="3195498" y="1344440"/>
                  <a:pt x="3187747" y="1346118"/>
                </a:cubicBezTo>
                <a:cubicBezTo>
                  <a:pt x="3179996" y="1347795"/>
                  <a:pt x="3182483" y="1324310"/>
                  <a:pt x="3184507" y="1318237"/>
                </a:cubicBezTo>
                <a:cubicBezTo>
                  <a:pt x="3186532" y="1312163"/>
                  <a:pt x="3170394" y="1318641"/>
                  <a:pt x="3153445" y="1317427"/>
                </a:cubicBezTo>
                <a:cubicBezTo>
                  <a:pt x="3136497" y="1316212"/>
                  <a:pt x="3140893" y="1304470"/>
                  <a:pt x="3154660" y="1297181"/>
                </a:cubicBezTo>
                <a:cubicBezTo>
                  <a:pt x="3168427" y="1289893"/>
                  <a:pt x="3166229" y="1283067"/>
                  <a:pt x="3172823" y="1280233"/>
                </a:cubicBezTo>
                <a:cubicBezTo>
                  <a:pt x="3179418" y="1277398"/>
                  <a:pt x="3197465" y="1265714"/>
                  <a:pt x="3207934" y="1259640"/>
                </a:cubicBezTo>
                <a:cubicBezTo>
                  <a:pt x="3215512" y="1255475"/>
                  <a:pt x="3220949" y="1248280"/>
                  <a:pt x="3222916" y="1239857"/>
                </a:cubicBezTo>
                <a:cubicBezTo>
                  <a:pt x="3225346" y="1233032"/>
                  <a:pt x="3244723" y="1224529"/>
                  <a:pt x="3262134" y="1210415"/>
                </a:cubicBezTo>
                <a:cubicBezTo>
                  <a:pt x="3279546" y="1196301"/>
                  <a:pt x="3287933" y="1188203"/>
                  <a:pt x="3291982" y="1179699"/>
                </a:cubicBezTo>
                <a:cubicBezTo>
                  <a:pt x="3296031" y="1171196"/>
                  <a:pt x="3321887" y="1160726"/>
                  <a:pt x="3322293" y="1154248"/>
                </a:cubicBezTo>
                <a:cubicBezTo>
                  <a:pt x="3322697" y="1147769"/>
                  <a:pt x="3352950" y="1131631"/>
                  <a:pt x="3373543" y="1127582"/>
                </a:cubicBezTo>
                <a:cubicBezTo>
                  <a:pt x="3394136" y="1123533"/>
                  <a:pt x="3426875" y="1128796"/>
                  <a:pt x="3432891" y="1134870"/>
                </a:cubicBezTo>
                <a:cubicBezTo>
                  <a:pt x="3435552" y="1138711"/>
                  <a:pt x="3440816" y="1139683"/>
                  <a:pt x="3444633" y="1137033"/>
                </a:cubicBezTo>
                <a:cubicBezTo>
                  <a:pt x="3445616" y="1136357"/>
                  <a:pt x="3446426" y="1135483"/>
                  <a:pt x="3447062" y="1134465"/>
                </a:cubicBezTo>
                <a:cubicBezTo>
                  <a:pt x="3450707" y="1130416"/>
                  <a:pt x="3458631" y="1132441"/>
                  <a:pt x="3472514" y="1134060"/>
                </a:cubicBezTo>
                <a:cubicBezTo>
                  <a:pt x="3486397" y="1135680"/>
                  <a:pt x="3489463" y="1127582"/>
                  <a:pt x="3498718" y="1130416"/>
                </a:cubicBezTo>
                <a:cubicBezTo>
                  <a:pt x="3507973" y="1133250"/>
                  <a:pt x="3515666" y="1134870"/>
                  <a:pt x="3521335" y="1123995"/>
                </a:cubicBezTo>
                <a:cubicBezTo>
                  <a:pt x="3527004" y="1113121"/>
                  <a:pt x="3553670" y="1115087"/>
                  <a:pt x="3559744" y="1119541"/>
                </a:cubicBezTo>
                <a:cubicBezTo>
                  <a:pt x="3565817" y="1123995"/>
                  <a:pt x="3570618" y="1130011"/>
                  <a:pt x="3580336" y="1123591"/>
                </a:cubicBezTo>
                <a:cubicBezTo>
                  <a:pt x="3590054" y="1117170"/>
                  <a:pt x="3589996" y="1132036"/>
                  <a:pt x="3599251" y="1133250"/>
                </a:cubicBezTo>
                <a:cubicBezTo>
                  <a:pt x="3608506" y="1134465"/>
                  <a:pt x="3602490" y="1142563"/>
                  <a:pt x="3594450" y="1141754"/>
                </a:cubicBezTo>
                <a:cubicBezTo>
                  <a:pt x="3586410" y="1140944"/>
                  <a:pt x="3576287" y="1145745"/>
                  <a:pt x="3585542" y="1151067"/>
                </a:cubicBezTo>
                <a:cubicBezTo>
                  <a:pt x="3594797" y="1156388"/>
                  <a:pt x="3605788" y="1146207"/>
                  <a:pt x="3613018" y="1147017"/>
                </a:cubicBezTo>
                <a:cubicBezTo>
                  <a:pt x="3622909" y="1148851"/>
                  <a:pt x="3633148" y="1147127"/>
                  <a:pt x="3641940" y="1142158"/>
                </a:cubicBezTo>
                <a:cubicBezTo>
                  <a:pt x="3652063" y="1135680"/>
                  <a:pt x="3654839" y="1147422"/>
                  <a:pt x="3661318" y="1141754"/>
                </a:cubicBezTo>
                <a:cubicBezTo>
                  <a:pt x="3667796" y="1136085"/>
                  <a:pt x="3682315" y="1134465"/>
                  <a:pt x="3689604" y="1134870"/>
                </a:cubicBezTo>
                <a:cubicBezTo>
                  <a:pt x="3696892" y="1135275"/>
                  <a:pt x="3690818" y="1126367"/>
                  <a:pt x="3678671" y="1126367"/>
                </a:cubicBezTo>
                <a:cubicBezTo>
                  <a:pt x="3666524" y="1126367"/>
                  <a:pt x="3667102" y="1119946"/>
                  <a:pt x="3676647" y="1103229"/>
                </a:cubicBezTo>
                <a:cubicBezTo>
                  <a:pt x="3686191" y="1086512"/>
                  <a:pt x="3704933" y="1077778"/>
                  <a:pt x="3716617" y="1067655"/>
                </a:cubicBezTo>
                <a:cubicBezTo>
                  <a:pt x="3728301" y="1057532"/>
                  <a:pt x="3736863" y="1062449"/>
                  <a:pt x="3736863" y="1056086"/>
                </a:cubicBezTo>
                <a:cubicBezTo>
                  <a:pt x="3736863" y="1049723"/>
                  <a:pt x="3742647" y="1031444"/>
                  <a:pt x="3751381" y="1031040"/>
                </a:cubicBezTo>
                <a:cubicBezTo>
                  <a:pt x="3760116" y="1030635"/>
                  <a:pt x="3782444" y="1034684"/>
                  <a:pt x="3796210" y="1026990"/>
                </a:cubicBezTo>
                <a:cubicBezTo>
                  <a:pt x="3809977" y="1019297"/>
                  <a:pt x="3808705" y="1032775"/>
                  <a:pt x="3814374" y="1034684"/>
                </a:cubicBezTo>
                <a:cubicBezTo>
                  <a:pt x="3820043" y="1036593"/>
                  <a:pt x="3827736" y="1023115"/>
                  <a:pt x="3834157" y="1026990"/>
                </a:cubicBezTo>
                <a:cubicBezTo>
                  <a:pt x="3840577" y="1030866"/>
                  <a:pt x="3824439" y="1040757"/>
                  <a:pt x="3820852" y="1052442"/>
                </a:cubicBezTo>
                <a:cubicBezTo>
                  <a:pt x="3817266" y="1064127"/>
                  <a:pt x="3829356" y="1059730"/>
                  <a:pt x="3836181" y="1062970"/>
                </a:cubicBezTo>
                <a:cubicBezTo>
                  <a:pt x="3843007" y="1066209"/>
                  <a:pt x="3827274" y="1071010"/>
                  <a:pt x="3828893" y="1074539"/>
                </a:cubicBezTo>
                <a:cubicBezTo>
                  <a:pt x="3830512" y="1078067"/>
                  <a:pt x="3844222" y="1077778"/>
                  <a:pt x="3862037" y="1060020"/>
                </a:cubicBezTo>
                <a:cubicBezTo>
                  <a:pt x="3879854" y="1042261"/>
                  <a:pt x="3895992" y="1037402"/>
                  <a:pt x="3907272" y="1038617"/>
                </a:cubicBezTo>
                <a:cubicBezTo>
                  <a:pt x="3918551" y="1039832"/>
                  <a:pt x="3912131" y="1028494"/>
                  <a:pt x="3913056" y="1011951"/>
                </a:cubicBezTo>
                <a:cubicBezTo>
                  <a:pt x="3913982" y="995408"/>
                  <a:pt x="3948573" y="990549"/>
                  <a:pt x="3959852" y="995408"/>
                </a:cubicBezTo>
                <a:cubicBezTo>
                  <a:pt x="3971132" y="1000266"/>
                  <a:pt x="3970380" y="1004663"/>
                  <a:pt x="3959448" y="1001828"/>
                </a:cubicBezTo>
                <a:cubicBezTo>
                  <a:pt x="3948515" y="998994"/>
                  <a:pt x="3938508" y="1008712"/>
                  <a:pt x="3938855" y="1022421"/>
                </a:cubicBezTo>
                <a:cubicBezTo>
                  <a:pt x="3939202" y="1036130"/>
                  <a:pt x="3929137" y="1040584"/>
                  <a:pt x="3934458" y="1045905"/>
                </a:cubicBezTo>
                <a:cubicBezTo>
                  <a:pt x="3939780" y="1051227"/>
                  <a:pt x="3926765" y="1052326"/>
                  <a:pt x="3926360" y="1057995"/>
                </a:cubicBezTo>
                <a:cubicBezTo>
                  <a:pt x="3925956" y="1063664"/>
                  <a:pt x="3926360" y="1068060"/>
                  <a:pt x="3918262" y="1070489"/>
                </a:cubicBezTo>
                <a:cubicBezTo>
                  <a:pt x="3910164" y="1072919"/>
                  <a:pt x="3883093" y="1075753"/>
                  <a:pt x="3882341" y="1086223"/>
                </a:cubicBezTo>
                <a:cubicBezTo>
                  <a:pt x="3881589" y="1096693"/>
                  <a:pt x="3867013" y="1097792"/>
                  <a:pt x="3860129" y="1110865"/>
                </a:cubicBezTo>
                <a:cubicBezTo>
                  <a:pt x="3853246" y="1123938"/>
                  <a:pt x="3826984" y="1131457"/>
                  <a:pt x="3809631" y="1157140"/>
                </a:cubicBezTo>
                <a:cubicBezTo>
                  <a:pt x="3792277" y="1182823"/>
                  <a:pt x="3764801" y="1182997"/>
                  <a:pt x="3764801" y="1187798"/>
                </a:cubicBezTo>
                <a:cubicBezTo>
                  <a:pt x="3764801" y="1192599"/>
                  <a:pt x="3745828" y="1192309"/>
                  <a:pt x="3739350" y="1193061"/>
                </a:cubicBezTo>
                <a:cubicBezTo>
                  <a:pt x="3732871" y="1193813"/>
                  <a:pt x="3745134" y="1209663"/>
                  <a:pt x="3730095" y="1226206"/>
                </a:cubicBezTo>
                <a:cubicBezTo>
                  <a:pt x="3714130" y="1243149"/>
                  <a:pt x="3705164" y="1265511"/>
                  <a:pt x="3705049" y="1288794"/>
                </a:cubicBezTo>
                <a:cubicBezTo>
                  <a:pt x="3705453" y="1311932"/>
                  <a:pt x="3713088" y="1378048"/>
                  <a:pt x="3719972" y="1389790"/>
                </a:cubicBezTo>
                <a:cubicBezTo>
                  <a:pt x="3726855" y="1401532"/>
                  <a:pt x="3722806" y="1430281"/>
                  <a:pt x="3728475" y="1436065"/>
                </a:cubicBezTo>
                <a:cubicBezTo>
                  <a:pt x="3734144" y="1441850"/>
                  <a:pt x="3732119" y="1452262"/>
                  <a:pt x="3735706" y="1455906"/>
                </a:cubicBezTo>
                <a:cubicBezTo>
                  <a:pt x="3739292" y="1459550"/>
                  <a:pt x="3754331" y="1439710"/>
                  <a:pt x="3764628" y="1431206"/>
                </a:cubicBezTo>
                <a:cubicBezTo>
                  <a:pt x="3774924" y="1422703"/>
                  <a:pt x="3771512" y="1419985"/>
                  <a:pt x="3778337" y="1415473"/>
                </a:cubicBezTo>
                <a:cubicBezTo>
                  <a:pt x="3785163" y="1410961"/>
                  <a:pt x="3782386" y="1392335"/>
                  <a:pt x="3784411" y="1387592"/>
                </a:cubicBezTo>
                <a:cubicBezTo>
                  <a:pt x="3786435" y="1382849"/>
                  <a:pt x="3798988" y="1380361"/>
                  <a:pt x="3802979" y="1375097"/>
                </a:cubicBezTo>
                <a:cubicBezTo>
                  <a:pt x="3806970" y="1369834"/>
                  <a:pt x="3817555" y="1373073"/>
                  <a:pt x="3823166" y="1371048"/>
                </a:cubicBezTo>
                <a:cubicBezTo>
                  <a:pt x="3828777" y="1369024"/>
                  <a:pt x="3822762" y="1355777"/>
                  <a:pt x="3820737" y="1347911"/>
                </a:cubicBezTo>
                <a:cubicBezTo>
                  <a:pt x="3818712" y="1340044"/>
                  <a:pt x="3837338" y="1329747"/>
                  <a:pt x="3847056" y="1322864"/>
                </a:cubicBezTo>
                <a:cubicBezTo>
                  <a:pt x="3856774" y="1315981"/>
                  <a:pt x="3868863" y="1327376"/>
                  <a:pt x="3879738" y="1317080"/>
                </a:cubicBezTo>
                <a:cubicBezTo>
                  <a:pt x="3890613" y="1306783"/>
                  <a:pt x="3878928" y="1295272"/>
                  <a:pt x="3874879" y="1290008"/>
                </a:cubicBezTo>
                <a:cubicBezTo>
                  <a:pt x="3870830" y="1284745"/>
                  <a:pt x="3885754" y="1259293"/>
                  <a:pt x="3894257" y="1256864"/>
                </a:cubicBezTo>
                <a:cubicBezTo>
                  <a:pt x="3902760" y="1254434"/>
                  <a:pt x="3907156" y="1262648"/>
                  <a:pt x="3915312" y="1255649"/>
                </a:cubicBezTo>
                <a:cubicBezTo>
                  <a:pt x="3923468" y="1248650"/>
                  <a:pt x="3908024" y="1236676"/>
                  <a:pt x="3902355" y="1237486"/>
                </a:cubicBezTo>
                <a:cubicBezTo>
                  <a:pt x="3896687" y="1238296"/>
                  <a:pt x="3894662" y="1216893"/>
                  <a:pt x="3908140" y="1206828"/>
                </a:cubicBezTo>
                <a:cubicBezTo>
                  <a:pt x="3921617" y="1196764"/>
                  <a:pt x="3916237" y="1194681"/>
                  <a:pt x="3907272" y="1192309"/>
                </a:cubicBezTo>
                <a:cubicBezTo>
                  <a:pt x="3898306" y="1189938"/>
                  <a:pt x="3896802" y="1193119"/>
                  <a:pt x="3889919" y="1193466"/>
                </a:cubicBezTo>
                <a:cubicBezTo>
                  <a:pt x="3883035" y="1193813"/>
                  <a:pt x="3876210" y="1179352"/>
                  <a:pt x="3886679" y="1165238"/>
                </a:cubicBezTo>
                <a:cubicBezTo>
                  <a:pt x="3897149" y="1151124"/>
                  <a:pt x="3907272" y="1152686"/>
                  <a:pt x="3909817" y="1141002"/>
                </a:cubicBezTo>
                <a:cubicBezTo>
                  <a:pt x="3912362" y="1129317"/>
                  <a:pt x="3926765" y="1112716"/>
                  <a:pt x="3930410" y="1106700"/>
                </a:cubicBezTo>
                <a:cubicBezTo>
                  <a:pt x="3934054" y="1100684"/>
                  <a:pt x="3948573" y="1106700"/>
                  <a:pt x="3954184" y="1105485"/>
                </a:cubicBezTo>
                <a:cubicBezTo>
                  <a:pt x="3959794" y="1104270"/>
                  <a:pt x="3957886" y="1116360"/>
                  <a:pt x="3964711" y="1110286"/>
                </a:cubicBezTo>
                <a:cubicBezTo>
                  <a:pt x="3971537" y="1104213"/>
                  <a:pt x="3982874" y="1084083"/>
                  <a:pt x="3992187" y="1084083"/>
                </a:cubicBezTo>
                <a:cubicBezTo>
                  <a:pt x="4001500" y="1084083"/>
                  <a:pt x="3995427" y="1099007"/>
                  <a:pt x="3997971" y="1107857"/>
                </a:cubicBezTo>
                <a:cubicBezTo>
                  <a:pt x="4000517" y="1116707"/>
                  <a:pt x="4005607" y="1105485"/>
                  <a:pt x="4023365" y="1093338"/>
                </a:cubicBezTo>
                <a:cubicBezTo>
                  <a:pt x="4041124" y="1081191"/>
                  <a:pt x="4079937" y="1082405"/>
                  <a:pt x="4091622" y="1088074"/>
                </a:cubicBezTo>
                <a:cubicBezTo>
                  <a:pt x="4103306" y="1093743"/>
                  <a:pt x="4105389" y="1107105"/>
                  <a:pt x="4111867" y="1105427"/>
                </a:cubicBezTo>
                <a:cubicBezTo>
                  <a:pt x="4121700" y="1102998"/>
                  <a:pt x="4113429" y="1092065"/>
                  <a:pt x="4123436" y="1089231"/>
                </a:cubicBezTo>
                <a:cubicBezTo>
                  <a:pt x="4137608" y="1083684"/>
                  <a:pt x="4150912" y="1076210"/>
                  <a:pt x="4163001" y="1067019"/>
                </a:cubicBezTo>
                <a:cubicBezTo>
                  <a:pt x="4175900" y="1057764"/>
                  <a:pt x="4172314" y="1064647"/>
                  <a:pt x="4179198" y="1056144"/>
                </a:cubicBezTo>
                <a:cubicBezTo>
                  <a:pt x="4186081" y="1047641"/>
                  <a:pt x="4192907" y="1051285"/>
                  <a:pt x="4194932" y="1045616"/>
                </a:cubicBezTo>
                <a:cubicBezTo>
                  <a:pt x="4196956" y="1039948"/>
                  <a:pt x="4215524" y="1030693"/>
                  <a:pt x="4241207" y="1025024"/>
                </a:cubicBezTo>
                <a:cubicBezTo>
                  <a:pt x="4266890" y="1019355"/>
                  <a:pt x="4299745" y="1002407"/>
                  <a:pt x="4298126" y="997201"/>
                </a:cubicBezTo>
                <a:cubicBezTo>
                  <a:pt x="4296506" y="991995"/>
                  <a:pt x="4307786" y="989507"/>
                  <a:pt x="4309000" y="994771"/>
                </a:cubicBezTo>
                <a:cubicBezTo>
                  <a:pt x="4310216" y="1000035"/>
                  <a:pt x="4319933" y="998010"/>
                  <a:pt x="4333237" y="1000556"/>
                </a:cubicBezTo>
                <a:cubicBezTo>
                  <a:pt x="4346541" y="1003101"/>
                  <a:pt x="4352673" y="1008654"/>
                  <a:pt x="4363142" y="998184"/>
                </a:cubicBezTo>
                <a:cubicBezTo>
                  <a:pt x="4373613" y="987714"/>
                  <a:pt x="4361928" y="984012"/>
                  <a:pt x="4362333" y="975972"/>
                </a:cubicBezTo>
                <a:cubicBezTo>
                  <a:pt x="4362738" y="967931"/>
                  <a:pt x="4344170" y="959370"/>
                  <a:pt x="4346541" y="950925"/>
                </a:cubicBezTo>
                <a:cubicBezTo>
                  <a:pt x="4348913" y="942480"/>
                  <a:pt x="4332890" y="919805"/>
                  <a:pt x="4328031" y="924259"/>
                </a:cubicBezTo>
                <a:cubicBezTo>
                  <a:pt x="4323173" y="928713"/>
                  <a:pt x="4311835" y="920615"/>
                  <a:pt x="4311835" y="914136"/>
                </a:cubicBezTo>
                <a:cubicBezTo>
                  <a:pt x="4311835" y="907658"/>
                  <a:pt x="4311025" y="900022"/>
                  <a:pt x="4303332" y="904823"/>
                </a:cubicBezTo>
                <a:cubicBezTo>
                  <a:pt x="4295639" y="909624"/>
                  <a:pt x="4282797" y="907311"/>
                  <a:pt x="4280194" y="900022"/>
                </a:cubicBezTo>
                <a:cubicBezTo>
                  <a:pt x="4277591" y="892734"/>
                  <a:pt x="4295118" y="887528"/>
                  <a:pt x="4307208" y="892387"/>
                </a:cubicBezTo>
                <a:cubicBezTo>
                  <a:pt x="4319297" y="897246"/>
                  <a:pt x="4315710" y="902047"/>
                  <a:pt x="4321784" y="905691"/>
                </a:cubicBezTo>
                <a:cubicBezTo>
                  <a:pt x="4327858" y="909335"/>
                  <a:pt x="4344401" y="907716"/>
                  <a:pt x="4352847" y="903666"/>
                </a:cubicBezTo>
                <a:cubicBezTo>
                  <a:pt x="4361292" y="899617"/>
                  <a:pt x="4385181" y="892098"/>
                  <a:pt x="4389230" y="885098"/>
                </a:cubicBezTo>
                <a:cubicBezTo>
                  <a:pt x="4393280" y="878099"/>
                  <a:pt x="4388826" y="874976"/>
                  <a:pt x="4396924" y="870984"/>
                </a:cubicBezTo>
                <a:cubicBezTo>
                  <a:pt x="4405022" y="866993"/>
                  <a:pt x="4398891" y="858432"/>
                  <a:pt x="4392065" y="854788"/>
                </a:cubicBezTo>
                <a:cubicBezTo>
                  <a:pt x="4388536" y="853440"/>
                  <a:pt x="4386743" y="849466"/>
                  <a:pt x="4388074" y="845915"/>
                </a:cubicBezTo>
                <a:cubicBezTo>
                  <a:pt x="4388999" y="843398"/>
                  <a:pt x="4391371" y="841669"/>
                  <a:pt x="4394032" y="841484"/>
                </a:cubicBezTo>
                <a:cubicBezTo>
                  <a:pt x="4401320" y="841484"/>
                  <a:pt x="4399295" y="832981"/>
                  <a:pt x="4404155" y="832576"/>
                </a:cubicBezTo>
                <a:cubicBezTo>
                  <a:pt x="4409013" y="832171"/>
                  <a:pt x="4409939" y="836162"/>
                  <a:pt x="4418731" y="831766"/>
                </a:cubicBezTo>
                <a:cubicBezTo>
                  <a:pt x="4427523" y="827370"/>
                  <a:pt x="4419136" y="838649"/>
                  <a:pt x="4415087" y="846343"/>
                </a:cubicBezTo>
                <a:cubicBezTo>
                  <a:pt x="4411038" y="854036"/>
                  <a:pt x="4423590" y="860457"/>
                  <a:pt x="4424747" y="864911"/>
                </a:cubicBezTo>
                <a:cubicBezTo>
                  <a:pt x="4425904" y="869365"/>
                  <a:pt x="4443315" y="870984"/>
                  <a:pt x="4453033" y="865663"/>
                </a:cubicBezTo>
                <a:cubicBezTo>
                  <a:pt x="4462751" y="860341"/>
                  <a:pt x="4493813" y="872141"/>
                  <a:pt x="4495838" y="879777"/>
                </a:cubicBezTo>
                <a:cubicBezTo>
                  <a:pt x="4498325" y="890171"/>
                  <a:pt x="4505498" y="898836"/>
                  <a:pt x="4515215" y="903261"/>
                </a:cubicBezTo>
                <a:cubicBezTo>
                  <a:pt x="4528172" y="909740"/>
                  <a:pt x="4539857" y="906906"/>
                  <a:pt x="4542287" y="912979"/>
                </a:cubicBezTo>
                <a:cubicBezTo>
                  <a:pt x="4544137" y="919088"/>
                  <a:pt x="4550616" y="922524"/>
                  <a:pt x="4556748" y="920655"/>
                </a:cubicBezTo>
                <a:cubicBezTo>
                  <a:pt x="4556806" y="920644"/>
                  <a:pt x="4556806" y="920626"/>
                  <a:pt x="4556863" y="920615"/>
                </a:cubicBezTo>
                <a:cubicBezTo>
                  <a:pt x="4564093" y="918995"/>
                  <a:pt x="4568432" y="927093"/>
                  <a:pt x="4573407" y="922177"/>
                </a:cubicBezTo>
                <a:cubicBezTo>
                  <a:pt x="4578382" y="917260"/>
                  <a:pt x="4581447" y="925069"/>
                  <a:pt x="4588331" y="918995"/>
                </a:cubicBezTo>
                <a:cubicBezTo>
                  <a:pt x="4595214" y="912922"/>
                  <a:pt x="4573407" y="908930"/>
                  <a:pt x="4576241" y="904071"/>
                </a:cubicBezTo>
                <a:cubicBezTo>
                  <a:pt x="4579076" y="899212"/>
                  <a:pt x="4583472" y="907716"/>
                  <a:pt x="4589545" y="907311"/>
                </a:cubicBezTo>
                <a:cubicBezTo>
                  <a:pt x="4595619" y="906906"/>
                  <a:pt x="4587926" y="895163"/>
                  <a:pt x="4592379" y="893949"/>
                </a:cubicBezTo>
                <a:cubicBezTo>
                  <a:pt x="4596834" y="892734"/>
                  <a:pt x="4593189" y="868555"/>
                  <a:pt x="4588331" y="866935"/>
                </a:cubicBezTo>
                <a:cubicBezTo>
                  <a:pt x="4583472" y="865316"/>
                  <a:pt x="4587521" y="856755"/>
                  <a:pt x="4596834" y="863696"/>
                </a:cubicBezTo>
                <a:cubicBezTo>
                  <a:pt x="4606146" y="870637"/>
                  <a:pt x="4620607" y="870117"/>
                  <a:pt x="4627491" y="870117"/>
                </a:cubicBezTo>
                <a:cubicBezTo>
                  <a:pt x="4634374" y="870117"/>
                  <a:pt x="4627896" y="863696"/>
                  <a:pt x="4621071" y="862423"/>
                </a:cubicBezTo>
                <a:cubicBezTo>
                  <a:pt x="4614245" y="861151"/>
                  <a:pt x="4622227" y="855598"/>
                  <a:pt x="4626855" y="860052"/>
                </a:cubicBezTo>
                <a:cubicBezTo>
                  <a:pt x="4631482" y="864506"/>
                  <a:pt x="4640969" y="866530"/>
                  <a:pt x="4641779" y="861672"/>
                </a:cubicBezTo>
                <a:cubicBezTo>
                  <a:pt x="4642589" y="856812"/>
                  <a:pt x="4647563" y="846343"/>
                  <a:pt x="4655950" y="846748"/>
                </a:cubicBezTo>
                <a:cubicBezTo>
                  <a:pt x="4664338" y="847153"/>
                  <a:pt x="4666767" y="843161"/>
                  <a:pt x="4658438" y="840327"/>
                </a:cubicBezTo>
                <a:close/>
                <a:moveTo>
                  <a:pt x="2406213" y="1370181"/>
                </a:moveTo>
                <a:cubicBezTo>
                  <a:pt x="2383075" y="1390773"/>
                  <a:pt x="2337146" y="1395632"/>
                  <a:pt x="2337146" y="1412581"/>
                </a:cubicBezTo>
                <a:cubicBezTo>
                  <a:pt x="2337146" y="1429529"/>
                  <a:pt x="2281442" y="1438032"/>
                  <a:pt x="2276584" y="1430801"/>
                </a:cubicBezTo>
                <a:cubicBezTo>
                  <a:pt x="2271725" y="1423571"/>
                  <a:pt x="2317769" y="1422298"/>
                  <a:pt x="2328643" y="1398062"/>
                </a:cubicBezTo>
                <a:cubicBezTo>
                  <a:pt x="2339518" y="1373825"/>
                  <a:pt x="2380703" y="1361388"/>
                  <a:pt x="2401296" y="1328995"/>
                </a:cubicBezTo>
                <a:cubicBezTo>
                  <a:pt x="2415873" y="1305858"/>
                  <a:pt x="2427962" y="1271151"/>
                  <a:pt x="2436465" y="1273291"/>
                </a:cubicBezTo>
                <a:cubicBezTo>
                  <a:pt x="2444968" y="1275432"/>
                  <a:pt x="2429466" y="1349588"/>
                  <a:pt x="2406444" y="1370181"/>
                </a:cubicBezTo>
                <a:close/>
                <a:moveTo>
                  <a:pt x="2508771" y="421534"/>
                </a:moveTo>
                <a:cubicBezTo>
                  <a:pt x="2505532" y="428013"/>
                  <a:pt x="2488005" y="428418"/>
                  <a:pt x="2492632" y="434434"/>
                </a:cubicBezTo>
                <a:cubicBezTo>
                  <a:pt x="2500730" y="444961"/>
                  <a:pt x="2541105" y="439292"/>
                  <a:pt x="2541915" y="426393"/>
                </a:cubicBezTo>
                <a:cubicBezTo>
                  <a:pt x="2542725" y="413494"/>
                  <a:pt x="2512415" y="415114"/>
                  <a:pt x="2509002" y="421592"/>
                </a:cubicBezTo>
                <a:close/>
                <a:moveTo>
                  <a:pt x="1038022" y="22409"/>
                </a:moveTo>
                <a:cubicBezTo>
                  <a:pt x="1057399" y="22409"/>
                  <a:pt x="1051731" y="10261"/>
                  <a:pt x="1064630" y="11881"/>
                </a:cubicBezTo>
                <a:cubicBezTo>
                  <a:pt x="1077529" y="13501"/>
                  <a:pt x="1094478" y="12691"/>
                  <a:pt x="1087768" y="4650"/>
                </a:cubicBezTo>
                <a:cubicBezTo>
                  <a:pt x="1081058" y="-3390"/>
                  <a:pt x="1034493" y="-208"/>
                  <a:pt x="1039294" y="6270"/>
                </a:cubicBezTo>
                <a:cubicBezTo>
                  <a:pt x="1044096" y="12749"/>
                  <a:pt x="1001349" y="10261"/>
                  <a:pt x="1002101" y="12691"/>
                </a:cubicBezTo>
                <a:cubicBezTo>
                  <a:pt x="1004299" y="17723"/>
                  <a:pt x="1018876" y="22582"/>
                  <a:pt x="1038253" y="22582"/>
                </a:cubicBezTo>
                <a:close/>
                <a:moveTo>
                  <a:pt x="937778" y="76493"/>
                </a:moveTo>
                <a:cubicBezTo>
                  <a:pt x="937778" y="63594"/>
                  <a:pt x="895783" y="77881"/>
                  <a:pt x="903881" y="80542"/>
                </a:cubicBezTo>
                <a:cubicBezTo>
                  <a:pt x="911979" y="83203"/>
                  <a:pt x="938009" y="89913"/>
                  <a:pt x="938009" y="76667"/>
                </a:cubicBezTo>
                <a:close/>
                <a:moveTo>
                  <a:pt x="1041898" y="66023"/>
                </a:moveTo>
                <a:cubicBezTo>
                  <a:pt x="1044327" y="72444"/>
                  <a:pt x="1037906" y="73254"/>
                  <a:pt x="1021710" y="73254"/>
                </a:cubicBezTo>
                <a:cubicBezTo>
                  <a:pt x="1005513" y="73254"/>
                  <a:pt x="997068" y="82451"/>
                  <a:pt x="1005513" y="89450"/>
                </a:cubicBezTo>
                <a:cubicBezTo>
                  <a:pt x="1015289" y="97491"/>
                  <a:pt x="1058036" y="94251"/>
                  <a:pt x="1065324" y="84591"/>
                </a:cubicBezTo>
                <a:cubicBezTo>
                  <a:pt x="1072612" y="74931"/>
                  <a:pt x="1091123" y="82972"/>
                  <a:pt x="1094246" y="73022"/>
                </a:cubicBezTo>
                <a:cubicBezTo>
                  <a:pt x="1097370" y="63073"/>
                  <a:pt x="1039815" y="59718"/>
                  <a:pt x="1042244" y="66197"/>
                </a:cubicBezTo>
                <a:close/>
                <a:moveTo>
                  <a:pt x="1180030" y="50695"/>
                </a:moveTo>
                <a:cubicBezTo>
                  <a:pt x="1185814" y="43406"/>
                  <a:pt x="1169502" y="43406"/>
                  <a:pt x="1167883" y="36118"/>
                </a:cubicBezTo>
                <a:cubicBezTo>
                  <a:pt x="1166263" y="28829"/>
                  <a:pt x="1121028" y="27268"/>
                  <a:pt x="1123458" y="35308"/>
                </a:cubicBezTo>
                <a:cubicBezTo>
                  <a:pt x="1125888" y="43348"/>
                  <a:pt x="1092222" y="52198"/>
                  <a:pt x="1102518" y="60354"/>
                </a:cubicBezTo>
                <a:cubicBezTo>
                  <a:pt x="1122243" y="75857"/>
                  <a:pt x="1174708" y="58099"/>
                  <a:pt x="1180376" y="50868"/>
                </a:cubicBezTo>
                <a:close/>
                <a:moveTo>
                  <a:pt x="1051615" y="37737"/>
                </a:moveTo>
                <a:cubicBezTo>
                  <a:pt x="1054045" y="20789"/>
                  <a:pt x="1025759" y="34498"/>
                  <a:pt x="1004703" y="25648"/>
                </a:cubicBezTo>
                <a:cubicBezTo>
                  <a:pt x="983648" y="16798"/>
                  <a:pt x="971385" y="17434"/>
                  <a:pt x="985326" y="29697"/>
                </a:cubicBezTo>
                <a:cubicBezTo>
                  <a:pt x="991862" y="35481"/>
                  <a:pt x="949405" y="39762"/>
                  <a:pt x="956403" y="46645"/>
                </a:cubicBezTo>
                <a:cubicBezTo>
                  <a:pt x="971963" y="62148"/>
                  <a:pt x="1049475" y="54859"/>
                  <a:pt x="1051962" y="37853"/>
                </a:cubicBezTo>
                <a:close/>
                <a:moveTo>
                  <a:pt x="931241" y="486031"/>
                </a:moveTo>
                <a:cubicBezTo>
                  <a:pt x="932051" y="494129"/>
                  <a:pt x="927192" y="499740"/>
                  <a:pt x="911922" y="499740"/>
                </a:cubicBezTo>
                <a:cubicBezTo>
                  <a:pt x="896651" y="499740"/>
                  <a:pt x="919152" y="509458"/>
                  <a:pt x="920713" y="518308"/>
                </a:cubicBezTo>
                <a:cubicBezTo>
                  <a:pt x="922275" y="527158"/>
                  <a:pt x="905385" y="520737"/>
                  <a:pt x="904575" y="534504"/>
                </a:cubicBezTo>
                <a:cubicBezTo>
                  <a:pt x="903765" y="548271"/>
                  <a:pt x="874669" y="534504"/>
                  <a:pt x="870679" y="552262"/>
                </a:cubicBezTo>
                <a:cubicBezTo>
                  <a:pt x="866687" y="570021"/>
                  <a:pt x="885197" y="567591"/>
                  <a:pt x="898155" y="568401"/>
                </a:cubicBezTo>
                <a:cubicBezTo>
                  <a:pt x="911112" y="569211"/>
                  <a:pt x="893295" y="581300"/>
                  <a:pt x="902955" y="588589"/>
                </a:cubicBezTo>
                <a:cubicBezTo>
                  <a:pt x="912616" y="595877"/>
                  <a:pt x="919903" y="593447"/>
                  <a:pt x="913483" y="579681"/>
                </a:cubicBezTo>
                <a:cubicBezTo>
                  <a:pt x="907062" y="565914"/>
                  <a:pt x="947379" y="584539"/>
                  <a:pt x="935290" y="595067"/>
                </a:cubicBezTo>
                <a:cubicBezTo>
                  <a:pt x="923201" y="605595"/>
                  <a:pt x="954668" y="613635"/>
                  <a:pt x="969997" y="614445"/>
                </a:cubicBezTo>
                <a:cubicBezTo>
                  <a:pt x="985326" y="615255"/>
                  <a:pt x="1039757" y="627171"/>
                  <a:pt x="1041030" y="614445"/>
                </a:cubicBezTo>
                <a:cubicBezTo>
                  <a:pt x="1041840" y="606347"/>
                  <a:pt x="1020842" y="599116"/>
                  <a:pt x="1003893" y="581300"/>
                </a:cubicBezTo>
                <a:cubicBezTo>
                  <a:pt x="986945" y="563484"/>
                  <a:pt x="974971" y="534504"/>
                  <a:pt x="994176" y="522357"/>
                </a:cubicBezTo>
                <a:cubicBezTo>
                  <a:pt x="1013380" y="510210"/>
                  <a:pt x="996605" y="504599"/>
                  <a:pt x="1015983" y="490890"/>
                </a:cubicBezTo>
                <a:cubicBezTo>
                  <a:pt x="1035361" y="477180"/>
                  <a:pt x="1024081" y="464223"/>
                  <a:pt x="1040220" y="462604"/>
                </a:cubicBezTo>
                <a:cubicBezTo>
                  <a:pt x="1056359" y="460984"/>
                  <a:pt x="1038600" y="446465"/>
                  <a:pt x="1054797" y="444036"/>
                </a:cubicBezTo>
                <a:cubicBezTo>
                  <a:pt x="1066597" y="441751"/>
                  <a:pt x="1074290" y="430332"/>
                  <a:pt x="1072034" y="418544"/>
                </a:cubicBezTo>
                <a:cubicBezTo>
                  <a:pt x="1071918" y="418150"/>
                  <a:pt x="1071860" y="417757"/>
                  <a:pt x="1071745" y="417369"/>
                </a:cubicBezTo>
                <a:cubicBezTo>
                  <a:pt x="1069316" y="410949"/>
                  <a:pt x="1088693" y="418179"/>
                  <a:pt x="1097602" y="408461"/>
                </a:cubicBezTo>
                <a:cubicBezTo>
                  <a:pt x="1106509" y="398744"/>
                  <a:pt x="1127449" y="405280"/>
                  <a:pt x="1133927" y="391513"/>
                </a:cubicBezTo>
                <a:cubicBezTo>
                  <a:pt x="1140407" y="377746"/>
                  <a:pt x="1233246" y="346279"/>
                  <a:pt x="1285769" y="334189"/>
                </a:cubicBezTo>
                <a:cubicBezTo>
                  <a:pt x="1338292" y="322100"/>
                  <a:pt x="1374618" y="300235"/>
                  <a:pt x="1356049" y="285716"/>
                </a:cubicBezTo>
                <a:cubicBezTo>
                  <a:pt x="1337482" y="271197"/>
                  <a:pt x="1284959" y="291500"/>
                  <a:pt x="1272059" y="301854"/>
                </a:cubicBezTo>
                <a:cubicBezTo>
                  <a:pt x="1259160" y="312209"/>
                  <a:pt x="1240535" y="305094"/>
                  <a:pt x="1227635" y="312324"/>
                </a:cubicBezTo>
                <a:cubicBezTo>
                  <a:pt x="1214736" y="319555"/>
                  <a:pt x="1187144" y="326091"/>
                  <a:pt x="1173493" y="317183"/>
                </a:cubicBezTo>
                <a:cubicBezTo>
                  <a:pt x="1159842" y="308275"/>
                  <a:pt x="1143645" y="327711"/>
                  <a:pt x="1133002" y="326901"/>
                </a:cubicBezTo>
                <a:cubicBezTo>
                  <a:pt x="1122358" y="326091"/>
                  <a:pt x="1110385" y="337429"/>
                  <a:pt x="1099106" y="336619"/>
                </a:cubicBezTo>
                <a:cubicBezTo>
                  <a:pt x="1087826" y="335809"/>
                  <a:pt x="1065151" y="345469"/>
                  <a:pt x="1063531" y="351948"/>
                </a:cubicBezTo>
                <a:cubicBezTo>
                  <a:pt x="1061911" y="358426"/>
                  <a:pt x="1042534" y="356806"/>
                  <a:pt x="1042534" y="364905"/>
                </a:cubicBezTo>
                <a:cubicBezTo>
                  <a:pt x="1042534" y="373003"/>
                  <a:pt x="1027147" y="380233"/>
                  <a:pt x="1019396" y="372945"/>
                </a:cubicBezTo>
                <a:cubicBezTo>
                  <a:pt x="1011645" y="365657"/>
                  <a:pt x="1001637" y="381043"/>
                  <a:pt x="1012917" y="391513"/>
                </a:cubicBezTo>
                <a:cubicBezTo>
                  <a:pt x="1024197" y="401983"/>
                  <a:pt x="991978" y="403082"/>
                  <a:pt x="997589" y="409271"/>
                </a:cubicBezTo>
                <a:cubicBezTo>
                  <a:pt x="1003199" y="415461"/>
                  <a:pt x="985441" y="419799"/>
                  <a:pt x="989490" y="427087"/>
                </a:cubicBezTo>
                <a:cubicBezTo>
                  <a:pt x="993540" y="434376"/>
                  <a:pt x="977921" y="436747"/>
                  <a:pt x="966353" y="439177"/>
                </a:cubicBezTo>
                <a:cubicBezTo>
                  <a:pt x="954784" y="441606"/>
                  <a:pt x="947785" y="457745"/>
                  <a:pt x="963172" y="458555"/>
                </a:cubicBezTo>
                <a:cubicBezTo>
                  <a:pt x="978558" y="459364"/>
                  <a:pt x="954263" y="461794"/>
                  <a:pt x="955941" y="473883"/>
                </a:cubicBezTo>
                <a:cubicBezTo>
                  <a:pt x="957618" y="485973"/>
                  <a:pt x="930778" y="478106"/>
                  <a:pt x="931588" y="48620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8" name="Forma libre: forma 227">
            <a:extLst>
              <a:ext uri="{FF2B5EF4-FFF2-40B4-BE49-F238E27FC236}">
                <a16:creationId xmlns:a16="http://schemas.microsoft.com/office/drawing/2014/main" id="{E1E50EDB-0EEA-D422-3258-ECFF6C9AEC53}"/>
              </a:ext>
            </a:extLst>
          </p:cNvPr>
          <p:cNvSpPr/>
          <p:nvPr/>
        </p:nvSpPr>
        <p:spPr>
          <a:xfrm>
            <a:off x="6518305" y="4333300"/>
            <a:ext cx="500642" cy="515998"/>
          </a:xfrm>
          <a:custGeom>
            <a:avLst/>
            <a:gdLst>
              <a:gd name="connsiteX0" fmla="*/ 458306 w 500642"/>
              <a:gd name="connsiteY0" fmla="*/ 340525 h 515998"/>
              <a:gd name="connsiteX1" fmla="*/ 446159 w 500642"/>
              <a:gd name="connsiteY1" fmla="*/ 239297 h 515998"/>
              <a:gd name="connsiteX2" fmla="*/ 448704 w 500642"/>
              <a:gd name="connsiteY2" fmla="*/ 241900 h 515998"/>
              <a:gd name="connsiteX3" fmla="*/ 447374 w 500642"/>
              <a:gd name="connsiteY3" fmla="*/ 221192 h 515998"/>
              <a:gd name="connsiteX4" fmla="*/ 445581 w 500642"/>
              <a:gd name="connsiteY4" fmla="*/ 220613 h 515998"/>
              <a:gd name="connsiteX5" fmla="*/ 439797 w 500642"/>
              <a:gd name="connsiteY5" fmla="*/ 212689 h 515998"/>
              <a:gd name="connsiteX6" fmla="*/ 445870 w 500642"/>
              <a:gd name="connsiteY6" fmla="*/ 204822 h 515998"/>
              <a:gd name="connsiteX7" fmla="*/ 451307 w 500642"/>
              <a:gd name="connsiteY7" fmla="*/ 187468 h 515998"/>
              <a:gd name="connsiteX8" fmla="*/ 454662 w 500642"/>
              <a:gd name="connsiteY8" fmla="*/ 184923 h 515998"/>
              <a:gd name="connsiteX9" fmla="*/ 459174 w 500642"/>
              <a:gd name="connsiteY9" fmla="*/ 165025 h 515998"/>
              <a:gd name="connsiteX10" fmla="*/ 464033 w 500642"/>
              <a:gd name="connsiteY10" fmla="*/ 141424 h 515998"/>
              <a:gd name="connsiteX11" fmla="*/ 470743 w 500642"/>
              <a:gd name="connsiteY11" fmla="*/ 122047 h 515998"/>
              <a:gd name="connsiteX12" fmla="*/ 481040 w 500642"/>
              <a:gd name="connsiteY12" fmla="*/ 106891 h 515998"/>
              <a:gd name="connsiteX13" fmla="*/ 492608 w 500642"/>
              <a:gd name="connsiteY13" fmla="*/ 99025 h 515998"/>
              <a:gd name="connsiteX14" fmla="*/ 500533 w 500642"/>
              <a:gd name="connsiteY14" fmla="*/ 85084 h 515998"/>
              <a:gd name="connsiteX15" fmla="*/ 491451 w 500642"/>
              <a:gd name="connsiteY15" fmla="*/ 71780 h 515998"/>
              <a:gd name="connsiteX16" fmla="*/ 493881 w 500642"/>
              <a:gd name="connsiteY16" fmla="*/ 48121 h 515998"/>
              <a:gd name="connsiteX17" fmla="*/ 494228 w 500642"/>
              <a:gd name="connsiteY17" fmla="*/ 48121 h 515998"/>
              <a:gd name="connsiteX18" fmla="*/ 462703 w 500642"/>
              <a:gd name="connsiteY18" fmla="*/ 21513 h 515998"/>
              <a:gd name="connsiteX19" fmla="*/ 449167 w 500642"/>
              <a:gd name="connsiteY19" fmla="*/ 24868 h 515998"/>
              <a:gd name="connsiteX20" fmla="*/ 433954 w 500642"/>
              <a:gd name="connsiteY20" fmla="*/ 23191 h 515998"/>
              <a:gd name="connsiteX21" fmla="*/ 417121 w 500642"/>
              <a:gd name="connsiteY21" fmla="*/ 23191 h 515998"/>
              <a:gd name="connsiteX22" fmla="*/ 405552 w 500642"/>
              <a:gd name="connsiteY22" fmla="*/ 9655 h 515998"/>
              <a:gd name="connsiteX23" fmla="*/ 398438 w 500642"/>
              <a:gd name="connsiteY23" fmla="*/ 2540 h 515998"/>
              <a:gd name="connsiteX24" fmla="*/ 398842 w 500642"/>
              <a:gd name="connsiteY24" fmla="*/ 3639 h 515998"/>
              <a:gd name="connsiteX25" fmla="*/ 378655 w 500642"/>
              <a:gd name="connsiteY25" fmla="*/ 6994 h 515998"/>
              <a:gd name="connsiteX26" fmla="*/ 348344 w 500642"/>
              <a:gd name="connsiteY26" fmla="*/ 3639 h 515998"/>
              <a:gd name="connsiteX27" fmla="*/ 326422 w 500642"/>
              <a:gd name="connsiteY27" fmla="*/ 6994 h 515998"/>
              <a:gd name="connsiteX28" fmla="*/ 297499 w 500642"/>
              <a:gd name="connsiteY28" fmla="*/ 15440 h 515998"/>
              <a:gd name="connsiteX29" fmla="*/ 275634 w 500642"/>
              <a:gd name="connsiteY29" fmla="*/ 15440 h 515998"/>
              <a:gd name="connsiteX30" fmla="*/ 267189 w 500642"/>
              <a:gd name="connsiteY30" fmla="*/ 33950 h 515998"/>
              <a:gd name="connsiteX31" fmla="*/ 215129 w 500642"/>
              <a:gd name="connsiteY31" fmla="*/ 23885 h 515998"/>
              <a:gd name="connsiteX32" fmla="*/ 193206 w 500642"/>
              <a:gd name="connsiteY32" fmla="*/ 8672 h 515998"/>
              <a:gd name="connsiteX33" fmla="*/ 164631 w 500642"/>
              <a:gd name="connsiteY33" fmla="*/ 30595 h 515998"/>
              <a:gd name="connsiteX34" fmla="*/ 164631 w 500642"/>
              <a:gd name="connsiteY34" fmla="*/ 48931 h 515998"/>
              <a:gd name="connsiteX35" fmla="*/ 160524 w 500642"/>
              <a:gd name="connsiteY35" fmla="*/ 77217 h 515998"/>
              <a:gd name="connsiteX36" fmla="*/ 150401 w 500642"/>
              <a:gd name="connsiteY36" fmla="*/ 106139 h 515998"/>
              <a:gd name="connsiteX37" fmla="*/ 130156 w 500642"/>
              <a:gd name="connsiteY37" fmla="*/ 163637 h 515998"/>
              <a:gd name="connsiteX38" fmla="*/ 106497 w 500642"/>
              <a:gd name="connsiteY38" fmla="*/ 194005 h 515998"/>
              <a:gd name="connsiteX39" fmla="*/ 104820 w 500642"/>
              <a:gd name="connsiteY39" fmla="*/ 239586 h 515998"/>
              <a:gd name="connsiteX40" fmla="*/ 94697 w 500642"/>
              <a:gd name="connsiteY40" fmla="*/ 259832 h 515998"/>
              <a:gd name="connsiteX41" fmla="*/ 77807 w 500642"/>
              <a:gd name="connsiteY41" fmla="*/ 275045 h 515998"/>
              <a:gd name="connsiteX42" fmla="*/ 65949 w 500642"/>
              <a:gd name="connsiteY42" fmla="*/ 276780 h 515998"/>
              <a:gd name="connsiteX43" fmla="*/ 44026 w 500642"/>
              <a:gd name="connsiteY43" fmla="*/ 275045 h 515998"/>
              <a:gd name="connsiteX44" fmla="*/ 25458 w 500642"/>
              <a:gd name="connsiteY44" fmla="*/ 273367 h 515998"/>
              <a:gd name="connsiteX45" fmla="*/ -110 w 500642"/>
              <a:gd name="connsiteY45" fmla="*/ 286903 h 515998"/>
              <a:gd name="connsiteX46" fmla="*/ 9608 w 500642"/>
              <a:gd name="connsiteY46" fmla="*/ 317040 h 515998"/>
              <a:gd name="connsiteX47" fmla="*/ 10302 w 500642"/>
              <a:gd name="connsiteY47" fmla="*/ 319816 h 515998"/>
              <a:gd name="connsiteX48" fmla="*/ 25920 w 500642"/>
              <a:gd name="connsiteY48" fmla="*/ 310735 h 515998"/>
              <a:gd name="connsiteX49" fmla="*/ 114422 w 500642"/>
              <a:gd name="connsiteY49" fmla="*/ 310735 h 515998"/>
              <a:gd name="connsiteX50" fmla="*/ 119223 w 500642"/>
              <a:gd name="connsiteY50" fmla="*/ 333872 h 515998"/>
              <a:gd name="connsiteX51" fmla="*/ 130156 w 500642"/>
              <a:gd name="connsiteY51" fmla="*/ 354465 h 515998"/>
              <a:gd name="connsiteX52" fmla="*/ 153294 w 500642"/>
              <a:gd name="connsiteY52" fmla="*/ 371413 h 515998"/>
              <a:gd name="connsiteX53" fmla="*/ 184761 w 500642"/>
              <a:gd name="connsiteY53" fmla="*/ 366555 h 515998"/>
              <a:gd name="connsiteX54" fmla="*/ 195693 w 500642"/>
              <a:gd name="connsiteY54" fmla="*/ 342318 h 515998"/>
              <a:gd name="connsiteX55" fmla="*/ 217501 w 500642"/>
              <a:gd name="connsiteY55" fmla="*/ 342318 h 515998"/>
              <a:gd name="connsiteX56" fmla="*/ 230805 w 500642"/>
              <a:gd name="connsiteY56" fmla="*/ 348102 h 515998"/>
              <a:gd name="connsiteX57" fmla="*/ 248968 w 500642"/>
              <a:gd name="connsiteY57" fmla="*/ 351746 h 515998"/>
              <a:gd name="connsiteX58" fmla="*/ 253827 w 500642"/>
              <a:gd name="connsiteY58" fmla="*/ 373553 h 515998"/>
              <a:gd name="connsiteX59" fmla="*/ 250183 w 500642"/>
              <a:gd name="connsiteY59" fmla="*/ 412309 h 515998"/>
              <a:gd name="connsiteX60" fmla="*/ 263545 w 500642"/>
              <a:gd name="connsiteY60" fmla="*/ 434117 h 515998"/>
              <a:gd name="connsiteX61" fmla="*/ 263545 w 500642"/>
              <a:gd name="connsiteY61" fmla="*/ 455924 h 515998"/>
              <a:gd name="connsiteX62" fmla="*/ 278064 w 500642"/>
              <a:gd name="connsiteY62" fmla="*/ 448636 h 515998"/>
              <a:gd name="connsiteX63" fmla="*/ 302301 w 500642"/>
              <a:gd name="connsiteY63" fmla="*/ 446264 h 515998"/>
              <a:gd name="connsiteX64" fmla="*/ 309704 w 500642"/>
              <a:gd name="connsiteY64" fmla="*/ 446264 h 515998"/>
              <a:gd name="connsiteX65" fmla="*/ 316819 w 500642"/>
              <a:gd name="connsiteY65" fmla="*/ 453263 h 515998"/>
              <a:gd name="connsiteX66" fmla="*/ 324108 w 500642"/>
              <a:gd name="connsiteY66" fmla="*/ 459048 h 515998"/>
              <a:gd name="connsiteX67" fmla="*/ 341056 w 500642"/>
              <a:gd name="connsiteY67" fmla="*/ 457833 h 515998"/>
              <a:gd name="connsiteX68" fmla="*/ 349559 w 500642"/>
              <a:gd name="connsiteY68" fmla="*/ 471137 h 515998"/>
              <a:gd name="connsiteX69" fmla="*/ 372697 w 500642"/>
              <a:gd name="connsiteY69" fmla="*/ 478425 h 515998"/>
              <a:gd name="connsiteX70" fmla="*/ 384787 w 500642"/>
              <a:gd name="connsiteY70" fmla="*/ 474781 h 515998"/>
              <a:gd name="connsiteX71" fmla="*/ 394504 w 500642"/>
              <a:gd name="connsiteY71" fmla="*/ 469922 h 515998"/>
              <a:gd name="connsiteX72" fmla="*/ 409023 w 500642"/>
              <a:gd name="connsiteY72" fmla="*/ 485714 h 515998"/>
              <a:gd name="connsiteX73" fmla="*/ 429616 w 500642"/>
              <a:gd name="connsiteY73" fmla="*/ 490573 h 515998"/>
              <a:gd name="connsiteX74" fmla="*/ 440491 w 500642"/>
              <a:gd name="connsiteY74" fmla="*/ 513710 h 515998"/>
              <a:gd name="connsiteX75" fmla="*/ 459868 w 500642"/>
              <a:gd name="connsiteY75" fmla="*/ 513710 h 515998"/>
              <a:gd name="connsiteX76" fmla="*/ 464727 w 500642"/>
              <a:gd name="connsiteY76" fmla="*/ 501621 h 515998"/>
              <a:gd name="connsiteX77" fmla="*/ 461083 w 500642"/>
              <a:gd name="connsiteY77" fmla="*/ 482243 h 515998"/>
              <a:gd name="connsiteX78" fmla="*/ 442920 w 500642"/>
              <a:gd name="connsiteY78" fmla="*/ 488028 h 515998"/>
              <a:gd name="connsiteX79" fmla="*/ 424756 w 500642"/>
              <a:gd name="connsiteY79" fmla="*/ 466220 h 515998"/>
              <a:gd name="connsiteX80" fmla="*/ 430541 w 500642"/>
              <a:gd name="connsiteY80" fmla="*/ 440826 h 515998"/>
              <a:gd name="connsiteX81" fmla="*/ 431756 w 500642"/>
              <a:gd name="connsiteY81" fmla="*/ 410516 h 515998"/>
              <a:gd name="connsiteX82" fmla="*/ 435400 w 500642"/>
              <a:gd name="connsiteY82" fmla="*/ 395997 h 515998"/>
              <a:gd name="connsiteX83" fmla="*/ 442631 w 500642"/>
              <a:gd name="connsiteY83" fmla="*/ 377834 h 515998"/>
              <a:gd name="connsiteX84" fmla="*/ 475544 w 500642"/>
              <a:gd name="connsiteY84" fmla="*/ 372917 h 515998"/>
              <a:gd name="connsiteX85" fmla="*/ 476585 w 500642"/>
              <a:gd name="connsiteY85" fmla="*/ 371760 h 515998"/>
              <a:gd name="connsiteX86" fmla="*/ 478320 w 500642"/>
              <a:gd name="connsiteY86" fmla="*/ 367538 h 515998"/>
              <a:gd name="connsiteX87" fmla="*/ 458306 w 500642"/>
              <a:gd name="connsiteY87" fmla="*/ 340525 h 51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00642" h="515998">
                <a:moveTo>
                  <a:pt x="458306" y="340525"/>
                </a:moveTo>
                <a:cubicBezTo>
                  <a:pt x="444944" y="333236"/>
                  <a:pt x="439507" y="241784"/>
                  <a:pt x="446159" y="239297"/>
                </a:cubicBezTo>
                <a:cubicBezTo>
                  <a:pt x="447027" y="239297"/>
                  <a:pt x="447894" y="239991"/>
                  <a:pt x="448704" y="241900"/>
                </a:cubicBezTo>
                <a:lnTo>
                  <a:pt x="447374" y="221192"/>
                </a:lnTo>
                <a:cubicBezTo>
                  <a:pt x="446738" y="221047"/>
                  <a:pt x="446159" y="220856"/>
                  <a:pt x="445581" y="220613"/>
                </a:cubicBezTo>
                <a:cubicBezTo>
                  <a:pt x="442110" y="219555"/>
                  <a:pt x="439739" y="216327"/>
                  <a:pt x="439797" y="212689"/>
                </a:cubicBezTo>
                <a:cubicBezTo>
                  <a:pt x="439391" y="208871"/>
                  <a:pt x="442052" y="205418"/>
                  <a:pt x="445870" y="204822"/>
                </a:cubicBezTo>
                <a:cubicBezTo>
                  <a:pt x="445870" y="204822"/>
                  <a:pt x="444655" y="189667"/>
                  <a:pt x="451307" y="187468"/>
                </a:cubicBezTo>
                <a:cubicBezTo>
                  <a:pt x="452638" y="186954"/>
                  <a:pt x="453794" y="186069"/>
                  <a:pt x="454662" y="184923"/>
                </a:cubicBezTo>
                <a:cubicBezTo>
                  <a:pt x="458075" y="178879"/>
                  <a:pt x="459637" y="171955"/>
                  <a:pt x="459174" y="165025"/>
                </a:cubicBezTo>
                <a:cubicBezTo>
                  <a:pt x="459232" y="156915"/>
                  <a:pt x="460851" y="148892"/>
                  <a:pt x="464033" y="141424"/>
                </a:cubicBezTo>
                <a:cubicBezTo>
                  <a:pt x="467099" y="134772"/>
                  <a:pt x="465884" y="125691"/>
                  <a:pt x="470743" y="122047"/>
                </a:cubicBezTo>
                <a:cubicBezTo>
                  <a:pt x="475602" y="118402"/>
                  <a:pt x="474966" y="108685"/>
                  <a:pt x="481040" y="106891"/>
                </a:cubicBezTo>
                <a:cubicBezTo>
                  <a:pt x="487113" y="105098"/>
                  <a:pt x="491914" y="102669"/>
                  <a:pt x="492608" y="99025"/>
                </a:cubicBezTo>
                <a:cubicBezTo>
                  <a:pt x="493303" y="95380"/>
                  <a:pt x="500533" y="90521"/>
                  <a:pt x="500533" y="85084"/>
                </a:cubicBezTo>
                <a:cubicBezTo>
                  <a:pt x="500533" y="79647"/>
                  <a:pt x="491451" y="78432"/>
                  <a:pt x="491451" y="71780"/>
                </a:cubicBezTo>
                <a:cubicBezTo>
                  <a:pt x="491451" y="65128"/>
                  <a:pt x="493881" y="48121"/>
                  <a:pt x="493881" y="48121"/>
                </a:cubicBezTo>
                <a:lnTo>
                  <a:pt x="494228" y="48121"/>
                </a:lnTo>
                <a:cubicBezTo>
                  <a:pt x="481213" y="36148"/>
                  <a:pt x="466115" y="23769"/>
                  <a:pt x="462703" y="21513"/>
                </a:cubicBezTo>
                <a:cubicBezTo>
                  <a:pt x="457670" y="18158"/>
                  <a:pt x="449167" y="24868"/>
                  <a:pt x="449167" y="24868"/>
                </a:cubicBezTo>
                <a:cubicBezTo>
                  <a:pt x="449167" y="24868"/>
                  <a:pt x="440722" y="16423"/>
                  <a:pt x="433954" y="23191"/>
                </a:cubicBezTo>
                <a:cubicBezTo>
                  <a:pt x="427186" y="29959"/>
                  <a:pt x="417121" y="23191"/>
                  <a:pt x="417121" y="23191"/>
                </a:cubicBezTo>
                <a:cubicBezTo>
                  <a:pt x="412031" y="19893"/>
                  <a:pt x="408040" y="15191"/>
                  <a:pt x="405552" y="9655"/>
                </a:cubicBezTo>
                <a:cubicBezTo>
                  <a:pt x="404164" y="6485"/>
                  <a:pt x="401619" y="3946"/>
                  <a:pt x="398438" y="2540"/>
                </a:cubicBezTo>
                <a:lnTo>
                  <a:pt x="398842" y="3639"/>
                </a:lnTo>
                <a:lnTo>
                  <a:pt x="378655" y="6994"/>
                </a:lnTo>
                <a:cubicBezTo>
                  <a:pt x="378655" y="6994"/>
                  <a:pt x="353377" y="-6484"/>
                  <a:pt x="348344" y="3639"/>
                </a:cubicBezTo>
                <a:cubicBezTo>
                  <a:pt x="343312" y="13762"/>
                  <a:pt x="338222" y="6994"/>
                  <a:pt x="326422" y="6994"/>
                </a:cubicBezTo>
                <a:cubicBezTo>
                  <a:pt x="316241" y="7480"/>
                  <a:pt x="306349" y="10372"/>
                  <a:pt x="297499" y="15440"/>
                </a:cubicBezTo>
                <a:cubicBezTo>
                  <a:pt x="290732" y="18795"/>
                  <a:pt x="280667" y="12085"/>
                  <a:pt x="275634" y="15440"/>
                </a:cubicBezTo>
                <a:cubicBezTo>
                  <a:pt x="270602" y="18795"/>
                  <a:pt x="267189" y="33950"/>
                  <a:pt x="267189" y="33950"/>
                </a:cubicBezTo>
                <a:lnTo>
                  <a:pt x="215129" y="23885"/>
                </a:lnTo>
                <a:cubicBezTo>
                  <a:pt x="215129" y="23885"/>
                  <a:pt x="205064" y="8672"/>
                  <a:pt x="193206" y="8672"/>
                </a:cubicBezTo>
                <a:cubicBezTo>
                  <a:pt x="181348" y="8672"/>
                  <a:pt x="164631" y="30595"/>
                  <a:pt x="164631" y="30595"/>
                </a:cubicBezTo>
                <a:lnTo>
                  <a:pt x="164631" y="48931"/>
                </a:lnTo>
                <a:cubicBezTo>
                  <a:pt x="166424" y="58557"/>
                  <a:pt x="164978" y="68500"/>
                  <a:pt x="160524" y="77217"/>
                </a:cubicBezTo>
                <a:cubicBezTo>
                  <a:pt x="155492" y="85663"/>
                  <a:pt x="150401" y="88786"/>
                  <a:pt x="150401" y="106139"/>
                </a:cubicBezTo>
                <a:cubicBezTo>
                  <a:pt x="150401" y="123493"/>
                  <a:pt x="130156" y="150101"/>
                  <a:pt x="130156" y="163637"/>
                </a:cubicBezTo>
                <a:cubicBezTo>
                  <a:pt x="130156" y="177172"/>
                  <a:pt x="106497" y="185560"/>
                  <a:pt x="106497" y="194005"/>
                </a:cubicBezTo>
                <a:cubicBezTo>
                  <a:pt x="106497" y="202450"/>
                  <a:pt x="104820" y="221018"/>
                  <a:pt x="104820" y="239586"/>
                </a:cubicBezTo>
                <a:cubicBezTo>
                  <a:pt x="104820" y="258154"/>
                  <a:pt x="94697" y="242941"/>
                  <a:pt x="94697" y="259832"/>
                </a:cubicBezTo>
                <a:cubicBezTo>
                  <a:pt x="94697" y="276722"/>
                  <a:pt x="86252" y="266542"/>
                  <a:pt x="77807" y="275045"/>
                </a:cubicBezTo>
                <a:cubicBezTo>
                  <a:pt x="69362" y="283548"/>
                  <a:pt x="65949" y="285225"/>
                  <a:pt x="65949" y="276780"/>
                </a:cubicBezTo>
                <a:cubicBezTo>
                  <a:pt x="65949" y="268335"/>
                  <a:pt x="54380" y="266542"/>
                  <a:pt x="44026" y="275045"/>
                </a:cubicBezTo>
                <a:cubicBezTo>
                  <a:pt x="33672" y="283548"/>
                  <a:pt x="30490" y="275045"/>
                  <a:pt x="25458" y="273367"/>
                </a:cubicBezTo>
                <a:cubicBezTo>
                  <a:pt x="22623" y="272442"/>
                  <a:pt x="11112" y="279152"/>
                  <a:pt x="-110" y="286903"/>
                </a:cubicBezTo>
                <a:cubicBezTo>
                  <a:pt x="4275" y="296545"/>
                  <a:pt x="7532" y="306657"/>
                  <a:pt x="9608" y="317040"/>
                </a:cubicBezTo>
                <a:cubicBezTo>
                  <a:pt x="9770" y="317983"/>
                  <a:pt x="10002" y="318908"/>
                  <a:pt x="10302" y="319816"/>
                </a:cubicBezTo>
                <a:cubicBezTo>
                  <a:pt x="14890" y="315831"/>
                  <a:pt x="20188" y="312748"/>
                  <a:pt x="25920" y="310735"/>
                </a:cubicBezTo>
                <a:cubicBezTo>
                  <a:pt x="34423" y="309462"/>
                  <a:pt x="114422" y="310735"/>
                  <a:pt x="114422" y="310735"/>
                </a:cubicBezTo>
                <a:cubicBezTo>
                  <a:pt x="118523" y="317711"/>
                  <a:pt x="120213" y="325844"/>
                  <a:pt x="119223" y="333872"/>
                </a:cubicBezTo>
                <a:cubicBezTo>
                  <a:pt x="116794" y="344747"/>
                  <a:pt x="124082" y="339657"/>
                  <a:pt x="130156" y="354465"/>
                </a:cubicBezTo>
                <a:cubicBezTo>
                  <a:pt x="136229" y="369273"/>
                  <a:pt x="141031" y="375057"/>
                  <a:pt x="153294" y="371413"/>
                </a:cubicBezTo>
                <a:cubicBezTo>
                  <a:pt x="165557" y="367769"/>
                  <a:pt x="179960" y="365629"/>
                  <a:pt x="184761" y="366555"/>
                </a:cubicBezTo>
                <a:cubicBezTo>
                  <a:pt x="189562" y="367480"/>
                  <a:pt x="188405" y="345962"/>
                  <a:pt x="195693" y="342318"/>
                </a:cubicBezTo>
                <a:cubicBezTo>
                  <a:pt x="202982" y="338674"/>
                  <a:pt x="217501" y="342318"/>
                  <a:pt x="217501" y="342318"/>
                </a:cubicBezTo>
                <a:cubicBezTo>
                  <a:pt x="217501" y="342318"/>
                  <a:pt x="218715" y="348102"/>
                  <a:pt x="230805" y="348102"/>
                </a:cubicBezTo>
                <a:cubicBezTo>
                  <a:pt x="242894" y="348102"/>
                  <a:pt x="248968" y="343243"/>
                  <a:pt x="248968" y="351746"/>
                </a:cubicBezTo>
                <a:cubicBezTo>
                  <a:pt x="248968" y="360249"/>
                  <a:pt x="250183" y="369909"/>
                  <a:pt x="253827" y="373553"/>
                </a:cubicBezTo>
                <a:cubicBezTo>
                  <a:pt x="257471" y="377198"/>
                  <a:pt x="244167" y="407450"/>
                  <a:pt x="250183" y="412309"/>
                </a:cubicBezTo>
                <a:cubicBezTo>
                  <a:pt x="256198" y="417168"/>
                  <a:pt x="264759" y="428043"/>
                  <a:pt x="263545" y="434117"/>
                </a:cubicBezTo>
                <a:cubicBezTo>
                  <a:pt x="262330" y="440190"/>
                  <a:pt x="258686" y="454709"/>
                  <a:pt x="263545" y="455924"/>
                </a:cubicBezTo>
                <a:cubicBezTo>
                  <a:pt x="268404" y="457139"/>
                  <a:pt x="269329" y="448636"/>
                  <a:pt x="278064" y="448636"/>
                </a:cubicBezTo>
                <a:cubicBezTo>
                  <a:pt x="286220" y="449631"/>
                  <a:pt x="294491" y="448821"/>
                  <a:pt x="302301" y="446264"/>
                </a:cubicBezTo>
                <a:cubicBezTo>
                  <a:pt x="304614" y="445124"/>
                  <a:pt x="307391" y="445124"/>
                  <a:pt x="309704" y="446264"/>
                </a:cubicBezTo>
                <a:cubicBezTo>
                  <a:pt x="312655" y="447947"/>
                  <a:pt x="315084" y="450359"/>
                  <a:pt x="316819" y="453263"/>
                </a:cubicBezTo>
                <a:cubicBezTo>
                  <a:pt x="316819" y="453263"/>
                  <a:pt x="319249" y="461766"/>
                  <a:pt x="324108" y="459048"/>
                </a:cubicBezTo>
                <a:cubicBezTo>
                  <a:pt x="328967" y="456329"/>
                  <a:pt x="342270" y="453263"/>
                  <a:pt x="341056" y="457833"/>
                </a:cubicBezTo>
                <a:cubicBezTo>
                  <a:pt x="339841" y="462402"/>
                  <a:pt x="344700" y="473566"/>
                  <a:pt x="349559" y="471137"/>
                </a:cubicBezTo>
                <a:cubicBezTo>
                  <a:pt x="354418" y="468707"/>
                  <a:pt x="366508" y="478425"/>
                  <a:pt x="372697" y="478425"/>
                </a:cubicBezTo>
                <a:cubicBezTo>
                  <a:pt x="378886" y="478425"/>
                  <a:pt x="384787" y="478425"/>
                  <a:pt x="384787" y="474781"/>
                </a:cubicBezTo>
                <a:cubicBezTo>
                  <a:pt x="384787" y="471137"/>
                  <a:pt x="392017" y="465063"/>
                  <a:pt x="394504" y="469922"/>
                </a:cubicBezTo>
                <a:cubicBezTo>
                  <a:pt x="396992" y="474781"/>
                  <a:pt x="402950" y="485714"/>
                  <a:pt x="409023" y="485714"/>
                </a:cubicBezTo>
                <a:cubicBezTo>
                  <a:pt x="415097" y="485714"/>
                  <a:pt x="429616" y="485714"/>
                  <a:pt x="429616" y="490573"/>
                </a:cubicBezTo>
                <a:cubicBezTo>
                  <a:pt x="430657" y="499255"/>
                  <a:pt x="434475" y="507376"/>
                  <a:pt x="440491" y="513710"/>
                </a:cubicBezTo>
                <a:cubicBezTo>
                  <a:pt x="446564" y="518569"/>
                  <a:pt x="459868" y="513710"/>
                  <a:pt x="459868" y="513710"/>
                </a:cubicBezTo>
                <a:cubicBezTo>
                  <a:pt x="463223" y="510616"/>
                  <a:pt x="465017" y="506173"/>
                  <a:pt x="464727" y="501621"/>
                </a:cubicBezTo>
                <a:cubicBezTo>
                  <a:pt x="464727" y="493118"/>
                  <a:pt x="464727" y="482243"/>
                  <a:pt x="461083" y="482243"/>
                </a:cubicBezTo>
                <a:cubicBezTo>
                  <a:pt x="457439" y="482243"/>
                  <a:pt x="451423" y="490746"/>
                  <a:pt x="442920" y="488028"/>
                </a:cubicBezTo>
                <a:cubicBezTo>
                  <a:pt x="434417" y="485309"/>
                  <a:pt x="428401" y="468650"/>
                  <a:pt x="424756" y="466220"/>
                </a:cubicBezTo>
                <a:cubicBezTo>
                  <a:pt x="421112" y="463791"/>
                  <a:pt x="430541" y="448057"/>
                  <a:pt x="430541" y="440826"/>
                </a:cubicBezTo>
                <a:cubicBezTo>
                  <a:pt x="430541" y="433596"/>
                  <a:pt x="436325" y="412945"/>
                  <a:pt x="431756" y="410516"/>
                </a:cubicBezTo>
                <a:cubicBezTo>
                  <a:pt x="427186" y="408087"/>
                  <a:pt x="429326" y="400798"/>
                  <a:pt x="435400" y="395997"/>
                </a:cubicBezTo>
                <a:cubicBezTo>
                  <a:pt x="441474" y="391196"/>
                  <a:pt x="432971" y="377834"/>
                  <a:pt x="442631" y="377834"/>
                </a:cubicBezTo>
                <a:cubicBezTo>
                  <a:pt x="452290" y="377834"/>
                  <a:pt x="470280" y="378818"/>
                  <a:pt x="475544" y="372917"/>
                </a:cubicBezTo>
                <a:cubicBezTo>
                  <a:pt x="475949" y="372576"/>
                  <a:pt x="476296" y="372189"/>
                  <a:pt x="476585" y="371760"/>
                </a:cubicBezTo>
                <a:cubicBezTo>
                  <a:pt x="477222" y="370430"/>
                  <a:pt x="477800" y="368984"/>
                  <a:pt x="478320" y="367538"/>
                </a:cubicBezTo>
                <a:cubicBezTo>
                  <a:pt x="472015" y="358167"/>
                  <a:pt x="465826" y="344573"/>
                  <a:pt x="458306" y="340525"/>
                </a:cubicBezTo>
                <a:close/>
              </a:path>
            </a:pathLst>
          </a:custGeom>
          <a:solidFill>
            <a:schemeClr val="tx1">
              <a:lumMod val="20000"/>
              <a:lumOff val="80000"/>
            </a:schemeClr>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29" name="Forma libre: forma 228">
            <a:extLst>
              <a:ext uri="{FF2B5EF4-FFF2-40B4-BE49-F238E27FC236}">
                <a16:creationId xmlns:a16="http://schemas.microsoft.com/office/drawing/2014/main" id="{1FB7C4D3-9906-99AE-E6B7-69EFDE9EC160}"/>
              </a:ext>
            </a:extLst>
          </p:cNvPr>
          <p:cNvSpPr/>
          <p:nvPr/>
        </p:nvSpPr>
        <p:spPr>
          <a:xfrm>
            <a:off x="6963937" y="4546118"/>
            <a:ext cx="43961" cy="57613"/>
          </a:xfrm>
          <a:custGeom>
            <a:avLst/>
            <a:gdLst>
              <a:gd name="connsiteX0" fmla="*/ 3071 w 43961"/>
              <a:gd name="connsiteY0" fmla="*/ 29082 h 57613"/>
              <a:gd name="connsiteX1" fmla="*/ 9897 w 43961"/>
              <a:gd name="connsiteY1" fmla="*/ 57484 h 57613"/>
              <a:gd name="connsiteX2" fmla="*/ 21466 w 43961"/>
              <a:gd name="connsiteY2" fmla="*/ 50601 h 57613"/>
              <a:gd name="connsiteX3" fmla="*/ 43852 w 43961"/>
              <a:gd name="connsiteY3" fmla="*/ 18381 h 57613"/>
              <a:gd name="connsiteX4" fmla="*/ 36910 w 43961"/>
              <a:gd name="connsiteY4" fmla="*/ 14217 h 57613"/>
              <a:gd name="connsiteX5" fmla="*/ 35754 w 43961"/>
              <a:gd name="connsiteY5" fmla="*/ -129 h 57613"/>
              <a:gd name="connsiteX6" fmla="*/ 22912 w 43961"/>
              <a:gd name="connsiteY6" fmla="*/ 218 h 57613"/>
              <a:gd name="connsiteX7" fmla="*/ 8914 w 43961"/>
              <a:gd name="connsiteY7" fmla="*/ 8606 h 57613"/>
              <a:gd name="connsiteX8" fmla="*/ -110 w 43961"/>
              <a:gd name="connsiteY8" fmla="*/ 7796 h 57613"/>
              <a:gd name="connsiteX9" fmla="*/ 1683 w 43961"/>
              <a:gd name="connsiteY9" fmla="*/ 8374 h 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961" h="57613">
                <a:moveTo>
                  <a:pt x="3071" y="29082"/>
                </a:moveTo>
                <a:cubicBezTo>
                  <a:pt x="6079" y="38367"/>
                  <a:pt x="8336" y="47859"/>
                  <a:pt x="9897" y="57484"/>
                </a:cubicBezTo>
                <a:cubicBezTo>
                  <a:pt x="13600" y="54922"/>
                  <a:pt x="17475" y="52625"/>
                  <a:pt x="21466" y="50601"/>
                </a:cubicBezTo>
                <a:cubicBezTo>
                  <a:pt x="28465" y="47766"/>
                  <a:pt x="43852" y="18381"/>
                  <a:pt x="43852" y="18381"/>
                </a:cubicBezTo>
                <a:lnTo>
                  <a:pt x="36910" y="14217"/>
                </a:lnTo>
                <a:cubicBezTo>
                  <a:pt x="37258" y="9404"/>
                  <a:pt x="36853" y="4568"/>
                  <a:pt x="35754" y="-129"/>
                </a:cubicBezTo>
                <a:cubicBezTo>
                  <a:pt x="31473" y="322"/>
                  <a:pt x="27193" y="438"/>
                  <a:pt x="22912" y="218"/>
                </a:cubicBezTo>
                <a:cubicBezTo>
                  <a:pt x="22912" y="218"/>
                  <a:pt x="24301" y="11440"/>
                  <a:pt x="8914" y="8606"/>
                </a:cubicBezTo>
                <a:cubicBezTo>
                  <a:pt x="5906" y="8120"/>
                  <a:pt x="2898" y="7848"/>
                  <a:pt x="-110" y="7796"/>
                </a:cubicBezTo>
                <a:cubicBezTo>
                  <a:pt x="469" y="8039"/>
                  <a:pt x="1047" y="8230"/>
                  <a:pt x="1683" y="837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0" name="Forma libre: forma 229">
            <a:extLst>
              <a:ext uri="{FF2B5EF4-FFF2-40B4-BE49-F238E27FC236}">
                <a16:creationId xmlns:a16="http://schemas.microsoft.com/office/drawing/2014/main" id="{A1ABA07D-0FB1-0118-FB43-0CDC2DEC1EFB}"/>
              </a:ext>
            </a:extLst>
          </p:cNvPr>
          <p:cNvSpPr/>
          <p:nvPr/>
        </p:nvSpPr>
        <p:spPr>
          <a:xfrm>
            <a:off x="6991702" y="4771653"/>
            <a:ext cx="288887" cy="468133"/>
          </a:xfrm>
          <a:custGeom>
            <a:avLst/>
            <a:gdLst>
              <a:gd name="connsiteX0" fmla="*/ 288592 w 288887"/>
              <a:gd name="connsiteY0" fmla="*/ 119609 h 468133"/>
              <a:gd name="connsiteX1" fmla="*/ 281708 w 288887"/>
              <a:gd name="connsiteY1" fmla="*/ 66334 h 468133"/>
              <a:gd name="connsiteX2" fmla="*/ 279279 w 288887"/>
              <a:gd name="connsiteY2" fmla="*/ 912 h 468133"/>
              <a:gd name="connsiteX3" fmla="*/ 279279 w 288887"/>
              <a:gd name="connsiteY3" fmla="*/ -129 h 468133"/>
              <a:gd name="connsiteX4" fmla="*/ 250357 w 288887"/>
              <a:gd name="connsiteY4" fmla="*/ 15431 h 468133"/>
              <a:gd name="connsiteX5" fmla="*/ 230979 w 288887"/>
              <a:gd name="connsiteY5" fmla="*/ 20290 h 468133"/>
              <a:gd name="connsiteX6" fmla="*/ 214840 w 288887"/>
              <a:gd name="connsiteY6" fmla="*/ 19480 h 468133"/>
              <a:gd name="connsiteX7" fmla="*/ 205932 w 288887"/>
              <a:gd name="connsiteY7" fmla="*/ 29950 h 468133"/>
              <a:gd name="connsiteX8" fmla="*/ 189736 w 288887"/>
              <a:gd name="connsiteY8" fmla="*/ 31570 h 468133"/>
              <a:gd name="connsiteX9" fmla="*/ 166309 w 288887"/>
              <a:gd name="connsiteY9" fmla="*/ 34809 h 468133"/>
              <a:gd name="connsiteX10" fmla="*/ 157458 w 288887"/>
              <a:gd name="connsiteY10" fmla="*/ 26769 h 468133"/>
              <a:gd name="connsiteX11" fmla="*/ 141262 w 288887"/>
              <a:gd name="connsiteY11" fmla="*/ 29950 h 468133"/>
              <a:gd name="connsiteX12" fmla="*/ 125818 w 288887"/>
              <a:gd name="connsiteY12" fmla="*/ 28388 h 468133"/>
              <a:gd name="connsiteX13" fmla="*/ 124314 w 288887"/>
              <a:gd name="connsiteY13" fmla="*/ 37875 h 468133"/>
              <a:gd name="connsiteX14" fmla="*/ 135882 w 288887"/>
              <a:gd name="connsiteY14" fmla="*/ 95719 h 468133"/>
              <a:gd name="connsiteX15" fmla="*/ 152426 w 288887"/>
              <a:gd name="connsiteY15" fmla="*/ 111684 h 468133"/>
              <a:gd name="connsiteX16" fmla="*/ 153236 w 288887"/>
              <a:gd name="connsiteY16" fmla="*/ 139160 h 468133"/>
              <a:gd name="connsiteX17" fmla="*/ 137907 w 288887"/>
              <a:gd name="connsiteY17" fmla="*/ 156918 h 468133"/>
              <a:gd name="connsiteX18" fmla="*/ 135478 w 288887"/>
              <a:gd name="connsiteY18" fmla="*/ 181965 h 468133"/>
              <a:gd name="connsiteX19" fmla="*/ 110431 w 288887"/>
              <a:gd name="connsiteY19" fmla="*/ 148820 h 468133"/>
              <a:gd name="connsiteX20" fmla="*/ 116215 w 288887"/>
              <a:gd name="connsiteY20" fmla="*/ 113304 h 468133"/>
              <a:gd name="connsiteX21" fmla="*/ 94409 w 288887"/>
              <a:gd name="connsiteY21" fmla="*/ 110007 h 468133"/>
              <a:gd name="connsiteX22" fmla="*/ 75782 w 288887"/>
              <a:gd name="connsiteY22" fmla="*/ 97107 h 468133"/>
              <a:gd name="connsiteX23" fmla="*/ -110 w 288887"/>
              <a:gd name="connsiteY23" fmla="*/ 124583 h 468133"/>
              <a:gd name="connsiteX24" fmla="*/ 5675 w 288887"/>
              <a:gd name="connsiteY24" fmla="*/ 144771 h 468133"/>
              <a:gd name="connsiteX25" fmla="*/ 3708 w 288887"/>
              <a:gd name="connsiteY25" fmla="*/ 144771 h 468133"/>
              <a:gd name="connsiteX26" fmla="*/ 7757 w 288887"/>
              <a:gd name="connsiteY26" fmla="*/ 153621 h 468133"/>
              <a:gd name="connsiteX27" fmla="*/ 42869 w 288887"/>
              <a:gd name="connsiteY27" fmla="*/ 162067 h 468133"/>
              <a:gd name="connsiteX28" fmla="*/ 74336 w 288887"/>
              <a:gd name="connsiteY28" fmla="*/ 172999 h 468133"/>
              <a:gd name="connsiteX29" fmla="*/ 75551 w 288887"/>
              <a:gd name="connsiteY29" fmla="*/ 215399 h 468133"/>
              <a:gd name="connsiteX30" fmla="*/ 68321 w 288887"/>
              <a:gd name="connsiteY30" fmla="*/ 239636 h 468133"/>
              <a:gd name="connsiteX31" fmla="*/ 76766 w 288887"/>
              <a:gd name="connsiteY31" fmla="*/ 260228 h 468133"/>
              <a:gd name="connsiteX32" fmla="*/ 62247 w 288887"/>
              <a:gd name="connsiteY32" fmla="*/ 280821 h 468133"/>
              <a:gd name="connsiteX33" fmla="*/ 54958 w 288887"/>
              <a:gd name="connsiteY33" fmla="*/ 307429 h 468133"/>
              <a:gd name="connsiteX34" fmla="*/ 27251 w 288887"/>
              <a:gd name="connsiteY34" fmla="*/ 335079 h 468133"/>
              <a:gd name="connsiteX35" fmla="*/ 28292 w 288887"/>
              <a:gd name="connsiteY35" fmla="*/ 335889 h 468133"/>
              <a:gd name="connsiteX36" fmla="*/ 45298 w 288887"/>
              <a:gd name="connsiteY36" fmla="*/ 386792 h 468133"/>
              <a:gd name="connsiteX37" fmla="*/ 47728 w 288887"/>
              <a:gd name="connsiteY37" fmla="*/ 436538 h 468133"/>
              <a:gd name="connsiteX38" fmla="*/ 50736 w 288887"/>
              <a:gd name="connsiteY38" fmla="*/ 468005 h 468133"/>
              <a:gd name="connsiteX39" fmla="*/ 71097 w 288887"/>
              <a:gd name="connsiteY39" fmla="*/ 466443 h 468133"/>
              <a:gd name="connsiteX40" fmla="*/ 72370 w 288887"/>
              <a:gd name="connsiteY40" fmla="*/ 452850 h 468133"/>
              <a:gd name="connsiteX41" fmla="*/ 61437 w 288887"/>
              <a:gd name="connsiteY41" fmla="*/ 442322 h 468133"/>
              <a:gd name="connsiteX42" fmla="*/ 104300 w 288887"/>
              <a:gd name="connsiteY42" fmla="*/ 410855 h 468133"/>
              <a:gd name="connsiteX43" fmla="*/ 138601 w 288887"/>
              <a:gd name="connsiteY43" fmla="*/ 389453 h 468133"/>
              <a:gd name="connsiteX44" fmla="*/ 141378 w 288887"/>
              <a:gd name="connsiteY44" fmla="*/ 349829 h 468133"/>
              <a:gd name="connsiteX45" fmla="*/ 136577 w 288887"/>
              <a:gd name="connsiteY45" fmla="*/ 315527 h 468133"/>
              <a:gd name="connsiteX46" fmla="*/ 123273 w 288887"/>
              <a:gd name="connsiteY46" fmla="*/ 280821 h 468133"/>
              <a:gd name="connsiteX47" fmla="*/ 127726 w 288887"/>
              <a:gd name="connsiteY47" fmla="*/ 260228 h 468133"/>
              <a:gd name="connsiteX48" fmla="*/ 140221 w 288887"/>
              <a:gd name="connsiteY48" fmla="*/ 245709 h 468133"/>
              <a:gd name="connsiteX49" fmla="*/ 163358 w 288887"/>
              <a:gd name="connsiteY49" fmla="*/ 231133 h 468133"/>
              <a:gd name="connsiteX50" fmla="*/ 192281 w 288887"/>
              <a:gd name="connsiteY50" fmla="*/ 199665 h 468133"/>
              <a:gd name="connsiteX51" fmla="*/ 245556 w 288887"/>
              <a:gd name="connsiteY51" fmla="*/ 176528 h 468133"/>
              <a:gd name="connsiteX52" fmla="*/ 288592 w 288887"/>
              <a:gd name="connsiteY52" fmla="*/ 119609 h 46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88887" h="468133">
                <a:moveTo>
                  <a:pt x="288592" y="119609"/>
                </a:moveTo>
                <a:cubicBezTo>
                  <a:pt x="283733" y="102279"/>
                  <a:pt x="281419" y="84336"/>
                  <a:pt x="281708" y="66334"/>
                </a:cubicBezTo>
                <a:cubicBezTo>
                  <a:pt x="283327" y="53030"/>
                  <a:pt x="279279" y="17861"/>
                  <a:pt x="279279" y="912"/>
                </a:cubicBezTo>
                <a:cubicBezTo>
                  <a:pt x="279279" y="508"/>
                  <a:pt x="279279" y="218"/>
                  <a:pt x="279279" y="-129"/>
                </a:cubicBezTo>
                <a:cubicBezTo>
                  <a:pt x="265916" y="5945"/>
                  <a:pt x="251571" y="12886"/>
                  <a:pt x="250357" y="15431"/>
                </a:cubicBezTo>
                <a:cubicBezTo>
                  <a:pt x="247927" y="20290"/>
                  <a:pt x="237457" y="14622"/>
                  <a:pt x="230979" y="20290"/>
                </a:cubicBezTo>
                <a:cubicBezTo>
                  <a:pt x="224500" y="25959"/>
                  <a:pt x="220451" y="21100"/>
                  <a:pt x="214840" y="19480"/>
                </a:cubicBezTo>
                <a:cubicBezTo>
                  <a:pt x="209229" y="17861"/>
                  <a:pt x="206684" y="25265"/>
                  <a:pt x="205932" y="29950"/>
                </a:cubicBezTo>
                <a:cubicBezTo>
                  <a:pt x="205180" y="34635"/>
                  <a:pt x="193843" y="32379"/>
                  <a:pt x="189736" y="31570"/>
                </a:cubicBezTo>
                <a:cubicBezTo>
                  <a:pt x="185628" y="30760"/>
                  <a:pt x="172845" y="34809"/>
                  <a:pt x="166309" y="34809"/>
                </a:cubicBezTo>
                <a:cubicBezTo>
                  <a:pt x="159772" y="34809"/>
                  <a:pt x="164689" y="29025"/>
                  <a:pt x="157458" y="26769"/>
                </a:cubicBezTo>
                <a:cubicBezTo>
                  <a:pt x="150228" y="24513"/>
                  <a:pt x="145369" y="29950"/>
                  <a:pt x="141262" y="29950"/>
                </a:cubicBezTo>
                <a:cubicBezTo>
                  <a:pt x="138890" y="29950"/>
                  <a:pt x="131313" y="29083"/>
                  <a:pt x="125818" y="28388"/>
                </a:cubicBezTo>
                <a:cubicBezTo>
                  <a:pt x="125875" y="31610"/>
                  <a:pt x="125355" y="34820"/>
                  <a:pt x="124314" y="37875"/>
                </a:cubicBezTo>
                <a:cubicBezTo>
                  <a:pt x="119050" y="51526"/>
                  <a:pt x="135246" y="82531"/>
                  <a:pt x="135882" y="95719"/>
                </a:cubicBezTo>
                <a:cubicBezTo>
                  <a:pt x="141783" y="100636"/>
                  <a:pt x="147278" y="105969"/>
                  <a:pt x="152426" y="111684"/>
                </a:cubicBezTo>
                <a:cubicBezTo>
                  <a:pt x="159656" y="120592"/>
                  <a:pt x="152426" y="119725"/>
                  <a:pt x="153236" y="139160"/>
                </a:cubicBezTo>
                <a:cubicBezTo>
                  <a:pt x="154046" y="158596"/>
                  <a:pt x="145195" y="150440"/>
                  <a:pt x="137907" y="156918"/>
                </a:cubicBezTo>
                <a:cubicBezTo>
                  <a:pt x="130618" y="163397"/>
                  <a:pt x="137040" y="177858"/>
                  <a:pt x="135478" y="181965"/>
                </a:cubicBezTo>
                <a:cubicBezTo>
                  <a:pt x="133916" y="186072"/>
                  <a:pt x="112340" y="153679"/>
                  <a:pt x="110431" y="148820"/>
                </a:cubicBezTo>
                <a:cubicBezTo>
                  <a:pt x="108522" y="143961"/>
                  <a:pt x="118529" y="124583"/>
                  <a:pt x="116215" y="113304"/>
                </a:cubicBezTo>
                <a:cubicBezTo>
                  <a:pt x="113902" y="102024"/>
                  <a:pt x="99209" y="109255"/>
                  <a:pt x="94409" y="110007"/>
                </a:cubicBezTo>
                <a:cubicBezTo>
                  <a:pt x="89607" y="110759"/>
                  <a:pt x="78212" y="97107"/>
                  <a:pt x="75782" y="97107"/>
                </a:cubicBezTo>
                <a:cubicBezTo>
                  <a:pt x="73353" y="97107"/>
                  <a:pt x="-110" y="124583"/>
                  <a:pt x="-110" y="124583"/>
                </a:cubicBezTo>
                <a:lnTo>
                  <a:pt x="5675" y="144771"/>
                </a:lnTo>
                <a:lnTo>
                  <a:pt x="3708" y="144771"/>
                </a:lnTo>
                <a:lnTo>
                  <a:pt x="7757" y="153621"/>
                </a:lnTo>
                <a:cubicBezTo>
                  <a:pt x="7757" y="153621"/>
                  <a:pt x="31936" y="154836"/>
                  <a:pt x="42869" y="162067"/>
                </a:cubicBezTo>
                <a:cubicBezTo>
                  <a:pt x="53802" y="169297"/>
                  <a:pt x="70750" y="170570"/>
                  <a:pt x="74336" y="172999"/>
                </a:cubicBezTo>
                <a:cubicBezTo>
                  <a:pt x="77922" y="175429"/>
                  <a:pt x="74336" y="201921"/>
                  <a:pt x="75551" y="215399"/>
                </a:cubicBezTo>
                <a:cubicBezTo>
                  <a:pt x="76766" y="228877"/>
                  <a:pt x="61032" y="232347"/>
                  <a:pt x="68321" y="239636"/>
                </a:cubicBezTo>
                <a:cubicBezTo>
                  <a:pt x="75609" y="246924"/>
                  <a:pt x="71907" y="259014"/>
                  <a:pt x="76766" y="260228"/>
                </a:cubicBezTo>
                <a:cubicBezTo>
                  <a:pt x="81624" y="261443"/>
                  <a:pt x="68321" y="277177"/>
                  <a:pt x="62247" y="280821"/>
                </a:cubicBezTo>
                <a:cubicBezTo>
                  <a:pt x="56173" y="284465"/>
                  <a:pt x="62247" y="297827"/>
                  <a:pt x="54958" y="307429"/>
                </a:cubicBezTo>
                <a:cubicBezTo>
                  <a:pt x="46166" y="317107"/>
                  <a:pt x="36969" y="326333"/>
                  <a:pt x="27251" y="335079"/>
                </a:cubicBezTo>
                <a:cubicBezTo>
                  <a:pt x="27656" y="335275"/>
                  <a:pt x="28003" y="335553"/>
                  <a:pt x="28292" y="335889"/>
                </a:cubicBezTo>
                <a:cubicBezTo>
                  <a:pt x="30780" y="340169"/>
                  <a:pt x="38010" y="382627"/>
                  <a:pt x="45298" y="386792"/>
                </a:cubicBezTo>
                <a:cubicBezTo>
                  <a:pt x="52587" y="390957"/>
                  <a:pt x="48306" y="433067"/>
                  <a:pt x="47728" y="436538"/>
                </a:cubicBezTo>
                <a:cubicBezTo>
                  <a:pt x="47150" y="440008"/>
                  <a:pt x="50736" y="468005"/>
                  <a:pt x="50736" y="468005"/>
                </a:cubicBezTo>
                <a:cubicBezTo>
                  <a:pt x="57504" y="467004"/>
                  <a:pt x="64271" y="466484"/>
                  <a:pt x="71097" y="466443"/>
                </a:cubicBezTo>
                <a:cubicBezTo>
                  <a:pt x="71733" y="460659"/>
                  <a:pt x="72196" y="456147"/>
                  <a:pt x="72370" y="452850"/>
                </a:cubicBezTo>
                <a:cubicBezTo>
                  <a:pt x="73179" y="439950"/>
                  <a:pt x="64271" y="450420"/>
                  <a:pt x="61437" y="442322"/>
                </a:cubicBezTo>
                <a:cubicBezTo>
                  <a:pt x="58603" y="434224"/>
                  <a:pt x="81220" y="419185"/>
                  <a:pt x="104300" y="410855"/>
                </a:cubicBezTo>
                <a:cubicBezTo>
                  <a:pt x="127380" y="402525"/>
                  <a:pt x="136172" y="397551"/>
                  <a:pt x="138601" y="389453"/>
                </a:cubicBezTo>
                <a:cubicBezTo>
                  <a:pt x="141031" y="381354"/>
                  <a:pt x="138196" y="358795"/>
                  <a:pt x="141378" y="349829"/>
                </a:cubicBezTo>
                <a:cubicBezTo>
                  <a:pt x="144559" y="340863"/>
                  <a:pt x="139411" y="335715"/>
                  <a:pt x="136577" y="315527"/>
                </a:cubicBezTo>
                <a:cubicBezTo>
                  <a:pt x="133742" y="295340"/>
                  <a:pt x="126454" y="292100"/>
                  <a:pt x="123273" y="280821"/>
                </a:cubicBezTo>
                <a:cubicBezTo>
                  <a:pt x="120091" y="269541"/>
                  <a:pt x="120785" y="260633"/>
                  <a:pt x="127726" y="260228"/>
                </a:cubicBezTo>
                <a:cubicBezTo>
                  <a:pt x="134668" y="259823"/>
                  <a:pt x="134494" y="256584"/>
                  <a:pt x="140221" y="245709"/>
                </a:cubicBezTo>
                <a:cubicBezTo>
                  <a:pt x="145947" y="234834"/>
                  <a:pt x="152310" y="239231"/>
                  <a:pt x="163358" y="231133"/>
                </a:cubicBezTo>
                <a:cubicBezTo>
                  <a:pt x="174407" y="223034"/>
                  <a:pt x="174927" y="212970"/>
                  <a:pt x="192281" y="199665"/>
                </a:cubicBezTo>
                <a:cubicBezTo>
                  <a:pt x="209634" y="186361"/>
                  <a:pt x="228607" y="186708"/>
                  <a:pt x="245556" y="176528"/>
                </a:cubicBezTo>
                <a:cubicBezTo>
                  <a:pt x="262504" y="166347"/>
                  <a:pt x="291368" y="126897"/>
                  <a:pt x="288592" y="11960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1" name="Forma libre: forma 230">
            <a:extLst>
              <a:ext uri="{FF2B5EF4-FFF2-40B4-BE49-F238E27FC236}">
                <a16:creationId xmlns:a16="http://schemas.microsoft.com/office/drawing/2014/main" id="{0A49A4E9-C76E-7FD6-256C-51EBB46363FD}"/>
              </a:ext>
            </a:extLst>
          </p:cNvPr>
          <p:cNvSpPr/>
          <p:nvPr/>
        </p:nvSpPr>
        <p:spPr>
          <a:xfrm>
            <a:off x="6974118" y="4505396"/>
            <a:ext cx="296740" cy="301021"/>
          </a:xfrm>
          <a:custGeom>
            <a:avLst/>
            <a:gdLst>
              <a:gd name="connsiteX0" fmla="*/ 277485 w 296740"/>
              <a:gd name="connsiteY0" fmla="*/ 241313 h 301021"/>
              <a:gd name="connsiteX1" fmla="*/ 267420 w 296740"/>
              <a:gd name="connsiteY1" fmla="*/ 213432 h 301021"/>
              <a:gd name="connsiteX2" fmla="*/ 264586 w 296740"/>
              <a:gd name="connsiteY2" fmla="*/ 190815 h 301021"/>
              <a:gd name="connsiteX3" fmla="*/ 269387 w 296740"/>
              <a:gd name="connsiteY3" fmla="*/ 170223 h 301021"/>
              <a:gd name="connsiteX4" fmla="*/ 254868 w 296740"/>
              <a:gd name="connsiteY4" fmla="*/ 147085 h 301021"/>
              <a:gd name="connsiteX5" fmla="*/ 266899 w 296740"/>
              <a:gd name="connsiteY5" fmla="*/ 105610 h 301021"/>
              <a:gd name="connsiteX6" fmla="*/ 221087 w 296740"/>
              <a:gd name="connsiteY6" fmla="*/ 72986 h 301021"/>
              <a:gd name="connsiteX7" fmla="*/ 222475 w 296740"/>
              <a:gd name="connsiteY7" fmla="*/ 56211 h 301021"/>
              <a:gd name="connsiteX8" fmla="*/ 119280 w 296740"/>
              <a:gd name="connsiteY8" fmla="*/ 1433 h 301021"/>
              <a:gd name="connsiteX9" fmla="*/ 106035 w 296740"/>
              <a:gd name="connsiteY9" fmla="*/ 27173 h 301021"/>
              <a:gd name="connsiteX10" fmla="*/ 107885 w 296740"/>
              <a:gd name="connsiteY10" fmla="*/ 44122 h 301021"/>
              <a:gd name="connsiteX11" fmla="*/ 63634 w 296740"/>
              <a:gd name="connsiteY11" fmla="*/ 41634 h 301021"/>
              <a:gd name="connsiteX12" fmla="*/ 63634 w 296740"/>
              <a:gd name="connsiteY12" fmla="*/ -129 h 301021"/>
              <a:gd name="connsiteX13" fmla="*/ 40844 w 296740"/>
              <a:gd name="connsiteY13" fmla="*/ 1722 h 301021"/>
              <a:gd name="connsiteX14" fmla="*/ 28003 w 296740"/>
              <a:gd name="connsiteY14" fmla="*/ 5135 h 301021"/>
              <a:gd name="connsiteX15" fmla="*/ 32457 w 296740"/>
              <a:gd name="connsiteY15" fmla="*/ 17051 h 301021"/>
              <a:gd name="connsiteX16" fmla="*/ 36679 w 296740"/>
              <a:gd name="connsiteY16" fmla="*/ 35272 h 301021"/>
              <a:gd name="connsiteX17" fmla="*/ 25747 w 296740"/>
              <a:gd name="connsiteY17" fmla="*/ 40478 h 301021"/>
              <a:gd name="connsiteX18" fmla="*/ 26903 w 296740"/>
              <a:gd name="connsiteY18" fmla="*/ 54823 h 301021"/>
              <a:gd name="connsiteX19" fmla="*/ 33845 w 296740"/>
              <a:gd name="connsiteY19" fmla="*/ 58988 h 301021"/>
              <a:gd name="connsiteX20" fmla="*/ 11459 w 296740"/>
              <a:gd name="connsiteY20" fmla="*/ 91207 h 301021"/>
              <a:gd name="connsiteX21" fmla="*/ -110 w 296740"/>
              <a:gd name="connsiteY21" fmla="*/ 98090 h 301021"/>
              <a:gd name="connsiteX22" fmla="*/ 16550 w 296740"/>
              <a:gd name="connsiteY22" fmla="*/ 150150 h 301021"/>
              <a:gd name="connsiteX23" fmla="*/ 31126 w 296740"/>
              <a:gd name="connsiteY23" fmla="*/ 185898 h 301021"/>
              <a:gd name="connsiteX24" fmla="*/ 37778 w 296740"/>
              <a:gd name="connsiteY24" fmla="*/ 207706 h 301021"/>
              <a:gd name="connsiteX25" fmla="*/ 22565 w 296740"/>
              <a:gd name="connsiteY25" fmla="*/ 196137 h 301021"/>
              <a:gd name="connsiteX26" fmla="*/ 20830 w 296740"/>
              <a:gd name="connsiteY26" fmla="*/ 200359 h 301021"/>
              <a:gd name="connsiteX27" fmla="*/ 19789 w 296740"/>
              <a:gd name="connsiteY27" fmla="*/ 201516 h 301021"/>
              <a:gd name="connsiteX28" fmla="*/ 39514 w 296740"/>
              <a:gd name="connsiteY28" fmla="*/ 212738 h 301021"/>
              <a:gd name="connsiteX29" fmla="*/ 64676 w 296740"/>
              <a:gd name="connsiteY29" fmla="*/ 222572 h 301021"/>
              <a:gd name="connsiteX30" fmla="*/ 99382 w 296740"/>
              <a:gd name="connsiteY30" fmla="*/ 237900 h 301021"/>
              <a:gd name="connsiteX31" fmla="*/ 101118 w 296740"/>
              <a:gd name="connsiteY31" fmla="*/ 240619 h 301021"/>
              <a:gd name="connsiteX32" fmla="*/ 119512 w 296740"/>
              <a:gd name="connsiteY32" fmla="*/ 240619 h 301021"/>
              <a:gd name="connsiteX33" fmla="*/ 123504 w 296740"/>
              <a:gd name="connsiteY33" fmla="*/ 239115 h 301021"/>
              <a:gd name="connsiteX34" fmla="*/ 143170 w 296740"/>
              <a:gd name="connsiteY34" fmla="*/ 294472 h 301021"/>
              <a:gd name="connsiteX35" fmla="*/ 158615 w 296740"/>
              <a:gd name="connsiteY35" fmla="*/ 296034 h 301021"/>
              <a:gd name="connsiteX36" fmla="*/ 174812 w 296740"/>
              <a:gd name="connsiteY36" fmla="*/ 292852 h 301021"/>
              <a:gd name="connsiteX37" fmla="*/ 183661 w 296740"/>
              <a:gd name="connsiteY37" fmla="*/ 300893 h 301021"/>
              <a:gd name="connsiteX38" fmla="*/ 207088 w 296740"/>
              <a:gd name="connsiteY38" fmla="*/ 297653 h 301021"/>
              <a:gd name="connsiteX39" fmla="*/ 223285 w 296740"/>
              <a:gd name="connsiteY39" fmla="*/ 296034 h 301021"/>
              <a:gd name="connsiteX40" fmla="*/ 232193 w 296740"/>
              <a:gd name="connsiteY40" fmla="*/ 285564 h 301021"/>
              <a:gd name="connsiteX41" fmla="*/ 248331 w 296740"/>
              <a:gd name="connsiteY41" fmla="*/ 286374 h 301021"/>
              <a:gd name="connsiteX42" fmla="*/ 267709 w 296740"/>
              <a:gd name="connsiteY42" fmla="*/ 281515 h 301021"/>
              <a:gd name="connsiteX43" fmla="*/ 296631 w 296740"/>
              <a:gd name="connsiteY43" fmla="*/ 265955 h 301021"/>
              <a:gd name="connsiteX44" fmla="*/ 277485 w 296740"/>
              <a:gd name="connsiteY44" fmla="*/ 241313 h 30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96740" h="301021">
                <a:moveTo>
                  <a:pt x="277485" y="241313"/>
                </a:moveTo>
                <a:cubicBezTo>
                  <a:pt x="276675" y="224770"/>
                  <a:pt x="267015" y="224770"/>
                  <a:pt x="267420" y="213432"/>
                </a:cubicBezTo>
                <a:cubicBezTo>
                  <a:pt x="267825" y="202094"/>
                  <a:pt x="268635" y="192030"/>
                  <a:pt x="264586" y="190815"/>
                </a:cubicBezTo>
                <a:cubicBezTo>
                  <a:pt x="260536" y="189600"/>
                  <a:pt x="262966" y="179940"/>
                  <a:pt x="269387" y="170223"/>
                </a:cubicBezTo>
                <a:cubicBezTo>
                  <a:pt x="275807" y="160505"/>
                  <a:pt x="257818" y="159348"/>
                  <a:pt x="254868" y="147085"/>
                </a:cubicBezTo>
                <a:cubicBezTo>
                  <a:pt x="253711" y="141937"/>
                  <a:pt x="259438" y="124525"/>
                  <a:pt x="266899" y="105610"/>
                </a:cubicBezTo>
                <a:cubicBezTo>
                  <a:pt x="244283" y="89993"/>
                  <a:pt x="221087" y="72986"/>
                  <a:pt x="221087" y="72986"/>
                </a:cubicBezTo>
                <a:lnTo>
                  <a:pt x="222475" y="56211"/>
                </a:lnTo>
                <a:lnTo>
                  <a:pt x="119280" y="1433"/>
                </a:lnTo>
                <a:cubicBezTo>
                  <a:pt x="118586" y="14043"/>
                  <a:pt x="113496" y="23761"/>
                  <a:pt x="106035" y="27173"/>
                </a:cubicBezTo>
                <a:cubicBezTo>
                  <a:pt x="98572" y="30586"/>
                  <a:pt x="116967" y="42271"/>
                  <a:pt x="107885" y="44122"/>
                </a:cubicBezTo>
                <a:cubicBezTo>
                  <a:pt x="98804" y="45973"/>
                  <a:pt x="78211" y="35619"/>
                  <a:pt x="63634" y="41634"/>
                </a:cubicBezTo>
                <a:cubicBezTo>
                  <a:pt x="53917" y="45799"/>
                  <a:pt x="55883" y="21331"/>
                  <a:pt x="63634" y="-129"/>
                </a:cubicBezTo>
                <a:lnTo>
                  <a:pt x="40844" y="1722"/>
                </a:lnTo>
                <a:cubicBezTo>
                  <a:pt x="40844" y="1722"/>
                  <a:pt x="34655" y="3226"/>
                  <a:pt x="28003" y="5135"/>
                </a:cubicBezTo>
                <a:lnTo>
                  <a:pt x="32457" y="17051"/>
                </a:lnTo>
                <a:cubicBezTo>
                  <a:pt x="35349" y="22673"/>
                  <a:pt x="36852" y="28938"/>
                  <a:pt x="36679" y="35272"/>
                </a:cubicBezTo>
                <a:cubicBezTo>
                  <a:pt x="36043" y="38453"/>
                  <a:pt x="30895" y="39841"/>
                  <a:pt x="25747" y="40478"/>
                </a:cubicBezTo>
                <a:cubicBezTo>
                  <a:pt x="26845" y="45174"/>
                  <a:pt x="27251" y="50010"/>
                  <a:pt x="26903" y="54823"/>
                </a:cubicBezTo>
                <a:lnTo>
                  <a:pt x="33845" y="58988"/>
                </a:lnTo>
                <a:cubicBezTo>
                  <a:pt x="33845" y="58988"/>
                  <a:pt x="18458" y="88373"/>
                  <a:pt x="11459" y="91207"/>
                </a:cubicBezTo>
                <a:cubicBezTo>
                  <a:pt x="7468" y="93232"/>
                  <a:pt x="3592" y="95528"/>
                  <a:pt x="-110" y="98090"/>
                </a:cubicBezTo>
                <a:cubicBezTo>
                  <a:pt x="3997" y="118741"/>
                  <a:pt x="9030" y="143267"/>
                  <a:pt x="16550" y="150150"/>
                </a:cubicBezTo>
                <a:cubicBezTo>
                  <a:pt x="30490" y="162876"/>
                  <a:pt x="28119" y="177395"/>
                  <a:pt x="31126" y="185898"/>
                </a:cubicBezTo>
                <a:cubicBezTo>
                  <a:pt x="34134" y="194401"/>
                  <a:pt x="46224" y="204061"/>
                  <a:pt x="37778" y="207706"/>
                </a:cubicBezTo>
                <a:cubicBezTo>
                  <a:pt x="31994" y="210019"/>
                  <a:pt x="27424" y="204119"/>
                  <a:pt x="22565" y="196137"/>
                </a:cubicBezTo>
                <a:cubicBezTo>
                  <a:pt x="22045" y="197583"/>
                  <a:pt x="21466" y="199029"/>
                  <a:pt x="20830" y="200359"/>
                </a:cubicBezTo>
                <a:cubicBezTo>
                  <a:pt x="20541" y="200787"/>
                  <a:pt x="20194" y="201175"/>
                  <a:pt x="19789" y="201516"/>
                </a:cubicBezTo>
                <a:cubicBezTo>
                  <a:pt x="27193" y="206953"/>
                  <a:pt x="35869" y="212738"/>
                  <a:pt x="39514" y="212738"/>
                </a:cubicBezTo>
                <a:cubicBezTo>
                  <a:pt x="46513" y="212738"/>
                  <a:pt x="57677" y="221125"/>
                  <a:pt x="64676" y="222572"/>
                </a:cubicBezTo>
                <a:cubicBezTo>
                  <a:pt x="71675" y="224018"/>
                  <a:pt x="96548" y="234140"/>
                  <a:pt x="99382" y="237900"/>
                </a:cubicBezTo>
                <a:lnTo>
                  <a:pt x="101118" y="240619"/>
                </a:lnTo>
                <a:cubicBezTo>
                  <a:pt x="107249" y="240185"/>
                  <a:pt x="113381" y="240185"/>
                  <a:pt x="119512" y="240619"/>
                </a:cubicBezTo>
                <a:cubicBezTo>
                  <a:pt x="120611" y="239630"/>
                  <a:pt x="122058" y="239092"/>
                  <a:pt x="123504" y="239115"/>
                </a:cubicBezTo>
                <a:cubicBezTo>
                  <a:pt x="132759" y="239115"/>
                  <a:pt x="143633" y="274111"/>
                  <a:pt x="143170" y="294472"/>
                </a:cubicBezTo>
                <a:cubicBezTo>
                  <a:pt x="148955" y="295166"/>
                  <a:pt x="156243" y="296034"/>
                  <a:pt x="158615" y="296034"/>
                </a:cubicBezTo>
                <a:cubicBezTo>
                  <a:pt x="162722" y="296034"/>
                  <a:pt x="167523" y="290249"/>
                  <a:pt x="174812" y="292852"/>
                </a:cubicBezTo>
                <a:cubicBezTo>
                  <a:pt x="182100" y="295455"/>
                  <a:pt x="177183" y="300893"/>
                  <a:pt x="183661" y="300893"/>
                </a:cubicBezTo>
                <a:cubicBezTo>
                  <a:pt x="190140" y="300893"/>
                  <a:pt x="203097" y="296901"/>
                  <a:pt x="207088" y="297653"/>
                </a:cubicBezTo>
                <a:cubicBezTo>
                  <a:pt x="211080" y="298405"/>
                  <a:pt x="222475" y="300893"/>
                  <a:pt x="223285" y="296034"/>
                </a:cubicBezTo>
                <a:cubicBezTo>
                  <a:pt x="224095" y="291175"/>
                  <a:pt x="226524" y="283944"/>
                  <a:pt x="232193" y="285564"/>
                </a:cubicBezTo>
                <a:cubicBezTo>
                  <a:pt x="237861" y="287184"/>
                  <a:pt x="241795" y="291985"/>
                  <a:pt x="248331" y="286374"/>
                </a:cubicBezTo>
                <a:cubicBezTo>
                  <a:pt x="254868" y="280763"/>
                  <a:pt x="265280" y="286374"/>
                  <a:pt x="267709" y="281515"/>
                </a:cubicBezTo>
                <a:cubicBezTo>
                  <a:pt x="268981" y="278970"/>
                  <a:pt x="283327" y="272028"/>
                  <a:pt x="296631" y="265955"/>
                </a:cubicBezTo>
                <a:cubicBezTo>
                  <a:pt x="296053" y="250568"/>
                  <a:pt x="278295" y="257509"/>
                  <a:pt x="277485" y="24131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2" name="Forma libre: forma 231">
            <a:extLst>
              <a:ext uri="{FF2B5EF4-FFF2-40B4-BE49-F238E27FC236}">
                <a16:creationId xmlns:a16="http://schemas.microsoft.com/office/drawing/2014/main" id="{857CAE87-2D4A-62C4-8A0B-12398EDF08E4}"/>
              </a:ext>
            </a:extLst>
          </p:cNvPr>
          <p:cNvSpPr/>
          <p:nvPr/>
        </p:nvSpPr>
        <p:spPr>
          <a:xfrm>
            <a:off x="7062098" y="4745992"/>
            <a:ext cx="85428" cy="208269"/>
          </a:xfrm>
          <a:custGeom>
            <a:avLst/>
            <a:gdLst>
              <a:gd name="connsiteX0" fmla="*/ 82088 w 85428"/>
              <a:gd name="connsiteY0" fmla="*/ 137229 h 208269"/>
              <a:gd name="connsiteX1" fmla="*/ 65544 w 85428"/>
              <a:gd name="connsiteY1" fmla="*/ 121265 h 208269"/>
              <a:gd name="connsiteX2" fmla="*/ 64676 w 85428"/>
              <a:gd name="connsiteY2" fmla="*/ 125892 h 208269"/>
              <a:gd name="connsiteX3" fmla="*/ 35060 w 85428"/>
              <a:gd name="connsiteY3" fmla="*/ 84070 h 208269"/>
              <a:gd name="connsiteX4" fmla="*/ 38068 w 85428"/>
              <a:gd name="connsiteY4" fmla="*/ 35655 h 208269"/>
              <a:gd name="connsiteX5" fmla="*/ 31647 w 85428"/>
              <a:gd name="connsiteY5" fmla="*/ 196 h 208269"/>
              <a:gd name="connsiteX6" fmla="*/ 13253 w 85428"/>
              <a:gd name="connsiteY6" fmla="*/ 196 h 208269"/>
              <a:gd name="connsiteX7" fmla="*/ 24070 w 85428"/>
              <a:gd name="connsiteY7" fmla="*/ 26863 h 208269"/>
              <a:gd name="connsiteX8" fmla="*/ 14236 w 85428"/>
              <a:gd name="connsiteY8" fmla="*/ 32647 h 208269"/>
              <a:gd name="connsiteX9" fmla="*/ 15625 w 85428"/>
              <a:gd name="connsiteY9" fmla="*/ 77419 h 208269"/>
              <a:gd name="connsiteX10" fmla="*/ 4461 w 85428"/>
              <a:gd name="connsiteY10" fmla="*/ 84417 h 208269"/>
              <a:gd name="connsiteX11" fmla="*/ 296 w 85428"/>
              <a:gd name="connsiteY11" fmla="*/ 110968 h 208269"/>
              <a:gd name="connsiteX12" fmla="*/ 5097 w 85428"/>
              <a:gd name="connsiteY12" fmla="*/ 122942 h 208269"/>
              <a:gd name="connsiteX13" fmla="*/ 5097 w 85428"/>
              <a:gd name="connsiteY13" fmla="*/ 122942 h 208269"/>
              <a:gd name="connsiteX14" fmla="*/ 23723 w 85428"/>
              <a:gd name="connsiteY14" fmla="*/ 135841 h 208269"/>
              <a:gd name="connsiteX15" fmla="*/ 45530 w 85428"/>
              <a:gd name="connsiteY15" fmla="*/ 139138 h 208269"/>
              <a:gd name="connsiteX16" fmla="*/ 39746 w 85428"/>
              <a:gd name="connsiteY16" fmla="*/ 174655 h 208269"/>
              <a:gd name="connsiteX17" fmla="*/ 64792 w 85428"/>
              <a:gd name="connsiteY17" fmla="*/ 207799 h 208269"/>
              <a:gd name="connsiteX18" fmla="*/ 67222 w 85428"/>
              <a:gd name="connsiteY18" fmla="*/ 182753 h 208269"/>
              <a:gd name="connsiteX19" fmla="*/ 82551 w 85428"/>
              <a:gd name="connsiteY19" fmla="*/ 164995 h 208269"/>
              <a:gd name="connsiteX20" fmla="*/ 82088 w 85428"/>
              <a:gd name="connsiteY20" fmla="*/ 137229 h 208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428" h="208269">
                <a:moveTo>
                  <a:pt x="82088" y="137229"/>
                </a:moveTo>
                <a:cubicBezTo>
                  <a:pt x="76939" y="131514"/>
                  <a:pt x="71444" y="126181"/>
                  <a:pt x="65544" y="121265"/>
                </a:cubicBezTo>
                <a:cubicBezTo>
                  <a:pt x="65776" y="122861"/>
                  <a:pt x="65486" y="124492"/>
                  <a:pt x="64676" y="125892"/>
                </a:cubicBezTo>
                <a:cubicBezTo>
                  <a:pt x="57620" y="136188"/>
                  <a:pt x="37432" y="104085"/>
                  <a:pt x="35060" y="84070"/>
                </a:cubicBezTo>
                <a:cubicBezTo>
                  <a:pt x="32689" y="64056"/>
                  <a:pt x="46629" y="54397"/>
                  <a:pt x="38068" y="35655"/>
                </a:cubicBezTo>
                <a:cubicBezTo>
                  <a:pt x="31011" y="19921"/>
                  <a:pt x="26499" y="4824"/>
                  <a:pt x="31647" y="196"/>
                </a:cubicBezTo>
                <a:cubicBezTo>
                  <a:pt x="25516" y="-237"/>
                  <a:pt x="19385" y="-237"/>
                  <a:pt x="13253" y="196"/>
                </a:cubicBezTo>
                <a:cubicBezTo>
                  <a:pt x="18343" y="8422"/>
                  <a:pt x="21987" y="17434"/>
                  <a:pt x="24070" y="26863"/>
                </a:cubicBezTo>
                <a:cubicBezTo>
                  <a:pt x="24070" y="32647"/>
                  <a:pt x="17071" y="25474"/>
                  <a:pt x="14236" y="32647"/>
                </a:cubicBezTo>
                <a:cubicBezTo>
                  <a:pt x="11402" y="39820"/>
                  <a:pt x="10072" y="71807"/>
                  <a:pt x="15625" y="77419"/>
                </a:cubicBezTo>
                <a:cubicBezTo>
                  <a:pt x="21177" y="83029"/>
                  <a:pt x="4461" y="78807"/>
                  <a:pt x="4461" y="84417"/>
                </a:cubicBezTo>
                <a:cubicBezTo>
                  <a:pt x="4461" y="90029"/>
                  <a:pt x="3073" y="109580"/>
                  <a:pt x="296" y="110968"/>
                </a:cubicBezTo>
                <a:cubicBezTo>
                  <a:pt x="-1266" y="111720"/>
                  <a:pt x="1973" y="116753"/>
                  <a:pt x="5097" y="122942"/>
                </a:cubicBezTo>
                <a:lnTo>
                  <a:pt x="5097" y="122942"/>
                </a:lnTo>
                <a:cubicBezTo>
                  <a:pt x="7526" y="122942"/>
                  <a:pt x="18864" y="136709"/>
                  <a:pt x="23723" y="135841"/>
                </a:cubicBezTo>
                <a:cubicBezTo>
                  <a:pt x="28582" y="134974"/>
                  <a:pt x="43101" y="127801"/>
                  <a:pt x="45530" y="139138"/>
                </a:cubicBezTo>
                <a:cubicBezTo>
                  <a:pt x="47959" y="150476"/>
                  <a:pt x="38242" y="169796"/>
                  <a:pt x="39746" y="174655"/>
                </a:cubicBezTo>
                <a:cubicBezTo>
                  <a:pt x="41250" y="179513"/>
                  <a:pt x="62884" y="211791"/>
                  <a:pt x="64792" y="207799"/>
                </a:cubicBezTo>
                <a:cubicBezTo>
                  <a:pt x="66701" y="203808"/>
                  <a:pt x="59991" y="189174"/>
                  <a:pt x="67222" y="182753"/>
                </a:cubicBezTo>
                <a:cubicBezTo>
                  <a:pt x="74452" y="176332"/>
                  <a:pt x="83360" y="184315"/>
                  <a:pt x="82551" y="164995"/>
                </a:cubicBezTo>
                <a:cubicBezTo>
                  <a:pt x="81741" y="145675"/>
                  <a:pt x="89492" y="146138"/>
                  <a:pt x="82088" y="13722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3" name="Forma libre: forma 232">
            <a:extLst>
              <a:ext uri="{FF2B5EF4-FFF2-40B4-BE49-F238E27FC236}">
                <a16:creationId xmlns:a16="http://schemas.microsoft.com/office/drawing/2014/main" id="{174E4B78-F99B-733F-3255-C9244CF0405B}"/>
              </a:ext>
            </a:extLst>
          </p:cNvPr>
          <p:cNvSpPr/>
          <p:nvPr/>
        </p:nvSpPr>
        <p:spPr>
          <a:xfrm>
            <a:off x="8032691" y="3290682"/>
            <a:ext cx="208389" cy="138187"/>
          </a:xfrm>
          <a:custGeom>
            <a:avLst/>
            <a:gdLst>
              <a:gd name="connsiteX0" fmla="*/ 169583 w 208389"/>
              <a:gd name="connsiteY0" fmla="*/ 112650 h 138187"/>
              <a:gd name="connsiteX1" fmla="*/ 180052 w 208389"/>
              <a:gd name="connsiteY1" fmla="*/ 120344 h 138187"/>
              <a:gd name="connsiteX2" fmla="*/ 199199 w 208389"/>
              <a:gd name="connsiteY2" fmla="*/ 126128 h 138187"/>
              <a:gd name="connsiteX3" fmla="*/ 208280 w 208389"/>
              <a:gd name="connsiteY3" fmla="*/ 124451 h 138187"/>
              <a:gd name="connsiteX4" fmla="*/ 202843 w 208389"/>
              <a:gd name="connsiteY4" fmla="*/ 87777 h 138187"/>
              <a:gd name="connsiteX5" fmla="*/ 175888 w 208389"/>
              <a:gd name="connsiteY5" fmla="*/ 70424 h 138187"/>
              <a:gd name="connsiteX6" fmla="*/ 171607 w 208389"/>
              <a:gd name="connsiteY6" fmla="*/ 46708 h 138187"/>
              <a:gd name="connsiteX7" fmla="*/ 136033 w 208389"/>
              <a:gd name="connsiteY7" fmla="*/ 48848 h 138187"/>
              <a:gd name="connsiteX8" fmla="*/ 113358 w 208389"/>
              <a:gd name="connsiteY8" fmla="*/ 44568 h 138187"/>
              <a:gd name="connsiteX9" fmla="*/ 88543 w 208389"/>
              <a:gd name="connsiteY9" fmla="*/ 43469 h 138187"/>
              <a:gd name="connsiteX10" fmla="*/ 49730 w 208389"/>
              <a:gd name="connsiteY10" fmla="*/ 40229 h 138187"/>
              <a:gd name="connsiteX11" fmla="*/ 69165 w 208389"/>
              <a:gd name="connsiteY11" fmla="*/ 24091 h 138187"/>
              <a:gd name="connsiteX12" fmla="*/ 77552 w 208389"/>
              <a:gd name="connsiteY12" fmla="*/ 24091 h 138187"/>
              <a:gd name="connsiteX13" fmla="*/ 87213 w 208389"/>
              <a:gd name="connsiteY13" fmla="*/ 1705 h 138187"/>
              <a:gd name="connsiteX14" fmla="*/ 68587 w 208389"/>
              <a:gd name="connsiteY14" fmla="*/ 5754 h 138187"/>
              <a:gd name="connsiteX15" fmla="*/ 47589 w 208389"/>
              <a:gd name="connsiteY15" fmla="*/ 10555 h 138187"/>
              <a:gd name="connsiteX16" fmla="*/ 34690 w 208389"/>
              <a:gd name="connsiteY16" fmla="*/ 25132 h 138187"/>
              <a:gd name="connsiteX17" fmla="*/ 25840 w 208389"/>
              <a:gd name="connsiteY17" fmla="*/ 40461 h 138187"/>
              <a:gd name="connsiteX18" fmla="*/ -17 w 208389"/>
              <a:gd name="connsiteY18" fmla="*/ 50179 h 138187"/>
              <a:gd name="connsiteX19" fmla="*/ 16932 w 208389"/>
              <a:gd name="connsiteY19" fmla="*/ 71176 h 138187"/>
              <a:gd name="connsiteX20" fmla="*/ 20171 w 208389"/>
              <a:gd name="connsiteY20" fmla="*/ 95355 h 138187"/>
              <a:gd name="connsiteX21" fmla="*/ 8602 w 208389"/>
              <a:gd name="connsiteY21" fmla="*/ 123930 h 138187"/>
              <a:gd name="connsiteX22" fmla="*/ 21386 w 208389"/>
              <a:gd name="connsiteY22" fmla="*/ 125260 h 138187"/>
              <a:gd name="connsiteX23" fmla="*/ 49440 w 208389"/>
              <a:gd name="connsiteY23" fmla="*/ 117741 h 138187"/>
              <a:gd name="connsiteX24" fmla="*/ 75354 w 208389"/>
              <a:gd name="connsiteY24" fmla="*/ 104784 h 138187"/>
              <a:gd name="connsiteX25" fmla="*/ 100112 w 208389"/>
              <a:gd name="connsiteY25" fmla="*/ 81067 h 138187"/>
              <a:gd name="connsiteX26" fmla="*/ 110929 w 208389"/>
              <a:gd name="connsiteY26" fmla="*/ 103685 h 138187"/>
              <a:gd name="connsiteX27" fmla="*/ 111970 w 208389"/>
              <a:gd name="connsiteY27" fmla="*/ 136077 h 138187"/>
              <a:gd name="connsiteX28" fmla="*/ 124869 w 208389"/>
              <a:gd name="connsiteY28" fmla="*/ 136656 h 138187"/>
              <a:gd name="connsiteX29" fmla="*/ 139503 w 208389"/>
              <a:gd name="connsiteY29" fmla="*/ 131797 h 138187"/>
              <a:gd name="connsiteX30" fmla="*/ 169583 w 208389"/>
              <a:gd name="connsiteY30" fmla="*/ 112650 h 13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8389" h="138187">
                <a:moveTo>
                  <a:pt x="169583" y="112650"/>
                </a:moveTo>
                <a:cubicBezTo>
                  <a:pt x="175367" y="116237"/>
                  <a:pt x="174442" y="121154"/>
                  <a:pt x="180052" y="120344"/>
                </a:cubicBezTo>
                <a:cubicBezTo>
                  <a:pt x="186936" y="119858"/>
                  <a:pt x="193761" y="121917"/>
                  <a:pt x="199199" y="126128"/>
                </a:cubicBezTo>
                <a:cubicBezTo>
                  <a:pt x="202207" y="125394"/>
                  <a:pt x="205215" y="124832"/>
                  <a:pt x="208280" y="124451"/>
                </a:cubicBezTo>
                <a:cubicBezTo>
                  <a:pt x="208280" y="124451"/>
                  <a:pt x="204000" y="96454"/>
                  <a:pt x="202843" y="87777"/>
                </a:cubicBezTo>
                <a:cubicBezTo>
                  <a:pt x="201686" y="79101"/>
                  <a:pt x="175888" y="70424"/>
                  <a:pt x="175888" y="70424"/>
                </a:cubicBezTo>
                <a:lnTo>
                  <a:pt x="171607" y="46708"/>
                </a:lnTo>
                <a:cubicBezTo>
                  <a:pt x="171607" y="46708"/>
                  <a:pt x="141413" y="51046"/>
                  <a:pt x="136033" y="48848"/>
                </a:cubicBezTo>
                <a:cubicBezTo>
                  <a:pt x="130654" y="46650"/>
                  <a:pt x="118680" y="52088"/>
                  <a:pt x="113358" y="44568"/>
                </a:cubicBezTo>
                <a:cubicBezTo>
                  <a:pt x="108036" y="37048"/>
                  <a:pt x="98261" y="49947"/>
                  <a:pt x="88543" y="43469"/>
                </a:cubicBezTo>
                <a:cubicBezTo>
                  <a:pt x="78825" y="36990"/>
                  <a:pt x="50828" y="45667"/>
                  <a:pt x="49730" y="40229"/>
                </a:cubicBezTo>
                <a:cubicBezTo>
                  <a:pt x="48630" y="34792"/>
                  <a:pt x="61299" y="22876"/>
                  <a:pt x="69165" y="24091"/>
                </a:cubicBezTo>
                <a:cubicBezTo>
                  <a:pt x="71942" y="24288"/>
                  <a:pt x="74776" y="24288"/>
                  <a:pt x="77552" y="24091"/>
                </a:cubicBezTo>
                <a:cubicBezTo>
                  <a:pt x="81081" y="18306"/>
                  <a:pt x="89121" y="4887"/>
                  <a:pt x="87213" y="1705"/>
                </a:cubicBezTo>
                <a:cubicBezTo>
                  <a:pt x="84783" y="-2344"/>
                  <a:pt x="75065" y="895"/>
                  <a:pt x="68587" y="5754"/>
                </a:cubicBezTo>
                <a:cubicBezTo>
                  <a:pt x="62108" y="10613"/>
                  <a:pt x="50018" y="3325"/>
                  <a:pt x="47589" y="10555"/>
                </a:cubicBezTo>
                <a:cubicBezTo>
                  <a:pt x="45160" y="17786"/>
                  <a:pt x="41805" y="25132"/>
                  <a:pt x="34690" y="25132"/>
                </a:cubicBezTo>
                <a:cubicBezTo>
                  <a:pt x="27575" y="25132"/>
                  <a:pt x="33070" y="37221"/>
                  <a:pt x="25840" y="40461"/>
                </a:cubicBezTo>
                <a:cubicBezTo>
                  <a:pt x="18609" y="43700"/>
                  <a:pt x="1603" y="42890"/>
                  <a:pt x="-17" y="50179"/>
                </a:cubicBezTo>
                <a:cubicBezTo>
                  <a:pt x="-1636" y="57467"/>
                  <a:pt x="18551" y="62268"/>
                  <a:pt x="16932" y="71176"/>
                </a:cubicBezTo>
                <a:cubicBezTo>
                  <a:pt x="15312" y="80084"/>
                  <a:pt x="27402" y="89744"/>
                  <a:pt x="20171" y="95355"/>
                </a:cubicBezTo>
                <a:cubicBezTo>
                  <a:pt x="13924" y="100214"/>
                  <a:pt x="8602" y="108081"/>
                  <a:pt x="8602" y="123930"/>
                </a:cubicBezTo>
                <a:cubicBezTo>
                  <a:pt x="13866" y="127285"/>
                  <a:pt x="18898" y="130293"/>
                  <a:pt x="21386" y="125260"/>
                </a:cubicBezTo>
                <a:cubicBezTo>
                  <a:pt x="25724" y="116642"/>
                  <a:pt x="49440" y="125260"/>
                  <a:pt x="49440" y="117741"/>
                </a:cubicBezTo>
                <a:cubicBezTo>
                  <a:pt x="49440" y="110221"/>
                  <a:pt x="75354" y="112303"/>
                  <a:pt x="75354" y="104784"/>
                </a:cubicBezTo>
                <a:cubicBezTo>
                  <a:pt x="75354" y="97264"/>
                  <a:pt x="90394" y="79968"/>
                  <a:pt x="100112" y="81067"/>
                </a:cubicBezTo>
                <a:cubicBezTo>
                  <a:pt x="109830" y="82166"/>
                  <a:pt x="99070" y="98421"/>
                  <a:pt x="110929" y="103685"/>
                </a:cubicBezTo>
                <a:cubicBezTo>
                  <a:pt x="122787" y="108948"/>
                  <a:pt x="105549" y="128500"/>
                  <a:pt x="111970" y="136077"/>
                </a:cubicBezTo>
                <a:cubicBezTo>
                  <a:pt x="114457" y="138854"/>
                  <a:pt x="119143" y="138391"/>
                  <a:pt x="124869" y="136656"/>
                </a:cubicBezTo>
                <a:cubicBezTo>
                  <a:pt x="129266" y="135441"/>
                  <a:pt x="134298" y="133474"/>
                  <a:pt x="139503" y="131797"/>
                </a:cubicBezTo>
                <a:cubicBezTo>
                  <a:pt x="150321" y="122889"/>
                  <a:pt x="164782" y="109700"/>
                  <a:pt x="169583" y="112650"/>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4" name="Forma libre: forma 233">
            <a:extLst>
              <a:ext uri="{FF2B5EF4-FFF2-40B4-BE49-F238E27FC236}">
                <a16:creationId xmlns:a16="http://schemas.microsoft.com/office/drawing/2014/main" id="{B3696F23-9567-E420-EA41-34DBEDD20361}"/>
              </a:ext>
            </a:extLst>
          </p:cNvPr>
          <p:cNvSpPr/>
          <p:nvPr/>
        </p:nvSpPr>
        <p:spPr>
          <a:xfrm>
            <a:off x="4028397" y="3772788"/>
            <a:ext cx="20847" cy="42762"/>
          </a:xfrm>
          <a:custGeom>
            <a:avLst/>
            <a:gdLst>
              <a:gd name="connsiteX0" fmla="*/ 20136 w 20847"/>
              <a:gd name="connsiteY0" fmla="*/ 41760 h 42762"/>
              <a:gd name="connsiteX1" fmla="*/ 9203 w 20847"/>
              <a:gd name="connsiteY1" fmla="*/ 30828 h 42762"/>
              <a:gd name="connsiteX2" fmla="*/ -110 w 20847"/>
              <a:gd name="connsiteY2" fmla="*/ 12375 h 42762"/>
              <a:gd name="connsiteX3" fmla="*/ 9898 w 20847"/>
              <a:gd name="connsiteY3" fmla="*/ 4451 h 42762"/>
              <a:gd name="connsiteX4" fmla="*/ 12674 w 20847"/>
              <a:gd name="connsiteY4" fmla="*/ 24985 h 42762"/>
              <a:gd name="connsiteX5" fmla="*/ 20136 w 20847"/>
              <a:gd name="connsiteY5" fmla="*/ 41760 h 4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47" h="42762">
                <a:moveTo>
                  <a:pt x="20136" y="41760"/>
                </a:moveTo>
                <a:cubicBezTo>
                  <a:pt x="18401" y="45346"/>
                  <a:pt x="9435" y="37132"/>
                  <a:pt x="9203" y="30828"/>
                </a:cubicBezTo>
                <a:cubicBezTo>
                  <a:pt x="8972" y="24522"/>
                  <a:pt x="-110" y="23365"/>
                  <a:pt x="-110" y="12375"/>
                </a:cubicBezTo>
                <a:cubicBezTo>
                  <a:pt x="-110" y="1385"/>
                  <a:pt x="4287" y="-4978"/>
                  <a:pt x="9898" y="4451"/>
                </a:cubicBezTo>
                <a:cubicBezTo>
                  <a:pt x="15508" y="13879"/>
                  <a:pt x="11748" y="20300"/>
                  <a:pt x="12674" y="24985"/>
                </a:cubicBezTo>
                <a:cubicBezTo>
                  <a:pt x="13600" y="29671"/>
                  <a:pt x="23202" y="35455"/>
                  <a:pt x="20136" y="41760"/>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5" name="Forma libre: forma 234">
            <a:extLst>
              <a:ext uri="{FF2B5EF4-FFF2-40B4-BE49-F238E27FC236}">
                <a16:creationId xmlns:a16="http://schemas.microsoft.com/office/drawing/2014/main" id="{C34ED4AF-DB8C-74DB-AC84-76179EB7AB9B}"/>
              </a:ext>
            </a:extLst>
          </p:cNvPr>
          <p:cNvSpPr/>
          <p:nvPr/>
        </p:nvSpPr>
        <p:spPr>
          <a:xfrm>
            <a:off x="4483170" y="4185352"/>
            <a:ext cx="26414" cy="21522"/>
          </a:xfrm>
          <a:custGeom>
            <a:avLst/>
            <a:gdLst>
              <a:gd name="connsiteX0" fmla="*/ 1799 w 26414"/>
              <a:gd name="connsiteY0" fmla="*/ 20223 h 21522"/>
              <a:gd name="connsiteX1" fmla="*/ 1047 w 26414"/>
              <a:gd name="connsiteY1" fmla="*/ 7323 h 21522"/>
              <a:gd name="connsiteX2" fmla="*/ 21119 w 26414"/>
              <a:gd name="connsiteY2" fmla="*/ 1539 h 21522"/>
              <a:gd name="connsiteX3" fmla="*/ 22565 w 26414"/>
              <a:gd name="connsiteY3" fmla="*/ 17446 h 21522"/>
              <a:gd name="connsiteX4" fmla="*/ 1799 w 26414"/>
              <a:gd name="connsiteY4" fmla="*/ 20223 h 21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4" h="21522">
                <a:moveTo>
                  <a:pt x="1799" y="20223"/>
                </a:moveTo>
                <a:cubicBezTo>
                  <a:pt x="-1846" y="16810"/>
                  <a:pt x="7178" y="10100"/>
                  <a:pt x="1047" y="7323"/>
                </a:cubicBezTo>
                <a:cubicBezTo>
                  <a:pt x="-5085" y="4547"/>
                  <a:pt x="14871" y="-3609"/>
                  <a:pt x="21119" y="1539"/>
                </a:cubicBezTo>
                <a:cubicBezTo>
                  <a:pt x="27366" y="6687"/>
                  <a:pt x="28118" y="15133"/>
                  <a:pt x="22565" y="17446"/>
                </a:cubicBezTo>
                <a:cubicBezTo>
                  <a:pt x="17012" y="19760"/>
                  <a:pt x="5038" y="23231"/>
                  <a:pt x="1799" y="2022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6" name="Forma libre: forma 235">
            <a:extLst>
              <a:ext uri="{FF2B5EF4-FFF2-40B4-BE49-F238E27FC236}">
                <a16:creationId xmlns:a16="http://schemas.microsoft.com/office/drawing/2014/main" id="{21875EF5-F1FE-CC09-B6F8-0A1C94BE33F4}"/>
              </a:ext>
            </a:extLst>
          </p:cNvPr>
          <p:cNvSpPr/>
          <p:nvPr/>
        </p:nvSpPr>
        <p:spPr>
          <a:xfrm>
            <a:off x="7358724" y="3275331"/>
            <a:ext cx="90815" cy="77979"/>
          </a:xfrm>
          <a:custGeom>
            <a:avLst/>
            <a:gdLst>
              <a:gd name="connsiteX0" fmla="*/ 85905 w 90815"/>
              <a:gd name="connsiteY0" fmla="*/ 60324 h 77979"/>
              <a:gd name="connsiteX1" fmla="*/ 68956 w 90815"/>
              <a:gd name="connsiteY1" fmla="*/ 40136 h 77979"/>
              <a:gd name="connsiteX2" fmla="*/ 59297 w 90815"/>
              <a:gd name="connsiteY2" fmla="*/ 18329 h 77979"/>
              <a:gd name="connsiteX3" fmla="*/ 51777 w 90815"/>
              <a:gd name="connsiteY3" fmla="*/ 2479 h 77979"/>
              <a:gd name="connsiteX4" fmla="*/ 27540 w 90815"/>
              <a:gd name="connsiteY4" fmla="*/ -8 h 77979"/>
              <a:gd name="connsiteX5" fmla="*/ -110 w 90815"/>
              <a:gd name="connsiteY5" fmla="*/ 5776 h 77979"/>
              <a:gd name="connsiteX6" fmla="*/ 5675 w 90815"/>
              <a:gd name="connsiteY6" fmla="*/ 27352 h 77979"/>
              <a:gd name="connsiteX7" fmla="*/ 26672 w 90815"/>
              <a:gd name="connsiteY7" fmla="*/ 36260 h 77979"/>
              <a:gd name="connsiteX8" fmla="*/ 31705 w 90815"/>
              <a:gd name="connsiteY8" fmla="*/ 46325 h 77979"/>
              <a:gd name="connsiteX9" fmla="*/ 34250 w 90815"/>
              <a:gd name="connsiteY9" fmla="*/ 46325 h 77979"/>
              <a:gd name="connsiteX10" fmla="*/ 41422 w 90815"/>
              <a:gd name="connsiteY10" fmla="*/ 52399 h 77979"/>
              <a:gd name="connsiteX11" fmla="*/ 54785 w 90815"/>
              <a:gd name="connsiteY11" fmla="*/ 58646 h 77979"/>
              <a:gd name="connsiteX12" fmla="*/ 67568 w 90815"/>
              <a:gd name="connsiteY12" fmla="*/ 63331 h 77979"/>
              <a:gd name="connsiteX13" fmla="*/ 73352 w 90815"/>
              <a:gd name="connsiteY13" fmla="*/ 77850 h 77979"/>
              <a:gd name="connsiteX14" fmla="*/ 90706 w 90815"/>
              <a:gd name="connsiteY14" fmla="*/ 74148 h 77979"/>
              <a:gd name="connsiteX15" fmla="*/ 85905 w 90815"/>
              <a:gd name="connsiteY15" fmla="*/ 60324 h 7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815" h="77979">
                <a:moveTo>
                  <a:pt x="85905" y="60324"/>
                </a:moveTo>
                <a:cubicBezTo>
                  <a:pt x="85905" y="53845"/>
                  <a:pt x="68956" y="48176"/>
                  <a:pt x="68956" y="40136"/>
                </a:cubicBezTo>
                <a:cubicBezTo>
                  <a:pt x="68956" y="32096"/>
                  <a:pt x="57387" y="24749"/>
                  <a:pt x="59297" y="18329"/>
                </a:cubicBezTo>
                <a:cubicBezTo>
                  <a:pt x="60395" y="13875"/>
                  <a:pt x="54669" y="7570"/>
                  <a:pt x="51777" y="2479"/>
                </a:cubicBezTo>
                <a:cubicBezTo>
                  <a:pt x="43852" y="374"/>
                  <a:pt x="35696" y="-465"/>
                  <a:pt x="27540" y="-8"/>
                </a:cubicBezTo>
                <a:cubicBezTo>
                  <a:pt x="17417" y="1149"/>
                  <a:pt x="9840" y="4099"/>
                  <a:pt x="-110" y="5776"/>
                </a:cubicBezTo>
                <a:cubicBezTo>
                  <a:pt x="5212" y="13817"/>
                  <a:pt x="1452" y="16073"/>
                  <a:pt x="5675" y="27352"/>
                </a:cubicBezTo>
                <a:cubicBezTo>
                  <a:pt x="10534" y="39500"/>
                  <a:pt x="22623" y="33137"/>
                  <a:pt x="26672" y="36260"/>
                </a:cubicBezTo>
                <a:cubicBezTo>
                  <a:pt x="28986" y="39245"/>
                  <a:pt x="30721" y="42664"/>
                  <a:pt x="31705" y="46325"/>
                </a:cubicBezTo>
                <a:cubicBezTo>
                  <a:pt x="32572" y="46210"/>
                  <a:pt x="33382" y="46210"/>
                  <a:pt x="34250" y="46325"/>
                </a:cubicBezTo>
                <a:cubicBezTo>
                  <a:pt x="37662" y="46678"/>
                  <a:pt x="40497" y="49090"/>
                  <a:pt x="41422" y="52399"/>
                </a:cubicBezTo>
                <a:cubicBezTo>
                  <a:pt x="46108" y="53932"/>
                  <a:pt x="50620" y="56032"/>
                  <a:pt x="54785" y="58646"/>
                </a:cubicBezTo>
                <a:cubicBezTo>
                  <a:pt x="58255" y="60208"/>
                  <a:pt x="60569" y="55523"/>
                  <a:pt x="67568" y="63331"/>
                </a:cubicBezTo>
                <a:cubicBezTo>
                  <a:pt x="73700" y="70099"/>
                  <a:pt x="74162" y="71835"/>
                  <a:pt x="73352" y="77850"/>
                </a:cubicBezTo>
                <a:cubicBezTo>
                  <a:pt x="79311" y="77839"/>
                  <a:pt x="85269" y="76578"/>
                  <a:pt x="90706" y="74148"/>
                </a:cubicBezTo>
                <a:cubicBezTo>
                  <a:pt x="88219" y="69903"/>
                  <a:pt x="86599" y="65206"/>
                  <a:pt x="85905" y="6032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7" name="Forma libre: forma 236">
            <a:extLst>
              <a:ext uri="{FF2B5EF4-FFF2-40B4-BE49-F238E27FC236}">
                <a16:creationId xmlns:a16="http://schemas.microsoft.com/office/drawing/2014/main" id="{B3F9EDA4-F39D-558C-472C-21BAD17D03B8}"/>
              </a:ext>
            </a:extLst>
          </p:cNvPr>
          <p:cNvSpPr/>
          <p:nvPr/>
        </p:nvSpPr>
        <p:spPr>
          <a:xfrm>
            <a:off x="7400546" y="3257232"/>
            <a:ext cx="131046" cy="110829"/>
          </a:xfrm>
          <a:custGeom>
            <a:avLst/>
            <a:gdLst>
              <a:gd name="connsiteX0" fmla="*/ 128131 w 131046"/>
              <a:gd name="connsiteY0" fmla="*/ 36428 h 110829"/>
              <a:gd name="connsiteX1" fmla="*/ 103721 w 131046"/>
              <a:gd name="connsiteY1" fmla="*/ 4903 h 110829"/>
              <a:gd name="connsiteX2" fmla="*/ 86367 w 131046"/>
              <a:gd name="connsiteY2" fmla="*/ 17860 h 110829"/>
              <a:gd name="connsiteX3" fmla="*/ 74278 w 131046"/>
              <a:gd name="connsiteY3" fmla="*/ 17860 h 110829"/>
              <a:gd name="connsiteX4" fmla="*/ 53685 w 131046"/>
              <a:gd name="connsiteY4" fmla="*/ 3284 h 110829"/>
              <a:gd name="connsiteX5" fmla="*/ 45009 w 131046"/>
              <a:gd name="connsiteY5" fmla="*/ -129 h 110829"/>
              <a:gd name="connsiteX6" fmla="*/ 39572 w 131046"/>
              <a:gd name="connsiteY6" fmla="*/ 9762 h 110829"/>
              <a:gd name="connsiteX7" fmla="*/ 48422 w 131046"/>
              <a:gd name="connsiteY7" fmla="*/ 21910 h 110829"/>
              <a:gd name="connsiteX8" fmla="*/ 27424 w 131046"/>
              <a:gd name="connsiteY8" fmla="*/ 20290 h 110829"/>
              <a:gd name="connsiteX9" fmla="*/ 8856 w 131046"/>
              <a:gd name="connsiteY9" fmla="*/ 14506 h 110829"/>
              <a:gd name="connsiteX10" fmla="*/ 17764 w 131046"/>
              <a:gd name="connsiteY10" fmla="*/ 36313 h 110829"/>
              <a:gd name="connsiteX11" fmla="*/ 27424 w 131046"/>
              <a:gd name="connsiteY11" fmla="*/ 58120 h 110829"/>
              <a:gd name="connsiteX12" fmla="*/ 44372 w 131046"/>
              <a:gd name="connsiteY12" fmla="*/ 78308 h 110829"/>
              <a:gd name="connsiteX13" fmla="*/ 49810 w 131046"/>
              <a:gd name="connsiteY13" fmla="*/ 91959 h 110829"/>
              <a:gd name="connsiteX14" fmla="*/ 82550 w 131046"/>
              <a:gd name="connsiteY14" fmla="*/ 71656 h 110829"/>
              <a:gd name="connsiteX15" fmla="*/ 87929 w 131046"/>
              <a:gd name="connsiteY15" fmla="*/ 96529 h 110829"/>
              <a:gd name="connsiteX16" fmla="*/ 107481 w 131046"/>
              <a:gd name="connsiteY16" fmla="*/ 110701 h 110829"/>
              <a:gd name="connsiteX17" fmla="*/ 112282 w 131046"/>
              <a:gd name="connsiteY17" fmla="*/ 94446 h 110829"/>
              <a:gd name="connsiteX18" fmla="*/ 128131 w 131046"/>
              <a:gd name="connsiteY18" fmla="*/ 36428 h 110829"/>
              <a:gd name="connsiteX19" fmla="*/ 13252 w 131046"/>
              <a:gd name="connsiteY19" fmla="*/ 76572 h 110829"/>
              <a:gd name="connsiteX20" fmla="*/ -110 w 131046"/>
              <a:gd name="connsiteY20" fmla="*/ 70325 h 110829"/>
              <a:gd name="connsiteX21" fmla="*/ 8914 w 131046"/>
              <a:gd name="connsiteY21" fmla="*/ 84786 h 110829"/>
              <a:gd name="connsiteX22" fmla="*/ 27251 w 131046"/>
              <a:gd name="connsiteY22" fmla="*/ 95545 h 110829"/>
              <a:gd name="connsiteX23" fmla="*/ 31936 w 131046"/>
              <a:gd name="connsiteY23" fmla="*/ 95545 h 110829"/>
              <a:gd name="connsiteX24" fmla="*/ 26152 w 131046"/>
              <a:gd name="connsiteY24" fmla="*/ 81027 h 110829"/>
              <a:gd name="connsiteX25" fmla="*/ 13252 w 131046"/>
              <a:gd name="connsiteY25" fmla="*/ 76572 h 11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1046" h="110829">
                <a:moveTo>
                  <a:pt x="128131" y="36428"/>
                </a:moveTo>
                <a:cubicBezTo>
                  <a:pt x="120611" y="25461"/>
                  <a:pt x="112455" y="14934"/>
                  <a:pt x="103721" y="4903"/>
                </a:cubicBezTo>
                <a:cubicBezTo>
                  <a:pt x="100366" y="14853"/>
                  <a:pt x="88450" y="12134"/>
                  <a:pt x="86367" y="17860"/>
                </a:cubicBezTo>
                <a:cubicBezTo>
                  <a:pt x="84285" y="23587"/>
                  <a:pt x="77922" y="16646"/>
                  <a:pt x="74278" y="17860"/>
                </a:cubicBezTo>
                <a:cubicBezTo>
                  <a:pt x="70634" y="19075"/>
                  <a:pt x="62189" y="4498"/>
                  <a:pt x="53685" y="3284"/>
                </a:cubicBezTo>
                <a:cubicBezTo>
                  <a:pt x="50620" y="2653"/>
                  <a:pt x="47670" y="1502"/>
                  <a:pt x="45009" y="-129"/>
                </a:cubicBezTo>
                <a:cubicBezTo>
                  <a:pt x="41538" y="3573"/>
                  <a:pt x="38357" y="7738"/>
                  <a:pt x="39572" y="9762"/>
                </a:cubicBezTo>
                <a:cubicBezTo>
                  <a:pt x="42001" y="13811"/>
                  <a:pt x="52471" y="17860"/>
                  <a:pt x="48422" y="21910"/>
                </a:cubicBezTo>
                <a:cubicBezTo>
                  <a:pt x="44372" y="25959"/>
                  <a:pt x="31473" y="24281"/>
                  <a:pt x="27424" y="20290"/>
                </a:cubicBezTo>
                <a:cubicBezTo>
                  <a:pt x="23375" y="16299"/>
                  <a:pt x="11286" y="9762"/>
                  <a:pt x="8856" y="14506"/>
                </a:cubicBezTo>
                <a:cubicBezTo>
                  <a:pt x="6427" y="19249"/>
                  <a:pt x="19384" y="29834"/>
                  <a:pt x="17764" y="36313"/>
                </a:cubicBezTo>
                <a:cubicBezTo>
                  <a:pt x="16144" y="42791"/>
                  <a:pt x="27424" y="50022"/>
                  <a:pt x="27424" y="58120"/>
                </a:cubicBezTo>
                <a:cubicBezTo>
                  <a:pt x="27424" y="66218"/>
                  <a:pt x="44372" y="71829"/>
                  <a:pt x="44372" y="78308"/>
                </a:cubicBezTo>
                <a:cubicBezTo>
                  <a:pt x="45240" y="83173"/>
                  <a:pt x="47092" y="87817"/>
                  <a:pt x="49810" y="91959"/>
                </a:cubicBezTo>
                <a:cubicBezTo>
                  <a:pt x="63056" y="86175"/>
                  <a:pt x="73931" y="75994"/>
                  <a:pt x="82550" y="71656"/>
                </a:cubicBezTo>
                <a:cubicBezTo>
                  <a:pt x="95449" y="65177"/>
                  <a:pt x="90070" y="92190"/>
                  <a:pt x="87929" y="96529"/>
                </a:cubicBezTo>
                <a:cubicBezTo>
                  <a:pt x="86367" y="99479"/>
                  <a:pt x="96664" y="106536"/>
                  <a:pt x="107481" y="110701"/>
                </a:cubicBezTo>
                <a:cubicBezTo>
                  <a:pt x="106960" y="104864"/>
                  <a:pt x="108637" y="99045"/>
                  <a:pt x="112282" y="94446"/>
                </a:cubicBezTo>
                <a:cubicBezTo>
                  <a:pt x="125702" y="77671"/>
                  <a:pt x="136171" y="50947"/>
                  <a:pt x="128131" y="36428"/>
                </a:cubicBezTo>
                <a:close/>
                <a:moveTo>
                  <a:pt x="13252" y="76572"/>
                </a:moveTo>
                <a:cubicBezTo>
                  <a:pt x="9088" y="73958"/>
                  <a:pt x="4575" y="71858"/>
                  <a:pt x="-110" y="70325"/>
                </a:cubicBezTo>
                <a:cubicBezTo>
                  <a:pt x="1683" y="75069"/>
                  <a:pt x="1510" y="81374"/>
                  <a:pt x="8914" y="84786"/>
                </a:cubicBezTo>
                <a:cubicBezTo>
                  <a:pt x="20483" y="90108"/>
                  <a:pt x="3477" y="92306"/>
                  <a:pt x="27251" y="95545"/>
                </a:cubicBezTo>
                <a:cubicBezTo>
                  <a:pt x="28813" y="95632"/>
                  <a:pt x="30375" y="95632"/>
                  <a:pt x="31936" y="95545"/>
                </a:cubicBezTo>
                <a:cubicBezTo>
                  <a:pt x="32631" y="89761"/>
                  <a:pt x="31936" y="87794"/>
                  <a:pt x="26152" y="81027"/>
                </a:cubicBezTo>
                <a:cubicBezTo>
                  <a:pt x="19094" y="73738"/>
                  <a:pt x="16723" y="78134"/>
                  <a:pt x="13252" y="7657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8" name="Forma libre: forma 237">
            <a:extLst>
              <a:ext uri="{FF2B5EF4-FFF2-40B4-BE49-F238E27FC236}">
                <a16:creationId xmlns:a16="http://schemas.microsoft.com/office/drawing/2014/main" id="{7981F79E-4A10-A040-2D7B-40DAF51562D8}"/>
              </a:ext>
            </a:extLst>
          </p:cNvPr>
          <p:cNvSpPr/>
          <p:nvPr/>
        </p:nvSpPr>
        <p:spPr>
          <a:xfrm>
            <a:off x="7838491" y="3372296"/>
            <a:ext cx="389053" cy="277148"/>
          </a:xfrm>
          <a:custGeom>
            <a:avLst/>
            <a:gdLst>
              <a:gd name="connsiteX0" fmla="*/ 374252 w 389053"/>
              <a:gd name="connsiteY0" fmla="*/ 38730 h 277148"/>
              <a:gd name="connsiteX1" fmla="*/ 363782 w 389053"/>
              <a:gd name="connsiteY1" fmla="*/ 31037 h 277148"/>
              <a:gd name="connsiteX2" fmla="*/ 333992 w 389053"/>
              <a:gd name="connsiteY2" fmla="*/ 50646 h 277148"/>
              <a:gd name="connsiteX3" fmla="*/ 319763 w 389053"/>
              <a:gd name="connsiteY3" fmla="*/ 55389 h 277148"/>
              <a:gd name="connsiteX4" fmla="*/ 306458 w 389053"/>
              <a:gd name="connsiteY4" fmla="*/ 54926 h 277148"/>
              <a:gd name="connsiteX5" fmla="*/ 305417 w 389053"/>
              <a:gd name="connsiteY5" fmla="*/ 22533 h 277148"/>
              <a:gd name="connsiteX6" fmla="*/ 294601 w 389053"/>
              <a:gd name="connsiteY6" fmla="*/ -84 h 277148"/>
              <a:gd name="connsiteX7" fmla="*/ 269843 w 389053"/>
              <a:gd name="connsiteY7" fmla="*/ 23632 h 277148"/>
              <a:gd name="connsiteX8" fmla="*/ 243929 w 389053"/>
              <a:gd name="connsiteY8" fmla="*/ 36590 h 277148"/>
              <a:gd name="connsiteX9" fmla="*/ 215874 w 389053"/>
              <a:gd name="connsiteY9" fmla="*/ 44109 h 277148"/>
              <a:gd name="connsiteX10" fmla="*/ 192158 w 389053"/>
              <a:gd name="connsiteY10" fmla="*/ 37631 h 277148"/>
              <a:gd name="connsiteX11" fmla="*/ 169541 w 389053"/>
              <a:gd name="connsiteY11" fmla="*/ 30111 h 277148"/>
              <a:gd name="connsiteX12" fmla="*/ 146866 w 389053"/>
              <a:gd name="connsiteY12" fmla="*/ 25773 h 277148"/>
              <a:gd name="connsiteX13" fmla="*/ 125290 w 389053"/>
              <a:gd name="connsiteY13" fmla="*/ 38730 h 277148"/>
              <a:gd name="connsiteX14" fmla="*/ 109094 w 389053"/>
              <a:gd name="connsiteY14" fmla="*/ 65685 h 277148"/>
              <a:gd name="connsiteX15" fmla="*/ 70280 w 389053"/>
              <a:gd name="connsiteY15" fmla="*/ 88302 h 277148"/>
              <a:gd name="connsiteX16" fmla="*/ 46564 w 389053"/>
              <a:gd name="connsiteY16" fmla="*/ 96979 h 277148"/>
              <a:gd name="connsiteX17" fmla="*/ 27128 w 389053"/>
              <a:gd name="connsiteY17" fmla="*/ 91542 h 277148"/>
              <a:gd name="connsiteX18" fmla="*/ 15559 w 389053"/>
              <a:gd name="connsiteY18" fmla="*/ 104557 h 277148"/>
              <a:gd name="connsiteX19" fmla="*/ 4800 w 389053"/>
              <a:gd name="connsiteY19" fmla="*/ 126075 h 277148"/>
              <a:gd name="connsiteX20" fmla="*/ 1561 w 389053"/>
              <a:gd name="connsiteY20" fmla="*/ 149791 h 277148"/>
              <a:gd name="connsiteX21" fmla="*/ 1561 w 389053"/>
              <a:gd name="connsiteY21" fmla="*/ 178713 h 277148"/>
              <a:gd name="connsiteX22" fmla="*/ 5842 w 389053"/>
              <a:gd name="connsiteY22" fmla="*/ 209949 h 277148"/>
              <a:gd name="connsiteX23" fmla="*/ 32797 w 389053"/>
              <a:gd name="connsiteY23" fmla="*/ 224005 h 277148"/>
              <a:gd name="connsiteX24" fmla="*/ 4800 w 389053"/>
              <a:gd name="connsiteY24" fmla="*/ 262819 h 277148"/>
              <a:gd name="connsiteX25" fmla="*/ 10585 w 389053"/>
              <a:gd name="connsiteY25" fmla="*/ 271900 h 277148"/>
              <a:gd name="connsiteX26" fmla="*/ 52638 w 389053"/>
              <a:gd name="connsiteY26" fmla="*/ 276528 h 277148"/>
              <a:gd name="connsiteX27" fmla="*/ 162542 w 389053"/>
              <a:gd name="connsiteY27" fmla="*/ 262761 h 277148"/>
              <a:gd name="connsiteX28" fmla="*/ 160113 w 389053"/>
              <a:gd name="connsiteY28" fmla="*/ 235343 h 277148"/>
              <a:gd name="connsiteX29" fmla="*/ 181919 w 389053"/>
              <a:gd name="connsiteY29" fmla="*/ 222386 h 277148"/>
              <a:gd name="connsiteX30" fmla="*/ 200488 w 389053"/>
              <a:gd name="connsiteY30" fmla="*/ 217526 h 277148"/>
              <a:gd name="connsiteX31" fmla="*/ 229410 w 389053"/>
              <a:gd name="connsiteY31" fmla="*/ 207867 h 277148"/>
              <a:gd name="connsiteX32" fmla="*/ 242309 w 389053"/>
              <a:gd name="connsiteY32" fmla="*/ 195777 h 277148"/>
              <a:gd name="connsiteX33" fmla="*/ 251217 w 389053"/>
              <a:gd name="connsiteY33" fmla="*/ 166855 h 277148"/>
              <a:gd name="connsiteX34" fmla="*/ 269785 w 389053"/>
              <a:gd name="connsiteY34" fmla="*/ 155286 h 277148"/>
              <a:gd name="connsiteX35" fmla="*/ 260935 w 389053"/>
              <a:gd name="connsiteY35" fmla="*/ 137528 h 277148"/>
              <a:gd name="connsiteX36" fmla="*/ 291593 w 389053"/>
              <a:gd name="connsiteY36" fmla="*/ 138338 h 277148"/>
              <a:gd name="connsiteX37" fmla="*/ 294022 w 389053"/>
              <a:gd name="connsiteY37" fmla="*/ 116530 h 277148"/>
              <a:gd name="connsiteX38" fmla="*/ 306979 w 389053"/>
              <a:gd name="connsiteY38" fmla="*/ 97153 h 277148"/>
              <a:gd name="connsiteX39" fmla="*/ 302062 w 389053"/>
              <a:gd name="connsiteY39" fmla="*/ 80956 h 277148"/>
              <a:gd name="connsiteX40" fmla="*/ 300153 w 389053"/>
              <a:gd name="connsiteY40" fmla="*/ 70498 h 277148"/>
              <a:gd name="connsiteX41" fmla="*/ 306169 w 389053"/>
              <a:gd name="connsiteY41" fmla="*/ 67247 h 277148"/>
              <a:gd name="connsiteX42" fmla="*/ 310218 w 389053"/>
              <a:gd name="connsiteY42" fmla="*/ 65512 h 277148"/>
              <a:gd name="connsiteX43" fmla="*/ 324332 w 389053"/>
              <a:gd name="connsiteY43" fmla="*/ 60595 h 277148"/>
              <a:gd name="connsiteX44" fmla="*/ 361237 w 389053"/>
              <a:gd name="connsiteY44" fmla="*/ 49605 h 277148"/>
              <a:gd name="connsiteX45" fmla="*/ 388944 w 389053"/>
              <a:gd name="connsiteY45" fmla="*/ 41217 h 277148"/>
              <a:gd name="connsiteX46" fmla="*/ 374252 w 389053"/>
              <a:gd name="connsiteY46" fmla="*/ 38730 h 27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9053" h="277148">
                <a:moveTo>
                  <a:pt x="374252" y="38730"/>
                </a:moveTo>
                <a:cubicBezTo>
                  <a:pt x="368467" y="39540"/>
                  <a:pt x="369855" y="34623"/>
                  <a:pt x="363782" y="31037"/>
                </a:cubicBezTo>
                <a:cubicBezTo>
                  <a:pt x="358981" y="28144"/>
                  <a:pt x="344577" y="41275"/>
                  <a:pt x="333992" y="50646"/>
                </a:cubicBezTo>
                <a:cubicBezTo>
                  <a:pt x="328960" y="52265"/>
                  <a:pt x="324043" y="54116"/>
                  <a:pt x="319763" y="55389"/>
                </a:cubicBezTo>
                <a:cubicBezTo>
                  <a:pt x="313978" y="57182"/>
                  <a:pt x="309004" y="57761"/>
                  <a:pt x="306458" y="54926"/>
                </a:cubicBezTo>
                <a:cubicBezTo>
                  <a:pt x="300038" y="47349"/>
                  <a:pt x="317275" y="27913"/>
                  <a:pt x="305417" y="22533"/>
                </a:cubicBezTo>
                <a:cubicBezTo>
                  <a:pt x="293559" y="17154"/>
                  <a:pt x="304318" y="957"/>
                  <a:pt x="294601" y="-84"/>
                </a:cubicBezTo>
                <a:cubicBezTo>
                  <a:pt x="284882" y="-1125"/>
                  <a:pt x="269843" y="16055"/>
                  <a:pt x="269843" y="23632"/>
                </a:cubicBezTo>
                <a:cubicBezTo>
                  <a:pt x="269843" y="31210"/>
                  <a:pt x="243929" y="28954"/>
                  <a:pt x="243929" y="36590"/>
                </a:cubicBezTo>
                <a:cubicBezTo>
                  <a:pt x="243929" y="44225"/>
                  <a:pt x="220212" y="35490"/>
                  <a:pt x="215874" y="44109"/>
                </a:cubicBezTo>
                <a:cubicBezTo>
                  <a:pt x="211536" y="52728"/>
                  <a:pt x="199678" y="37631"/>
                  <a:pt x="192158" y="37631"/>
                </a:cubicBezTo>
                <a:cubicBezTo>
                  <a:pt x="184639" y="37631"/>
                  <a:pt x="179201" y="26872"/>
                  <a:pt x="169541" y="30111"/>
                </a:cubicBezTo>
                <a:cubicBezTo>
                  <a:pt x="159881" y="33350"/>
                  <a:pt x="154443" y="26872"/>
                  <a:pt x="146866" y="25773"/>
                </a:cubicBezTo>
                <a:cubicBezTo>
                  <a:pt x="139288" y="24674"/>
                  <a:pt x="133909" y="41969"/>
                  <a:pt x="125290" y="38730"/>
                </a:cubicBezTo>
                <a:cubicBezTo>
                  <a:pt x="116672" y="35490"/>
                  <a:pt x="112333" y="54926"/>
                  <a:pt x="109094" y="65685"/>
                </a:cubicBezTo>
                <a:cubicBezTo>
                  <a:pt x="105855" y="76444"/>
                  <a:pt x="69181" y="76502"/>
                  <a:pt x="70280" y="88302"/>
                </a:cubicBezTo>
                <a:cubicBezTo>
                  <a:pt x="71379" y="100103"/>
                  <a:pt x="48705" y="104557"/>
                  <a:pt x="46564" y="96979"/>
                </a:cubicBezTo>
                <a:cubicBezTo>
                  <a:pt x="44424" y="89401"/>
                  <a:pt x="30368" y="93740"/>
                  <a:pt x="27128" y="91542"/>
                </a:cubicBezTo>
                <a:cubicBezTo>
                  <a:pt x="23889" y="89344"/>
                  <a:pt x="14229" y="93740"/>
                  <a:pt x="15559" y="104557"/>
                </a:cubicBezTo>
                <a:cubicBezTo>
                  <a:pt x="16890" y="115373"/>
                  <a:pt x="5842" y="121910"/>
                  <a:pt x="4800" y="126075"/>
                </a:cubicBezTo>
                <a:cubicBezTo>
                  <a:pt x="3759" y="130239"/>
                  <a:pt x="-2777" y="143428"/>
                  <a:pt x="1561" y="149791"/>
                </a:cubicBezTo>
                <a:cubicBezTo>
                  <a:pt x="5900" y="156154"/>
                  <a:pt x="-3819" y="167144"/>
                  <a:pt x="1561" y="178713"/>
                </a:cubicBezTo>
                <a:cubicBezTo>
                  <a:pt x="6940" y="190282"/>
                  <a:pt x="3701" y="205668"/>
                  <a:pt x="5842" y="209949"/>
                </a:cubicBezTo>
                <a:cubicBezTo>
                  <a:pt x="7982" y="214229"/>
                  <a:pt x="28517" y="212147"/>
                  <a:pt x="32797" y="224005"/>
                </a:cubicBezTo>
                <a:cubicBezTo>
                  <a:pt x="37078" y="235863"/>
                  <a:pt x="5842" y="256340"/>
                  <a:pt x="4800" y="262819"/>
                </a:cubicBezTo>
                <a:cubicBezTo>
                  <a:pt x="4338" y="265479"/>
                  <a:pt x="6940" y="268603"/>
                  <a:pt x="10585" y="271900"/>
                </a:cubicBezTo>
                <a:cubicBezTo>
                  <a:pt x="24699" y="272513"/>
                  <a:pt x="38755" y="274058"/>
                  <a:pt x="52638" y="276528"/>
                </a:cubicBezTo>
                <a:cubicBezTo>
                  <a:pt x="70338" y="279767"/>
                  <a:pt x="160807" y="266058"/>
                  <a:pt x="162542" y="262761"/>
                </a:cubicBezTo>
                <a:cubicBezTo>
                  <a:pt x="164277" y="259464"/>
                  <a:pt x="159361" y="239334"/>
                  <a:pt x="160113" y="235343"/>
                </a:cubicBezTo>
                <a:cubicBezTo>
                  <a:pt x="164624" y="227499"/>
                  <a:pt x="172896" y="222588"/>
                  <a:pt x="181919" y="222386"/>
                </a:cubicBezTo>
                <a:cubicBezTo>
                  <a:pt x="191638" y="223253"/>
                  <a:pt x="200488" y="224757"/>
                  <a:pt x="200488" y="217526"/>
                </a:cubicBezTo>
                <a:cubicBezTo>
                  <a:pt x="200488" y="210296"/>
                  <a:pt x="227154" y="201388"/>
                  <a:pt x="229410" y="207867"/>
                </a:cubicBezTo>
                <a:cubicBezTo>
                  <a:pt x="231666" y="214345"/>
                  <a:pt x="241557" y="211916"/>
                  <a:pt x="242309" y="195777"/>
                </a:cubicBezTo>
                <a:cubicBezTo>
                  <a:pt x="243061" y="179639"/>
                  <a:pt x="241557" y="167491"/>
                  <a:pt x="251217" y="166855"/>
                </a:cubicBezTo>
                <a:cubicBezTo>
                  <a:pt x="260877" y="166219"/>
                  <a:pt x="270595" y="160376"/>
                  <a:pt x="269785" y="155286"/>
                </a:cubicBezTo>
                <a:cubicBezTo>
                  <a:pt x="268975" y="150196"/>
                  <a:pt x="257696" y="140767"/>
                  <a:pt x="260935" y="137528"/>
                </a:cubicBezTo>
                <a:cubicBezTo>
                  <a:pt x="264174" y="134288"/>
                  <a:pt x="288411" y="145626"/>
                  <a:pt x="291593" y="138338"/>
                </a:cubicBezTo>
                <a:cubicBezTo>
                  <a:pt x="294774" y="131049"/>
                  <a:pt x="289973" y="122951"/>
                  <a:pt x="294022" y="116530"/>
                </a:cubicBezTo>
                <a:cubicBezTo>
                  <a:pt x="298071" y="110110"/>
                  <a:pt x="307731" y="103631"/>
                  <a:pt x="306979" y="97153"/>
                </a:cubicBezTo>
                <a:cubicBezTo>
                  <a:pt x="306227" y="90674"/>
                  <a:pt x="307731" y="86625"/>
                  <a:pt x="302062" y="80956"/>
                </a:cubicBezTo>
                <a:cubicBezTo>
                  <a:pt x="298649" y="78596"/>
                  <a:pt x="297782" y="73916"/>
                  <a:pt x="300153" y="70498"/>
                </a:cubicBezTo>
                <a:cubicBezTo>
                  <a:pt x="301484" y="68508"/>
                  <a:pt x="303740" y="67299"/>
                  <a:pt x="306169" y="67247"/>
                </a:cubicBezTo>
                <a:cubicBezTo>
                  <a:pt x="307616" y="66981"/>
                  <a:pt x="309004" y="66385"/>
                  <a:pt x="310218" y="65512"/>
                </a:cubicBezTo>
                <a:cubicBezTo>
                  <a:pt x="315251" y="64916"/>
                  <a:pt x="320052" y="63238"/>
                  <a:pt x="324332" y="60595"/>
                </a:cubicBezTo>
                <a:cubicBezTo>
                  <a:pt x="334398" y="53075"/>
                  <a:pt x="353775" y="46886"/>
                  <a:pt x="361237" y="49605"/>
                </a:cubicBezTo>
                <a:cubicBezTo>
                  <a:pt x="371301" y="51785"/>
                  <a:pt x="381772" y="48615"/>
                  <a:pt x="388944" y="41217"/>
                </a:cubicBezTo>
                <a:cubicBezTo>
                  <a:pt x="384374" y="39117"/>
                  <a:pt x="379284" y="38261"/>
                  <a:pt x="374252" y="38730"/>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39" name="Forma libre: forma 238">
            <a:extLst>
              <a:ext uri="{FF2B5EF4-FFF2-40B4-BE49-F238E27FC236}">
                <a16:creationId xmlns:a16="http://schemas.microsoft.com/office/drawing/2014/main" id="{0FA348AE-644C-851A-41F2-C55207EF628B}"/>
              </a:ext>
            </a:extLst>
          </p:cNvPr>
          <p:cNvSpPr/>
          <p:nvPr/>
        </p:nvSpPr>
        <p:spPr>
          <a:xfrm>
            <a:off x="7848665" y="3413932"/>
            <a:ext cx="451763" cy="407975"/>
          </a:xfrm>
          <a:custGeom>
            <a:avLst/>
            <a:gdLst>
              <a:gd name="connsiteX0" fmla="*/ 430368 w 451763"/>
              <a:gd name="connsiteY0" fmla="*/ 42271 h 407975"/>
              <a:gd name="connsiteX1" fmla="*/ 416369 w 451763"/>
              <a:gd name="connsiteY1" fmla="*/ 21678 h 407975"/>
              <a:gd name="connsiteX2" fmla="*/ 391496 w 451763"/>
              <a:gd name="connsiteY2" fmla="*/ 1433 h 407975"/>
              <a:gd name="connsiteX3" fmla="*/ 383225 w 451763"/>
              <a:gd name="connsiteY3" fmla="*/ 3110 h 407975"/>
              <a:gd name="connsiteX4" fmla="*/ 378250 w 451763"/>
              <a:gd name="connsiteY4" fmla="*/ -129 h 407975"/>
              <a:gd name="connsiteX5" fmla="*/ 350543 w 451763"/>
              <a:gd name="connsiteY5" fmla="*/ 8258 h 407975"/>
              <a:gd name="connsiteX6" fmla="*/ 313638 w 451763"/>
              <a:gd name="connsiteY6" fmla="*/ 19249 h 407975"/>
              <a:gd name="connsiteX7" fmla="*/ 299524 w 451763"/>
              <a:gd name="connsiteY7" fmla="*/ 24165 h 407975"/>
              <a:gd name="connsiteX8" fmla="*/ 295475 w 451763"/>
              <a:gd name="connsiteY8" fmla="*/ 25901 h 407975"/>
              <a:gd name="connsiteX9" fmla="*/ 288128 w 451763"/>
              <a:gd name="connsiteY9" fmla="*/ 33583 h 407975"/>
              <a:gd name="connsiteX10" fmla="*/ 291368 w 451763"/>
              <a:gd name="connsiteY10" fmla="*/ 39610 h 407975"/>
              <a:gd name="connsiteX11" fmla="*/ 296285 w 451763"/>
              <a:gd name="connsiteY11" fmla="*/ 55806 h 407975"/>
              <a:gd name="connsiteX12" fmla="*/ 283327 w 451763"/>
              <a:gd name="connsiteY12" fmla="*/ 75184 h 407975"/>
              <a:gd name="connsiteX13" fmla="*/ 280898 w 451763"/>
              <a:gd name="connsiteY13" fmla="*/ 96991 h 407975"/>
              <a:gd name="connsiteX14" fmla="*/ 250241 w 451763"/>
              <a:gd name="connsiteY14" fmla="*/ 96182 h 407975"/>
              <a:gd name="connsiteX15" fmla="*/ 259091 w 451763"/>
              <a:gd name="connsiteY15" fmla="*/ 113940 h 407975"/>
              <a:gd name="connsiteX16" fmla="*/ 240523 w 451763"/>
              <a:gd name="connsiteY16" fmla="*/ 125509 h 407975"/>
              <a:gd name="connsiteX17" fmla="*/ 231615 w 451763"/>
              <a:gd name="connsiteY17" fmla="*/ 154431 h 407975"/>
              <a:gd name="connsiteX18" fmla="*/ 218715 w 451763"/>
              <a:gd name="connsiteY18" fmla="*/ 166520 h 407975"/>
              <a:gd name="connsiteX19" fmla="*/ 189793 w 451763"/>
              <a:gd name="connsiteY19" fmla="*/ 176180 h 407975"/>
              <a:gd name="connsiteX20" fmla="*/ 171225 w 451763"/>
              <a:gd name="connsiteY20" fmla="*/ 181039 h 407975"/>
              <a:gd name="connsiteX21" fmla="*/ 149418 w 451763"/>
              <a:gd name="connsiteY21" fmla="*/ 193996 h 407975"/>
              <a:gd name="connsiteX22" fmla="*/ 151848 w 451763"/>
              <a:gd name="connsiteY22" fmla="*/ 221415 h 407975"/>
              <a:gd name="connsiteX23" fmla="*/ 41943 w 451763"/>
              <a:gd name="connsiteY23" fmla="*/ 235182 h 407975"/>
              <a:gd name="connsiteX24" fmla="*/ -110 w 451763"/>
              <a:gd name="connsiteY24" fmla="*/ 230554 h 407975"/>
              <a:gd name="connsiteX25" fmla="*/ 12732 w 451763"/>
              <a:gd name="connsiteY25" fmla="*/ 245246 h 407975"/>
              <a:gd name="connsiteX26" fmla="*/ 40787 w 451763"/>
              <a:gd name="connsiteY26" fmla="*/ 268905 h 407975"/>
              <a:gd name="connsiteX27" fmla="*/ 53686 w 451763"/>
              <a:gd name="connsiteY27" fmla="*/ 299099 h 407975"/>
              <a:gd name="connsiteX28" fmla="*/ 60164 w 451763"/>
              <a:gd name="connsiteY28" fmla="*/ 319634 h 407975"/>
              <a:gd name="connsiteX29" fmla="*/ 35349 w 451763"/>
              <a:gd name="connsiteY29" fmla="*/ 327212 h 407975"/>
              <a:gd name="connsiteX30" fmla="*/ 17996 w 451763"/>
              <a:gd name="connsiteY30" fmla="*/ 355208 h 407975"/>
              <a:gd name="connsiteX31" fmla="*/ 18690 w 451763"/>
              <a:gd name="connsiteY31" fmla="*/ 362034 h 407975"/>
              <a:gd name="connsiteX32" fmla="*/ 69651 w 451763"/>
              <a:gd name="connsiteY32" fmla="*/ 358332 h 407975"/>
              <a:gd name="connsiteX33" fmla="*/ 90649 w 451763"/>
              <a:gd name="connsiteY33" fmla="*/ 355093 h 407975"/>
              <a:gd name="connsiteX34" fmla="*/ 134668 w 451763"/>
              <a:gd name="connsiteY34" fmla="*/ 354688 h 407975"/>
              <a:gd name="connsiteX35" fmla="*/ 156475 w 451763"/>
              <a:gd name="connsiteY35" fmla="*/ 361167 h 407975"/>
              <a:gd name="connsiteX36" fmla="*/ 168969 w 451763"/>
              <a:gd name="connsiteY36" fmla="*/ 376090 h 407975"/>
              <a:gd name="connsiteX37" fmla="*/ 174754 w 451763"/>
              <a:gd name="connsiteY37" fmla="*/ 394716 h 407975"/>
              <a:gd name="connsiteX38" fmla="*/ 198585 w 451763"/>
              <a:gd name="connsiteY38" fmla="*/ 405186 h 407975"/>
              <a:gd name="connsiteX39" fmla="*/ 202982 w 451763"/>
              <a:gd name="connsiteY39" fmla="*/ 407847 h 407975"/>
              <a:gd name="connsiteX40" fmla="*/ 204659 w 451763"/>
              <a:gd name="connsiteY40" fmla="*/ 405938 h 407975"/>
              <a:gd name="connsiteX41" fmla="*/ 229475 w 451763"/>
              <a:gd name="connsiteY41" fmla="*/ 388585 h 407975"/>
              <a:gd name="connsiteX42" fmla="*/ 255389 w 451763"/>
              <a:gd name="connsiteY42" fmla="*/ 387486 h 407975"/>
              <a:gd name="connsiteX43" fmla="*/ 275865 w 451763"/>
              <a:gd name="connsiteY43" fmla="*/ 382106 h 407975"/>
              <a:gd name="connsiteX44" fmla="*/ 266206 w 451763"/>
              <a:gd name="connsiteY44" fmla="*/ 357291 h 407975"/>
              <a:gd name="connsiteX45" fmla="*/ 254290 w 451763"/>
              <a:gd name="connsiteY45" fmla="*/ 329294 h 407975"/>
              <a:gd name="connsiteX46" fmla="*/ 236936 w 451763"/>
              <a:gd name="connsiteY46" fmla="*/ 309858 h 407975"/>
              <a:gd name="connsiteX47" fmla="*/ 257471 w 451763"/>
              <a:gd name="connsiteY47" fmla="*/ 284002 h 407975"/>
              <a:gd name="connsiteX48" fmla="*/ 277948 w 451763"/>
              <a:gd name="connsiteY48" fmla="*/ 286142 h 407975"/>
              <a:gd name="connsiteX49" fmla="*/ 296285 w 451763"/>
              <a:gd name="connsiteY49" fmla="*/ 285043 h 407975"/>
              <a:gd name="connsiteX50" fmla="*/ 311382 w 451763"/>
              <a:gd name="connsiteY50" fmla="*/ 264567 h 407975"/>
              <a:gd name="connsiteX51" fmla="*/ 334057 w 451763"/>
              <a:gd name="connsiteY51" fmla="*/ 250510 h 407975"/>
              <a:gd name="connsiteX52" fmla="*/ 344874 w 451763"/>
              <a:gd name="connsiteY52" fmla="*/ 221588 h 407975"/>
              <a:gd name="connsiteX53" fmla="*/ 361013 w 451763"/>
              <a:gd name="connsiteY53" fmla="*/ 208631 h 407975"/>
              <a:gd name="connsiteX54" fmla="*/ 372003 w 451763"/>
              <a:gd name="connsiteY54" fmla="*/ 193684 h 407975"/>
              <a:gd name="connsiteX55" fmla="*/ 373970 w 451763"/>
              <a:gd name="connsiteY55" fmla="*/ 193534 h 407975"/>
              <a:gd name="connsiteX56" fmla="*/ 379349 w 451763"/>
              <a:gd name="connsiteY56" fmla="*/ 173057 h 407975"/>
              <a:gd name="connsiteX57" fmla="*/ 393347 w 451763"/>
              <a:gd name="connsiteY57" fmla="*/ 152580 h 407975"/>
              <a:gd name="connsiteX58" fmla="*/ 380390 w 451763"/>
              <a:gd name="connsiteY58" fmla="*/ 140722 h 407975"/>
              <a:gd name="connsiteX59" fmla="*/ 364252 w 451763"/>
              <a:gd name="connsiteY59" fmla="*/ 114808 h 407975"/>
              <a:gd name="connsiteX60" fmla="*/ 359913 w 451763"/>
              <a:gd name="connsiteY60" fmla="*/ 88951 h 407975"/>
              <a:gd name="connsiteX61" fmla="*/ 373970 w 451763"/>
              <a:gd name="connsiteY61" fmla="*/ 73854 h 407975"/>
              <a:gd name="connsiteX62" fmla="*/ 414923 w 451763"/>
              <a:gd name="connsiteY62" fmla="*/ 81374 h 407975"/>
              <a:gd name="connsiteX63" fmla="*/ 441879 w 451763"/>
              <a:gd name="connsiteY63" fmla="*/ 70614 h 407975"/>
              <a:gd name="connsiteX64" fmla="*/ 451654 w 451763"/>
              <a:gd name="connsiteY64" fmla="*/ 53782 h 407975"/>
              <a:gd name="connsiteX65" fmla="*/ 430368 w 451763"/>
              <a:gd name="connsiteY65" fmla="*/ 42271 h 4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51763" h="407975">
                <a:moveTo>
                  <a:pt x="430368" y="42271"/>
                </a:moveTo>
                <a:cubicBezTo>
                  <a:pt x="422096" y="38719"/>
                  <a:pt x="416659" y="30685"/>
                  <a:pt x="416369" y="21678"/>
                </a:cubicBezTo>
                <a:cubicBezTo>
                  <a:pt x="416369" y="18497"/>
                  <a:pt x="402024" y="9704"/>
                  <a:pt x="391496" y="1433"/>
                </a:cubicBezTo>
                <a:cubicBezTo>
                  <a:pt x="390108" y="1433"/>
                  <a:pt x="386869" y="2185"/>
                  <a:pt x="383225" y="3110"/>
                </a:cubicBezTo>
                <a:cubicBezTo>
                  <a:pt x="381779" y="1768"/>
                  <a:pt x="380043" y="675"/>
                  <a:pt x="378250" y="-129"/>
                </a:cubicBezTo>
                <a:cubicBezTo>
                  <a:pt x="371078" y="7269"/>
                  <a:pt x="360607" y="10439"/>
                  <a:pt x="350543" y="8258"/>
                </a:cubicBezTo>
                <a:cubicBezTo>
                  <a:pt x="343080" y="5540"/>
                  <a:pt x="323703" y="11729"/>
                  <a:pt x="313638" y="19249"/>
                </a:cubicBezTo>
                <a:cubicBezTo>
                  <a:pt x="309357" y="21892"/>
                  <a:pt x="304557" y="23570"/>
                  <a:pt x="299524" y="24165"/>
                </a:cubicBezTo>
                <a:cubicBezTo>
                  <a:pt x="298309" y="25039"/>
                  <a:pt x="296921" y="25635"/>
                  <a:pt x="295475" y="25901"/>
                </a:cubicBezTo>
                <a:cubicBezTo>
                  <a:pt x="291310" y="25988"/>
                  <a:pt x="288013" y="29429"/>
                  <a:pt x="288128" y="33583"/>
                </a:cubicBezTo>
                <a:cubicBezTo>
                  <a:pt x="288186" y="35995"/>
                  <a:pt x="289401" y="38239"/>
                  <a:pt x="291368" y="39610"/>
                </a:cubicBezTo>
                <a:cubicBezTo>
                  <a:pt x="297152" y="45394"/>
                  <a:pt x="295475" y="49328"/>
                  <a:pt x="296285" y="55806"/>
                </a:cubicBezTo>
                <a:cubicBezTo>
                  <a:pt x="297094" y="62285"/>
                  <a:pt x="287376" y="68764"/>
                  <a:pt x="283327" y="75184"/>
                </a:cubicBezTo>
                <a:cubicBezTo>
                  <a:pt x="279279" y="81605"/>
                  <a:pt x="284137" y="89761"/>
                  <a:pt x="280898" y="96991"/>
                </a:cubicBezTo>
                <a:cubicBezTo>
                  <a:pt x="277659" y="104222"/>
                  <a:pt x="253422" y="92942"/>
                  <a:pt x="250241" y="96182"/>
                </a:cubicBezTo>
                <a:cubicBezTo>
                  <a:pt x="247059" y="99421"/>
                  <a:pt x="258281" y="109139"/>
                  <a:pt x="259091" y="113940"/>
                </a:cubicBezTo>
                <a:cubicBezTo>
                  <a:pt x="259900" y="118741"/>
                  <a:pt x="250241" y="124467"/>
                  <a:pt x="240523" y="125509"/>
                </a:cubicBezTo>
                <a:cubicBezTo>
                  <a:pt x="230805" y="126550"/>
                  <a:pt x="232424" y="138408"/>
                  <a:pt x="231615" y="154431"/>
                </a:cubicBezTo>
                <a:cubicBezTo>
                  <a:pt x="230805" y="170454"/>
                  <a:pt x="221145" y="172999"/>
                  <a:pt x="218715" y="166520"/>
                </a:cubicBezTo>
                <a:cubicBezTo>
                  <a:pt x="216286" y="160042"/>
                  <a:pt x="189793" y="168950"/>
                  <a:pt x="189793" y="176180"/>
                </a:cubicBezTo>
                <a:cubicBezTo>
                  <a:pt x="189793" y="183411"/>
                  <a:pt x="180943" y="181965"/>
                  <a:pt x="171225" y="181039"/>
                </a:cubicBezTo>
                <a:cubicBezTo>
                  <a:pt x="162202" y="181242"/>
                  <a:pt x="153930" y="186153"/>
                  <a:pt x="149418" y="193996"/>
                </a:cubicBezTo>
                <a:cubicBezTo>
                  <a:pt x="148666" y="197988"/>
                  <a:pt x="153467" y="218233"/>
                  <a:pt x="151848" y="221415"/>
                </a:cubicBezTo>
                <a:cubicBezTo>
                  <a:pt x="150228" y="224596"/>
                  <a:pt x="59759" y="238421"/>
                  <a:pt x="41943" y="235182"/>
                </a:cubicBezTo>
                <a:cubicBezTo>
                  <a:pt x="28061" y="232712"/>
                  <a:pt x="14005" y="231167"/>
                  <a:pt x="-110" y="230554"/>
                </a:cubicBezTo>
                <a:cubicBezTo>
                  <a:pt x="5039" y="234603"/>
                  <a:pt x="9435" y="239589"/>
                  <a:pt x="12732" y="245246"/>
                </a:cubicBezTo>
                <a:cubicBezTo>
                  <a:pt x="16318" y="254733"/>
                  <a:pt x="27829" y="263525"/>
                  <a:pt x="40787" y="268905"/>
                </a:cubicBezTo>
                <a:cubicBezTo>
                  <a:pt x="53744" y="274284"/>
                  <a:pt x="47207" y="296959"/>
                  <a:pt x="53686" y="299099"/>
                </a:cubicBezTo>
                <a:cubicBezTo>
                  <a:pt x="60164" y="301240"/>
                  <a:pt x="68783" y="318535"/>
                  <a:pt x="60164" y="319634"/>
                </a:cubicBezTo>
                <a:cubicBezTo>
                  <a:pt x="51488" y="320629"/>
                  <a:pt x="43100" y="323197"/>
                  <a:pt x="35349" y="327212"/>
                </a:cubicBezTo>
                <a:cubicBezTo>
                  <a:pt x="24590" y="332337"/>
                  <a:pt x="17764" y="343281"/>
                  <a:pt x="17996" y="355208"/>
                </a:cubicBezTo>
                <a:cubicBezTo>
                  <a:pt x="17996" y="356944"/>
                  <a:pt x="18400" y="359258"/>
                  <a:pt x="18690" y="362034"/>
                </a:cubicBezTo>
                <a:cubicBezTo>
                  <a:pt x="40729" y="362555"/>
                  <a:pt x="66817" y="361456"/>
                  <a:pt x="69651" y="358332"/>
                </a:cubicBezTo>
                <a:cubicBezTo>
                  <a:pt x="75262" y="352941"/>
                  <a:pt x="83649" y="351651"/>
                  <a:pt x="90649" y="355093"/>
                </a:cubicBezTo>
                <a:cubicBezTo>
                  <a:pt x="96433" y="359142"/>
                  <a:pt x="123735" y="360877"/>
                  <a:pt x="134668" y="354688"/>
                </a:cubicBezTo>
                <a:cubicBezTo>
                  <a:pt x="147914" y="347342"/>
                  <a:pt x="156070" y="354688"/>
                  <a:pt x="156475" y="361167"/>
                </a:cubicBezTo>
                <a:cubicBezTo>
                  <a:pt x="156880" y="367645"/>
                  <a:pt x="162896" y="370479"/>
                  <a:pt x="168969" y="376090"/>
                </a:cubicBezTo>
                <a:cubicBezTo>
                  <a:pt x="175043" y="381701"/>
                  <a:pt x="170589" y="388238"/>
                  <a:pt x="174754" y="394716"/>
                </a:cubicBezTo>
                <a:cubicBezTo>
                  <a:pt x="178918" y="401195"/>
                  <a:pt x="186844" y="399922"/>
                  <a:pt x="198585" y="405186"/>
                </a:cubicBezTo>
                <a:cubicBezTo>
                  <a:pt x="200147" y="405938"/>
                  <a:pt x="201593" y="406829"/>
                  <a:pt x="202982" y="407847"/>
                </a:cubicBezTo>
                <a:lnTo>
                  <a:pt x="204659" y="405938"/>
                </a:lnTo>
                <a:cubicBezTo>
                  <a:pt x="211138" y="398360"/>
                  <a:pt x="212237" y="385403"/>
                  <a:pt x="229475" y="388585"/>
                </a:cubicBezTo>
                <a:cubicBezTo>
                  <a:pt x="246712" y="391766"/>
                  <a:pt x="245671" y="385345"/>
                  <a:pt x="255389" y="387486"/>
                </a:cubicBezTo>
                <a:cubicBezTo>
                  <a:pt x="265106" y="389626"/>
                  <a:pt x="271527" y="388585"/>
                  <a:pt x="275865" y="382106"/>
                </a:cubicBezTo>
                <a:cubicBezTo>
                  <a:pt x="280204" y="375628"/>
                  <a:pt x="271527" y="362728"/>
                  <a:pt x="266206" y="357291"/>
                </a:cubicBezTo>
                <a:cubicBezTo>
                  <a:pt x="258686" y="349916"/>
                  <a:pt x="254405" y="339839"/>
                  <a:pt x="254290" y="329294"/>
                </a:cubicBezTo>
                <a:cubicBezTo>
                  <a:pt x="255389" y="318477"/>
                  <a:pt x="236936" y="318477"/>
                  <a:pt x="236936" y="309858"/>
                </a:cubicBezTo>
                <a:cubicBezTo>
                  <a:pt x="236936" y="301240"/>
                  <a:pt x="254290" y="287184"/>
                  <a:pt x="257471" y="284002"/>
                </a:cubicBezTo>
                <a:cubicBezTo>
                  <a:pt x="260652" y="280821"/>
                  <a:pt x="274825" y="292621"/>
                  <a:pt x="277948" y="286142"/>
                </a:cubicBezTo>
                <a:cubicBezTo>
                  <a:pt x="281071" y="279664"/>
                  <a:pt x="290905" y="284002"/>
                  <a:pt x="296285" y="285043"/>
                </a:cubicBezTo>
                <a:cubicBezTo>
                  <a:pt x="301664" y="286084"/>
                  <a:pt x="310283" y="274226"/>
                  <a:pt x="311382" y="264567"/>
                </a:cubicBezTo>
                <a:cubicBezTo>
                  <a:pt x="312481" y="254906"/>
                  <a:pt x="330817" y="253750"/>
                  <a:pt x="334057" y="250510"/>
                </a:cubicBezTo>
                <a:cubicBezTo>
                  <a:pt x="337296" y="247271"/>
                  <a:pt x="342676" y="225753"/>
                  <a:pt x="344874" y="221588"/>
                </a:cubicBezTo>
                <a:cubicBezTo>
                  <a:pt x="347072" y="217423"/>
                  <a:pt x="361013" y="220547"/>
                  <a:pt x="361013" y="208631"/>
                </a:cubicBezTo>
                <a:cubicBezTo>
                  <a:pt x="359913" y="201458"/>
                  <a:pt x="364830" y="194766"/>
                  <a:pt x="372003" y="193684"/>
                </a:cubicBezTo>
                <a:cubicBezTo>
                  <a:pt x="372697" y="193586"/>
                  <a:pt x="373334" y="193534"/>
                  <a:pt x="373970" y="193534"/>
                </a:cubicBezTo>
                <a:cubicBezTo>
                  <a:pt x="380390" y="192492"/>
                  <a:pt x="378308" y="181965"/>
                  <a:pt x="379349" y="173057"/>
                </a:cubicBezTo>
                <a:cubicBezTo>
                  <a:pt x="380390" y="164149"/>
                  <a:pt x="384729" y="154720"/>
                  <a:pt x="393347" y="152580"/>
                </a:cubicBezTo>
                <a:cubicBezTo>
                  <a:pt x="401966" y="150440"/>
                  <a:pt x="390108" y="138582"/>
                  <a:pt x="380390" y="140722"/>
                </a:cubicBezTo>
                <a:cubicBezTo>
                  <a:pt x="370672" y="142862"/>
                  <a:pt x="364252" y="114808"/>
                  <a:pt x="364252" y="114808"/>
                </a:cubicBezTo>
                <a:cubicBezTo>
                  <a:pt x="364252" y="114808"/>
                  <a:pt x="365293" y="92190"/>
                  <a:pt x="359913" y="88951"/>
                </a:cubicBezTo>
                <a:cubicBezTo>
                  <a:pt x="354534" y="85712"/>
                  <a:pt x="362053" y="73854"/>
                  <a:pt x="373970" y="73854"/>
                </a:cubicBezTo>
                <a:cubicBezTo>
                  <a:pt x="385885" y="73854"/>
                  <a:pt x="407403" y="86753"/>
                  <a:pt x="414923" y="81374"/>
                </a:cubicBezTo>
                <a:cubicBezTo>
                  <a:pt x="422443" y="75994"/>
                  <a:pt x="437598" y="72755"/>
                  <a:pt x="441879" y="70614"/>
                </a:cubicBezTo>
                <a:cubicBezTo>
                  <a:pt x="445176" y="68937"/>
                  <a:pt x="449688" y="58641"/>
                  <a:pt x="451654" y="53782"/>
                </a:cubicBezTo>
                <a:cubicBezTo>
                  <a:pt x="444829" y="49490"/>
                  <a:pt x="437714" y="45643"/>
                  <a:pt x="430368" y="42271"/>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0" name="Forma libre: forma 239">
            <a:extLst>
              <a:ext uri="{FF2B5EF4-FFF2-40B4-BE49-F238E27FC236}">
                <a16:creationId xmlns:a16="http://schemas.microsoft.com/office/drawing/2014/main" id="{4D51A13C-09CE-F024-11D3-600A2F8AC0A6}"/>
              </a:ext>
            </a:extLst>
          </p:cNvPr>
          <p:cNvSpPr/>
          <p:nvPr/>
        </p:nvSpPr>
        <p:spPr>
          <a:xfrm>
            <a:off x="8758068" y="4331283"/>
            <a:ext cx="1252701" cy="442756"/>
          </a:xfrm>
          <a:custGeom>
            <a:avLst/>
            <a:gdLst>
              <a:gd name="connsiteX0" fmla="*/ 657374 w 1252701"/>
              <a:gd name="connsiteY0" fmla="*/ 254908 h 442756"/>
              <a:gd name="connsiteX1" fmla="*/ 665472 w 1252701"/>
              <a:gd name="connsiteY1" fmla="*/ 283830 h 442756"/>
              <a:gd name="connsiteX2" fmla="*/ 668711 w 1252701"/>
              <a:gd name="connsiteY2" fmla="*/ 315414 h 442756"/>
              <a:gd name="connsiteX3" fmla="*/ 682420 w 1252701"/>
              <a:gd name="connsiteY3" fmla="*/ 288747 h 442756"/>
              <a:gd name="connsiteX4" fmla="*/ 679123 w 1252701"/>
              <a:gd name="connsiteY4" fmla="*/ 238654 h 442756"/>
              <a:gd name="connsiteX5" fmla="*/ 696939 w 1252701"/>
              <a:gd name="connsiteY5" fmla="*/ 250223 h 442756"/>
              <a:gd name="connsiteX6" fmla="*/ 710648 w 1252701"/>
              <a:gd name="connsiteY6" fmla="*/ 277641 h 442756"/>
              <a:gd name="connsiteX7" fmla="*/ 735695 w 1252701"/>
              <a:gd name="connsiteY7" fmla="*/ 280880 h 442756"/>
              <a:gd name="connsiteX8" fmla="*/ 737314 w 1252701"/>
              <a:gd name="connsiteY8" fmla="*/ 259883 h 442756"/>
              <a:gd name="connsiteX9" fmla="*/ 731530 w 1252701"/>
              <a:gd name="connsiteY9" fmla="*/ 228415 h 442756"/>
              <a:gd name="connsiteX10" fmla="*/ 722622 w 1252701"/>
              <a:gd name="connsiteY10" fmla="*/ 205741 h 442756"/>
              <a:gd name="connsiteX11" fmla="*/ 763865 w 1252701"/>
              <a:gd name="connsiteY11" fmla="*/ 175893 h 442756"/>
              <a:gd name="connsiteX12" fmla="*/ 708103 w 1252701"/>
              <a:gd name="connsiteY12" fmla="*/ 192032 h 442756"/>
              <a:gd name="connsiteX13" fmla="*/ 674207 w 1252701"/>
              <a:gd name="connsiteY13" fmla="*/ 165423 h 442756"/>
              <a:gd name="connsiteX14" fmla="*/ 764675 w 1252701"/>
              <a:gd name="connsiteY14" fmla="*/ 145235 h 442756"/>
              <a:gd name="connsiteX15" fmla="*/ 812339 w 1252701"/>
              <a:gd name="connsiteY15" fmla="*/ 116950 h 442756"/>
              <a:gd name="connsiteX16" fmla="*/ 783417 w 1252701"/>
              <a:gd name="connsiteY16" fmla="*/ 128229 h 442756"/>
              <a:gd name="connsiteX17" fmla="*/ 714813 w 1252701"/>
              <a:gd name="connsiteY17" fmla="*/ 120941 h 442756"/>
              <a:gd name="connsiteX18" fmla="*/ 681611 w 1252701"/>
              <a:gd name="connsiteY18" fmla="*/ 134650 h 442756"/>
              <a:gd name="connsiteX19" fmla="*/ 662290 w 1252701"/>
              <a:gd name="connsiteY19" fmla="*/ 175141 h 442756"/>
              <a:gd name="connsiteX20" fmla="*/ 640425 w 1252701"/>
              <a:gd name="connsiteY20" fmla="*/ 227663 h 442756"/>
              <a:gd name="connsiteX21" fmla="*/ 657374 w 1252701"/>
              <a:gd name="connsiteY21" fmla="*/ 254908 h 442756"/>
              <a:gd name="connsiteX22" fmla="*/ 288270 w 1252701"/>
              <a:gd name="connsiteY22" fmla="*/ 275906 h 442756"/>
              <a:gd name="connsiteX23" fmla="*/ 292261 w 1252701"/>
              <a:gd name="connsiteY23" fmla="*/ 247562 h 442756"/>
              <a:gd name="connsiteX24" fmla="*/ 303830 w 1252701"/>
              <a:gd name="connsiteY24" fmla="*/ 241083 h 442756"/>
              <a:gd name="connsiteX25" fmla="*/ 304639 w 1252701"/>
              <a:gd name="connsiteY25" fmla="*/ 224135 h 442756"/>
              <a:gd name="connsiteX26" fmla="*/ 282022 w 1252701"/>
              <a:gd name="connsiteY26" fmla="*/ 202328 h 442756"/>
              <a:gd name="connsiteX27" fmla="*/ 278783 w 1252701"/>
              <a:gd name="connsiteY27" fmla="*/ 214475 h 442756"/>
              <a:gd name="connsiteX28" fmla="*/ 289311 w 1252701"/>
              <a:gd name="connsiteY28" fmla="*/ 227374 h 442756"/>
              <a:gd name="connsiteX29" fmla="*/ 272363 w 1252701"/>
              <a:gd name="connsiteY29" fmla="*/ 222573 h 442756"/>
              <a:gd name="connsiteX30" fmla="*/ 255356 w 1252701"/>
              <a:gd name="connsiteY30" fmla="*/ 207997 h 442756"/>
              <a:gd name="connsiteX31" fmla="*/ 231062 w 1252701"/>
              <a:gd name="connsiteY31" fmla="*/ 183760 h 442756"/>
              <a:gd name="connsiteX32" fmla="*/ 225277 w 1252701"/>
              <a:gd name="connsiteY32" fmla="*/ 164382 h 442756"/>
              <a:gd name="connsiteX33" fmla="*/ 211568 w 1252701"/>
              <a:gd name="connsiteY33" fmla="*/ 139335 h 442756"/>
              <a:gd name="connsiteX34" fmla="*/ 197049 w 1252701"/>
              <a:gd name="connsiteY34" fmla="*/ 127246 h 442756"/>
              <a:gd name="connsiteX35" fmla="*/ 183282 w 1252701"/>
              <a:gd name="connsiteY35" fmla="*/ 113479 h 442756"/>
              <a:gd name="connsiteX36" fmla="*/ 166334 w 1252701"/>
              <a:gd name="connsiteY36" fmla="*/ 105438 h 442756"/>
              <a:gd name="connsiteX37" fmla="*/ 145336 w 1252701"/>
              <a:gd name="connsiteY37" fmla="*/ 96531 h 442756"/>
              <a:gd name="connsiteX38" fmla="*/ 122198 w 1252701"/>
              <a:gd name="connsiteY38" fmla="*/ 73104 h 442756"/>
              <a:gd name="connsiteX39" fmla="*/ 75923 w 1252701"/>
              <a:gd name="connsiteY39" fmla="*/ 31919 h 442756"/>
              <a:gd name="connsiteX40" fmla="*/ 36358 w 1252701"/>
              <a:gd name="connsiteY40" fmla="*/ 13350 h 442756"/>
              <a:gd name="connsiteX41" fmla="*/ 783 w 1252701"/>
              <a:gd name="connsiteY41" fmla="*/ 2881 h 442756"/>
              <a:gd name="connsiteX42" fmla="*/ 37977 w 1252701"/>
              <a:gd name="connsiteY42" fmla="*/ 55403 h 442756"/>
              <a:gd name="connsiteX43" fmla="*/ 75113 w 1252701"/>
              <a:gd name="connsiteY43" fmla="*/ 94159 h 442756"/>
              <a:gd name="connsiteX44" fmla="*/ 104961 w 1252701"/>
              <a:gd name="connsiteY44" fmla="*/ 149053 h 442756"/>
              <a:gd name="connsiteX45" fmla="*/ 147014 w 1252701"/>
              <a:gd name="connsiteY45" fmla="*/ 212046 h 442756"/>
              <a:gd name="connsiteX46" fmla="*/ 186579 w 1252701"/>
              <a:gd name="connsiteY46" fmla="*/ 258957 h 442756"/>
              <a:gd name="connsiteX47" fmla="*/ 235863 w 1252701"/>
              <a:gd name="connsiteY47" fmla="*/ 301704 h 442756"/>
              <a:gd name="connsiteX48" fmla="*/ 249629 w 1252701"/>
              <a:gd name="connsiteY48" fmla="*/ 315471 h 442756"/>
              <a:gd name="connsiteX49" fmla="*/ 278552 w 1252701"/>
              <a:gd name="connsiteY49" fmla="*/ 316281 h 442756"/>
              <a:gd name="connsiteX50" fmla="*/ 288270 w 1252701"/>
              <a:gd name="connsiteY50" fmla="*/ 275732 h 442756"/>
              <a:gd name="connsiteX51" fmla="*/ 905352 w 1252701"/>
              <a:gd name="connsiteY51" fmla="*/ 146624 h 442756"/>
              <a:gd name="connsiteX52" fmla="*/ 915012 w 1252701"/>
              <a:gd name="connsiteY52" fmla="*/ 126436 h 442756"/>
              <a:gd name="connsiteX53" fmla="*/ 898874 w 1252701"/>
              <a:gd name="connsiteY53" fmla="*/ 119205 h 442756"/>
              <a:gd name="connsiteX54" fmla="*/ 880306 w 1252701"/>
              <a:gd name="connsiteY54" fmla="*/ 108678 h 442756"/>
              <a:gd name="connsiteX55" fmla="*/ 894825 w 1252701"/>
              <a:gd name="connsiteY55" fmla="*/ 168489 h 442756"/>
              <a:gd name="connsiteX56" fmla="*/ 905352 w 1252701"/>
              <a:gd name="connsiteY56" fmla="*/ 146450 h 442756"/>
              <a:gd name="connsiteX57" fmla="*/ 839121 w 1252701"/>
              <a:gd name="connsiteY57" fmla="*/ 247562 h 442756"/>
              <a:gd name="connsiteX58" fmla="*/ 872208 w 1252701"/>
              <a:gd name="connsiteY58" fmla="*/ 256528 h 442756"/>
              <a:gd name="connsiteX59" fmla="*/ 839121 w 1252701"/>
              <a:gd name="connsiteY59" fmla="*/ 247389 h 442756"/>
              <a:gd name="connsiteX60" fmla="*/ 775492 w 1252701"/>
              <a:gd name="connsiteY60" fmla="*/ 384075 h 442756"/>
              <a:gd name="connsiteX61" fmla="*/ 717300 w 1252701"/>
              <a:gd name="connsiteY61" fmla="*/ 388933 h 442756"/>
              <a:gd name="connsiteX62" fmla="*/ 666398 w 1252701"/>
              <a:gd name="connsiteY62" fmla="*/ 396222 h 442756"/>
              <a:gd name="connsiteX63" fmla="*/ 710822 w 1252701"/>
              <a:gd name="connsiteY63" fmla="*/ 404320 h 442756"/>
              <a:gd name="connsiteX64" fmla="*/ 766526 w 1252701"/>
              <a:gd name="connsiteY64" fmla="*/ 392173 h 442756"/>
              <a:gd name="connsiteX65" fmla="*/ 775318 w 1252701"/>
              <a:gd name="connsiteY65" fmla="*/ 383901 h 442756"/>
              <a:gd name="connsiteX66" fmla="*/ 948273 w 1252701"/>
              <a:gd name="connsiteY66" fmla="*/ 236283 h 442756"/>
              <a:gd name="connsiteX67" fmla="*/ 894998 w 1252701"/>
              <a:gd name="connsiteY67" fmla="*/ 245942 h 442756"/>
              <a:gd name="connsiteX68" fmla="*/ 932134 w 1252701"/>
              <a:gd name="connsiteY68" fmla="*/ 251727 h 442756"/>
              <a:gd name="connsiteX69" fmla="*/ 966841 w 1252701"/>
              <a:gd name="connsiteY69" fmla="*/ 263816 h 442756"/>
              <a:gd name="connsiteX70" fmla="*/ 948099 w 1252701"/>
              <a:gd name="connsiteY70" fmla="*/ 236109 h 442756"/>
              <a:gd name="connsiteX71" fmla="*/ 522654 w 1252701"/>
              <a:gd name="connsiteY71" fmla="*/ 375109 h 442756"/>
              <a:gd name="connsiteX72" fmla="*/ 474991 w 1252701"/>
              <a:gd name="connsiteY72" fmla="*/ 367820 h 442756"/>
              <a:gd name="connsiteX73" fmla="*/ 502467 w 1252701"/>
              <a:gd name="connsiteY73" fmla="*/ 349194 h 442756"/>
              <a:gd name="connsiteX74" fmla="*/ 470132 w 1252701"/>
              <a:gd name="connsiteY74" fmla="*/ 348442 h 442756"/>
              <a:gd name="connsiteX75" fmla="*/ 413618 w 1252701"/>
              <a:gd name="connsiteY75" fmla="*/ 341964 h 442756"/>
              <a:gd name="connsiteX76" fmla="*/ 355427 w 1252701"/>
              <a:gd name="connsiteY76" fmla="*/ 329065 h 442756"/>
              <a:gd name="connsiteX77" fmla="*/ 291798 w 1252701"/>
              <a:gd name="connsiteY77" fmla="*/ 325825 h 442756"/>
              <a:gd name="connsiteX78" fmla="*/ 278898 w 1252701"/>
              <a:gd name="connsiteY78" fmla="*/ 341964 h 442756"/>
              <a:gd name="connsiteX79" fmla="*/ 299087 w 1252701"/>
              <a:gd name="connsiteY79" fmla="*/ 346013 h 442756"/>
              <a:gd name="connsiteX80" fmla="*/ 313605 w 1252701"/>
              <a:gd name="connsiteY80" fmla="*/ 361342 h 442756"/>
              <a:gd name="connsiteX81" fmla="*/ 362078 w 1252701"/>
              <a:gd name="connsiteY81" fmla="*/ 365449 h 442756"/>
              <a:gd name="connsiteX82" fmla="*/ 413792 w 1252701"/>
              <a:gd name="connsiteY82" fmla="*/ 378348 h 442756"/>
              <a:gd name="connsiteX83" fmla="*/ 481643 w 1252701"/>
              <a:gd name="connsiteY83" fmla="*/ 389627 h 442756"/>
              <a:gd name="connsiteX84" fmla="*/ 517969 w 1252701"/>
              <a:gd name="connsiteY84" fmla="*/ 391247 h 442756"/>
              <a:gd name="connsiteX85" fmla="*/ 550304 w 1252701"/>
              <a:gd name="connsiteY85" fmla="*/ 392057 h 442756"/>
              <a:gd name="connsiteX86" fmla="*/ 522481 w 1252701"/>
              <a:gd name="connsiteY86" fmla="*/ 375051 h 442756"/>
              <a:gd name="connsiteX87" fmla="*/ 1158305 w 1252701"/>
              <a:gd name="connsiteY87" fmla="*/ 198973 h 442756"/>
              <a:gd name="connsiteX88" fmla="*/ 1134069 w 1252701"/>
              <a:gd name="connsiteY88" fmla="*/ 220780 h 442756"/>
              <a:gd name="connsiteX89" fmla="*/ 1089644 w 1252701"/>
              <a:gd name="connsiteY89" fmla="*/ 249066 h 442756"/>
              <a:gd name="connsiteX90" fmla="*/ 1060722 w 1252701"/>
              <a:gd name="connsiteY90" fmla="*/ 181273 h 442756"/>
              <a:gd name="connsiteX91" fmla="*/ 998539 w 1252701"/>
              <a:gd name="connsiteY91" fmla="*/ 173174 h 442756"/>
              <a:gd name="connsiteX92" fmla="*/ 975402 w 1252701"/>
              <a:gd name="connsiteY92" fmla="*/ 190932 h 442756"/>
              <a:gd name="connsiteX93" fmla="*/ 989921 w 1252701"/>
              <a:gd name="connsiteY93" fmla="*/ 198221 h 442756"/>
              <a:gd name="connsiteX94" fmla="*/ 1005307 w 1252701"/>
              <a:gd name="connsiteY94" fmla="*/ 216731 h 442756"/>
              <a:gd name="connsiteX95" fmla="*/ 1048922 w 1252701"/>
              <a:gd name="connsiteY95" fmla="*/ 219218 h 442756"/>
              <a:gd name="connsiteX96" fmla="*/ 1046492 w 1252701"/>
              <a:gd name="connsiteY96" fmla="*/ 227259 h 442756"/>
              <a:gd name="connsiteX97" fmla="*/ 1023355 w 1252701"/>
              <a:gd name="connsiteY97" fmla="*/ 231366 h 442756"/>
              <a:gd name="connsiteX98" fmla="*/ 1007158 w 1252701"/>
              <a:gd name="connsiteY98" fmla="*/ 235357 h 442756"/>
              <a:gd name="connsiteX99" fmla="*/ 1024165 w 1252701"/>
              <a:gd name="connsiteY99" fmla="*/ 259594 h 442756"/>
              <a:gd name="connsiteX100" fmla="*/ 1042732 w 1252701"/>
              <a:gd name="connsiteY100" fmla="*/ 259594 h 442756"/>
              <a:gd name="connsiteX101" fmla="*/ 1071018 w 1252701"/>
              <a:gd name="connsiteY101" fmla="*/ 267634 h 442756"/>
              <a:gd name="connsiteX102" fmla="*/ 1095255 w 1252701"/>
              <a:gd name="connsiteY102" fmla="*/ 280591 h 442756"/>
              <a:gd name="connsiteX103" fmla="*/ 1171956 w 1252701"/>
              <a:gd name="connsiteY103" fmla="*/ 307199 h 442756"/>
              <a:gd name="connsiteX104" fmla="*/ 1187285 w 1252701"/>
              <a:gd name="connsiteY104" fmla="*/ 338782 h 442756"/>
              <a:gd name="connsiteX105" fmla="*/ 1186475 w 1252701"/>
              <a:gd name="connsiteY105" fmla="*/ 363019 h 442756"/>
              <a:gd name="connsiteX106" fmla="*/ 1160677 w 1252701"/>
              <a:gd name="connsiteY106" fmla="*/ 384827 h 442756"/>
              <a:gd name="connsiteX107" fmla="*/ 1223670 w 1252701"/>
              <a:gd name="connsiteY107" fmla="*/ 381587 h 442756"/>
              <a:gd name="connsiteX108" fmla="*/ 1252592 w 1252701"/>
              <a:gd name="connsiteY108" fmla="*/ 404262 h 442756"/>
              <a:gd name="connsiteX109" fmla="*/ 1252592 w 1252701"/>
              <a:gd name="connsiteY109" fmla="*/ 231771 h 442756"/>
              <a:gd name="connsiteX110" fmla="*/ 1158131 w 1252701"/>
              <a:gd name="connsiteY110" fmla="*/ 198915 h 442756"/>
              <a:gd name="connsiteX111" fmla="*/ 808637 w 1252701"/>
              <a:gd name="connsiteY111" fmla="*/ 403741 h 442756"/>
              <a:gd name="connsiteX112" fmla="*/ 799786 w 1252701"/>
              <a:gd name="connsiteY112" fmla="*/ 407502 h 442756"/>
              <a:gd name="connsiteX113" fmla="*/ 795738 w 1252701"/>
              <a:gd name="connsiteY113" fmla="*/ 415310 h 442756"/>
              <a:gd name="connsiteX114" fmla="*/ 786829 w 1252701"/>
              <a:gd name="connsiteY114" fmla="*/ 410394 h 442756"/>
              <a:gd name="connsiteX115" fmla="*/ 773814 w 1252701"/>
              <a:gd name="connsiteY115" fmla="*/ 441340 h 442756"/>
              <a:gd name="connsiteX116" fmla="*/ 808116 w 1252701"/>
              <a:gd name="connsiteY116" fmla="*/ 421731 h 442756"/>
              <a:gd name="connsiteX117" fmla="*/ 811818 w 1252701"/>
              <a:gd name="connsiteY117" fmla="*/ 417104 h 442756"/>
              <a:gd name="connsiteX118" fmla="*/ 814537 w 1252701"/>
              <a:gd name="connsiteY118" fmla="*/ 414616 h 442756"/>
              <a:gd name="connsiteX119" fmla="*/ 817255 w 1252701"/>
              <a:gd name="connsiteY119" fmla="*/ 412823 h 442756"/>
              <a:gd name="connsiteX120" fmla="*/ 808463 w 1252701"/>
              <a:gd name="connsiteY120" fmla="*/ 403684 h 442756"/>
              <a:gd name="connsiteX121" fmla="*/ 584085 w 1252701"/>
              <a:gd name="connsiteY121" fmla="*/ 195502 h 442756"/>
              <a:gd name="connsiteX122" fmla="*/ 600166 w 1252701"/>
              <a:gd name="connsiteY122" fmla="*/ 153507 h 442756"/>
              <a:gd name="connsiteX123" fmla="*/ 641351 w 1252701"/>
              <a:gd name="connsiteY123" fmla="*/ 130369 h 442756"/>
              <a:gd name="connsiteX124" fmla="*/ 622783 w 1252701"/>
              <a:gd name="connsiteY124" fmla="*/ 108562 h 442756"/>
              <a:gd name="connsiteX125" fmla="*/ 613875 w 1252701"/>
              <a:gd name="connsiteY125" fmla="*/ 86755 h 442756"/>
              <a:gd name="connsiteX126" fmla="*/ 605024 w 1252701"/>
              <a:gd name="connsiteY126" fmla="*/ 62518 h 442756"/>
              <a:gd name="connsiteX127" fmla="*/ 606644 w 1252701"/>
              <a:gd name="connsiteY127" fmla="*/ 42330 h 442756"/>
              <a:gd name="connsiteX128" fmla="*/ 610694 w 1252701"/>
              <a:gd name="connsiteY128" fmla="*/ 40248 h 442756"/>
              <a:gd name="connsiteX129" fmla="*/ 597737 w 1252701"/>
              <a:gd name="connsiteY129" fmla="*/ 35852 h 442756"/>
              <a:gd name="connsiteX130" fmla="*/ 555742 w 1252701"/>
              <a:gd name="connsiteY130" fmla="*/ 53610 h 442756"/>
              <a:gd name="connsiteX131" fmla="*/ 539603 w 1252701"/>
              <a:gd name="connsiteY131" fmla="*/ 77847 h 442756"/>
              <a:gd name="connsiteX132" fmla="*/ 531505 w 1252701"/>
              <a:gd name="connsiteY132" fmla="*/ 103703 h 442756"/>
              <a:gd name="connsiteX133" fmla="*/ 507268 w 1252701"/>
              <a:gd name="connsiteY133" fmla="*/ 119900 h 442756"/>
              <a:gd name="connsiteX134" fmla="*/ 481469 w 1252701"/>
              <a:gd name="connsiteY134" fmla="*/ 114983 h 442756"/>
              <a:gd name="connsiteX135" fmla="*/ 453993 w 1252701"/>
              <a:gd name="connsiteY135" fmla="*/ 126552 h 442756"/>
              <a:gd name="connsiteX136" fmla="*/ 418419 w 1252701"/>
              <a:gd name="connsiteY136" fmla="*/ 129733 h 442756"/>
              <a:gd name="connsiteX137" fmla="*/ 395802 w 1252701"/>
              <a:gd name="connsiteY137" fmla="*/ 118453 h 442756"/>
              <a:gd name="connsiteX138" fmla="*/ 387646 w 1252701"/>
              <a:gd name="connsiteY138" fmla="*/ 101100 h 442756"/>
              <a:gd name="connsiteX139" fmla="*/ 384522 w 1252701"/>
              <a:gd name="connsiteY139" fmla="*/ 100811 h 442756"/>
              <a:gd name="connsiteX140" fmla="*/ 366764 w 1252701"/>
              <a:gd name="connsiteY140" fmla="*/ 138757 h 442756"/>
              <a:gd name="connsiteX141" fmla="*/ 381283 w 1252701"/>
              <a:gd name="connsiteY141" fmla="*/ 176761 h 442756"/>
              <a:gd name="connsiteX142" fmla="*/ 404768 w 1252701"/>
              <a:gd name="connsiteY142" fmla="*/ 204179 h 442756"/>
              <a:gd name="connsiteX143" fmla="*/ 430567 w 1252701"/>
              <a:gd name="connsiteY143" fmla="*/ 240563 h 442756"/>
              <a:gd name="connsiteX144" fmla="*/ 452374 w 1252701"/>
              <a:gd name="connsiteY144" fmla="*/ 251091 h 442756"/>
              <a:gd name="connsiteX145" fmla="*/ 488758 w 1252701"/>
              <a:gd name="connsiteY145" fmla="*/ 247042 h 442756"/>
              <a:gd name="connsiteX146" fmla="*/ 523464 w 1252701"/>
              <a:gd name="connsiteY146" fmla="*/ 263180 h 442756"/>
              <a:gd name="connsiteX147" fmla="*/ 563030 w 1252701"/>
              <a:gd name="connsiteY147" fmla="*/ 256759 h 442756"/>
              <a:gd name="connsiteX148" fmla="*/ 583912 w 1252701"/>
              <a:gd name="connsiteY148" fmla="*/ 195734 h 442756"/>
              <a:gd name="connsiteX149" fmla="*/ 644590 w 1252701"/>
              <a:gd name="connsiteY149" fmla="*/ 421673 h 442756"/>
              <a:gd name="connsiteX150" fmla="*/ 668885 w 1252701"/>
              <a:gd name="connsiteY150" fmla="*/ 433763 h 442756"/>
              <a:gd name="connsiteX151" fmla="*/ 694683 w 1252701"/>
              <a:gd name="connsiteY151" fmla="*/ 435383 h 442756"/>
              <a:gd name="connsiteX152" fmla="*/ 644417 w 1252701"/>
              <a:gd name="connsiteY152" fmla="*/ 421905 h 442756"/>
              <a:gd name="connsiteX153" fmla="*/ 604099 w 1252701"/>
              <a:gd name="connsiteY153" fmla="*/ 382108 h 442756"/>
              <a:gd name="connsiteX154" fmla="*/ 579052 w 1252701"/>
              <a:gd name="connsiteY154" fmla="*/ 385289 h 442756"/>
              <a:gd name="connsiteX155" fmla="*/ 566153 w 1252701"/>
              <a:gd name="connsiteY155" fmla="*/ 399866 h 442756"/>
              <a:gd name="connsiteX156" fmla="*/ 605719 w 1252701"/>
              <a:gd name="connsiteY156" fmla="*/ 406287 h 442756"/>
              <a:gd name="connsiteX157" fmla="*/ 644475 w 1252701"/>
              <a:gd name="connsiteY157" fmla="*/ 394718 h 442756"/>
              <a:gd name="connsiteX158" fmla="*/ 604042 w 1252701"/>
              <a:gd name="connsiteY158" fmla="*/ 382166 h 4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252701" h="442756">
                <a:moveTo>
                  <a:pt x="657374" y="254908"/>
                </a:moveTo>
                <a:cubicBezTo>
                  <a:pt x="669463" y="255660"/>
                  <a:pt x="667844" y="273476"/>
                  <a:pt x="665472" y="283830"/>
                </a:cubicBezTo>
                <a:cubicBezTo>
                  <a:pt x="663100" y="294184"/>
                  <a:pt x="658126" y="319347"/>
                  <a:pt x="668711" y="315414"/>
                </a:cubicBezTo>
                <a:cubicBezTo>
                  <a:pt x="681553" y="310554"/>
                  <a:pt x="689709" y="294416"/>
                  <a:pt x="682420" y="288747"/>
                </a:cubicBezTo>
                <a:cubicBezTo>
                  <a:pt x="675132" y="283078"/>
                  <a:pt x="675942" y="247504"/>
                  <a:pt x="679123" y="238654"/>
                </a:cubicBezTo>
                <a:cubicBezTo>
                  <a:pt x="682305" y="229804"/>
                  <a:pt x="704228" y="236225"/>
                  <a:pt x="696939" y="250223"/>
                </a:cubicBezTo>
                <a:cubicBezTo>
                  <a:pt x="689651" y="264221"/>
                  <a:pt x="710648" y="262255"/>
                  <a:pt x="710648" y="277641"/>
                </a:cubicBezTo>
                <a:cubicBezTo>
                  <a:pt x="710648" y="293028"/>
                  <a:pt x="722738" y="284929"/>
                  <a:pt x="735695" y="280880"/>
                </a:cubicBezTo>
                <a:cubicBezTo>
                  <a:pt x="748652" y="276831"/>
                  <a:pt x="746223" y="269311"/>
                  <a:pt x="737314" y="259883"/>
                </a:cubicBezTo>
                <a:cubicBezTo>
                  <a:pt x="728407" y="250454"/>
                  <a:pt x="743794" y="236745"/>
                  <a:pt x="731530" y="228415"/>
                </a:cubicBezTo>
                <a:cubicBezTo>
                  <a:pt x="719267" y="220086"/>
                  <a:pt x="711342" y="208170"/>
                  <a:pt x="722622" y="205741"/>
                </a:cubicBezTo>
                <a:cubicBezTo>
                  <a:pt x="733902" y="203311"/>
                  <a:pt x="767914" y="183933"/>
                  <a:pt x="763865" y="175893"/>
                </a:cubicBezTo>
                <a:cubicBezTo>
                  <a:pt x="759816" y="167853"/>
                  <a:pt x="712210" y="177513"/>
                  <a:pt x="708103" y="192032"/>
                </a:cubicBezTo>
                <a:cubicBezTo>
                  <a:pt x="703997" y="206551"/>
                  <a:pt x="670215" y="190412"/>
                  <a:pt x="674207" y="165423"/>
                </a:cubicBezTo>
                <a:cubicBezTo>
                  <a:pt x="678198" y="140435"/>
                  <a:pt x="745297" y="136501"/>
                  <a:pt x="764675" y="145235"/>
                </a:cubicBezTo>
                <a:cubicBezTo>
                  <a:pt x="784053" y="153970"/>
                  <a:pt x="805166" y="130659"/>
                  <a:pt x="812339" y="116950"/>
                </a:cubicBezTo>
                <a:cubicBezTo>
                  <a:pt x="819512" y="103241"/>
                  <a:pt x="797010" y="119379"/>
                  <a:pt x="783417" y="128229"/>
                </a:cubicBezTo>
                <a:cubicBezTo>
                  <a:pt x="769823" y="137079"/>
                  <a:pt x="733381" y="127420"/>
                  <a:pt x="714813" y="120941"/>
                </a:cubicBezTo>
                <a:cubicBezTo>
                  <a:pt x="696245" y="114462"/>
                  <a:pt x="696997" y="132510"/>
                  <a:pt x="681611" y="134650"/>
                </a:cubicBezTo>
                <a:cubicBezTo>
                  <a:pt x="666224" y="136790"/>
                  <a:pt x="669521" y="171034"/>
                  <a:pt x="662290" y="175141"/>
                </a:cubicBezTo>
                <a:cubicBezTo>
                  <a:pt x="655060" y="179248"/>
                  <a:pt x="654944" y="204063"/>
                  <a:pt x="640425" y="227663"/>
                </a:cubicBezTo>
                <a:cubicBezTo>
                  <a:pt x="625907" y="251264"/>
                  <a:pt x="645285" y="253925"/>
                  <a:pt x="657374" y="254908"/>
                </a:cubicBezTo>
                <a:close/>
                <a:moveTo>
                  <a:pt x="288270" y="275906"/>
                </a:moveTo>
                <a:cubicBezTo>
                  <a:pt x="287460" y="264337"/>
                  <a:pt x="292261" y="253288"/>
                  <a:pt x="292261" y="247562"/>
                </a:cubicBezTo>
                <a:cubicBezTo>
                  <a:pt x="292261" y="241835"/>
                  <a:pt x="296310" y="239579"/>
                  <a:pt x="303830" y="241083"/>
                </a:cubicBezTo>
                <a:cubicBezTo>
                  <a:pt x="311350" y="242587"/>
                  <a:pt x="310308" y="225755"/>
                  <a:pt x="304639" y="224135"/>
                </a:cubicBezTo>
                <a:cubicBezTo>
                  <a:pt x="298971" y="222516"/>
                  <a:pt x="295731" y="202328"/>
                  <a:pt x="282022" y="202328"/>
                </a:cubicBezTo>
                <a:cubicBezTo>
                  <a:pt x="268313" y="202328"/>
                  <a:pt x="270453" y="213896"/>
                  <a:pt x="278783" y="214475"/>
                </a:cubicBezTo>
                <a:cubicBezTo>
                  <a:pt x="287112" y="215053"/>
                  <a:pt x="291682" y="221764"/>
                  <a:pt x="289311" y="227374"/>
                </a:cubicBezTo>
                <a:cubicBezTo>
                  <a:pt x="286939" y="232985"/>
                  <a:pt x="283526" y="221590"/>
                  <a:pt x="272363" y="222573"/>
                </a:cubicBezTo>
                <a:cubicBezTo>
                  <a:pt x="261198" y="223557"/>
                  <a:pt x="268313" y="208864"/>
                  <a:pt x="255356" y="207997"/>
                </a:cubicBezTo>
                <a:cubicBezTo>
                  <a:pt x="242399" y="207129"/>
                  <a:pt x="244887" y="183760"/>
                  <a:pt x="231062" y="183760"/>
                </a:cubicBezTo>
                <a:cubicBezTo>
                  <a:pt x="217237" y="183760"/>
                  <a:pt x="216601" y="172480"/>
                  <a:pt x="225277" y="164382"/>
                </a:cubicBezTo>
                <a:cubicBezTo>
                  <a:pt x="233954" y="156284"/>
                  <a:pt x="211568" y="149053"/>
                  <a:pt x="211568" y="139335"/>
                </a:cubicBezTo>
                <a:cubicBezTo>
                  <a:pt x="211568" y="129618"/>
                  <a:pt x="197049" y="135344"/>
                  <a:pt x="197049" y="127246"/>
                </a:cubicBezTo>
                <a:cubicBezTo>
                  <a:pt x="197049" y="119148"/>
                  <a:pt x="190571" y="123255"/>
                  <a:pt x="183282" y="113479"/>
                </a:cubicBezTo>
                <a:cubicBezTo>
                  <a:pt x="175994" y="103703"/>
                  <a:pt x="172812" y="112669"/>
                  <a:pt x="166334" y="105438"/>
                </a:cubicBezTo>
                <a:cubicBezTo>
                  <a:pt x="159855" y="98208"/>
                  <a:pt x="150947" y="93870"/>
                  <a:pt x="145336" y="96531"/>
                </a:cubicBezTo>
                <a:cubicBezTo>
                  <a:pt x="139725" y="99192"/>
                  <a:pt x="126768" y="86061"/>
                  <a:pt x="122198" y="73104"/>
                </a:cubicBezTo>
                <a:cubicBezTo>
                  <a:pt x="118323" y="62807"/>
                  <a:pt x="81013" y="45686"/>
                  <a:pt x="75923" y="31919"/>
                </a:cubicBezTo>
                <a:cubicBezTo>
                  <a:pt x="70833" y="18152"/>
                  <a:pt x="58165" y="12541"/>
                  <a:pt x="36358" y="13350"/>
                </a:cubicBezTo>
                <a:cubicBezTo>
                  <a:pt x="14550" y="14160"/>
                  <a:pt x="5931" y="-7994"/>
                  <a:pt x="783" y="2881"/>
                </a:cubicBezTo>
                <a:cubicBezTo>
                  <a:pt x="-5637" y="16590"/>
                  <a:pt x="24210" y="47305"/>
                  <a:pt x="37977" y="55403"/>
                </a:cubicBezTo>
                <a:cubicBezTo>
                  <a:pt x="51744" y="63501"/>
                  <a:pt x="58975" y="92481"/>
                  <a:pt x="75113" y="94159"/>
                </a:cubicBezTo>
                <a:cubicBezTo>
                  <a:pt x="91252" y="95836"/>
                  <a:pt x="92872" y="146624"/>
                  <a:pt x="104961" y="149053"/>
                </a:cubicBezTo>
                <a:cubicBezTo>
                  <a:pt x="117050" y="151483"/>
                  <a:pt x="143022" y="191048"/>
                  <a:pt x="147014" y="212046"/>
                </a:cubicBezTo>
                <a:cubicBezTo>
                  <a:pt x="151005" y="233043"/>
                  <a:pt x="177671" y="243571"/>
                  <a:pt x="186579" y="258957"/>
                </a:cubicBezTo>
                <a:cubicBezTo>
                  <a:pt x="195487" y="274344"/>
                  <a:pt x="230946" y="295283"/>
                  <a:pt x="235863" y="301704"/>
                </a:cubicBezTo>
                <a:cubicBezTo>
                  <a:pt x="240779" y="308125"/>
                  <a:pt x="245581" y="322702"/>
                  <a:pt x="249629" y="315471"/>
                </a:cubicBezTo>
                <a:cubicBezTo>
                  <a:pt x="253678" y="308241"/>
                  <a:pt x="270627" y="315471"/>
                  <a:pt x="278552" y="316281"/>
                </a:cubicBezTo>
                <a:cubicBezTo>
                  <a:pt x="286476" y="317091"/>
                  <a:pt x="289079" y="287012"/>
                  <a:pt x="288270" y="275732"/>
                </a:cubicBezTo>
                <a:close/>
                <a:moveTo>
                  <a:pt x="905352" y="146624"/>
                </a:moveTo>
                <a:cubicBezTo>
                  <a:pt x="923111" y="148301"/>
                  <a:pt x="915012" y="137716"/>
                  <a:pt x="915012" y="126436"/>
                </a:cubicBezTo>
                <a:cubicBezTo>
                  <a:pt x="915012" y="115157"/>
                  <a:pt x="898874" y="124874"/>
                  <a:pt x="898874" y="119205"/>
                </a:cubicBezTo>
                <a:cubicBezTo>
                  <a:pt x="898874" y="113537"/>
                  <a:pt x="893089" y="90920"/>
                  <a:pt x="880306" y="108678"/>
                </a:cubicBezTo>
                <a:cubicBezTo>
                  <a:pt x="867522" y="126436"/>
                  <a:pt x="884413" y="170340"/>
                  <a:pt x="894825" y="168489"/>
                </a:cubicBezTo>
                <a:cubicBezTo>
                  <a:pt x="903964" y="166696"/>
                  <a:pt x="887536" y="145004"/>
                  <a:pt x="905352" y="146450"/>
                </a:cubicBezTo>
                <a:close/>
                <a:moveTo>
                  <a:pt x="839121" y="247562"/>
                </a:moveTo>
                <a:cubicBezTo>
                  <a:pt x="842302" y="260519"/>
                  <a:pt x="865729" y="267750"/>
                  <a:pt x="872208" y="256528"/>
                </a:cubicBezTo>
                <a:cubicBezTo>
                  <a:pt x="878686" y="245306"/>
                  <a:pt x="835361" y="232407"/>
                  <a:pt x="839121" y="247389"/>
                </a:cubicBezTo>
                <a:close/>
                <a:moveTo>
                  <a:pt x="775492" y="384075"/>
                </a:moveTo>
                <a:cubicBezTo>
                  <a:pt x="753627" y="380893"/>
                  <a:pt x="739108" y="397032"/>
                  <a:pt x="717300" y="388933"/>
                </a:cubicBezTo>
                <a:cubicBezTo>
                  <a:pt x="695493" y="380835"/>
                  <a:pt x="662869" y="388933"/>
                  <a:pt x="666398" y="396222"/>
                </a:cubicBezTo>
                <a:cubicBezTo>
                  <a:pt x="669926" y="403510"/>
                  <a:pt x="689014" y="403510"/>
                  <a:pt x="710822" y="404320"/>
                </a:cubicBezTo>
                <a:cubicBezTo>
                  <a:pt x="732629" y="405130"/>
                  <a:pt x="752065" y="392751"/>
                  <a:pt x="766526" y="392173"/>
                </a:cubicBezTo>
                <a:cubicBezTo>
                  <a:pt x="780987" y="391594"/>
                  <a:pt x="797126" y="387198"/>
                  <a:pt x="775318" y="383901"/>
                </a:cubicBezTo>
                <a:close/>
                <a:moveTo>
                  <a:pt x="948273" y="236283"/>
                </a:moveTo>
                <a:cubicBezTo>
                  <a:pt x="927275" y="229862"/>
                  <a:pt x="891412" y="235357"/>
                  <a:pt x="894998" y="245942"/>
                </a:cubicBezTo>
                <a:cubicBezTo>
                  <a:pt x="898584" y="256528"/>
                  <a:pt x="915185" y="251727"/>
                  <a:pt x="932134" y="251727"/>
                </a:cubicBezTo>
                <a:cubicBezTo>
                  <a:pt x="949083" y="251727"/>
                  <a:pt x="957990" y="263816"/>
                  <a:pt x="966841" y="263816"/>
                </a:cubicBezTo>
                <a:cubicBezTo>
                  <a:pt x="975691" y="263816"/>
                  <a:pt x="969155" y="242587"/>
                  <a:pt x="948099" y="236109"/>
                </a:cubicBezTo>
                <a:close/>
                <a:moveTo>
                  <a:pt x="522654" y="375109"/>
                </a:moveTo>
                <a:cubicBezTo>
                  <a:pt x="521844" y="365449"/>
                  <a:pt x="490319" y="374299"/>
                  <a:pt x="474991" y="367820"/>
                </a:cubicBezTo>
                <a:cubicBezTo>
                  <a:pt x="459662" y="361342"/>
                  <a:pt x="491939" y="355731"/>
                  <a:pt x="502467" y="349194"/>
                </a:cubicBezTo>
                <a:cubicBezTo>
                  <a:pt x="512995" y="342658"/>
                  <a:pt x="495988" y="340402"/>
                  <a:pt x="470132" y="348442"/>
                </a:cubicBezTo>
                <a:cubicBezTo>
                  <a:pt x="444276" y="356483"/>
                  <a:pt x="414428" y="330684"/>
                  <a:pt x="413618" y="341964"/>
                </a:cubicBezTo>
                <a:cubicBezTo>
                  <a:pt x="412808" y="353244"/>
                  <a:pt x="366764" y="337163"/>
                  <a:pt x="355427" y="329065"/>
                </a:cubicBezTo>
                <a:cubicBezTo>
                  <a:pt x="344089" y="320966"/>
                  <a:pt x="300533" y="310497"/>
                  <a:pt x="291798" y="325825"/>
                </a:cubicBezTo>
                <a:cubicBezTo>
                  <a:pt x="283064" y="341154"/>
                  <a:pt x="275255" y="327387"/>
                  <a:pt x="278898" y="341964"/>
                </a:cubicBezTo>
                <a:cubicBezTo>
                  <a:pt x="281328" y="351682"/>
                  <a:pt x="291798" y="346013"/>
                  <a:pt x="299087" y="346013"/>
                </a:cubicBezTo>
                <a:cubicBezTo>
                  <a:pt x="306374" y="346013"/>
                  <a:pt x="303135" y="359780"/>
                  <a:pt x="313605" y="361342"/>
                </a:cubicBezTo>
                <a:cubicBezTo>
                  <a:pt x="324075" y="362903"/>
                  <a:pt x="358897" y="372911"/>
                  <a:pt x="362078" y="365449"/>
                </a:cubicBezTo>
                <a:cubicBezTo>
                  <a:pt x="365260" y="357987"/>
                  <a:pt x="397653" y="365449"/>
                  <a:pt x="413792" y="378348"/>
                </a:cubicBezTo>
                <a:cubicBezTo>
                  <a:pt x="429930" y="391247"/>
                  <a:pt x="467066" y="392057"/>
                  <a:pt x="481643" y="389627"/>
                </a:cubicBezTo>
                <a:cubicBezTo>
                  <a:pt x="496220" y="387198"/>
                  <a:pt x="512301" y="399345"/>
                  <a:pt x="517969" y="391247"/>
                </a:cubicBezTo>
                <a:cubicBezTo>
                  <a:pt x="523638" y="383149"/>
                  <a:pt x="534108" y="404204"/>
                  <a:pt x="550304" y="392057"/>
                </a:cubicBezTo>
                <a:cubicBezTo>
                  <a:pt x="566501" y="379910"/>
                  <a:pt x="523290" y="384769"/>
                  <a:pt x="522481" y="375051"/>
                </a:cubicBezTo>
                <a:close/>
                <a:moveTo>
                  <a:pt x="1158305" y="198973"/>
                </a:moveTo>
                <a:cubicBezTo>
                  <a:pt x="1146158" y="199840"/>
                  <a:pt x="1144538" y="220780"/>
                  <a:pt x="1134069" y="220780"/>
                </a:cubicBezTo>
                <a:cubicBezTo>
                  <a:pt x="1123599" y="220780"/>
                  <a:pt x="1109022" y="242645"/>
                  <a:pt x="1089644" y="249066"/>
                </a:cubicBezTo>
                <a:cubicBezTo>
                  <a:pt x="1070266" y="255487"/>
                  <a:pt x="1069456" y="193420"/>
                  <a:pt x="1060722" y="181273"/>
                </a:cubicBezTo>
                <a:cubicBezTo>
                  <a:pt x="1051987" y="169125"/>
                  <a:pt x="1003398" y="159407"/>
                  <a:pt x="998539" y="173174"/>
                </a:cubicBezTo>
                <a:cubicBezTo>
                  <a:pt x="993681" y="186941"/>
                  <a:pt x="976906" y="179595"/>
                  <a:pt x="975402" y="190932"/>
                </a:cubicBezTo>
                <a:cubicBezTo>
                  <a:pt x="973898" y="202270"/>
                  <a:pt x="979451" y="198221"/>
                  <a:pt x="989921" y="198221"/>
                </a:cubicBezTo>
                <a:cubicBezTo>
                  <a:pt x="1000391" y="198221"/>
                  <a:pt x="1000449" y="206319"/>
                  <a:pt x="1005307" y="216731"/>
                </a:cubicBezTo>
                <a:cubicBezTo>
                  <a:pt x="1010166" y="227143"/>
                  <a:pt x="1039262" y="220028"/>
                  <a:pt x="1048922" y="219218"/>
                </a:cubicBezTo>
                <a:cubicBezTo>
                  <a:pt x="1058582" y="218409"/>
                  <a:pt x="1060491" y="232175"/>
                  <a:pt x="1046492" y="227259"/>
                </a:cubicBezTo>
                <a:cubicBezTo>
                  <a:pt x="1032494" y="222342"/>
                  <a:pt x="1032783" y="233737"/>
                  <a:pt x="1023355" y="231366"/>
                </a:cubicBezTo>
                <a:cubicBezTo>
                  <a:pt x="1013926" y="228994"/>
                  <a:pt x="1000737" y="229746"/>
                  <a:pt x="1007158" y="235357"/>
                </a:cubicBezTo>
                <a:cubicBezTo>
                  <a:pt x="1013579" y="240968"/>
                  <a:pt x="1024165" y="246926"/>
                  <a:pt x="1024165" y="259594"/>
                </a:cubicBezTo>
                <a:cubicBezTo>
                  <a:pt x="1024165" y="272262"/>
                  <a:pt x="1042732" y="270121"/>
                  <a:pt x="1042732" y="259594"/>
                </a:cubicBezTo>
                <a:cubicBezTo>
                  <a:pt x="1042732" y="249066"/>
                  <a:pt x="1052451" y="262833"/>
                  <a:pt x="1071018" y="267634"/>
                </a:cubicBezTo>
                <a:cubicBezTo>
                  <a:pt x="1089586" y="272435"/>
                  <a:pt x="1076803" y="279781"/>
                  <a:pt x="1095255" y="280591"/>
                </a:cubicBezTo>
                <a:cubicBezTo>
                  <a:pt x="1113707" y="281401"/>
                  <a:pt x="1155818" y="295168"/>
                  <a:pt x="1171956" y="307199"/>
                </a:cubicBezTo>
                <a:cubicBezTo>
                  <a:pt x="1188095" y="319231"/>
                  <a:pt x="1176816" y="327445"/>
                  <a:pt x="1187285" y="338782"/>
                </a:cubicBezTo>
                <a:cubicBezTo>
                  <a:pt x="1197755" y="350120"/>
                  <a:pt x="1201052" y="363019"/>
                  <a:pt x="1186475" y="363019"/>
                </a:cubicBezTo>
                <a:cubicBezTo>
                  <a:pt x="1171898" y="363019"/>
                  <a:pt x="1156628" y="377538"/>
                  <a:pt x="1160677" y="384827"/>
                </a:cubicBezTo>
                <a:cubicBezTo>
                  <a:pt x="1164726" y="392115"/>
                  <a:pt x="1212389" y="381587"/>
                  <a:pt x="1223670" y="381587"/>
                </a:cubicBezTo>
                <a:cubicBezTo>
                  <a:pt x="1231074" y="381587"/>
                  <a:pt x="1238535" y="394718"/>
                  <a:pt x="1252592" y="404262"/>
                </a:cubicBezTo>
                <a:lnTo>
                  <a:pt x="1252592" y="231771"/>
                </a:lnTo>
                <a:cubicBezTo>
                  <a:pt x="1216844" y="220202"/>
                  <a:pt x="1168081" y="198279"/>
                  <a:pt x="1158131" y="198915"/>
                </a:cubicBezTo>
                <a:close/>
                <a:moveTo>
                  <a:pt x="808637" y="403741"/>
                </a:moveTo>
                <a:cubicBezTo>
                  <a:pt x="805918" y="405529"/>
                  <a:pt x="802968" y="406807"/>
                  <a:pt x="799786" y="407502"/>
                </a:cubicBezTo>
                <a:cubicBezTo>
                  <a:pt x="799092" y="410388"/>
                  <a:pt x="797704" y="413066"/>
                  <a:pt x="795738" y="415310"/>
                </a:cubicBezTo>
                <a:cubicBezTo>
                  <a:pt x="793482" y="417104"/>
                  <a:pt x="789606" y="413517"/>
                  <a:pt x="786829" y="410394"/>
                </a:cubicBezTo>
                <a:cubicBezTo>
                  <a:pt x="771212" y="416872"/>
                  <a:pt x="762998" y="435556"/>
                  <a:pt x="773814" y="441340"/>
                </a:cubicBezTo>
                <a:cubicBezTo>
                  <a:pt x="784631" y="447125"/>
                  <a:pt x="799440" y="432143"/>
                  <a:pt x="808116" y="421731"/>
                </a:cubicBezTo>
                <a:cubicBezTo>
                  <a:pt x="809505" y="420054"/>
                  <a:pt x="810777" y="418492"/>
                  <a:pt x="811818" y="417104"/>
                </a:cubicBezTo>
                <a:cubicBezTo>
                  <a:pt x="812570" y="416132"/>
                  <a:pt x="813495" y="415293"/>
                  <a:pt x="814537" y="414616"/>
                </a:cubicBezTo>
                <a:lnTo>
                  <a:pt x="817255" y="412823"/>
                </a:lnTo>
                <a:cubicBezTo>
                  <a:pt x="814768" y="409364"/>
                  <a:pt x="811818" y="406281"/>
                  <a:pt x="808463" y="403684"/>
                </a:cubicBezTo>
                <a:close/>
                <a:moveTo>
                  <a:pt x="584085" y="195502"/>
                </a:moveTo>
                <a:cubicBezTo>
                  <a:pt x="598546" y="186652"/>
                  <a:pt x="601786" y="169646"/>
                  <a:pt x="600166" y="153507"/>
                </a:cubicBezTo>
                <a:cubicBezTo>
                  <a:pt x="598546" y="137369"/>
                  <a:pt x="635682" y="136559"/>
                  <a:pt x="641351" y="130369"/>
                </a:cubicBezTo>
                <a:cubicBezTo>
                  <a:pt x="647019" y="124180"/>
                  <a:pt x="633252" y="113363"/>
                  <a:pt x="622783" y="108562"/>
                </a:cubicBezTo>
                <a:cubicBezTo>
                  <a:pt x="612313" y="103761"/>
                  <a:pt x="621163" y="93175"/>
                  <a:pt x="613875" y="86755"/>
                </a:cubicBezTo>
                <a:cubicBezTo>
                  <a:pt x="606586" y="80334"/>
                  <a:pt x="594497" y="63617"/>
                  <a:pt x="605024" y="62518"/>
                </a:cubicBezTo>
                <a:cubicBezTo>
                  <a:pt x="615553" y="61419"/>
                  <a:pt x="597737" y="47190"/>
                  <a:pt x="606644" y="42330"/>
                </a:cubicBezTo>
                <a:lnTo>
                  <a:pt x="610694" y="40248"/>
                </a:lnTo>
                <a:cubicBezTo>
                  <a:pt x="606702" y="37958"/>
                  <a:pt x="602306" y="36465"/>
                  <a:pt x="597737" y="35852"/>
                </a:cubicBezTo>
                <a:cubicBezTo>
                  <a:pt x="584837" y="35852"/>
                  <a:pt x="554122" y="32613"/>
                  <a:pt x="555742" y="53610"/>
                </a:cubicBezTo>
                <a:cubicBezTo>
                  <a:pt x="557361" y="74608"/>
                  <a:pt x="537983" y="66567"/>
                  <a:pt x="539603" y="77847"/>
                </a:cubicBezTo>
                <a:cubicBezTo>
                  <a:pt x="541223" y="89127"/>
                  <a:pt x="529885" y="89416"/>
                  <a:pt x="531505" y="103703"/>
                </a:cubicBezTo>
                <a:cubicBezTo>
                  <a:pt x="533124" y="117991"/>
                  <a:pt x="523464" y="111802"/>
                  <a:pt x="507268" y="119900"/>
                </a:cubicBezTo>
                <a:cubicBezTo>
                  <a:pt x="491071" y="127998"/>
                  <a:pt x="497608" y="114983"/>
                  <a:pt x="481469" y="114983"/>
                </a:cubicBezTo>
                <a:cubicBezTo>
                  <a:pt x="465331" y="114983"/>
                  <a:pt x="463653" y="123139"/>
                  <a:pt x="453993" y="126552"/>
                </a:cubicBezTo>
                <a:cubicBezTo>
                  <a:pt x="444334" y="129965"/>
                  <a:pt x="425071" y="124990"/>
                  <a:pt x="418419" y="129733"/>
                </a:cubicBezTo>
                <a:cubicBezTo>
                  <a:pt x="411767" y="134476"/>
                  <a:pt x="402281" y="118453"/>
                  <a:pt x="395802" y="118453"/>
                </a:cubicBezTo>
                <a:cubicBezTo>
                  <a:pt x="392505" y="118453"/>
                  <a:pt x="389670" y="109661"/>
                  <a:pt x="387646" y="101100"/>
                </a:cubicBezTo>
                <a:cubicBezTo>
                  <a:pt x="386605" y="100898"/>
                  <a:pt x="385564" y="100805"/>
                  <a:pt x="384522" y="100811"/>
                </a:cubicBezTo>
                <a:cubicBezTo>
                  <a:pt x="374053" y="101621"/>
                  <a:pt x="356641" y="129386"/>
                  <a:pt x="366764" y="138757"/>
                </a:cubicBezTo>
                <a:cubicBezTo>
                  <a:pt x="378853" y="150326"/>
                  <a:pt x="375672" y="167679"/>
                  <a:pt x="381283" y="176761"/>
                </a:cubicBezTo>
                <a:cubicBezTo>
                  <a:pt x="386894" y="185842"/>
                  <a:pt x="404768" y="187230"/>
                  <a:pt x="404768" y="204179"/>
                </a:cubicBezTo>
                <a:cubicBezTo>
                  <a:pt x="404768" y="221127"/>
                  <a:pt x="420039" y="247794"/>
                  <a:pt x="430567" y="240563"/>
                </a:cubicBezTo>
                <a:cubicBezTo>
                  <a:pt x="441094" y="233332"/>
                  <a:pt x="449134" y="243802"/>
                  <a:pt x="452374" y="251091"/>
                </a:cubicBezTo>
                <a:cubicBezTo>
                  <a:pt x="455613" y="258379"/>
                  <a:pt x="480659" y="245306"/>
                  <a:pt x="488758" y="247042"/>
                </a:cubicBezTo>
                <a:cubicBezTo>
                  <a:pt x="496856" y="248777"/>
                  <a:pt x="521787" y="253520"/>
                  <a:pt x="523464" y="263180"/>
                </a:cubicBezTo>
                <a:cubicBezTo>
                  <a:pt x="525142" y="272840"/>
                  <a:pt x="547701" y="262312"/>
                  <a:pt x="563030" y="256759"/>
                </a:cubicBezTo>
                <a:cubicBezTo>
                  <a:pt x="578358" y="251206"/>
                  <a:pt x="569335" y="204584"/>
                  <a:pt x="583912" y="195734"/>
                </a:cubicBezTo>
                <a:close/>
                <a:moveTo>
                  <a:pt x="644590" y="421673"/>
                </a:moveTo>
                <a:cubicBezTo>
                  <a:pt x="649449" y="428904"/>
                  <a:pt x="663158" y="428904"/>
                  <a:pt x="668885" y="433763"/>
                </a:cubicBezTo>
                <a:cubicBezTo>
                  <a:pt x="674611" y="438622"/>
                  <a:pt x="694683" y="449092"/>
                  <a:pt x="694683" y="435383"/>
                </a:cubicBezTo>
                <a:cubicBezTo>
                  <a:pt x="694683" y="421673"/>
                  <a:pt x="639037" y="413806"/>
                  <a:pt x="644417" y="421905"/>
                </a:cubicBezTo>
                <a:close/>
                <a:moveTo>
                  <a:pt x="604099" y="382108"/>
                </a:moveTo>
                <a:cubicBezTo>
                  <a:pt x="600860" y="389338"/>
                  <a:pt x="587151" y="390958"/>
                  <a:pt x="579052" y="385289"/>
                </a:cubicBezTo>
                <a:cubicBezTo>
                  <a:pt x="570955" y="379621"/>
                  <a:pt x="561005" y="392983"/>
                  <a:pt x="566153" y="399866"/>
                </a:cubicBezTo>
                <a:cubicBezTo>
                  <a:pt x="576623" y="410174"/>
                  <a:pt x="592531" y="412748"/>
                  <a:pt x="605719" y="406287"/>
                </a:cubicBezTo>
                <a:cubicBezTo>
                  <a:pt x="625964" y="396627"/>
                  <a:pt x="639616" y="405477"/>
                  <a:pt x="644475" y="394718"/>
                </a:cubicBezTo>
                <a:cubicBezTo>
                  <a:pt x="649333" y="383959"/>
                  <a:pt x="607280" y="375051"/>
                  <a:pt x="604042" y="38216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1" name="Forma libre: forma 240">
            <a:extLst>
              <a:ext uri="{FF2B5EF4-FFF2-40B4-BE49-F238E27FC236}">
                <a16:creationId xmlns:a16="http://schemas.microsoft.com/office/drawing/2014/main" id="{C63F331F-5713-BC28-BBAE-948566BFB28C}"/>
              </a:ext>
            </a:extLst>
          </p:cNvPr>
          <p:cNvSpPr/>
          <p:nvPr/>
        </p:nvSpPr>
        <p:spPr>
          <a:xfrm>
            <a:off x="9544833" y="4715237"/>
            <a:ext cx="88651" cy="31906"/>
          </a:xfrm>
          <a:custGeom>
            <a:avLst/>
            <a:gdLst>
              <a:gd name="connsiteX0" fmla="*/ 8741 w 88651"/>
              <a:gd name="connsiteY0" fmla="*/ 24241 h 31906"/>
              <a:gd name="connsiteX1" fmla="*/ -110 w 88651"/>
              <a:gd name="connsiteY1" fmla="*/ 26381 h 31906"/>
              <a:gd name="connsiteX2" fmla="*/ 8799 w 88651"/>
              <a:gd name="connsiteY2" fmla="*/ 31298 h 31906"/>
              <a:gd name="connsiteX3" fmla="*/ 12848 w 88651"/>
              <a:gd name="connsiteY3" fmla="*/ 23489 h 31906"/>
              <a:gd name="connsiteX4" fmla="*/ 9203 w 88651"/>
              <a:gd name="connsiteY4" fmla="*/ 24067 h 31906"/>
              <a:gd name="connsiteX5" fmla="*/ 47496 w 88651"/>
              <a:gd name="connsiteY5" fmla="*/ 3243 h 31906"/>
              <a:gd name="connsiteX6" fmla="*/ 24358 w 88651"/>
              <a:gd name="connsiteY6" fmla="*/ 18109 h 31906"/>
              <a:gd name="connsiteX7" fmla="*/ 21987 w 88651"/>
              <a:gd name="connsiteY7" fmla="*/ 19729 h 31906"/>
              <a:gd name="connsiteX8" fmla="*/ 30606 w 88651"/>
              <a:gd name="connsiteY8" fmla="*/ 28810 h 31906"/>
              <a:gd name="connsiteX9" fmla="*/ 88450 w 88651"/>
              <a:gd name="connsiteY9" fmla="*/ 2376 h 31906"/>
              <a:gd name="connsiteX10" fmla="*/ 47786 w 88651"/>
              <a:gd name="connsiteY10" fmla="*/ 3243 h 3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651" h="31906">
                <a:moveTo>
                  <a:pt x="8741" y="24241"/>
                </a:moveTo>
                <a:cubicBezTo>
                  <a:pt x="5675" y="24461"/>
                  <a:pt x="2725" y="25184"/>
                  <a:pt x="-110" y="26381"/>
                </a:cubicBezTo>
                <a:cubicBezTo>
                  <a:pt x="2667" y="29505"/>
                  <a:pt x="6543" y="33091"/>
                  <a:pt x="8799" y="31298"/>
                </a:cubicBezTo>
                <a:cubicBezTo>
                  <a:pt x="10765" y="29053"/>
                  <a:pt x="12153" y="26375"/>
                  <a:pt x="12848" y="23489"/>
                </a:cubicBezTo>
                <a:cubicBezTo>
                  <a:pt x="11633" y="23749"/>
                  <a:pt x="10419" y="23946"/>
                  <a:pt x="9203" y="24067"/>
                </a:cubicBezTo>
                <a:close/>
                <a:moveTo>
                  <a:pt x="47496" y="3243"/>
                </a:moveTo>
                <a:cubicBezTo>
                  <a:pt x="36564" y="2665"/>
                  <a:pt x="32168" y="11689"/>
                  <a:pt x="24358" y="18109"/>
                </a:cubicBezTo>
                <a:lnTo>
                  <a:pt x="21987" y="19729"/>
                </a:lnTo>
                <a:cubicBezTo>
                  <a:pt x="25284" y="22326"/>
                  <a:pt x="28176" y="25381"/>
                  <a:pt x="30606" y="28810"/>
                </a:cubicBezTo>
                <a:cubicBezTo>
                  <a:pt x="46224" y="19556"/>
                  <a:pt x="86079" y="7929"/>
                  <a:pt x="88450" y="2376"/>
                </a:cubicBezTo>
                <a:cubicBezTo>
                  <a:pt x="90301" y="-4045"/>
                  <a:pt x="63635" y="3995"/>
                  <a:pt x="47786" y="3243"/>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2" name="Forma libre: forma 241">
            <a:extLst>
              <a:ext uri="{FF2B5EF4-FFF2-40B4-BE49-F238E27FC236}">
                <a16:creationId xmlns:a16="http://schemas.microsoft.com/office/drawing/2014/main" id="{5C1E042B-F12A-BACF-1011-CAC7DA5BFCA3}"/>
              </a:ext>
            </a:extLst>
          </p:cNvPr>
          <p:cNvSpPr/>
          <p:nvPr/>
        </p:nvSpPr>
        <p:spPr>
          <a:xfrm>
            <a:off x="6371819" y="3079418"/>
            <a:ext cx="311582" cy="342799"/>
          </a:xfrm>
          <a:custGeom>
            <a:avLst/>
            <a:gdLst>
              <a:gd name="connsiteX0" fmla="*/ 215905 w 311582"/>
              <a:gd name="connsiteY0" fmla="*/ 297017 h 342799"/>
              <a:gd name="connsiteX1" fmla="*/ 182818 w 311582"/>
              <a:gd name="connsiteY1" fmla="*/ 297017 h 342799"/>
              <a:gd name="connsiteX2" fmla="*/ 159680 w 311582"/>
              <a:gd name="connsiteY2" fmla="*/ 307892 h 342799"/>
              <a:gd name="connsiteX3" fmla="*/ 187908 w 311582"/>
              <a:gd name="connsiteY3" fmla="*/ 323278 h 342799"/>
              <a:gd name="connsiteX4" fmla="*/ 219028 w 311582"/>
              <a:gd name="connsiteY4" fmla="*/ 342656 h 342799"/>
              <a:gd name="connsiteX5" fmla="*/ 226259 w 311582"/>
              <a:gd name="connsiteY5" fmla="*/ 324088 h 342799"/>
              <a:gd name="connsiteX6" fmla="*/ 237828 w 311582"/>
              <a:gd name="connsiteY6" fmla="*/ 298637 h 342799"/>
              <a:gd name="connsiteX7" fmla="*/ 215905 w 311582"/>
              <a:gd name="connsiteY7" fmla="*/ 297017 h 342799"/>
              <a:gd name="connsiteX8" fmla="*/ 59609 w 311582"/>
              <a:gd name="connsiteY8" fmla="*/ 205276 h 342799"/>
              <a:gd name="connsiteX9" fmla="*/ 39827 w 311582"/>
              <a:gd name="connsiteY9" fmla="*/ 210135 h 342799"/>
              <a:gd name="connsiteX10" fmla="*/ 49949 w 311582"/>
              <a:gd name="connsiteY10" fmla="*/ 245247 h 342799"/>
              <a:gd name="connsiteX11" fmla="*/ 61229 w 311582"/>
              <a:gd name="connsiteY11" fmla="*/ 271508 h 342799"/>
              <a:gd name="connsiteX12" fmla="*/ 80202 w 311582"/>
              <a:gd name="connsiteY12" fmla="*/ 259939 h 342799"/>
              <a:gd name="connsiteX13" fmla="*/ 84656 w 311582"/>
              <a:gd name="connsiteY13" fmla="*/ 215515 h 342799"/>
              <a:gd name="connsiteX14" fmla="*/ 59609 w 311582"/>
              <a:gd name="connsiteY14" fmla="*/ 205276 h 342799"/>
              <a:gd name="connsiteX15" fmla="*/ 257495 w 311582"/>
              <a:gd name="connsiteY15" fmla="*/ 192377 h 342799"/>
              <a:gd name="connsiteX16" fmla="*/ 237307 w 311582"/>
              <a:gd name="connsiteY16" fmla="*/ 176180 h 342799"/>
              <a:gd name="connsiteX17" fmla="*/ 194907 w 311582"/>
              <a:gd name="connsiteY17" fmla="*/ 132566 h 342799"/>
              <a:gd name="connsiteX18" fmla="*/ 156556 w 311582"/>
              <a:gd name="connsiteY18" fmla="*/ 93405 h 342799"/>
              <a:gd name="connsiteX19" fmla="*/ 156904 w 311582"/>
              <a:gd name="connsiteY19" fmla="*/ 65987 h 342799"/>
              <a:gd name="connsiteX20" fmla="*/ 168993 w 311582"/>
              <a:gd name="connsiteY20" fmla="*/ 50427 h 342799"/>
              <a:gd name="connsiteX21" fmla="*/ 170381 w 311582"/>
              <a:gd name="connsiteY21" fmla="*/ 14216 h 342799"/>
              <a:gd name="connsiteX22" fmla="*/ 156556 w 311582"/>
              <a:gd name="connsiteY22" fmla="*/ 11440 h 342799"/>
              <a:gd name="connsiteX23" fmla="*/ 150772 w 311582"/>
              <a:gd name="connsiteY23" fmla="*/ -129 h 342799"/>
              <a:gd name="connsiteX24" fmla="*/ 128965 w 311582"/>
              <a:gd name="connsiteY24" fmla="*/ 2937 h 342799"/>
              <a:gd name="connsiteX25" fmla="*/ 112016 w 311582"/>
              <a:gd name="connsiteY25" fmla="*/ 8374 h 342799"/>
              <a:gd name="connsiteX26" fmla="*/ 108661 w 311582"/>
              <a:gd name="connsiteY26" fmla="*/ 6465 h 342799"/>
              <a:gd name="connsiteX27" fmla="*/ 103398 w 311582"/>
              <a:gd name="connsiteY27" fmla="*/ 11382 h 342799"/>
              <a:gd name="connsiteX28" fmla="*/ 99290 w 311582"/>
              <a:gd name="connsiteY28" fmla="*/ 17861 h 342799"/>
              <a:gd name="connsiteX29" fmla="*/ 91250 w 311582"/>
              <a:gd name="connsiteY29" fmla="*/ 21100 h 342799"/>
              <a:gd name="connsiteX30" fmla="*/ 78293 w 311582"/>
              <a:gd name="connsiteY30" fmla="*/ 24339 h 342799"/>
              <a:gd name="connsiteX31" fmla="*/ 68633 w 311582"/>
              <a:gd name="connsiteY31" fmla="*/ 30124 h 342799"/>
              <a:gd name="connsiteX32" fmla="*/ 61345 w 311582"/>
              <a:gd name="connsiteY32" fmla="*/ 39841 h 342799"/>
              <a:gd name="connsiteX33" fmla="*/ 46016 w 311582"/>
              <a:gd name="connsiteY33" fmla="*/ 21273 h 342799"/>
              <a:gd name="connsiteX34" fmla="*/ 32307 w 311582"/>
              <a:gd name="connsiteY34" fmla="*/ 40651 h 342799"/>
              <a:gd name="connsiteX35" fmla="*/ 9169 w 311582"/>
              <a:gd name="connsiteY35" fmla="*/ 42271 h 342799"/>
              <a:gd name="connsiteX36" fmla="*/ 12235 w 311582"/>
              <a:gd name="connsiteY36" fmla="*/ 55170 h 342799"/>
              <a:gd name="connsiteX37" fmla="*/ 6798 w 311582"/>
              <a:gd name="connsiteY37" fmla="*/ 66103 h 342799"/>
              <a:gd name="connsiteX38" fmla="*/ 1360 w 311582"/>
              <a:gd name="connsiteY38" fmla="*/ 72755 h 342799"/>
              <a:gd name="connsiteX39" fmla="*/ 9227 w 311582"/>
              <a:gd name="connsiteY39" fmla="*/ 86695 h 342799"/>
              <a:gd name="connsiteX40" fmla="*/ 10569 w 311582"/>
              <a:gd name="connsiteY40" fmla="*/ 98235 h 342799"/>
              <a:gd name="connsiteX41" fmla="*/ 15301 w 311582"/>
              <a:gd name="connsiteY41" fmla="*/ 99999 h 342799"/>
              <a:gd name="connsiteX42" fmla="*/ 28026 w 311582"/>
              <a:gd name="connsiteY42" fmla="*/ 104280 h 342799"/>
              <a:gd name="connsiteX43" fmla="*/ 24903 w 311582"/>
              <a:gd name="connsiteY43" fmla="*/ 113477 h 342799"/>
              <a:gd name="connsiteX44" fmla="*/ 38091 w 311582"/>
              <a:gd name="connsiteY44" fmla="*/ 109660 h 342799"/>
              <a:gd name="connsiteX45" fmla="*/ 57064 w 311582"/>
              <a:gd name="connsiteY45" fmla="*/ 93521 h 342799"/>
              <a:gd name="connsiteX46" fmla="*/ 95473 w 311582"/>
              <a:gd name="connsiteY46" fmla="*/ 109660 h 342799"/>
              <a:gd name="connsiteX47" fmla="*/ 103918 w 311582"/>
              <a:gd name="connsiteY47" fmla="*/ 125856 h 342799"/>
              <a:gd name="connsiteX48" fmla="*/ 129775 w 311582"/>
              <a:gd name="connsiteY48" fmla="*/ 158943 h 342799"/>
              <a:gd name="connsiteX49" fmla="*/ 166910 w 311582"/>
              <a:gd name="connsiteY49" fmla="*/ 190873 h 342799"/>
              <a:gd name="connsiteX50" fmla="*/ 193172 w 311582"/>
              <a:gd name="connsiteY50" fmla="*/ 202152 h 342799"/>
              <a:gd name="connsiteX51" fmla="*/ 217004 w 311582"/>
              <a:gd name="connsiteY51" fmla="*/ 217944 h 342799"/>
              <a:gd name="connsiteX52" fmla="*/ 236382 w 311582"/>
              <a:gd name="connsiteY52" fmla="*/ 234083 h 342799"/>
              <a:gd name="connsiteX53" fmla="*/ 245232 w 311582"/>
              <a:gd name="connsiteY53" fmla="*/ 250221 h 342799"/>
              <a:gd name="connsiteX54" fmla="*/ 246446 w 311582"/>
              <a:gd name="connsiteY54" fmla="*/ 279722 h 342799"/>
              <a:gd name="connsiteX55" fmla="*/ 247719 w 311582"/>
              <a:gd name="connsiteY55" fmla="*/ 301529 h 342799"/>
              <a:gd name="connsiteX56" fmla="*/ 261428 w 311582"/>
              <a:gd name="connsiteY56" fmla="*/ 278912 h 342799"/>
              <a:gd name="connsiteX57" fmla="*/ 277162 w 311582"/>
              <a:gd name="connsiteY57" fmla="*/ 262773 h 342799"/>
              <a:gd name="connsiteX58" fmla="*/ 264667 w 311582"/>
              <a:gd name="connsiteY58" fmla="*/ 241371 h 342799"/>
              <a:gd name="connsiteX59" fmla="*/ 290871 w 311582"/>
              <a:gd name="connsiteY59" fmla="*/ 229802 h 342799"/>
              <a:gd name="connsiteX60" fmla="*/ 311463 w 311582"/>
              <a:gd name="connsiteY60" fmla="*/ 231017 h 342799"/>
              <a:gd name="connsiteX61" fmla="*/ 257495 w 311582"/>
              <a:gd name="connsiteY61" fmla="*/ 192435 h 34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11582" h="342799">
                <a:moveTo>
                  <a:pt x="215905" y="297017"/>
                </a:moveTo>
                <a:cubicBezTo>
                  <a:pt x="199303" y="300661"/>
                  <a:pt x="192767" y="301876"/>
                  <a:pt x="182818" y="297017"/>
                </a:cubicBezTo>
                <a:cubicBezTo>
                  <a:pt x="172869" y="292158"/>
                  <a:pt x="157366" y="301413"/>
                  <a:pt x="159680" y="307892"/>
                </a:cubicBezTo>
                <a:cubicBezTo>
                  <a:pt x="161242" y="312346"/>
                  <a:pt x="167720" y="318015"/>
                  <a:pt x="187908" y="323278"/>
                </a:cubicBezTo>
                <a:cubicBezTo>
                  <a:pt x="208096" y="328542"/>
                  <a:pt x="210525" y="342251"/>
                  <a:pt x="219028" y="342656"/>
                </a:cubicBezTo>
                <a:cubicBezTo>
                  <a:pt x="227532" y="343061"/>
                  <a:pt x="228283" y="334963"/>
                  <a:pt x="226259" y="324088"/>
                </a:cubicBezTo>
                <a:cubicBezTo>
                  <a:pt x="224234" y="313214"/>
                  <a:pt x="236382" y="300661"/>
                  <a:pt x="237828" y="298637"/>
                </a:cubicBezTo>
                <a:cubicBezTo>
                  <a:pt x="239274" y="296612"/>
                  <a:pt x="232390" y="293431"/>
                  <a:pt x="215905" y="297017"/>
                </a:cubicBezTo>
                <a:close/>
                <a:moveTo>
                  <a:pt x="59609" y="205276"/>
                </a:moveTo>
                <a:cubicBezTo>
                  <a:pt x="50759" y="212969"/>
                  <a:pt x="43413" y="203946"/>
                  <a:pt x="39827" y="210135"/>
                </a:cubicBezTo>
                <a:cubicBezTo>
                  <a:pt x="35373" y="217828"/>
                  <a:pt x="53536" y="229513"/>
                  <a:pt x="49949" y="245247"/>
                </a:cubicBezTo>
                <a:cubicBezTo>
                  <a:pt x="46363" y="260980"/>
                  <a:pt x="51916" y="280821"/>
                  <a:pt x="61229" y="271508"/>
                </a:cubicBezTo>
                <a:cubicBezTo>
                  <a:pt x="70542" y="262195"/>
                  <a:pt x="74938" y="266649"/>
                  <a:pt x="80202" y="259939"/>
                </a:cubicBezTo>
                <a:cubicBezTo>
                  <a:pt x="85466" y="253229"/>
                  <a:pt x="81012" y="227604"/>
                  <a:pt x="84656" y="215515"/>
                </a:cubicBezTo>
                <a:cubicBezTo>
                  <a:pt x="88300" y="203425"/>
                  <a:pt x="68286" y="197641"/>
                  <a:pt x="59609" y="205276"/>
                </a:cubicBezTo>
                <a:close/>
                <a:moveTo>
                  <a:pt x="257495" y="192377"/>
                </a:moveTo>
                <a:cubicBezTo>
                  <a:pt x="246967" y="185956"/>
                  <a:pt x="253851" y="175428"/>
                  <a:pt x="237307" y="176180"/>
                </a:cubicBezTo>
                <a:cubicBezTo>
                  <a:pt x="220763" y="176932"/>
                  <a:pt x="200981" y="156398"/>
                  <a:pt x="194907" y="132566"/>
                </a:cubicBezTo>
                <a:cubicBezTo>
                  <a:pt x="188834" y="108734"/>
                  <a:pt x="163035" y="107577"/>
                  <a:pt x="156556" y="93405"/>
                </a:cubicBezTo>
                <a:cubicBezTo>
                  <a:pt x="150078" y="79233"/>
                  <a:pt x="162341" y="77672"/>
                  <a:pt x="156904" y="65987"/>
                </a:cubicBezTo>
                <a:cubicBezTo>
                  <a:pt x="153780" y="59451"/>
                  <a:pt x="160721" y="53666"/>
                  <a:pt x="168993" y="50427"/>
                </a:cubicBezTo>
                <a:cubicBezTo>
                  <a:pt x="168536" y="38338"/>
                  <a:pt x="169004" y="26237"/>
                  <a:pt x="170381" y="14216"/>
                </a:cubicBezTo>
                <a:cubicBezTo>
                  <a:pt x="165661" y="13991"/>
                  <a:pt x="160999" y="13054"/>
                  <a:pt x="156556" y="11440"/>
                </a:cubicBezTo>
                <a:cubicBezTo>
                  <a:pt x="153491" y="9647"/>
                  <a:pt x="152912" y="-129"/>
                  <a:pt x="150772" y="-129"/>
                </a:cubicBezTo>
                <a:cubicBezTo>
                  <a:pt x="148632" y="-129"/>
                  <a:pt x="132031" y="-129"/>
                  <a:pt x="128965" y="2937"/>
                </a:cubicBezTo>
                <a:cubicBezTo>
                  <a:pt x="125899" y="6002"/>
                  <a:pt x="116875" y="11382"/>
                  <a:pt x="112016" y="8374"/>
                </a:cubicBezTo>
                <a:cubicBezTo>
                  <a:pt x="110975" y="7738"/>
                  <a:pt x="109818" y="7044"/>
                  <a:pt x="108661" y="6465"/>
                </a:cubicBezTo>
                <a:lnTo>
                  <a:pt x="103398" y="11382"/>
                </a:lnTo>
                <a:cubicBezTo>
                  <a:pt x="103398" y="11382"/>
                  <a:pt x="102530" y="17861"/>
                  <a:pt x="99290" y="17861"/>
                </a:cubicBezTo>
                <a:cubicBezTo>
                  <a:pt x="96051" y="17861"/>
                  <a:pt x="91250" y="15431"/>
                  <a:pt x="91250" y="21100"/>
                </a:cubicBezTo>
                <a:cubicBezTo>
                  <a:pt x="91250" y="26769"/>
                  <a:pt x="82342" y="25091"/>
                  <a:pt x="78293" y="24339"/>
                </a:cubicBezTo>
                <a:cubicBezTo>
                  <a:pt x="74244" y="23587"/>
                  <a:pt x="68633" y="25091"/>
                  <a:pt x="68633" y="30124"/>
                </a:cubicBezTo>
                <a:cubicBezTo>
                  <a:pt x="68633" y="35156"/>
                  <a:pt x="67823" y="45510"/>
                  <a:pt x="61345" y="39841"/>
                </a:cubicBezTo>
                <a:cubicBezTo>
                  <a:pt x="54866" y="34173"/>
                  <a:pt x="48388" y="19654"/>
                  <a:pt x="46016" y="21273"/>
                </a:cubicBezTo>
                <a:cubicBezTo>
                  <a:pt x="43644" y="22893"/>
                  <a:pt x="37918" y="40651"/>
                  <a:pt x="32307" y="40651"/>
                </a:cubicBezTo>
                <a:cubicBezTo>
                  <a:pt x="28778" y="40651"/>
                  <a:pt x="17267" y="41519"/>
                  <a:pt x="9169" y="42271"/>
                </a:cubicBezTo>
                <a:cubicBezTo>
                  <a:pt x="6971" y="49212"/>
                  <a:pt x="9169" y="53377"/>
                  <a:pt x="12235" y="55170"/>
                </a:cubicBezTo>
                <a:cubicBezTo>
                  <a:pt x="15301" y="56963"/>
                  <a:pt x="10442" y="64252"/>
                  <a:pt x="6798" y="66103"/>
                </a:cubicBezTo>
                <a:cubicBezTo>
                  <a:pt x="3153" y="67954"/>
                  <a:pt x="-2920" y="66103"/>
                  <a:pt x="1360" y="72755"/>
                </a:cubicBezTo>
                <a:cubicBezTo>
                  <a:pt x="5641" y="79407"/>
                  <a:pt x="13450" y="79985"/>
                  <a:pt x="9227" y="86695"/>
                </a:cubicBezTo>
                <a:cubicBezTo>
                  <a:pt x="6410" y="90253"/>
                  <a:pt x="7011" y="95418"/>
                  <a:pt x="10569" y="98235"/>
                </a:cubicBezTo>
                <a:cubicBezTo>
                  <a:pt x="11922" y="99305"/>
                  <a:pt x="13577" y="99924"/>
                  <a:pt x="15301" y="99999"/>
                </a:cubicBezTo>
                <a:cubicBezTo>
                  <a:pt x="21085" y="100578"/>
                  <a:pt x="29819" y="99421"/>
                  <a:pt x="28026" y="104280"/>
                </a:cubicBezTo>
                <a:cubicBezTo>
                  <a:pt x="26626" y="107213"/>
                  <a:pt x="25574" y="110302"/>
                  <a:pt x="24903" y="113477"/>
                </a:cubicBezTo>
                <a:cubicBezTo>
                  <a:pt x="29426" y="112696"/>
                  <a:pt x="33851" y="111412"/>
                  <a:pt x="38091" y="109660"/>
                </a:cubicBezTo>
                <a:cubicBezTo>
                  <a:pt x="46594" y="105263"/>
                  <a:pt x="42950" y="97570"/>
                  <a:pt x="57064" y="93521"/>
                </a:cubicBezTo>
                <a:cubicBezTo>
                  <a:pt x="71178" y="89472"/>
                  <a:pt x="89804" y="101214"/>
                  <a:pt x="95473" y="109660"/>
                </a:cubicBezTo>
                <a:cubicBezTo>
                  <a:pt x="101142" y="118105"/>
                  <a:pt x="102703" y="118972"/>
                  <a:pt x="103918" y="125856"/>
                </a:cubicBezTo>
                <a:cubicBezTo>
                  <a:pt x="105133" y="132739"/>
                  <a:pt x="110397" y="146448"/>
                  <a:pt x="129775" y="158943"/>
                </a:cubicBezTo>
                <a:cubicBezTo>
                  <a:pt x="149152" y="171437"/>
                  <a:pt x="156788" y="185609"/>
                  <a:pt x="166910" y="190873"/>
                </a:cubicBezTo>
                <a:cubicBezTo>
                  <a:pt x="177033" y="196137"/>
                  <a:pt x="187098" y="194922"/>
                  <a:pt x="193172" y="202152"/>
                </a:cubicBezTo>
                <a:cubicBezTo>
                  <a:pt x="199801" y="209175"/>
                  <a:pt x="207957" y="214578"/>
                  <a:pt x="217004" y="217944"/>
                </a:cubicBezTo>
                <a:cubicBezTo>
                  <a:pt x="226664" y="222398"/>
                  <a:pt x="227069" y="232868"/>
                  <a:pt x="236382" y="234083"/>
                </a:cubicBezTo>
                <a:cubicBezTo>
                  <a:pt x="245694" y="235297"/>
                  <a:pt x="239621" y="243396"/>
                  <a:pt x="245232" y="250221"/>
                </a:cubicBezTo>
                <a:cubicBezTo>
                  <a:pt x="251467" y="258938"/>
                  <a:pt x="251942" y="270519"/>
                  <a:pt x="246446" y="279722"/>
                </a:cubicBezTo>
                <a:cubicBezTo>
                  <a:pt x="240662" y="287820"/>
                  <a:pt x="243612" y="301529"/>
                  <a:pt x="247719" y="301529"/>
                </a:cubicBezTo>
                <a:cubicBezTo>
                  <a:pt x="251826" y="301529"/>
                  <a:pt x="260213" y="286952"/>
                  <a:pt x="261428" y="278912"/>
                </a:cubicBezTo>
                <a:cubicBezTo>
                  <a:pt x="262643" y="270872"/>
                  <a:pt x="270683" y="271277"/>
                  <a:pt x="277162" y="262773"/>
                </a:cubicBezTo>
                <a:cubicBezTo>
                  <a:pt x="283640" y="254270"/>
                  <a:pt x="267444" y="252246"/>
                  <a:pt x="264667" y="241371"/>
                </a:cubicBezTo>
                <a:cubicBezTo>
                  <a:pt x="261891" y="230496"/>
                  <a:pt x="276757" y="220721"/>
                  <a:pt x="290871" y="229802"/>
                </a:cubicBezTo>
                <a:cubicBezTo>
                  <a:pt x="304985" y="238884"/>
                  <a:pt x="310711" y="244726"/>
                  <a:pt x="311463" y="231017"/>
                </a:cubicBezTo>
                <a:cubicBezTo>
                  <a:pt x="312215" y="217308"/>
                  <a:pt x="267965" y="198913"/>
                  <a:pt x="257495" y="19243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3" name="Forma libre: forma 242">
            <a:extLst>
              <a:ext uri="{FF2B5EF4-FFF2-40B4-BE49-F238E27FC236}">
                <a16:creationId xmlns:a16="http://schemas.microsoft.com/office/drawing/2014/main" id="{EEFD8D38-2D44-B1BF-BB6B-2E3470034D9B}"/>
              </a:ext>
            </a:extLst>
          </p:cNvPr>
          <p:cNvSpPr/>
          <p:nvPr/>
        </p:nvSpPr>
        <p:spPr>
          <a:xfrm>
            <a:off x="6684029" y="3205519"/>
            <a:ext cx="33028" cy="43787"/>
          </a:xfrm>
          <a:custGeom>
            <a:avLst/>
            <a:gdLst>
              <a:gd name="connsiteX0" fmla="*/ 11459 w 33028"/>
              <a:gd name="connsiteY0" fmla="*/ -129 h 43787"/>
              <a:gd name="connsiteX1" fmla="*/ 990 w 33028"/>
              <a:gd name="connsiteY1" fmla="*/ 20117 h 43787"/>
              <a:gd name="connsiteX2" fmla="*/ -110 w 33028"/>
              <a:gd name="connsiteY2" fmla="*/ 28562 h 43787"/>
              <a:gd name="connsiteX3" fmla="*/ 19152 w 33028"/>
              <a:gd name="connsiteY3" fmla="*/ 42907 h 43787"/>
              <a:gd name="connsiteX4" fmla="*/ 20598 w 33028"/>
              <a:gd name="connsiteY4" fmla="*/ 43659 h 43787"/>
              <a:gd name="connsiteX5" fmla="*/ 32919 w 33028"/>
              <a:gd name="connsiteY5" fmla="*/ 24339 h 43787"/>
              <a:gd name="connsiteX6" fmla="*/ 11459 w 33028"/>
              <a:gd name="connsiteY6" fmla="*/ -129 h 4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28" h="43787">
                <a:moveTo>
                  <a:pt x="11459" y="-129"/>
                </a:moveTo>
                <a:cubicBezTo>
                  <a:pt x="5675" y="7391"/>
                  <a:pt x="353" y="17224"/>
                  <a:pt x="990" y="20117"/>
                </a:cubicBezTo>
                <a:cubicBezTo>
                  <a:pt x="1082" y="22974"/>
                  <a:pt x="712" y="25826"/>
                  <a:pt x="-110" y="28562"/>
                </a:cubicBezTo>
                <a:cubicBezTo>
                  <a:pt x="5894" y="33878"/>
                  <a:pt x="12338" y="38679"/>
                  <a:pt x="19152" y="42907"/>
                </a:cubicBezTo>
                <a:lnTo>
                  <a:pt x="20598" y="43659"/>
                </a:lnTo>
                <a:cubicBezTo>
                  <a:pt x="22218" y="34693"/>
                  <a:pt x="28408" y="25438"/>
                  <a:pt x="32919" y="24339"/>
                </a:cubicBezTo>
                <a:cubicBezTo>
                  <a:pt x="26615" y="16646"/>
                  <a:pt x="17359" y="5771"/>
                  <a:pt x="11459" y="-12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4" name="Forma libre: forma 243">
            <a:extLst>
              <a:ext uri="{FF2B5EF4-FFF2-40B4-BE49-F238E27FC236}">
                <a16:creationId xmlns:a16="http://schemas.microsoft.com/office/drawing/2014/main" id="{8C80E453-05EC-EB7E-B821-8BA0620AEF4B}"/>
              </a:ext>
            </a:extLst>
          </p:cNvPr>
          <p:cNvSpPr/>
          <p:nvPr/>
        </p:nvSpPr>
        <p:spPr>
          <a:xfrm>
            <a:off x="6692242" y="3107993"/>
            <a:ext cx="109467" cy="136454"/>
          </a:xfrm>
          <a:custGeom>
            <a:avLst/>
            <a:gdLst>
              <a:gd name="connsiteX0" fmla="*/ 98978 w 109467"/>
              <a:gd name="connsiteY0" fmla="*/ 90745 h 136454"/>
              <a:gd name="connsiteX1" fmla="*/ 97647 w 109467"/>
              <a:gd name="connsiteY1" fmla="*/ 73293 h 136454"/>
              <a:gd name="connsiteX2" fmla="*/ 98978 w 109467"/>
              <a:gd name="connsiteY2" fmla="*/ 71945 h 136454"/>
              <a:gd name="connsiteX3" fmla="*/ 99614 w 109467"/>
              <a:gd name="connsiteY3" fmla="*/ 57426 h 136454"/>
              <a:gd name="connsiteX4" fmla="*/ 69304 w 109467"/>
              <a:gd name="connsiteY4" fmla="*/ 48345 h 136454"/>
              <a:gd name="connsiteX5" fmla="*/ 65659 w 109467"/>
              <a:gd name="connsiteY5" fmla="*/ 31396 h 136454"/>
              <a:gd name="connsiteX6" fmla="*/ 56520 w 109467"/>
              <a:gd name="connsiteY6" fmla="*/ 23072 h 136454"/>
              <a:gd name="connsiteX7" fmla="*/ 56578 w 109467"/>
              <a:gd name="connsiteY7" fmla="*/ 21678 h 136454"/>
              <a:gd name="connsiteX8" fmla="*/ 46918 w 109467"/>
              <a:gd name="connsiteY8" fmla="*/ 5945 h 136454"/>
              <a:gd name="connsiteX9" fmla="*/ 47612 w 109467"/>
              <a:gd name="connsiteY9" fmla="*/ 4730 h 136454"/>
              <a:gd name="connsiteX10" fmla="*/ 39919 w 109467"/>
              <a:gd name="connsiteY10" fmla="*/ 3457 h 136454"/>
              <a:gd name="connsiteX11" fmla="*/ 28350 w 109467"/>
              <a:gd name="connsiteY11" fmla="*/ -129 h 136454"/>
              <a:gd name="connsiteX12" fmla="*/ -110 w 109467"/>
              <a:gd name="connsiteY12" fmla="*/ 8837 h 136454"/>
              <a:gd name="connsiteX13" fmla="*/ 7005 w 109467"/>
              <a:gd name="connsiteY13" fmla="*/ 25380 h 136454"/>
              <a:gd name="connsiteX14" fmla="*/ 15682 w 109467"/>
              <a:gd name="connsiteY14" fmla="*/ 44932 h 136454"/>
              <a:gd name="connsiteX15" fmla="*/ 13542 w 109467"/>
              <a:gd name="connsiteY15" fmla="*/ 87216 h 136454"/>
              <a:gd name="connsiteX16" fmla="*/ 3361 w 109467"/>
              <a:gd name="connsiteY16" fmla="*/ 97397 h 136454"/>
              <a:gd name="connsiteX17" fmla="*/ 24821 w 109467"/>
              <a:gd name="connsiteY17" fmla="*/ 121865 h 136454"/>
              <a:gd name="connsiteX18" fmla="*/ 25631 w 109467"/>
              <a:gd name="connsiteY18" fmla="*/ 121865 h 136454"/>
              <a:gd name="connsiteX19" fmla="*/ 50909 w 109467"/>
              <a:gd name="connsiteY19" fmla="*/ 136326 h 136454"/>
              <a:gd name="connsiteX20" fmla="*/ 97937 w 109467"/>
              <a:gd name="connsiteY20" fmla="*/ 127707 h 136454"/>
              <a:gd name="connsiteX21" fmla="*/ 98515 w 109467"/>
              <a:gd name="connsiteY21" fmla="*/ 119435 h 136454"/>
              <a:gd name="connsiteX22" fmla="*/ 107597 w 109467"/>
              <a:gd name="connsiteY22" fmla="*/ 108560 h 136454"/>
              <a:gd name="connsiteX23" fmla="*/ 98978 w 109467"/>
              <a:gd name="connsiteY23" fmla="*/ 90745 h 136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9467" h="136454">
                <a:moveTo>
                  <a:pt x="98978" y="90745"/>
                </a:moveTo>
                <a:cubicBezTo>
                  <a:pt x="93772" y="86296"/>
                  <a:pt x="93193" y="78481"/>
                  <a:pt x="97647" y="73293"/>
                </a:cubicBezTo>
                <a:cubicBezTo>
                  <a:pt x="98052" y="72807"/>
                  <a:pt x="98515" y="72356"/>
                  <a:pt x="98978" y="71945"/>
                </a:cubicBezTo>
                <a:cubicBezTo>
                  <a:pt x="104415" y="68301"/>
                  <a:pt x="99614" y="63500"/>
                  <a:pt x="99614" y="57426"/>
                </a:cubicBezTo>
                <a:cubicBezTo>
                  <a:pt x="99614" y="51352"/>
                  <a:pt x="73526" y="49559"/>
                  <a:pt x="69304" y="48345"/>
                </a:cubicBezTo>
                <a:cubicBezTo>
                  <a:pt x="65081" y="47130"/>
                  <a:pt x="72312" y="31396"/>
                  <a:pt x="65659" y="31396"/>
                </a:cubicBezTo>
                <a:cubicBezTo>
                  <a:pt x="60858" y="31622"/>
                  <a:pt x="56752" y="27891"/>
                  <a:pt x="56520" y="23072"/>
                </a:cubicBezTo>
                <a:cubicBezTo>
                  <a:pt x="56520" y="22610"/>
                  <a:pt x="56520" y="22141"/>
                  <a:pt x="56578" y="21678"/>
                </a:cubicBezTo>
                <a:cubicBezTo>
                  <a:pt x="56578" y="16819"/>
                  <a:pt x="46282" y="8953"/>
                  <a:pt x="46918" y="5945"/>
                </a:cubicBezTo>
                <a:cubicBezTo>
                  <a:pt x="47033" y="5482"/>
                  <a:pt x="47265" y="5065"/>
                  <a:pt x="47612" y="4730"/>
                </a:cubicBezTo>
                <a:lnTo>
                  <a:pt x="39919" y="3457"/>
                </a:lnTo>
                <a:cubicBezTo>
                  <a:pt x="35985" y="2503"/>
                  <a:pt x="32110" y="1306"/>
                  <a:pt x="28350" y="-129"/>
                </a:cubicBezTo>
                <a:cubicBezTo>
                  <a:pt x="28350" y="-129"/>
                  <a:pt x="11517" y="5308"/>
                  <a:pt x="-110" y="8837"/>
                </a:cubicBezTo>
                <a:cubicBezTo>
                  <a:pt x="642" y="15952"/>
                  <a:pt x="2494" y="23703"/>
                  <a:pt x="7005" y="25380"/>
                </a:cubicBezTo>
                <a:cubicBezTo>
                  <a:pt x="15682" y="28620"/>
                  <a:pt x="12443" y="37296"/>
                  <a:pt x="15682" y="44932"/>
                </a:cubicBezTo>
                <a:cubicBezTo>
                  <a:pt x="18921" y="52567"/>
                  <a:pt x="17880" y="87216"/>
                  <a:pt x="13542" y="87216"/>
                </a:cubicBezTo>
                <a:cubicBezTo>
                  <a:pt x="11691" y="87216"/>
                  <a:pt x="7757" y="91728"/>
                  <a:pt x="3361" y="97397"/>
                </a:cubicBezTo>
                <a:cubicBezTo>
                  <a:pt x="9145" y="103181"/>
                  <a:pt x="18516" y="114171"/>
                  <a:pt x="24821" y="121865"/>
                </a:cubicBezTo>
                <a:cubicBezTo>
                  <a:pt x="25093" y="121830"/>
                  <a:pt x="25365" y="121830"/>
                  <a:pt x="25631" y="121865"/>
                </a:cubicBezTo>
                <a:cubicBezTo>
                  <a:pt x="31069" y="121865"/>
                  <a:pt x="50909" y="136326"/>
                  <a:pt x="50909" y="136326"/>
                </a:cubicBezTo>
                <a:cubicBezTo>
                  <a:pt x="50909" y="136326"/>
                  <a:pt x="79021" y="130541"/>
                  <a:pt x="97937" y="127707"/>
                </a:cubicBezTo>
                <a:cubicBezTo>
                  <a:pt x="98399" y="124977"/>
                  <a:pt x="98573" y="122206"/>
                  <a:pt x="98515" y="119435"/>
                </a:cubicBezTo>
                <a:cubicBezTo>
                  <a:pt x="98457" y="114067"/>
                  <a:pt x="102275" y="109445"/>
                  <a:pt x="107597" y="108560"/>
                </a:cubicBezTo>
                <a:cubicBezTo>
                  <a:pt x="112918" y="108329"/>
                  <a:pt x="105051" y="96182"/>
                  <a:pt x="98978" y="90745"/>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5" name="Forma libre: forma 244">
            <a:extLst>
              <a:ext uri="{FF2B5EF4-FFF2-40B4-BE49-F238E27FC236}">
                <a16:creationId xmlns:a16="http://schemas.microsoft.com/office/drawing/2014/main" id="{73C96D54-A58C-CFC4-2E47-D64AA1BB5B1C}"/>
              </a:ext>
            </a:extLst>
          </p:cNvPr>
          <p:cNvSpPr/>
          <p:nvPr/>
        </p:nvSpPr>
        <p:spPr>
          <a:xfrm>
            <a:off x="3523958" y="1851427"/>
            <a:ext cx="95252" cy="51026"/>
          </a:xfrm>
          <a:custGeom>
            <a:avLst/>
            <a:gdLst>
              <a:gd name="connsiteX0" fmla="*/ 83397 w 95252"/>
              <a:gd name="connsiteY0" fmla="*/ 50788 h 51026"/>
              <a:gd name="connsiteX1" fmla="*/ 70035 w 95252"/>
              <a:gd name="connsiteY1" fmla="*/ 4802 h 51026"/>
              <a:gd name="connsiteX2" fmla="*/ 1027 w 95252"/>
              <a:gd name="connsiteY2" fmla="*/ 31410 h 51026"/>
              <a:gd name="connsiteX3" fmla="*/ 83397 w 95252"/>
              <a:gd name="connsiteY3" fmla="*/ 50788 h 51026"/>
            </a:gdLst>
            <a:ahLst/>
            <a:cxnLst>
              <a:cxn ang="0">
                <a:pos x="connsiteX0" y="connsiteY0"/>
              </a:cxn>
              <a:cxn ang="0">
                <a:pos x="connsiteX1" y="connsiteY1"/>
              </a:cxn>
              <a:cxn ang="0">
                <a:pos x="connsiteX2" y="connsiteY2"/>
              </a:cxn>
              <a:cxn ang="0">
                <a:pos x="connsiteX3" y="connsiteY3"/>
              </a:cxn>
            </a:cxnLst>
            <a:rect l="l" t="t" r="r" b="b"/>
            <a:pathLst>
              <a:path w="95252" h="51026">
                <a:moveTo>
                  <a:pt x="83397" y="50788"/>
                </a:moveTo>
                <a:cubicBezTo>
                  <a:pt x="105204" y="49573"/>
                  <a:pt x="94272" y="22965"/>
                  <a:pt x="70035" y="4802"/>
                </a:cubicBezTo>
                <a:cubicBezTo>
                  <a:pt x="45798" y="-13361"/>
                  <a:pt x="-8633" y="23948"/>
                  <a:pt x="1027" y="31410"/>
                </a:cubicBezTo>
                <a:cubicBezTo>
                  <a:pt x="11901" y="40087"/>
                  <a:pt x="61590" y="52176"/>
                  <a:pt x="83397" y="5078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6" name="Forma libre: forma 245">
            <a:extLst>
              <a:ext uri="{FF2B5EF4-FFF2-40B4-BE49-F238E27FC236}">
                <a16:creationId xmlns:a16="http://schemas.microsoft.com/office/drawing/2014/main" id="{C3733835-9194-6F48-E591-3476373DCCB6}"/>
              </a:ext>
            </a:extLst>
          </p:cNvPr>
          <p:cNvSpPr/>
          <p:nvPr/>
        </p:nvSpPr>
        <p:spPr>
          <a:xfrm>
            <a:off x="3364334" y="1926853"/>
            <a:ext cx="173400" cy="150795"/>
          </a:xfrm>
          <a:custGeom>
            <a:avLst/>
            <a:gdLst>
              <a:gd name="connsiteX0" fmla="*/ 87941 w 173400"/>
              <a:gd name="connsiteY0" fmla="*/ 145136 h 150795"/>
              <a:gd name="connsiteX1" fmla="*/ 136414 w 173400"/>
              <a:gd name="connsiteY1" fmla="*/ 131832 h 150795"/>
              <a:gd name="connsiteX2" fmla="*/ 172740 w 173400"/>
              <a:gd name="connsiteY2" fmla="*/ 65195 h 150795"/>
              <a:gd name="connsiteX3" fmla="*/ 155792 w 173400"/>
              <a:gd name="connsiteY3" fmla="*/ 61551 h 150795"/>
              <a:gd name="connsiteX4" fmla="*/ 152148 w 173400"/>
              <a:gd name="connsiteY4" fmla="*/ 72484 h 150795"/>
              <a:gd name="connsiteX5" fmla="*/ 118251 w 173400"/>
              <a:gd name="connsiteY5" fmla="*/ 59122 h 150795"/>
              <a:gd name="connsiteX6" fmla="*/ 153362 w 173400"/>
              <a:gd name="connsiteY6" fmla="*/ 30200 h 150795"/>
              <a:gd name="connsiteX7" fmla="*/ 133985 w 173400"/>
              <a:gd name="connsiteY7" fmla="*/ 4748 h 150795"/>
              <a:gd name="connsiteX8" fmla="*/ 98815 w 173400"/>
              <a:gd name="connsiteY8" fmla="*/ 13251 h 150795"/>
              <a:gd name="connsiteX9" fmla="*/ 83082 w 173400"/>
              <a:gd name="connsiteY9" fmla="*/ 18052 h 150795"/>
              <a:gd name="connsiteX10" fmla="*/ 35823 w 173400"/>
              <a:gd name="connsiteY10" fmla="*/ 39917 h 150795"/>
              <a:gd name="connsiteX11" fmla="*/ 66133 w 173400"/>
              <a:gd name="connsiteY11" fmla="*/ 64096 h 150795"/>
              <a:gd name="connsiteX12" fmla="*/ 11586 w 173400"/>
              <a:gd name="connsiteY12" fmla="*/ 59237 h 150795"/>
              <a:gd name="connsiteX13" fmla="*/ 32179 w 173400"/>
              <a:gd name="connsiteY13" fmla="*/ 99266 h 150795"/>
              <a:gd name="connsiteX14" fmla="*/ 87941 w 173400"/>
              <a:gd name="connsiteY14" fmla="*/ 145136 h 15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3400" h="150795">
                <a:moveTo>
                  <a:pt x="87941" y="145136"/>
                </a:moveTo>
                <a:cubicBezTo>
                  <a:pt x="114607" y="163357"/>
                  <a:pt x="106104" y="130617"/>
                  <a:pt x="136414" y="131832"/>
                </a:cubicBezTo>
                <a:cubicBezTo>
                  <a:pt x="166724" y="133047"/>
                  <a:pt x="167881" y="83358"/>
                  <a:pt x="172740" y="65195"/>
                </a:cubicBezTo>
                <a:cubicBezTo>
                  <a:pt x="177599" y="47032"/>
                  <a:pt x="148504" y="48247"/>
                  <a:pt x="155792" y="61551"/>
                </a:cubicBezTo>
                <a:cubicBezTo>
                  <a:pt x="163080" y="74855"/>
                  <a:pt x="154577" y="88217"/>
                  <a:pt x="152148" y="72484"/>
                </a:cubicBezTo>
                <a:cubicBezTo>
                  <a:pt x="149718" y="56750"/>
                  <a:pt x="126696" y="71269"/>
                  <a:pt x="118251" y="59122"/>
                </a:cubicBezTo>
                <a:cubicBezTo>
                  <a:pt x="109806" y="46974"/>
                  <a:pt x="144859" y="45817"/>
                  <a:pt x="153362" y="30200"/>
                </a:cubicBezTo>
                <a:cubicBezTo>
                  <a:pt x="161866" y="14582"/>
                  <a:pt x="125481" y="16837"/>
                  <a:pt x="133985" y="4748"/>
                </a:cubicBezTo>
                <a:cubicBezTo>
                  <a:pt x="142488" y="-7341"/>
                  <a:pt x="80652" y="5963"/>
                  <a:pt x="98815" y="13251"/>
                </a:cubicBezTo>
                <a:cubicBezTo>
                  <a:pt x="116978" y="20540"/>
                  <a:pt x="100030" y="30200"/>
                  <a:pt x="83082" y="18052"/>
                </a:cubicBezTo>
                <a:cubicBezTo>
                  <a:pt x="66133" y="5905"/>
                  <a:pt x="19164" y="26208"/>
                  <a:pt x="35823" y="39917"/>
                </a:cubicBezTo>
                <a:cubicBezTo>
                  <a:pt x="49127" y="50792"/>
                  <a:pt x="89155" y="32629"/>
                  <a:pt x="66133" y="64096"/>
                </a:cubicBezTo>
                <a:cubicBezTo>
                  <a:pt x="43111" y="95564"/>
                  <a:pt x="33393" y="55651"/>
                  <a:pt x="11586" y="59237"/>
                </a:cubicBezTo>
                <a:cubicBezTo>
                  <a:pt x="-10221" y="62824"/>
                  <a:pt x="-503" y="89548"/>
                  <a:pt x="32179" y="99266"/>
                </a:cubicBezTo>
                <a:cubicBezTo>
                  <a:pt x="64861" y="108983"/>
                  <a:pt x="61274" y="126973"/>
                  <a:pt x="87941" y="145136"/>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7" name="Forma libre: forma 246">
            <a:extLst>
              <a:ext uri="{FF2B5EF4-FFF2-40B4-BE49-F238E27FC236}">
                <a16:creationId xmlns:a16="http://schemas.microsoft.com/office/drawing/2014/main" id="{C8B5BB28-DDBA-D7EA-34DC-3B55180FBB95}"/>
              </a:ext>
            </a:extLst>
          </p:cNvPr>
          <p:cNvSpPr/>
          <p:nvPr/>
        </p:nvSpPr>
        <p:spPr>
          <a:xfrm>
            <a:off x="2913338" y="1948521"/>
            <a:ext cx="496676" cy="265308"/>
          </a:xfrm>
          <a:custGeom>
            <a:avLst/>
            <a:gdLst>
              <a:gd name="connsiteX0" fmla="*/ 457723 w 496676"/>
              <a:gd name="connsiteY0" fmla="*/ 201037 h 265308"/>
              <a:gd name="connsiteX1" fmla="*/ 496537 w 496676"/>
              <a:gd name="connsiteY1" fmla="*/ 199822 h 265308"/>
              <a:gd name="connsiteX2" fmla="*/ 448063 w 496676"/>
              <a:gd name="connsiteY2" fmla="*/ 163496 h 265308"/>
              <a:gd name="connsiteX3" fmla="*/ 404449 w 496676"/>
              <a:gd name="connsiteY3" fmla="*/ 141688 h 265308"/>
              <a:gd name="connsiteX4" fmla="*/ 393516 w 496676"/>
              <a:gd name="connsiteY4" fmla="*/ 102875 h 265308"/>
              <a:gd name="connsiteX5" fmla="*/ 382641 w 496676"/>
              <a:gd name="connsiteY5" fmla="*/ 41097 h 265308"/>
              <a:gd name="connsiteX6" fmla="*/ 386285 w 496676"/>
              <a:gd name="connsiteY6" fmla="*/ 2341 h 265308"/>
              <a:gd name="connsiteX7" fmla="*/ 332953 w 496676"/>
              <a:gd name="connsiteY7" fmla="*/ 14431 h 265308"/>
              <a:gd name="connsiteX8" fmla="*/ 366908 w 496676"/>
              <a:gd name="connsiteY8" fmla="*/ 43353 h 265308"/>
              <a:gd name="connsiteX9" fmla="*/ 329309 w 496676"/>
              <a:gd name="connsiteY9" fmla="*/ 28834 h 265308"/>
              <a:gd name="connsiteX10" fmla="*/ 300387 w 496676"/>
              <a:gd name="connsiteY10" fmla="*/ 28834 h 265308"/>
              <a:gd name="connsiteX11" fmla="*/ 318550 w 496676"/>
              <a:gd name="connsiteY11" fmla="*/ 95471 h 265308"/>
              <a:gd name="connsiteX12" fmla="*/ 301544 w 496676"/>
              <a:gd name="connsiteY12" fmla="*/ 109990 h 265308"/>
              <a:gd name="connsiteX13" fmla="*/ 280951 w 496676"/>
              <a:gd name="connsiteY13" fmla="*/ 62731 h 265308"/>
              <a:gd name="connsiteX14" fmla="*/ 230106 w 496676"/>
              <a:gd name="connsiteY14" fmla="*/ 43353 h 265308"/>
              <a:gd name="connsiteX15" fmla="*/ 250699 w 496676"/>
              <a:gd name="connsiteY15" fmla="*/ 66491 h 265308"/>
              <a:gd name="connsiteX16" fmla="*/ 219173 w 496676"/>
              <a:gd name="connsiteY16" fmla="*/ 68920 h 265308"/>
              <a:gd name="connsiteX17" fmla="*/ 210728 w 496676"/>
              <a:gd name="connsiteY17" fmla="*/ 61632 h 265308"/>
              <a:gd name="connsiteX18" fmla="*/ 167114 w 496676"/>
              <a:gd name="connsiteY18" fmla="*/ 41039 h 265308"/>
              <a:gd name="connsiteX19" fmla="*/ 148950 w 496676"/>
              <a:gd name="connsiteY19" fmla="*/ 66491 h 265308"/>
              <a:gd name="connsiteX20" fmla="*/ 128300 w 496676"/>
              <a:gd name="connsiteY20" fmla="*/ 58045 h 265308"/>
              <a:gd name="connsiteX21" fmla="*/ 133159 w 496676"/>
              <a:gd name="connsiteY21" fmla="*/ 26520 h 265308"/>
              <a:gd name="connsiteX22" fmla="*/ 64093 w 496676"/>
              <a:gd name="connsiteY22" fmla="*/ 42254 h 265308"/>
              <a:gd name="connsiteX23" fmla="*/ 14405 w 496676"/>
              <a:gd name="connsiteY23" fmla="*/ 71176 h 265308"/>
              <a:gd name="connsiteX24" fmla="*/ 5959 w 496676"/>
              <a:gd name="connsiteY24" fmla="*/ 90554 h 265308"/>
              <a:gd name="connsiteX25" fmla="*/ 19321 w 496676"/>
              <a:gd name="connsiteY25" fmla="*/ 113692 h 265308"/>
              <a:gd name="connsiteX26" fmla="*/ 30196 w 496676"/>
              <a:gd name="connsiteY26" fmla="*/ 126996 h 265308"/>
              <a:gd name="connsiteX27" fmla="*/ 94403 w 496676"/>
              <a:gd name="connsiteY27" fmla="*/ 118551 h 265308"/>
              <a:gd name="connsiteX28" fmla="*/ 22908 w 496676"/>
              <a:gd name="connsiteY28" fmla="*/ 146374 h 265308"/>
              <a:gd name="connsiteX29" fmla="*/ 102906 w 496676"/>
              <a:gd name="connsiteY29" fmla="*/ 163380 h 265308"/>
              <a:gd name="connsiteX30" fmla="*/ 196151 w 496676"/>
              <a:gd name="connsiteY30" fmla="*/ 176684 h 265308"/>
              <a:gd name="connsiteX31" fmla="*/ 125928 w 496676"/>
              <a:gd name="connsiteY31" fmla="*/ 181543 h 265308"/>
              <a:gd name="connsiteX32" fmla="*/ 45930 w 496676"/>
              <a:gd name="connsiteY32" fmla="*/ 199706 h 265308"/>
              <a:gd name="connsiteX33" fmla="*/ 83528 w 496676"/>
              <a:gd name="connsiteY33" fmla="*/ 225158 h 265308"/>
              <a:gd name="connsiteX34" fmla="*/ 146521 w 496676"/>
              <a:gd name="connsiteY34" fmla="*/ 238462 h 265308"/>
              <a:gd name="connsiteX35" fmla="*/ 205869 w 496676"/>
              <a:gd name="connsiteY35" fmla="*/ 265128 h 265308"/>
              <a:gd name="connsiteX36" fmla="*/ 288239 w 496676"/>
              <a:gd name="connsiteY36" fmla="*/ 246965 h 265308"/>
              <a:gd name="connsiteX37" fmla="*/ 328268 w 496676"/>
              <a:gd name="connsiteY37" fmla="*/ 230017 h 265308"/>
              <a:gd name="connsiteX38" fmla="*/ 348802 w 496676"/>
              <a:gd name="connsiteY38" fmla="*/ 231231 h 265308"/>
              <a:gd name="connsiteX39" fmla="*/ 383972 w 496676"/>
              <a:gd name="connsiteY39" fmla="*/ 243321 h 265308"/>
              <a:gd name="connsiteX40" fmla="*/ 469986 w 496676"/>
              <a:gd name="connsiteY40" fmla="*/ 244536 h 265308"/>
              <a:gd name="connsiteX41" fmla="*/ 451823 w 496676"/>
              <a:gd name="connsiteY41" fmla="*/ 220299 h 265308"/>
              <a:gd name="connsiteX42" fmla="*/ 431231 w 496676"/>
              <a:gd name="connsiteY42" fmla="*/ 219084 h 265308"/>
              <a:gd name="connsiteX43" fmla="*/ 457723 w 496676"/>
              <a:gd name="connsiteY43" fmla="*/ 201037 h 26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6676" h="265308">
                <a:moveTo>
                  <a:pt x="457723" y="201037"/>
                </a:moveTo>
                <a:cubicBezTo>
                  <a:pt x="465012" y="192534"/>
                  <a:pt x="495322" y="217985"/>
                  <a:pt x="496537" y="199822"/>
                </a:cubicBezTo>
                <a:cubicBezTo>
                  <a:pt x="497751" y="181659"/>
                  <a:pt x="462582" y="173156"/>
                  <a:pt x="448063" y="163496"/>
                </a:cubicBezTo>
                <a:cubicBezTo>
                  <a:pt x="433544" y="153836"/>
                  <a:pt x="427471" y="158637"/>
                  <a:pt x="404449" y="141688"/>
                </a:cubicBezTo>
                <a:cubicBezTo>
                  <a:pt x="381427" y="124740"/>
                  <a:pt x="410233" y="116237"/>
                  <a:pt x="393516" y="102875"/>
                </a:cubicBezTo>
                <a:cubicBezTo>
                  <a:pt x="376799" y="89513"/>
                  <a:pt x="370378" y="53244"/>
                  <a:pt x="382641" y="41097"/>
                </a:cubicBezTo>
                <a:cubicBezTo>
                  <a:pt x="394904" y="28950"/>
                  <a:pt x="408093" y="10845"/>
                  <a:pt x="386285" y="2341"/>
                </a:cubicBezTo>
                <a:cubicBezTo>
                  <a:pt x="364478" y="-6162"/>
                  <a:pt x="329309" y="9630"/>
                  <a:pt x="332953" y="14431"/>
                </a:cubicBezTo>
                <a:cubicBezTo>
                  <a:pt x="336597" y="19232"/>
                  <a:pt x="366908" y="36296"/>
                  <a:pt x="366908" y="43353"/>
                </a:cubicBezTo>
                <a:cubicBezTo>
                  <a:pt x="366908" y="50410"/>
                  <a:pt x="339027" y="22761"/>
                  <a:pt x="329309" y="28834"/>
                </a:cubicBezTo>
                <a:cubicBezTo>
                  <a:pt x="319591" y="34908"/>
                  <a:pt x="308716" y="16687"/>
                  <a:pt x="300387" y="28834"/>
                </a:cubicBezTo>
                <a:cubicBezTo>
                  <a:pt x="292057" y="40981"/>
                  <a:pt x="311261" y="83324"/>
                  <a:pt x="318550" y="95471"/>
                </a:cubicBezTo>
                <a:cubicBezTo>
                  <a:pt x="325838" y="107618"/>
                  <a:pt x="311261" y="107560"/>
                  <a:pt x="301544" y="109990"/>
                </a:cubicBezTo>
                <a:cubicBezTo>
                  <a:pt x="291826" y="112419"/>
                  <a:pt x="290669" y="76093"/>
                  <a:pt x="280951" y="62731"/>
                </a:cubicBezTo>
                <a:cubicBezTo>
                  <a:pt x="271233" y="49369"/>
                  <a:pt x="232535" y="33809"/>
                  <a:pt x="230106" y="43353"/>
                </a:cubicBezTo>
                <a:cubicBezTo>
                  <a:pt x="227676" y="52897"/>
                  <a:pt x="254343" y="53071"/>
                  <a:pt x="250699" y="66491"/>
                </a:cubicBezTo>
                <a:cubicBezTo>
                  <a:pt x="247054" y="79911"/>
                  <a:pt x="232535" y="58045"/>
                  <a:pt x="219173" y="68920"/>
                </a:cubicBezTo>
                <a:cubicBezTo>
                  <a:pt x="205811" y="79795"/>
                  <a:pt x="208299" y="72564"/>
                  <a:pt x="210728" y="61632"/>
                </a:cubicBezTo>
                <a:cubicBezTo>
                  <a:pt x="213158" y="50699"/>
                  <a:pt x="191292" y="38494"/>
                  <a:pt x="167114" y="41039"/>
                </a:cubicBezTo>
                <a:cubicBezTo>
                  <a:pt x="142935" y="43584"/>
                  <a:pt x="156181" y="60417"/>
                  <a:pt x="148950" y="66491"/>
                </a:cubicBezTo>
                <a:cubicBezTo>
                  <a:pt x="141720" y="72564"/>
                  <a:pt x="105336" y="62847"/>
                  <a:pt x="128300" y="58045"/>
                </a:cubicBezTo>
                <a:cubicBezTo>
                  <a:pt x="151264" y="53244"/>
                  <a:pt x="141662" y="39825"/>
                  <a:pt x="133159" y="26520"/>
                </a:cubicBezTo>
                <a:cubicBezTo>
                  <a:pt x="124656" y="13216"/>
                  <a:pt x="101692" y="28950"/>
                  <a:pt x="64093" y="42254"/>
                </a:cubicBezTo>
                <a:cubicBezTo>
                  <a:pt x="26494" y="55558"/>
                  <a:pt x="9603" y="70135"/>
                  <a:pt x="14405" y="71176"/>
                </a:cubicBezTo>
                <a:cubicBezTo>
                  <a:pt x="19206" y="72217"/>
                  <a:pt x="20536" y="78407"/>
                  <a:pt x="5959" y="90554"/>
                </a:cubicBezTo>
                <a:cubicBezTo>
                  <a:pt x="-8617" y="102701"/>
                  <a:pt x="5959" y="113692"/>
                  <a:pt x="19321" y="113692"/>
                </a:cubicBezTo>
                <a:cubicBezTo>
                  <a:pt x="32683" y="113692"/>
                  <a:pt x="20883" y="124393"/>
                  <a:pt x="30196" y="126996"/>
                </a:cubicBezTo>
                <a:cubicBezTo>
                  <a:pt x="39509" y="129599"/>
                  <a:pt x="82256" y="110048"/>
                  <a:pt x="94403" y="118551"/>
                </a:cubicBezTo>
                <a:cubicBezTo>
                  <a:pt x="106551" y="127054"/>
                  <a:pt x="22908" y="131855"/>
                  <a:pt x="22908" y="146374"/>
                </a:cubicBezTo>
                <a:cubicBezTo>
                  <a:pt x="22908" y="160893"/>
                  <a:pt x="69183" y="169511"/>
                  <a:pt x="102906" y="163380"/>
                </a:cubicBezTo>
                <a:cubicBezTo>
                  <a:pt x="136630" y="157249"/>
                  <a:pt x="196151" y="168239"/>
                  <a:pt x="196151" y="176684"/>
                </a:cubicBezTo>
                <a:cubicBezTo>
                  <a:pt x="196151" y="185129"/>
                  <a:pt x="156181" y="182758"/>
                  <a:pt x="125928" y="181543"/>
                </a:cubicBezTo>
                <a:cubicBezTo>
                  <a:pt x="95676" y="180328"/>
                  <a:pt x="43500" y="189988"/>
                  <a:pt x="45930" y="199706"/>
                </a:cubicBezTo>
                <a:cubicBezTo>
                  <a:pt x="48648" y="210581"/>
                  <a:pt x="51714" y="210581"/>
                  <a:pt x="83528" y="225158"/>
                </a:cubicBezTo>
                <a:cubicBezTo>
                  <a:pt x="115343" y="239735"/>
                  <a:pt x="147678" y="217869"/>
                  <a:pt x="146521" y="238462"/>
                </a:cubicBezTo>
                <a:cubicBezTo>
                  <a:pt x="145364" y="259054"/>
                  <a:pt x="163469" y="263913"/>
                  <a:pt x="205869" y="265128"/>
                </a:cubicBezTo>
                <a:cubicBezTo>
                  <a:pt x="248269" y="266343"/>
                  <a:pt x="267647" y="245750"/>
                  <a:pt x="288239" y="246965"/>
                </a:cubicBezTo>
                <a:cubicBezTo>
                  <a:pt x="308832" y="248180"/>
                  <a:pt x="318550" y="244536"/>
                  <a:pt x="328268" y="230017"/>
                </a:cubicBezTo>
                <a:cubicBezTo>
                  <a:pt x="337986" y="215498"/>
                  <a:pt x="346431" y="223943"/>
                  <a:pt x="348802" y="231231"/>
                </a:cubicBezTo>
                <a:cubicBezTo>
                  <a:pt x="351174" y="238520"/>
                  <a:pt x="377725" y="237016"/>
                  <a:pt x="383972" y="243321"/>
                </a:cubicBezTo>
                <a:cubicBezTo>
                  <a:pt x="399416" y="258765"/>
                  <a:pt x="450608" y="254253"/>
                  <a:pt x="469986" y="244536"/>
                </a:cubicBezTo>
                <a:cubicBezTo>
                  <a:pt x="489364" y="234818"/>
                  <a:pt x="461483" y="208209"/>
                  <a:pt x="451823" y="220299"/>
                </a:cubicBezTo>
                <a:cubicBezTo>
                  <a:pt x="442163" y="232388"/>
                  <a:pt x="433660" y="225158"/>
                  <a:pt x="431231" y="219084"/>
                </a:cubicBezTo>
                <a:cubicBezTo>
                  <a:pt x="428801" y="213010"/>
                  <a:pt x="450493" y="209540"/>
                  <a:pt x="457723" y="201037"/>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8" name="Forma libre: forma 247">
            <a:extLst>
              <a:ext uri="{FF2B5EF4-FFF2-40B4-BE49-F238E27FC236}">
                <a16:creationId xmlns:a16="http://schemas.microsoft.com/office/drawing/2014/main" id="{4180414D-C603-04AA-6227-EB192074D031}"/>
              </a:ext>
            </a:extLst>
          </p:cNvPr>
          <p:cNvSpPr/>
          <p:nvPr/>
        </p:nvSpPr>
        <p:spPr>
          <a:xfrm>
            <a:off x="3312414" y="1778479"/>
            <a:ext cx="196953" cy="107445"/>
          </a:xfrm>
          <a:custGeom>
            <a:avLst/>
            <a:gdLst>
              <a:gd name="connsiteX0" fmla="*/ 159238 w 196953"/>
              <a:gd name="connsiteY0" fmla="*/ 12502 h 107445"/>
              <a:gd name="connsiteX1" fmla="*/ 108335 w 196953"/>
              <a:gd name="connsiteY1" fmla="*/ 1569 h 107445"/>
              <a:gd name="connsiteX2" fmla="*/ 116838 w 196953"/>
              <a:gd name="connsiteY2" fmla="*/ 33037 h 107445"/>
              <a:gd name="connsiteX3" fmla="*/ 85313 w 196953"/>
              <a:gd name="connsiteY3" fmla="*/ 24591 h 107445"/>
              <a:gd name="connsiteX4" fmla="*/ 75653 w 196953"/>
              <a:gd name="connsiteY4" fmla="*/ 43969 h 107445"/>
              <a:gd name="connsiteX5" fmla="*/ 58647 w 196953"/>
              <a:gd name="connsiteY5" fmla="*/ 45184 h 107445"/>
              <a:gd name="connsiteX6" fmla="*/ 13817 w 196953"/>
              <a:gd name="connsiteY6" fmla="*/ 3999 h 107445"/>
              <a:gd name="connsiteX7" fmla="*/ 10231 w 196953"/>
              <a:gd name="connsiteY7" fmla="*/ 37896 h 107445"/>
              <a:gd name="connsiteX8" fmla="*/ 53846 w 196953"/>
              <a:gd name="connsiteY8" fmla="*/ 68206 h 107445"/>
              <a:gd name="connsiteX9" fmla="*/ 119268 w 196953"/>
              <a:gd name="connsiteY9" fmla="*/ 66991 h 107445"/>
              <a:gd name="connsiteX10" fmla="*/ 113194 w 196953"/>
              <a:gd name="connsiteY10" fmla="*/ 100888 h 107445"/>
              <a:gd name="connsiteX11" fmla="*/ 170170 w 196953"/>
              <a:gd name="connsiteY11" fmla="*/ 103317 h 107445"/>
              <a:gd name="connsiteX12" fmla="*/ 193308 w 196953"/>
              <a:gd name="connsiteY12" fmla="*/ 81510 h 107445"/>
              <a:gd name="connsiteX13" fmla="*/ 190879 w 196953"/>
              <a:gd name="connsiteY13" fmla="*/ 53687 h 107445"/>
              <a:gd name="connsiteX14" fmla="*/ 159238 w 196953"/>
              <a:gd name="connsiteY14" fmla="*/ 12502 h 107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953" h="107445">
                <a:moveTo>
                  <a:pt x="159238" y="12502"/>
                </a:moveTo>
                <a:cubicBezTo>
                  <a:pt x="158023" y="24591"/>
                  <a:pt x="130316" y="10072"/>
                  <a:pt x="108335" y="1569"/>
                </a:cubicBezTo>
                <a:cubicBezTo>
                  <a:pt x="86354" y="-6934"/>
                  <a:pt x="99890" y="18518"/>
                  <a:pt x="116838" y="33037"/>
                </a:cubicBezTo>
                <a:cubicBezTo>
                  <a:pt x="133787" y="47556"/>
                  <a:pt x="108335" y="40325"/>
                  <a:pt x="85313" y="24591"/>
                </a:cubicBezTo>
                <a:cubicBezTo>
                  <a:pt x="62291" y="8858"/>
                  <a:pt x="64720" y="35524"/>
                  <a:pt x="75653" y="43969"/>
                </a:cubicBezTo>
                <a:cubicBezTo>
                  <a:pt x="86586" y="52414"/>
                  <a:pt x="73224" y="64562"/>
                  <a:pt x="58647" y="45184"/>
                </a:cubicBezTo>
                <a:cubicBezTo>
                  <a:pt x="44070" y="25806"/>
                  <a:pt x="36897" y="5156"/>
                  <a:pt x="13817" y="3999"/>
                </a:cubicBezTo>
                <a:cubicBezTo>
                  <a:pt x="-9262" y="2842"/>
                  <a:pt x="1323" y="26327"/>
                  <a:pt x="10231" y="37896"/>
                </a:cubicBezTo>
                <a:cubicBezTo>
                  <a:pt x="22320" y="53687"/>
                  <a:pt x="34468" y="57273"/>
                  <a:pt x="53846" y="68206"/>
                </a:cubicBezTo>
                <a:cubicBezTo>
                  <a:pt x="73224" y="79139"/>
                  <a:pt x="104691" y="63347"/>
                  <a:pt x="119268" y="66991"/>
                </a:cubicBezTo>
                <a:cubicBezTo>
                  <a:pt x="133844" y="70635"/>
                  <a:pt x="103476" y="88799"/>
                  <a:pt x="113194" y="100888"/>
                </a:cubicBezTo>
                <a:cubicBezTo>
                  <a:pt x="122912" y="112977"/>
                  <a:pt x="149520" y="104532"/>
                  <a:pt x="170170" y="103317"/>
                </a:cubicBezTo>
                <a:cubicBezTo>
                  <a:pt x="190821" y="102103"/>
                  <a:pt x="181045" y="90013"/>
                  <a:pt x="193308" y="81510"/>
                </a:cubicBezTo>
                <a:cubicBezTo>
                  <a:pt x="205571" y="73007"/>
                  <a:pt x="181219" y="74280"/>
                  <a:pt x="190879" y="53687"/>
                </a:cubicBezTo>
                <a:cubicBezTo>
                  <a:pt x="200539" y="33094"/>
                  <a:pt x="160279" y="355"/>
                  <a:pt x="159238" y="1250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49" name="Forma libre: forma 248">
            <a:extLst>
              <a:ext uri="{FF2B5EF4-FFF2-40B4-BE49-F238E27FC236}">
                <a16:creationId xmlns:a16="http://schemas.microsoft.com/office/drawing/2014/main" id="{71C71F27-D37F-A041-B854-E0830FD82F6F}"/>
              </a:ext>
            </a:extLst>
          </p:cNvPr>
          <p:cNvSpPr/>
          <p:nvPr/>
        </p:nvSpPr>
        <p:spPr>
          <a:xfrm>
            <a:off x="3676561" y="1732486"/>
            <a:ext cx="42815" cy="25191"/>
          </a:xfrm>
          <a:custGeom>
            <a:avLst/>
            <a:gdLst>
              <a:gd name="connsiteX0" fmla="*/ 34972 w 42815"/>
              <a:gd name="connsiteY0" fmla="*/ 2733 h 25191"/>
              <a:gd name="connsiteX1" fmla="*/ 8306 w 42815"/>
              <a:gd name="connsiteY1" fmla="*/ 23326 h 25191"/>
              <a:gd name="connsiteX2" fmla="*/ 34972 w 42815"/>
              <a:gd name="connsiteY2" fmla="*/ 2733 h 25191"/>
            </a:gdLst>
            <a:ahLst/>
            <a:cxnLst>
              <a:cxn ang="0">
                <a:pos x="connsiteX0" y="connsiteY0"/>
              </a:cxn>
              <a:cxn ang="0">
                <a:pos x="connsiteX1" y="connsiteY1"/>
              </a:cxn>
              <a:cxn ang="0">
                <a:pos x="connsiteX2" y="connsiteY2"/>
              </a:cxn>
            </a:cxnLst>
            <a:rect l="l" t="t" r="r" b="b"/>
            <a:pathLst>
              <a:path w="42815" h="25191">
                <a:moveTo>
                  <a:pt x="34972" y="2733"/>
                </a:moveTo>
                <a:cubicBezTo>
                  <a:pt x="13165" y="-8142"/>
                  <a:pt x="-14196" y="14880"/>
                  <a:pt x="8306" y="23326"/>
                </a:cubicBezTo>
                <a:cubicBezTo>
                  <a:pt x="27510" y="30556"/>
                  <a:pt x="56779" y="13550"/>
                  <a:pt x="34972" y="2733"/>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0" name="Forma libre: forma 249">
            <a:extLst>
              <a:ext uri="{FF2B5EF4-FFF2-40B4-BE49-F238E27FC236}">
                <a16:creationId xmlns:a16="http://schemas.microsoft.com/office/drawing/2014/main" id="{86947BD6-CA3C-94C2-D19E-E597F1E683DB}"/>
              </a:ext>
            </a:extLst>
          </p:cNvPr>
          <p:cNvSpPr/>
          <p:nvPr/>
        </p:nvSpPr>
        <p:spPr>
          <a:xfrm>
            <a:off x="3486278" y="1659319"/>
            <a:ext cx="90323" cy="60268"/>
          </a:xfrm>
          <a:custGeom>
            <a:avLst/>
            <a:gdLst>
              <a:gd name="connsiteX0" fmla="*/ 36278 w 90323"/>
              <a:gd name="connsiteY0" fmla="*/ 60109 h 60268"/>
              <a:gd name="connsiteX1" fmla="*/ 84693 w 90323"/>
              <a:gd name="connsiteY1" fmla="*/ 51664 h 60268"/>
              <a:gd name="connsiteX2" fmla="*/ 87123 w 90323"/>
              <a:gd name="connsiteY2" fmla="*/ 31071 h 60268"/>
              <a:gd name="connsiteX3" fmla="*/ 58201 w 90323"/>
              <a:gd name="connsiteY3" fmla="*/ 20196 h 60268"/>
              <a:gd name="connsiteX4" fmla="*/ 1224 w 90323"/>
              <a:gd name="connsiteY4" fmla="*/ 1976 h 60268"/>
              <a:gd name="connsiteX5" fmla="*/ 36278 w 90323"/>
              <a:gd name="connsiteY5" fmla="*/ 60109 h 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23" h="60268">
                <a:moveTo>
                  <a:pt x="36278" y="60109"/>
                </a:moveTo>
                <a:cubicBezTo>
                  <a:pt x="52810" y="60473"/>
                  <a:pt x="69261" y="57604"/>
                  <a:pt x="84693" y="51664"/>
                </a:cubicBezTo>
                <a:cubicBezTo>
                  <a:pt x="100485" y="45590"/>
                  <a:pt x="76248" y="45590"/>
                  <a:pt x="87123" y="31071"/>
                </a:cubicBezTo>
                <a:cubicBezTo>
                  <a:pt x="97998" y="16552"/>
                  <a:pt x="60457" y="15280"/>
                  <a:pt x="58201" y="20196"/>
                </a:cubicBezTo>
                <a:cubicBezTo>
                  <a:pt x="55945" y="25113"/>
                  <a:pt x="8513" y="-8726"/>
                  <a:pt x="1224" y="1976"/>
                </a:cubicBezTo>
                <a:cubicBezTo>
                  <a:pt x="-6064" y="12677"/>
                  <a:pt x="18057" y="60109"/>
                  <a:pt x="36278" y="6010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1" name="Forma libre: forma 250">
            <a:extLst>
              <a:ext uri="{FF2B5EF4-FFF2-40B4-BE49-F238E27FC236}">
                <a16:creationId xmlns:a16="http://schemas.microsoft.com/office/drawing/2014/main" id="{D3DF2FD9-F510-06D6-A03B-589A937C6837}"/>
              </a:ext>
            </a:extLst>
          </p:cNvPr>
          <p:cNvSpPr/>
          <p:nvPr/>
        </p:nvSpPr>
        <p:spPr>
          <a:xfrm>
            <a:off x="3525956" y="1495106"/>
            <a:ext cx="313263" cy="208630"/>
          </a:xfrm>
          <a:custGeom>
            <a:avLst/>
            <a:gdLst>
              <a:gd name="connsiteX0" fmla="*/ 11118 w 313263"/>
              <a:gd name="connsiteY0" fmla="*/ 104410 h 208630"/>
              <a:gd name="connsiteX1" fmla="*/ 37784 w 313263"/>
              <a:gd name="connsiteY1" fmla="*/ 133332 h 208630"/>
              <a:gd name="connsiteX2" fmla="*/ 117725 w 313263"/>
              <a:gd name="connsiteY2" fmla="*/ 135704 h 208630"/>
              <a:gd name="connsiteX3" fmla="*/ 69251 w 313263"/>
              <a:gd name="connsiteY3" fmla="*/ 158842 h 208630"/>
              <a:gd name="connsiteX4" fmla="*/ 108007 w 313263"/>
              <a:gd name="connsiteY4" fmla="*/ 187764 h 208630"/>
              <a:gd name="connsiteX5" fmla="*/ 172214 w 313263"/>
              <a:gd name="connsiteY5" fmla="*/ 205985 h 208630"/>
              <a:gd name="connsiteX6" fmla="*/ 211028 w 313263"/>
              <a:gd name="connsiteY6" fmla="*/ 204712 h 208630"/>
              <a:gd name="connsiteX7" fmla="*/ 238851 w 313263"/>
              <a:gd name="connsiteY7" fmla="*/ 174459 h 208630"/>
              <a:gd name="connsiteX8" fmla="*/ 266732 w 313263"/>
              <a:gd name="connsiteY8" fmla="*/ 151322 h 208630"/>
              <a:gd name="connsiteX9" fmla="*/ 313007 w 313263"/>
              <a:gd name="connsiteY9" fmla="*/ 135530 h 208630"/>
              <a:gd name="connsiteX10" fmla="*/ 286341 w 313263"/>
              <a:gd name="connsiteY10" fmla="*/ 123441 h 208630"/>
              <a:gd name="connsiteX11" fmla="*/ 259732 w 313263"/>
              <a:gd name="connsiteY11" fmla="*/ 105336 h 208630"/>
              <a:gd name="connsiteX12" fmla="*/ 247585 w 313263"/>
              <a:gd name="connsiteY12" fmla="*/ 79826 h 208630"/>
              <a:gd name="connsiteX13" fmla="*/ 228207 w 313263"/>
              <a:gd name="connsiteY13" fmla="*/ 74967 h 208630"/>
              <a:gd name="connsiteX14" fmla="*/ 202756 w 313263"/>
              <a:gd name="connsiteY14" fmla="*/ 62878 h 208630"/>
              <a:gd name="connsiteX15" fmla="*/ 116742 w 313263"/>
              <a:gd name="connsiteY15" fmla="*/ 15619 h 208630"/>
              <a:gd name="connsiteX16" fmla="*/ 69483 w 313263"/>
              <a:gd name="connsiteY16" fmla="*/ 9835 h 208630"/>
              <a:gd name="connsiteX17" fmla="*/ 71912 w 313263"/>
              <a:gd name="connsiteY17" fmla="*/ 21982 h 208630"/>
              <a:gd name="connsiteX18" fmla="*/ 53749 w 313263"/>
              <a:gd name="connsiteY18" fmla="*/ 32857 h 208630"/>
              <a:gd name="connsiteX19" fmla="*/ 30611 w 313263"/>
              <a:gd name="connsiteY19" fmla="*/ 46219 h 208630"/>
              <a:gd name="connsiteX20" fmla="*/ 35470 w 313263"/>
              <a:gd name="connsiteY20" fmla="*/ 76471 h 208630"/>
              <a:gd name="connsiteX21" fmla="*/ 20894 w 313263"/>
              <a:gd name="connsiteY21" fmla="*/ 89833 h 208630"/>
              <a:gd name="connsiteX22" fmla="*/ 11118 w 313263"/>
              <a:gd name="connsiteY22" fmla="*/ 104410 h 20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3263" h="208630">
                <a:moveTo>
                  <a:pt x="11118" y="104410"/>
                </a:moveTo>
                <a:cubicBezTo>
                  <a:pt x="28992" y="113376"/>
                  <a:pt x="18406" y="125003"/>
                  <a:pt x="37784" y="133332"/>
                </a:cubicBezTo>
                <a:cubicBezTo>
                  <a:pt x="57162" y="141662"/>
                  <a:pt x="112982" y="122400"/>
                  <a:pt x="117725" y="135704"/>
                </a:cubicBezTo>
                <a:cubicBezTo>
                  <a:pt x="122468" y="149008"/>
                  <a:pt x="60806" y="150281"/>
                  <a:pt x="69251" y="158842"/>
                </a:cubicBezTo>
                <a:cubicBezTo>
                  <a:pt x="77697" y="167402"/>
                  <a:pt x="112866" y="180649"/>
                  <a:pt x="108007" y="187764"/>
                </a:cubicBezTo>
                <a:cubicBezTo>
                  <a:pt x="103148" y="194879"/>
                  <a:pt x="166198" y="215645"/>
                  <a:pt x="172214" y="205985"/>
                </a:cubicBezTo>
                <a:cubicBezTo>
                  <a:pt x="178230" y="196325"/>
                  <a:pt x="195352" y="198638"/>
                  <a:pt x="211028" y="204712"/>
                </a:cubicBezTo>
                <a:cubicBezTo>
                  <a:pt x="226703" y="210786"/>
                  <a:pt x="227976" y="167171"/>
                  <a:pt x="238851" y="174459"/>
                </a:cubicBezTo>
                <a:cubicBezTo>
                  <a:pt x="249726" y="181748"/>
                  <a:pt x="248569" y="158668"/>
                  <a:pt x="266732" y="151322"/>
                </a:cubicBezTo>
                <a:cubicBezTo>
                  <a:pt x="284895" y="143976"/>
                  <a:pt x="311098" y="143976"/>
                  <a:pt x="313007" y="135530"/>
                </a:cubicBezTo>
                <a:cubicBezTo>
                  <a:pt x="314222" y="129746"/>
                  <a:pt x="308148" y="121011"/>
                  <a:pt x="286341" y="123441"/>
                </a:cubicBezTo>
                <a:cubicBezTo>
                  <a:pt x="264534" y="125870"/>
                  <a:pt x="250015" y="117367"/>
                  <a:pt x="259732" y="105336"/>
                </a:cubicBezTo>
                <a:cubicBezTo>
                  <a:pt x="269450" y="93304"/>
                  <a:pt x="235496" y="89544"/>
                  <a:pt x="247585" y="79826"/>
                </a:cubicBezTo>
                <a:cubicBezTo>
                  <a:pt x="259675" y="70108"/>
                  <a:pt x="224448" y="60448"/>
                  <a:pt x="228207" y="74967"/>
                </a:cubicBezTo>
                <a:cubicBezTo>
                  <a:pt x="231967" y="89486"/>
                  <a:pt x="206400" y="76182"/>
                  <a:pt x="202756" y="62878"/>
                </a:cubicBezTo>
                <a:cubicBezTo>
                  <a:pt x="199112" y="49574"/>
                  <a:pt x="149481" y="44715"/>
                  <a:pt x="116742" y="15619"/>
                </a:cubicBezTo>
                <a:cubicBezTo>
                  <a:pt x="84002" y="-13477"/>
                  <a:pt x="50105" y="5901"/>
                  <a:pt x="69483" y="9835"/>
                </a:cubicBezTo>
                <a:cubicBezTo>
                  <a:pt x="88861" y="13768"/>
                  <a:pt x="87646" y="23197"/>
                  <a:pt x="71912" y="21982"/>
                </a:cubicBezTo>
                <a:cubicBezTo>
                  <a:pt x="56179" y="20767"/>
                  <a:pt x="28298" y="23197"/>
                  <a:pt x="53749" y="32857"/>
                </a:cubicBezTo>
                <a:cubicBezTo>
                  <a:pt x="79200" y="42517"/>
                  <a:pt x="51320" y="46219"/>
                  <a:pt x="30611" y="46219"/>
                </a:cubicBezTo>
                <a:cubicBezTo>
                  <a:pt x="9903" y="46219"/>
                  <a:pt x="8804" y="72827"/>
                  <a:pt x="35470" y="76471"/>
                </a:cubicBezTo>
                <a:cubicBezTo>
                  <a:pt x="62137" y="80115"/>
                  <a:pt x="42759" y="95849"/>
                  <a:pt x="20894" y="89833"/>
                </a:cubicBezTo>
                <a:cubicBezTo>
                  <a:pt x="-972" y="83817"/>
                  <a:pt x="-8260" y="94750"/>
                  <a:pt x="11118" y="104410"/>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2" name="Forma libre: forma 251">
            <a:extLst>
              <a:ext uri="{FF2B5EF4-FFF2-40B4-BE49-F238E27FC236}">
                <a16:creationId xmlns:a16="http://schemas.microsoft.com/office/drawing/2014/main" id="{7B8DFFED-3B5B-2242-6656-35E7B76D4AB6}"/>
              </a:ext>
            </a:extLst>
          </p:cNvPr>
          <p:cNvSpPr/>
          <p:nvPr/>
        </p:nvSpPr>
        <p:spPr>
          <a:xfrm>
            <a:off x="3957272" y="1946432"/>
            <a:ext cx="124978" cy="58438"/>
          </a:xfrm>
          <a:custGeom>
            <a:avLst/>
            <a:gdLst>
              <a:gd name="connsiteX0" fmla="*/ 1313 w 124978"/>
              <a:gd name="connsiteY0" fmla="*/ 5645 h 58438"/>
              <a:gd name="connsiteX1" fmla="*/ 18262 w 124978"/>
              <a:gd name="connsiteY1" fmla="*/ 39542 h 58438"/>
              <a:gd name="connsiteX2" fmla="*/ 59447 w 124978"/>
              <a:gd name="connsiteY2" fmla="*/ 52904 h 58438"/>
              <a:gd name="connsiteX3" fmla="*/ 124869 w 124978"/>
              <a:gd name="connsiteY3" fmla="*/ 41971 h 58438"/>
              <a:gd name="connsiteX4" fmla="*/ 55803 w 124978"/>
              <a:gd name="connsiteY4" fmla="*/ 8074 h 58438"/>
              <a:gd name="connsiteX5" fmla="*/ 1313 w 124978"/>
              <a:gd name="connsiteY5" fmla="*/ 5645 h 5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78" h="58438">
                <a:moveTo>
                  <a:pt x="1313" y="5645"/>
                </a:moveTo>
                <a:cubicBezTo>
                  <a:pt x="-5975" y="21379"/>
                  <a:pt x="17047" y="21379"/>
                  <a:pt x="18262" y="39542"/>
                </a:cubicBezTo>
                <a:cubicBezTo>
                  <a:pt x="19477" y="57705"/>
                  <a:pt x="42498" y="63779"/>
                  <a:pt x="59447" y="52904"/>
                </a:cubicBezTo>
                <a:cubicBezTo>
                  <a:pt x="76395" y="42029"/>
                  <a:pt x="124869" y="56143"/>
                  <a:pt x="124869" y="41971"/>
                </a:cubicBezTo>
                <a:cubicBezTo>
                  <a:pt x="124869" y="27799"/>
                  <a:pt x="73966" y="4430"/>
                  <a:pt x="55803" y="8074"/>
                </a:cubicBezTo>
                <a:cubicBezTo>
                  <a:pt x="37640" y="11719"/>
                  <a:pt x="8660" y="-10089"/>
                  <a:pt x="1313" y="5645"/>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3" name="Forma libre: forma 252">
            <a:extLst>
              <a:ext uri="{FF2B5EF4-FFF2-40B4-BE49-F238E27FC236}">
                <a16:creationId xmlns:a16="http://schemas.microsoft.com/office/drawing/2014/main" id="{B49E8281-CA22-4B97-3672-8286CF0F66BC}"/>
              </a:ext>
            </a:extLst>
          </p:cNvPr>
          <p:cNvSpPr/>
          <p:nvPr/>
        </p:nvSpPr>
        <p:spPr>
          <a:xfrm>
            <a:off x="3709251" y="1945569"/>
            <a:ext cx="792658" cy="570323"/>
          </a:xfrm>
          <a:custGeom>
            <a:avLst/>
            <a:gdLst>
              <a:gd name="connsiteX0" fmla="*/ 656501 w 792658"/>
              <a:gd name="connsiteY0" fmla="*/ 379662 h 570323"/>
              <a:gd name="connsiteX1" fmla="*/ 696471 w 792658"/>
              <a:gd name="connsiteY1" fmla="*/ 418476 h 570323"/>
              <a:gd name="connsiteX2" fmla="*/ 725393 w 792658"/>
              <a:gd name="connsiteY2" fmla="*/ 411187 h 570323"/>
              <a:gd name="connsiteX3" fmla="*/ 753274 w 792658"/>
              <a:gd name="connsiteY3" fmla="*/ 395396 h 570323"/>
              <a:gd name="connsiteX4" fmla="*/ 788386 w 792658"/>
              <a:gd name="connsiteY4" fmla="*/ 360284 h 570323"/>
              <a:gd name="connsiteX5" fmla="*/ 756918 w 792658"/>
              <a:gd name="connsiteY5" fmla="*/ 340906 h 570323"/>
              <a:gd name="connsiteX6" fmla="*/ 733781 w 792658"/>
              <a:gd name="connsiteY6" fmla="*/ 320256 h 570323"/>
              <a:gd name="connsiteX7" fmla="*/ 685307 w 792658"/>
              <a:gd name="connsiteY7" fmla="*/ 294862 h 570323"/>
              <a:gd name="connsiteX8" fmla="*/ 636834 w 792658"/>
              <a:gd name="connsiteY8" fmla="*/ 277856 h 570323"/>
              <a:gd name="connsiteX9" fmla="*/ 600508 w 792658"/>
              <a:gd name="connsiteY9" fmla="*/ 247604 h 570323"/>
              <a:gd name="connsiteX10" fmla="*/ 638048 w 792658"/>
              <a:gd name="connsiteY10" fmla="*/ 239100 h 570323"/>
              <a:gd name="connsiteX11" fmla="*/ 606581 w 792658"/>
              <a:gd name="connsiteY11" fmla="*/ 223367 h 570323"/>
              <a:gd name="connsiteX12" fmla="*/ 622315 w 792658"/>
              <a:gd name="connsiteY12" fmla="*/ 211277 h 570323"/>
              <a:gd name="connsiteX13" fmla="*/ 607738 w 792658"/>
              <a:gd name="connsiteY13" fmla="*/ 188140 h 570323"/>
              <a:gd name="connsiteX14" fmla="*/ 588360 w 792658"/>
              <a:gd name="connsiteY14" fmla="*/ 197800 h 570323"/>
              <a:gd name="connsiteX15" fmla="*/ 593219 w 792658"/>
              <a:gd name="connsiteY15" fmla="*/ 175992 h 570323"/>
              <a:gd name="connsiteX16" fmla="*/ 550819 w 792658"/>
              <a:gd name="connsiteY16" fmla="*/ 162688 h 570323"/>
              <a:gd name="connsiteX17" fmla="*/ 531441 w 792658"/>
              <a:gd name="connsiteY17" fmla="*/ 149326 h 570323"/>
              <a:gd name="connsiteX18" fmla="*/ 496272 w 792658"/>
              <a:gd name="connsiteY18" fmla="*/ 156615 h 570323"/>
              <a:gd name="connsiteX19" fmla="*/ 486612 w 792658"/>
              <a:gd name="connsiteY19" fmla="*/ 148111 h 570323"/>
              <a:gd name="connsiteX20" fmla="*/ 509750 w 792658"/>
              <a:gd name="connsiteY20" fmla="*/ 126304 h 570323"/>
              <a:gd name="connsiteX21" fmla="*/ 468565 w 792658"/>
              <a:gd name="connsiteY21" fmla="*/ 127519 h 570323"/>
              <a:gd name="connsiteX22" fmla="*/ 437040 w 792658"/>
              <a:gd name="connsiteY22" fmla="*/ 102125 h 570323"/>
              <a:gd name="connsiteX23" fmla="*/ 403143 w 792658"/>
              <a:gd name="connsiteY23" fmla="*/ 82747 h 570323"/>
              <a:gd name="connsiteX24" fmla="*/ 345299 w 792658"/>
              <a:gd name="connsiteY24" fmla="*/ 59610 h 570323"/>
              <a:gd name="connsiteX25" fmla="*/ 314988 w 792658"/>
              <a:gd name="connsiteY25" fmla="*/ 82747 h 570323"/>
              <a:gd name="connsiteX26" fmla="*/ 297982 w 792658"/>
              <a:gd name="connsiteY26" fmla="*/ 76963 h 570323"/>
              <a:gd name="connsiteX27" fmla="*/ 253152 w 792658"/>
              <a:gd name="connsiteY27" fmla="*/ 91482 h 570323"/>
              <a:gd name="connsiteX28" fmla="*/ 254367 w 792658"/>
              <a:gd name="connsiteY28" fmla="*/ 45206 h 570323"/>
              <a:gd name="connsiteX29" fmla="*/ 234989 w 792658"/>
              <a:gd name="connsiteY29" fmla="*/ 12524 h 570323"/>
              <a:gd name="connsiteX30" fmla="*/ 181715 w 792658"/>
              <a:gd name="connsiteY30" fmla="*/ 12524 h 570323"/>
              <a:gd name="connsiteX31" fmla="*/ 123581 w 792658"/>
              <a:gd name="connsiteY31" fmla="*/ 35662 h 570323"/>
              <a:gd name="connsiteX32" fmla="*/ 132027 w 792658"/>
              <a:gd name="connsiteY32" fmla="*/ 75633 h 570323"/>
              <a:gd name="connsiteX33" fmla="*/ 117508 w 792658"/>
              <a:gd name="connsiteY33" fmla="*/ 101084 h 570323"/>
              <a:gd name="connsiteX34" fmla="*/ 146430 w 792658"/>
              <a:gd name="connsiteY34" fmla="*/ 121677 h 570323"/>
              <a:gd name="connsiteX35" fmla="*/ 100444 w 792658"/>
              <a:gd name="connsiteY35" fmla="*/ 103513 h 570323"/>
              <a:gd name="connsiteX36" fmla="*/ 94370 w 792658"/>
              <a:gd name="connsiteY36" fmla="*/ 68344 h 570323"/>
              <a:gd name="connsiteX37" fmla="*/ 108889 w 792658"/>
              <a:gd name="connsiteY37" fmla="*/ 29588 h 570323"/>
              <a:gd name="connsiteX38" fmla="*/ 136770 w 792658"/>
              <a:gd name="connsiteY38" fmla="*/ 5352 h 570323"/>
              <a:gd name="connsiteX39" fmla="*/ 28948 w 792658"/>
              <a:gd name="connsiteY39" fmla="*/ 32018 h 570323"/>
              <a:gd name="connsiteX40" fmla="*/ 3497 w 792658"/>
              <a:gd name="connsiteY40" fmla="*/ 126478 h 570323"/>
              <a:gd name="connsiteX41" fmla="*/ 61630 w 792658"/>
              <a:gd name="connsiteY41" fmla="*/ 137410 h 570323"/>
              <a:gd name="connsiteX42" fmla="*/ 55556 w 792658"/>
              <a:gd name="connsiteY42" fmla="*/ 149500 h 570323"/>
              <a:gd name="connsiteX43" fmla="*/ 14371 w 792658"/>
              <a:gd name="connsiteY43" fmla="*/ 153144 h 570323"/>
              <a:gd name="connsiteX44" fmla="*/ 67704 w 792658"/>
              <a:gd name="connsiteY44" fmla="*/ 179810 h 570323"/>
              <a:gd name="connsiteX45" fmla="*/ 95585 w 792658"/>
              <a:gd name="connsiteY45" fmla="*/ 185884 h 570323"/>
              <a:gd name="connsiteX46" fmla="*/ 150074 w 792658"/>
              <a:gd name="connsiteY46" fmla="*/ 194329 h 570323"/>
              <a:gd name="connsiteX47" fmla="*/ 210695 w 792658"/>
              <a:gd name="connsiteY47" fmla="*/ 205262 h 570323"/>
              <a:gd name="connsiteX48" fmla="*/ 238518 w 792658"/>
              <a:gd name="connsiteY48" fmla="*/ 193114 h 570323"/>
              <a:gd name="connsiteX49" fmla="*/ 300296 w 792658"/>
              <a:gd name="connsiteY49" fmla="*/ 201617 h 570323"/>
              <a:gd name="connsiteX50" fmla="*/ 296651 w 792658"/>
              <a:gd name="connsiteY50" fmla="*/ 184669 h 570323"/>
              <a:gd name="connsiteX51" fmla="*/ 302725 w 792658"/>
              <a:gd name="connsiteY51" fmla="*/ 171365 h 570323"/>
              <a:gd name="connsiteX52" fmla="*/ 335465 w 792658"/>
              <a:gd name="connsiteY52" fmla="*/ 191900 h 570323"/>
              <a:gd name="connsiteX53" fmla="*/ 349984 w 792658"/>
              <a:gd name="connsiteY53" fmla="*/ 205262 h 570323"/>
              <a:gd name="connsiteX54" fmla="*/ 391169 w 792658"/>
              <a:gd name="connsiteY54" fmla="*/ 233142 h 570323"/>
              <a:gd name="connsiteX55" fmla="*/ 364503 w 792658"/>
              <a:gd name="connsiteY55" fmla="*/ 256280 h 570323"/>
              <a:gd name="connsiteX56" fmla="*/ 406960 w 792658"/>
              <a:gd name="connsiteY56" fmla="*/ 244191 h 570323"/>
              <a:gd name="connsiteX57" fmla="*/ 432354 w 792658"/>
              <a:gd name="connsiteY57" fmla="*/ 270857 h 570323"/>
              <a:gd name="connsiteX58" fmla="*/ 473539 w 792658"/>
              <a:gd name="connsiteY58" fmla="*/ 297465 h 570323"/>
              <a:gd name="connsiteX59" fmla="*/ 473539 w 792658"/>
              <a:gd name="connsiteY59" fmla="*/ 344666 h 570323"/>
              <a:gd name="connsiteX60" fmla="*/ 518369 w 792658"/>
              <a:gd name="connsiteY60" fmla="*/ 341080 h 570323"/>
              <a:gd name="connsiteX61" fmla="*/ 560826 w 792658"/>
              <a:gd name="connsiteY61" fmla="*/ 361672 h 570323"/>
              <a:gd name="connsiteX62" fmla="*/ 520798 w 792658"/>
              <a:gd name="connsiteY62" fmla="*/ 381050 h 570323"/>
              <a:gd name="connsiteX63" fmla="*/ 451732 w 792658"/>
              <a:gd name="connsiteY63" fmla="*/ 355599 h 570323"/>
              <a:gd name="connsiteX64" fmla="*/ 444501 w 792658"/>
              <a:gd name="connsiteY64" fmla="*/ 401874 h 570323"/>
              <a:gd name="connsiteX65" fmla="*/ 380294 w 792658"/>
              <a:gd name="connsiteY65" fmla="*/ 415236 h 570323"/>
              <a:gd name="connsiteX66" fmla="*/ 343968 w 792658"/>
              <a:gd name="connsiteY66" fmla="*/ 422467 h 570323"/>
              <a:gd name="connsiteX67" fmla="*/ 328177 w 792658"/>
              <a:gd name="connsiteY67" fmla="*/ 456421 h 570323"/>
              <a:gd name="connsiteX68" fmla="*/ 388739 w 792658"/>
              <a:gd name="connsiteY68" fmla="*/ 458851 h 570323"/>
              <a:gd name="connsiteX69" fmla="*/ 415406 w 792658"/>
              <a:gd name="connsiteY69" fmla="*/ 453992 h 570323"/>
              <a:gd name="connsiteX70" fmla="*/ 456591 w 792658"/>
              <a:gd name="connsiteY70" fmla="*/ 451505 h 570323"/>
              <a:gd name="connsiteX71" fmla="*/ 488116 w 792658"/>
              <a:gd name="connsiteY71" fmla="*/ 479444 h 570323"/>
              <a:gd name="connsiteX72" fmla="*/ 503850 w 792658"/>
              <a:gd name="connsiteY72" fmla="*/ 514555 h 570323"/>
              <a:gd name="connsiteX73" fmla="*/ 569271 w 792658"/>
              <a:gd name="connsiteY73" fmla="*/ 535148 h 570323"/>
              <a:gd name="connsiteX74" fmla="*/ 654071 w 792658"/>
              <a:gd name="connsiteY74" fmla="*/ 567830 h 570323"/>
              <a:gd name="connsiteX75" fmla="*/ 582633 w 792658"/>
              <a:gd name="connsiteY75" fmla="*/ 495177 h 570323"/>
              <a:gd name="connsiteX76" fmla="*/ 623819 w 792658"/>
              <a:gd name="connsiteY76" fmla="*/ 502408 h 570323"/>
              <a:gd name="connsiteX77" fmla="*/ 697686 w 792658"/>
              <a:gd name="connsiteY77" fmla="*/ 507267 h 570323"/>
              <a:gd name="connsiteX78" fmla="*/ 683167 w 792658"/>
              <a:gd name="connsiteY78" fmla="*/ 475394 h 570323"/>
              <a:gd name="connsiteX79" fmla="*/ 655286 w 792658"/>
              <a:gd name="connsiteY79" fmla="*/ 437796 h 570323"/>
              <a:gd name="connsiteX80" fmla="*/ 610457 w 792658"/>
              <a:gd name="connsiteY80" fmla="*/ 396668 h 570323"/>
              <a:gd name="connsiteX81" fmla="*/ 617745 w 792658"/>
              <a:gd name="connsiteY81" fmla="*/ 366358 h 570323"/>
              <a:gd name="connsiteX82" fmla="*/ 656501 w 792658"/>
              <a:gd name="connsiteY82" fmla="*/ 379662 h 570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92658" h="570323">
                <a:moveTo>
                  <a:pt x="656501" y="379662"/>
                </a:moveTo>
                <a:cubicBezTo>
                  <a:pt x="671077" y="380877"/>
                  <a:pt x="673449" y="399040"/>
                  <a:pt x="696471" y="418476"/>
                </a:cubicBezTo>
                <a:cubicBezTo>
                  <a:pt x="719493" y="437911"/>
                  <a:pt x="721923" y="424260"/>
                  <a:pt x="725393" y="411187"/>
                </a:cubicBezTo>
                <a:cubicBezTo>
                  <a:pt x="728864" y="398115"/>
                  <a:pt x="754315" y="408700"/>
                  <a:pt x="753274" y="395396"/>
                </a:cubicBezTo>
                <a:cubicBezTo>
                  <a:pt x="752233" y="382092"/>
                  <a:pt x="773867" y="366474"/>
                  <a:pt x="788386" y="360284"/>
                </a:cubicBezTo>
                <a:cubicBezTo>
                  <a:pt x="802905" y="354095"/>
                  <a:pt x="776296" y="339692"/>
                  <a:pt x="756918" y="340906"/>
                </a:cubicBezTo>
                <a:cubicBezTo>
                  <a:pt x="737541" y="342121"/>
                  <a:pt x="733781" y="328759"/>
                  <a:pt x="733781" y="320256"/>
                </a:cubicBezTo>
                <a:cubicBezTo>
                  <a:pt x="733781" y="311753"/>
                  <a:pt x="697397" y="291334"/>
                  <a:pt x="685307" y="294862"/>
                </a:cubicBezTo>
                <a:cubicBezTo>
                  <a:pt x="673218" y="298391"/>
                  <a:pt x="652567" y="279071"/>
                  <a:pt x="636834" y="277856"/>
                </a:cubicBezTo>
                <a:cubicBezTo>
                  <a:pt x="621100" y="276641"/>
                  <a:pt x="598078" y="264552"/>
                  <a:pt x="600508" y="247604"/>
                </a:cubicBezTo>
                <a:cubicBezTo>
                  <a:pt x="602937" y="230655"/>
                  <a:pt x="631975" y="252463"/>
                  <a:pt x="638048" y="239100"/>
                </a:cubicBezTo>
                <a:cubicBezTo>
                  <a:pt x="644122" y="225738"/>
                  <a:pt x="607738" y="233316"/>
                  <a:pt x="606581" y="223367"/>
                </a:cubicBezTo>
                <a:cubicBezTo>
                  <a:pt x="605424" y="213418"/>
                  <a:pt x="615026" y="217293"/>
                  <a:pt x="622315" y="211277"/>
                </a:cubicBezTo>
                <a:cubicBezTo>
                  <a:pt x="629603" y="205262"/>
                  <a:pt x="616530" y="193056"/>
                  <a:pt x="607738" y="188140"/>
                </a:cubicBezTo>
                <a:cubicBezTo>
                  <a:pt x="598946" y="183223"/>
                  <a:pt x="596863" y="197800"/>
                  <a:pt x="588360" y="197800"/>
                </a:cubicBezTo>
                <a:cubicBezTo>
                  <a:pt x="579857" y="197800"/>
                  <a:pt x="587146" y="184496"/>
                  <a:pt x="593219" y="175992"/>
                </a:cubicBezTo>
                <a:cubicBezTo>
                  <a:pt x="599293" y="167489"/>
                  <a:pt x="565338" y="157829"/>
                  <a:pt x="550819" y="162688"/>
                </a:cubicBezTo>
                <a:cubicBezTo>
                  <a:pt x="536300" y="167547"/>
                  <a:pt x="531441" y="159044"/>
                  <a:pt x="531441" y="149326"/>
                </a:cubicBezTo>
                <a:cubicBezTo>
                  <a:pt x="531441" y="139608"/>
                  <a:pt x="505990" y="149326"/>
                  <a:pt x="496272" y="156615"/>
                </a:cubicBezTo>
                <a:cubicBezTo>
                  <a:pt x="486554" y="163903"/>
                  <a:pt x="474465" y="149326"/>
                  <a:pt x="486612" y="148111"/>
                </a:cubicBezTo>
                <a:cubicBezTo>
                  <a:pt x="498759" y="146897"/>
                  <a:pt x="513278" y="137237"/>
                  <a:pt x="509750" y="126304"/>
                </a:cubicBezTo>
                <a:cubicBezTo>
                  <a:pt x="506221" y="115372"/>
                  <a:pt x="474580" y="114215"/>
                  <a:pt x="468565" y="127519"/>
                </a:cubicBezTo>
                <a:cubicBezTo>
                  <a:pt x="462549" y="140823"/>
                  <a:pt x="437040" y="113000"/>
                  <a:pt x="437040" y="102125"/>
                </a:cubicBezTo>
                <a:cubicBezTo>
                  <a:pt x="437040" y="91251"/>
                  <a:pt x="398284" y="100910"/>
                  <a:pt x="403143" y="82747"/>
                </a:cubicBezTo>
                <a:cubicBezTo>
                  <a:pt x="408002" y="64584"/>
                  <a:pt x="358314" y="59610"/>
                  <a:pt x="345299" y="59610"/>
                </a:cubicBezTo>
                <a:cubicBezTo>
                  <a:pt x="332284" y="59610"/>
                  <a:pt x="312559" y="70484"/>
                  <a:pt x="314988" y="82747"/>
                </a:cubicBezTo>
                <a:cubicBezTo>
                  <a:pt x="317418" y="95010"/>
                  <a:pt x="300411" y="89978"/>
                  <a:pt x="297982" y="76963"/>
                </a:cubicBezTo>
                <a:cubicBezTo>
                  <a:pt x="295552" y="63948"/>
                  <a:pt x="262870" y="91482"/>
                  <a:pt x="253152" y="91482"/>
                </a:cubicBezTo>
                <a:cubicBezTo>
                  <a:pt x="243435" y="91482"/>
                  <a:pt x="259226" y="56370"/>
                  <a:pt x="254367" y="45206"/>
                </a:cubicBezTo>
                <a:cubicBezTo>
                  <a:pt x="249508" y="34043"/>
                  <a:pt x="242278" y="30688"/>
                  <a:pt x="234989" y="12524"/>
                </a:cubicBezTo>
                <a:cubicBezTo>
                  <a:pt x="227701" y="-5639"/>
                  <a:pt x="191375" y="1592"/>
                  <a:pt x="181715" y="12524"/>
                </a:cubicBezTo>
                <a:cubicBezTo>
                  <a:pt x="172055" y="23457"/>
                  <a:pt x="140530" y="18309"/>
                  <a:pt x="123581" y="35662"/>
                </a:cubicBezTo>
                <a:cubicBezTo>
                  <a:pt x="106633" y="53015"/>
                  <a:pt x="124738" y="69559"/>
                  <a:pt x="132027" y="75633"/>
                </a:cubicBezTo>
                <a:cubicBezTo>
                  <a:pt x="139315" y="81706"/>
                  <a:pt x="106575" y="91366"/>
                  <a:pt x="117508" y="101084"/>
                </a:cubicBezTo>
                <a:cubicBezTo>
                  <a:pt x="128440" y="110802"/>
                  <a:pt x="145331" y="105885"/>
                  <a:pt x="146430" y="121677"/>
                </a:cubicBezTo>
                <a:cubicBezTo>
                  <a:pt x="147529" y="137468"/>
                  <a:pt x="106459" y="116818"/>
                  <a:pt x="100444" y="103513"/>
                </a:cubicBezTo>
                <a:cubicBezTo>
                  <a:pt x="94428" y="90209"/>
                  <a:pt x="102815" y="78062"/>
                  <a:pt x="94370" y="68344"/>
                </a:cubicBezTo>
                <a:cubicBezTo>
                  <a:pt x="85925" y="58626"/>
                  <a:pt x="93155" y="46537"/>
                  <a:pt x="108889" y="29588"/>
                </a:cubicBezTo>
                <a:cubicBezTo>
                  <a:pt x="124622" y="12640"/>
                  <a:pt x="136770" y="15070"/>
                  <a:pt x="136770" y="5352"/>
                </a:cubicBezTo>
                <a:cubicBezTo>
                  <a:pt x="136770" y="-4366"/>
                  <a:pt x="68918" y="-4308"/>
                  <a:pt x="28948" y="32018"/>
                </a:cubicBezTo>
                <a:cubicBezTo>
                  <a:pt x="-11022" y="68344"/>
                  <a:pt x="1067" y="116818"/>
                  <a:pt x="3497" y="126478"/>
                </a:cubicBezTo>
                <a:cubicBezTo>
                  <a:pt x="5926" y="136138"/>
                  <a:pt x="41037" y="131337"/>
                  <a:pt x="61630" y="137410"/>
                </a:cubicBezTo>
                <a:cubicBezTo>
                  <a:pt x="82223" y="143484"/>
                  <a:pt x="71348" y="151929"/>
                  <a:pt x="55556" y="149500"/>
                </a:cubicBezTo>
                <a:cubicBezTo>
                  <a:pt x="39765" y="147070"/>
                  <a:pt x="13157" y="142269"/>
                  <a:pt x="14371" y="153144"/>
                </a:cubicBezTo>
                <a:cubicBezTo>
                  <a:pt x="15586" y="164019"/>
                  <a:pt x="48326" y="184669"/>
                  <a:pt x="67704" y="179810"/>
                </a:cubicBezTo>
                <a:cubicBezTo>
                  <a:pt x="87082" y="174951"/>
                  <a:pt x="87082" y="174951"/>
                  <a:pt x="95585" y="185884"/>
                </a:cubicBezTo>
                <a:cubicBezTo>
                  <a:pt x="104088" y="196816"/>
                  <a:pt x="127052" y="193114"/>
                  <a:pt x="150074" y="194329"/>
                </a:cubicBezTo>
                <a:cubicBezTo>
                  <a:pt x="173096" y="195544"/>
                  <a:pt x="199762" y="204047"/>
                  <a:pt x="210695" y="205262"/>
                </a:cubicBezTo>
                <a:cubicBezTo>
                  <a:pt x="221373" y="205863"/>
                  <a:pt x="231698" y="201351"/>
                  <a:pt x="238518" y="193114"/>
                </a:cubicBezTo>
                <a:cubicBezTo>
                  <a:pt x="242162" y="187330"/>
                  <a:pt x="286991" y="202832"/>
                  <a:pt x="300296" y="201617"/>
                </a:cubicBezTo>
                <a:cubicBezTo>
                  <a:pt x="313600" y="200403"/>
                  <a:pt x="305155" y="188313"/>
                  <a:pt x="296651" y="184669"/>
                </a:cubicBezTo>
                <a:cubicBezTo>
                  <a:pt x="288148" y="181025"/>
                  <a:pt x="291850" y="165291"/>
                  <a:pt x="302725" y="171365"/>
                </a:cubicBezTo>
                <a:cubicBezTo>
                  <a:pt x="313600" y="177439"/>
                  <a:pt x="331647" y="181025"/>
                  <a:pt x="335465" y="191900"/>
                </a:cubicBezTo>
                <a:cubicBezTo>
                  <a:pt x="338531" y="201212"/>
                  <a:pt x="348769" y="196759"/>
                  <a:pt x="349984" y="205262"/>
                </a:cubicBezTo>
                <a:cubicBezTo>
                  <a:pt x="351198" y="213765"/>
                  <a:pt x="389954" y="223425"/>
                  <a:pt x="391169" y="233142"/>
                </a:cubicBezTo>
                <a:cubicBezTo>
                  <a:pt x="392384" y="242860"/>
                  <a:pt x="353628" y="247661"/>
                  <a:pt x="364503" y="256280"/>
                </a:cubicBezTo>
                <a:cubicBezTo>
                  <a:pt x="375377" y="264899"/>
                  <a:pt x="392384" y="245348"/>
                  <a:pt x="406960" y="244191"/>
                </a:cubicBezTo>
                <a:cubicBezTo>
                  <a:pt x="421537" y="243034"/>
                  <a:pt x="421479" y="275600"/>
                  <a:pt x="432354" y="270857"/>
                </a:cubicBezTo>
                <a:cubicBezTo>
                  <a:pt x="447220" y="264205"/>
                  <a:pt x="459020" y="276641"/>
                  <a:pt x="473539" y="297465"/>
                </a:cubicBezTo>
                <a:cubicBezTo>
                  <a:pt x="488058" y="318289"/>
                  <a:pt x="472382" y="337436"/>
                  <a:pt x="473539" y="344666"/>
                </a:cubicBezTo>
                <a:cubicBezTo>
                  <a:pt x="474696" y="351897"/>
                  <a:pt x="502461" y="349525"/>
                  <a:pt x="518369" y="341080"/>
                </a:cubicBezTo>
                <a:cubicBezTo>
                  <a:pt x="534276" y="332635"/>
                  <a:pt x="548679" y="350740"/>
                  <a:pt x="560826" y="361672"/>
                </a:cubicBezTo>
                <a:cubicBezTo>
                  <a:pt x="572974" y="372605"/>
                  <a:pt x="515939" y="390595"/>
                  <a:pt x="520798" y="381050"/>
                </a:cubicBezTo>
                <a:cubicBezTo>
                  <a:pt x="525657" y="371506"/>
                  <a:pt x="486901" y="342295"/>
                  <a:pt x="451732" y="355599"/>
                </a:cubicBezTo>
                <a:cubicBezTo>
                  <a:pt x="416562" y="368903"/>
                  <a:pt x="440857" y="389553"/>
                  <a:pt x="444501" y="401874"/>
                </a:cubicBezTo>
                <a:cubicBezTo>
                  <a:pt x="448146" y="414195"/>
                  <a:pt x="412976" y="426111"/>
                  <a:pt x="380294" y="415236"/>
                </a:cubicBezTo>
                <a:cubicBezTo>
                  <a:pt x="347612" y="404362"/>
                  <a:pt x="357157" y="422467"/>
                  <a:pt x="343968" y="422467"/>
                </a:cubicBezTo>
                <a:cubicBezTo>
                  <a:pt x="330780" y="422467"/>
                  <a:pt x="316087" y="443059"/>
                  <a:pt x="328177" y="456421"/>
                </a:cubicBezTo>
                <a:cubicBezTo>
                  <a:pt x="340266" y="469783"/>
                  <a:pt x="366932" y="457636"/>
                  <a:pt x="388739" y="458851"/>
                </a:cubicBezTo>
                <a:cubicBezTo>
                  <a:pt x="410547" y="460066"/>
                  <a:pt x="412976" y="466082"/>
                  <a:pt x="415406" y="453992"/>
                </a:cubicBezTo>
                <a:cubicBezTo>
                  <a:pt x="417835" y="441903"/>
                  <a:pt x="440857" y="447918"/>
                  <a:pt x="456591" y="451505"/>
                </a:cubicBezTo>
                <a:cubicBezTo>
                  <a:pt x="472324" y="455091"/>
                  <a:pt x="468738" y="477014"/>
                  <a:pt x="488116" y="479444"/>
                </a:cubicBezTo>
                <a:cubicBezTo>
                  <a:pt x="507494" y="481873"/>
                  <a:pt x="491760" y="501251"/>
                  <a:pt x="503850" y="514555"/>
                </a:cubicBezTo>
                <a:cubicBezTo>
                  <a:pt x="515939" y="527859"/>
                  <a:pt x="554753" y="520629"/>
                  <a:pt x="569271" y="535148"/>
                </a:cubicBezTo>
                <a:cubicBezTo>
                  <a:pt x="583790" y="549666"/>
                  <a:pt x="645452" y="578647"/>
                  <a:pt x="654071" y="567830"/>
                </a:cubicBezTo>
                <a:cubicBezTo>
                  <a:pt x="663789" y="555740"/>
                  <a:pt x="600797" y="499978"/>
                  <a:pt x="582633" y="495177"/>
                </a:cubicBezTo>
                <a:cubicBezTo>
                  <a:pt x="564470" y="490376"/>
                  <a:pt x="600797" y="484302"/>
                  <a:pt x="623819" y="502408"/>
                </a:cubicBezTo>
                <a:cubicBezTo>
                  <a:pt x="646841" y="520513"/>
                  <a:pt x="680738" y="529074"/>
                  <a:pt x="697686" y="507267"/>
                </a:cubicBezTo>
                <a:cubicBezTo>
                  <a:pt x="714634" y="485459"/>
                  <a:pt x="683167" y="491128"/>
                  <a:pt x="683167" y="475394"/>
                </a:cubicBezTo>
                <a:cubicBezTo>
                  <a:pt x="683167" y="459661"/>
                  <a:pt x="672234" y="437796"/>
                  <a:pt x="655286" y="437796"/>
                </a:cubicBezTo>
                <a:cubicBezTo>
                  <a:pt x="638338" y="437796"/>
                  <a:pt x="594723" y="403899"/>
                  <a:pt x="610457" y="396668"/>
                </a:cubicBezTo>
                <a:cubicBezTo>
                  <a:pt x="626190" y="389438"/>
                  <a:pt x="605598" y="379662"/>
                  <a:pt x="617745" y="366358"/>
                </a:cubicBezTo>
                <a:cubicBezTo>
                  <a:pt x="629892" y="353054"/>
                  <a:pt x="641982" y="378447"/>
                  <a:pt x="656501" y="37966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4" name="Forma libre: forma 253">
            <a:extLst>
              <a:ext uri="{FF2B5EF4-FFF2-40B4-BE49-F238E27FC236}">
                <a16:creationId xmlns:a16="http://schemas.microsoft.com/office/drawing/2014/main" id="{E1BA2573-57F4-689C-0173-4B039ECB9E58}"/>
              </a:ext>
            </a:extLst>
          </p:cNvPr>
          <p:cNvSpPr/>
          <p:nvPr/>
        </p:nvSpPr>
        <p:spPr>
          <a:xfrm>
            <a:off x="4051115" y="2221975"/>
            <a:ext cx="69364" cy="53307"/>
          </a:xfrm>
          <a:custGeom>
            <a:avLst/>
            <a:gdLst>
              <a:gd name="connsiteX0" fmla="*/ 59022 w 69364"/>
              <a:gd name="connsiteY0" fmla="*/ 45065 h 53307"/>
              <a:gd name="connsiteX1" fmla="*/ 62609 w 69364"/>
              <a:gd name="connsiteY1" fmla="*/ 8739 h 53307"/>
              <a:gd name="connsiteX2" fmla="*/ 27497 w 69364"/>
              <a:gd name="connsiteY2" fmla="*/ 293 h 53307"/>
              <a:gd name="connsiteX3" fmla="*/ 3318 w 69364"/>
              <a:gd name="connsiteY3" fmla="*/ 42693 h 53307"/>
              <a:gd name="connsiteX4" fmla="*/ 59022 w 69364"/>
              <a:gd name="connsiteY4" fmla="*/ 45065 h 53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4" h="53307">
                <a:moveTo>
                  <a:pt x="59022" y="45065"/>
                </a:moveTo>
                <a:cubicBezTo>
                  <a:pt x="73541" y="42693"/>
                  <a:pt x="70591" y="20249"/>
                  <a:pt x="62609" y="8739"/>
                </a:cubicBezTo>
                <a:cubicBezTo>
                  <a:pt x="56824" y="293"/>
                  <a:pt x="40801" y="-979"/>
                  <a:pt x="27497" y="293"/>
                </a:cubicBezTo>
                <a:cubicBezTo>
                  <a:pt x="14193" y="1566"/>
                  <a:pt x="-8829" y="22043"/>
                  <a:pt x="3318" y="42693"/>
                </a:cubicBezTo>
                <a:cubicBezTo>
                  <a:pt x="15465" y="63344"/>
                  <a:pt x="44503" y="47552"/>
                  <a:pt x="59022" y="45065"/>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5" name="Forma libre: forma 254">
            <a:extLst>
              <a:ext uri="{FF2B5EF4-FFF2-40B4-BE49-F238E27FC236}">
                <a16:creationId xmlns:a16="http://schemas.microsoft.com/office/drawing/2014/main" id="{7C4F5BD7-F98A-5234-14FB-6D8DD2A0BEBB}"/>
              </a:ext>
            </a:extLst>
          </p:cNvPr>
          <p:cNvSpPr/>
          <p:nvPr/>
        </p:nvSpPr>
        <p:spPr>
          <a:xfrm>
            <a:off x="3524682" y="1766711"/>
            <a:ext cx="469354" cy="142906"/>
          </a:xfrm>
          <a:custGeom>
            <a:avLst/>
            <a:gdLst>
              <a:gd name="connsiteX0" fmla="*/ 125073 w 469354"/>
              <a:gd name="connsiteY0" fmla="*/ 111500 h 142906"/>
              <a:gd name="connsiteX1" fmla="*/ 156540 w 469354"/>
              <a:gd name="connsiteY1" fmla="*/ 128448 h 142906"/>
              <a:gd name="connsiteX2" fmla="*/ 201427 w 469354"/>
              <a:gd name="connsiteY2" fmla="*/ 134232 h 142906"/>
              <a:gd name="connsiteX3" fmla="*/ 220747 w 469354"/>
              <a:gd name="connsiteY3" fmla="*/ 125787 h 142906"/>
              <a:gd name="connsiteX4" fmla="*/ 311620 w 469354"/>
              <a:gd name="connsiteY4" fmla="*/ 142735 h 142906"/>
              <a:gd name="connsiteX5" fmla="*/ 372241 w 469354"/>
              <a:gd name="connsiteY5" fmla="*/ 128217 h 142906"/>
              <a:gd name="connsiteX6" fmla="*/ 444894 w 469354"/>
              <a:gd name="connsiteY6" fmla="*/ 134001 h 142906"/>
              <a:gd name="connsiteX7" fmla="*/ 469131 w 469354"/>
              <a:gd name="connsiteY7" fmla="*/ 90386 h 142906"/>
              <a:gd name="connsiteX8" fmla="*/ 315265 w 469354"/>
              <a:gd name="connsiteY8" fmla="*/ 79512 h 142906"/>
              <a:gd name="connsiteX9" fmla="*/ 237753 w 469354"/>
              <a:gd name="connsiteY9" fmla="*/ 83156 h 142906"/>
              <a:gd name="connsiteX10" fmla="*/ 192924 w 469354"/>
              <a:gd name="connsiteY10" fmla="*/ 69794 h 142906"/>
              <a:gd name="connsiteX11" fmla="*/ 201427 w 469354"/>
              <a:gd name="connsiteY11" fmla="*/ 44342 h 142906"/>
              <a:gd name="connsiteX12" fmla="*/ 128717 w 469354"/>
              <a:gd name="connsiteY12" fmla="*/ 22593 h 142906"/>
              <a:gd name="connsiteX13" fmla="*/ 70525 w 469354"/>
              <a:gd name="connsiteY13" fmla="*/ 5587 h 142906"/>
              <a:gd name="connsiteX14" fmla="*/ 1459 w 469354"/>
              <a:gd name="connsiteY14" fmla="*/ 15304 h 142906"/>
              <a:gd name="connsiteX15" fmla="*/ 87474 w 469354"/>
              <a:gd name="connsiteY15" fmla="*/ 40756 h 142906"/>
              <a:gd name="connsiteX16" fmla="*/ 123858 w 469354"/>
              <a:gd name="connsiteY16" fmla="*/ 68579 h 142906"/>
              <a:gd name="connsiteX17" fmla="*/ 125073 w 469354"/>
              <a:gd name="connsiteY17" fmla="*/ 111500 h 14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9354" h="142906">
                <a:moveTo>
                  <a:pt x="125073" y="111500"/>
                </a:moveTo>
                <a:cubicBezTo>
                  <a:pt x="133518" y="135678"/>
                  <a:pt x="143236" y="118730"/>
                  <a:pt x="156540" y="128448"/>
                </a:cubicBezTo>
                <a:cubicBezTo>
                  <a:pt x="169844" y="138166"/>
                  <a:pt x="190495" y="144182"/>
                  <a:pt x="201427" y="134232"/>
                </a:cubicBezTo>
                <a:cubicBezTo>
                  <a:pt x="212360" y="124283"/>
                  <a:pt x="217103" y="117284"/>
                  <a:pt x="220747" y="125787"/>
                </a:cubicBezTo>
                <a:cubicBezTo>
                  <a:pt x="226531" y="139554"/>
                  <a:pt x="253487" y="141521"/>
                  <a:pt x="311620" y="142735"/>
                </a:cubicBezTo>
                <a:cubicBezTo>
                  <a:pt x="369754" y="143950"/>
                  <a:pt x="355235" y="118499"/>
                  <a:pt x="372241" y="128217"/>
                </a:cubicBezTo>
                <a:cubicBezTo>
                  <a:pt x="389248" y="137934"/>
                  <a:pt x="427945" y="137877"/>
                  <a:pt x="444894" y="134001"/>
                </a:cubicBezTo>
                <a:cubicBezTo>
                  <a:pt x="461842" y="130125"/>
                  <a:pt x="470345" y="103748"/>
                  <a:pt x="469131" y="90386"/>
                </a:cubicBezTo>
                <a:cubicBezTo>
                  <a:pt x="467916" y="77024"/>
                  <a:pt x="338287" y="66207"/>
                  <a:pt x="315265" y="79512"/>
                </a:cubicBezTo>
                <a:cubicBezTo>
                  <a:pt x="292243" y="92816"/>
                  <a:pt x="255916" y="73438"/>
                  <a:pt x="237753" y="83156"/>
                </a:cubicBezTo>
                <a:cubicBezTo>
                  <a:pt x="219590" y="92874"/>
                  <a:pt x="225606" y="71009"/>
                  <a:pt x="192924" y="69794"/>
                </a:cubicBezTo>
                <a:cubicBezTo>
                  <a:pt x="160242" y="68579"/>
                  <a:pt x="195296" y="51631"/>
                  <a:pt x="201427" y="44342"/>
                </a:cubicBezTo>
                <a:cubicBezTo>
                  <a:pt x="207559" y="37054"/>
                  <a:pt x="151739" y="17676"/>
                  <a:pt x="128717" y="22593"/>
                </a:cubicBezTo>
                <a:cubicBezTo>
                  <a:pt x="105695" y="27510"/>
                  <a:pt x="92333" y="15304"/>
                  <a:pt x="70525" y="5587"/>
                </a:cubicBezTo>
                <a:cubicBezTo>
                  <a:pt x="48718" y="-4131"/>
                  <a:pt x="-10457" y="-1817"/>
                  <a:pt x="1459" y="15304"/>
                </a:cubicBezTo>
                <a:cubicBezTo>
                  <a:pt x="9962" y="27394"/>
                  <a:pt x="80243" y="52845"/>
                  <a:pt x="87474" y="40756"/>
                </a:cubicBezTo>
                <a:cubicBezTo>
                  <a:pt x="94704" y="28666"/>
                  <a:pt x="112925" y="55275"/>
                  <a:pt x="123858" y="68579"/>
                </a:cubicBezTo>
                <a:cubicBezTo>
                  <a:pt x="134791" y="81883"/>
                  <a:pt x="116570" y="87263"/>
                  <a:pt x="125073" y="111500"/>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6" name="Forma libre: forma 255">
            <a:extLst>
              <a:ext uri="{FF2B5EF4-FFF2-40B4-BE49-F238E27FC236}">
                <a16:creationId xmlns:a16="http://schemas.microsoft.com/office/drawing/2014/main" id="{2091020E-2D56-17D9-AA2D-461A3089D10F}"/>
              </a:ext>
            </a:extLst>
          </p:cNvPr>
          <p:cNvSpPr/>
          <p:nvPr/>
        </p:nvSpPr>
        <p:spPr>
          <a:xfrm>
            <a:off x="3653248" y="1377266"/>
            <a:ext cx="853459" cy="437581"/>
          </a:xfrm>
          <a:custGeom>
            <a:avLst/>
            <a:gdLst>
              <a:gd name="connsiteX0" fmla="*/ 30404 w 853459"/>
              <a:gd name="connsiteY0" fmla="*/ 102282 h 437581"/>
              <a:gd name="connsiteX1" fmla="*/ 46138 w 853459"/>
              <a:gd name="connsiteY1" fmla="*/ 105926 h 437581"/>
              <a:gd name="connsiteX2" fmla="*/ 57070 w 853459"/>
              <a:gd name="connsiteY2" fmla="*/ 116859 h 437581"/>
              <a:gd name="connsiteX3" fmla="*/ 48567 w 853459"/>
              <a:gd name="connsiteY3" fmla="*/ 135022 h 437581"/>
              <a:gd name="connsiteX4" fmla="*/ 74019 w 853459"/>
              <a:gd name="connsiteY4" fmla="*/ 151970 h 437581"/>
              <a:gd name="connsiteX5" fmla="*/ 143085 w 853459"/>
              <a:gd name="connsiteY5" fmla="*/ 154400 h 437581"/>
              <a:gd name="connsiteX6" fmla="*/ 151588 w 853459"/>
              <a:gd name="connsiteY6" fmla="*/ 167762 h 437581"/>
              <a:gd name="connsiteX7" fmla="*/ 229099 w 853459"/>
              <a:gd name="connsiteY7" fmla="*/ 173546 h 437581"/>
              <a:gd name="connsiteX8" fmla="*/ 258021 w 853459"/>
              <a:gd name="connsiteY8" fmla="*/ 169902 h 437581"/>
              <a:gd name="connsiteX9" fmla="*/ 345251 w 853459"/>
              <a:gd name="connsiteY9" fmla="*/ 142079 h 437581"/>
              <a:gd name="connsiteX10" fmla="*/ 345251 w 853459"/>
              <a:gd name="connsiteY10" fmla="*/ 165216 h 437581"/>
              <a:gd name="connsiteX11" fmla="*/ 255592 w 853459"/>
              <a:gd name="connsiteY11" fmla="*/ 184652 h 437581"/>
              <a:gd name="connsiteX12" fmla="*/ 289489 w 853459"/>
              <a:gd name="connsiteY12" fmla="*/ 220978 h 437581"/>
              <a:gd name="connsiteX13" fmla="*/ 243502 w 853459"/>
              <a:gd name="connsiteY13" fmla="*/ 207674 h 437581"/>
              <a:gd name="connsiteX14" fmla="*/ 157430 w 853459"/>
              <a:gd name="connsiteY14" fmla="*/ 188238 h 437581"/>
              <a:gd name="connsiteX15" fmla="*/ 158645 w 853459"/>
              <a:gd name="connsiteY15" fmla="*/ 231911 h 437581"/>
              <a:gd name="connsiteX16" fmla="*/ 209548 w 853459"/>
              <a:gd name="connsiteY16" fmla="*/ 264593 h 437581"/>
              <a:gd name="connsiteX17" fmla="*/ 262880 w 853459"/>
              <a:gd name="connsiteY17" fmla="*/ 297275 h 437581"/>
              <a:gd name="connsiteX18" fmla="*/ 188955 w 853459"/>
              <a:gd name="connsiteY18" fmla="*/ 282756 h 437581"/>
              <a:gd name="connsiteX19" fmla="*/ 118674 w 853459"/>
              <a:gd name="connsiteY19" fmla="*/ 314281 h 437581"/>
              <a:gd name="connsiteX20" fmla="*/ 184096 w 853459"/>
              <a:gd name="connsiteY20" fmla="*/ 315496 h 437581"/>
              <a:gd name="connsiteX21" fmla="*/ 178312 w 853459"/>
              <a:gd name="connsiteY21" fmla="*/ 332444 h 437581"/>
              <a:gd name="connsiteX22" fmla="*/ 209779 w 853459"/>
              <a:gd name="connsiteY22" fmla="*/ 368828 h 437581"/>
              <a:gd name="connsiteX23" fmla="*/ 173453 w 853459"/>
              <a:gd name="connsiteY23" fmla="*/ 365126 h 437581"/>
              <a:gd name="connsiteX24" fmla="*/ 126194 w 853459"/>
              <a:gd name="connsiteY24" fmla="*/ 340890 h 437581"/>
              <a:gd name="connsiteX25" fmla="*/ 122550 w 853459"/>
              <a:gd name="connsiteY25" fmla="*/ 367614 h 437581"/>
              <a:gd name="connsiteX26" fmla="*/ 121335 w 853459"/>
              <a:gd name="connsiteY26" fmla="*/ 384562 h 437581"/>
              <a:gd name="connsiteX27" fmla="*/ 65631 w 853459"/>
              <a:gd name="connsiteY27" fmla="*/ 412443 h 437581"/>
              <a:gd name="connsiteX28" fmla="*/ 155232 w 853459"/>
              <a:gd name="connsiteY28" fmla="*/ 422103 h 437581"/>
              <a:gd name="connsiteX29" fmla="*/ 203705 w 853459"/>
              <a:gd name="connsiteY29" fmla="*/ 424532 h 437581"/>
              <a:gd name="connsiteX30" fmla="*/ 259467 w 853459"/>
              <a:gd name="connsiteY30" fmla="*/ 418459 h 437581"/>
              <a:gd name="connsiteX31" fmla="*/ 300653 w 853459"/>
              <a:gd name="connsiteY31" fmla="*/ 431821 h 437581"/>
              <a:gd name="connsiteX32" fmla="*/ 344267 w 853459"/>
              <a:gd name="connsiteY32" fmla="*/ 428177 h 437581"/>
              <a:gd name="connsiteX33" fmla="*/ 374520 w 853459"/>
              <a:gd name="connsiteY33" fmla="*/ 418459 h 437581"/>
              <a:gd name="connsiteX34" fmla="*/ 386667 w 853459"/>
              <a:gd name="connsiteY34" fmla="*/ 394222 h 437581"/>
              <a:gd name="connsiteX35" fmla="*/ 353927 w 853459"/>
              <a:gd name="connsiteY35" fmla="*/ 394222 h 437581"/>
              <a:gd name="connsiteX36" fmla="*/ 297008 w 853459"/>
              <a:gd name="connsiteY36" fmla="*/ 383347 h 437581"/>
              <a:gd name="connsiteX37" fmla="*/ 298223 w 853459"/>
              <a:gd name="connsiteY37" fmla="*/ 367614 h 437581"/>
              <a:gd name="connsiteX38" fmla="*/ 369719 w 853459"/>
              <a:gd name="connsiteY38" fmla="*/ 365126 h 437581"/>
              <a:gd name="connsiteX39" fmla="*/ 374520 w 853459"/>
              <a:gd name="connsiteY39" fmla="*/ 338460 h 437581"/>
              <a:gd name="connsiteX40" fmla="*/ 425423 w 853459"/>
              <a:gd name="connsiteY40" fmla="*/ 334874 h 437581"/>
              <a:gd name="connsiteX41" fmla="*/ 479970 w 853459"/>
              <a:gd name="connsiteY41" fmla="*/ 279112 h 437581"/>
              <a:gd name="connsiteX42" fmla="*/ 407259 w 853459"/>
              <a:gd name="connsiteY42" fmla="*/ 263378 h 437581"/>
              <a:gd name="connsiteX43" fmla="*/ 469037 w 853459"/>
              <a:gd name="connsiteY43" fmla="*/ 247645 h 437581"/>
              <a:gd name="connsiteX44" fmla="*/ 502992 w 853459"/>
              <a:gd name="connsiteY44" fmla="*/ 222193 h 437581"/>
              <a:gd name="connsiteX45" fmla="*/ 556266 w 853459"/>
              <a:gd name="connsiteY45" fmla="*/ 225837 h 437581"/>
              <a:gd name="connsiteX46" fmla="*/ 579404 w 853459"/>
              <a:gd name="connsiteY46" fmla="*/ 201601 h 437581"/>
              <a:gd name="connsiteX47" fmla="*/ 665419 w 853459"/>
              <a:gd name="connsiteY47" fmla="*/ 156771 h 437581"/>
              <a:gd name="connsiteX48" fmla="*/ 756292 w 853459"/>
              <a:gd name="connsiteY48" fmla="*/ 118015 h 437581"/>
              <a:gd name="connsiteX49" fmla="*/ 675310 w 853459"/>
              <a:gd name="connsiteY49" fmla="*/ 113157 h 437581"/>
              <a:gd name="connsiteX50" fmla="*/ 739517 w 853459"/>
              <a:gd name="connsiteY50" fmla="*/ 98638 h 437581"/>
              <a:gd name="connsiteX51" fmla="*/ 823102 w 853459"/>
              <a:gd name="connsiteY51" fmla="*/ 74401 h 437581"/>
              <a:gd name="connsiteX52" fmla="*/ 830391 w 853459"/>
              <a:gd name="connsiteY52" fmla="*/ 47735 h 437581"/>
              <a:gd name="connsiteX53" fmla="*/ 787991 w 853459"/>
              <a:gd name="connsiteY53" fmla="*/ 30786 h 437581"/>
              <a:gd name="connsiteX54" fmla="*/ 756465 w 853459"/>
              <a:gd name="connsiteY54" fmla="*/ 22283 h 437581"/>
              <a:gd name="connsiteX55" fmla="*/ 694688 w 853459"/>
              <a:gd name="connsiteY55" fmla="*/ 30786 h 437581"/>
              <a:gd name="connsiteX56" fmla="*/ 705563 w 853459"/>
              <a:gd name="connsiteY56" fmla="*/ 13838 h 437581"/>
              <a:gd name="connsiteX57" fmla="*/ 609888 w 853459"/>
              <a:gd name="connsiteY57" fmla="*/ 2905 h 437581"/>
              <a:gd name="connsiteX58" fmla="*/ 561415 w 853459"/>
              <a:gd name="connsiteY58" fmla="*/ 6550 h 437581"/>
              <a:gd name="connsiteX59" fmla="*/ 514156 w 853459"/>
              <a:gd name="connsiteY59" fmla="*/ 15053 h 437581"/>
              <a:gd name="connsiteX60" fmla="*/ 493563 w 853459"/>
              <a:gd name="connsiteY60" fmla="*/ 13838 h 437581"/>
              <a:gd name="connsiteX61" fmla="*/ 425712 w 853459"/>
              <a:gd name="connsiteY61" fmla="*/ 11409 h 437581"/>
              <a:gd name="connsiteX62" fmla="*/ 383312 w 853459"/>
              <a:gd name="connsiteY62" fmla="*/ 19854 h 437581"/>
              <a:gd name="connsiteX63" fmla="*/ 333624 w 853459"/>
              <a:gd name="connsiteY63" fmla="*/ 17424 h 437581"/>
              <a:gd name="connsiteX64" fmla="*/ 319105 w 853459"/>
              <a:gd name="connsiteY64" fmla="*/ 24713 h 437581"/>
              <a:gd name="connsiteX65" fmla="*/ 302157 w 853459"/>
              <a:gd name="connsiteY65" fmla="*/ 38017 h 437581"/>
              <a:gd name="connsiteX66" fmla="*/ 257327 w 853459"/>
              <a:gd name="connsiteY66" fmla="*/ 47735 h 437581"/>
              <a:gd name="connsiteX67" fmla="*/ 224356 w 853459"/>
              <a:gd name="connsiteY67" fmla="*/ 56411 h 437581"/>
              <a:gd name="connsiteX68" fmla="*/ 177097 w 853459"/>
              <a:gd name="connsiteY68" fmla="*/ 51552 h 437581"/>
              <a:gd name="connsiteX69" fmla="*/ 150489 w 853459"/>
              <a:gd name="connsiteY69" fmla="*/ 67286 h 437581"/>
              <a:gd name="connsiteX70" fmla="*/ 132326 w 853459"/>
              <a:gd name="connsiteY70" fmla="*/ 80590 h 437581"/>
              <a:gd name="connsiteX71" fmla="*/ 89868 w 853459"/>
              <a:gd name="connsiteY71" fmla="*/ 74806 h 437581"/>
              <a:gd name="connsiteX72" fmla="*/ 68118 w 853459"/>
              <a:gd name="connsiteY72" fmla="*/ 91754 h 437581"/>
              <a:gd name="connsiteX73" fmla="*/ 9927 w 853459"/>
              <a:gd name="connsiteY73" fmla="*/ 96613 h 437581"/>
              <a:gd name="connsiteX74" fmla="*/ 30404 w 853459"/>
              <a:gd name="connsiteY74" fmla="*/ 102282 h 43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53459" h="437581">
                <a:moveTo>
                  <a:pt x="30404" y="102282"/>
                </a:moveTo>
                <a:cubicBezTo>
                  <a:pt x="47352" y="91407"/>
                  <a:pt x="60714" y="98696"/>
                  <a:pt x="46138" y="105926"/>
                </a:cubicBezTo>
                <a:cubicBezTo>
                  <a:pt x="31561" y="113157"/>
                  <a:pt x="36478" y="118073"/>
                  <a:pt x="57070" y="116859"/>
                </a:cubicBezTo>
                <a:cubicBezTo>
                  <a:pt x="77663" y="115644"/>
                  <a:pt x="48567" y="122932"/>
                  <a:pt x="48567" y="135022"/>
                </a:cubicBezTo>
                <a:cubicBezTo>
                  <a:pt x="48567" y="147111"/>
                  <a:pt x="72862" y="139881"/>
                  <a:pt x="74019" y="151970"/>
                </a:cubicBezTo>
                <a:cubicBezTo>
                  <a:pt x="75175" y="164060"/>
                  <a:pt x="127351" y="168918"/>
                  <a:pt x="143085" y="154400"/>
                </a:cubicBezTo>
                <a:cubicBezTo>
                  <a:pt x="158818" y="139881"/>
                  <a:pt x="152803" y="158044"/>
                  <a:pt x="151588" y="167762"/>
                </a:cubicBezTo>
                <a:cubicBezTo>
                  <a:pt x="150373" y="177479"/>
                  <a:pt x="225455" y="185925"/>
                  <a:pt x="229099" y="173546"/>
                </a:cubicBezTo>
                <a:cubicBezTo>
                  <a:pt x="232743" y="161167"/>
                  <a:pt x="243676" y="166316"/>
                  <a:pt x="258021" y="169902"/>
                </a:cubicBezTo>
                <a:cubicBezTo>
                  <a:pt x="272367" y="173488"/>
                  <a:pt x="344036" y="156598"/>
                  <a:pt x="345251" y="142079"/>
                </a:cubicBezTo>
                <a:cubicBezTo>
                  <a:pt x="346465" y="127560"/>
                  <a:pt x="368388" y="149309"/>
                  <a:pt x="345251" y="165216"/>
                </a:cubicBezTo>
                <a:cubicBezTo>
                  <a:pt x="322113" y="181124"/>
                  <a:pt x="276185" y="178578"/>
                  <a:pt x="255592" y="184652"/>
                </a:cubicBezTo>
                <a:cubicBezTo>
                  <a:pt x="234999" y="190726"/>
                  <a:pt x="268896" y="205245"/>
                  <a:pt x="289489" y="220978"/>
                </a:cubicBezTo>
                <a:cubicBezTo>
                  <a:pt x="310081" y="236712"/>
                  <a:pt x="262880" y="228267"/>
                  <a:pt x="243502" y="207674"/>
                </a:cubicBezTo>
                <a:cubicBezTo>
                  <a:pt x="224124" y="187082"/>
                  <a:pt x="180452" y="187024"/>
                  <a:pt x="157430" y="188238"/>
                </a:cubicBezTo>
                <a:cubicBezTo>
                  <a:pt x="134408" y="189453"/>
                  <a:pt x="141696" y="231911"/>
                  <a:pt x="158645" y="231911"/>
                </a:cubicBezTo>
                <a:cubicBezTo>
                  <a:pt x="175593" y="231911"/>
                  <a:pt x="192599" y="237695"/>
                  <a:pt x="209548" y="264593"/>
                </a:cubicBezTo>
                <a:cubicBezTo>
                  <a:pt x="226496" y="291491"/>
                  <a:pt x="262880" y="285186"/>
                  <a:pt x="262880" y="297275"/>
                </a:cubicBezTo>
                <a:cubicBezTo>
                  <a:pt x="262880" y="309364"/>
                  <a:pt x="215621" y="287615"/>
                  <a:pt x="188955" y="282756"/>
                </a:cubicBezTo>
                <a:cubicBezTo>
                  <a:pt x="162289" y="277897"/>
                  <a:pt x="119889" y="294846"/>
                  <a:pt x="118674" y="314281"/>
                </a:cubicBezTo>
                <a:cubicBezTo>
                  <a:pt x="117460" y="333717"/>
                  <a:pt x="157430" y="331230"/>
                  <a:pt x="184096" y="315496"/>
                </a:cubicBezTo>
                <a:cubicBezTo>
                  <a:pt x="210762" y="299762"/>
                  <a:pt x="191385" y="320297"/>
                  <a:pt x="178312" y="332444"/>
                </a:cubicBezTo>
                <a:cubicBezTo>
                  <a:pt x="165239" y="344592"/>
                  <a:pt x="209779" y="354252"/>
                  <a:pt x="209779" y="368828"/>
                </a:cubicBezTo>
                <a:cubicBezTo>
                  <a:pt x="209779" y="383405"/>
                  <a:pt x="177039" y="378488"/>
                  <a:pt x="173453" y="365126"/>
                </a:cubicBezTo>
                <a:cubicBezTo>
                  <a:pt x="169866" y="351764"/>
                  <a:pt x="157661" y="338460"/>
                  <a:pt x="126194" y="340890"/>
                </a:cubicBezTo>
                <a:cubicBezTo>
                  <a:pt x="94727" y="343319"/>
                  <a:pt x="103056" y="365126"/>
                  <a:pt x="122550" y="367614"/>
                </a:cubicBezTo>
                <a:cubicBezTo>
                  <a:pt x="142043" y="370101"/>
                  <a:pt x="143142" y="384562"/>
                  <a:pt x="121335" y="384562"/>
                </a:cubicBezTo>
                <a:cubicBezTo>
                  <a:pt x="99528" y="384562"/>
                  <a:pt x="50302" y="398213"/>
                  <a:pt x="65631" y="412443"/>
                </a:cubicBezTo>
                <a:cubicBezTo>
                  <a:pt x="82579" y="428177"/>
                  <a:pt x="144357" y="412443"/>
                  <a:pt x="155232" y="422103"/>
                </a:cubicBezTo>
                <a:cubicBezTo>
                  <a:pt x="166107" y="431763"/>
                  <a:pt x="196475" y="435465"/>
                  <a:pt x="203705" y="424532"/>
                </a:cubicBezTo>
                <a:cubicBezTo>
                  <a:pt x="210936" y="413600"/>
                  <a:pt x="235231" y="418459"/>
                  <a:pt x="259467" y="418459"/>
                </a:cubicBezTo>
                <a:cubicBezTo>
                  <a:pt x="283704" y="418459"/>
                  <a:pt x="289720" y="422103"/>
                  <a:pt x="300653" y="431821"/>
                </a:cubicBezTo>
                <a:cubicBezTo>
                  <a:pt x="311585" y="441539"/>
                  <a:pt x="330905" y="437605"/>
                  <a:pt x="344267" y="428177"/>
                </a:cubicBezTo>
                <a:cubicBezTo>
                  <a:pt x="357629" y="418748"/>
                  <a:pt x="357571" y="418459"/>
                  <a:pt x="374520" y="418459"/>
                </a:cubicBezTo>
                <a:cubicBezTo>
                  <a:pt x="391468" y="418459"/>
                  <a:pt x="395170" y="407526"/>
                  <a:pt x="386667" y="394222"/>
                </a:cubicBezTo>
                <a:cubicBezTo>
                  <a:pt x="378164" y="380918"/>
                  <a:pt x="356357" y="403940"/>
                  <a:pt x="353927" y="394222"/>
                </a:cubicBezTo>
                <a:cubicBezTo>
                  <a:pt x="350977" y="382248"/>
                  <a:pt x="330790" y="378488"/>
                  <a:pt x="297008" y="383347"/>
                </a:cubicBezTo>
                <a:cubicBezTo>
                  <a:pt x="263227" y="388206"/>
                  <a:pt x="277631" y="361540"/>
                  <a:pt x="298223" y="367614"/>
                </a:cubicBezTo>
                <a:cubicBezTo>
                  <a:pt x="318816" y="373687"/>
                  <a:pt x="346697" y="371258"/>
                  <a:pt x="369719" y="365126"/>
                </a:cubicBezTo>
                <a:cubicBezTo>
                  <a:pt x="392741" y="358995"/>
                  <a:pt x="374520" y="348178"/>
                  <a:pt x="374520" y="338460"/>
                </a:cubicBezTo>
                <a:cubicBezTo>
                  <a:pt x="374520" y="328742"/>
                  <a:pt x="403442" y="334874"/>
                  <a:pt x="425423" y="334874"/>
                </a:cubicBezTo>
                <a:cubicBezTo>
                  <a:pt x="447403" y="334874"/>
                  <a:pt x="478755" y="299704"/>
                  <a:pt x="479970" y="279112"/>
                </a:cubicBezTo>
                <a:cubicBezTo>
                  <a:pt x="481185" y="258519"/>
                  <a:pt x="431496" y="263378"/>
                  <a:pt x="407259" y="263378"/>
                </a:cubicBezTo>
                <a:cubicBezTo>
                  <a:pt x="383023" y="263378"/>
                  <a:pt x="422993" y="245215"/>
                  <a:pt x="469037" y="247645"/>
                </a:cubicBezTo>
                <a:cubicBezTo>
                  <a:pt x="515081" y="250074"/>
                  <a:pt x="494489" y="229481"/>
                  <a:pt x="502992" y="222193"/>
                </a:cubicBezTo>
                <a:cubicBezTo>
                  <a:pt x="511495" y="214905"/>
                  <a:pt x="533245" y="230696"/>
                  <a:pt x="556266" y="225837"/>
                </a:cubicBezTo>
                <a:cubicBezTo>
                  <a:pt x="579288" y="220978"/>
                  <a:pt x="563555" y="201601"/>
                  <a:pt x="579404" y="201601"/>
                </a:cubicBezTo>
                <a:cubicBezTo>
                  <a:pt x="590568" y="201601"/>
                  <a:pt x="615788" y="184652"/>
                  <a:pt x="665419" y="156771"/>
                </a:cubicBezTo>
                <a:cubicBezTo>
                  <a:pt x="715049" y="128890"/>
                  <a:pt x="753862" y="133634"/>
                  <a:pt x="756292" y="118015"/>
                </a:cubicBezTo>
                <a:cubicBezTo>
                  <a:pt x="758721" y="102398"/>
                  <a:pt x="687226" y="118015"/>
                  <a:pt x="675310" y="113157"/>
                </a:cubicBezTo>
                <a:cubicBezTo>
                  <a:pt x="663394" y="108298"/>
                  <a:pt x="724998" y="94993"/>
                  <a:pt x="739517" y="98638"/>
                </a:cubicBezTo>
                <a:cubicBezTo>
                  <a:pt x="754036" y="102282"/>
                  <a:pt x="773472" y="98638"/>
                  <a:pt x="823102" y="74401"/>
                </a:cubicBezTo>
                <a:cubicBezTo>
                  <a:pt x="872733" y="50164"/>
                  <a:pt x="850983" y="44091"/>
                  <a:pt x="830391" y="47735"/>
                </a:cubicBezTo>
                <a:cubicBezTo>
                  <a:pt x="809798" y="51379"/>
                  <a:pt x="786776" y="44091"/>
                  <a:pt x="787991" y="30786"/>
                </a:cubicBezTo>
                <a:cubicBezTo>
                  <a:pt x="789205" y="17482"/>
                  <a:pt x="757680" y="29572"/>
                  <a:pt x="756465" y="22283"/>
                </a:cubicBezTo>
                <a:cubicBezTo>
                  <a:pt x="755251" y="14995"/>
                  <a:pt x="726155" y="18639"/>
                  <a:pt x="694688" y="30786"/>
                </a:cubicBezTo>
                <a:cubicBezTo>
                  <a:pt x="663220" y="42934"/>
                  <a:pt x="692258" y="18639"/>
                  <a:pt x="705563" y="13838"/>
                </a:cubicBezTo>
                <a:cubicBezTo>
                  <a:pt x="718867" y="9037"/>
                  <a:pt x="625622" y="13838"/>
                  <a:pt x="609888" y="2905"/>
                </a:cubicBezTo>
                <a:cubicBezTo>
                  <a:pt x="594154" y="-8027"/>
                  <a:pt x="575934" y="21068"/>
                  <a:pt x="561415" y="6550"/>
                </a:cubicBezTo>
                <a:cubicBezTo>
                  <a:pt x="546896" y="-7969"/>
                  <a:pt x="509355" y="4120"/>
                  <a:pt x="514156" y="15053"/>
                </a:cubicBezTo>
                <a:cubicBezTo>
                  <a:pt x="518957" y="25985"/>
                  <a:pt x="508371" y="25927"/>
                  <a:pt x="493563" y="13838"/>
                </a:cubicBezTo>
                <a:cubicBezTo>
                  <a:pt x="478755" y="1749"/>
                  <a:pt x="451163" y="15053"/>
                  <a:pt x="425712" y="11409"/>
                </a:cubicBezTo>
                <a:cubicBezTo>
                  <a:pt x="400260" y="7764"/>
                  <a:pt x="411193" y="32001"/>
                  <a:pt x="383312" y="19854"/>
                </a:cubicBezTo>
                <a:cubicBezTo>
                  <a:pt x="355431" y="7706"/>
                  <a:pt x="325468" y="14069"/>
                  <a:pt x="333624" y="17424"/>
                </a:cubicBezTo>
                <a:cubicBezTo>
                  <a:pt x="341780" y="20779"/>
                  <a:pt x="331194" y="28357"/>
                  <a:pt x="319105" y="24713"/>
                </a:cubicBezTo>
                <a:cubicBezTo>
                  <a:pt x="307015" y="21068"/>
                  <a:pt x="295967" y="25927"/>
                  <a:pt x="302157" y="38017"/>
                </a:cubicBezTo>
                <a:cubicBezTo>
                  <a:pt x="308346" y="50106"/>
                  <a:pt x="257327" y="34431"/>
                  <a:pt x="257327" y="47735"/>
                </a:cubicBezTo>
                <a:cubicBezTo>
                  <a:pt x="257327" y="61039"/>
                  <a:pt x="238817" y="68385"/>
                  <a:pt x="224356" y="56411"/>
                </a:cubicBezTo>
                <a:cubicBezTo>
                  <a:pt x="209895" y="44438"/>
                  <a:pt x="163793" y="40620"/>
                  <a:pt x="177097" y="51552"/>
                </a:cubicBezTo>
                <a:cubicBezTo>
                  <a:pt x="190401" y="62485"/>
                  <a:pt x="135912" y="56411"/>
                  <a:pt x="150489" y="67286"/>
                </a:cubicBezTo>
                <a:cubicBezTo>
                  <a:pt x="165066" y="78161"/>
                  <a:pt x="132326" y="86664"/>
                  <a:pt x="132326" y="80590"/>
                </a:cubicBezTo>
                <a:cubicBezTo>
                  <a:pt x="132326" y="74517"/>
                  <a:pt x="102015" y="63642"/>
                  <a:pt x="89868" y="74806"/>
                </a:cubicBezTo>
                <a:cubicBezTo>
                  <a:pt x="77721" y="85970"/>
                  <a:pt x="74134" y="99043"/>
                  <a:pt x="68118" y="91754"/>
                </a:cubicBezTo>
                <a:cubicBezTo>
                  <a:pt x="62103" y="84466"/>
                  <a:pt x="35379" y="86895"/>
                  <a:pt x="9927" y="96613"/>
                </a:cubicBezTo>
                <a:cubicBezTo>
                  <a:pt x="-15524" y="106331"/>
                  <a:pt x="13456" y="113215"/>
                  <a:pt x="30404" y="10228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7" name="Forma libre: forma 256">
            <a:extLst>
              <a:ext uri="{FF2B5EF4-FFF2-40B4-BE49-F238E27FC236}">
                <a16:creationId xmlns:a16="http://schemas.microsoft.com/office/drawing/2014/main" id="{094C714D-FDA0-BE58-D95A-484442974152}"/>
              </a:ext>
            </a:extLst>
          </p:cNvPr>
          <p:cNvSpPr/>
          <p:nvPr/>
        </p:nvSpPr>
        <p:spPr>
          <a:xfrm>
            <a:off x="3877523" y="2466211"/>
            <a:ext cx="51325" cy="35059"/>
          </a:xfrm>
          <a:custGeom>
            <a:avLst/>
            <a:gdLst>
              <a:gd name="connsiteX0" fmla="*/ 4823 w 51325"/>
              <a:gd name="connsiteY0" fmla="*/ 32264 h 35059"/>
              <a:gd name="connsiteX1" fmla="*/ 51099 w 51325"/>
              <a:gd name="connsiteY1" fmla="*/ 2011 h 35059"/>
              <a:gd name="connsiteX2" fmla="*/ 4823 w 51325"/>
              <a:gd name="connsiteY2" fmla="*/ 32264 h 35059"/>
            </a:gdLst>
            <a:ahLst/>
            <a:cxnLst>
              <a:cxn ang="0">
                <a:pos x="connsiteX0" y="connsiteY0"/>
              </a:cxn>
              <a:cxn ang="0">
                <a:pos x="connsiteX1" y="connsiteY1"/>
              </a:cxn>
              <a:cxn ang="0">
                <a:pos x="connsiteX2" y="connsiteY2"/>
              </a:cxn>
            </a:cxnLst>
            <a:rect l="l" t="t" r="r" b="b"/>
            <a:pathLst>
              <a:path w="51325" h="35059">
                <a:moveTo>
                  <a:pt x="4823" y="32264"/>
                </a:moveTo>
                <a:cubicBezTo>
                  <a:pt x="24201" y="44411"/>
                  <a:pt x="53297" y="11671"/>
                  <a:pt x="51099" y="2011"/>
                </a:cubicBezTo>
                <a:cubicBezTo>
                  <a:pt x="48901" y="-7649"/>
                  <a:pt x="-18604" y="17687"/>
                  <a:pt x="4823" y="3226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8" name="Forma libre: forma 257">
            <a:extLst>
              <a:ext uri="{FF2B5EF4-FFF2-40B4-BE49-F238E27FC236}">
                <a16:creationId xmlns:a16="http://schemas.microsoft.com/office/drawing/2014/main" id="{1224D7B7-8F19-D1CF-C4BA-B5B01F17E4F3}"/>
              </a:ext>
            </a:extLst>
          </p:cNvPr>
          <p:cNvSpPr/>
          <p:nvPr/>
        </p:nvSpPr>
        <p:spPr>
          <a:xfrm>
            <a:off x="3783970" y="2338124"/>
            <a:ext cx="185816" cy="119355"/>
          </a:xfrm>
          <a:custGeom>
            <a:avLst/>
            <a:gdLst>
              <a:gd name="connsiteX0" fmla="*/ 185606 w 185816"/>
              <a:gd name="connsiteY0" fmla="*/ 93714 h 119355"/>
              <a:gd name="connsiteX1" fmla="*/ 148065 w 185816"/>
              <a:gd name="connsiteY1" fmla="*/ 63461 h 119355"/>
              <a:gd name="connsiteX2" fmla="*/ 94733 w 185816"/>
              <a:gd name="connsiteY2" fmla="*/ 31936 h 119355"/>
              <a:gd name="connsiteX3" fmla="*/ 60836 w 185816"/>
              <a:gd name="connsiteY3" fmla="*/ 6484 h 119355"/>
              <a:gd name="connsiteX4" fmla="*/ 30526 w 185816"/>
              <a:gd name="connsiteY4" fmla="*/ 24647 h 119355"/>
              <a:gd name="connsiteX5" fmla="*/ 23295 w 185816"/>
              <a:gd name="connsiteY5" fmla="*/ 62246 h 119355"/>
              <a:gd name="connsiteX6" fmla="*/ 157 w 185816"/>
              <a:gd name="connsiteY6" fmla="*/ 98572 h 119355"/>
              <a:gd name="connsiteX7" fmla="*/ 34054 w 185816"/>
              <a:gd name="connsiteY7" fmla="*/ 97358 h 119355"/>
              <a:gd name="connsiteX8" fmla="*/ 48631 w 185816"/>
              <a:gd name="connsiteY8" fmla="*/ 119165 h 119355"/>
              <a:gd name="connsiteX9" fmla="*/ 94617 w 185816"/>
              <a:gd name="connsiteY9" fmla="*/ 93714 h 119355"/>
              <a:gd name="connsiteX10" fmla="*/ 129786 w 185816"/>
              <a:gd name="connsiteY10" fmla="*/ 92499 h 119355"/>
              <a:gd name="connsiteX11" fmla="*/ 185606 w 185816"/>
              <a:gd name="connsiteY11" fmla="*/ 93714 h 119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816" h="119355">
                <a:moveTo>
                  <a:pt x="185606" y="93714"/>
                </a:moveTo>
                <a:cubicBezTo>
                  <a:pt x="188036" y="81624"/>
                  <a:pt x="145636" y="76765"/>
                  <a:pt x="148065" y="63461"/>
                </a:cubicBezTo>
                <a:cubicBezTo>
                  <a:pt x="150495" y="50157"/>
                  <a:pt x="108095" y="39224"/>
                  <a:pt x="94733" y="31936"/>
                </a:cubicBezTo>
                <a:cubicBezTo>
                  <a:pt x="81371" y="24647"/>
                  <a:pt x="60836" y="21003"/>
                  <a:pt x="60836" y="6484"/>
                </a:cubicBezTo>
                <a:cubicBezTo>
                  <a:pt x="60836" y="-8035"/>
                  <a:pt x="31914" y="2840"/>
                  <a:pt x="30526" y="24647"/>
                </a:cubicBezTo>
                <a:cubicBezTo>
                  <a:pt x="29137" y="46455"/>
                  <a:pt x="17221" y="41654"/>
                  <a:pt x="23295" y="62246"/>
                </a:cubicBezTo>
                <a:cubicBezTo>
                  <a:pt x="29369" y="82839"/>
                  <a:pt x="-3371" y="87698"/>
                  <a:pt x="157" y="98572"/>
                </a:cubicBezTo>
                <a:cubicBezTo>
                  <a:pt x="3686" y="109447"/>
                  <a:pt x="19535" y="97358"/>
                  <a:pt x="34054" y="97358"/>
                </a:cubicBezTo>
                <a:cubicBezTo>
                  <a:pt x="48573" y="97358"/>
                  <a:pt x="30121" y="117603"/>
                  <a:pt x="48631" y="119165"/>
                </a:cubicBezTo>
                <a:cubicBezTo>
                  <a:pt x="63150" y="120380"/>
                  <a:pt x="88601" y="103431"/>
                  <a:pt x="94617" y="93714"/>
                </a:cubicBezTo>
                <a:cubicBezTo>
                  <a:pt x="100633" y="83996"/>
                  <a:pt x="112838" y="80409"/>
                  <a:pt x="129786" y="92499"/>
                </a:cubicBezTo>
                <a:cubicBezTo>
                  <a:pt x="146735" y="104588"/>
                  <a:pt x="183177" y="105861"/>
                  <a:pt x="185606" y="9371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59" name="Forma libre: forma 258">
            <a:extLst>
              <a:ext uri="{FF2B5EF4-FFF2-40B4-BE49-F238E27FC236}">
                <a16:creationId xmlns:a16="http://schemas.microsoft.com/office/drawing/2014/main" id="{4C4C7C6C-6C59-01FB-7967-149235B2FA3D}"/>
              </a:ext>
            </a:extLst>
          </p:cNvPr>
          <p:cNvSpPr/>
          <p:nvPr/>
        </p:nvSpPr>
        <p:spPr>
          <a:xfrm>
            <a:off x="3539308" y="1723290"/>
            <a:ext cx="81534" cy="23304"/>
          </a:xfrm>
          <a:custGeom>
            <a:avLst/>
            <a:gdLst>
              <a:gd name="connsiteX0" fmla="*/ 81351 w 81534"/>
              <a:gd name="connsiteY0" fmla="*/ 2211 h 23304"/>
              <a:gd name="connsiteX1" fmla="*/ 1410 w 81534"/>
              <a:gd name="connsiteY1" fmla="*/ 16730 h 23304"/>
              <a:gd name="connsiteX2" fmla="*/ 81351 w 81534"/>
              <a:gd name="connsiteY2" fmla="*/ 2211 h 23304"/>
            </a:gdLst>
            <a:ahLst/>
            <a:cxnLst>
              <a:cxn ang="0">
                <a:pos x="connsiteX0" y="connsiteY0"/>
              </a:cxn>
              <a:cxn ang="0">
                <a:pos x="connsiteX1" y="connsiteY1"/>
              </a:cxn>
              <a:cxn ang="0">
                <a:pos x="connsiteX2" y="connsiteY2"/>
              </a:cxn>
            </a:cxnLst>
            <a:rect l="l" t="t" r="r" b="b"/>
            <a:pathLst>
              <a:path w="81534" h="23304">
                <a:moveTo>
                  <a:pt x="81351" y="2211"/>
                </a:moveTo>
                <a:cubicBezTo>
                  <a:pt x="78922" y="-5077"/>
                  <a:pt x="-12935" y="6029"/>
                  <a:pt x="1410" y="16730"/>
                </a:cubicBezTo>
                <a:cubicBezTo>
                  <a:pt x="25936" y="34951"/>
                  <a:pt x="83781" y="9500"/>
                  <a:pt x="81351" y="2211"/>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0" name="Forma libre: forma 259">
            <a:extLst>
              <a:ext uri="{FF2B5EF4-FFF2-40B4-BE49-F238E27FC236}">
                <a16:creationId xmlns:a16="http://schemas.microsoft.com/office/drawing/2014/main" id="{95BBDE73-9F46-1B64-D9ED-07692CA569B2}"/>
              </a:ext>
            </a:extLst>
          </p:cNvPr>
          <p:cNvSpPr/>
          <p:nvPr/>
        </p:nvSpPr>
        <p:spPr>
          <a:xfrm>
            <a:off x="2655935" y="2947057"/>
            <a:ext cx="147840" cy="89772"/>
          </a:xfrm>
          <a:custGeom>
            <a:avLst/>
            <a:gdLst>
              <a:gd name="connsiteX0" fmla="*/ 129973 w 147840"/>
              <a:gd name="connsiteY0" fmla="*/ 65769 h 89772"/>
              <a:gd name="connsiteX1" fmla="*/ 98506 w 147840"/>
              <a:gd name="connsiteY1" fmla="*/ 51192 h 89772"/>
              <a:gd name="connsiteX2" fmla="*/ 66403 w 147840"/>
              <a:gd name="connsiteY2" fmla="*/ 15444 h 89772"/>
              <a:gd name="connsiteX3" fmla="*/ 30655 w 147840"/>
              <a:gd name="connsiteY3" fmla="*/ 7577 h 89772"/>
              <a:gd name="connsiteX4" fmla="*/ 2195 w 147840"/>
              <a:gd name="connsiteY4" fmla="*/ 3355 h 89772"/>
              <a:gd name="connsiteX5" fmla="*/ 10641 w 147840"/>
              <a:gd name="connsiteY5" fmla="*/ 16080 h 89772"/>
              <a:gd name="connsiteX6" fmla="*/ 23366 w 147840"/>
              <a:gd name="connsiteY6" fmla="*/ 24526 h 89772"/>
              <a:gd name="connsiteX7" fmla="*/ 42166 w 147840"/>
              <a:gd name="connsiteY7" fmla="*/ 39102 h 89772"/>
              <a:gd name="connsiteX8" fmla="*/ 60329 w 147840"/>
              <a:gd name="connsiteY8" fmla="*/ 51192 h 89772"/>
              <a:gd name="connsiteX9" fmla="*/ 74848 w 147840"/>
              <a:gd name="connsiteY9" fmla="*/ 66347 h 89772"/>
              <a:gd name="connsiteX10" fmla="*/ 88788 w 147840"/>
              <a:gd name="connsiteY10" fmla="*/ 72131 h 89772"/>
              <a:gd name="connsiteX11" fmla="*/ 100936 w 147840"/>
              <a:gd name="connsiteY11" fmla="*/ 87518 h 89772"/>
              <a:gd name="connsiteX12" fmla="*/ 144087 w 147840"/>
              <a:gd name="connsiteY12" fmla="*/ 87518 h 89772"/>
              <a:gd name="connsiteX13" fmla="*/ 146922 w 147840"/>
              <a:gd name="connsiteY13" fmla="*/ 76238 h 89772"/>
              <a:gd name="connsiteX14" fmla="*/ 129973 w 147840"/>
              <a:gd name="connsiteY14" fmla="*/ 65769 h 8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840" h="89772">
                <a:moveTo>
                  <a:pt x="129973" y="65769"/>
                </a:moveTo>
                <a:cubicBezTo>
                  <a:pt x="122107" y="57265"/>
                  <a:pt x="101514" y="59059"/>
                  <a:pt x="98506" y="51192"/>
                </a:cubicBezTo>
                <a:cubicBezTo>
                  <a:pt x="95498" y="43325"/>
                  <a:pt x="76699" y="14866"/>
                  <a:pt x="66403" y="15444"/>
                </a:cubicBezTo>
                <a:cubicBezTo>
                  <a:pt x="56106" y="16022"/>
                  <a:pt x="42744" y="16659"/>
                  <a:pt x="30655" y="7577"/>
                </a:cubicBezTo>
                <a:cubicBezTo>
                  <a:pt x="18565" y="-1504"/>
                  <a:pt x="10641" y="-2083"/>
                  <a:pt x="2195" y="3355"/>
                </a:cubicBezTo>
                <a:cubicBezTo>
                  <a:pt x="-6250" y="8792"/>
                  <a:pt x="11277" y="10007"/>
                  <a:pt x="10641" y="16080"/>
                </a:cubicBezTo>
                <a:cubicBezTo>
                  <a:pt x="10004" y="22154"/>
                  <a:pt x="16078" y="25740"/>
                  <a:pt x="23366" y="24526"/>
                </a:cubicBezTo>
                <a:cubicBezTo>
                  <a:pt x="30655" y="23311"/>
                  <a:pt x="34935" y="38466"/>
                  <a:pt x="42166" y="39102"/>
                </a:cubicBezTo>
                <a:cubicBezTo>
                  <a:pt x="49396" y="39739"/>
                  <a:pt x="51826" y="51192"/>
                  <a:pt x="60329" y="51192"/>
                </a:cubicBezTo>
                <a:cubicBezTo>
                  <a:pt x="68832" y="51192"/>
                  <a:pt x="70625" y="60910"/>
                  <a:pt x="74848" y="66347"/>
                </a:cubicBezTo>
                <a:cubicBezTo>
                  <a:pt x="79071" y="71784"/>
                  <a:pt x="88788" y="66926"/>
                  <a:pt x="88788" y="72131"/>
                </a:cubicBezTo>
                <a:cubicBezTo>
                  <a:pt x="88788" y="77337"/>
                  <a:pt x="98506" y="81387"/>
                  <a:pt x="100936" y="87518"/>
                </a:cubicBezTo>
                <a:cubicBezTo>
                  <a:pt x="117537" y="89485"/>
                  <a:pt x="131709" y="91104"/>
                  <a:pt x="144087" y="87518"/>
                </a:cubicBezTo>
                <a:cubicBezTo>
                  <a:pt x="144197" y="83596"/>
                  <a:pt x="145163" y="79750"/>
                  <a:pt x="146922" y="76238"/>
                </a:cubicBezTo>
                <a:cubicBezTo>
                  <a:pt x="151144" y="68776"/>
                  <a:pt x="137840" y="74214"/>
                  <a:pt x="129973" y="65769"/>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1" name="Forma libre: forma 260">
            <a:extLst>
              <a:ext uri="{FF2B5EF4-FFF2-40B4-BE49-F238E27FC236}">
                <a16:creationId xmlns:a16="http://schemas.microsoft.com/office/drawing/2014/main" id="{B8D8BA54-9B11-7C49-FA40-6025C0DCE1EA}"/>
              </a:ext>
            </a:extLst>
          </p:cNvPr>
          <p:cNvSpPr/>
          <p:nvPr/>
        </p:nvSpPr>
        <p:spPr>
          <a:xfrm>
            <a:off x="2525326" y="2828771"/>
            <a:ext cx="48481" cy="64699"/>
          </a:xfrm>
          <a:custGeom>
            <a:avLst/>
            <a:gdLst>
              <a:gd name="connsiteX0" fmla="*/ 5142 w 48481"/>
              <a:gd name="connsiteY0" fmla="*/ 3986 h 64699"/>
              <a:gd name="connsiteX1" fmla="*/ 46732 w 48481"/>
              <a:gd name="connsiteY1" fmla="*/ 63971 h 64699"/>
              <a:gd name="connsiteX2" fmla="*/ 33775 w 48481"/>
              <a:gd name="connsiteY2" fmla="*/ 21744 h 64699"/>
              <a:gd name="connsiteX3" fmla="*/ 5142 w 48481"/>
              <a:gd name="connsiteY3" fmla="*/ 3986 h 64699"/>
            </a:gdLst>
            <a:ahLst/>
            <a:cxnLst>
              <a:cxn ang="0">
                <a:pos x="connsiteX0" y="connsiteY0"/>
              </a:cxn>
              <a:cxn ang="0">
                <a:pos x="connsiteX1" y="connsiteY1"/>
              </a:cxn>
              <a:cxn ang="0">
                <a:pos x="connsiteX2" y="connsiteY2"/>
              </a:cxn>
              <a:cxn ang="0">
                <a:pos x="connsiteX3" y="connsiteY3"/>
              </a:cxn>
            </a:cxnLst>
            <a:rect l="l" t="t" r="r" b="b"/>
            <a:pathLst>
              <a:path w="48481" h="64699">
                <a:moveTo>
                  <a:pt x="5142" y="3986"/>
                </a:moveTo>
                <a:cubicBezTo>
                  <a:pt x="-16665" y="15555"/>
                  <a:pt x="35799" y="70912"/>
                  <a:pt x="46732" y="63971"/>
                </a:cubicBezTo>
                <a:cubicBezTo>
                  <a:pt x="54194" y="59170"/>
                  <a:pt x="33775" y="36032"/>
                  <a:pt x="33775" y="21744"/>
                </a:cubicBezTo>
                <a:cubicBezTo>
                  <a:pt x="33775" y="7457"/>
                  <a:pt x="26949" y="-7583"/>
                  <a:pt x="5142" y="3986"/>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2" name="Forma libre: forma 261">
            <a:extLst>
              <a:ext uri="{FF2B5EF4-FFF2-40B4-BE49-F238E27FC236}">
                <a16:creationId xmlns:a16="http://schemas.microsoft.com/office/drawing/2014/main" id="{3775FB4B-1D71-390C-A1E5-40CB0956A67F}"/>
              </a:ext>
            </a:extLst>
          </p:cNvPr>
          <p:cNvSpPr/>
          <p:nvPr/>
        </p:nvSpPr>
        <p:spPr>
          <a:xfrm>
            <a:off x="3433034" y="1582106"/>
            <a:ext cx="39552" cy="23840"/>
          </a:xfrm>
          <a:custGeom>
            <a:avLst/>
            <a:gdLst>
              <a:gd name="connsiteX0" fmla="*/ 38618 w 39552"/>
              <a:gd name="connsiteY0" fmla="*/ 18683 h 23840"/>
              <a:gd name="connsiteX1" fmla="*/ 2234 w 39552"/>
              <a:gd name="connsiteY1" fmla="*/ 5263 h 23840"/>
              <a:gd name="connsiteX2" fmla="*/ 38618 w 39552"/>
              <a:gd name="connsiteY2" fmla="*/ 18683 h 23840"/>
            </a:gdLst>
            <a:ahLst/>
            <a:cxnLst>
              <a:cxn ang="0">
                <a:pos x="connsiteX0" y="connsiteY0"/>
              </a:cxn>
              <a:cxn ang="0">
                <a:pos x="connsiteX1" y="connsiteY1"/>
              </a:cxn>
              <a:cxn ang="0">
                <a:pos x="connsiteX2" y="connsiteY2"/>
              </a:cxn>
            </a:cxnLst>
            <a:rect l="l" t="t" r="r" b="b"/>
            <a:pathLst>
              <a:path w="39552" h="23840">
                <a:moveTo>
                  <a:pt x="38618" y="18683"/>
                </a:moveTo>
                <a:cubicBezTo>
                  <a:pt x="47064" y="4106"/>
                  <a:pt x="-12458" y="-7289"/>
                  <a:pt x="2234" y="5263"/>
                </a:cubicBezTo>
                <a:cubicBezTo>
                  <a:pt x="10737" y="12551"/>
                  <a:pt x="30115" y="33144"/>
                  <a:pt x="38618" y="18683"/>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3" name="Forma libre: forma 262">
            <a:extLst>
              <a:ext uri="{FF2B5EF4-FFF2-40B4-BE49-F238E27FC236}">
                <a16:creationId xmlns:a16="http://schemas.microsoft.com/office/drawing/2014/main" id="{F1610941-BBFF-DEB5-B847-EE5EBD894019}"/>
              </a:ext>
            </a:extLst>
          </p:cNvPr>
          <p:cNvSpPr/>
          <p:nvPr/>
        </p:nvSpPr>
        <p:spPr>
          <a:xfrm>
            <a:off x="2909351" y="1821811"/>
            <a:ext cx="43938" cy="30070"/>
          </a:xfrm>
          <a:custGeom>
            <a:avLst/>
            <a:gdLst>
              <a:gd name="connsiteX0" fmla="*/ 1327 w 43938"/>
              <a:gd name="connsiteY0" fmla="*/ 29734 h 30070"/>
              <a:gd name="connsiteX1" fmla="*/ 43785 w 43938"/>
              <a:gd name="connsiteY1" fmla="*/ 1853 h 30070"/>
              <a:gd name="connsiteX2" fmla="*/ 1327 w 43938"/>
              <a:gd name="connsiteY2" fmla="*/ 29734 h 30070"/>
            </a:gdLst>
            <a:ahLst/>
            <a:cxnLst>
              <a:cxn ang="0">
                <a:pos x="connsiteX0" y="connsiteY0"/>
              </a:cxn>
              <a:cxn ang="0">
                <a:pos x="connsiteX1" y="connsiteY1"/>
              </a:cxn>
              <a:cxn ang="0">
                <a:pos x="connsiteX2" y="connsiteY2"/>
              </a:cxn>
            </a:cxnLst>
            <a:rect l="l" t="t" r="r" b="b"/>
            <a:pathLst>
              <a:path w="43938" h="30070">
                <a:moveTo>
                  <a:pt x="1327" y="29734"/>
                </a:moveTo>
                <a:cubicBezTo>
                  <a:pt x="23192" y="32163"/>
                  <a:pt x="44942" y="12727"/>
                  <a:pt x="43785" y="1853"/>
                </a:cubicBezTo>
                <a:cubicBezTo>
                  <a:pt x="42628" y="-9022"/>
                  <a:pt x="-9316" y="28345"/>
                  <a:pt x="1327" y="2973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4" name="Forma libre: forma 263">
            <a:extLst>
              <a:ext uri="{FF2B5EF4-FFF2-40B4-BE49-F238E27FC236}">
                <a16:creationId xmlns:a16="http://schemas.microsoft.com/office/drawing/2014/main" id="{65FB2804-56EE-A006-53B4-731F8338621A}"/>
              </a:ext>
            </a:extLst>
          </p:cNvPr>
          <p:cNvSpPr/>
          <p:nvPr/>
        </p:nvSpPr>
        <p:spPr>
          <a:xfrm>
            <a:off x="2726442" y="1905490"/>
            <a:ext cx="286099" cy="188435"/>
          </a:xfrm>
          <a:custGeom>
            <a:avLst/>
            <a:gdLst>
              <a:gd name="connsiteX0" fmla="*/ 38873 w 286099"/>
              <a:gd name="connsiteY0" fmla="*/ 144692 h 188435"/>
              <a:gd name="connsiteX1" fmla="*/ 77629 w 286099"/>
              <a:gd name="connsiteY1" fmla="*/ 188306 h 188435"/>
              <a:gd name="connsiteX2" fmla="*/ 95792 w 286099"/>
              <a:gd name="connsiteY2" fmla="*/ 176217 h 188435"/>
              <a:gd name="connsiteX3" fmla="*/ 122459 w 286099"/>
              <a:gd name="connsiteY3" fmla="*/ 168928 h 188435"/>
              <a:gd name="connsiteX4" fmla="*/ 149125 w 286099"/>
              <a:gd name="connsiteY4" fmla="*/ 148336 h 188435"/>
              <a:gd name="connsiteX5" fmla="*/ 174576 w 286099"/>
              <a:gd name="connsiteY5" fmla="*/ 121670 h 188435"/>
              <a:gd name="connsiteX6" fmla="*/ 196384 w 286099"/>
              <a:gd name="connsiteY6" fmla="*/ 95061 h 188435"/>
              <a:gd name="connsiteX7" fmla="*/ 283613 w 286099"/>
              <a:gd name="connsiteY7" fmla="*/ 58677 h 188435"/>
              <a:gd name="connsiteX8" fmla="*/ 249658 w 286099"/>
              <a:gd name="connsiteY8" fmla="*/ 28425 h 188435"/>
              <a:gd name="connsiteX9" fmla="*/ 193954 w 286099"/>
              <a:gd name="connsiteY9" fmla="*/ 22640 h 188435"/>
              <a:gd name="connsiteX10" fmla="*/ 177006 w 286099"/>
              <a:gd name="connsiteY10" fmla="*/ 16856 h 188435"/>
              <a:gd name="connsiteX11" fmla="*/ 122459 w 286099"/>
              <a:gd name="connsiteY11" fmla="*/ 1064 h 188435"/>
              <a:gd name="connsiteX12" fmla="*/ 36444 w 286099"/>
              <a:gd name="connsiteY12" fmla="*/ 14079 h 188435"/>
              <a:gd name="connsiteX13" fmla="*/ 48591 w 286099"/>
              <a:gd name="connsiteY13" fmla="*/ 39473 h 188435"/>
              <a:gd name="connsiteX14" fmla="*/ 29214 w 286099"/>
              <a:gd name="connsiteY14" fmla="*/ 80658 h 188435"/>
              <a:gd name="connsiteX15" fmla="*/ 4977 w 286099"/>
              <a:gd name="connsiteY15" fmla="*/ 121843 h 188435"/>
              <a:gd name="connsiteX16" fmla="*/ 38873 w 286099"/>
              <a:gd name="connsiteY16" fmla="*/ 144692 h 18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099" h="188435">
                <a:moveTo>
                  <a:pt x="38873" y="144692"/>
                </a:moveTo>
                <a:cubicBezTo>
                  <a:pt x="60681" y="149551"/>
                  <a:pt x="63053" y="188306"/>
                  <a:pt x="77629" y="188306"/>
                </a:cubicBezTo>
                <a:cubicBezTo>
                  <a:pt x="87347" y="188306"/>
                  <a:pt x="80059" y="176217"/>
                  <a:pt x="95792" y="176217"/>
                </a:cubicBezTo>
                <a:cubicBezTo>
                  <a:pt x="111526" y="176217"/>
                  <a:pt x="107940" y="167714"/>
                  <a:pt x="122459" y="168928"/>
                </a:cubicBezTo>
                <a:cubicBezTo>
                  <a:pt x="136978" y="170143"/>
                  <a:pt x="149125" y="165342"/>
                  <a:pt x="149125" y="148336"/>
                </a:cubicBezTo>
                <a:cubicBezTo>
                  <a:pt x="149125" y="131330"/>
                  <a:pt x="159999" y="125198"/>
                  <a:pt x="174576" y="121670"/>
                </a:cubicBezTo>
                <a:cubicBezTo>
                  <a:pt x="189153" y="118141"/>
                  <a:pt x="175791" y="99920"/>
                  <a:pt x="196384" y="95061"/>
                </a:cubicBezTo>
                <a:cubicBezTo>
                  <a:pt x="216976" y="90202"/>
                  <a:pt x="273895" y="66139"/>
                  <a:pt x="283613" y="58677"/>
                </a:cubicBezTo>
                <a:cubicBezTo>
                  <a:pt x="293331" y="51215"/>
                  <a:pt x="271523" y="41729"/>
                  <a:pt x="249658" y="28425"/>
                </a:cubicBezTo>
                <a:cubicBezTo>
                  <a:pt x="227793" y="15120"/>
                  <a:pt x="210902" y="11476"/>
                  <a:pt x="193954" y="22640"/>
                </a:cubicBezTo>
                <a:cubicBezTo>
                  <a:pt x="177006" y="33804"/>
                  <a:pt x="190310" y="10551"/>
                  <a:pt x="177006" y="16856"/>
                </a:cubicBezTo>
                <a:cubicBezTo>
                  <a:pt x="163702" y="23161"/>
                  <a:pt x="127317" y="7138"/>
                  <a:pt x="122459" y="1064"/>
                </a:cubicBezTo>
                <a:cubicBezTo>
                  <a:pt x="117600" y="-5009"/>
                  <a:pt x="52120" y="14079"/>
                  <a:pt x="36444" y="14079"/>
                </a:cubicBezTo>
                <a:cubicBezTo>
                  <a:pt x="20768" y="14079"/>
                  <a:pt x="37659" y="31028"/>
                  <a:pt x="48591" y="39473"/>
                </a:cubicBezTo>
                <a:cubicBezTo>
                  <a:pt x="59524" y="47918"/>
                  <a:pt x="21925" y="74642"/>
                  <a:pt x="29214" y="80658"/>
                </a:cubicBezTo>
                <a:cubicBezTo>
                  <a:pt x="36502" y="86674"/>
                  <a:pt x="21925" y="102465"/>
                  <a:pt x="4977" y="121843"/>
                </a:cubicBezTo>
                <a:cubicBezTo>
                  <a:pt x="-11972" y="141221"/>
                  <a:pt x="17066" y="139891"/>
                  <a:pt x="38873" y="144692"/>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5" name="Forma libre: forma 264">
            <a:extLst>
              <a:ext uri="{FF2B5EF4-FFF2-40B4-BE49-F238E27FC236}">
                <a16:creationId xmlns:a16="http://schemas.microsoft.com/office/drawing/2014/main" id="{F0584216-BE50-328F-1063-378AD6951D65}"/>
              </a:ext>
            </a:extLst>
          </p:cNvPr>
          <p:cNvSpPr/>
          <p:nvPr/>
        </p:nvSpPr>
        <p:spPr>
          <a:xfrm>
            <a:off x="2305795" y="1927203"/>
            <a:ext cx="2348993" cy="1317360"/>
          </a:xfrm>
          <a:custGeom>
            <a:avLst/>
            <a:gdLst>
              <a:gd name="connsiteX0" fmla="*/ 2221111 w 2348993"/>
              <a:gd name="connsiteY0" fmla="*/ 1181934 h 1317360"/>
              <a:gd name="connsiteX1" fmla="*/ 2220475 w 2348993"/>
              <a:gd name="connsiteY1" fmla="*/ 1163134 h 1317360"/>
              <a:gd name="connsiteX2" fmla="*/ 2201733 w 2348993"/>
              <a:gd name="connsiteY2" fmla="*/ 1174009 h 1317360"/>
              <a:gd name="connsiteX3" fmla="*/ 2187793 w 2348993"/>
              <a:gd name="connsiteY3" fmla="*/ 1189801 h 1317360"/>
              <a:gd name="connsiteX4" fmla="*/ 2176224 w 2348993"/>
              <a:gd name="connsiteY4" fmla="*/ 1201369 h 1317360"/>
              <a:gd name="connsiteX5" fmla="*/ 2127750 w 2348993"/>
              <a:gd name="connsiteY5" fmla="*/ 1192866 h 1317360"/>
              <a:gd name="connsiteX6" fmla="*/ 2098076 w 2348993"/>
              <a:gd name="connsiteY6" fmla="*/ 1168630 h 1317360"/>
              <a:gd name="connsiteX7" fmla="*/ 2094432 w 2348993"/>
              <a:gd name="connsiteY7" fmla="*/ 1140806 h 1317360"/>
              <a:gd name="connsiteX8" fmla="*/ 2082343 w 2348993"/>
              <a:gd name="connsiteY8" fmla="*/ 1131667 h 1317360"/>
              <a:gd name="connsiteX9" fmla="*/ 2079913 w 2348993"/>
              <a:gd name="connsiteY9" fmla="*/ 1120792 h 1317360"/>
              <a:gd name="connsiteX10" fmla="*/ 2106579 w 2348993"/>
              <a:gd name="connsiteY10" fmla="*/ 1085681 h 1317360"/>
              <a:gd name="connsiteX11" fmla="*/ 1988404 w 2348993"/>
              <a:gd name="connsiteY11" fmla="*/ 1105059 h 1317360"/>
              <a:gd name="connsiteX12" fmla="*/ 1929055 w 2348993"/>
              <a:gd name="connsiteY12" fmla="*/ 1155904 h 1317360"/>
              <a:gd name="connsiteX13" fmla="*/ 1953870 w 2348993"/>
              <a:gd name="connsiteY13" fmla="*/ 1127444 h 1317360"/>
              <a:gd name="connsiteX14" fmla="*/ 1959655 w 2348993"/>
              <a:gd name="connsiteY14" fmla="*/ 1114719 h 1317360"/>
              <a:gd name="connsiteX15" fmla="*/ 1997774 w 2348993"/>
              <a:gd name="connsiteY15" fmla="*/ 1078971 h 1317360"/>
              <a:gd name="connsiteX16" fmla="*/ 2026292 w 2348993"/>
              <a:gd name="connsiteY16" fmla="*/ 1070526 h 1317360"/>
              <a:gd name="connsiteX17" fmla="*/ 2046248 w 2348993"/>
              <a:gd name="connsiteY17" fmla="*/ 1046289 h 1317360"/>
              <a:gd name="connsiteX18" fmla="*/ 2217062 w 2348993"/>
              <a:gd name="connsiteY18" fmla="*/ 1037786 h 1317360"/>
              <a:gd name="connsiteX19" fmla="*/ 2266172 w 2348993"/>
              <a:gd name="connsiteY19" fmla="*/ 1007533 h 1317360"/>
              <a:gd name="connsiteX20" fmla="*/ 2303713 w 2348993"/>
              <a:gd name="connsiteY20" fmla="*/ 996601 h 1317360"/>
              <a:gd name="connsiteX21" fmla="*/ 2341890 w 2348993"/>
              <a:gd name="connsiteY21" fmla="*/ 973463 h 1317360"/>
              <a:gd name="connsiteX22" fmla="*/ 2339461 w 2348993"/>
              <a:gd name="connsiteY22" fmla="*/ 961894 h 1317360"/>
              <a:gd name="connsiteX23" fmla="*/ 2331594 w 2348993"/>
              <a:gd name="connsiteY23" fmla="*/ 954027 h 1317360"/>
              <a:gd name="connsiteX24" fmla="*/ 2347906 w 2348993"/>
              <a:gd name="connsiteY24" fmla="*/ 937657 h 1317360"/>
              <a:gd name="connsiteX25" fmla="*/ 2333387 w 2348993"/>
              <a:gd name="connsiteY25" fmla="*/ 916486 h 1317360"/>
              <a:gd name="connsiteX26" fmla="*/ 2304465 w 2348993"/>
              <a:gd name="connsiteY26" fmla="*/ 920073 h 1317360"/>
              <a:gd name="connsiteX27" fmla="*/ 2302614 w 2348993"/>
              <a:gd name="connsiteY27" fmla="*/ 898265 h 1317360"/>
              <a:gd name="connsiteX28" fmla="*/ 2260214 w 2348993"/>
              <a:gd name="connsiteY28" fmla="*/ 908562 h 1317360"/>
              <a:gd name="connsiteX29" fmla="*/ 2234184 w 2348993"/>
              <a:gd name="connsiteY29" fmla="*/ 920131 h 1317360"/>
              <a:gd name="connsiteX30" fmla="*/ 2227474 w 2348993"/>
              <a:gd name="connsiteY30" fmla="*/ 909256 h 1317360"/>
              <a:gd name="connsiteX31" fmla="*/ 2243266 w 2348993"/>
              <a:gd name="connsiteY31" fmla="*/ 902604 h 1317360"/>
              <a:gd name="connsiteX32" fmla="*/ 2268081 w 2348993"/>
              <a:gd name="connsiteY32" fmla="*/ 893464 h 1317360"/>
              <a:gd name="connsiteX33" fmla="*/ 2298391 w 2348993"/>
              <a:gd name="connsiteY33" fmla="*/ 881895 h 1317360"/>
              <a:gd name="connsiteX34" fmla="*/ 2278377 w 2348993"/>
              <a:gd name="connsiteY34" fmla="*/ 869227 h 1317360"/>
              <a:gd name="connsiteX35" fmla="*/ 2247488 w 2348993"/>
              <a:gd name="connsiteY35" fmla="*/ 857080 h 1317360"/>
              <a:gd name="connsiteX36" fmla="*/ 2231118 w 2348993"/>
              <a:gd name="connsiteY36" fmla="*/ 854072 h 1317360"/>
              <a:gd name="connsiteX37" fmla="*/ 2211740 w 2348993"/>
              <a:gd name="connsiteY37" fmla="*/ 840710 h 1317360"/>
              <a:gd name="connsiteX38" fmla="*/ 2165465 w 2348993"/>
              <a:gd name="connsiteY38" fmla="*/ 805599 h 1317360"/>
              <a:gd name="connsiteX39" fmla="*/ 2168530 w 2348993"/>
              <a:gd name="connsiteY39" fmla="*/ 798310 h 1317360"/>
              <a:gd name="connsiteX40" fmla="*/ 2190338 w 2348993"/>
              <a:gd name="connsiteY40" fmla="*/ 786221 h 1317360"/>
              <a:gd name="connsiteX41" fmla="*/ 2179405 w 2348993"/>
              <a:gd name="connsiteY41" fmla="*/ 774131 h 1317360"/>
              <a:gd name="connsiteX42" fmla="*/ 2175761 w 2348993"/>
              <a:gd name="connsiteY42" fmla="*/ 759555 h 1317360"/>
              <a:gd name="connsiteX43" fmla="*/ 2158408 w 2348993"/>
              <a:gd name="connsiteY43" fmla="*/ 739541 h 1317360"/>
              <a:gd name="connsiteX44" fmla="*/ 2148112 w 2348993"/>
              <a:gd name="connsiteY44" fmla="*/ 723807 h 1317360"/>
              <a:gd name="connsiteX45" fmla="*/ 2137815 w 2348993"/>
              <a:gd name="connsiteY45" fmla="*/ 703214 h 1317360"/>
              <a:gd name="connsiteX46" fmla="*/ 2119016 w 2348993"/>
              <a:gd name="connsiteY46" fmla="*/ 672962 h 1317360"/>
              <a:gd name="connsiteX47" fmla="*/ 2105075 w 2348993"/>
              <a:gd name="connsiteY47" fmla="*/ 648089 h 1317360"/>
              <a:gd name="connsiteX48" fmla="*/ 2092928 w 2348993"/>
              <a:gd name="connsiteY48" fmla="*/ 657170 h 1317360"/>
              <a:gd name="connsiteX49" fmla="*/ 2080260 w 2348993"/>
              <a:gd name="connsiteY49" fmla="*/ 675970 h 1317360"/>
              <a:gd name="connsiteX50" fmla="*/ 2076616 w 2348993"/>
              <a:gd name="connsiteY50" fmla="*/ 692340 h 1317360"/>
              <a:gd name="connsiteX51" fmla="*/ 2071179 w 2348993"/>
              <a:gd name="connsiteY51" fmla="*/ 707437 h 1317360"/>
              <a:gd name="connsiteX52" fmla="*/ 2061461 w 2348993"/>
              <a:gd name="connsiteY52" fmla="*/ 717733 h 1317360"/>
              <a:gd name="connsiteX53" fmla="*/ 2045091 w 2348993"/>
              <a:gd name="connsiteY53" fmla="*/ 720163 h 1317360"/>
              <a:gd name="connsiteX54" fmla="*/ 2017846 w 2348993"/>
              <a:gd name="connsiteY54" fmla="*/ 735954 h 1317360"/>
              <a:gd name="connsiteX55" fmla="*/ 2003327 w 2348993"/>
              <a:gd name="connsiteY55" fmla="*/ 723807 h 1317360"/>
              <a:gd name="connsiteX56" fmla="*/ 1987536 w 2348993"/>
              <a:gd name="connsiteY56" fmla="*/ 710503 h 1317360"/>
              <a:gd name="connsiteX57" fmla="*/ 1973017 w 2348993"/>
              <a:gd name="connsiteY57" fmla="*/ 700785 h 1317360"/>
              <a:gd name="connsiteX58" fmla="*/ 1962142 w 2348993"/>
              <a:gd name="connsiteY58" fmla="*/ 681985 h 1317360"/>
              <a:gd name="connsiteX59" fmla="*/ 1959076 w 2348993"/>
              <a:gd name="connsiteY59" fmla="*/ 651155 h 1317360"/>
              <a:gd name="connsiteX60" fmla="*/ 1968158 w 2348993"/>
              <a:gd name="connsiteY60" fmla="*/ 628017 h 1317360"/>
              <a:gd name="connsiteX61" fmla="*/ 1953639 w 2348993"/>
              <a:gd name="connsiteY61" fmla="*/ 626802 h 1317360"/>
              <a:gd name="connsiteX62" fmla="*/ 1938484 w 2348993"/>
              <a:gd name="connsiteY62" fmla="*/ 620728 h 1317360"/>
              <a:gd name="connsiteX63" fmla="*/ 1905802 w 2348993"/>
              <a:gd name="connsiteY63" fmla="*/ 609160 h 1317360"/>
              <a:gd name="connsiteX64" fmla="*/ 1893076 w 2348993"/>
              <a:gd name="connsiteY64" fmla="*/ 593426 h 1317360"/>
              <a:gd name="connsiteX65" fmla="*/ 1879714 w 2348993"/>
              <a:gd name="connsiteY65" fmla="*/ 583708 h 1317360"/>
              <a:gd name="connsiteX66" fmla="*/ 1868145 w 2348993"/>
              <a:gd name="connsiteY66" fmla="*/ 572775 h 1317360"/>
              <a:gd name="connsiteX67" fmla="*/ 1848767 w 2348993"/>
              <a:gd name="connsiteY67" fmla="*/ 563116 h 1317360"/>
              <a:gd name="connsiteX68" fmla="*/ 1821523 w 2348993"/>
              <a:gd name="connsiteY68" fmla="*/ 572197 h 1317360"/>
              <a:gd name="connsiteX69" fmla="*/ 1796708 w 2348993"/>
              <a:gd name="connsiteY69" fmla="*/ 567974 h 1317360"/>
              <a:gd name="connsiteX70" fmla="*/ 1774900 w 2348993"/>
              <a:gd name="connsiteY70" fmla="*/ 560686 h 1317360"/>
              <a:gd name="connsiteX71" fmla="*/ 1738516 w 2348993"/>
              <a:gd name="connsiteY71" fmla="*/ 560686 h 1317360"/>
              <a:gd name="connsiteX72" fmla="*/ 1726947 w 2348993"/>
              <a:gd name="connsiteY72" fmla="*/ 580700 h 1317360"/>
              <a:gd name="connsiteX73" fmla="*/ 1744301 w 2348993"/>
              <a:gd name="connsiteY73" fmla="*/ 599442 h 1317360"/>
              <a:gd name="connsiteX74" fmla="*/ 1737648 w 2348993"/>
              <a:gd name="connsiteY74" fmla="*/ 612804 h 1317360"/>
              <a:gd name="connsiteX75" fmla="*/ 1729145 w 2348993"/>
              <a:gd name="connsiteY75" fmla="*/ 625529 h 1317360"/>
              <a:gd name="connsiteX76" fmla="*/ 1737648 w 2348993"/>
              <a:gd name="connsiteY76" fmla="*/ 640685 h 1317360"/>
              <a:gd name="connsiteX77" fmla="*/ 1748581 w 2348993"/>
              <a:gd name="connsiteY77" fmla="*/ 665500 h 1317360"/>
              <a:gd name="connsiteX78" fmla="*/ 1737648 w 2348993"/>
              <a:gd name="connsiteY78" fmla="*/ 678804 h 1317360"/>
              <a:gd name="connsiteX79" fmla="*/ 1729782 w 2348993"/>
              <a:gd name="connsiteY79" fmla="*/ 697604 h 1317360"/>
              <a:gd name="connsiteX80" fmla="*/ 1720642 w 2348993"/>
              <a:gd name="connsiteY80" fmla="*/ 723633 h 1317360"/>
              <a:gd name="connsiteX81" fmla="*/ 1761885 w 2348993"/>
              <a:gd name="connsiteY81" fmla="*/ 756373 h 1317360"/>
              <a:gd name="connsiteX82" fmla="*/ 1767670 w 2348993"/>
              <a:gd name="connsiteY82" fmla="*/ 816358 h 1317360"/>
              <a:gd name="connsiteX83" fmla="*/ 1728914 w 2348993"/>
              <a:gd name="connsiteY83" fmla="*/ 854477 h 1317360"/>
              <a:gd name="connsiteX84" fmla="*/ 1690737 w 2348993"/>
              <a:gd name="connsiteY84" fmla="*/ 868475 h 1317360"/>
              <a:gd name="connsiteX85" fmla="*/ 1698025 w 2348993"/>
              <a:gd name="connsiteY85" fmla="*/ 895084 h 1317360"/>
              <a:gd name="connsiteX86" fmla="*/ 1705314 w 2348993"/>
              <a:gd name="connsiteY86" fmla="*/ 922328 h 1317360"/>
              <a:gd name="connsiteX87" fmla="*/ 1713180 w 2348993"/>
              <a:gd name="connsiteY87" fmla="*/ 955011 h 1317360"/>
              <a:gd name="connsiteX88" fmla="*/ 1707396 w 2348993"/>
              <a:gd name="connsiteY88" fmla="*/ 978148 h 1317360"/>
              <a:gd name="connsiteX89" fmla="*/ 1711618 w 2348993"/>
              <a:gd name="connsiteY89" fmla="*/ 992147 h 1317360"/>
              <a:gd name="connsiteX90" fmla="*/ 1699529 w 2348993"/>
              <a:gd name="connsiteY90" fmla="*/ 990932 h 1317360"/>
              <a:gd name="connsiteX91" fmla="*/ 1684374 w 2348993"/>
              <a:gd name="connsiteY91" fmla="*/ 1007880 h 1317360"/>
              <a:gd name="connsiteX92" fmla="*/ 1661236 w 2348993"/>
              <a:gd name="connsiteY92" fmla="*/ 999377 h 1317360"/>
              <a:gd name="connsiteX93" fmla="*/ 1651576 w 2348993"/>
              <a:gd name="connsiteY93" fmla="*/ 980636 h 1317360"/>
              <a:gd name="connsiteX94" fmla="*/ 1632198 w 2348993"/>
              <a:gd name="connsiteY94" fmla="*/ 961836 h 1317360"/>
              <a:gd name="connsiteX95" fmla="*/ 1613399 w 2348993"/>
              <a:gd name="connsiteY95" fmla="*/ 937599 h 1317360"/>
              <a:gd name="connsiteX96" fmla="*/ 1611606 w 2348993"/>
              <a:gd name="connsiteY96" fmla="*/ 895836 h 1317360"/>
              <a:gd name="connsiteX97" fmla="*/ 1614614 w 2348993"/>
              <a:gd name="connsiteY97" fmla="*/ 874029 h 1317360"/>
              <a:gd name="connsiteX98" fmla="*/ 1599459 w 2348993"/>
              <a:gd name="connsiteY98" fmla="*/ 857022 h 1317360"/>
              <a:gd name="connsiteX99" fmla="*/ 1558273 w 2348993"/>
              <a:gd name="connsiteY99" fmla="*/ 854593 h 1317360"/>
              <a:gd name="connsiteX100" fmla="*/ 1529814 w 2348993"/>
              <a:gd name="connsiteY100" fmla="*/ 849155 h 1317360"/>
              <a:gd name="connsiteX101" fmla="*/ 1492215 w 2348993"/>
              <a:gd name="connsiteY101" fmla="*/ 830992 h 1317360"/>
              <a:gd name="connsiteX102" fmla="*/ 1463293 w 2348993"/>
              <a:gd name="connsiteY102" fmla="*/ 810978 h 1317360"/>
              <a:gd name="connsiteX103" fmla="*/ 1438420 w 2348993"/>
              <a:gd name="connsiteY103" fmla="*/ 795823 h 1317360"/>
              <a:gd name="connsiteX104" fmla="*/ 1408746 w 2348993"/>
              <a:gd name="connsiteY104" fmla="*/ 788592 h 1317360"/>
              <a:gd name="connsiteX105" fmla="*/ 1372420 w 2348993"/>
              <a:gd name="connsiteY105" fmla="*/ 774074 h 1317360"/>
              <a:gd name="connsiteX106" fmla="*/ 1331929 w 2348993"/>
              <a:gd name="connsiteY106" fmla="*/ 786163 h 1317360"/>
              <a:gd name="connsiteX107" fmla="*/ 1335573 w 2348993"/>
              <a:gd name="connsiteY107" fmla="*/ 772801 h 1317360"/>
              <a:gd name="connsiteX108" fmla="*/ 1323483 w 2348993"/>
              <a:gd name="connsiteY108" fmla="*/ 738095 h 1317360"/>
              <a:gd name="connsiteX109" fmla="*/ 1303469 w 2348993"/>
              <a:gd name="connsiteY109" fmla="*/ 714494 h 1317360"/>
              <a:gd name="connsiteX110" fmla="*/ 1273217 w 2348993"/>
              <a:gd name="connsiteY110" fmla="*/ 707206 h 1317360"/>
              <a:gd name="connsiteX111" fmla="*/ 1272002 w 2348993"/>
              <a:gd name="connsiteY111" fmla="*/ 655724 h 1317360"/>
              <a:gd name="connsiteX112" fmla="*/ 1290744 w 2348993"/>
              <a:gd name="connsiteY112" fmla="*/ 610316 h 1317360"/>
              <a:gd name="connsiteX113" fmla="*/ 1310121 w 2348993"/>
              <a:gd name="connsiteY113" fmla="*/ 594583 h 1317360"/>
              <a:gd name="connsiteX114" fmla="*/ 1321054 w 2348993"/>
              <a:gd name="connsiteY114" fmla="*/ 573354 h 1317360"/>
              <a:gd name="connsiteX115" fmla="*/ 1332623 w 2348993"/>
              <a:gd name="connsiteY115" fmla="*/ 561264 h 1317360"/>
              <a:gd name="connsiteX116" fmla="*/ 1339275 w 2348993"/>
              <a:gd name="connsiteY116" fmla="*/ 552761 h 1317360"/>
              <a:gd name="connsiteX117" fmla="*/ 1352001 w 2348993"/>
              <a:gd name="connsiteY117" fmla="*/ 544894 h 1317360"/>
              <a:gd name="connsiteX118" fmla="*/ 1383468 w 2348993"/>
              <a:gd name="connsiteY118" fmla="*/ 526095 h 1317360"/>
              <a:gd name="connsiteX119" fmla="*/ 1344134 w 2348993"/>
              <a:gd name="connsiteY119" fmla="*/ 510940 h 1317360"/>
              <a:gd name="connsiteX120" fmla="*/ 1301098 w 2348993"/>
              <a:gd name="connsiteY120" fmla="*/ 492198 h 1317360"/>
              <a:gd name="connsiteX121" fmla="*/ 1362875 w 2348993"/>
              <a:gd name="connsiteY121" fmla="*/ 503073 h 1317360"/>
              <a:gd name="connsiteX122" fmla="*/ 1395615 w 2348993"/>
              <a:gd name="connsiteY122" fmla="*/ 507932 h 1317360"/>
              <a:gd name="connsiteX123" fmla="*/ 1402267 w 2348993"/>
              <a:gd name="connsiteY123" fmla="*/ 484331 h 1317360"/>
              <a:gd name="connsiteX124" fmla="*/ 1442758 w 2348993"/>
              <a:gd name="connsiteY124" fmla="*/ 490984 h 1317360"/>
              <a:gd name="connsiteX125" fmla="*/ 1481514 w 2348993"/>
              <a:gd name="connsiteY125" fmla="*/ 451013 h 1317360"/>
              <a:gd name="connsiteX126" fmla="*/ 1460285 w 2348993"/>
              <a:gd name="connsiteY126" fmla="*/ 437651 h 1317360"/>
              <a:gd name="connsiteX127" fmla="*/ 1413084 w 2348993"/>
              <a:gd name="connsiteY127" fmla="*/ 421918 h 1317360"/>
              <a:gd name="connsiteX128" fmla="*/ 1414877 w 2348993"/>
              <a:gd name="connsiteY128" fmla="*/ 406762 h 1317360"/>
              <a:gd name="connsiteX129" fmla="*/ 1469367 w 2348993"/>
              <a:gd name="connsiteY129" fmla="*/ 433429 h 1317360"/>
              <a:gd name="connsiteX130" fmla="*/ 1510552 w 2348993"/>
              <a:gd name="connsiteY130" fmla="*/ 403697 h 1317360"/>
              <a:gd name="connsiteX131" fmla="*/ 1494876 w 2348993"/>
              <a:gd name="connsiteY131" fmla="*/ 387963 h 1317360"/>
              <a:gd name="connsiteX132" fmla="*/ 1516047 w 2348993"/>
              <a:gd name="connsiteY132" fmla="*/ 378939 h 1317360"/>
              <a:gd name="connsiteX133" fmla="*/ 1533400 w 2348993"/>
              <a:gd name="connsiteY133" fmla="*/ 391607 h 1317360"/>
              <a:gd name="connsiteX134" fmla="*/ 1562322 w 2348993"/>
              <a:gd name="connsiteY134" fmla="*/ 388599 h 1317360"/>
              <a:gd name="connsiteX135" fmla="*/ 1547225 w 2348993"/>
              <a:gd name="connsiteY135" fmla="*/ 369221 h 1317360"/>
              <a:gd name="connsiteX136" fmla="*/ 1552026 w 2348993"/>
              <a:gd name="connsiteY136" fmla="*/ 361933 h 1317360"/>
              <a:gd name="connsiteX137" fmla="*/ 1570825 w 2348993"/>
              <a:gd name="connsiteY137" fmla="*/ 378303 h 1317360"/>
              <a:gd name="connsiteX138" fmla="*/ 1594426 w 2348993"/>
              <a:gd name="connsiteY138" fmla="*/ 378939 h 1317360"/>
              <a:gd name="connsiteX139" fmla="*/ 1619299 w 2348993"/>
              <a:gd name="connsiteY139" fmla="*/ 360140 h 1317360"/>
              <a:gd name="connsiteX140" fmla="*/ 1635033 w 2348993"/>
              <a:gd name="connsiteY140" fmla="*/ 349843 h 1317360"/>
              <a:gd name="connsiteX141" fmla="*/ 1621729 w 2348993"/>
              <a:gd name="connsiteY141" fmla="*/ 320112 h 1317360"/>
              <a:gd name="connsiteX142" fmla="*/ 1612589 w 2348993"/>
              <a:gd name="connsiteY142" fmla="*/ 300734 h 1317360"/>
              <a:gd name="connsiteX143" fmla="*/ 1613225 w 2348993"/>
              <a:gd name="connsiteY143" fmla="*/ 289165 h 1317360"/>
              <a:gd name="connsiteX144" fmla="*/ 1640470 w 2348993"/>
              <a:gd name="connsiteY144" fmla="*/ 279505 h 1317360"/>
              <a:gd name="connsiteX145" fmla="*/ 1633240 w 2348993"/>
              <a:gd name="connsiteY145" fmla="*/ 263135 h 1317360"/>
              <a:gd name="connsiteX146" fmla="*/ 1624158 w 2348993"/>
              <a:gd name="connsiteY146" fmla="*/ 251046 h 1317360"/>
              <a:gd name="connsiteX147" fmla="*/ 1603507 w 2348993"/>
              <a:gd name="connsiteY147" fmla="*/ 236469 h 1317360"/>
              <a:gd name="connsiteX148" fmla="*/ 1572619 w 2348993"/>
              <a:gd name="connsiteY148" fmla="*/ 227966 h 1317360"/>
              <a:gd name="connsiteX149" fmla="*/ 1529640 w 2348993"/>
              <a:gd name="connsiteY149" fmla="*/ 224379 h 1317360"/>
              <a:gd name="connsiteX150" fmla="*/ 1532070 w 2348993"/>
              <a:gd name="connsiteY150" fmla="*/ 250409 h 1317360"/>
              <a:gd name="connsiteX151" fmla="*/ 1540515 w 2348993"/>
              <a:gd name="connsiteY151" fmla="*/ 263771 h 1317360"/>
              <a:gd name="connsiteX152" fmla="*/ 1535714 w 2348993"/>
              <a:gd name="connsiteY152" fmla="*/ 275861 h 1317360"/>
              <a:gd name="connsiteX153" fmla="*/ 1518361 w 2348993"/>
              <a:gd name="connsiteY153" fmla="*/ 287950 h 1317360"/>
              <a:gd name="connsiteX154" fmla="*/ 1504999 w 2348993"/>
              <a:gd name="connsiteY154" fmla="*/ 315253 h 1317360"/>
              <a:gd name="connsiteX155" fmla="*/ 1492909 w 2348993"/>
              <a:gd name="connsiteY155" fmla="*/ 298246 h 1317360"/>
              <a:gd name="connsiteX156" fmla="*/ 1489265 w 2348993"/>
              <a:gd name="connsiteY156" fmla="*/ 319475 h 1317360"/>
              <a:gd name="connsiteX157" fmla="*/ 1499561 w 2348993"/>
              <a:gd name="connsiteY157" fmla="*/ 336481 h 1317360"/>
              <a:gd name="connsiteX158" fmla="*/ 1480184 w 2348993"/>
              <a:gd name="connsiteY158" fmla="*/ 349786 h 1317360"/>
              <a:gd name="connsiteX159" fmla="*/ 1465028 w 2348993"/>
              <a:gd name="connsiteY159" fmla="*/ 337696 h 1317360"/>
              <a:gd name="connsiteX160" fmla="*/ 1446865 w 2348993"/>
              <a:gd name="connsiteY160" fmla="*/ 309179 h 1317360"/>
              <a:gd name="connsiteX161" fmla="*/ 1458434 w 2348993"/>
              <a:gd name="connsiteY161" fmla="*/ 297032 h 1317360"/>
              <a:gd name="connsiteX162" fmla="*/ 1457856 w 2348993"/>
              <a:gd name="connsiteY162" fmla="*/ 278869 h 1317360"/>
              <a:gd name="connsiteX163" fmla="*/ 1439635 w 2348993"/>
              <a:gd name="connsiteY163" fmla="*/ 260127 h 1317360"/>
              <a:gd name="connsiteX164" fmla="*/ 1414183 w 2348993"/>
              <a:gd name="connsiteY164" fmla="*/ 254053 h 1317360"/>
              <a:gd name="connsiteX165" fmla="*/ 1403945 w 2348993"/>
              <a:gd name="connsiteY165" fmla="*/ 273489 h 1317360"/>
              <a:gd name="connsiteX166" fmla="*/ 1391798 w 2348993"/>
              <a:gd name="connsiteY166" fmla="*/ 295238 h 1317360"/>
              <a:gd name="connsiteX167" fmla="*/ 1382716 w 2348993"/>
              <a:gd name="connsiteY167" fmla="*/ 262556 h 1317360"/>
              <a:gd name="connsiteX168" fmla="*/ 1386360 w 2348993"/>
              <a:gd name="connsiteY168" fmla="*/ 250988 h 1317360"/>
              <a:gd name="connsiteX169" fmla="*/ 1393012 w 2348993"/>
              <a:gd name="connsiteY169" fmla="*/ 240055 h 1317360"/>
              <a:gd name="connsiteX170" fmla="*/ 1365768 w 2348993"/>
              <a:gd name="connsiteY170" fmla="*/ 229180 h 1317360"/>
              <a:gd name="connsiteX171" fmla="*/ 1345175 w 2348993"/>
              <a:gd name="connsiteY171" fmla="*/ 234618 h 1317360"/>
              <a:gd name="connsiteX172" fmla="*/ 1346390 w 2348993"/>
              <a:gd name="connsiteY172" fmla="*/ 210959 h 1317360"/>
              <a:gd name="connsiteX173" fmla="*/ 1362123 w 2348993"/>
              <a:gd name="connsiteY173" fmla="*/ 205522 h 1317360"/>
              <a:gd name="connsiteX174" fmla="*/ 1345175 w 2348993"/>
              <a:gd name="connsiteY174" fmla="*/ 188169 h 1317360"/>
              <a:gd name="connsiteX175" fmla="*/ 1320938 w 2348993"/>
              <a:gd name="connsiteY175" fmla="*/ 173650 h 1317360"/>
              <a:gd name="connsiteX176" fmla="*/ 1322153 w 2348993"/>
              <a:gd name="connsiteY176" fmla="*/ 149413 h 1317360"/>
              <a:gd name="connsiteX177" fmla="*/ 1286984 w 2348993"/>
              <a:gd name="connsiteY177" fmla="*/ 125176 h 1317360"/>
              <a:gd name="connsiteX178" fmla="*/ 1280332 w 2348993"/>
              <a:gd name="connsiteY178" fmla="*/ 113087 h 1317360"/>
              <a:gd name="connsiteX179" fmla="*/ 1300346 w 2348993"/>
              <a:gd name="connsiteY179" fmla="*/ 98568 h 1317360"/>
              <a:gd name="connsiteX180" fmla="*/ 1304568 w 2348993"/>
              <a:gd name="connsiteY180" fmla="*/ 81215 h 1317360"/>
              <a:gd name="connsiteX181" fmla="*/ 1306361 w 2348993"/>
              <a:gd name="connsiteY181" fmla="*/ 72133 h 1317360"/>
              <a:gd name="connsiteX182" fmla="*/ 1348761 w 2348993"/>
              <a:gd name="connsiteY182" fmla="*/ 75777 h 1317360"/>
              <a:gd name="connsiteX183" fmla="*/ 1388153 w 2348993"/>
              <a:gd name="connsiteY183" fmla="*/ 21866 h 1317360"/>
              <a:gd name="connsiteX184" fmla="*/ 1359694 w 2348993"/>
              <a:gd name="connsiteY184" fmla="*/ 9719 h 1317360"/>
              <a:gd name="connsiteX185" fmla="*/ 1314865 w 2348993"/>
              <a:gd name="connsiteY185" fmla="*/ 59 h 1317360"/>
              <a:gd name="connsiteX186" fmla="*/ 1257946 w 2348993"/>
              <a:gd name="connsiteY186" fmla="*/ 9141 h 1317360"/>
              <a:gd name="connsiteX187" fmla="*/ 1265176 w 2348993"/>
              <a:gd name="connsiteY187" fmla="*/ 25511 h 1317360"/>
              <a:gd name="connsiteX188" fmla="*/ 1247823 w 2348993"/>
              <a:gd name="connsiteY188" fmla="*/ 23660 h 1317360"/>
              <a:gd name="connsiteX189" fmla="*/ 1247823 w 2348993"/>
              <a:gd name="connsiteY189" fmla="*/ 55185 h 1317360"/>
              <a:gd name="connsiteX190" fmla="*/ 1258177 w 2348993"/>
              <a:gd name="connsiteY190" fmla="*/ 85437 h 1317360"/>
              <a:gd name="connsiteX191" fmla="*/ 1263036 w 2348993"/>
              <a:gd name="connsiteY191" fmla="*/ 116962 h 1317360"/>
              <a:gd name="connsiteX192" fmla="*/ 1246030 w 2348993"/>
              <a:gd name="connsiteY192" fmla="*/ 132696 h 1317360"/>
              <a:gd name="connsiteX193" fmla="*/ 1254533 w 2348993"/>
              <a:gd name="connsiteY193" fmla="*/ 149066 h 1317360"/>
              <a:gd name="connsiteX194" fmla="*/ 1232089 w 2348993"/>
              <a:gd name="connsiteY194" fmla="*/ 146637 h 1317360"/>
              <a:gd name="connsiteX195" fmla="*/ 1226652 w 2348993"/>
              <a:gd name="connsiteY195" fmla="*/ 176311 h 1317360"/>
              <a:gd name="connsiteX196" fmla="*/ 1231511 w 2348993"/>
              <a:gd name="connsiteY196" fmla="*/ 189673 h 1317360"/>
              <a:gd name="connsiteX197" fmla="*/ 1233304 w 2348993"/>
              <a:gd name="connsiteY197" fmla="*/ 220504 h 1317360"/>
              <a:gd name="connsiteX198" fmla="*/ 1288430 w 2348993"/>
              <a:gd name="connsiteY198" fmla="*/ 239939 h 1317360"/>
              <a:gd name="connsiteX199" fmla="*/ 1287851 w 2348993"/>
              <a:gd name="connsiteY199" fmla="*/ 253822 h 1317360"/>
              <a:gd name="connsiteX200" fmla="*/ 1279348 w 2348993"/>
              <a:gd name="connsiteY200" fmla="*/ 275687 h 1317360"/>
              <a:gd name="connsiteX201" fmla="*/ 1292710 w 2348993"/>
              <a:gd name="connsiteY201" fmla="*/ 265969 h 1317360"/>
              <a:gd name="connsiteX202" fmla="*/ 1304800 w 2348993"/>
              <a:gd name="connsiteY202" fmla="*/ 281125 h 1317360"/>
              <a:gd name="connsiteX203" fmla="*/ 1286000 w 2348993"/>
              <a:gd name="connsiteY203" fmla="*/ 297437 h 1317360"/>
              <a:gd name="connsiteX204" fmla="*/ 1259392 w 2348993"/>
              <a:gd name="connsiteY204" fmla="*/ 308369 h 1317360"/>
              <a:gd name="connsiteX205" fmla="*/ 1259392 w 2348993"/>
              <a:gd name="connsiteY205" fmla="*/ 335035 h 1317360"/>
              <a:gd name="connsiteX206" fmla="*/ 1244815 w 2348993"/>
              <a:gd name="connsiteY206" fmla="*/ 345332 h 1317360"/>
              <a:gd name="connsiteX207" fmla="*/ 1230296 w 2348993"/>
              <a:gd name="connsiteY207" fmla="*/ 322888 h 1317360"/>
              <a:gd name="connsiteX208" fmla="*/ 1233940 w 2348993"/>
              <a:gd name="connsiteY208" fmla="*/ 301717 h 1317360"/>
              <a:gd name="connsiteX209" fmla="*/ 1202415 w 2348993"/>
              <a:gd name="connsiteY209" fmla="*/ 292636 h 1317360"/>
              <a:gd name="connsiteX210" fmla="*/ 1222429 w 2348993"/>
              <a:gd name="connsiteY210" fmla="*/ 289570 h 1317360"/>
              <a:gd name="connsiteX211" fmla="*/ 1236948 w 2348993"/>
              <a:gd name="connsiteY211" fmla="*/ 278695 h 1317360"/>
              <a:gd name="connsiteX212" fmla="*/ 1268473 w 2348993"/>
              <a:gd name="connsiteY212" fmla="*/ 276266 h 1317360"/>
              <a:gd name="connsiteX213" fmla="*/ 1253318 w 2348993"/>
              <a:gd name="connsiteY213" fmla="*/ 252665 h 1317360"/>
              <a:gd name="connsiteX214" fmla="*/ 1231511 w 2348993"/>
              <a:gd name="connsiteY214" fmla="*/ 250814 h 1317360"/>
              <a:gd name="connsiteX215" fmla="*/ 1253897 w 2348993"/>
              <a:gd name="connsiteY215" fmla="*/ 246592 h 1317360"/>
              <a:gd name="connsiteX216" fmla="*/ 1237585 w 2348993"/>
              <a:gd name="connsiteY216" fmla="*/ 236874 h 1317360"/>
              <a:gd name="connsiteX217" fmla="*/ 1207274 w 2348993"/>
              <a:gd name="connsiteY217" fmla="*/ 230222 h 1317360"/>
              <a:gd name="connsiteX218" fmla="*/ 1175749 w 2348993"/>
              <a:gd name="connsiteY218" fmla="*/ 237510 h 1317360"/>
              <a:gd name="connsiteX219" fmla="*/ 1147926 w 2348993"/>
              <a:gd name="connsiteY219" fmla="*/ 256251 h 1317360"/>
              <a:gd name="connsiteX220" fmla="*/ 1172163 w 2348993"/>
              <a:gd name="connsiteY220" fmla="*/ 270192 h 1317360"/>
              <a:gd name="connsiteX221" fmla="*/ 1192755 w 2348993"/>
              <a:gd name="connsiteY221" fmla="*/ 285984 h 1317360"/>
              <a:gd name="connsiteX222" fmla="*/ 1180030 w 2348993"/>
              <a:gd name="connsiteY222" fmla="*/ 293214 h 1317360"/>
              <a:gd name="connsiteX223" fmla="*/ 1169097 w 2348993"/>
              <a:gd name="connsiteY223" fmla="*/ 300502 h 1317360"/>
              <a:gd name="connsiteX224" fmla="*/ 1167304 w 2348993"/>
              <a:gd name="connsiteY224" fmla="*/ 317856 h 1317360"/>
              <a:gd name="connsiteX225" fmla="*/ 1141852 w 2348993"/>
              <a:gd name="connsiteY225" fmla="*/ 317219 h 1317360"/>
              <a:gd name="connsiteX226" fmla="*/ 1088520 w 2348993"/>
              <a:gd name="connsiteY226" fmla="*/ 323871 h 1317360"/>
              <a:gd name="connsiteX227" fmla="*/ 1045542 w 2348993"/>
              <a:gd name="connsiteY227" fmla="*/ 313575 h 1317360"/>
              <a:gd name="connsiteX228" fmla="*/ 1016619 w 2348993"/>
              <a:gd name="connsiteY228" fmla="*/ 306923 h 1317360"/>
              <a:gd name="connsiteX229" fmla="*/ 992383 w 2348993"/>
              <a:gd name="connsiteY229" fmla="*/ 294834 h 1317360"/>
              <a:gd name="connsiteX230" fmla="*/ 978442 w 2348993"/>
              <a:gd name="connsiteY230" fmla="*/ 272969 h 1317360"/>
              <a:gd name="connsiteX231" fmla="*/ 933671 w 2348993"/>
              <a:gd name="connsiteY231" fmla="*/ 274819 h 1317360"/>
              <a:gd name="connsiteX232" fmla="*/ 893643 w 2348993"/>
              <a:gd name="connsiteY232" fmla="*/ 292173 h 1317360"/>
              <a:gd name="connsiteX233" fmla="*/ 905790 w 2348993"/>
              <a:gd name="connsiteY233" fmla="*/ 303742 h 1317360"/>
              <a:gd name="connsiteX234" fmla="*/ 931183 w 2348993"/>
              <a:gd name="connsiteY234" fmla="*/ 295238 h 1317360"/>
              <a:gd name="connsiteX235" fmla="*/ 967568 w 2348993"/>
              <a:gd name="connsiteY235" fmla="*/ 284942 h 1317360"/>
              <a:gd name="connsiteX236" fmla="*/ 922738 w 2348993"/>
              <a:gd name="connsiteY236" fmla="*/ 308543 h 1317360"/>
              <a:gd name="connsiteX237" fmla="*/ 925804 w 2348993"/>
              <a:gd name="connsiteY237" fmla="*/ 346142 h 1317360"/>
              <a:gd name="connsiteX238" fmla="*/ 919094 w 2348993"/>
              <a:gd name="connsiteY238" fmla="*/ 366734 h 1317360"/>
              <a:gd name="connsiteX239" fmla="*/ 902146 w 2348993"/>
              <a:gd name="connsiteY239" fmla="*/ 359446 h 1317360"/>
              <a:gd name="connsiteX240" fmla="*/ 899080 w 2348993"/>
              <a:gd name="connsiteY240" fmla="*/ 337060 h 1317360"/>
              <a:gd name="connsiteX241" fmla="*/ 885197 w 2348993"/>
              <a:gd name="connsiteY241" fmla="*/ 329193 h 1317360"/>
              <a:gd name="connsiteX242" fmla="*/ 866976 w 2348993"/>
              <a:gd name="connsiteY242" fmla="*/ 323119 h 1317360"/>
              <a:gd name="connsiteX243" fmla="*/ 842797 w 2348993"/>
              <a:gd name="connsiteY243" fmla="*/ 317046 h 1317360"/>
              <a:gd name="connsiteX244" fmla="*/ 792473 w 2348993"/>
              <a:gd name="connsiteY244" fmla="*/ 325549 h 1317360"/>
              <a:gd name="connsiteX245" fmla="*/ 711954 w 2348993"/>
              <a:gd name="connsiteY245" fmla="*/ 320054 h 1317360"/>
              <a:gd name="connsiteX246" fmla="*/ 742842 w 2348993"/>
              <a:gd name="connsiteY246" fmla="*/ 298883 h 1317360"/>
              <a:gd name="connsiteX247" fmla="*/ 732546 w 2348993"/>
              <a:gd name="connsiteY247" fmla="*/ 278290 h 1317360"/>
              <a:gd name="connsiteX248" fmla="*/ 688295 w 2348993"/>
              <a:gd name="connsiteY248" fmla="*/ 267358 h 1317360"/>
              <a:gd name="connsiteX249" fmla="*/ 648325 w 2348993"/>
              <a:gd name="connsiteY249" fmla="*/ 263771 h 1317360"/>
              <a:gd name="connsiteX250" fmla="*/ 608355 w 2348993"/>
              <a:gd name="connsiteY250" fmla="*/ 251046 h 1317360"/>
              <a:gd name="connsiteX251" fmla="*/ 555022 w 2348993"/>
              <a:gd name="connsiteY251" fmla="*/ 232882 h 1317360"/>
              <a:gd name="connsiteX252" fmla="*/ 493244 w 2348993"/>
              <a:gd name="connsiteY252" fmla="*/ 235254 h 1317360"/>
              <a:gd name="connsiteX253" fmla="*/ 461719 w 2348993"/>
              <a:gd name="connsiteY253" fmla="*/ 246823 h 1317360"/>
              <a:gd name="connsiteX254" fmla="*/ 462934 w 2348993"/>
              <a:gd name="connsiteY254" fmla="*/ 229470 h 1317360"/>
              <a:gd name="connsiteX255" fmla="*/ 453852 w 2348993"/>
              <a:gd name="connsiteY255" fmla="*/ 208241 h 1317360"/>
              <a:gd name="connsiteX256" fmla="*/ 416948 w 2348993"/>
              <a:gd name="connsiteY256" fmla="*/ 246996 h 1317360"/>
              <a:gd name="connsiteX257" fmla="*/ 375705 w 2348993"/>
              <a:gd name="connsiteY257" fmla="*/ 192507 h 1317360"/>
              <a:gd name="connsiteX258" fmla="*/ 359393 w 2348993"/>
              <a:gd name="connsiteY258" fmla="*/ 197366 h 1317360"/>
              <a:gd name="connsiteX259" fmla="*/ 349675 w 2348993"/>
              <a:gd name="connsiteY259" fmla="*/ 213100 h 1317360"/>
              <a:gd name="connsiteX260" fmla="*/ 329719 w 2348993"/>
              <a:gd name="connsiteY260" fmla="*/ 230453 h 1317360"/>
              <a:gd name="connsiteX261" fmla="*/ 303052 w 2348993"/>
              <a:gd name="connsiteY261" fmla="*/ 234676 h 1317360"/>
              <a:gd name="connsiteX262" fmla="*/ 276965 w 2348993"/>
              <a:gd name="connsiteY262" fmla="*/ 243121 h 1317360"/>
              <a:gd name="connsiteX263" fmla="*/ 234565 w 2348993"/>
              <a:gd name="connsiteY263" fmla="*/ 266259 h 1317360"/>
              <a:gd name="connsiteX264" fmla="*/ 216402 w 2348993"/>
              <a:gd name="connsiteY264" fmla="*/ 278406 h 1317360"/>
              <a:gd name="connsiteX265" fmla="*/ 223054 w 2348993"/>
              <a:gd name="connsiteY265" fmla="*/ 263251 h 1317360"/>
              <a:gd name="connsiteX266" fmla="*/ 275750 w 2348993"/>
              <a:gd name="connsiteY266" fmla="*/ 232998 h 1317360"/>
              <a:gd name="connsiteX267" fmla="*/ 318786 w 2348993"/>
              <a:gd name="connsiteY267" fmla="*/ 212348 h 1317360"/>
              <a:gd name="connsiteX268" fmla="*/ 295128 w 2348993"/>
              <a:gd name="connsiteY268" fmla="*/ 209340 h 1317360"/>
              <a:gd name="connsiteX269" fmla="*/ 252149 w 2348993"/>
              <a:gd name="connsiteY269" fmla="*/ 225710 h 1317360"/>
              <a:gd name="connsiteX270" fmla="*/ 221839 w 2348993"/>
              <a:gd name="connsiteY270" fmla="*/ 240229 h 1317360"/>
              <a:gd name="connsiteX271" fmla="*/ 202461 w 2348993"/>
              <a:gd name="connsiteY271" fmla="*/ 245666 h 1317360"/>
              <a:gd name="connsiteX272" fmla="*/ 196388 w 2348993"/>
              <a:gd name="connsiteY272" fmla="*/ 241443 h 1317360"/>
              <a:gd name="connsiteX273" fmla="*/ 181869 w 2348993"/>
              <a:gd name="connsiteY273" fmla="*/ 235370 h 1317360"/>
              <a:gd name="connsiteX274" fmla="*/ 163706 w 2348993"/>
              <a:gd name="connsiteY274" fmla="*/ 245088 h 1317360"/>
              <a:gd name="connsiteX275" fmla="*/ 144328 w 2348993"/>
              <a:gd name="connsiteY275" fmla="*/ 262441 h 1317360"/>
              <a:gd name="connsiteX276" fmla="*/ 155202 w 2348993"/>
              <a:gd name="connsiteY276" fmla="*/ 278175 h 1317360"/>
              <a:gd name="connsiteX277" fmla="*/ 114017 w 2348993"/>
              <a:gd name="connsiteY277" fmla="*/ 267242 h 1317360"/>
              <a:gd name="connsiteX278" fmla="*/ 50389 w 2348993"/>
              <a:gd name="connsiteY278" fmla="*/ 237568 h 1317360"/>
              <a:gd name="connsiteX279" fmla="*/ -110 w 2348993"/>
              <a:gd name="connsiteY279" fmla="*/ 233519 h 1317360"/>
              <a:gd name="connsiteX280" fmla="*/ -110 w 2348993"/>
              <a:gd name="connsiteY280" fmla="*/ 652196 h 1317360"/>
              <a:gd name="connsiteX281" fmla="*/ 14409 w 2348993"/>
              <a:gd name="connsiteY281" fmla="*/ 655146 h 1317360"/>
              <a:gd name="connsiteX282" fmla="*/ 39456 w 2348993"/>
              <a:gd name="connsiteY282" fmla="*/ 650345 h 1317360"/>
              <a:gd name="connsiteX283" fmla="*/ 58024 w 2348993"/>
              <a:gd name="connsiteY283" fmla="*/ 664054 h 1317360"/>
              <a:gd name="connsiteX284" fmla="*/ 85500 w 2348993"/>
              <a:gd name="connsiteY284" fmla="*/ 691530 h 1317360"/>
              <a:gd name="connsiteX285" fmla="*/ 106497 w 2348993"/>
              <a:gd name="connsiteY285" fmla="*/ 705239 h 1317360"/>
              <a:gd name="connsiteX286" fmla="*/ 131486 w 2348993"/>
              <a:gd name="connsiteY286" fmla="*/ 686497 h 1317360"/>
              <a:gd name="connsiteX287" fmla="*/ 168622 w 2348993"/>
              <a:gd name="connsiteY287" fmla="*/ 688117 h 1317360"/>
              <a:gd name="connsiteX288" fmla="*/ 227623 w 2348993"/>
              <a:gd name="connsiteY288" fmla="*/ 755101 h 1317360"/>
              <a:gd name="connsiteX289" fmla="*/ 276039 w 2348993"/>
              <a:gd name="connsiteY289" fmla="*/ 812482 h 1317360"/>
              <a:gd name="connsiteX290" fmla="*/ 301895 w 2348993"/>
              <a:gd name="connsiteY290" fmla="*/ 841404 h 1317360"/>
              <a:gd name="connsiteX291" fmla="*/ 307680 w 2348993"/>
              <a:gd name="connsiteY291" fmla="*/ 866451 h 1317360"/>
              <a:gd name="connsiteX292" fmla="*/ 289054 w 2348993"/>
              <a:gd name="connsiteY292" fmla="*/ 879640 h 1317360"/>
              <a:gd name="connsiteX293" fmla="*/ 300623 w 2348993"/>
              <a:gd name="connsiteY293" fmla="*/ 893464 h 1317360"/>
              <a:gd name="connsiteX294" fmla="*/ 293335 w 2348993"/>
              <a:gd name="connsiteY294" fmla="*/ 905033 h 1317360"/>
              <a:gd name="connsiteX295" fmla="*/ 298193 w 2348993"/>
              <a:gd name="connsiteY295" fmla="*/ 925626 h 1317360"/>
              <a:gd name="connsiteX296" fmla="*/ 321794 w 2348993"/>
              <a:gd name="connsiteY296" fmla="*/ 924469 h 1317360"/>
              <a:gd name="connsiteX297" fmla="*/ 327868 w 2348993"/>
              <a:gd name="connsiteY297" fmla="*/ 940202 h 1317360"/>
              <a:gd name="connsiteX298" fmla="*/ 329111 w 2348993"/>
              <a:gd name="connsiteY298" fmla="*/ 950528 h 1317360"/>
              <a:gd name="connsiteX299" fmla="*/ 339436 w 2348993"/>
              <a:gd name="connsiteY299" fmla="*/ 949284 h 1317360"/>
              <a:gd name="connsiteX300" fmla="*/ 361880 w 2348993"/>
              <a:gd name="connsiteY300" fmla="*/ 963224 h 1317360"/>
              <a:gd name="connsiteX301" fmla="*/ 363673 w 2348993"/>
              <a:gd name="connsiteY301" fmla="*/ 975372 h 1317360"/>
              <a:gd name="connsiteX302" fmla="*/ 362458 w 2348993"/>
              <a:gd name="connsiteY302" fmla="*/ 991684 h 1317360"/>
              <a:gd name="connsiteX303" fmla="*/ 368243 w 2348993"/>
              <a:gd name="connsiteY303" fmla="*/ 1006261 h 1317360"/>
              <a:gd name="connsiteX304" fmla="*/ 397165 w 2348993"/>
              <a:gd name="connsiteY304" fmla="*/ 1017135 h 1317360"/>
              <a:gd name="connsiteX305" fmla="*/ 415964 w 2348993"/>
              <a:gd name="connsiteY305" fmla="*/ 1028704 h 1317360"/>
              <a:gd name="connsiteX306" fmla="*/ 439623 w 2348993"/>
              <a:gd name="connsiteY306" fmla="*/ 1035993 h 1317360"/>
              <a:gd name="connsiteX307" fmla="*/ 449919 w 2348993"/>
              <a:gd name="connsiteY307" fmla="*/ 1052305 h 1317360"/>
              <a:gd name="connsiteX308" fmla="*/ 470511 w 2348993"/>
              <a:gd name="connsiteY308" fmla="*/ 1055370 h 1317360"/>
              <a:gd name="connsiteX309" fmla="*/ 486824 w 2348993"/>
              <a:gd name="connsiteY309" fmla="*/ 1063237 h 1317360"/>
              <a:gd name="connsiteX310" fmla="*/ 507821 w 2348993"/>
              <a:gd name="connsiteY310" fmla="*/ 1088804 h 1317360"/>
              <a:gd name="connsiteX311" fmla="*/ 1260722 w 2348993"/>
              <a:gd name="connsiteY311" fmla="*/ 1084755 h 1317360"/>
              <a:gd name="connsiteX312" fmla="*/ 1270093 w 2348993"/>
              <a:gd name="connsiteY312" fmla="*/ 1072492 h 1317360"/>
              <a:gd name="connsiteX313" fmla="*/ 1281662 w 2348993"/>
              <a:gd name="connsiteY313" fmla="*/ 1093548 h 1317360"/>
              <a:gd name="connsiteX314" fmla="*/ 1304800 w 2348993"/>
              <a:gd name="connsiteY314" fmla="*/ 1101588 h 1317360"/>
              <a:gd name="connsiteX315" fmla="*/ 1329788 w 2348993"/>
              <a:gd name="connsiteY315" fmla="*/ 1102398 h 1317360"/>
              <a:gd name="connsiteX316" fmla="*/ 1352406 w 2348993"/>
              <a:gd name="connsiteY316" fmla="*/ 1111306 h 1317360"/>
              <a:gd name="connsiteX317" fmla="*/ 1375832 w 2348993"/>
              <a:gd name="connsiteY317" fmla="*/ 1115355 h 1317360"/>
              <a:gd name="connsiteX318" fmla="*/ 1414935 w 2348993"/>
              <a:gd name="connsiteY318" fmla="*/ 1120792 h 1317360"/>
              <a:gd name="connsiteX319" fmla="*/ 1450567 w 2348993"/>
              <a:gd name="connsiteY319" fmla="*/ 1087474 h 1317360"/>
              <a:gd name="connsiteX320" fmla="*/ 1508412 w 2348993"/>
              <a:gd name="connsiteY320" fmla="*/ 1111711 h 1317360"/>
              <a:gd name="connsiteX321" fmla="*/ 1537334 w 2348993"/>
              <a:gd name="connsiteY321" fmla="*/ 1132303 h 1317360"/>
              <a:gd name="connsiteX322" fmla="*/ 1552720 w 2348993"/>
              <a:gd name="connsiteY322" fmla="*/ 1170423 h 1317360"/>
              <a:gd name="connsiteX323" fmla="*/ 1568281 w 2348993"/>
              <a:gd name="connsiteY323" fmla="*/ 1181240 h 1317360"/>
              <a:gd name="connsiteX324" fmla="*/ 1610044 w 2348993"/>
              <a:gd name="connsiteY324" fmla="*/ 1187024 h 1317360"/>
              <a:gd name="connsiteX325" fmla="*/ 1660889 w 2348993"/>
              <a:gd name="connsiteY325" fmla="*/ 1200386 h 1317360"/>
              <a:gd name="connsiteX326" fmla="*/ 1670607 w 2348993"/>
              <a:gd name="connsiteY326" fmla="*/ 1237927 h 1317360"/>
              <a:gd name="connsiteX327" fmla="*/ 1635438 w 2348993"/>
              <a:gd name="connsiteY327" fmla="*/ 1229424 h 1317360"/>
              <a:gd name="connsiteX328" fmla="*/ 1626992 w 2348993"/>
              <a:gd name="connsiteY328" fmla="*/ 1253661 h 1317360"/>
              <a:gd name="connsiteX329" fmla="*/ 1607615 w 2348993"/>
              <a:gd name="connsiteY329" fmla="*/ 1296061 h 1317360"/>
              <a:gd name="connsiteX330" fmla="*/ 1606920 w 2348993"/>
              <a:gd name="connsiteY330" fmla="*/ 1295771 h 1317360"/>
              <a:gd name="connsiteX331" fmla="*/ 1611317 w 2348993"/>
              <a:gd name="connsiteY331" fmla="*/ 1317232 h 1317360"/>
              <a:gd name="connsiteX332" fmla="*/ 1645155 w 2348993"/>
              <a:gd name="connsiteY332" fmla="*/ 1299878 h 1317360"/>
              <a:gd name="connsiteX333" fmla="*/ 1680267 w 2348993"/>
              <a:gd name="connsiteY333" fmla="*/ 1303523 h 1317360"/>
              <a:gd name="connsiteX334" fmla="*/ 1697273 w 2348993"/>
              <a:gd name="connsiteY334" fmla="*/ 1297738 h 1317360"/>
              <a:gd name="connsiteX335" fmla="*/ 1696810 w 2348993"/>
              <a:gd name="connsiteY335" fmla="*/ 1300514 h 1317360"/>
              <a:gd name="connsiteX336" fmla="*/ 1704909 w 2348993"/>
              <a:gd name="connsiteY336" fmla="*/ 1293689 h 1317360"/>
              <a:gd name="connsiteX337" fmla="*/ 1703405 w 2348993"/>
              <a:gd name="connsiteY337" fmla="*/ 1282872 h 1317360"/>
              <a:gd name="connsiteX338" fmla="*/ 1683911 w 2348993"/>
              <a:gd name="connsiteY338" fmla="*/ 1277088 h 1317360"/>
              <a:gd name="connsiteX339" fmla="*/ 1739673 w 2348993"/>
              <a:gd name="connsiteY339" fmla="*/ 1255280 h 1317360"/>
              <a:gd name="connsiteX340" fmla="*/ 1777387 w 2348993"/>
              <a:gd name="connsiteY340" fmla="*/ 1252619 h 1317360"/>
              <a:gd name="connsiteX341" fmla="*/ 1813945 w 2348993"/>
              <a:gd name="connsiteY341" fmla="*/ 1225028 h 1317360"/>
              <a:gd name="connsiteX342" fmla="*/ 1907653 w 2348993"/>
              <a:gd name="connsiteY342" fmla="*/ 1224160 h 1317360"/>
              <a:gd name="connsiteX343" fmla="*/ 1941607 w 2348993"/>
              <a:gd name="connsiteY343" fmla="*/ 1188644 h 1317360"/>
              <a:gd name="connsiteX344" fmla="*/ 1976314 w 2348993"/>
              <a:gd name="connsiteY344" fmla="*/ 1140228 h 1317360"/>
              <a:gd name="connsiteX345" fmla="*/ 2012640 w 2348993"/>
              <a:gd name="connsiteY345" fmla="*/ 1150698 h 1317360"/>
              <a:gd name="connsiteX346" fmla="*/ 2035778 w 2348993"/>
              <a:gd name="connsiteY346" fmla="*/ 1226647 h 1317360"/>
              <a:gd name="connsiteX347" fmla="*/ 2064700 w 2348993"/>
              <a:gd name="connsiteY347" fmla="*/ 1214731 h 1317360"/>
              <a:gd name="connsiteX348" fmla="*/ 2096804 w 2348993"/>
              <a:gd name="connsiteY348" fmla="*/ 1191594 h 1317360"/>
              <a:gd name="connsiteX349" fmla="*/ 2098597 w 2348993"/>
              <a:gd name="connsiteY349" fmla="*/ 1203163 h 1317360"/>
              <a:gd name="connsiteX350" fmla="*/ 2123470 w 2348993"/>
              <a:gd name="connsiteY350" fmla="*/ 1212823 h 1317360"/>
              <a:gd name="connsiteX351" fmla="*/ 2102877 w 2348993"/>
              <a:gd name="connsiteY351" fmla="*/ 1218260 h 1317360"/>
              <a:gd name="connsiteX352" fmla="*/ 2067708 w 2348993"/>
              <a:gd name="connsiteY352" fmla="*/ 1236481 h 1317360"/>
              <a:gd name="connsiteX353" fmla="*/ 2064700 w 2348993"/>
              <a:gd name="connsiteY353" fmla="*/ 1266733 h 1317360"/>
              <a:gd name="connsiteX354" fmla="*/ 2100448 w 2348993"/>
              <a:gd name="connsiteY354" fmla="*/ 1260081 h 1317360"/>
              <a:gd name="connsiteX355" fmla="*/ 2126478 w 2348993"/>
              <a:gd name="connsiteY355" fmla="*/ 1237696 h 1317360"/>
              <a:gd name="connsiteX356" fmla="*/ 2189470 w 2348993"/>
              <a:gd name="connsiteY356" fmla="*/ 1220689 h 1317360"/>
              <a:gd name="connsiteX357" fmla="*/ 2194907 w 2348993"/>
              <a:gd name="connsiteY357" fmla="*/ 1206749 h 1317360"/>
              <a:gd name="connsiteX358" fmla="*/ 2231292 w 2348993"/>
              <a:gd name="connsiteY358" fmla="*/ 1193445 h 1317360"/>
              <a:gd name="connsiteX359" fmla="*/ 2221111 w 2348993"/>
              <a:gd name="connsiteY359" fmla="*/ 1181934 h 1317360"/>
              <a:gd name="connsiteX360" fmla="*/ 644392 w 2348993"/>
              <a:gd name="connsiteY360" fmla="*/ 396697 h 1317360"/>
              <a:gd name="connsiteX361" fmla="*/ 606851 w 2348993"/>
              <a:gd name="connsiteY361" fmla="*/ 416480 h 1317360"/>
              <a:gd name="connsiteX362" fmla="*/ 588514 w 2348993"/>
              <a:gd name="connsiteY362" fmla="*/ 427586 h 1317360"/>
              <a:gd name="connsiteX363" fmla="*/ 580358 w 2348993"/>
              <a:gd name="connsiteY363" fmla="*/ 441990 h 1317360"/>
              <a:gd name="connsiteX364" fmla="*/ 545651 w 2348993"/>
              <a:gd name="connsiteY364" fmla="*/ 457434 h 1317360"/>
              <a:gd name="connsiteX365" fmla="*/ 565434 w 2348993"/>
              <a:gd name="connsiteY365" fmla="*/ 423711 h 1317360"/>
              <a:gd name="connsiteX366" fmla="*/ 533157 w 2348993"/>
              <a:gd name="connsiteY366" fmla="*/ 443493 h 1317360"/>
              <a:gd name="connsiteX367" fmla="*/ 508573 w 2348993"/>
              <a:gd name="connsiteY367" fmla="*/ 451649 h 1317360"/>
              <a:gd name="connsiteX368" fmla="*/ 496541 w 2348993"/>
              <a:gd name="connsiteY368" fmla="*/ 441527 h 1317360"/>
              <a:gd name="connsiteX369" fmla="*/ 511986 w 2348993"/>
              <a:gd name="connsiteY369" fmla="*/ 425620 h 1317360"/>
              <a:gd name="connsiteX370" fmla="*/ 513432 w 2348993"/>
              <a:gd name="connsiteY370" fmla="*/ 408266 h 1317360"/>
              <a:gd name="connsiteX371" fmla="*/ 543280 w 2348993"/>
              <a:gd name="connsiteY371" fmla="*/ 403928 h 1317360"/>
              <a:gd name="connsiteX372" fmla="*/ 509094 w 2348993"/>
              <a:gd name="connsiteY372" fmla="*/ 391838 h 1317360"/>
              <a:gd name="connsiteX373" fmla="*/ 456108 w 2348993"/>
              <a:gd name="connsiteY373" fmla="*/ 400515 h 1317360"/>
              <a:gd name="connsiteX374" fmla="*/ 528356 w 2348993"/>
              <a:gd name="connsiteY374" fmla="*/ 379344 h 1317360"/>
              <a:gd name="connsiteX375" fmla="*/ 595745 w 2348993"/>
              <a:gd name="connsiteY375" fmla="*/ 366329 h 1317360"/>
              <a:gd name="connsiteX376" fmla="*/ 583250 w 2348993"/>
              <a:gd name="connsiteY376" fmla="*/ 390913 h 1317360"/>
              <a:gd name="connsiteX377" fmla="*/ 629526 w 2348993"/>
              <a:gd name="connsiteY377" fmla="*/ 384666 h 1317360"/>
              <a:gd name="connsiteX378" fmla="*/ 644392 w 2348993"/>
              <a:gd name="connsiteY378" fmla="*/ 396697 h 1317360"/>
              <a:gd name="connsiteX379" fmla="*/ 797563 w 2348993"/>
              <a:gd name="connsiteY379" fmla="*/ 591343 h 1317360"/>
              <a:gd name="connsiteX380" fmla="*/ 763840 w 2348993"/>
              <a:gd name="connsiteY380" fmla="*/ 606209 h 1317360"/>
              <a:gd name="connsiteX381" fmla="*/ 740702 w 2348993"/>
              <a:gd name="connsiteY381" fmla="*/ 626976 h 1317360"/>
              <a:gd name="connsiteX382" fmla="*/ 666488 w 2348993"/>
              <a:gd name="connsiteY382" fmla="*/ 619282 h 1317360"/>
              <a:gd name="connsiteX383" fmla="*/ 694427 w 2348993"/>
              <a:gd name="connsiteY383" fmla="*/ 610085 h 1317360"/>
              <a:gd name="connsiteX384" fmla="*/ 716118 w 2348993"/>
              <a:gd name="connsiteY384" fmla="*/ 588914 h 1317360"/>
              <a:gd name="connsiteX385" fmla="*/ 707442 w 2348993"/>
              <a:gd name="connsiteY385" fmla="*/ 563405 h 1317360"/>
              <a:gd name="connsiteX386" fmla="*/ 746949 w 2348993"/>
              <a:gd name="connsiteY386" fmla="*/ 562884 h 1317360"/>
              <a:gd name="connsiteX387" fmla="*/ 788829 w 2348993"/>
              <a:gd name="connsiteY387" fmla="*/ 578328 h 1317360"/>
              <a:gd name="connsiteX388" fmla="*/ 863043 w 2348993"/>
              <a:gd name="connsiteY388" fmla="*/ 550852 h 1317360"/>
              <a:gd name="connsiteX389" fmla="*/ 797563 w 2348993"/>
              <a:gd name="connsiteY389" fmla="*/ 591343 h 1317360"/>
              <a:gd name="connsiteX390" fmla="*/ 1226189 w 2348993"/>
              <a:gd name="connsiteY390" fmla="*/ 1027779 h 1317360"/>
              <a:gd name="connsiteX391" fmla="*/ 1219306 w 2348993"/>
              <a:gd name="connsiteY391" fmla="*/ 1033043 h 1317360"/>
              <a:gd name="connsiteX392" fmla="*/ 1218438 w 2348993"/>
              <a:gd name="connsiteY392" fmla="*/ 1033043 h 1317360"/>
              <a:gd name="connsiteX393" fmla="*/ 1211034 w 2348993"/>
              <a:gd name="connsiteY393" fmla="*/ 1017482 h 1317360"/>
              <a:gd name="connsiteX394" fmla="*/ 1195590 w 2348993"/>
              <a:gd name="connsiteY394" fmla="*/ 984395 h 1317360"/>
              <a:gd name="connsiteX395" fmla="*/ 1153826 w 2348993"/>
              <a:gd name="connsiteY395" fmla="*/ 922791 h 1317360"/>
              <a:gd name="connsiteX396" fmla="*/ 1175171 w 2348993"/>
              <a:gd name="connsiteY396" fmla="*/ 904686 h 1317360"/>
              <a:gd name="connsiteX397" fmla="*/ 1189748 w 2348993"/>
              <a:gd name="connsiteY397" fmla="*/ 911222 h 1317360"/>
              <a:gd name="connsiteX398" fmla="*/ 1209646 w 2348993"/>
              <a:gd name="connsiteY398" fmla="*/ 956862 h 1317360"/>
              <a:gd name="connsiteX399" fmla="*/ 1222545 w 2348993"/>
              <a:gd name="connsiteY399" fmla="*/ 988907 h 1317360"/>
              <a:gd name="connsiteX400" fmla="*/ 1226189 w 2348993"/>
              <a:gd name="connsiteY400" fmla="*/ 1027779 h 131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2348993" h="1317360">
                <a:moveTo>
                  <a:pt x="2221111" y="1181934"/>
                </a:moveTo>
                <a:cubicBezTo>
                  <a:pt x="2212608" y="1183148"/>
                  <a:pt x="2219260" y="1169786"/>
                  <a:pt x="2220475" y="1163134"/>
                </a:cubicBezTo>
                <a:cubicBezTo>
                  <a:pt x="2221689" y="1156482"/>
                  <a:pt x="2202312" y="1166142"/>
                  <a:pt x="2201733" y="1174009"/>
                </a:cubicBezTo>
                <a:cubicBezTo>
                  <a:pt x="2201155" y="1181876"/>
                  <a:pt x="2187793" y="1184942"/>
                  <a:pt x="2187793" y="1189801"/>
                </a:cubicBezTo>
                <a:cubicBezTo>
                  <a:pt x="2187793" y="1203915"/>
                  <a:pt x="2185942" y="1196453"/>
                  <a:pt x="2176224" y="1201369"/>
                </a:cubicBezTo>
                <a:cubicBezTo>
                  <a:pt x="2166506" y="1206286"/>
                  <a:pt x="2128965" y="1201369"/>
                  <a:pt x="2127750" y="1192866"/>
                </a:cubicBezTo>
                <a:cubicBezTo>
                  <a:pt x="2126536" y="1184363"/>
                  <a:pt x="2099291" y="1180141"/>
                  <a:pt x="2098076" y="1168630"/>
                </a:cubicBezTo>
                <a:cubicBezTo>
                  <a:pt x="2096862" y="1157118"/>
                  <a:pt x="2083557" y="1153474"/>
                  <a:pt x="2094432" y="1140806"/>
                </a:cubicBezTo>
                <a:cubicBezTo>
                  <a:pt x="2105307" y="1128139"/>
                  <a:pt x="2092581" y="1122007"/>
                  <a:pt x="2082343" y="1131667"/>
                </a:cubicBezTo>
                <a:cubicBezTo>
                  <a:pt x="2072104" y="1141327"/>
                  <a:pt x="2065973" y="1126230"/>
                  <a:pt x="2079913" y="1120792"/>
                </a:cubicBezTo>
                <a:cubicBezTo>
                  <a:pt x="2093854" y="1115355"/>
                  <a:pt x="2119884" y="1109918"/>
                  <a:pt x="2106579" y="1085681"/>
                </a:cubicBezTo>
                <a:cubicBezTo>
                  <a:pt x="2093275" y="1061444"/>
                  <a:pt x="2009632" y="1092911"/>
                  <a:pt x="1988404" y="1105059"/>
                </a:cubicBezTo>
                <a:cubicBezTo>
                  <a:pt x="1967174" y="1117206"/>
                  <a:pt x="1940566" y="1155904"/>
                  <a:pt x="1929055" y="1155904"/>
                </a:cubicBezTo>
                <a:cubicBezTo>
                  <a:pt x="1917544" y="1155904"/>
                  <a:pt x="1949069" y="1135311"/>
                  <a:pt x="1953870" y="1127444"/>
                </a:cubicBezTo>
                <a:cubicBezTo>
                  <a:pt x="1958672" y="1119578"/>
                  <a:pt x="1952713" y="1111711"/>
                  <a:pt x="1959655" y="1114719"/>
                </a:cubicBezTo>
                <a:cubicBezTo>
                  <a:pt x="1966596" y="1117726"/>
                  <a:pt x="1985049" y="1088689"/>
                  <a:pt x="1997774" y="1078971"/>
                </a:cubicBezTo>
                <a:cubicBezTo>
                  <a:pt x="2010500" y="1069253"/>
                  <a:pt x="2024440" y="1078392"/>
                  <a:pt x="2026292" y="1070526"/>
                </a:cubicBezTo>
                <a:cubicBezTo>
                  <a:pt x="2028143" y="1062659"/>
                  <a:pt x="2034158" y="1057164"/>
                  <a:pt x="2046248" y="1046289"/>
                </a:cubicBezTo>
                <a:cubicBezTo>
                  <a:pt x="2058337" y="1035414"/>
                  <a:pt x="2203179" y="1037207"/>
                  <a:pt x="2217062" y="1037786"/>
                </a:cubicBezTo>
                <a:cubicBezTo>
                  <a:pt x="2230945" y="1038364"/>
                  <a:pt x="2258305" y="1019623"/>
                  <a:pt x="2266172" y="1007533"/>
                </a:cubicBezTo>
                <a:cubicBezTo>
                  <a:pt x="2274039" y="995444"/>
                  <a:pt x="2284335" y="995386"/>
                  <a:pt x="2303713" y="996601"/>
                </a:cubicBezTo>
                <a:cubicBezTo>
                  <a:pt x="2323091" y="997815"/>
                  <a:pt x="2332172" y="980289"/>
                  <a:pt x="2341890" y="973463"/>
                </a:cubicBezTo>
                <a:cubicBezTo>
                  <a:pt x="2351608" y="966637"/>
                  <a:pt x="2347674" y="963803"/>
                  <a:pt x="2339461" y="961894"/>
                </a:cubicBezTo>
                <a:cubicBezTo>
                  <a:pt x="2331246" y="959985"/>
                  <a:pt x="2323091" y="954663"/>
                  <a:pt x="2331594" y="954027"/>
                </a:cubicBezTo>
                <a:cubicBezTo>
                  <a:pt x="2340097" y="953391"/>
                  <a:pt x="2344319" y="948590"/>
                  <a:pt x="2347906" y="937657"/>
                </a:cubicBezTo>
                <a:cubicBezTo>
                  <a:pt x="2351492" y="926725"/>
                  <a:pt x="2344898" y="931584"/>
                  <a:pt x="2333387" y="916486"/>
                </a:cubicBezTo>
                <a:cubicBezTo>
                  <a:pt x="2321876" y="901389"/>
                  <a:pt x="2316033" y="921345"/>
                  <a:pt x="2304465" y="920073"/>
                </a:cubicBezTo>
                <a:cubicBezTo>
                  <a:pt x="2292896" y="918800"/>
                  <a:pt x="2312332" y="904339"/>
                  <a:pt x="2302614" y="898265"/>
                </a:cubicBezTo>
                <a:cubicBezTo>
                  <a:pt x="2292896" y="892192"/>
                  <a:pt x="2274733" y="896472"/>
                  <a:pt x="2260214" y="908562"/>
                </a:cubicBezTo>
                <a:cubicBezTo>
                  <a:pt x="2245695" y="920651"/>
                  <a:pt x="2246910" y="907983"/>
                  <a:pt x="2234184" y="920131"/>
                </a:cubicBezTo>
                <a:cubicBezTo>
                  <a:pt x="2221458" y="932278"/>
                  <a:pt x="2221458" y="914346"/>
                  <a:pt x="2227474" y="909256"/>
                </a:cubicBezTo>
                <a:cubicBezTo>
                  <a:pt x="2233490" y="904165"/>
                  <a:pt x="2237828" y="909834"/>
                  <a:pt x="2243266" y="902604"/>
                </a:cubicBezTo>
                <a:cubicBezTo>
                  <a:pt x="2248703" y="895373"/>
                  <a:pt x="2254140" y="902604"/>
                  <a:pt x="2268081" y="893464"/>
                </a:cubicBezTo>
                <a:cubicBezTo>
                  <a:pt x="2282021" y="884325"/>
                  <a:pt x="2294111" y="888663"/>
                  <a:pt x="2298391" y="881895"/>
                </a:cubicBezTo>
                <a:cubicBezTo>
                  <a:pt x="2302671" y="875127"/>
                  <a:pt x="2291681" y="866162"/>
                  <a:pt x="2278377" y="869227"/>
                </a:cubicBezTo>
                <a:cubicBezTo>
                  <a:pt x="2265073" y="872293"/>
                  <a:pt x="2255991" y="851007"/>
                  <a:pt x="2247488" y="857080"/>
                </a:cubicBezTo>
                <a:cubicBezTo>
                  <a:pt x="2238985" y="863154"/>
                  <a:pt x="2240836" y="848056"/>
                  <a:pt x="2231118" y="854072"/>
                </a:cubicBezTo>
                <a:cubicBezTo>
                  <a:pt x="2221400" y="860088"/>
                  <a:pt x="2216021" y="852279"/>
                  <a:pt x="2211740" y="840710"/>
                </a:cubicBezTo>
                <a:cubicBezTo>
                  <a:pt x="2207460" y="829141"/>
                  <a:pt x="2181488" y="810458"/>
                  <a:pt x="2165465" y="805599"/>
                </a:cubicBezTo>
                <a:cubicBezTo>
                  <a:pt x="2149442" y="800740"/>
                  <a:pt x="2160028" y="792295"/>
                  <a:pt x="2168530" y="798310"/>
                </a:cubicBezTo>
                <a:cubicBezTo>
                  <a:pt x="2177034" y="804326"/>
                  <a:pt x="2186694" y="792526"/>
                  <a:pt x="2190338" y="786221"/>
                </a:cubicBezTo>
                <a:cubicBezTo>
                  <a:pt x="2193982" y="779916"/>
                  <a:pt x="2184553" y="774652"/>
                  <a:pt x="2179405" y="774131"/>
                </a:cubicBezTo>
                <a:cubicBezTo>
                  <a:pt x="2174257" y="773611"/>
                  <a:pt x="2174546" y="765571"/>
                  <a:pt x="2175761" y="759555"/>
                </a:cubicBezTo>
                <a:cubicBezTo>
                  <a:pt x="2176976" y="753539"/>
                  <a:pt x="2158813" y="745614"/>
                  <a:pt x="2158408" y="739541"/>
                </a:cubicBezTo>
                <a:cubicBezTo>
                  <a:pt x="2158003" y="733467"/>
                  <a:pt x="2147475" y="729244"/>
                  <a:pt x="2148112" y="723807"/>
                </a:cubicBezTo>
                <a:cubicBezTo>
                  <a:pt x="2148748" y="718370"/>
                  <a:pt x="2137815" y="710503"/>
                  <a:pt x="2137815" y="703214"/>
                </a:cubicBezTo>
                <a:cubicBezTo>
                  <a:pt x="2137815" y="695926"/>
                  <a:pt x="2119652" y="681407"/>
                  <a:pt x="2119016" y="672962"/>
                </a:cubicBezTo>
                <a:cubicBezTo>
                  <a:pt x="2118380" y="664517"/>
                  <a:pt x="2108720" y="658385"/>
                  <a:pt x="2105075" y="648089"/>
                </a:cubicBezTo>
                <a:cubicBezTo>
                  <a:pt x="2101431" y="637792"/>
                  <a:pt x="2096630" y="642651"/>
                  <a:pt x="2092928" y="657170"/>
                </a:cubicBezTo>
                <a:cubicBezTo>
                  <a:pt x="2089226" y="671689"/>
                  <a:pt x="2076616" y="671111"/>
                  <a:pt x="2080260" y="675970"/>
                </a:cubicBezTo>
                <a:cubicBezTo>
                  <a:pt x="2087664" y="685919"/>
                  <a:pt x="2082053" y="686266"/>
                  <a:pt x="2076616" y="692340"/>
                </a:cubicBezTo>
                <a:cubicBezTo>
                  <a:pt x="2071179" y="698413"/>
                  <a:pt x="2080260" y="707437"/>
                  <a:pt x="2071179" y="707437"/>
                </a:cubicBezTo>
                <a:cubicBezTo>
                  <a:pt x="2062097" y="707437"/>
                  <a:pt x="2066320" y="726236"/>
                  <a:pt x="2061461" y="717733"/>
                </a:cubicBezTo>
                <a:cubicBezTo>
                  <a:pt x="2056602" y="709230"/>
                  <a:pt x="2045091" y="711949"/>
                  <a:pt x="2045091" y="720163"/>
                </a:cubicBezTo>
                <a:cubicBezTo>
                  <a:pt x="2045091" y="728377"/>
                  <a:pt x="2025713" y="736533"/>
                  <a:pt x="2017846" y="735954"/>
                </a:cubicBezTo>
                <a:cubicBezTo>
                  <a:pt x="2009979" y="735376"/>
                  <a:pt x="2009979" y="718948"/>
                  <a:pt x="2003327" y="723807"/>
                </a:cubicBezTo>
                <a:cubicBezTo>
                  <a:pt x="1996675" y="728666"/>
                  <a:pt x="1997832" y="709866"/>
                  <a:pt x="1987536" y="710503"/>
                </a:cubicBezTo>
                <a:cubicBezTo>
                  <a:pt x="1977240" y="711139"/>
                  <a:pt x="1970182" y="709866"/>
                  <a:pt x="1973017" y="700785"/>
                </a:cubicBezTo>
                <a:cubicBezTo>
                  <a:pt x="1975851" y="691703"/>
                  <a:pt x="1955664" y="687481"/>
                  <a:pt x="1962142" y="681985"/>
                </a:cubicBezTo>
                <a:cubicBezTo>
                  <a:pt x="1968621" y="676490"/>
                  <a:pt x="1960291" y="666888"/>
                  <a:pt x="1959076" y="651155"/>
                </a:cubicBezTo>
                <a:cubicBezTo>
                  <a:pt x="1957862" y="635421"/>
                  <a:pt x="1968158" y="634148"/>
                  <a:pt x="1968158" y="628017"/>
                </a:cubicBezTo>
                <a:cubicBezTo>
                  <a:pt x="1968158" y="621885"/>
                  <a:pt x="1960928" y="621943"/>
                  <a:pt x="1953639" y="626802"/>
                </a:cubicBezTo>
                <a:cubicBezTo>
                  <a:pt x="1946351" y="631661"/>
                  <a:pt x="1946351" y="620150"/>
                  <a:pt x="1938484" y="620728"/>
                </a:cubicBezTo>
                <a:cubicBezTo>
                  <a:pt x="1930617" y="621307"/>
                  <a:pt x="1907017" y="620150"/>
                  <a:pt x="1905802" y="609160"/>
                </a:cubicBezTo>
                <a:cubicBezTo>
                  <a:pt x="1904587" y="598169"/>
                  <a:pt x="1896720" y="603722"/>
                  <a:pt x="1893076" y="593426"/>
                </a:cubicBezTo>
                <a:cubicBezTo>
                  <a:pt x="1889432" y="583130"/>
                  <a:pt x="1879714" y="590996"/>
                  <a:pt x="1879714" y="583708"/>
                </a:cubicBezTo>
                <a:cubicBezTo>
                  <a:pt x="1879714" y="576420"/>
                  <a:pt x="1875491" y="573412"/>
                  <a:pt x="1868145" y="572775"/>
                </a:cubicBezTo>
                <a:cubicBezTo>
                  <a:pt x="1860799" y="572139"/>
                  <a:pt x="1858485" y="564330"/>
                  <a:pt x="1848767" y="563116"/>
                </a:cubicBezTo>
                <a:cubicBezTo>
                  <a:pt x="1839050" y="561901"/>
                  <a:pt x="1826960" y="569768"/>
                  <a:pt x="1821523" y="572197"/>
                </a:cubicBezTo>
                <a:cubicBezTo>
                  <a:pt x="1816085" y="574627"/>
                  <a:pt x="1802145" y="563752"/>
                  <a:pt x="1796708" y="567974"/>
                </a:cubicBezTo>
                <a:cubicBezTo>
                  <a:pt x="1791270" y="572197"/>
                  <a:pt x="1790055" y="564966"/>
                  <a:pt x="1774900" y="560686"/>
                </a:cubicBezTo>
                <a:cubicBezTo>
                  <a:pt x="1759745" y="556406"/>
                  <a:pt x="1739731" y="555249"/>
                  <a:pt x="1738516" y="560686"/>
                </a:cubicBezTo>
                <a:cubicBezTo>
                  <a:pt x="1737301" y="566123"/>
                  <a:pt x="1725212" y="567974"/>
                  <a:pt x="1726947" y="580700"/>
                </a:cubicBezTo>
                <a:cubicBezTo>
                  <a:pt x="1728683" y="593426"/>
                  <a:pt x="1741524" y="590996"/>
                  <a:pt x="1744301" y="599442"/>
                </a:cubicBezTo>
                <a:cubicBezTo>
                  <a:pt x="1747077" y="607887"/>
                  <a:pt x="1738227" y="604937"/>
                  <a:pt x="1737648" y="612804"/>
                </a:cubicBezTo>
                <a:cubicBezTo>
                  <a:pt x="1737070" y="620671"/>
                  <a:pt x="1729145" y="620092"/>
                  <a:pt x="1729145" y="625529"/>
                </a:cubicBezTo>
                <a:cubicBezTo>
                  <a:pt x="1729145" y="630967"/>
                  <a:pt x="1734583" y="629752"/>
                  <a:pt x="1737648" y="640685"/>
                </a:cubicBezTo>
                <a:cubicBezTo>
                  <a:pt x="1740714" y="651617"/>
                  <a:pt x="1746730" y="650981"/>
                  <a:pt x="1748581" y="665500"/>
                </a:cubicBezTo>
                <a:cubicBezTo>
                  <a:pt x="1750432" y="680019"/>
                  <a:pt x="1743664" y="677069"/>
                  <a:pt x="1737648" y="678804"/>
                </a:cubicBezTo>
                <a:cubicBezTo>
                  <a:pt x="1731633" y="680539"/>
                  <a:pt x="1738227" y="687886"/>
                  <a:pt x="1729782" y="697604"/>
                </a:cubicBezTo>
                <a:cubicBezTo>
                  <a:pt x="1721336" y="707321"/>
                  <a:pt x="1713990" y="717560"/>
                  <a:pt x="1720642" y="723633"/>
                </a:cubicBezTo>
                <a:cubicBezTo>
                  <a:pt x="1727294" y="729707"/>
                  <a:pt x="1752167" y="740003"/>
                  <a:pt x="1761885" y="756373"/>
                </a:cubicBezTo>
                <a:cubicBezTo>
                  <a:pt x="1771603" y="772743"/>
                  <a:pt x="1770967" y="798137"/>
                  <a:pt x="1767670" y="816358"/>
                </a:cubicBezTo>
                <a:cubicBezTo>
                  <a:pt x="1764372" y="834579"/>
                  <a:pt x="1744069" y="838744"/>
                  <a:pt x="1728914" y="854477"/>
                </a:cubicBezTo>
                <a:cubicBezTo>
                  <a:pt x="1713759" y="870211"/>
                  <a:pt x="1698025" y="867781"/>
                  <a:pt x="1690737" y="868475"/>
                </a:cubicBezTo>
                <a:cubicBezTo>
                  <a:pt x="1683448" y="869170"/>
                  <a:pt x="1687729" y="883631"/>
                  <a:pt x="1698025" y="895084"/>
                </a:cubicBezTo>
                <a:cubicBezTo>
                  <a:pt x="1708321" y="906537"/>
                  <a:pt x="1699818" y="910239"/>
                  <a:pt x="1705314" y="922328"/>
                </a:cubicBezTo>
                <a:cubicBezTo>
                  <a:pt x="1710809" y="934418"/>
                  <a:pt x="1705314" y="944136"/>
                  <a:pt x="1713180" y="955011"/>
                </a:cubicBezTo>
                <a:cubicBezTo>
                  <a:pt x="1721047" y="965885"/>
                  <a:pt x="1716188" y="970224"/>
                  <a:pt x="1707396" y="978148"/>
                </a:cubicBezTo>
                <a:cubicBezTo>
                  <a:pt x="1698603" y="986073"/>
                  <a:pt x="1711040" y="981850"/>
                  <a:pt x="1711618" y="992147"/>
                </a:cubicBezTo>
                <a:cubicBezTo>
                  <a:pt x="1712197" y="1002443"/>
                  <a:pt x="1707396" y="996369"/>
                  <a:pt x="1699529" y="990932"/>
                </a:cubicBezTo>
                <a:cubicBezTo>
                  <a:pt x="1691662" y="985494"/>
                  <a:pt x="1684374" y="1001228"/>
                  <a:pt x="1684374" y="1007880"/>
                </a:cubicBezTo>
                <a:cubicBezTo>
                  <a:pt x="1684374" y="1014532"/>
                  <a:pt x="1665632" y="998799"/>
                  <a:pt x="1661236" y="999377"/>
                </a:cubicBezTo>
                <a:cubicBezTo>
                  <a:pt x="1656840" y="999956"/>
                  <a:pt x="1662451" y="989081"/>
                  <a:pt x="1651576" y="980636"/>
                </a:cubicBezTo>
                <a:cubicBezTo>
                  <a:pt x="1640701" y="972190"/>
                  <a:pt x="1632198" y="970339"/>
                  <a:pt x="1632198" y="961836"/>
                </a:cubicBezTo>
                <a:cubicBezTo>
                  <a:pt x="1632198" y="953333"/>
                  <a:pt x="1613399" y="947259"/>
                  <a:pt x="1613399" y="937599"/>
                </a:cubicBezTo>
                <a:cubicBezTo>
                  <a:pt x="1613399" y="927939"/>
                  <a:pt x="1615828" y="902893"/>
                  <a:pt x="1611606" y="895836"/>
                </a:cubicBezTo>
                <a:cubicBezTo>
                  <a:pt x="1607383" y="888779"/>
                  <a:pt x="1610970" y="880681"/>
                  <a:pt x="1614614" y="874029"/>
                </a:cubicBezTo>
                <a:cubicBezTo>
                  <a:pt x="1618258" y="867376"/>
                  <a:pt x="1610391" y="857022"/>
                  <a:pt x="1599459" y="857022"/>
                </a:cubicBezTo>
                <a:cubicBezTo>
                  <a:pt x="1588526" y="857022"/>
                  <a:pt x="1573429" y="853378"/>
                  <a:pt x="1558273" y="854593"/>
                </a:cubicBezTo>
                <a:cubicBezTo>
                  <a:pt x="1543118" y="855808"/>
                  <a:pt x="1534615" y="853378"/>
                  <a:pt x="1529814" y="849155"/>
                </a:cubicBezTo>
                <a:cubicBezTo>
                  <a:pt x="1518679" y="840554"/>
                  <a:pt x="1505872" y="834370"/>
                  <a:pt x="1492215" y="830992"/>
                </a:cubicBezTo>
                <a:cubicBezTo>
                  <a:pt x="1473474" y="826191"/>
                  <a:pt x="1464971" y="816473"/>
                  <a:pt x="1463293" y="810978"/>
                </a:cubicBezTo>
                <a:cubicBezTo>
                  <a:pt x="1461616" y="805483"/>
                  <a:pt x="1442700" y="801318"/>
                  <a:pt x="1438420" y="795823"/>
                </a:cubicBezTo>
                <a:cubicBezTo>
                  <a:pt x="1434140" y="790328"/>
                  <a:pt x="1416034" y="787378"/>
                  <a:pt x="1408746" y="788592"/>
                </a:cubicBezTo>
                <a:cubicBezTo>
                  <a:pt x="1401457" y="789807"/>
                  <a:pt x="1383294" y="773437"/>
                  <a:pt x="1372420" y="774074"/>
                </a:cubicBezTo>
                <a:cubicBezTo>
                  <a:pt x="1361545" y="774710"/>
                  <a:pt x="1336093" y="785643"/>
                  <a:pt x="1331929" y="786163"/>
                </a:cubicBezTo>
                <a:cubicBezTo>
                  <a:pt x="1327764" y="786684"/>
                  <a:pt x="1332565" y="777082"/>
                  <a:pt x="1335573" y="772801"/>
                </a:cubicBezTo>
                <a:cubicBezTo>
                  <a:pt x="1338581" y="768521"/>
                  <a:pt x="1326491" y="750415"/>
                  <a:pt x="1323483" y="738095"/>
                </a:cubicBezTo>
                <a:cubicBezTo>
                  <a:pt x="1320475" y="725774"/>
                  <a:pt x="1316195" y="712643"/>
                  <a:pt x="1303469" y="714494"/>
                </a:cubicBezTo>
                <a:cubicBezTo>
                  <a:pt x="1292872" y="715269"/>
                  <a:pt x="1282298" y="712724"/>
                  <a:pt x="1273217" y="707206"/>
                </a:cubicBezTo>
                <a:cubicBezTo>
                  <a:pt x="1269573" y="704776"/>
                  <a:pt x="1268936" y="670301"/>
                  <a:pt x="1272002" y="655724"/>
                </a:cubicBezTo>
                <a:cubicBezTo>
                  <a:pt x="1275068" y="641147"/>
                  <a:pt x="1290744" y="619398"/>
                  <a:pt x="1290744" y="610316"/>
                </a:cubicBezTo>
                <a:cubicBezTo>
                  <a:pt x="1290744" y="601235"/>
                  <a:pt x="1301040" y="596954"/>
                  <a:pt x="1310121" y="594583"/>
                </a:cubicBezTo>
                <a:cubicBezTo>
                  <a:pt x="1319203" y="592211"/>
                  <a:pt x="1311972" y="574569"/>
                  <a:pt x="1321054" y="573354"/>
                </a:cubicBezTo>
                <a:cubicBezTo>
                  <a:pt x="1330136" y="572139"/>
                  <a:pt x="1330714" y="568495"/>
                  <a:pt x="1332623" y="561264"/>
                </a:cubicBezTo>
                <a:cubicBezTo>
                  <a:pt x="1334532" y="554034"/>
                  <a:pt x="1345349" y="558835"/>
                  <a:pt x="1339275" y="552761"/>
                </a:cubicBezTo>
                <a:cubicBezTo>
                  <a:pt x="1333201" y="546688"/>
                  <a:pt x="1338060" y="544894"/>
                  <a:pt x="1352001" y="544894"/>
                </a:cubicBezTo>
                <a:cubicBezTo>
                  <a:pt x="1365941" y="544894"/>
                  <a:pt x="1386707" y="540036"/>
                  <a:pt x="1383468" y="526095"/>
                </a:cubicBezTo>
                <a:cubicBezTo>
                  <a:pt x="1380229" y="512155"/>
                  <a:pt x="1344134" y="522509"/>
                  <a:pt x="1344134" y="510940"/>
                </a:cubicBezTo>
                <a:cubicBezTo>
                  <a:pt x="1344134" y="499371"/>
                  <a:pt x="1297858" y="498850"/>
                  <a:pt x="1301098" y="492198"/>
                </a:cubicBezTo>
                <a:cubicBezTo>
                  <a:pt x="1304337" y="485546"/>
                  <a:pt x="1347373" y="497057"/>
                  <a:pt x="1362875" y="503073"/>
                </a:cubicBezTo>
                <a:cubicBezTo>
                  <a:pt x="1373114" y="507747"/>
                  <a:pt x="1384463" y="509430"/>
                  <a:pt x="1395615" y="507932"/>
                </a:cubicBezTo>
                <a:cubicBezTo>
                  <a:pt x="1408341" y="507354"/>
                  <a:pt x="1399838" y="490984"/>
                  <a:pt x="1402267" y="484331"/>
                </a:cubicBezTo>
                <a:cubicBezTo>
                  <a:pt x="1404697" y="477679"/>
                  <a:pt x="1428933" y="494628"/>
                  <a:pt x="1442758" y="490984"/>
                </a:cubicBezTo>
                <a:cubicBezTo>
                  <a:pt x="1456583" y="487339"/>
                  <a:pt x="1470003" y="458880"/>
                  <a:pt x="1481514" y="451013"/>
                </a:cubicBezTo>
                <a:cubicBezTo>
                  <a:pt x="1493025" y="443146"/>
                  <a:pt x="1482729" y="435800"/>
                  <a:pt x="1460285" y="437651"/>
                </a:cubicBezTo>
                <a:cubicBezTo>
                  <a:pt x="1437842" y="439502"/>
                  <a:pt x="1425174" y="430999"/>
                  <a:pt x="1413084" y="421918"/>
                </a:cubicBezTo>
                <a:cubicBezTo>
                  <a:pt x="1400995" y="412836"/>
                  <a:pt x="1402152" y="405548"/>
                  <a:pt x="1414877" y="406762"/>
                </a:cubicBezTo>
                <a:cubicBezTo>
                  <a:pt x="1427603" y="407977"/>
                  <a:pt x="1457914" y="432850"/>
                  <a:pt x="1469367" y="433429"/>
                </a:cubicBezTo>
                <a:cubicBezTo>
                  <a:pt x="1480820" y="434007"/>
                  <a:pt x="1500892" y="411043"/>
                  <a:pt x="1510552" y="403697"/>
                </a:cubicBezTo>
                <a:cubicBezTo>
                  <a:pt x="1520212" y="396350"/>
                  <a:pt x="1501528" y="393400"/>
                  <a:pt x="1494876" y="387963"/>
                </a:cubicBezTo>
                <a:cubicBezTo>
                  <a:pt x="1488224" y="382526"/>
                  <a:pt x="1506445" y="378939"/>
                  <a:pt x="1516047" y="378939"/>
                </a:cubicBezTo>
                <a:cubicBezTo>
                  <a:pt x="1525649" y="378939"/>
                  <a:pt x="1529987" y="387385"/>
                  <a:pt x="1533400" y="391607"/>
                </a:cubicBezTo>
                <a:cubicBezTo>
                  <a:pt x="1536813" y="395830"/>
                  <a:pt x="1553993" y="388599"/>
                  <a:pt x="1562322" y="388599"/>
                </a:cubicBezTo>
                <a:cubicBezTo>
                  <a:pt x="1570652" y="388599"/>
                  <a:pt x="1561108" y="374659"/>
                  <a:pt x="1547225" y="369221"/>
                </a:cubicBezTo>
                <a:cubicBezTo>
                  <a:pt x="1533343" y="363784"/>
                  <a:pt x="1547804" y="353488"/>
                  <a:pt x="1552026" y="361933"/>
                </a:cubicBezTo>
                <a:cubicBezTo>
                  <a:pt x="1556249" y="370378"/>
                  <a:pt x="1565967" y="368585"/>
                  <a:pt x="1570825" y="378303"/>
                </a:cubicBezTo>
                <a:cubicBezTo>
                  <a:pt x="1577883" y="392417"/>
                  <a:pt x="1582394" y="383104"/>
                  <a:pt x="1594426" y="378939"/>
                </a:cubicBezTo>
                <a:cubicBezTo>
                  <a:pt x="1604271" y="375046"/>
                  <a:pt x="1612867" y="368545"/>
                  <a:pt x="1619299" y="360140"/>
                </a:cubicBezTo>
                <a:cubicBezTo>
                  <a:pt x="1625951" y="352852"/>
                  <a:pt x="1627166" y="361297"/>
                  <a:pt x="1635033" y="349843"/>
                </a:cubicBezTo>
                <a:cubicBezTo>
                  <a:pt x="1642899" y="338390"/>
                  <a:pt x="1631388" y="327400"/>
                  <a:pt x="1621729" y="320112"/>
                </a:cubicBezTo>
                <a:cubicBezTo>
                  <a:pt x="1612069" y="312823"/>
                  <a:pt x="1622307" y="305651"/>
                  <a:pt x="1612589" y="300734"/>
                </a:cubicBezTo>
                <a:cubicBezTo>
                  <a:pt x="1602871" y="295817"/>
                  <a:pt x="1601020" y="286793"/>
                  <a:pt x="1613225" y="289165"/>
                </a:cubicBezTo>
                <a:cubicBezTo>
                  <a:pt x="1623441" y="292190"/>
                  <a:pt x="1634443" y="288286"/>
                  <a:pt x="1640470" y="279505"/>
                </a:cubicBezTo>
                <a:cubicBezTo>
                  <a:pt x="1645907" y="271002"/>
                  <a:pt x="1622307" y="269209"/>
                  <a:pt x="1633240" y="263135"/>
                </a:cubicBezTo>
                <a:cubicBezTo>
                  <a:pt x="1644172" y="257061"/>
                  <a:pt x="1635033" y="251046"/>
                  <a:pt x="1624158" y="251046"/>
                </a:cubicBezTo>
                <a:cubicBezTo>
                  <a:pt x="1613283" y="251046"/>
                  <a:pt x="1604144" y="245261"/>
                  <a:pt x="1603507" y="236469"/>
                </a:cubicBezTo>
                <a:cubicBezTo>
                  <a:pt x="1602871" y="227676"/>
                  <a:pt x="1584130" y="233461"/>
                  <a:pt x="1572619" y="227966"/>
                </a:cubicBezTo>
                <a:cubicBezTo>
                  <a:pt x="1561108" y="222470"/>
                  <a:pt x="1535714" y="223743"/>
                  <a:pt x="1529640" y="224379"/>
                </a:cubicBezTo>
                <a:cubicBezTo>
                  <a:pt x="1523567" y="225016"/>
                  <a:pt x="1522988" y="249831"/>
                  <a:pt x="1532070" y="250409"/>
                </a:cubicBezTo>
                <a:cubicBezTo>
                  <a:pt x="1541152" y="250988"/>
                  <a:pt x="1548382" y="260706"/>
                  <a:pt x="1540515" y="263771"/>
                </a:cubicBezTo>
                <a:cubicBezTo>
                  <a:pt x="1532648" y="266837"/>
                  <a:pt x="1541730" y="276439"/>
                  <a:pt x="1535714" y="275861"/>
                </a:cubicBezTo>
                <a:cubicBezTo>
                  <a:pt x="1529698" y="275282"/>
                  <a:pt x="1519923" y="272217"/>
                  <a:pt x="1518361" y="287950"/>
                </a:cubicBezTo>
                <a:cubicBezTo>
                  <a:pt x="1516799" y="303684"/>
                  <a:pt x="1515353" y="309757"/>
                  <a:pt x="1504999" y="315253"/>
                </a:cubicBezTo>
                <a:cubicBezTo>
                  <a:pt x="1494645" y="320748"/>
                  <a:pt x="1502569" y="297899"/>
                  <a:pt x="1492909" y="298246"/>
                </a:cubicBezTo>
                <a:cubicBezTo>
                  <a:pt x="1483249" y="298594"/>
                  <a:pt x="1481977" y="317682"/>
                  <a:pt x="1489265" y="319475"/>
                </a:cubicBezTo>
                <a:cubicBezTo>
                  <a:pt x="1496553" y="321268"/>
                  <a:pt x="1497768" y="327342"/>
                  <a:pt x="1499561" y="336481"/>
                </a:cubicBezTo>
                <a:cubicBezTo>
                  <a:pt x="1501355" y="345621"/>
                  <a:pt x="1486257" y="338853"/>
                  <a:pt x="1480184" y="349786"/>
                </a:cubicBezTo>
                <a:cubicBezTo>
                  <a:pt x="1474110" y="360718"/>
                  <a:pt x="1473532" y="344927"/>
                  <a:pt x="1465028" y="337696"/>
                </a:cubicBezTo>
                <a:cubicBezTo>
                  <a:pt x="1456525" y="330466"/>
                  <a:pt x="1446229" y="318261"/>
                  <a:pt x="1446865" y="309179"/>
                </a:cubicBezTo>
                <a:cubicBezTo>
                  <a:pt x="1446767" y="302654"/>
                  <a:pt x="1451909" y="297252"/>
                  <a:pt x="1458434" y="297032"/>
                </a:cubicBezTo>
                <a:cubicBezTo>
                  <a:pt x="1465086" y="295817"/>
                  <a:pt x="1458434" y="289801"/>
                  <a:pt x="1457856" y="278869"/>
                </a:cubicBezTo>
                <a:cubicBezTo>
                  <a:pt x="1457277" y="267936"/>
                  <a:pt x="1449353" y="271638"/>
                  <a:pt x="1439635" y="260127"/>
                </a:cubicBezTo>
                <a:cubicBezTo>
                  <a:pt x="1429917" y="248616"/>
                  <a:pt x="1419679" y="248558"/>
                  <a:pt x="1414183" y="254053"/>
                </a:cubicBezTo>
                <a:cubicBezTo>
                  <a:pt x="1408688" y="259549"/>
                  <a:pt x="1412390" y="269787"/>
                  <a:pt x="1403945" y="273489"/>
                </a:cubicBezTo>
                <a:cubicBezTo>
                  <a:pt x="1395499" y="277191"/>
                  <a:pt x="1399086" y="294082"/>
                  <a:pt x="1391798" y="295238"/>
                </a:cubicBezTo>
                <a:cubicBezTo>
                  <a:pt x="1384509" y="296395"/>
                  <a:pt x="1388790" y="265564"/>
                  <a:pt x="1382716" y="262556"/>
                </a:cubicBezTo>
                <a:cubicBezTo>
                  <a:pt x="1376642" y="259549"/>
                  <a:pt x="1377279" y="252260"/>
                  <a:pt x="1386360" y="250988"/>
                </a:cubicBezTo>
                <a:cubicBezTo>
                  <a:pt x="1395442" y="249715"/>
                  <a:pt x="1400879" y="240055"/>
                  <a:pt x="1393012" y="240055"/>
                </a:cubicBezTo>
                <a:cubicBezTo>
                  <a:pt x="1385145" y="240055"/>
                  <a:pt x="1371205" y="231552"/>
                  <a:pt x="1365768" y="229180"/>
                </a:cubicBezTo>
                <a:cubicBezTo>
                  <a:pt x="1360330" y="226809"/>
                  <a:pt x="1351249" y="239477"/>
                  <a:pt x="1345175" y="234618"/>
                </a:cubicBezTo>
                <a:cubicBezTo>
                  <a:pt x="1339101" y="229759"/>
                  <a:pt x="1345754" y="217612"/>
                  <a:pt x="1346390" y="210959"/>
                </a:cubicBezTo>
                <a:cubicBezTo>
                  <a:pt x="1347026" y="204307"/>
                  <a:pt x="1356050" y="214025"/>
                  <a:pt x="1362123" y="205522"/>
                </a:cubicBezTo>
                <a:cubicBezTo>
                  <a:pt x="1368197" y="197019"/>
                  <a:pt x="1345175" y="197077"/>
                  <a:pt x="1345175" y="188169"/>
                </a:cubicBezTo>
                <a:cubicBezTo>
                  <a:pt x="1345175" y="179261"/>
                  <a:pt x="1327012" y="176600"/>
                  <a:pt x="1320938" y="173650"/>
                </a:cubicBezTo>
                <a:cubicBezTo>
                  <a:pt x="1314865" y="170700"/>
                  <a:pt x="1325161" y="155487"/>
                  <a:pt x="1322153" y="149413"/>
                </a:cubicBezTo>
                <a:cubicBezTo>
                  <a:pt x="1319145" y="143339"/>
                  <a:pt x="1296702" y="123383"/>
                  <a:pt x="1286984" y="125176"/>
                </a:cubicBezTo>
                <a:cubicBezTo>
                  <a:pt x="1277266" y="126970"/>
                  <a:pt x="1274894" y="112508"/>
                  <a:pt x="1280332" y="113087"/>
                </a:cubicBezTo>
                <a:cubicBezTo>
                  <a:pt x="1285769" y="113665"/>
                  <a:pt x="1290049" y="110079"/>
                  <a:pt x="1300346" y="98568"/>
                </a:cubicBezTo>
                <a:cubicBezTo>
                  <a:pt x="1310642" y="87057"/>
                  <a:pt x="1311915" y="83413"/>
                  <a:pt x="1304568" y="81215"/>
                </a:cubicBezTo>
                <a:cubicBezTo>
                  <a:pt x="1297222" y="79017"/>
                  <a:pt x="1293694" y="71497"/>
                  <a:pt x="1306361" y="72133"/>
                </a:cubicBezTo>
                <a:cubicBezTo>
                  <a:pt x="1319029" y="72769"/>
                  <a:pt x="1341531" y="81215"/>
                  <a:pt x="1348761" y="75777"/>
                </a:cubicBezTo>
                <a:cubicBezTo>
                  <a:pt x="1355992" y="70340"/>
                  <a:pt x="1379072" y="34592"/>
                  <a:pt x="1388153" y="21866"/>
                </a:cubicBezTo>
                <a:cubicBezTo>
                  <a:pt x="1397235" y="9141"/>
                  <a:pt x="1381501" y="7926"/>
                  <a:pt x="1359694" y="9719"/>
                </a:cubicBezTo>
                <a:cubicBezTo>
                  <a:pt x="1337887" y="11512"/>
                  <a:pt x="1333028" y="1274"/>
                  <a:pt x="1314865" y="59"/>
                </a:cubicBezTo>
                <a:cubicBezTo>
                  <a:pt x="1296702" y="-1156"/>
                  <a:pt x="1262805" y="3703"/>
                  <a:pt x="1257946" y="9141"/>
                </a:cubicBezTo>
                <a:cubicBezTo>
                  <a:pt x="1253087" y="14578"/>
                  <a:pt x="1267027" y="19437"/>
                  <a:pt x="1265176" y="25511"/>
                </a:cubicBezTo>
                <a:cubicBezTo>
                  <a:pt x="1263325" y="31584"/>
                  <a:pt x="1252508" y="21230"/>
                  <a:pt x="1247823" y="23660"/>
                </a:cubicBezTo>
                <a:cubicBezTo>
                  <a:pt x="1243138" y="26089"/>
                  <a:pt x="1249674" y="33956"/>
                  <a:pt x="1247823" y="55185"/>
                </a:cubicBezTo>
                <a:cubicBezTo>
                  <a:pt x="1245972" y="76414"/>
                  <a:pt x="1252104" y="77570"/>
                  <a:pt x="1258177" y="85437"/>
                </a:cubicBezTo>
                <a:cubicBezTo>
                  <a:pt x="1264251" y="93304"/>
                  <a:pt x="1263036" y="103600"/>
                  <a:pt x="1263036" y="116962"/>
                </a:cubicBezTo>
                <a:cubicBezTo>
                  <a:pt x="1263036" y="130324"/>
                  <a:pt x="1250310" y="129688"/>
                  <a:pt x="1246030" y="132696"/>
                </a:cubicBezTo>
                <a:cubicBezTo>
                  <a:pt x="1241749" y="135704"/>
                  <a:pt x="1256963" y="140563"/>
                  <a:pt x="1254533" y="149066"/>
                </a:cubicBezTo>
                <a:cubicBezTo>
                  <a:pt x="1252104" y="157569"/>
                  <a:pt x="1239378" y="144207"/>
                  <a:pt x="1232089" y="146637"/>
                </a:cubicBezTo>
                <a:cubicBezTo>
                  <a:pt x="1224801" y="149066"/>
                  <a:pt x="1218785" y="169774"/>
                  <a:pt x="1226652" y="176311"/>
                </a:cubicBezTo>
                <a:cubicBezTo>
                  <a:pt x="1234519" y="182847"/>
                  <a:pt x="1237585" y="181748"/>
                  <a:pt x="1231511" y="189673"/>
                </a:cubicBezTo>
                <a:cubicBezTo>
                  <a:pt x="1225437" y="197597"/>
                  <a:pt x="1218785" y="208993"/>
                  <a:pt x="1233304" y="220504"/>
                </a:cubicBezTo>
                <a:cubicBezTo>
                  <a:pt x="1247823" y="232015"/>
                  <a:pt x="1274489" y="230858"/>
                  <a:pt x="1288430" y="239939"/>
                </a:cubicBezTo>
                <a:cubicBezTo>
                  <a:pt x="1302370" y="249021"/>
                  <a:pt x="1282645" y="243526"/>
                  <a:pt x="1287851" y="253822"/>
                </a:cubicBezTo>
                <a:cubicBezTo>
                  <a:pt x="1293057" y="264118"/>
                  <a:pt x="1278770" y="267762"/>
                  <a:pt x="1279348" y="275687"/>
                </a:cubicBezTo>
                <a:cubicBezTo>
                  <a:pt x="1279927" y="283612"/>
                  <a:pt x="1285422" y="279274"/>
                  <a:pt x="1292710" y="265969"/>
                </a:cubicBezTo>
                <a:cubicBezTo>
                  <a:pt x="1299999" y="252665"/>
                  <a:pt x="1305436" y="269613"/>
                  <a:pt x="1304800" y="281125"/>
                </a:cubicBezTo>
                <a:cubicBezTo>
                  <a:pt x="1304163" y="292636"/>
                  <a:pt x="1293925" y="285984"/>
                  <a:pt x="1286000" y="297437"/>
                </a:cubicBezTo>
                <a:cubicBezTo>
                  <a:pt x="1278076" y="308890"/>
                  <a:pt x="1270845" y="310741"/>
                  <a:pt x="1259392" y="308369"/>
                </a:cubicBezTo>
                <a:cubicBezTo>
                  <a:pt x="1247939" y="305998"/>
                  <a:pt x="1254533" y="324739"/>
                  <a:pt x="1259392" y="335035"/>
                </a:cubicBezTo>
                <a:cubicBezTo>
                  <a:pt x="1264251" y="345332"/>
                  <a:pt x="1258177" y="348918"/>
                  <a:pt x="1244815" y="345332"/>
                </a:cubicBezTo>
                <a:cubicBezTo>
                  <a:pt x="1231453" y="341745"/>
                  <a:pt x="1223644" y="333184"/>
                  <a:pt x="1230296" y="322888"/>
                </a:cubicBezTo>
                <a:cubicBezTo>
                  <a:pt x="1236948" y="312592"/>
                  <a:pt x="1241865" y="300502"/>
                  <a:pt x="1233940" y="301717"/>
                </a:cubicBezTo>
                <a:cubicBezTo>
                  <a:pt x="1226016" y="302932"/>
                  <a:pt x="1207853" y="301081"/>
                  <a:pt x="1202415" y="292636"/>
                </a:cubicBezTo>
                <a:cubicBezTo>
                  <a:pt x="1196978" y="284190"/>
                  <a:pt x="1206059" y="287777"/>
                  <a:pt x="1222429" y="289570"/>
                </a:cubicBezTo>
                <a:cubicBezTo>
                  <a:pt x="1238799" y="291363"/>
                  <a:pt x="1224859" y="278695"/>
                  <a:pt x="1236948" y="278695"/>
                </a:cubicBezTo>
                <a:cubicBezTo>
                  <a:pt x="1249038" y="278695"/>
                  <a:pt x="1258177" y="285347"/>
                  <a:pt x="1268473" y="276266"/>
                </a:cubicBezTo>
                <a:cubicBezTo>
                  <a:pt x="1278770" y="267184"/>
                  <a:pt x="1261821" y="249599"/>
                  <a:pt x="1253318" y="252665"/>
                </a:cubicBezTo>
                <a:cubicBezTo>
                  <a:pt x="1244815" y="255731"/>
                  <a:pt x="1231511" y="259317"/>
                  <a:pt x="1231511" y="250814"/>
                </a:cubicBezTo>
                <a:cubicBezTo>
                  <a:pt x="1231511" y="242311"/>
                  <a:pt x="1246030" y="248385"/>
                  <a:pt x="1253897" y="246592"/>
                </a:cubicBezTo>
                <a:cubicBezTo>
                  <a:pt x="1261764" y="244798"/>
                  <a:pt x="1249674" y="233866"/>
                  <a:pt x="1237585" y="236874"/>
                </a:cubicBezTo>
                <a:cubicBezTo>
                  <a:pt x="1225495" y="239882"/>
                  <a:pt x="1216992" y="240518"/>
                  <a:pt x="1207274" y="230222"/>
                </a:cubicBezTo>
                <a:cubicBezTo>
                  <a:pt x="1197556" y="219925"/>
                  <a:pt x="1180030" y="213852"/>
                  <a:pt x="1175749" y="237510"/>
                </a:cubicBezTo>
                <a:cubicBezTo>
                  <a:pt x="1171469" y="261168"/>
                  <a:pt x="1154578" y="248385"/>
                  <a:pt x="1147926" y="256251"/>
                </a:cubicBezTo>
                <a:cubicBezTo>
                  <a:pt x="1141274" y="264118"/>
                  <a:pt x="1155793" y="269613"/>
                  <a:pt x="1172163" y="270192"/>
                </a:cubicBezTo>
                <a:cubicBezTo>
                  <a:pt x="1188533" y="270770"/>
                  <a:pt x="1200622" y="285984"/>
                  <a:pt x="1192755" y="285984"/>
                </a:cubicBezTo>
                <a:cubicBezTo>
                  <a:pt x="1184888" y="285984"/>
                  <a:pt x="1188475" y="297552"/>
                  <a:pt x="1180030" y="293214"/>
                </a:cubicBezTo>
                <a:cubicBezTo>
                  <a:pt x="1171584" y="288876"/>
                  <a:pt x="1163081" y="293214"/>
                  <a:pt x="1169097" y="300502"/>
                </a:cubicBezTo>
                <a:cubicBezTo>
                  <a:pt x="1175113" y="307791"/>
                  <a:pt x="1166668" y="310741"/>
                  <a:pt x="1167304" y="317856"/>
                </a:cubicBezTo>
                <a:cubicBezTo>
                  <a:pt x="1167940" y="324971"/>
                  <a:pt x="1154578" y="318434"/>
                  <a:pt x="1141852" y="317219"/>
                </a:cubicBezTo>
                <a:cubicBezTo>
                  <a:pt x="1129127" y="316005"/>
                  <a:pt x="1105526" y="320227"/>
                  <a:pt x="1088520" y="323871"/>
                </a:cubicBezTo>
                <a:cubicBezTo>
                  <a:pt x="1071514" y="327516"/>
                  <a:pt x="1052772" y="321500"/>
                  <a:pt x="1045542" y="313575"/>
                </a:cubicBezTo>
                <a:cubicBezTo>
                  <a:pt x="1038311" y="305651"/>
                  <a:pt x="1028593" y="306923"/>
                  <a:pt x="1016619" y="306923"/>
                </a:cubicBezTo>
                <a:cubicBezTo>
                  <a:pt x="1004646" y="306923"/>
                  <a:pt x="1008174" y="295354"/>
                  <a:pt x="992383" y="294834"/>
                </a:cubicBezTo>
                <a:cubicBezTo>
                  <a:pt x="976591" y="294313"/>
                  <a:pt x="980293" y="280893"/>
                  <a:pt x="978442" y="272969"/>
                </a:cubicBezTo>
                <a:cubicBezTo>
                  <a:pt x="976591" y="265044"/>
                  <a:pt x="945182" y="267531"/>
                  <a:pt x="933671" y="274819"/>
                </a:cubicBezTo>
                <a:cubicBezTo>
                  <a:pt x="922160" y="282108"/>
                  <a:pt x="899716" y="279042"/>
                  <a:pt x="893643" y="292173"/>
                </a:cubicBezTo>
                <a:cubicBezTo>
                  <a:pt x="887569" y="305303"/>
                  <a:pt x="899080" y="303742"/>
                  <a:pt x="905790" y="303742"/>
                </a:cubicBezTo>
                <a:cubicBezTo>
                  <a:pt x="915045" y="303742"/>
                  <a:pt x="914235" y="292809"/>
                  <a:pt x="931183" y="295238"/>
                </a:cubicBezTo>
                <a:cubicBezTo>
                  <a:pt x="948132" y="297668"/>
                  <a:pt x="960106" y="277885"/>
                  <a:pt x="967568" y="284942"/>
                </a:cubicBezTo>
                <a:cubicBezTo>
                  <a:pt x="975029" y="291999"/>
                  <a:pt x="938645" y="306113"/>
                  <a:pt x="922738" y="308543"/>
                </a:cubicBezTo>
                <a:cubicBezTo>
                  <a:pt x="906831" y="310972"/>
                  <a:pt x="910649" y="323698"/>
                  <a:pt x="925804" y="346142"/>
                </a:cubicBezTo>
                <a:cubicBezTo>
                  <a:pt x="940959" y="368585"/>
                  <a:pt x="919094" y="355801"/>
                  <a:pt x="919094" y="366734"/>
                </a:cubicBezTo>
                <a:cubicBezTo>
                  <a:pt x="919094" y="377667"/>
                  <a:pt x="890635" y="363090"/>
                  <a:pt x="902146" y="359446"/>
                </a:cubicBezTo>
                <a:cubicBezTo>
                  <a:pt x="913657" y="355801"/>
                  <a:pt x="907930" y="344290"/>
                  <a:pt x="899080" y="337060"/>
                </a:cubicBezTo>
                <a:cubicBezTo>
                  <a:pt x="890230" y="329829"/>
                  <a:pt x="883983" y="337060"/>
                  <a:pt x="885197" y="329193"/>
                </a:cubicBezTo>
                <a:cubicBezTo>
                  <a:pt x="886412" y="321326"/>
                  <a:pt x="875479" y="329772"/>
                  <a:pt x="866976" y="323119"/>
                </a:cubicBezTo>
                <a:cubicBezTo>
                  <a:pt x="858473" y="316467"/>
                  <a:pt x="854251" y="310972"/>
                  <a:pt x="842797" y="317046"/>
                </a:cubicBezTo>
                <a:cubicBezTo>
                  <a:pt x="831344" y="323119"/>
                  <a:pt x="817924" y="321326"/>
                  <a:pt x="792473" y="325549"/>
                </a:cubicBezTo>
                <a:cubicBezTo>
                  <a:pt x="767021" y="329772"/>
                  <a:pt x="720399" y="328557"/>
                  <a:pt x="711954" y="320054"/>
                </a:cubicBezTo>
                <a:cubicBezTo>
                  <a:pt x="703508" y="311551"/>
                  <a:pt x="733761" y="296453"/>
                  <a:pt x="742842" y="298883"/>
                </a:cubicBezTo>
                <a:cubicBezTo>
                  <a:pt x="751924" y="301312"/>
                  <a:pt x="746487" y="289165"/>
                  <a:pt x="732546" y="278290"/>
                </a:cubicBezTo>
                <a:cubicBezTo>
                  <a:pt x="718606" y="267415"/>
                  <a:pt x="687659" y="260937"/>
                  <a:pt x="688295" y="267358"/>
                </a:cubicBezTo>
                <a:cubicBezTo>
                  <a:pt x="688932" y="273778"/>
                  <a:pt x="670942" y="267994"/>
                  <a:pt x="648325" y="263771"/>
                </a:cubicBezTo>
                <a:cubicBezTo>
                  <a:pt x="625708" y="259549"/>
                  <a:pt x="622874" y="251624"/>
                  <a:pt x="608355" y="251046"/>
                </a:cubicBezTo>
                <a:cubicBezTo>
                  <a:pt x="589173" y="250403"/>
                  <a:pt x="570611" y="244081"/>
                  <a:pt x="555022" y="232882"/>
                </a:cubicBezTo>
                <a:cubicBezTo>
                  <a:pt x="538074" y="219520"/>
                  <a:pt x="498103" y="223165"/>
                  <a:pt x="493244" y="235254"/>
                </a:cubicBezTo>
                <a:cubicBezTo>
                  <a:pt x="488386" y="247343"/>
                  <a:pt x="475081" y="246823"/>
                  <a:pt x="461719" y="246823"/>
                </a:cubicBezTo>
                <a:cubicBezTo>
                  <a:pt x="448357" y="246823"/>
                  <a:pt x="467504" y="231841"/>
                  <a:pt x="462934" y="229470"/>
                </a:cubicBezTo>
                <a:cubicBezTo>
                  <a:pt x="456571" y="225999"/>
                  <a:pt x="463570" y="209455"/>
                  <a:pt x="453852" y="208241"/>
                </a:cubicBezTo>
                <a:cubicBezTo>
                  <a:pt x="444135" y="207026"/>
                  <a:pt x="435111" y="248211"/>
                  <a:pt x="416948" y="246996"/>
                </a:cubicBezTo>
                <a:cubicBezTo>
                  <a:pt x="398785" y="245782"/>
                  <a:pt x="390860" y="203382"/>
                  <a:pt x="375705" y="192507"/>
                </a:cubicBezTo>
                <a:cubicBezTo>
                  <a:pt x="360550" y="181632"/>
                  <a:pt x="346783" y="180938"/>
                  <a:pt x="359393" y="197366"/>
                </a:cubicBezTo>
                <a:cubicBezTo>
                  <a:pt x="372003" y="213794"/>
                  <a:pt x="348460" y="202167"/>
                  <a:pt x="349675" y="213100"/>
                </a:cubicBezTo>
                <a:cubicBezTo>
                  <a:pt x="350890" y="224032"/>
                  <a:pt x="329082" y="236700"/>
                  <a:pt x="329719" y="230453"/>
                </a:cubicBezTo>
                <a:cubicBezTo>
                  <a:pt x="330355" y="224206"/>
                  <a:pt x="317571" y="217669"/>
                  <a:pt x="303052" y="234676"/>
                </a:cubicBezTo>
                <a:cubicBezTo>
                  <a:pt x="288533" y="251682"/>
                  <a:pt x="278179" y="249194"/>
                  <a:pt x="276965" y="243121"/>
                </a:cubicBezTo>
                <a:cubicBezTo>
                  <a:pt x="275750" y="237047"/>
                  <a:pt x="232772" y="258912"/>
                  <a:pt x="234565" y="266259"/>
                </a:cubicBezTo>
                <a:cubicBezTo>
                  <a:pt x="236358" y="273605"/>
                  <a:pt x="227913" y="278984"/>
                  <a:pt x="216402" y="278406"/>
                </a:cubicBezTo>
                <a:cubicBezTo>
                  <a:pt x="204891" y="277827"/>
                  <a:pt x="213972" y="268110"/>
                  <a:pt x="223054" y="263251"/>
                </a:cubicBezTo>
                <a:cubicBezTo>
                  <a:pt x="233292" y="257813"/>
                  <a:pt x="261231" y="235370"/>
                  <a:pt x="275750" y="232998"/>
                </a:cubicBezTo>
                <a:cubicBezTo>
                  <a:pt x="290269" y="230626"/>
                  <a:pt x="318208" y="219058"/>
                  <a:pt x="318786" y="212348"/>
                </a:cubicBezTo>
                <a:cubicBezTo>
                  <a:pt x="319365" y="205638"/>
                  <a:pt x="304846" y="211133"/>
                  <a:pt x="295128" y="209340"/>
                </a:cubicBezTo>
                <a:cubicBezTo>
                  <a:pt x="285410" y="207547"/>
                  <a:pt x="268519" y="218421"/>
                  <a:pt x="252149" y="225710"/>
                </a:cubicBezTo>
                <a:cubicBezTo>
                  <a:pt x="235779" y="232998"/>
                  <a:pt x="217038" y="230569"/>
                  <a:pt x="221839" y="240229"/>
                </a:cubicBezTo>
                <a:cubicBezTo>
                  <a:pt x="226640" y="249889"/>
                  <a:pt x="206742" y="239014"/>
                  <a:pt x="202461" y="245666"/>
                </a:cubicBezTo>
                <a:cubicBezTo>
                  <a:pt x="198181" y="252318"/>
                  <a:pt x="190372" y="245088"/>
                  <a:pt x="196388" y="241443"/>
                </a:cubicBezTo>
                <a:cubicBezTo>
                  <a:pt x="202403" y="237799"/>
                  <a:pt x="181869" y="231147"/>
                  <a:pt x="181869" y="235370"/>
                </a:cubicBezTo>
                <a:cubicBezTo>
                  <a:pt x="181869" y="239592"/>
                  <a:pt x="178224" y="245088"/>
                  <a:pt x="163706" y="245088"/>
                </a:cubicBezTo>
                <a:cubicBezTo>
                  <a:pt x="149187" y="245088"/>
                  <a:pt x="134783" y="255384"/>
                  <a:pt x="144328" y="262441"/>
                </a:cubicBezTo>
                <a:cubicBezTo>
                  <a:pt x="153872" y="269498"/>
                  <a:pt x="160061" y="273373"/>
                  <a:pt x="155202" y="278175"/>
                </a:cubicBezTo>
                <a:cubicBezTo>
                  <a:pt x="150344" y="282975"/>
                  <a:pt x="135246" y="265449"/>
                  <a:pt x="114017" y="267242"/>
                </a:cubicBezTo>
                <a:cubicBezTo>
                  <a:pt x="92788" y="269035"/>
                  <a:pt x="50389" y="243641"/>
                  <a:pt x="50389" y="237568"/>
                </a:cubicBezTo>
                <a:cubicBezTo>
                  <a:pt x="50389" y="232651"/>
                  <a:pt x="20541" y="235717"/>
                  <a:pt x="-110" y="233519"/>
                </a:cubicBezTo>
                <a:lnTo>
                  <a:pt x="-110" y="652196"/>
                </a:lnTo>
                <a:cubicBezTo>
                  <a:pt x="-110" y="652196"/>
                  <a:pt x="10360" y="660005"/>
                  <a:pt x="14409" y="655146"/>
                </a:cubicBezTo>
                <a:cubicBezTo>
                  <a:pt x="18459" y="650287"/>
                  <a:pt x="25978" y="656765"/>
                  <a:pt x="39456" y="650345"/>
                </a:cubicBezTo>
                <a:cubicBezTo>
                  <a:pt x="52934" y="643924"/>
                  <a:pt x="58024" y="657575"/>
                  <a:pt x="58024" y="664054"/>
                </a:cubicBezTo>
                <a:cubicBezTo>
                  <a:pt x="58024" y="670532"/>
                  <a:pt x="77402" y="681002"/>
                  <a:pt x="85500" y="691530"/>
                </a:cubicBezTo>
                <a:cubicBezTo>
                  <a:pt x="93598" y="702057"/>
                  <a:pt x="97647" y="710908"/>
                  <a:pt x="106497" y="705239"/>
                </a:cubicBezTo>
                <a:cubicBezTo>
                  <a:pt x="115348" y="699570"/>
                  <a:pt x="131486" y="696852"/>
                  <a:pt x="131486" y="686497"/>
                </a:cubicBezTo>
                <a:cubicBezTo>
                  <a:pt x="131486" y="676143"/>
                  <a:pt x="168622" y="674408"/>
                  <a:pt x="168622" y="688117"/>
                </a:cubicBezTo>
                <a:cubicBezTo>
                  <a:pt x="168622" y="701826"/>
                  <a:pt x="206626" y="718023"/>
                  <a:pt x="227623" y="755101"/>
                </a:cubicBezTo>
                <a:cubicBezTo>
                  <a:pt x="248621" y="792179"/>
                  <a:pt x="245382" y="800393"/>
                  <a:pt x="276039" y="812482"/>
                </a:cubicBezTo>
                <a:cubicBezTo>
                  <a:pt x="306697" y="824572"/>
                  <a:pt x="305945" y="831050"/>
                  <a:pt x="301895" y="841404"/>
                </a:cubicBezTo>
                <a:cubicBezTo>
                  <a:pt x="297846" y="851759"/>
                  <a:pt x="320464" y="857543"/>
                  <a:pt x="307680" y="866451"/>
                </a:cubicBezTo>
                <a:cubicBezTo>
                  <a:pt x="302705" y="869864"/>
                  <a:pt x="295764" y="874780"/>
                  <a:pt x="289054" y="879640"/>
                </a:cubicBezTo>
                <a:cubicBezTo>
                  <a:pt x="289632" y="884961"/>
                  <a:pt x="294434" y="888374"/>
                  <a:pt x="300623" y="893464"/>
                </a:cubicBezTo>
                <a:cubicBezTo>
                  <a:pt x="307853" y="899249"/>
                  <a:pt x="287261" y="899249"/>
                  <a:pt x="293335" y="905033"/>
                </a:cubicBezTo>
                <a:cubicBezTo>
                  <a:pt x="299408" y="910817"/>
                  <a:pt x="292120" y="918974"/>
                  <a:pt x="298193" y="925626"/>
                </a:cubicBezTo>
                <a:cubicBezTo>
                  <a:pt x="304267" y="932278"/>
                  <a:pt x="315142" y="929906"/>
                  <a:pt x="321794" y="924469"/>
                </a:cubicBezTo>
                <a:cubicBezTo>
                  <a:pt x="328446" y="919031"/>
                  <a:pt x="333363" y="931121"/>
                  <a:pt x="327868" y="940202"/>
                </a:cubicBezTo>
                <a:cubicBezTo>
                  <a:pt x="325357" y="943395"/>
                  <a:pt x="325918" y="948017"/>
                  <a:pt x="329111" y="950528"/>
                </a:cubicBezTo>
                <a:cubicBezTo>
                  <a:pt x="332304" y="953038"/>
                  <a:pt x="336926" y="952477"/>
                  <a:pt x="339436" y="949284"/>
                </a:cubicBezTo>
                <a:cubicBezTo>
                  <a:pt x="344874" y="942632"/>
                  <a:pt x="356385" y="960217"/>
                  <a:pt x="361880" y="963224"/>
                </a:cubicBezTo>
                <a:cubicBezTo>
                  <a:pt x="367375" y="966232"/>
                  <a:pt x="372755" y="975372"/>
                  <a:pt x="363673" y="975372"/>
                </a:cubicBezTo>
                <a:cubicBezTo>
                  <a:pt x="354592" y="975372"/>
                  <a:pt x="355806" y="991105"/>
                  <a:pt x="362458" y="991684"/>
                </a:cubicBezTo>
                <a:cubicBezTo>
                  <a:pt x="369110" y="992262"/>
                  <a:pt x="368243" y="1000765"/>
                  <a:pt x="368243" y="1006261"/>
                </a:cubicBezTo>
                <a:cubicBezTo>
                  <a:pt x="368243" y="1011756"/>
                  <a:pt x="389414" y="1019565"/>
                  <a:pt x="397165" y="1017135"/>
                </a:cubicBezTo>
                <a:cubicBezTo>
                  <a:pt x="404916" y="1014706"/>
                  <a:pt x="412320" y="1021936"/>
                  <a:pt x="415964" y="1028704"/>
                </a:cubicBezTo>
                <a:cubicBezTo>
                  <a:pt x="419609" y="1035472"/>
                  <a:pt x="434128" y="1040273"/>
                  <a:pt x="439623" y="1035993"/>
                </a:cubicBezTo>
                <a:cubicBezTo>
                  <a:pt x="445118" y="1031712"/>
                  <a:pt x="448704" y="1043859"/>
                  <a:pt x="449919" y="1052305"/>
                </a:cubicBezTo>
                <a:cubicBezTo>
                  <a:pt x="451134" y="1060750"/>
                  <a:pt x="463223" y="1055949"/>
                  <a:pt x="470511" y="1055370"/>
                </a:cubicBezTo>
                <a:cubicBezTo>
                  <a:pt x="477800" y="1054792"/>
                  <a:pt x="482080" y="1065030"/>
                  <a:pt x="486824" y="1063237"/>
                </a:cubicBezTo>
                <a:cubicBezTo>
                  <a:pt x="497525" y="1059246"/>
                  <a:pt x="500764" y="1077872"/>
                  <a:pt x="507821" y="1088804"/>
                </a:cubicBezTo>
                <a:lnTo>
                  <a:pt x="1260722" y="1084755"/>
                </a:lnTo>
                <a:cubicBezTo>
                  <a:pt x="1260722" y="1084755"/>
                  <a:pt x="1261243" y="1066072"/>
                  <a:pt x="1270093" y="1072492"/>
                </a:cubicBezTo>
                <a:cubicBezTo>
                  <a:pt x="1278943" y="1078913"/>
                  <a:pt x="1270903" y="1089499"/>
                  <a:pt x="1281662" y="1093548"/>
                </a:cubicBezTo>
                <a:cubicBezTo>
                  <a:pt x="1292421" y="1097597"/>
                  <a:pt x="1299420" y="1104017"/>
                  <a:pt x="1304800" y="1101588"/>
                </a:cubicBezTo>
                <a:cubicBezTo>
                  <a:pt x="1310179" y="1099159"/>
                  <a:pt x="1320128" y="1091118"/>
                  <a:pt x="1329788" y="1102398"/>
                </a:cubicBezTo>
                <a:cubicBezTo>
                  <a:pt x="1339448" y="1113677"/>
                  <a:pt x="1346795" y="1104017"/>
                  <a:pt x="1352406" y="1111306"/>
                </a:cubicBezTo>
                <a:cubicBezTo>
                  <a:pt x="1358017" y="1118594"/>
                  <a:pt x="1368544" y="1124205"/>
                  <a:pt x="1375832" y="1115355"/>
                </a:cubicBezTo>
                <a:cubicBezTo>
                  <a:pt x="1381617" y="1108124"/>
                  <a:pt x="1404061" y="1116859"/>
                  <a:pt x="1414935" y="1120792"/>
                </a:cubicBezTo>
                <a:cubicBezTo>
                  <a:pt x="1428182" y="1110149"/>
                  <a:pt x="1438709" y="1087474"/>
                  <a:pt x="1450567" y="1087474"/>
                </a:cubicBezTo>
                <a:cubicBezTo>
                  <a:pt x="1466301" y="1087474"/>
                  <a:pt x="1506271" y="1091118"/>
                  <a:pt x="1508412" y="1111711"/>
                </a:cubicBezTo>
                <a:cubicBezTo>
                  <a:pt x="1510552" y="1132303"/>
                  <a:pt x="1535078" y="1112925"/>
                  <a:pt x="1537334" y="1132303"/>
                </a:cubicBezTo>
                <a:cubicBezTo>
                  <a:pt x="1539358" y="1148731"/>
                  <a:pt x="1555381" y="1161746"/>
                  <a:pt x="1552720" y="1170423"/>
                </a:cubicBezTo>
                <a:cubicBezTo>
                  <a:pt x="1558094" y="1173749"/>
                  <a:pt x="1563289" y="1177364"/>
                  <a:pt x="1568281" y="1181240"/>
                </a:cubicBezTo>
                <a:cubicBezTo>
                  <a:pt x="1575974" y="1178694"/>
                  <a:pt x="1596451" y="1181992"/>
                  <a:pt x="1610044" y="1187024"/>
                </a:cubicBezTo>
                <a:cubicBezTo>
                  <a:pt x="1626992" y="1192808"/>
                  <a:pt x="1652444" y="1179793"/>
                  <a:pt x="1660889" y="1200386"/>
                </a:cubicBezTo>
                <a:cubicBezTo>
                  <a:pt x="1669334" y="1220979"/>
                  <a:pt x="1689059" y="1236481"/>
                  <a:pt x="1670607" y="1237927"/>
                </a:cubicBezTo>
                <a:cubicBezTo>
                  <a:pt x="1654873" y="1239142"/>
                  <a:pt x="1634281" y="1217334"/>
                  <a:pt x="1635438" y="1229424"/>
                </a:cubicBezTo>
                <a:cubicBezTo>
                  <a:pt x="1636595" y="1241513"/>
                  <a:pt x="1626992" y="1235498"/>
                  <a:pt x="1626992" y="1253661"/>
                </a:cubicBezTo>
                <a:cubicBezTo>
                  <a:pt x="1626992" y="1271824"/>
                  <a:pt x="1614845" y="1297275"/>
                  <a:pt x="1607615" y="1296061"/>
                </a:cubicBezTo>
                <a:cubicBezTo>
                  <a:pt x="1607372" y="1296003"/>
                  <a:pt x="1607134" y="1295904"/>
                  <a:pt x="1606920" y="1295771"/>
                </a:cubicBezTo>
                <a:cubicBezTo>
                  <a:pt x="1604815" y="1303216"/>
                  <a:pt x="1606458" y="1311216"/>
                  <a:pt x="1611317" y="1317232"/>
                </a:cubicBezTo>
                <a:cubicBezTo>
                  <a:pt x="1620572" y="1310464"/>
                  <a:pt x="1633760" y="1298953"/>
                  <a:pt x="1645155" y="1299878"/>
                </a:cubicBezTo>
                <a:cubicBezTo>
                  <a:pt x="1663319" y="1301093"/>
                  <a:pt x="1668293" y="1312026"/>
                  <a:pt x="1680267" y="1303523"/>
                </a:cubicBezTo>
                <a:cubicBezTo>
                  <a:pt x="1692241" y="1295019"/>
                  <a:pt x="1694844" y="1291433"/>
                  <a:pt x="1697273" y="1297738"/>
                </a:cubicBezTo>
                <a:cubicBezTo>
                  <a:pt x="1697504" y="1298687"/>
                  <a:pt x="1697337" y="1299693"/>
                  <a:pt x="1696810" y="1300514"/>
                </a:cubicBezTo>
                <a:cubicBezTo>
                  <a:pt x="1701438" y="1298027"/>
                  <a:pt x="1704735" y="1295656"/>
                  <a:pt x="1704909" y="1293689"/>
                </a:cubicBezTo>
                <a:cubicBezTo>
                  <a:pt x="1705053" y="1290022"/>
                  <a:pt x="1704544" y="1286360"/>
                  <a:pt x="1703405" y="1282872"/>
                </a:cubicBezTo>
                <a:cubicBezTo>
                  <a:pt x="1691200" y="1284665"/>
                  <a:pt x="1687266" y="1285591"/>
                  <a:pt x="1683911" y="1277088"/>
                </a:cubicBezTo>
                <a:cubicBezTo>
                  <a:pt x="1679052" y="1264998"/>
                  <a:pt x="1720237" y="1252851"/>
                  <a:pt x="1739673" y="1255280"/>
                </a:cubicBezTo>
                <a:cubicBezTo>
                  <a:pt x="1758010" y="1257594"/>
                  <a:pt x="1770967" y="1244695"/>
                  <a:pt x="1777387" y="1252619"/>
                </a:cubicBezTo>
                <a:cubicBezTo>
                  <a:pt x="1788956" y="1242150"/>
                  <a:pt x="1808913" y="1225028"/>
                  <a:pt x="1813945" y="1225028"/>
                </a:cubicBezTo>
                <a:cubicBezTo>
                  <a:pt x="1821233" y="1225028"/>
                  <a:pt x="1907653" y="1224160"/>
                  <a:pt x="1907653" y="1224160"/>
                </a:cubicBezTo>
                <a:cubicBezTo>
                  <a:pt x="1907653" y="1224160"/>
                  <a:pt x="1937558" y="1205592"/>
                  <a:pt x="1941607" y="1188644"/>
                </a:cubicBezTo>
                <a:cubicBezTo>
                  <a:pt x="1945657" y="1171695"/>
                  <a:pt x="1964745" y="1131320"/>
                  <a:pt x="1976314" y="1140228"/>
                </a:cubicBezTo>
                <a:cubicBezTo>
                  <a:pt x="1987883" y="1149136"/>
                  <a:pt x="2011830" y="1142600"/>
                  <a:pt x="2012640" y="1150698"/>
                </a:cubicBezTo>
                <a:cubicBezTo>
                  <a:pt x="2013450" y="1158796"/>
                  <a:pt x="2004600" y="1185404"/>
                  <a:pt x="2035778" y="1226647"/>
                </a:cubicBezTo>
                <a:cubicBezTo>
                  <a:pt x="2046710" y="1219764"/>
                  <a:pt x="2058048" y="1214327"/>
                  <a:pt x="2064700" y="1214731"/>
                </a:cubicBezTo>
                <a:cubicBezTo>
                  <a:pt x="2075575" y="1215310"/>
                  <a:pt x="2091945" y="1200791"/>
                  <a:pt x="2096804" y="1191594"/>
                </a:cubicBezTo>
                <a:cubicBezTo>
                  <a:pt x="2101662" y="1182397"/>
                  <a:pt x="2108373" y="1200039"/>
                  <a:pt x="2098597" y="1203163"/>
                </a:cubicBezTo>
                <a:cubicBezTo>
                  <a:pt x="2088821" y="1206286"/>
                  <a:pt x="2106522" y="1213459"/>
                  <a:pt x="2123470" y="1212823"/>
                </a:cubicBezTo>
                <a:cubicBezTo>
                  <a:pt x="2140418" y="1212186"/>
                  <a:pt x="2115603" y="1218896"/>
                  <a:pt x="2102877" y="1218260"/>
                </a:cubicBezTo>
                <a:cubicBezTo>
                  <a:pt x="2090151" y="1217624"/>
                  <a:pt x="2084714" y="1219475"/>
                  <a:pt x="2067708" y="1236481"/>
                </a:cubicBezTo>
                <a:cubicBezTo>
                  <a:pt x="2050702" y="1253487"/>
                  <a:pt x="2054982" y="1258288"/>
                  <a:pt x="2064700" y="1266733"/>
                </a:cubicBezTo>
                <a:cubicBezTo>
                  <a:pt x="2074418" y="1275179"/>
                  <a:pt x="2087086" y="1271592"/>
                  <a:pt x="2100448" y="1260081"/>
                </a:cubicBezTo>
                <a:cubicBezTo>
                  <a:pt x="2113810" y="1248570"/>
                  <a:pt x="2113174" y="1236944"/>
                  <a:pt x="2126478" y="1237696"/>
                </a:cubicBezTo>
                <a:cubicBezTo>
                  <a:pt x="2139782" y="1238448"/>
                  <a:pt x="2174315" y="1225548"/>
                  <a:pt x="2189470" y="1220689"/>
                </a:cubicBezTo>
                <a:cubicBezTo>
                  <a:pt x="2204626" y="1215831"/>
                  <a:pt x="2194907" y="1213459"/>
                  <a:pt x="2194907" y="1206749"/>
                </a:cubicBezTo>
                <a:cubicBezTo>
                  <a:pt x="2194907" y="1200039"/>
                  <a:pt x="2221574" y="1200097"/>
                  <a:pt x="2231292" y="1193445"/>
                </a:cubicBezTo>
                <a:cubicBezTo>
                  <a:pt x="2241010" y="1186793"/>
                  <a:pt x="2229556" y="1180661"/>
                  <a:pt x="2221111" y="1181934"/>
                </a:cubicBezTo>
                <a:close/>
                <a:moveTo>
                  <a:pt x="644392" y="396697"/>
                </a:moveTo>
                <a:cubicBezTo>
                  <a:pt x="628542" y="416480"/>
                  <a:pt x="623221" y="419372"/>
                  <a:pt x="606851" y="416480"/>
                </a:cubicBezTo>
                <a:cubicBezTo>
                  <a:pt x="590481" y="413588"/>
                  <a:pt x="580358" y="421802"/>
                  <a:pt x="588514" y="427586"/>
                </a:cubicBezTo>
                <a:cubicBezTo>
                  <a:pt x="596670" y="433371"/>
                  <a:pt x="597191" y="438172"/>
                  <a:pt x="580358" y="441990"/>
                </a:cubicBezTo>
                <a:cubicBezTo>
                  <a:pt x="563525" y="445807"/>
                  <a:pt x="552419" y="458880"/>
                  <a:pt x="545651" y="457434"/>
                </a:cubicBezTo>
                <a:cubicBezTo>
                  <a:pt x="538883" y="455988"/>
                  <a:pt x="574573" y="430421"/>
                  <a:pt x="565434" y="423711"/>
                </a:cubicBezTo>
                <a:cubicBezTo>
                  <a:pt x="556295" y="417001"/>
                  <a:pt x="533620" y="435280"/>
                  <a:pt x="533157" y="443493"/>
                </a:cubicBezTo>
                <a:cubicBezTo>
                  <a:pt x="532694" y="451707"/>
                  <a:pt x="517712" y="452170"/>
                  <a:pt x="508573" y="451649"/>
                </a:cubicBezTo>
                <a:cubicBezTo>
                  <a:pt x="499434" y="451129"/>
                  <a:pt x="487402" y="442510"/>
                  <a:pt x="496541" y="441527"/>
                </a:cubicBezTo>
                <a:cubicBezTo>
                  <a:pt x="505681" y="440543"/>
                  <a:pt x="499434" y="430421"/>
                  <a:pt x="511986" y="425620"/>
                </a:cubicBezTo>
                <a:cubicBezTo>
                  <a:pt x="524538" y="420819"/>
                  <a:pt x="509499" y="413588"/>
                  <a:pt x="513432" y="408266"/>
                </a:cubicBezTo>
                <a:cubicBezTo>
                  <a:pt x="517365" y="402945"/>
                  <a:pt x="542759" y="413530"/>
                  <a:pt x="543280" y="403928"/>
                </a:cubicBezTo>
                <a:cubicBezTo>
                  <a:pt x="543800" y="394326"/>
                  <a:pt x="517712" y="386112"/>
                  <a:pt x="509094" y="391838"/>
                </a:cubicBezTo>
                <a:cubicBezTo>
                  <a:pt x="500475" y="397565"/>
                  <a:pt x="480172" y="411158"/>
                  <a:pt x="456108" y="400515"/>
                </a:cubicBezTo>
                <a:cubicBezTo>
                  <a:pt x="448473" y="397218"/>
                  <a:pt x="516787" y="389987"/>
                  <a:pt x="528356" y="379344"/>
                </a:cubicBezTo>
                <a:cubicBezTo>
                  <a:pt x="539925" y="368701"/>
                  <a:pt x="591984" y="356669"/>
                  <a:pt x="595745" y="366329"/>
                </a:cubicBezTo>
                <a:cubicBezTo>
                  <a:pt x="599504" y="375989"/>
                  <a:pt x="567864" y="382236"/>
                  <a:pt x="583250" y="390913"/>
                </a:cubicBezTo>
                <a:cubicBezTo>
                  <a:pt x="598637" y="399590"/>
                  <a:pt x="623741" y="393805"/>
                  <a:pt x="629526" y="384666"/>
                </a:cubicBezTo>
                <a:cubicBezTo>
                  <a:pt x="635310" y="375526"/>
                  <a:pt x="660299" y="376972"/>
                  <a:pt x="644392" y="396697"/>
                </a:cubicBezTo>
                <a:close/>
                <a:moveTo>
                  <a:pt x="797563" y="591343"/>
                </a:moveTo>
                <a:cubicBezTo>
                  <a:pt x="778764" y="607713"/>
                  <a:pt x="780210" y="603375"/>
                  <a:pt x="763840" y="606209"/>
                </a:cubicBezTo>
                <a:cubicBezTo>
                  <a:pt x="747470" y="609044"/>
                  <a:pt x="760485" y="625472"/>
                  <a:pt x="740702" y="626976"/>
                </a:cubicBezTo>
                <a:cubicBezTo>
                  <a:pt x="720919" y="628480"/>
                  <a:pt x="673256" y="630331"/>
                  <a:pt x="666488" y="619282"/>
                </a:cubicBezTo>
                <a:cubicBezTo>
                  <a:pt x="664232" y="615522"/>
                  <a:pt x="692518" y="618299"/>
                  <a:pt x="694427" y="610085"/>
                </a:cubicBezTo>
                <a:cubicBezTo>
                  <a:pt x="696336" y="601871"/>
                  <a:pt x="704087" y="588914"/>
                  <a:pt x="716118" y="588914"/>
                </a:cubicBezTo>
                <a:cubicBezTo>
                  <a:pt x="728150" y="588914"/>
                  <a:pt x="727224" y="573065"/>
                  <a:pt x="707442" y="563405"/>
                </a:cubicBezTo>
                <a:cubicBezTo>
                  <a:pt x="687659" y="553745"/>
                  <a:pt x="735843" y="547498"/>
                  <a:pt x="746949" y="562884"/>
                </a:cubicBezTo>
                <a:cubicBezTo>
                  <a:pt x="758056" y="578271"/>
                  <a:pt x="777780" y="589435"/>
                  <a:pt x="788829" y="578328"/>
                </a:cubicBezTo>
                <a:cubicBezTo>
                  <a:pt x="799877" y="567222"/>
                  <a:pt x="863043" y="536391"/>
                  <a:pt x="863043" y="550852"/>
                </a:cubicBezTo>
                <a:cubicBezTo>
                  <a:pt x="863043" y="565313"/>
                  <a:pt x="816363" y="574974"/>
                  <a:pt x="797563" y="591343"/>
                </a:cubicBezTo>
                <a:close/>
                <a:moveTo>
                  <a:pt x="1226189" y="1027779"/>
                </a:moveTo>
                <a:cubicBezTo>
                  <a:pt x="1224940" y="1030590"/>
                  <a:pt x="1222348" y="1032574"/>
                  <a:pt x="1219306" y="1033043"/>
                </a:cubicBezTo>
                <a:lnTo>
                  <a:pt x="1218438" y="1033043"/>
                </a:lnTo>
                <a:cubicBezTo>
                  <a:pt x="1212364" y="1033043"/>
                  <a:pt x="1211728" y="1025812"/>
                  <a:pt x="1211034" y="1017482"/>
                </a:cubicBezTo>
                <a:cubicBezTo>
                  <a:pt x="1210051" y="1005914"/>
                  <a:pt x="1208836" y="991626"/>
                  <a:pt x="1195590" y="984395"/>
                </a:cubicBezTo>
                <a:cubicBezTo>
                  <a:pt x="1166668" y="968546"/>
                  <a:pt x="1153826" y="938814"/>
                  <a:pt x="1153826" y="922791"/>
                </a:cubicBezTo>
                <a:cubicBezTo>
                  <a:pt x="1153826" y="911627"/>
                  <a:pt x="1164874" y="904686"/>
                  <a:pt x="1175171" y="904686"/>
                </a:cubicBezTo>
                <a:cubicBezTo>
                  <a:pt x="1180782" y="904478"/>
                  <a:pt x="1186173" y="906896"/>
                  <a:pt x="1189748" y="911222"/>
                </a:cubicBezTo>
                <a:cubicBezTo>
                  <a:pt x="1195532" y="918453"/>
                  <a:pt x="1202705" y="937946"/>
                  <a:pt x="1209646" y="956862"/>
                </a:cubicBezTo>
                <a:cubicBezTo>
                  <a:pt x="1213377" y="967765"/>
                  <a:pt x="1217680" y="978461"/>
                  <a:pt x="1222545" y="988907"/>
                </a:cubicBezTo>
                <a:cubicBezTo>
                  <a:pt x="1229139" y="1000939"/>
                  <a:pt x="1230817" y="1018755"/>
                  <a:pt x="1226189" y="1027779"/>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6" name="Forma libre: forma 265">
            <a:extLst>
              <a:ext uri="{FF2B5EF4-FFF2-40B4-BE49-F238E27FC236}">
                <a16:creationId xmlns:a16="http://schemas.microsoft.com/office/drawing/2014/main" id="{D0A904F8-2677-6D29-D343-0C161A40D453}"/>
              </a:ext>
            </a:extLst>
          </p:cNvPr>
          <p:cNvSpPr/>
          <p:nvPr/>
        </p:nvSpPr>
        <p:spPr>
          <a:xfrm>
            <a:off x="4554808" y="2921367"/>
            <a:ext cx="179529" cy="165062"/>
          </a:xfrm>
          <a:custGeom>
            <a:avLst/>
            <a:gdLst>
              <a:gd name="connsiteX0" fmla="*/ 165529 w 179529"/>
              <a:gd name="connsiteY0" fmla="*/ 134033 h 165062"/>
              <a:gd name="connsiteX1" fmla="*/ 163909 w 179529"/>
              <a:gd name="connsiteY1" fmla="*/ 119456 h 165062"/>
              <a:gd name="connsiteX2" fmla="*/ 152630 w 179529"/>
              <a:gd name="connsiteY2" fmla="*/ 113035 h 165062"/>
              <a:gd name="connsiteX3" fmla="*/ 154250 w 179529"/>
              <a:gd name="connsiteY3" fmla="*/ 86369 h 165062"/>
              <a:gd name="connsiteX4" fmla="*/ 132442 w 179529"/>
              <a:gd name="connsiteY4" fmla="*/ 80585 h 165062"/>
              <a:gd name="connsiteX5" fmla="*/ 108148 w 179529"/>
              <a:gd name="connsiteY5" fmla="*/ 75726 h 165062"/>
              <a:gd name="connsiteX6" fmla="*/ 96058 w 179529"/>
              <a:gd name="connsiteY6" fmla="*/ 59587 h 165062"/>
              <a:gd name="connsiteX7" fmla="*/ 75061 w 179529"/>
              <a:gd name="connsiteY7" fmla="*/ 60397 h 165062"/>
              <a:gd name="connsiteX8" fmla="*/ 77490 w 179529"/>
              <a:gd name="connsiteY8" fmla="*/ 41019 h 165062"/>
              <a:gd name="connsiteX9" fmla="*/ 96868 w 179529"/>
              <a:gd name="connsiteY9" fmla="*/ 10362 h 165062"/>
              <a:gd name="connsiteX10" fmla="*/ 83969 w 179529"/>
              <a:gd name="connsiteY10" fmla="*/ 1454 h 165062"/>
              <a:gd name="connsiteX11" fmla="*/ 39544 w 179529"/>
              <a:gd name="connsiteY11" fmla="*/ 62826 h 165062"/>
              <a:gd name="connsiteX12" fmla="*/ 27397 w 179529"/>
              <a:gd name="connsiteY12" fmla="*/ 88683 h 165062"/>
              <a:gd name="connsiteX13" fmla="*/ 12068 w 179529"/>
              <a:gd name="connsiteY13" fmla="*/ 104821 h 165062"/>
              <a:gd name="connsiteX14" fmla="*/ 3970 w 179529"/>
              <a:gd name="connsiteY14" fmla="*/ 137966 h 165062"/>
              <a:gd name="connsiteX15" fmla="*/ 45965 w 179529"/>
              <a:gd name="connsiteY15" fmla="*/ 137156 h 165062"/>
              <a:gd name="connsiteX16" fmla="*/ 84779 w 179529"/>
              <a:gd name="connsiteY16" fmla="*/ 130678 h 165062"/>
              <a:gd name="connsiteX17" fmla="*/ 109767 w 179529"/>
              <a:gd name="connsiteY17" fmla="*/ 137156 h 165062"/>
              <a:gd name="connsiteX18" fmla="*/ 103347 w 179529"/>
              <a:gd name="connsiteY18" fmla="*/ 156534 h 165062"/>
              <a:gd name="connsiteX19" fmla="*/ 126484 w 179529"/>
              <a:gd name="connsiteY19" fmla="*/ 146816 h 165062"/>
              <a:gd name="connsiteX20" fmla="*/ 143433 w 179529"/>
              <a:gd name="connsiteY20" fmla="*/ 154915 h 165062"/>
              <a:gd name="connsiteX21" fmla="*/ 177387 w 179529"/>
              <a:gd name="connsiteY21" fmla="*/ 158154 h 165062"/>
              <a:gd name="connsiteX22" fmla="*/ 165529 w 179529"/>
              <a:gd name="connsiteY22" fmla="*/ 134033 h 16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9529" h="165062">
                <a:moveTo>
                  <a:pt x="165529" y="134033"/>
                </a:moveTo>
                <a:cubicBezTo>
                  <a:pt x="160728" y="142941"/>
                  <a:pt x="153440" y="127554"/>
                  <a:pt x="163909" y="119456"/>
                </a:cubicBezTo>
                <a:cubicBezTo>
                  <a:pt x="174379" y="111358"/>
                  <a:pt x="162290" y="108176"/>
                  <a:pt x="152630" y="113035"/>
                </a:cubicBezTo>
                <a:cubicBezTo>
                  <a:pt x="142970" y="117894"/>
                  <a:pt x="145342" y="91228"/>
                  <a:pt x="154250" y="86369"/>
                </a:cubicBezTo>
                <a:cubicBezTo>
                  <a:pt x="163158" y="81510"/>
                  <a:pt x="132442" y="71850"/>
                  <a:pt x="132442" y="80585"/>
                </a:cubicBezTo>
                <a:cubicBezTo>
                  <a:pt x="132442" y="89319"/>
                  <a:pt x="110577" y="83824"/>
                  <a:pt x="108148" y="75726"/>
                </a:cubicBezTo>
                <a:cubicBezTo>
                  <a:pt x="105718" y="67628"/>
                  <a:pt x="90448" y="65256"/>
                  <a:pt x="96058" y="59587"/>
                </a:cubicBezTo>
                <a:cubicBezTo>
                  <a:pt x="101669" y="53919"/>
                  <a:pt x="77490" y="50737"/>
                  <a:pt x="75061" y="60397"/>
                </a:cubicBezTo>
                <a:cubicBezTo>
                  <a:pt x="72631" y="70057"/>
                  <a:pt x="65343" y="53976"/>
                  <a:pt x="77490" y="41019"/>
                </a:cubicBezTo>
                <a:cubicBezTo>
                  <a:pt x="89638" y="28062"/>
                  <a:pt x="85588" y="16840"/>
                  <a:pt x="96868" y="10362"/>
                </a:cubicBezTo>
                <a:cubicBezTo>
                  <a:pt x="108148" y="3883"/>
                  <a:pt x="96058" y="-3405"/>
                  <a:pt x="83969" y="1454"/>
                </a:cubicBezTo>
                <a:cubicBezTo>
                  <a:pt x="71879" y="6313"/>
                  <a:pt x="39544" y="50737"/>
                  <a:pt x="39544" y="62826"/>
                </a:cubicBezTo>
                <a:cubicBezTo>
                  <a:pt x="39544" y="74916"/>
                  <a:pt x="38735" y="89493"/>
                  <a:pt x="27397" y="88683"/>
                </a:cubicBezTo>
                <a:cubicBezTo>
                  <a:pt x="16059" y="87873"/>
                  <a:pt x="3160" y="98401"/>
                  <a:pt x="12068" y="104821"/>
                </a:cubicBezTo>
                <a:cubicBezTo>
                  <a:pt x="20976" y="111242"/>
                  <a:pt x="-11069" y="129637"/>
                  <a:pt x="3970" y="137966"/>
                </a:cubicBezTo>
                <a:cubicBezTo>
                  <a:pt x="14498" y="143751"/>
                  <a:pt x="31446" y="135537"/>
                  <a:pt x="45965" y="137156"/>
                </a:cubicBezTo>
                <a:cubicBezTo>
                  <a:pt x="60484" y="138776"/>
                  <a:pt x="72631" y="139586"/>
                  <a:pt x="84779" y="130678"/>
                </a:cubicBezTo>
                <a:cubicBezTo>
                  <a:pt x="96926" y="121770"/>
                  <a:pt x="96868" y="138776"/>
                  <a:pt x="109767" y="137156"/>
                </a:cubicBezTo>
                <a:cubicBezTo>
                  <a:pt x="122667" y="135537"/>
                  <a:pt x="102537" y="147626"/>
                  <a:pt x="103347" y="156534"/>
                </a:cubicBezTo>
                <a:cubicBezTo>
                  <a:pt x="104157" y="165442"/>
                  <a:pt x="117056" y="151675"/>
                  <a:pt x="126484" y="146816"/>
                </a:cubicBezTo>
                <a:cubicBezTo>
                  <a:pt x="135913" y="141958"/>
                  <a:pt x="148292" y="146816"/>
                  <a:pt x="143433" y="154915"/>
                </a:cubicBezTo>
                <a:cubicBezTo>
                  <a:pt x="138574" y="163013"/>
                  <a:pt x="170099" y="171053"/>
                  <a:pt x="177387" y="158154"/>
                </a:cubicBezTo>
                <a:cubicBezTo>
                  <a:pt x="184676" y="145255"/>
                  <a:pt x="170388" y="125183"/>
                  <a:pt x="165529" y="134033"/>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7" name="Forma libre: forma 266">
            <a:extLst>
              <a:ext uri="{FF2B5EF4-FFF2-40B4-BE49-F238E27FC236}">
                <a16:creationId xmlns:a16="http://schemas.microsoft.com/office/drawing/2014/main" id="{A50DBD14-86B0-0B00-DC1B-A6467CD06884}"/>
              </a:ext>
            </a:extLst>
          </p:cNvPr>
          <p:cNvSpPr/>
          <p:nvPr/>
        </p:nvSpPr>
        <p:spPr>
          <a:xfrm>
            <a:off x="4413080" y="2981306"/>
            <a:ext cx="75294" cy="30818"/>
          </a:xfrm>
          <a:custGeom>
            <a:avLst/>
            <a:gdLst>
              <a:gd name="connsiteX0" fmla="*/ -69 w 75294"/>
              <a:gd name="connsiteY0" fmla="*/ 1788 h 30818"/>
              <a:gd name="connsiteX1" fmla="*/ 75128 w 75294"/>
              <a:gd name="connsiteY1" fmla="*/ 27240 h 30818"/>
              <a:gd name="connsiteX2" fmla="*/ -69 w 75294"/>
              <a:gd name="connsiteY2" fmla="*/ 1788 h 30818"/>
            </a:gdLst>
            <a:ahLst/>
            <a:cxnLst>
              <a:cxn ang="0">
                <a:pos x="connsiteX0" y="connsiteY0"/>
              </a:cxn>
              <a:cxn ang="0">
                <a:pos x="connsiteX1" y="connsiteY1"/>
              </a:cxn>
              <a:cxn ang="0">
                <a:pos x="connsiteX2" y="connsiteY2"/>
              </a:cxn>
            </a:cxnLst>
            <a:rect l="l" t="t" r="r" b="b"/>
            <a:pathLst>
              <a:path w="75294" h="30818">
                <a:moveTo>
                  <a:pt x="-69" y="1788"/>
                </a:moveTo>
                <a:cubicBezTo>
                  <a:pt x="2360" y="11506"/>
                  <a:pt x="72641" y="40602"/>
                  <a:pt x="75128" y="27240"/>
                </a:cubicBezTo>
                <a:cubicBezTo>
                  <a:pt x="77615" y="13878"/>
                  <a:pt x="-2152" y="-6483"/>
                  <a:pt x="-69" y="178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8" name="Forma libre: forma 267">
            <a:extLst>
              <a:ext uri="{FF2B5EF4-FFF2-40B4-BE49-F238E27FC236}">
                <a16:creationId xmlns:a16="http://schemas.microsoft.com/office/drawing/2014/main" id="{A702D42C-2D97-BC57-8F3B-1AC879A27DC3}"/>
              </a:ext>
            </a:extLst>
          </p:cNvPr>
          <p:cNvSpPr/>
          <p:nvPr/>
        </p:nvSpPr>
        <p:spPr>
          <a:xfrm>
            <a:off x="3460829" y="2832991"/>
            <a:ext cx="72860" cy="126094"/>
          </a:xfrm>
          <a:custGeom>
            <a:avLst/>
            <a:gdLst>
              <a:gd name="connsiteX0" fmla="*/ 33845 w 72860"/>
              <a:gd name="connsiteY0" fmla="*/ 5955 h 126094"/>
              <a:gd name="connsiteX1" fmla="*/ -110 w 72860"/>
              <a:gd name="connsiteY1" fmla="*/ 16830 h 126094"/>
              <a:gd name="connsiteX2" fmla="*/ 41133 w 72860"/>
              <a:gd name="connsiteY2" fmla="*/ 77450 h 126094"/>
              <a:gd name="connsiteX3" fmla="*/ 64271 w 72860"/>
              <a:gd name="connsiteY3" fmla="*/ 125924 h 126094"/>
              <a:gd name="connsiteX4" fmla="*/ 66643 w 72860"/>
              <a:gd name="connsiteY4" fmla="*/ 83466 h 126094"/>
              <a:gd name="connsiteX5" fmla="*/ 33845 w 72860"/>
              <a:gd name="connsiteY5" fmla="*/ 5955 h 126094"/>
              <a:gd name="connsiteX6" fmla="*/ 69130 w 72860"/>
              <a:gd name="connsiteY6" fmla="*/ 120718 h 126094"/>
              <a:gd name="connsiteX7" fmla="*/ 63982 w 72860"/>
              <a:gd name="connsiteY7" fmla="*/ 124767 h 126094"/>
              <a:gd name="connsiteX8" fmla="*/ 58198 w 72860"/>
              <a:gd name="connsiteY8" fmla="*/ 111289 h 126094"/>
              <a:gd name="connsiteX9" fmla="*/ 41596 w 72860"/>
              <a:gd name="connsiteY9" fmla="*/ 76583 h 126094"/>
              <a:gd name="connsiteX10" fmla="*/ 1105 w 72860"/>
              <a:gd name="connsiteY10" fmla="*/ 16945 h 126094"/>
              <a:gd name="connsiteX11" fmla="*/ 20194 w 72860"/>
              <a:gd name="connsiteY11" fmla="*/ 1096 h 126094"/>
              <a:gd name="connsiteX12" fmla="*/ 32977 w 72860"/>
              <a:gd name="connsiteY12" fmla="*/ 6880 h 126094"/>
              <a:gd name="connsiteX13" fmla="*/ 52587 w 72860"/>
              <a:gd name="connsiteY13" fmla="*/ 51883 h 126094"/>
              <a:gd name="connsiteX14" fmla="*/ 65602 w 72860"/>
              <a:gd name="connsiteY14" fmla="*/ 84218 h 126094"/>
              <a:gd name="connsiteX15" fmla="*/ 69130 w 72860"/>
              <a:gd name="connsiteY15" fmla="*/ 120718 h 12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860" h="126094">
                <a:moveTo>
                  <a:pt x="33845" y="5955"/>
                </a:moveTo>
                <a:cubicBezTo>
                  <a:pt x="24127" y="-6192"/>
                  <a:pt x="-110" y="1096"/>
                  <a:pt x="-110" y="16830"/>
                </a:cubicBezTo>
                <a:cubicBezTo>
                  <a:pt x="-110" y="32563"/>
                  <a:pt x="12616" y="61775"/>
                  <a:pt x="41133" y="77450"/>
                </a:cubicBezTo>
                <a:cubicBezTo>
                  <a:pt x="65312" y="90755"/>
                  <a:pt x="50851" y="127370"/>
                  <a:pt x="64271" y="125924"/>
                </a:cubicBezTo>
                <a:cubicBezTo>
                  <a:pt x="75146" y="124709"/>
                  <a:pt x="75146" y="99258"/>
                  <a:pt x="66643" y="83466"/>
                </a:cubicBezTo>
                <a:cubicBezTo>
                  <a:pt x="58140" y="67675"/>
                  <a:pt x="43505" y="17871"/>
                  <a:pt x="33845" y="5955"/>
                </a:cubicBezTo>
                <a:close/>
                <a:moveTo>
                  <a:pt x="69130" y="120718"/>
                </a:moveTo>
                <a:cubicBezTo>
                  <a:pt x="68234" y="122870"/>
                  <a:pt x="66284" y="124403"/>
                  <a:pt x="63982" y="124767"/>
                </a:cubicBezTo>
                <a:cubicBezTo>
                  <a:pt x="59644" y="125403"/>
                  <a:pt x="59007" y="120371"/>
                  <a:pt x="58198" y="111289"/>
                </a:cubicBezTo>
                <a:cubicBezTo>
                  <a:pt x="57214" y="99720"/>
                  <a:pt x="55884" y="84276"/>
                  <a:pt x="41596" y="76583"/>
                </a:cubicBezTo>
                <a:cubicBezTo>
                  <a:pt x="13600" y="61138"/>
                  <a:pt x="1105" y="32447"/>
                  <a:pt x="1105" y="16945"/>
                </a:cubicBezTo>
                <a:cubicBezTo>
                  <a:pt x="1105" y="7170"/>
                  <a:pt x="10997" y="1096"/>
                  <a:pt x="20194" y="1096"/>
                </a:cubicBezTo>
                <a:cubicBezTo>
                  <a:pt x="25122" y="940"/>
                  <a:pt x="29842" y="3074"/>
                  <a:pt x="32977" y="6880"/>
                </a:cubicBezTo>
                <a:cubicBezTo>
                  <a:pt x="38762" y="13822"/>
                  <a:pt x="45992" y="34067"/>
                  <a:pt x="52587" y="51883"/>
                </a:cubicBezTo>
                <a:cubicBezTo>
                  <a:pt x="56306" y="62903"/>
                  <a:pt x="60650" y="73696"/>
                  <a:pt x="65602" y="84218"/>
                </a:cubicBezTo>
                <a:cubicBezTo>
                  <a:pt x="71733" y="95498"/>
                  <a:pt x="73411" y="112620"/>
                  <a:pt x="69130" y="12071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69" name="Forma libre: forma 268">
            <a:extLst>
              <a:ext uri="{FF2B5EF4-FFF2-40B4-BE49-F238E27FC236}">
                <a16:creationId xmlns:a16="http://schemas.microsoft.com/office/drawing/2014/main" id="{DCC5915A-BC18-5F7F-6381-D6B9A57DC281}"/>
              </a:ext>
            </a:extLst>
          </p:cNvPr>
          <p:cNvSpPr/>
          <p:nvPr/>
        </p:nvSpPr>
        <p:spPr>
          <a:xfrm>
            <a:off x="3068223" y="1667360"/>
            <a:ext cx="114201" cy="31336"/>
          </a:xfrm>
          <a:custGeom>
            <a:avLst/>
            <a:gdLst>
              <a:gd name="connsiteX0" fmla="*/ 35135 w 114201"/>
              <a:gd name="connsiteY0" fmla="*/ 27831 h 31336"/>
              <a:gd name="connsiteX1" fmla="*/ 67817 w 114201"/>
              <a:gd name="connsiteY1" fmla="*/ 24245 h 31336"/>
              <a:gd name="connsiteX2" fmla="*/ 114092 w 114201"/>
              <a:gd name="connsiteY2" fmla="*/ 18171 h 31336"/>
              <a:gd name="connsiteX3" fmla="*/ 54744 w 114201"/>
              <a:gd name="connsiteY3" fmla="*/ 3652 h 31336"/>
              <a:gd name="connsiteX4" fmla="*/ 2684 w 114201"/>
              <a:gd name="connsiteY4" fmla="*/ 25460 h 31336"/>
              <a:gd name="connsiteX5" fmla="*/ 35135 w 114201"/>
              <a:gd name="connsiteY5" fmla="*/ 27831 h 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201" h="31336">
                <a:moveTo>
                  <a:pt x="35135" y="27831"/>
                </a:moveTo>
                <a:cubicBezTo>
                  <a:pt x="47224" y="32690"/>
                  <a:pt x="59314" y="16956"/>
                  <a:pt x="67817" y="24245"/>
                </a:cubicBezTo>
                <a:cubicBezTo>
                  <a:pt x="76320" y="31533"/>
                  <a:pt x="114092" y="37549"/>
                  <a:pt x="114092" y="18171"/>
                </a:cubicBezTo>
                <a:cubicBezTo>
                  <a:pt x="114092" y="-1207"/>
                  <a:pt x="66834" y="-3636"/>
                  <a:pt x="54744" y="3652"/>
                </a:cubicBezTo>
                <a:cubicBezTo>
                  <a:pt x="42655" y="10941"/>
                  <a:pt x="-13107" y="13370"/>
                  <a:pt x="2684" y="25460"/>
                </a:cubicBezTo>
                <a:cubicBezTo>
                  <a:pt x="12055" y="32864"/>
                  <a:pt x="22988" y="23030"/>
                  <a:pt x="35135" y="27831"/>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0" name="Forma libre: forma 269">
            <a:extLst>
              <a:ext uri="{FF2B5EF4-FFF2-40B4-BE49-F238E27FC236}">
                <a16:creationId xmlns:a16="http://schemas.microsoft.com/office/drawing/2014/main" id="{0D853AB4-CA56-E141-54BF-CA5B77455895}"/>
              </a:ext>
            </a:extLst>
          </p:cNvPr>
          <p:cNvSpPr/>
          <p:nvPr/>
        </p:nvSpPr>
        <p:spPr>
          <a:xfrm>
            <a:off x="3272941" y="1722080"/>
            <a:ext cx="42597" cy="40815"/>
          </a:xfrm>
          <a:custGeom>
            <a:avLst/>
            <a:gdLst>
              <a:gd name="connsiteX0" fmla="*/ 41202 w 42597"/>
              <a:gd name="connsiteY0" fmla="*/ 37376 h 40815"/>
              <a:gd name="connsiteX1" fmla="*/ 17 w 42597"/>
              <a:gd name="connsiteY1" fmla="*/ 4636 h 40815"/>
              <a:gd name="connsiteX2" fmla="*/ 41202 w 42597"/>
              <a:gd name="connsiteY2" fmla="*/ 37376 h 40815"/>
            </a:gdLst>
            <a:ahLst/>
            <a:cxnLst>
              <a:cxn ang="0">
                <a:pos x="connsiteX0" y="connsiteY0"/>
              </a:cxn>
              <a:cxn ang="0">
                <a:pos x="connsiteX1" y="connsiteY1"/>
              </a:cxn>
              <a:cxn ang="0">
                <a:pos x="connsiteX2" y="connsiteY2"/>
              </a:cxn>
            </a:cxnLst>
            <a:rect l="l" t="t" r="r" b="b"/>
            <a:pathLst>
              <a:path w="42597" h="40815">
                <a:moveTo>
                  <a:pt x="41202" y="37376"/>
                </a:moveTo>
                <a:cubicBezTo>
                  <a:pt x="50920" y="25229"/>
                  <a:pt x="2446" y="-13527"/>
                  <a:pt x="17" y="4636"/>
                </a:cubicBezTo>
                <a:cubicBezTo>
                  <a:pt x="-2413" y="22799"/>
                  <a:pt x="30906" y="50218"/>
                  <a:pt x="41202" y="37376"/>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1" name="Forma libre: forma 270">
            <a:extLst>
              <a:ext uri="{FF2B5EF4-FFF2-40B4-BE49-F238E27FC236}">
                <a16:creationId xmlns:a16="http://schemas.microsoft.com/office/drawing/2014/main" id="{BBD79475-F14F-2E7F-0792-5CDBDA5C0021}"/>
              </a:ext>
            </a:extLst>
          </p:cNvPr>
          <p:cNvSpPr/>
          <p:nvPr/>
        </p:nvSpPr>
        <p:spPr>
          <a:xfrm>
            <a:off x="3281801" y="1625352"/>
            <a:ext cx="178801" cy="94952"/>
          </a:xfrm>
          <a:custGeom>
            <a:avLst/>
            <a:gdLst>
              <a:gd name="connsiteX0" fmla="*/ 23838 w 178801"/>
              <a:gd name="connsiteY0" fmla="*/ 32298 h 94952"/>
              <a:gd name="connsiteX1" fmla="*/ 60222 w 178801"/>
              <a:gd name="connsiteY1" fmla="*/ 49247 h 94952"/>
              <a:gd name="connsiteX2" fmla="*/ 16607 w 178801"/>
              <a:gd name="connsiteY2" fmla="*/ 56535 h 94952"/>
              <a:gd name="connsiteX3" fmla="*/ 51719 w 178801"/>
              <a:gd name="connsiteY3" fmla="*/ 66253 h 94952"/>
              <a:gd name="connsiteX4" fmla="*/ 124429 w 178801"/>
              <a:gd name="connsiteY4" fmla="*/ 79557 h 94952"/>
              <a:gd name="connsiteX5" fmla="*/ 175274 w 178801"/>
              <a:gd name="connsiteY5" fmla="*/ 85631 h 94952"/>
              <a:gd name="connsiteX6" fmla="*/ 164400 w 178801"/>
              <a:gd name="connsiteY6" fmla="*/ 55378 h 94952"/>
              <a:gd name="connsiteX7" fmla="*/ 131660 w 178801"/>
              <a:gd name="connsiteY7" fmla="*/ 35942 h 94952"/>
              <a:gd name="connsiteX8" fmla="*/ 102737 w 178801"/>
              <a:gd name="connsiteY8" fmla="*/ 16565 h 94952"/>
              <a:gd name="connsiteX9" fmla="*/ 84574 w 178801"/>
              <a:gd name="connsiteY9" fmla="*/ 14135 h 94952"/>
              <a:gd name="connsiteX10" fmla="*/ 5790 w 178801"/>
              <a:gd name="connsiteY10" fmla="*/ 3260 h 94952"/>
              <a:gd name="connsiteX11" fmla="*/ 23838 w 178801"/>
              <a:gd name="connsiteY11" fmla="*/ 32298 h 9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8801" h="94952">
                <a:moveTo>
                  <a:pt x="23838" y="32298"/>
                </a:moveTo>
                <a:cubicBezTo>
                  <a:pt x="38415" y="22638"/>
                  <a:pt x="65081" y="38372"/>
                  <a:pt x="60222" y="49247"/>
                </a:cubicBezTo>
                <a:cubicBezTo>
                  <a:pt x="55363" y="60121"/>
                  <a:pt x="13426" y="47106"/>
                  <a:pt x="16607" y="56535"/>
                </a:cubicBezTo>
                <a:cubicBezTo>
                  <a:pt x="17822" y="60179"/>
                  <a:pt x="22681" y="74698"/>
                  <a:pt x="51719" y="66253"/>
                </a:cubicBezTo>
                <a:cubicBezTo>
                  <a:pt x="76621" y="57761"/>
                  <a:pt x="104143" y="62800"/>
                  <a:pt x="124429" y="79557"/>
                </a:cubicBezTo>
                <a:cubicBezTo>
                  <a:pt x="143807" y="95291"/>
                  <a:pt x="161970" y="101364"/>
                  <a:pt x="175274" y="85631"/>
                </a:cubicBezTo>
                <a:cubicBezTo>
                  <a:pt x="188578" y="69897"/>
                  <a:pt x="158326" y="67468"/>
                  <a:pt x="164400" y="55378"/>
                </a:cubicBezTo>
                <a:cubicBezTo>
                  <a:pt x="170473" y="43289"/>
                  <a:pt x="145022" y="35942"/>
                  <a:pt x="131660" y="35942"/>
                </a:cubicBezTo>
                <a:cubicBezTo>
                  <a:pt x="118298" y="35942"/>
                  <a:pt x="113496" y="11764"/>
                  <a:pt x="102737" y="16565"/>
                </a:cubicBezTo>
                <a:cubicBezTo>
                  <a:pt x="91978" y="21366"/>
                  <a:pt x="84574" y="29869"/>
                  <a:pt x="84574" y="14135"/>
                </a:cubicBezTo>
                <a:cubicBezTo>
                  <a:pt x="84574" y="-1598"/>
                  <a:pt x="21582" y="-2813"/>
                  <a:pt x="5790" y="3260"/>
                </a:cubicBezTo>
                <a:cubicBezTo>
                  <a:pt x="-10001" y="9334"/>
                  <a:pt x="9319" y="42016"/>
                  <a:pt x="23838" y="32298"/>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2" name="Forma libre: forma 271">
            <a:extLst>
              <a:ext uri="{FF2B5EF4-FFF2-40B4-BE49-F238E27FC236}">
                <a16:creationId xmlns:a16="http://schemas.microsoft.com/office/drawing/2014/main" id="{71EFECA2-FDCB-11B1-AEFA-3FBFDD6B4458}"/>
              </a:ext>
            </a:extLst>
          </p:cNvPr>
          <p:cNvSpPr/>
          <p:nvPr/>
        </p:nvSpPr>
        <p:spPr>
          <a:xfrm>
            <a:off x="3025505" y="1713399"/>
            <a:ext cx="37107" cy="18060"/>
          </a:xfrm>
          <a:custGeom>
            <a:avLst/>
            <a:gdLst>
              <a:gd name="connsiteX0" fmla="*/ 36494 w 37107"/>
              <a:gd name="connsiteY0" fmla="*/ 10945 h 18060"/>
              <a:gd name="connsiteX1" fmla="*/ 110 w 37107"/>
              <a:gd name="connsiteY1" fmla="*/ 3657 h 18060"/>
              <a:gd name="connsiteX2" fmla="*/ 36494 w 37107"/>
              <a:gd name="connsiteY2" fmla="*/ 10945 h 18060"/>
            </a:gdLst>
            <a:ahLst/>
            <a:cxnLst>
              <a:cxn ang="0">
                <a:pos x="connsiteX0" y="connsiteY0"/>
              </a:cxn>
              <a:cxn ang="0">
                <a:pos x="connsiteX1" y="connsiteY1"/>
              </a:cxn>
              <a:cxn ang="0">
                <a:pos x="connsiteX2" y="connsiteY2"/>
              </a:cxn>
            </a:cxnLst>
            <a:rect l="l" t="t" r="r" b="b"/>
            <a:pathLst>
              <a:path w="37107" h="18060">
                <a:moveTo>
                  <a:pt x="36494" y="10945"/>
                </a:moveTo>
                <a:cubicBezTo>
                  <a:pt x="42278" y="-3631"/>
                  <a:pt x="-3650" y="-1260"/>
                  <a:pt x="110" y="3657"/>
                </a:cubicBezTo>
                <a:cubicBezTo>
                  <a:pt x="8786" y="14532"/>
                  <a:pt x="30709" y="25464"/>
                  <a:pt x="36494" y="10945"/>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3" name="Forma libre: forma 272">
            <a:extLst>
              <a:ext uri="{FF2B5EF4-FFF2-40B4-BE49-F238E27FC236}">
                <a16:creationId xmlns:a16="http://schemas.microsoft.com/office/drawing/2014/main" id="{D254368F-BB48-C1B1-5790-3193B735F076}"/>
              </a:ext>
            </a:extLst>
          </p:cNvPr>
          <p:cNvSpPr/>
          <p:nvPr/>
        </p:nvSpPr>
        <p:spPr>
          <a:xfrm>
            <a:off x="3076801" y="1706788"/>
            <a:ext cx="94300" cy="46879"/>
          </a:xfrm>
          <a:custGeom>
            <a:avLst/>
            <a:gdLst>
              <a:gd name="connsiteX0" fmla="*/ 85905 w 94300"/>
              <a:gd name="connsiteY0" fmla="*/ 11425 h 46879"/>
              <a:gd name="connsiteX1" fmla="*/ 68957 w 94300"/>
              <a:gd name="connsiteY1" fmla="*/ 550 h 46879"/>
              <a:gd name="connsiteX2" fmla="*/ -110 w 94300"/>
              <a:gd name="connsiteY2" fmla="*/ 22358 h 46879"/>
              <a:gd name="connsiteX3" fmla="*/ 36217 w 94300"/>
              <a:gd name="connsiteY3" fmla="*/ 46594 h 46879"/>
              <a:gd name="connsiteX4" fmla="*/ 74972 w 94300"/>
              <a:gd name="connsiteY4" fmla="*/ 22358 h 46879"/>
              <a:gd name="connsiteX5" fmla="*/ 85905 w 94300"/>
              <a:gd name="connsiteY5" fmla="*/ 11425 h 46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300" h="46879">
                <a:moveTo>
                  <a:pt x="85905" y="11425"/>
                </a:moveTo>
                <a:cubicBezTo>
                  <a:pt x="101639" y="8996"/>
                  <a:pt x="94408" y="-3094"/>
                  <a:pt x="68957" y="550"/>
                </a:cubicBezTo>
                <a:cubicBezTo>
                  <a:pt x="43505" y="4195"/>
                  <a:pt x="-110" y="4137"/>
                  <a:pt x="-110" y="22358"/>
                </a:cubicBezTo>
                <a:cubicBezTo>
                  <a:pt x="-110" y="36934"/>
                  <a:pt x="8336" y="44165"/>
                  <a:pt x="36217" y="46594"/>
                </a:cubicBezTo>
                <a:cubicBezTo>
                  <a:pt x="64098" y="49024"/>
                  <a:pt x="88277" y="22358"/>
                  <a:pt x="74972" y="22358"/>
                </a:cubicBezTo>
                <a:cubicBezTo>
                  <a:pt x="61668" y="22358"/>
                  <a:pt x="70171" y="13855"/>
                  <a:pt x="85905" y="11425"/>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4" name="Forma libre: forma 273">
            <a:extLst>
              <a:ext uri="{FF2B5EF4-FFF2-40B4-BE49-F238E27FC236}">
                <a16:creationId xmlns:a16="http://schemas.microsoft.com/office/drawing/2014/main" id="{97DA8C6F-7E63-D8F7-9BE2-CEACC3E8D1DA}"/>
              </a:ext>
            </a:extLst>
          </p:cNvPr>
          <p:cNvSpPr/>
          <p:nvPr/>
        </p:nvSpPr>
        <p:spPr>
          <a:xfrm>
            <a:off x="2958711" y="1781341"/>
            <a:ext cx="323671" cy="136752"/>
          </a:xfrm>
          <a:custGeom>
            <a:avLst/>
            <a:gdLst>
              <a:gd name="connsiteX0" fmla="*/ 40412 w 323671"/>
              <a:gd name="connsiteY0" fmla="*/ 30175 h 136752"/>
              <a:gd name="connsiteX1" fmla="*/ 44056 w 323671"/>
              <a:gd name="connsiteY1" fmla="*/ 48396 h 136752"/>
              <a:gd name="connsiteX2" fmla="*/ 41626 w 323671"/>
              <a:gd name="connsiteY2" fmla="*/ 53197 h 136752"/>
              <a:gd name="connsiteX3" fmla="*/ 21034 w 323671"/>
              <a:gd name="connsiteY3" fmla="*/ 71418 h 136752"/>
              <a:gd name="connsiteX4" fmla="*/ 48915 w 323671"/>
              <a:gd name="connsiteY4" fmla="*/ 71418 h 136752"/>
              <a:gd name="connsiteX5" fmla="*/ 441 w 323671"/>
              <a:gd name="connsiteY5" fmla="*/ 87151 h 136752"/>
              <a:gd name="connsiteX6" fmla="*/ 35611 w 323671"/>
              <a:gd name="connsiteY6" fmla="*/ 96869 h 136752"/>
              <a:gd name="connsiteX7" fmla="*/ 73152 w 323671"/>
              <a:gd name="connsiteY7" fmla="*/ 93225 h 136752"/>
              <a:gd name="connsiteX8" fmla="*/ 94959 w 323671"/>
              <a:gd name="connsiteY8" fmla="*/ 84722 h 136752"/>
              <a:gd name="connsiteX9" fmla="*/ 147019 w 323671"/>
              <a:gd name="connsiteY9" fmla="*/ 88366 h 136752"/>
              <a:gd name="connsiteX10" fmla="*/ 107048 w 323671"/>
              <a:gd name="connsiteY10" fmla="*/ 110173 h 136752"/>
              <a:gd name="connsiteX11" fmla="*/ 105834 w 323671"/>
              <a:gd name="connsiteY11" fmla="*/ 135625 h 136752"/>
              <a:gd name="connsiteX12" fmla="*/ 202781 w 323671"/>
              <a:gd name="connsiteY12" fmla="*/ 105314 h 136752"/>
              <a:gd name="connsiteX13" fmla="*/ 241536 w 323671"/>
              <a:gd name="connsiteY13" fmla="*/ 102885 h 136752"/>
              <a:gd name="connsiteX14" fmla="*/ 303314 w 323671"/>
              <a:gd name="connsiteY14" fmla="*/ 99241 h 136752"/>
              <a:gd name="connsiteX15" fmla="*/ 313032 w 323671"/>
              <a:gd name="connsiteY15" fmla="*/ 43537 h 136752"/>
              <a:gd name="connsiteX16" fmla="*/ 282779 w 323671"/>
              <a:gd name="connsiteY16" fmla="*/ 54411 h 136752"/>
              <a:gd name="connsiteX17" fmla="*/ 251254 w 323671"/>
              <a:gd name="connsiteY17" fmla="*/ 29018 h 136752"/>
              <a:gd name="connsiteX18" fmla="*/ 231876 w 323671"/>
              <a:gd name="connsiteY18" fmla="*/ 96 h 136752"/>
              <a:gd name="connsiteX19" fmla="*/ 202954 w 323671"/>
              <a:gd name="connsiteY19" fmla="*/ 30348 h 136752"/>
              <a:gd name="connsiteX20" fmla="*/ 205384 w 323671"/>
              <a:gd name="connsiteY20" fmla="*/ 48569 h 136752"/>
              <a:gd name="connsiteX21" fmla="*/ 225976 w 323671"/>
              <a:gd name="connsiteY21" fmla="*/ 69162 h 136752"/>
              <a:gd name="connsiteX22" fmla="*/ 162984 w 323671"/>
              <a:gd name="connsiteY22" fmla="*/ 58229 h 136752"/>
              <a:gd name="connsiteX23" fmla="*/ 98777 w 323671"/>
              <a:gd name="connsiteY23" fmla="*/ 29307 h 136752"/>
              <a:gd name="connsiteX24" fmla="*/ 69854 w 323671"/>
              <a:gd name="connsiteY24" fmla="*/ 13516 h 136752"/>
              <a:gd name="connsiteX25" fmla="*/ 40412 w 323671"/>
              <a:gd name="connsiteY25" fmla="*/ 30175 h 1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671" h="136752">
                <a:moveTo>
                  <a:pt x="40412" y="30175"/>
                </a:moveTo>
                <a:cubicBezTo>
                  <a:pt x="23463" y="31447"/>
                  <a:pt x="24678" y="48396"/>
                  <a:pt x="44056" y="48396"/>
                </a:cubicBezTo>
                <a:cubicBezTo>
                  <a:pt x="63434" y="48396"/>
                  <a:pt x="69507" y="54180"/>
                  <a:pt x="41626" y="53197"/>
                </a:cubicBezTo>
                <a:cubicBezTo>
                  <a:pt x="13745" y="52213"/>
                  <a:pt x="1656" y="76335"/>
                  <a:pt x="21034" y="71418"/>
                </a:cubicBezTo>
                <a:cubicBezTo>
                  <a:pt x="40412" y="66501"/>
                  <a:pt x="63434" y="66559"/>
                  <a:pt x="48915" y="71418"/>
                </a:cubicBezTo>
                <a:cubicBezTo>
                  <a:pt x="34396" y="76277"/>
                  <a:pt x="-5228" y="79574"/>
                  <a:pt x="441" y="87151"/>
                </a:cubicBezTo>
                <a:cubicBezTo>
                  <a:pt x="4085" y="92010"/>
                  <a:pt x="19819" y="90796"/>
                  <a:pt x="35611" y="96869"/>
                </a:cubicBezTo>
                <a:cubicBezTo>
                  <a:pt x="51402" y="102943"/>
                  <a:pt x="61062" y="106529"/>
                  <a:pt x="73152" y="93225"/>
                </a:cubicBezTo>
                <a:cubicBezTo>
                  <a:pt x="85241" y="79921"/>
                  <a:pt x="101032" y="66559"/>
                  <a:pt x="94959" y="84722"/>
                </a:cubicBezTo>
                <a:cubicBezTo>
                  <a:pt x="88885" y="102885"/>
                  <a:pt x="114337" y="89581"/>
                  <a:pt x="147019" y="88366"/>
                </a:cubicBezTo>
                <a:cubicBezTo>
                  <a:pt x="179701" y="87151"/>
                  <a:pt x="141234" y="107744"/>
                  <a:pt x="107048" y="110173"/>
                </a:cubicBezTo>
                <a:cubicBezTo>
                  <a:pt x="72862" y="112603"/>
                  <a:pt x="79225" y="129551"/>
                  <a:pt x="105834" y="135625"/>
                </a:cubicBezTo>
                <a:cubicBezTo>
                  <a:pt x="132442" y="141699"/>
                  <a:pt x="189476" y="118619"/>
                  <a:pt x="202781" y="105314"/>
                </a:cubicBezTo>
                <a:cubicBezTo>
                  <a:pt x="216085" y="92010"/>
                  <a:pt x="228232" y="112603"/>
                  <a:pt x="241536" y="102885"/>
                </a:cubicBezTo>
                <a:cubicBezTo>
                  <a:pt x="254840" y="93167"/>
                  <a:pt x="280350" y="104100"/>
                  <a:pt x="303314" y="99241"/>
                </a:cubicBezTo>
                <a:cubicBezTo>
                  <a:pt x="326278" y="94382"/>
                  <a:pt x="329980" y="50825"/>
                  <a:pt x="313032" y="43537"/>
                </a:cubicBezTo>
                <a:cubicBezTo>
                  <a:pt x="296083" y="36248"/>
                  <a:pt x="296083" y="52040"/>
                  <a:pt x="282779" y="54411"/>
                </a:cubicBezTo>
                <a:cubicBezTo>
                  <a:pt x="269475" y="56783"/>
                  <a:pt x="262129" y="39893"/>
                  <a:pt x="251254" y="29018"/>
                </a:cubicBezTo>
                <a:cubicBezTo>
                  <a:pt x="240379" y="18143"/>
                  <a:pt x="247610" y="-2507"/>
                  <a:pt x="231876" y="96"/>
                </a:cubicBezTo>
                <a:cubicBezTo>
                  <a:pt x="216143" y="2699"/>
                  <a:pt x="182188" y="27977"/>
                  <a:pt x="202954" y="30348"/>
                </a:cubicBezTo>
                <a:cubicBezTo>
                  <a:pt x="223720" y="32720"/>
                  <a:pt x="216258" y="43710"/>
                  <a:pt x="205384" y="48569"/>
                </a:cubicBezTo>
                <a:cubicBezTo>
                  <a:pt x="194509" y="53428"/>
                  <a:pt x="230835" y="61873"/>
                  <a:pt x="225976" y="69162"/>
                </a:cubicBezTo>
                <a:cubicBezTo>
                  <a:pt x="221117" y="76450"/>
                  <a:pt x="165413" y="70377"/>
                  <a:pt x="162984" y="58229"/>
                </a:cubicBezTo>
                <a:cubicBezTo>
                  <a:pt x="160554" y="46082"/>
                  <a:pt x="116708" y="24332"/>
                  <a:pt x="98777" y="29307"/>
                </a:cubicBezTo>
                <a:cubicBezTo>
                  <a:pt x="80845" y="34282"/>
                  <a:pt x="87844" y="14730"/>
                  <a:pt x="69854" y="13516"/>
                </a:cubicBezTo>
                <a:cubicBezTo>
                  <a:pt x="51865" y="12301"/>
                  <a:pt x="57418" y="29018"/>
                  <a:pt x="40412" y="30175"/>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5" name="Forma libre: forma 274">
            <a:extLst>
              <a:ext uri="{FF2B5EF4-FFF2-40B4-BE49-F238E27FC236}">
                <a16:creationId xmlns:a16="http://schemas.microsoft.com/office/drawing/2014/main" id="{B1B664EF-9324-134D-760B-826F6398982C}"/>
              </a:ext>
            </a:extLst>
          </p:cNvPr>
          <p:cNvSpPr/>
          <p:nvPr/>
        </p:nvSpPr>
        <p:spPr>
          <a:xfrm>
            <a:off x="2808648" y="1736516"/>
            <a:ext cx="203387" cy="101795"/>
          </a:xfrm>
          <a:custGeom>
            <a:avLst/>
            <a:gdLst>
              <a:gd name="connsiteX0" fmla="*/ 1497 w 203387"/>
              <a:gd name="connsiteY0" fmla="*/ 81074 h 101795"/>
              <a:gd name="connsiteX1" fmla="*/ 11215 w 203387"/>
              <a:gd name="connsiteY1" fmla="*/ 96865 h 101795"/>
              <a:gd name="connsiteX2" fmla="*/ 30593 w 203387"/>
              <a:gd name="connsiteY2" fmla="*/ 93221 h 101795"/>
              <a:gd name="connsiteX3" fmla="*/ 52400 w 203387"/>
              <a:gd name="connsiteY3" fmla="*/ 79859 h 101795"/>
              <a:gd name="connsiteX4" fmla="*/ 71778 w 203387"/>
              <a:gd name="connsiteY4" fmla="*/ 101666 h 101795"/>
              <a:gd name="connsiteX5" fmla="*/ 94916 w 203387"/>
              <a:gd name="connsiteY5" fmla="*/ 81074 h 101795"/>
              <a:gd name="connsiteX6" fmla="*/ 113079 w 203387"/>
              <a:gd name="connsiteY6" fmla="*/ 68984 h 101795"/>
              <a:gd name="connsiteX7" fmla="*/ 128812 w 203387"/>
              <a:gd name="connsiteY7" fmla="*/ 43533 h 101795"/>
              <a:gd name="connsiteX8" fmla="*/ 137316 w 203387"/>
              <a:gd name="connsiteY8" fmla="*/ 67770 h 101795"/>
              <a:gd name="connsiteX9" fmla="*/ 162767 w 203387"/>
              <a:gd name="connsiteY9" fmla="*/ 61985 h 101795"/>
              <a:gd name="connsiteX10" fmla="*/ 184517 w 203387"/>
              <a:gd name="connsiteY10" fmla="*/ 51110 h 101795"/>
              <a:gd name="connsiteX11" fmla="*/ 184517 w 203387"/>
              <a:gd name="connsiteY11" fmla="*/ 30518 h 101795"/>
              <a:gd name="connsiteX12" fmla="*/ 201523 w 203387"/>
              <a:gd name="connsiteY12" fmla="*/ 15941 h 101795"/>
              <a:gd name="connsiteX13" fmla="*/ 179715 w 203387"/>
              <a:gd name="connsiteY13" fmla="*/ 3794 h 101795"/>
              <a:gd name="connsiteX14" fmla="*/ 162767 w 203387"/>
              <a:gd name="connsiteY14" fmla="*/ 14726 h 101795"/>
              <a:gd name="connsiteX15" fmla="*/ 126383 w 203387"/>
              <a:gd name="connsiteY15" fmla="*/ 11082 h 101795"/>
              <a:gd name="connsiteX16" fmla="*/ 76695 w 203387"/>
              <a:gd name="connsiteY16" fmla="*/ 36534 h 101795"/>
              <a:gd name="connsiteX17" fmla="*/ 37939 w 203387"/>
              <a:gd name="connsiteY17" fmla="*/ 61985 h 101795"/>
              <a:gd name="connsiteX18" fmla="*/ 1497 w 203387"/>
              <a:gd name="connsiteY18" fmla="*/ 81074 h 101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3387" h="101795">
                <a:moveTo>
                  <a:pt x="1497" y="81074"/>
                </a:moveTo>
                <a:cubicBezTo>
                  <a:pt x="10000" y="84718"/>
                  <a:pt x="1497" y="101666"/>
                  <a:pt x="11215" y="96865"/>
                </a:cubicBezTo>
                <a:cubicBezTo>
                  <a:pt x="20933" y="92064"/>
                  <a:pt x="23305" y="91081"/>
                  <a:pt x="30593" y="93221"/>
                </a:cubicBezTo>
                <a:cubicBezTo>
                  <a:pt x="43666" y="97559"/>
                  <a:pt x="46326" y="85933"/>
                  <a:pt x="52400" y="79859"/>
                </a:cubicBezTo>
                <a:cubicBezTo>
                  <a:pt x="58474" y="73785"/>
                  <a:pt x="55987" y="101666"/>
                  <a:pt x="71778" y="101666"/>
                </a:cubicBezTo>
                <a:cubicBezTo>
                  <a:pt x="85082" y="101666"/>
                  <a:pt x="82653" y="72744"/>
                  <a:pt x="94916" y="81074"/>
                </a:cubicBezTo>
                <a:cubicBezTo>
                  <a:pt x="107179" y="89403"/>
                  <a:pt x="110649" y="77487"/>
                  <a:pt x="113079" y="68984"/>
                </a:cubicBezTo>
                <a:cubicBezTo>
                  <a:pt x="115508" y="60481"/>
                  <a:pt x="115508" y="45846"/>
                  <a:pt x="128812" y="43533"/>
                </a:cubicBezTo>
                <a:cubicBezTo>
                  <a:pt x="142117" y="41219"/>
                  <a:pt x="131242" y="56837"/>
                  <a:pt x="137316" y="67770"/>
                </a:cubicBezTo>
                <a:cubicBezTo>
                  <a:pt x="146108" y="83619"/>
                  <a:pt x="161552" y="68984"/>
                  <a:pt x="162767" y="61985"/>
                </a:cubicBezTo>
                <a:cubicBezTo>
                  <a:pt x="163982" y="54986"/>
                  <a:pt x="185905" y="59556"/>
                  <a:pt x="184517" y="51110"/>
                </a:cubicBezTo>
                <a:cubicBezTo>
                  <a:pt x="183128" y="42665"/>
                  <a:pt x="190590" y="40178"/>
                  <a:pt x="184517" y="30518"/>
                </a:cubicBezTo>
                <a:cubicBezTo>
                  <a:pt x="178443" y="20858"/>
                  <a:pt x="194234" y="23229"/>
                  <a:pt x="201523" y="15941"/>
                </a:cubicBezTo>
                <a:cubicBezTo>
                  <a:pt x="208811" y="8653"/>
                  <a:pt x="191805" y="14726"/>
                  <a:pt x="179715" y="3794"/>
                </a:cubicBezTo>
                <a:cubicBezTo>
                  <a:pt x="167626" y="-7139"/>
                  <a:pt x="162767" y="7496"/>
                  <a:pt x="162767" y="14726"/>
                </a:cubicBezTo>
                <a:cubicBezTo>
                  <a:pt x="162767" y="21957"/>
                  <a:pt x="139629" y="15941"/>
                  <a:pt x="126383" y="11082"/>
                </a:cubicBezTo>
                <a:cubicBezTo>
                  <a:pt x="113137" y="6223"/>
                  <a:pt x="96073" y="26816"/>
                  <a:pt x="76695" y="36534"/>
                </a:cubicBezTo>
                <a:cubicBezTo>
                  <a:pt x="57317" y="46251"/>
                  <a:pt x="56102" y="63200"/>
                  <a:pt x="37939" y="61985"/>
                </a:cubicBezTo>
                <a:cubicBezTo>
                  <a:pt x="19776" y="60770"/>
                  <a:pt x="-6948" y="77487"/>
                  <a:pt x="1497" y="81074"/>
                </a:cubicBezTo>
                <a:close/>
              </a:path>
            </a:pathLst>
          </a:custGeom>
          <a:solidFill>
            <a:srgbClr val="CCCCCC"/>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6" name="Forma libre: forma 275">
            <a:extLst>
              <a:ext uri="{FF2B5EF4-FFF2-40B4-BE49-F238E27FC236}">
                <a16:creationId xmlns:a16="http://schemas.microsoft.com/office/drawing/2014/main" id="{7C61BF86-19E4-7D20-B8DE-2DA3EAA2D6CE}"/>
              </a:ext>
            </a:extLst>
          </p:cNvPr>
          <p:cNvSpPr/>
          <p:nvPr/>
        </p:nvSpPr>
        <p:spPr>
          <a:xfrm>
            <a:off x="6507178" y="4953857"/>
            <a:ext cx="348619" cy="346550"/>
          </a:xfrm>
          <a:custGeom>
            <a:avLst/>
            <a:gdLst>
              <a:gd name="connsiteX0" fmla="*/ 184145 w 348619"/>
              <a:gd name="connsiteY0" fmla="*/ 346422 h 346550"/>
              <a:gd name="connsiteX1" fmla="*/ 170841 w 348619"/>
              <a:gd name="connsiteY1" fmla="*/ 345612 h 346550"/>
              <a:gd name="connsiteX2" fmla="*/ 158867 w 348619"/>
              <a:gd name="connsiteY2" fmla="*/ 344860 h 346550"/>
              <a:gd name="connsiteX3" fmla="*/ 147299 w 348619"/>
              <a:gd name="connsiteY3" fmla="*/ 333580 h 346550"/>
              <a:gd name="connsiteX4" fmla="*/ 143596 w 348619"/>
              <a:gd name="connsiteY4" fmla="*/ 325019 h 346550"/>
              <a:gd name="connsiteX5" fmla="*/ 139490 w 348619"/>
              <a:gd name="connsiteY5" fmla="*/ 322532 h 346550"/>
              <a:gd name="connsiteX6" fmla="*/ 130292 w 348619"/>
              <a:gd name="connsiteY6" fmla="*/ 332366 h 346550"/>
              <a:gd name="connsiteX7" fmla="*/ 128383 w 348619"/>
              <a:gd name="connsiteY7" fmla="*/ 336010 h 346550"/>
              <a:gd name="connsiteX8" fmla="*/ 124161 w 348619"/>
              <a:gd name="connsiteY8" fmla="*/ 336877 h 346550"/>
              <a:gd name="connsiteX9" fmla="*/ 118666 w 348619"/>
              <a:gd name="connsiteY9" fmla="*/ 336473 h 346550"/>
              <a:gd name="connsiteX10" fmla="*/ 117335 w 348619"/>
              <a:gd name="connsiteY10" fmla="*/ 336473 h 346550"/>
              <a:gd name="connsiteX11" fmla="*/ 116525 w 348619"/>
              <a:gd name="connsiteY11" fmla="*/ 335952 h 346550"/>
              <a:gd name="connsiteX12" fmla="*/ 99693 w 348619"/>
              <a:gd name="connsiteY12" fmla="*/ 314318 h 346550"/>
              <a:gd name="connsiteX13" fmla="*/ 81992 w 348619"/>
              <a:gd name="connsiteY13" fmla="*/ 257399 h 346550"/>
              <a:gd name="connsiteX14" fmla="*/ 80778 w 348619"/>
              <a:gd name="connsiteY14" fmla="*/ 247450 h 346550"/>
              <a:gd name="connsiteX15" fmla="*/ 71176 w 348619"/>
              <a:gd name="connsiteY15" fmla="*/ 204993 h 346550"/>
              <a:gd name="connsiteX16" fmla="*/ 70424 w 348619"/>
              <a:gd name="connsiteY16" fmla="*/ 183879 h 346550"/>
              <a:gd name="connsiteX17" fmla="*/ 69903 w 348619"/>
              <a:gd name="connsiteY17" fmla="*/ 158775 h 346550"/>
              <a:gd name="connsiteX18" fmla="*/ 57756 w 348619"/>
              <a:gd name="connsiteY18" fmla="*/ 134133 h 346550"/>
              <a:gd name="connsiteX19" fmla="*/ 42080 w 348619"/>
              <a:gd name="connsiteY19" fmla="*/ 101856 h 346550"/>
              <a:gd name="connsiteX20" fmla="*/ 15587 w 348619"/>
              <a:gd name="connsiteY20" fmla="*/ 46441 h 346550"/>
              <a:gd name="connsiteX21" fmla="*/ -31 w 348619"/>
              <a:gd name="connsiteY21" fmla="*/ 9942 h 346550"/>
              <a:gd name="connsiteX22" fmla="*/ 837 w 348619"/>
              <a:gd name="connsiteY22" fmla="*/ 8958 h 346550"/>
              <a:gd name="connsiteX23" fmla="*/ 8819 w 348619"/>
              <a:gd name="connsiteY23" fmla="*/ 6876 h 346550"/>
              <a:gd name="connsiteX24" fmla="*/ 19231 w 348619"/>
              <a:gd name="connsiteY24" fmla="*/ -123 h 346550"/>
              <a:gd name="connsiteX25" fmla="*/ 25016 w 348619"/>
              <a:gd name="connsiteY25" fmla="*/ 3984 h 346550"/>
              <a:gd name="connsiteX26" fmla="*/ 27619 w 348619"/>
              <a:gd name="connsiteY26" fmla="*/ 6355 h 346550"/>
              <a:gd name="connsiteX27" fmla="*/ 31089 w 348619"/>
              <a:gd name="connsiteY27" fmla="*/ 5430 h 346550"/>
              <a:gd name="connsiteX28" fmla="*/ 58103 w 348619"/>
              <a:gd name="connsiteY28" fmla="*/ 6934 h 346550"/>
              <a:gd name="connsiteX29" fmla="*/ 82050 w 348619"/>
              <a:gd name="connsiteY29" fmla="*/ 13470 h 346550"/>
              <a:gd name="connsiteX30" fmla="*/ 175874 w 348619"/>
              <a:gd name="connsiteY30" fmla="*/ 13470 h 346550"/>
              <a:gd name="connsiteX31" fmla="*/ 176684 w 348619"/>
              <a:gd name="connsiteY31" fmla="*/ 13817 h 346550"/>
              <a:gd name="connsiteX32" fmla="*/ 185823 w 348619"/>
              <a:gd name="connsiteY32" fmla="*/ 23014 h 346550"/>
              <a:gd name="connsiteX33" fmla="*/ 226314 w 348619"/>
              <a:gd name="connsiteY33" fmla="*/ 21279 h 346550"/>
              <a:gd name="connsiteX34" fmla="*/ 245981 w 348619"/>
              <a:gd name="connsiteY34" fmla="*/ 23188 h 346550"/>
              <a:gd name="connsiteX35" fmla="*/ 256856 w 348619"/>
              <a:gd name="connsiteY35" fmla="*/ 24807 h 346550"/>
              <a:gd name="connsiteX36" fmla="*/ 287455 w 348619"/>
              <a:gd name="connsiteY36" fmla="*/ 20412 h 346550"/>
              <a:gd name="connsiteX37" fmla="*/ 335524 w 348619"/>
              <a:gd name="connsiteY37" fmla="*/ 13586 h 346550"/>
              <a:gd name="connsiteX38" fmla="*/ 346341 w 348619"/>
              <a:gd name="connsiteY38" fmla="*/ 17404 h 346550"/>
              <a:gd name="connsiteX39" fmla="*/ 348423 w 348619"/>
              <a:gd name="connsiteY39" fmla="*/ 23188 h 346550"/>
              <a:gd name="connsiteX40" fmla="*/ 348423 w 348619"/>
              <a:gd name="connsiteY40" fmla="*/ 24229 h 346550"/>
              <a:gd name="connsiteX41" fmla="*/ 347613 w 348619"/>
              <a:gd name="connsiteY41" fmla="*/ 24865 h 346550"/>
              <a:gd name="connsiteX42" fmla="*/ 344894 w 348619"/>
              <a:gd name="connsiteY42" fmla="*/ 25502 h 346550"/>
              <a:gd name="connsiteX43" fmla="*/ 328987 w 348619"/>
              <a:gd name="connsiteY43" fmla="*/ 28336 h 346550"/>
              <a:gd name="connsiteX44" fmla="*/ 310477 w 348619"/>
              <a:gd name="connsiteY44" fmla="*/ 39905 h 346550"/>
              <a:gd name="connsiteX45" fmla="*/ 307990 w 348619"/>
              <a:gd name="connsiteY45" fmla="*/ 41177 h 346550"/>
              <a:gd name="connsiteX46" fmla="*/ 299718 w 348619"/>
              <a:gd name="connsiteY46" fmla="*/ 34815 h 346550"/>
              <a:gd name="connsiteX47" fmla="*/ 294454 w 348619"/>
              <a:gd name="connsiteY47" fmla="*/ 29667 h 346550"/>
              <a:gd name="connsiteX48" fmla="*/ 292430 w 348619"/>
              <a:gd name="connsiteY48" fmla="*/ 29204 h 346550"/>
              <a:gd name="connsiteX49" fmla="*/ 272358 w 348619"/>
              <a:gd name="connsiteY49" fmla="*/ 35682 h 346550"/>
              <a:gd name="connsiteX50" fmla="*/ 264664 w 348619"/>
              <a:gd name="connsiteY50" fmla="*/ 38690 h 346550"/>
              <a:gd name="connsiteX51" fmla="*/ 239676 w 348619"/>
              <a:gd name="connsiteY51" fmla="*/ 41814 h 346550"/>
              <a:gd name="connsiteX52" fmla="*/ 239676 w 348619"/>
              <a:gd name="connsiteY52" fmla="*/ 134365 h 346550"/>
              <a:gd name="connsiteX53" fmla="*/ 222323 w 348619"/>
              <a:gd name="connsiteY53" fmla="*/ 142405 h 346550"/>
              <a:gd name="connsiteX54" fmla="*/ 212084 w 348619"/>
              <a:gd name="connsiteY54" fmla="*/ 144834 h 346550"/>
              <a:gd name="connsiteX55" fmla="*/ 212084 w 348619"/>
              <a:gd name="connsiteY55" fmla="*/ 324962 h 346550"/>
              <a:gd name="connsiteX56" fmla="*/ 200515 w 348619"/>
              <a:gd name="connsiteY56" fmla="*/ 338439 h 346550"/>
              <a:gd name="connsiteX57" fmla="*/ 194152 w 348619"/>
              <a:gd name="connsiteY57" fmla="*/ 343356 h 346550"/>
              <a:gd name="connsiteX58" fmla="*/ 184145 w 348619"/>
              <a:gd name="connsiteY58" fmla="*/ 346422 h 346550"/>
              <a:gd name="connsiteX59" fmla="*/ 139316 w 348619"/>
              <a:gd name="connsiteY59" fmla="*/ 320276 h 346550"/>
              <a:gd name="connsiteX60" fmla="*/ 145100 w 348619"/>
              <a:gd name="connsiteY60" fmla="*/ 323689 h 346550"/>
              <a:gd name="connsiteX61" fmla="*/ 149092 w 348619"/>
              <a:gd name="connsiteY61" fmla="*/ 332944 h 346550"/>
              <a:gd name="connsiteX62" fmla="*/ 158694 w 348619"/>
              <a:gd name="connsiteY62" fmla="*/ 342604 h 346550"/>
              <a:gd name="connsiteX63" fmla="*/ 170899 w 348619"/>
              <a:gd name="connsiteY63" fmla="*/ 343356 h 346550"/>
              <a:gd name="connsiteX64" fmla="*/ 183972 w 348619"/>
              <a:gd name="connsiteY64" fmla="*/ 344166 h 346550"/>
              <a:gd name="connsiteX65" fmla="*/ 192533 w 348619"/>
              <a:gd name="connsiteY65" fmla="*/ 342257 h 346550"/>
              <a:gd name="connsiteX66" fmla="*/ 199532 w 348619"/>
              <a:gd name="connsiteY66" fmla="*/ 336473 h 346550"/>
              <a:gd name="connsiteX67" fmla="*/ 210059 w 348619"/>
              <a:gd name="connsiteY67" fmla="*/ 324904 h 346550"/>
              <a:gd name="connsiteX68" fmla="*/ 210059 w 348619"/>
              <a:gd name="connsiteY68" fmla="*/ 145008 h 346550"/>
              <a:gd name="connsiteX69" fmla="*/ 222380 w 348619"/>
              <a:gd name="connsiteY69" fmla="*/ 140323 h 346550"/>
              <a:gd name="connsiteX70" fmla="*/ 237536 w 348619"/>
              <a:gd name="connsiteY70" fmla="*/ 134538 h 346550"/>
              <a:gd name="connsiteX71" fmla="*/ 237536 w 348619"/>
              <a:gd name="connsiteY71" fmla="*/ 40773 h 346550"/>
              <a:gd name="connsiteX72" fmla="*/ 238577 w 348619"/>
              <a:gd name="connsiteY72" fmla="*/ 39673 h 346550"/>
              <a:gd name="connsiteX73" fmla="*/ 264202 w 348619"/>
              <a:gd name="connsiteY73" fmla="*/ 36492 h 346550"/>
              <a:gd name="connsiteX74" fmla="*/ 271606 w 348619"/>
              <a:gd name="connsiteY74" fmla="*/ 33600 h 346550"/>
              <a:gd name="connsiteX75" fmla="*/ 292545 w 348619"/>
              <a:gd name="connsiteY75" fmla="*/ 26948 h 346550"/>
              <a:gd name="connsiteX76" fmla="*/ 295843 w 348619"/>
              <a:gd name="connsiteY76" fmla="*/ 27758 h 346550"/>
              <a:gd name="connsiteX77" fmla="*/ 301627 w 348619"/>
              <a:gd name="connsiteY77" fmla="*/ 33542 h 346550"/>
              <a:gd name="connsiteX78" fmla="*/ 308221 w 348619"/>
              <a:gd name="connsiteY78" fmla="*/ 39326 h 346550"/>
              <a:gd name="connsiteX79" fmla="*/ 308916 w 348619"/>
              <a:gd name="connsiteY79" fmla="*/ 38921 h 346550"/>
              <a:gd name="connsiteX80" fmla="*/ 329219 w 348619"/>
              <a:gd name="connsiteY80" fmla="*/ 26311 h 346550"/>
              <a:gd name="connsiteX81" fmla="*/ 344605 w 348619"/>
              <a:gd name="connsiteY81" fmla="*/ 23535 h 346550"/>
              <a:gd name="connsiteX82" fmla="*/ 345936 w 348619"/>
              <a:gd name="connsiteY82" fmla="*/ 23535 h 346550"/>
              <a:gd name="connsiteX83" fmla="*/ 344258 w 348619"/>
              <a:gd name="connsiteY83" fmla="*/ 17751 h 346550"/>
              <a:gd name="connsiteX84" fmla="*/ 335697 w 348619"/>
              <a:gd name="connsiteY84" fmla="*/ 16189 h 346550"/>
              <a:gd name="connsiteX85" fmla="*/ 288381 w 348619"/>
              <a:gd name="connsiteY85" fmla="*/ 22899 h 346550"/>
              <a:gd name="connsiteX86" fmla="*/ 257029 w 348619"/>
              <a:gd name="connsiteY86" fmla="*/ 27410 h 346550"/>
              <a:gd name="connsiteX87" fmla="*/ 245460 w 348619"/>
              <a:gd name="connsiteY87" fmla="*/ 25559 h 346550"/>
              <a:gd name="connsiteX88" fmla="*/ 226777 w 348619"/>
              <a:gd name="connsiteY88" fmla="*/ 23882 h 346550"/>
              <a:gd name="connsiteX89" fmla="*/ 185939 w 348619"/>
              <a:gd name="connsiteY89" fmla="*/ 25675 h 346550"/>
              <a:gd name="connsiteX90" fmla="*/ 185071 w 348619"/>
              <a:gd name="connsiteY90" fmla="*/ 25328 h 346550"/>
              <a:gd name="connsiteX91" fmla="*/ 175816 w 348619"/>
              <a:gd name="connsiteY91" fmla="*/ 16073 h 346550"/>
              <a:gd name="connsiteX92" fmla="*/ 81819 w 348619"/>
              <a:gd name="connsiteY92" fmla="*/ 16073 h 346550"/>
              <a:gd name="connsiteX93" fmla="*/ 56657 w 348619"/>
              <a:gd name="connsiteY93" fmla="*/ 9132 h 346550"/>
              <a:gd name="connsiteX94" fmla="*/ 31726 w 348619"/>
              <a:gd name="connsiteY94" fmla="*/ 7801 h 346550"/>
              <a:gd name="connsiteX95" fmla="*/ 27387 w 348619"/>
              <a:gd name="connsiteY95" fmla="*/ 8958 h 346550"/>
              <a:gd name="connsiteX96" fmla="*/ 22760 w 348619"/>
              <a:gd name="connsiteY96" fmla="*/ 5314 h 346550"/>
              <a:gd name="connsiteX97" fmla="*/ 19058 w 348619"/>
              <a:gd name="connsiteY97" fmla="*/ 2422 h 346550"/>
              <a:gd name="connsiteX98" fmla="*/ 10555 w 348619"/>
              <a:gd name="connsiteY98" fmla="*/ 8611 h 346550"/>
              <a:gd name="connsiteX99" fmla="*/ 9745 w 348619"/>
              <a:gd name="connsiteY99" fmla="*/ 9305 h 346550"/>
              <a:gd name="connsiteX100" fmla="*/ 1994 w 348619"/>
              <a:gd name="connsiteY100" fmla="*/ 11272 h 346550"/>
              <a:gd name="connsiteX101" fmla="*/ 17207 w 348619"/>
              <a:gd name="connsiteY101" fmla="*/ 45458 h 346550"/>
              <a:gd name="connsiteX102" fmla="*/ 44047 w 348619"/>
              <a:gd name="connsiteY102" fmla="*/ 101509 h 346550"/>
              <a:gd name="connsiteX103" fmla="*/ 59549 w 348619"/>
              <a:gd name="connsiteY103" fmla="*/ 133381 h 346550"/>
              <a:gd name="connsiteX104" fmla="*/ 71928 w 348619"/>
              <a:gd name="connsiteY104" fmla="*/ 158486 h 346550"/>
              <a:gd name="connsiteX105" fmla="*/ 72506 w 348619"/>
              <a:gd name="connsiteY105" fmla="*/ 184458 h 346550"/>
              <a:gd name="connsiteX106" fmla="*/ 73084 w 348619"/>
              <a:gd name="connsiteY106" fmla="*/ 204356 h 346550"/>
              <a:gd name="connsiteX107" fmla="*/ 82860 w 348619"/>
              <a:gd name="connsiteY107" fmla="*/ 247450 h 346550"/>
              <a:gd name="connsiteX108" fmla="*/ 84075 w 348619"/>
              <a:gd name="connsiteY108" fmla="*/ 257457 h 346550"/>
              <a:gd name="connsiteX109" fmla="*/ 101081 w 348619"/>
              <a:gd name="connsiteY109" fmla="*/ 313046 h 346550"/>
              <a:gd name="connsiteX110" fmla="*/ 117914 w 348619"/>
              <a:gd name="connsiteY110" fmla="*/ 334621 h 346550"/>
              <a:gd name="connsiteX111" fmla="*/ 118666 w 348619"/>
              <a:gd name="connsiteY111" fmla="*/ 334621 h 346550"/>
              <a:gd name="connsiteX112" fmla="*/ 127053 w 348619"/>
              <a:gd name="connsiteY112" fmla="*/ 334621 h 346550"/>
              <a:gd name="connsiteX113" fmla="*/ 127863 w 348619"/>
              <a:gd name="connsiteY113" fmla="*/ 332944 h 346550"/>
              <a:gd name="connsiteX114" fmla="*/ 139316 w 348619"/>
              <a:gd name="connsiteY114" fmla="*/ 320276 h 34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348619" h="346550">
                <a:moveTo>
                  <a:pt x="184145" y="346422"/>
                </a:moveTo>
                <a:cubicBezTo>
                  <a:pt x="180154" y="346422"/>
                  <a:pt x="175411" y="346017"/>
                  <a:pt x="170841" y="345612"/>
                </a:cubicBezTo>
                <a:cubicBezTo>
                  <a:pt x="166272" y="345207"/>
                  <a:pt x="162280" y="344860"/>
                  <a:pt x="158867" y="344860"/>
                </a:cubicBezTo>
                <a:cubicBezTo>
                  <a:pt x="150654" y="344860"/>
                  <a:pt x="148860" y="339076"/>
                  <a:pt x="147299" y="333580"/>
                </a:cubicBezTo>
                <a:cubicBezTo>
                  <a:pt x="146524" y="330549"/>
                  <a:pt x="145274" y="327657"/>
                  <a:pt x="143596" y="325019"/>
                </a:cubicBezTo>
                <a:cubicBezTo>
                  <a:pt x="142746" y="323539"/>
                  <a:pt x="141196" y="322601"/>
                  <a:pt x="139490" y="322532"/>
                </a:cubicBezTo>
                <a:cubicBezTo>
                  <a:pt x="135036" y="322532"/>
                  <a:pt x="130292" y="328895"/>
                  <a:pt x="130292" y="332366"/>
                </a:cubicBezTo>
                <a:cubicBezTo>
                  <a:pt x="130391" y="333841"/>
                  <a:pt x="129656" y="335252"/>
                  <a:pt x="128383" y="336010"/>
                </a:cubicBezTo>
                <a:cubicBezTo>
                  <a:pt x="127076" y="336669"/>
                  <a:pt x="125619" y="336970"/>
                  <a:pt x="124161" y="336877"/>
                </a:cubicBezTo>
                <a:cubicBezTo>
                  <a:pt x="122541" y="336877"/>
                  <a:pt x="120690" y="336877"/>
                  <a:pt x="118666" y="336473"/>
                </a:cubicBezTo>
                <a:lnTo>
                  <a:pt x="117335" y="336473"/>
                </a:lnTo>
                <a:cubicBezTo>
                  <a:pt x="117000" y="336432"/>
                  <a:pt x="116699" y="336241"/>
                  <a:pt x="116525" y="335952"/>
                </a:cubicBezTo>
                <a:cubicBezTo>
                  <a:pt x="111724" y="328143"/>
                  <a:pt x="106079" y="320889"/>
                  <a:pt x="99693" y="314318"/>
                </a:cubicBezTo>
                <a:cubicBezTo>
                  <a:pt x="87025" y="301998"/>
                  <a:pt x="84017" y="275158"/>
                  <a:pt x="81992" y="257399"/>
                </a:cubicBezTo>
                <a:cubicBezTo>
                  <a:pt x="81588" y="253639"/>
                  <a:pt x="81240" y="250285"/>
                  <a:pt x="80778" y="247450"/>
                </a:cubicBezTo>
                <a:cubicBezTo>
                  <a:pt x="79320" y="232960"/>
                  <a:pt x="76092" y="218702"/>
                  <a:pt x="71176" y="204993"/>
                </a:cubicBezTo>
                <a:cubicBezTo>
                  <a:pt x="69301" y="198109"/>
                  <a:pt x="69041" y="190879"/>
                  <a:pt x="70424" y="183879"/>
                </a:cubicBezTo>
                <a:cubicBezTo>
                  <a:pt x="71829" y="175556"/>
                  <a:pt x="71650" y="167035"/>
                  <a:pt x="69903" y="158775"/>
                </a:cubicBezTo>
                <a:cubicBezTo>
                  <a:pt x="66704" y="150168"/>
                  <a:pt x="62632" y="141913"/>
                  <a:pt x="57756" y="134133"/>
                </a:cubicBezTo>
                <a:cubicBezTo>
                  <a:pt x="51387" y="123970"/>
                  <a:pt x="46129" y="113147"/>
                  <a:pt x="42080" y="101856"/>
                </a:cubicBezTo>
                <a:cubicBezTo>
                  <a:pt x="36000" y="82189"/>
                  <a:pt x="27075" y="63523"/>
                  <a:pt x="15587" y="46441"/>
                </a:cubicBezTo>
                <a:cubicBezTo>
                  <a:pt x="7373" y="35335"/>
                  <a:pt x="-1014" y="19197"/>
                  <a:pt x="-31" y="9942"/>
                </a:cubicBezTo>
                <a:cubicBezTo>
                  <a:pt x="27" y="9467"/>
                  <a:pt x="374" y="9074"/>
                  <a:pt x="837" y="8958"/>
                </a:cubicBezTo>
                <a:lnTo>
                  <a:pt x="8819" y="6876"/>
                </a:lnTo>
                <a:cubicBezTo>
                  <a:pt x="10682" y="2757"/>
                  <a:pt x="14714" y="44"/>
                  <a:pt x="19231" y="-123"/>
                </a:cubicBezTo>
                <a:cubicBezTo>
                  <a:pt x="21869" y="-239"/>
                  <a:pt x="24252" y="1456"/>
                  <a:pt x="25016" y="3984"/>
                </a:cubicBezTo>
                <a:cubicBezTo>
                  <a:pt x="25768" y="5546"/>
                  <a:pt x="26231" y="6355"/>
                  <a:pt x="27619" y="6355"/>
                </a:cubicBezTo>
                <a:cubicBezTo>
                  <a:pt x="28822" y="6251"/>
                  <a:pt x="29996" y="5939"/>
                  <a:pt x="31089" y="5430"/>
                </a:cubicBezTo>
                <a:cubicBezTo>
                  <a:pt x="39656" y="802"/>
                  <a:pt x="50097" y="1387"/>
                  <a:pt x="58103" y="6934"/>
                </a:cubicBezTo>
                <a:cubicBezTo>
                  <a:pt x="65148" y="11688"/>
                  <a:pt x="73564" y="13991"/>
                  <a:pt x="82050" y="13470"/>
                </a:cubicBezTo>
                <a:lnTo>
                  <a:pt x="175874" y="13470"/>
                </a:lnTo>
                <a:cubicBezTo>
                  <a:pt x="176180" y="13476"/>
                  <a:pt x="176470" y="13597"/>
                  <a:pt x="176684" y="13817"/>
                </a:cubicBezTo>
                <a:lnTo>
                  <a:pt x="185823" y="23014"/>
                </a:lnTo>
                <a:cubicBezTo>
                  <a:pt x="189409" y="23014"/>
                  <a:pt x="210117" y="21279"/>
                  <a:pt x="226314" y="21279"/>
                </a:cubicBezTo>
                <a:cubicBezTo>
                  <a:pt x="232908" y="20793"/>
                  <a:pt x="239560" y="21441"/>
                  <a:pt x="245981" y="23188"/>
                </a:cubicBezTo>
                <a:cubicBezTo>
                  <a:pt x="249451" y="24460"/>
                  <a:pt x="253154" y="25010"/>
                  <a:pt x="256856" y="24807"/>
                </a:cubicBezTo>
                <a:cubicBezTo>
                  <a:pt x="267210" y="24622"/>
                  <a:pt x="277506" y="23142"/>
                  <a:pt x="287455" y="20412"/>
                </a:cubicBezTo>
                <a:cubicBezTo>
                  <a:pt x="303189" y="16518"/>
                  <a:pt x="319327" y="14233"/>
                  <a:pt x="335524" y="13586"/>
                </a:cubicBezTo>
                <a:cubicBezTo>
                  <a:pt x="340556" y="13586"/>
                  <a:pt x="346341" y="14048"/>
                  <a:pt x="346341" y="17404"/>
                </a:cubicBezTo>
                <a:cubicBezTo>
                  <a:pt x="346572" y="19469"/>
                  <a:pt x="347266" y="21447"/>
                  <a:pt x="348423" y="23188"/>
                </a:cubicBezTo>
                <a:cubicBezTo>
                  <a:pt x="348539" y="23523"/>
                  <a:pt x="348539" y="23899"/>
                  <a:pt x="348423" y="24229"/>
                </a:cubicBezTo>
                <a:cubicBezTo>
                  <a:pt x="348250" y="24530"/>
                  <a:pt x="347960" y="24756"/>
                  <a:pt x="347613" y="24865"/>
                </a:cubicBezTo>
                <a:lnTo>
                  <a:pt x="344894" y="25502"/>
                </a:lnTo>
                <a:cubicBezTo>
                  <a:pt x="339689" y="26954"/>
                  <a:pt x="334367" y="27902"/>
                  <a:pt x="328987" y="28336"/>
                </a:cubicBezTo>
                <a:cubicBezTo>
                  <a:pt x="320137" y="28336"/>
                  <a:pt x="311634" y="38864"/>
                  <a:pt x="310477" y="39905"/>
                </a:cubicBezTo>
                <a:cubicBezTo>
                  <a:pt x="309899" y="40686"/>
                  <a:pt x="308973" y="41149"/>
                  <a:pt x="307990" y="41177"/>
                </a:cubicBezTo>
                <a:cubicBezTo>
                  <a:pt x="305445" y="41177"/>
                  <a:pt x="302668" y="38112"/>
                  <a:pt x="299718" y="34815"/>
                </a:cubicBezTo>
                <a:cubicBezTo>
                  <a:pt x="298157" y="32911"/>
                  <a:pt x="296421" y="31182"/>
                  <a:pt x="294454" y="29667"/>
                </a:cubicBezTo>
                <a:cubicBezTo>
                  <a:pt x="293818" y="29314"/>
                  <a:pt x="293124" y="29157"/>
                  <a:pt x="292430" y="29204"/>
                </a:cubicBezTo>
                <a:cubicBezTo>
                  <a:pt x="285489" y="30372"/>
                  <a:pt x="278721" y="32559"/>
                  <a:pt x="272358" y="35682"/>
                </a:cubicBezTo>
                <a:cubicBezTo>
                  <a:pt x="269871" y="36822"/>
                  <a:pt x="267268" y="37828"/>
                  <a:pt x="264664" y="38690"/>
                </a:cubicBezTo>
                <a:cubicBezTo>
                  <a:pt x="256393" y="40194"/>
                  <a:pt x="248063" y="41241"/>
                  <a:pt x="239676" y="41814"/>
                </a:cubicBezTo>
                <a:lnTo>
                  <a:pt x="239676" y="134365"/>
                </a:lnTo>
                <a:cubicBezTo>
                  <a:pt x="239676" y="141248"/>
                  <a:pt x="230074" y="141885"/>
                  <a:pt x="222323" y="142405"/>
                </a:cubicBezTo>
                <a:cubicBezTo>
                  <a:pt x="217811" y="142405"/>
                  <a:pt x="212084" y="143041"/>
                  <a:pt x="212084" y="144834"/>
                </a:cubicBezTo>
                <a:lnTo>
                  <a:pt x="212084" y="324962"/>
                </a:lnTo>
                <a:cubicBezTo>
                  <a:pt x="212084" y="331209"/>
                  <a:pt x="205721" y="335258"/>
                  <a:pt x="200515" y="338439"/>
                </a:cubicBezTo>
                <a:cubicBezTo>
                  <a:pt x="198126" y="339694"/>
                  <a:pt x="195969" y="341361"/>
                  <a:pt x="194152" y="343356"/>
                </a:cubicBezTo>
                <a:cubicBezTo>
                  <a:pt x="193227" y="345554"/>
                  <a:pt x="189988" y="346422"/>
                  <a:pt x="184145" y="346422"/>
                </a:cubicBezTo>
                <a:close/>
                <a:moveTo>
                  <a:pt x="139316" y="320276"/>
                </a:moveTo>
                <a:cubicBezTo>
                  <a:pt x="141693" y="320386"/>
                  <a:pt x="143857" y="321664"/>
                  <a:pt x="145100" y="323689"/>
                </a:cubicBezTo>
                <a:cubicBezTo>
                  <a:pt x="146900" y="326552"/>
                  <a:pt x="148242" y="329676"/>
                  <a:pt x="149092" y="332944"/>
                </a:cubicBezTo>
                <a:cubicBezTo>
                  <a:pt x="150885" y="338729"/>
                  <a:pt x="152158" y="342604"/>
                  <a:pt x="158694" y="342604"/>
                </a:cubicBezTo>
                <a:cubicBezTo>
                  <a:pt x="162222" y="342604"/>
                  <a:pt x="166445" y="342951"/>
                  <a:pt x="170899" y="343356"/>
                </a:cubicBezTo>
                <a:cubicBezTo>
                  <a:pt x="175353" y="343761"/>
                  <a:pt x="180096" y="344166"/>
                  <a:pt x="183972" y="344166"/>
                </a:cubicBezTo>
                <a:cubicBezTo>
                  <a:pt x="189756" y="344166"/>
                  <a:pt x="191897" y="343125"/>
                  <a:pt x="192533" y="342257"/>
                </a:cubicBezTo>
                <a:cubicBezTo>
                  <a:pt x="194471" y="339897"/>
                  <a:pt x="196848" y="337930"/>
                  <a:pt x="199532" y="336473"/>
                </a:cubicBezTo>
                <a:cubicBezTo>
                  <a:pt x="204449" y="333407"/>
                  <a:pt x="210059" y="329936"/>
                  <a:pt x="210059" y="324904"/>
                </a:cubicBezTo>
                <a:lnTo>
                  <a:pt x="210059" y="145008"/>
                </a:lnTo>
                <a:cubicBezTo>
                  <a:pt x="210059" y="141075"/>
                  <a:pt x="215844" y="140728"/>
                  <a:pt x="222380" y="140323"/>
                </a:cubicBezTo>
                <a:cubicBezTo>
                  <a:pt x="228917" y="139918"/>
                  <a:pt x="237536" y="139339"/>
                  <a:pt x="237536" y="134538"/>
                </a:cubicBezTo>
                <a:lnTo>
                  <a:pt x="237536" y="40773"/>
                </a:lnTo>
                <a:cubicBezTo>
                  <a:pt x="237536" y="40188"/>
                  <a:pt x="237998" y="39702"/>
                  <a:pt x="238577" y="39673"/>
                </a:cubicBezTo>
                <a:cubicBezTo>
                  <a:pt x="238577" y="39673"/>
                  <a:pt x="258707" y="38054"/>
                  <a:pt x="264202" y="36492"/>
                </a:cubicBezTo>
                <a:cubicBezTo>
                  <a:pt x="265706" y="36087"/>
                  <a:pt x="268425" y="34930"/>
                  <a:pt x="271606" y="33600"/>
                </a:cubicBezTo>
                <a:cubicBezTo>
                  <a:pt x="278200" y="30314"/>
                  <a:pt x="285257" y="28070"/>
                  <a:pt x="292545" y="26948"/>
                </a:cubicBezTo>
                <a:cubicBezTo>
                  <a:pt x="293702" y="26884"/>
                  <a:pt x="294859" y="27162"/>
                  <a:pt x="295843" y="27758"/>
                </a:cubicBezTo>
                <a:cubicBezTo>
                  <a:pt x="297983" y="29458"/>
                  <a:pt x="299950" y="31402"/>
                  <a:pt x="301627" y="33542"/>
                </a:cubicBezTo>
                <a:cubicBezTo>
                  <a:pt x="303883" y="36029"/>
                  <a:pt x="306660" y="39326"/>
                  <a:pt x="308221" y="39326"/>
                </a:cubicBezTo>
                <a:cubicBezTo>
                  <a:pt x="308511" y="39315"/>
                  <a:pt x="308742" y="39164"/>
                  <a:pt x="308916" y="38921"/>
                </a:cubicBezTo>
                <a:cubicBezTo>
                  <a:pt x="309957" y="37591"/>
                  <a:pt x="319270" y="26311"/>
                  <a:pt x="329219" y="26311"/>
                </a:cubicBezTo>
                <a:cubicBezTo>
                  <a:pt x="334425" y="25884"/>
                  <a:pt x="339573" y="24952"/>
                  <a:pt x="344605" y="23535"/>
                </a:cubicBezTo>
                <a:lnTo>
                  <a:pt x="345936" y="23535"/>
                </a:lnTo>
                <a:cubicBezTo>
                  <a:pt x="344952" y="21765"/>
                  <a:pt x="344374" y="19781"/>
                  <a:pt x="344258" y="17751"/>
                </a:cubicBezTo>
                <a:cubicBezTo>
                  <a:pt x="344258" y="17751"/>
                  <a:pt x="343911" y="16189"/>
                  <a:pt x="335697" y="16189"/>
                </a:cubicBezTo>
                <a:cubicBezTo>
                  <a:pt x="319732" y="16831"/>
                  <a:pt x="303883" y="19075"/>
                  <a:pt x="288381" y="22899"/>
                </a:cubicBezTo>
                <a:cubicBezTo>
                  <a:pt x="278142" y="25745"/>
                  <a:pt x="267615" y="27260"/>
                  <a:pt x="257029" y="27410"/>
                </a:cubicBezTo>
                <a:cubicBezTo>
                  <a:pt x="253096" y="27601"/>
                  <a:pt x="249162" y="26971"/>
                  <a:pt x="245460" y="25559"/>
                </a:cubicBezTo>
                <a:cubicBezTo>
                  <a:pt x="239387" y="23934"/>
                  <a:pt x="233082" y="23367"/>
                  <a:pt x="226777" y="23882"/>
                </a:cubicBezTo>
                <a:cubicBezTo>
                  <a:pt x="209423" y="23882"/>
                  <a:pt x="186286" y="25675"/>
                  <a:pt x="185939" y="25675"/>
                </a:cubicBezTo>
                <a:cubicBezTo>
                  <a:pt x="185609" y="25727"/>
                  <a:pt x="185273" y="25594"/>
                  <a:pt x="185071" y="25328"/>
                </a:cubicBezTo>
                <a:lnTo>
                  <a:pt x="175816" y="16073"/>
                </a:lnTo>
                <a:lnTo>
                  <a:pt x="81819" y="16073"/>
                </a:lnTo>
                <a:cubicBezTo>
                  <a:pt x="72899" y="16565"/>
                  <a:pt x="64061" y="14130"/>
                  <a:pt x="56657" y="9132"/>
                </a:cubicBezTo>
                <a:cubicBezTo>
                  <a:pt x="49258" y="4036"/>
                  <a:pt x="39627" y="3521"/>
                  <a:pt x="31726" y="7801"/>
                </a:cubicBezTo>
                <a:cubicBezTo>
                  <a:pt x="30366" y="8467"/>
                  <a:pt x="28897" y="8860"/>
                  <a:pt x="27387" y="8958"/>
                </a:cubicBezTo>
                <a:cubicBezTo>
                  <a:pt x="24553" y="8958"/>
                  <a:pt x="23570" y="6934"/>
                  <a:pt x="22760" y="5314"/>
                </a:cubicBezTo>
                <a:cubicBezTo>
                  <a:pt x="21950" y="3694"/>
                  <a:pt x="21314" y="2422"/>
                  <a:pt x="19058" y="2422"/>
                </a:cubicBezTo>
                <a:cubicBezTo>
                  <a:pt x="15269" y="2682"/>
                  <a:pt x="11966" y="5088"/>
                  <a:pt x="10555" y="8611"/>
                </a:cubicBezTo>
                <a:cubicBezTo>
                  <a:pt x="10387" y="8941"/>
                  <a:pt x="10098" y="9190"/>
                  <a:pt x="9745" y="9305"/>
                </a:cubicBezTo>
                <a:lnTo>
                  <a:pt x="1994" y="11272"/>
                </a:lnTo>
                <a:cubicBezTo>
                  <a:pt x="1705" y="18792"/>
                  <a:pt x="7778" y="32964"/>
                  <a:pt x="17207" y="45458"/>
                </a:cubicBezTo>
                <a:cubicBezTo>
                  <a:pt x="28868" y="62719"/>
                  <a:pt x="37909" y="81605"/>
                  <a:pt x="44047" y="101509"/>
                </a:cubicBezTo>
                <a:cubicBezTo>
                  <a:pt x="48061" y="112656"/>
                  <a:pt x="53261" y="123339"/>
                  <a:pt x="59549" y="133381"/>
                </a:cubicBezTo>
                <a:cubicBezTo>
                  <a:pt x="64512" y="141306"/>
                  <a:pt x="68659" y="149722"/>
                  <a:pt x="71928" y="158486"/>
                </a:cubicBezTo>
                <a:cubicBezTo>
                  <a:pt x="73686" y="167035"/>
                  <a:pt x="73883" y="175839"/>
                  <a:pt x="72506" y="184458"/>
                </a:cubicBezTo>
                <a:cubicBezTo>
                  <a:pt x="71205" y="191052"/>
                  <a:pt x="71401" y="197849"/>
                  <a:pt x="73084" y="204356"/>
                </a:cubicBezTo>
                <a:cubicBezTo>
                  <a:pt x="78047" y="218279"/>
                  <a:pt x="81333" y="232746"/>
                  <a:pt x="82860" y="247450"/>
                </a:cubicBezTo>
                <a:cubicBezTo>
                  <a:pt x="83265" y="250343"/>
                  <a:pt x="83670" y="253697"/>
                  <a:pt x="84075" y="257457"/>
                </a:cubicBezTo>
                <a:cubicBezTo>
                  <a:pt x="86041" y="274811"/>
                  <a:pt x="88991" y="301303"/>
                  <a:pt x="101081" y="313046"/>
                </a:cubicBezTo>
                <a:cubicBezTo>
                  <a:pt x="107479" y="319588"/>
                  <a:pt x="113124" y="326824"/>
                  <a:pt x="117914" y="334621"/>
                </a:cubicBezTo>
                <a:lnTo>
                  <a:pt x="118666" y="334621"/>
                </a:lnTo>
                <a:cubicBezTo>
                  <a:pt x="121431" y="335235"/>
                  <a:pt x="124288" y="335235"/>
                  <a:pt x="127053" y="334621"/>
                </a:cubicBezTo>
                <a:cubicBezTo>
                  <a:pt x="127458" y="334621"/>
                  <a:pt x="127863" y="334043"/>
                  <a:pt x="127863" y="332944"/>
                </a:cubicBezTo>
                <a:cubicBezTo>
                  <a:pt x="128303" y="326587"/>
                  <a:pt x="133034" y="321352"/>
                  <a:pt x="139316" y="32027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7" name="Forma libre: forma 276">
            <a:extLst>
              <a:ext uri="{FF2B5EF4-FFF2-40B4-BE49-F238E27FC236}">
                <a16:creationId xmlns:a16="http://schemas.microsoft.com/office/drawing/2014/main" id="{FB91E477-FBC4-1A7F-E3E5-E19977CA5B2B}"/>
              </a:ext>
            </a:extLst>
          </p:cNvPr>
          <p:cNvSpPr/>
          <p:nvPr/>
        </p:nvSpPr>
        <p:spPr>
          <a:xfrm>
            <a:off x="6853787" y="4915396"/>
            <a:ext cx="217654" cy="192624"/>
          </a:xfrm>
          <a:custGeom>
            <a:avLst/>
            <a:gdLst>
              <a:gd name="connsiteX0" fmla="*/ 165339 w 217654"/>
              <a:gd name="connsiteY0" fmla="*/ 192377 h 192624"/>
              <a:gd name="connsiteX1" fmla="*/ 164819 w 217654"/>
              <a:gd name="connsiteY1" fmla="*/ 192377 h 192624"/>
              <a:gd name="connsiteX2" fmla="*/ 151168 w 217654"/>
              <a:gd name="connsiteY2" fmla="*/ 190352 h 192624"/>
              <a:gd name="connsiteX3" fmla="*/ 133351 w 217654"/>
              <a:gd name="connsiteY3" fmla="*/ 186187 h 192624"/>
              <a:gd name="connsiteX4" fmla="*/ 120163 w 217654"/>
              <a:gd name="connsiteY4" fmla="*/ 184279 h 192624"/>
              <a:gd name="connsiteX5" fmla="*/ 107148 w 217654"/>
              <a:gd name="connsiteY5" fmla="*/ 180750 h 192624"/>
              <a:gd name="connsiteX6" fmla="*/ 90952 w 217654"/>
              <a:gd name="connsiteY6" fmla="*/ 170280 h 192624"/>
              <a:gd name="connsiteX7" fmla="*/ 88696 w 217654"/>
              <a:gd name="connsiteY7" fmla="*/ 170280 h 192624"/>
              <a:gd name="connsiteX8" fmla="*/ 68740 w 217654"/>
              <a:gd name="connsiteY8" fmla="*/ 150035 h 192624"/>
              <a:gd name="connsiteX9" fmla="*/ 62955 w 217654"/>
              <a:gd name="connsiteY9" fmla="*/ 138466 h 192624"/>
              <a:gd name="connsiteX10" fmla="*/ 58039 w 217654"/>
              <a:gd name="connsiteY10" fmla="*/ 129558 h 192624"/>
              <a:gd name="connsiteX11" fmla="*/ 31430 w 217654"/>
              <a:gd name="connsiteY11" fmla="*/ 111510 h 192624"/>
              <a:gd name="connsiteX12" fmla="*/ 19861 w 217654"/>
              <a:gd name="connsiteY12" fmla="*/ 88720 h 192624"/>
              <a:gd name="connsiteX13" fmla="*/ 16448 w 217654"/>
              <a:gd name="connsiteY13" fmla="*/ 78771 h 192624"/>
              <a:gd name="connsiteX14" fmla="*/ 16448 w 217654"/>
              <a:gd name="connsiteY14" fmla="*/ 78771 h 192624"/>
              <a:gd name="connsiteX15" fmla="*/ 21 w 217654"/>
              <a:gd name="connsiteY15" fmla="*/ 62690 h 192624"/>
              <a:gd name="connsiteX16" fmla="*/ 21 w 217654"/>
              <a:gd name="connsiteY16" fmla="*/ 61707 h 192624"/>
              <a:gd name="connsiteX17" fmla="*/ 773 w 217654"/>
              <a:gd name="connsiteY17" fmla="*/ 61070 h 192624"/>
              <a:gd name="connsiteX18" fmla="*/ 15118 w 217654"/>
              <a:gd name="connsiteY18" fmla="*/ 58872 h 192624"/>
              <a:gd name="connsiteX19" fmla="*/ 24547 w 217654"/>
              <a:gd name="connsiteY19" fmla="*/ 61128 h 192624"/>
              <a:gd name="connsiteX20" fmla="*/ 45370 w 217654"/>
              <a:gd name="connsiteY20" fmla="*/ 65293 h 192624"/>
              <a:gd name="connsiteX21" fmla="*/ 49188 w 217654"/>
              <a:gd name="connsiteY21" fmla="*/ 64599 h 192624"/>
              <a:gd name="connsiteX22" fmla="*/ 58964 w 217654"/>
              <a:gd name="connsiteY22" fmla="*/ 53030 h 192624"/>
              <a:gd name="connsiteX23" fmla="*/ 77647 w 217654"/>
              <a:gd name="connsiteY23" fmla="*/ 33826 h 192624"/>
              <a:gd name="connsiteX24" fmla="*/ 101942 w 217654"/>
              <a:gd name="connsiteY24" fmla="*/ 15547 h 192624"/>
              <a:gd name="connsiteX25" fmla="*/ 118081 w 217654"/>
              <a:gd name="connsiteY25" fmla="*/ 738 h 192624"/>
              <a:gd name="connsiteX26" fmla="*/ 141797 w 217654"/>
              <a:gd name="connsiteY26" fmla="*/ -129 h 192624"/>
              <a:gd name="connsiteX27" fmla="*/ 141797 w 217654"/>
              <a:gd name="connsiteY27" fmla="*/ -129 h 192624"/>
              <a:gd name="connsiteX28" fmla="*/ 142838 w 217654"/>
              <a:gd name="connsiteY28" fmla="*/ 565 h 192624"/>
              <a:gd name="connsiteX29" fmla="*/ 146598 w 217654"/>
              <a:gd name="connsiteY29" fmla="*/ 8779 h 192624"/>
              <a:gd name="connsiteX30" fmla="*/ 181594 w 217654"/>
              <a:gd name="connsiteY30" fmla="*/ 17398 h 192624"/>
              <a:gd name="connsiteX31" fmla="*/ 204326 w 217654"/>
              <a:gd name="connsiteY31" fmla="*/ 25612 h 192624"/>
              <a:gd name="connsiteX32" fmla="*/ 213061 w 217654"/>
              <a:gd name="connsiteY32" fmla="*/ 28330 h 192624"/>
              <a:gd name="connsiteX33" fmla="*/ 214912 w 217654"/>
              <a:gd name="connsiteY33" fmla="*/ 51468 h 192624"/>
              <a:gd name="connsiteX34" fmla="*/ 214912 w 217654"/>
              <a:gd name="connsiteY34" fmla="*/ 71714 h 192624"/>
              <a:gd name="connsiteX35" fmla="*/ 209128 w 217654"/>
              <a:gd name="connsiteY35" fmla="*/ 86695 h 192624"/>
              <a:gd name="connsiteX36" fmla="*/ 207508 w 217654"/>
              <a:gd name="connsiteY36" fmla="*/ 95198 h 192624"/>
              <a:gd name="connsiteX37" fmla="*/ 213293 w 217654"/>
              <a:gd name="connsiteY37" fmla="*/ 109254 h 192624"/>
              <a:gd name="connsiteX38" fmla="*/ 215664 w 217654"/>
              <a:gd name="connsiteY38" fmla="*/ 115502 h 192624"/>
              <a:gd name="connsiteX39" fmla="*/ 217515 w 217654"/>
              <a:gd name="connsiteY39" fmla="*/ 117526 h 192624"/>
              <a:gd name="connsiteX40" fmla="*/ 201434 w 217654"/>
              <a:gd name="connsiteY40" fmla="*/ 138177 h 192624"/>
              <a:gd name="connsiteX41" fmla="*/ 198832 w 217654"/>
              <a:gd name="connsiteY41" fmla="*/ 147663 h 192624"/>
              <a:gd name="connsiteX42" fmla="*/ 194493 w 217654"/>
              <a:gd name="connsiteY42" fmla="*/ 164496 h 192624"/>
              <a:gd name="connsiteX43" fmla="*/ 175000 w 217654"/>
              <a:gd name="connsiteY43" fmla="*/ 184279 h 192624"/>
              <a:gd name="connsiteX44" fmla="*/ 166670 w 217654"/>
              <a:gd name="connsiteY44" fmla="*/ 192261 h 192624"/>
              <a:gd name="connsiteX45" fmla="*/ 165339 w 217654"/>
              <a:gd name="connsiteY45" fmla="*/ 192377 h 192624"/>
              <a:gd name="connsiteX46" fmla="*/ 90952 w 217654"/>
              <a:gd name="connsiteY46" fmla="*/ 167909 h 192624"/>
              <a:gd name="connsiteX47" fmla="*/ 109404 w 217654"/>
              <a:gd name="connsiteY47" fmla="*/ 180634 h 192624"/>
              <a:gd name="connsiteX48" fmla="*/ 120163 w 217654"/>
              <a:gd name="connsiteY48" fmla="*/ 181907 h 192624"/>
              <a:gd name="connsiteX49" fmla="*/ 135261 w 217654"/>
              <a:gd name="connsiteY49" fmla="*/ 184857 h 192624"/>
              <a:gd name="connsiteX50" fmla="*/ 151342 w 217654"/>
              <a:gd name="connsiteY50" fmla="*/ 187980 h 192624"/>
              <a:gd name="connsiteX51" fmla="*/ 165109 w 217654"/>
              <a:gd name="connsiteY51" fmla="*/ 189947 h 192624"/>
              <a:gd name="connsiteX52" fmla="*/ 172917 w 217654"/>
              <a:gd name="connsiteY52" fmla="*/ 182485 h 192624"/>
              <a:gd name="connsiteX53" fmla="*/ 192179 w 217654"/>
              <a:gd name="connsiteY53" fmla="*/ 162992 h 192624"/>
              <a:gd name="connsiteX54" fmla="*/ 196055 w 217654"/>
              <a:gd name="connsiteY54" fmla="*/ 147432 h 192624"/>
              <a:gd name="connsiteX55" fmla="*/ 199757 w 217654"/>
              <a:gd name="connsiteY55" fmla="*/ 135863 h 192624"/>
              <a:gd name="connsiteX56" fmla="*/ 214797 w 217654"/>
              <a:gd name="connsiteY56" fmla="*/ 117526 h 192624"/>
              <a:gd name="connsiteX57" fmla="*/ 210516 w 217654"/>
              <a:gd name="connsiteY57" fmla="*/ 109254 h 192624"/>
              <a:gd name="connsiteX58" fmla="*/ 205600 w 217654"/>
              <a:gd name="connsiteY58" fmla="*/ 96471 h 192624"/>
              <a:gd name="connsiteX59" fmla="*/ 207103 w 217654"/>
              <a:gd name="connsiteY59" fmla="*/ 84902 h 192624"/>
              <a:gd name="connsiteX60" fmla="*/ 212541 w 217654"/>
              <a:gd name="connsiteY60" fmla="*/ 71540 h 192624"/>
              <a:gd name="connsiteX61" fmla="*/ 212541 w 217654"/>
              <a:gd name="connsiteY61" fmla="*/ 51005 h 192624"/>
              <a:gd name="connsiteX62" fmla="*/ 211731 w 217654"/>
              <a:gd name="connsiteY62" fmla="*/ 29950 h 192624"/>
              <a:gd name="connsiteX63" fmla="*/ 203690 w 217654"/>
              <a:gd name="connsiteY63" fmla="*/ 27578 h 192624"/>
              <a:gd name="connsiteX64" fmla="*/ 180553 w 217654"/>
              <a:gd name="connsiteY64" fmla="*/ 19017 h 192624"/>
              <a:gd name="connsiteX65" fmla="*/ 145846 w 217654"/>
              <a:gd name="connsiteY65" fmla="*/ 10746 h 192624"/>
              <a:gd name="connsiteX66" fmla="*/ 144863 w 217654"/>
              <a:gd name="connsiteY66" fmla="*/ 10109 h 192624"/>
              <a:gd name="connsiteX67" fmla="*/ 141161 w 217654"/>
              <a:gd name="connsiteY67" fmla="*/ 1953 h 192624"/>
              <a:gd name="connsiteX68" fmla="*/ 118428 w 217654"/>
              <a:gd name="connsiteY68" fmla="*/ 2705 h 192624"/>
              <a:gd name="connsiteX69" fmla="*/ 104198 w 217654"/>
              <a:gd name="connsiteY69" fmla="*/ 15315 h 192624"/>
              <a:gd name="connsiteX70" fmla="*/ 78342 w 217654"/>
              <a:gd name="connsiteY70" fmla="*/ 35792 h 192624"/>
              <a:gd name="connsiteX71" fmla="*/ 60989 w 217654"/>
              <a:gd name="connsiteY71" fmla="*/ 54129 h 192624"/>
              <a:gd name="connsiteX72" fmla="*/ 50461 w 217654"/>
              <a:gd name="connsiteY72" fmla="*/ 66334 h 192624"/>
              <a:gd name="connsiteX73" fmla="*/ 45602 w 217654"/>
              <a:gd name="connsiteY73" fmla="*/ 67259 h 192624"/>
              <a:gd name="connsiteX74" fmla="*/ 24199 w 217654"/>
              <a:gd name="connsiteY74" fmla="*/ 63037 h 192624"/>
              <a:gd name="connsiteX75" fmla="*/ 15060 w 217654"/>
              <a:gd name="connsiteY75" fmla="*/ 60839 h 192624"/>
              <a:gd name="connsiteX76" fmla="*/ 3029 w 217654"/>
              <a:gd name="connsiteY76" fmla="*/ 62632 h 192624"/>
              <a:gd name="connsiteX77" fmla="*/ 16854 w 217654"/>
              <a:gd name="connsiteY77" fmla="*/ 76283 h 192624"/>
              <a:gd name="connsiteX78" fmla="*/ 22349 w 217654"/>
              <a:gd name="connsiteY78" fmla="*/ 87852 h 192624"/>
              <a:gd name="connsiteX79" fmla="*/ 32298 w 217654"/>
              <a:gd name="connsiteY79" fmla="*/ 109139 h 192624"/>
              <a:gd name="connsiteX80" fmla="*/ 60294 w 217654"/>
              <a:gd name="connsiteY80" fmla="*/ 129269 h 192624"/>
              <a:gd name="connsiteX81" fmla="*/ 64690 w 217654"/>
              <a:gd name="connsiteY81" fmla="*/ 136788 h 192624"/>
              <a:gd name="connsiteX82" fmla="*/ 71227 w 217654"/>
              <a:gd name="connsiteY82" fmla="*/ 149803 h 192624"/>
              <a:gd name="connsiteX83" fmla="*/ 88927 w 217654"/>
              <a:gd name="connsiteY83" fmla="*/ 167793 h 19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17654" h="192624">
                <a:moveTo>
                  <a:pt x="165339" y="192377"/>
                </a:moveTo>
                <a:lnTo>
                  <a:pt x="164819" y="192377"/>
                </a:lnTo>
                <a:cubicBezTo>
                  <a:pt x="160365" y="191041"/>
                  <a:pt x="155795" y="190358"/>
                  <a:pt x="151168" y="190352"/>
                </a:cubicBezTo>
                <a:cubicBezTo>
                  <a:pt x="141219" y="189600"/>
                  <a:pt x="135087" y="188964"/>
                  <a:pt x="133351" y="186187"/>
                </a:cubicBezTo>
                <a:cubicBezTo>
                  <a:pt x="131616" y="183411"/>
                  <a:pt x="125196" y="184279"/>
                  <a:pt x="120163" y="184279"/>
                </a:cubicBezTo>
                <a:cubicBezTo>
                  <a:pt x="112875" y="184279"/>
                  <a:pt x="107148" y="184279"/>
                  <a:pt x="107148" y="180750"/>
                </a:cubicBezTo>
                <a:cubicBezTo>
                  <a:pt x="107148" y="176238"/>
                  <a:pt x="105471" y="170280"/>
                  <a:pt x="90952" y="170280"/>
                </a:cubicBezTo>
                <a:lnTo>
                  <a:pt x="88696" y="170280"/>
                </a:lnTo>
                <a:cubicBezTo>
                  <a:pt x="78342" y="168655"/>
                  <a:pt x="70244" y="160435"/>
                  <a:pt x="68740" y="150035"/>
                </a:cubicBezTo>
                <a:cubicBezTo>
                  <a:pt x="68104" y="145667"/>
                  <a:pt x="66078" y="141618"/>
                  <a:pt x="62955" y="138466"/>
                </a:cubicBezTo>
                <a:cubicBezTo>
                  <a:pt x="60410" y="136094"/>
                  <a:pt x="58675" y="132976"/>
                  <a:pt x="58039" y="129558"/>
                </a:cubicBezTo>
                <a:cubicBezTo>
                  <a:pt x="58039" y="125567"/>
                  <a:pt x="44272" y="117006"/>
                  <a:pt x="31430" y="111510"/>
                </a:cubicBezTo>
                <a:cubicBezTo>
                  <a:pt x="25241" y="108907"/>
                  <a:pt x="22406" y="97686"/>
                  <a:pt x="19861" y="88720"/>
                </a:cubicBezTo>
                <a:cubicBezTo>
                  <a:pt x="19283" y="85232"/>
                  <a:pt x="18126" y="81871"/>
                  <a:pt x="16448" y="78771"/>
                </a:cubicBezTo>
                <a:lnTo>
                  <a:pt x="16448" y="78771"/>
                </a:lnTo>
                <a:cubicBezTo>
                  <a:pt x="12688" y="78771"/>
                  <a:pt x="3954" y="69747"/>
                  <a:pt x="21" y="62690"/>
                </a:cubicBezTo>
                <a:cubicBezTo>
                  <a:pt x="-153" y="62383"/>
                  <a:pt x="-153" y="62013"/>
                  <a:pt x="21" y="61707"/>
                </a:cubicBezTo>
                <a:cubicBezTo>
                  <a:pt x="136" y="61365"/>
                  <a:pt x="426" y="61122"/>
                  <a:pt x="773" y="61070"/>
                </a:cubicBezTo>
                <a:cubicBezTo>
                  <a:pt x="5458" y="59688"/>
                  <a:pt x="10259" y="58947"/>
                  <a:pt x="15118" y="58872"/>
                </a:cubicBezTo>
                <a:cubicBezTo>
                  <a:pt x="18300" y="59445"/>
                  <a:pt x="21423" y="60197"/>
                  <a:pt x="24547" y="61128"/>
                </a:cubicBezTo>
                <a:cubicBezTo>
                  <a:pt x="31315" y="63280"/>
                  <a:pt x="38314" y="64680"/>
                  <a:pt x="45370" y="65293"/>
                </a:cubicBezTo>
                <a:cubicBezTo>
                  <a:pt x="46701" y="65374"/>
                  <a:pt x="47974" y="65136"/>
                  <a:pt x="49188" y="64599"/>
                </a:cubicBezTo>
                <a:cubicBezTo>
                  <a:pt x="53121" y="61342"/>
                  <a:pt x="56419" y="57426"/>
                  <a:pt x="58964" y="53030"/>
                </a:cubicBezTo>
                <a:cubicBezTo>
                  <a:pt x="64748" y="44989"/>
                  <a:pt x="71169" y="35677"/>
                  <a:pt x="77647" y="33826"/>
                </a:cubicBezTo>
                <a:cubicBezTo>
                  <a:pt x="88117" y="30586"/>
                  <a:pt x="101942" y="19538"/>
                  <a:pt x="101942" y="15547"/>
                </a:cubicBezTo>
                <a:cubicBezTo>
                  <a:pt x="101942" y="10572"/>
                  <a:pt x="101942" y="4961"/>
                  <a:pt x="118081" y="738"/>
                </a:cubicBezTo>
                <a:lnTo>
                  <a:pt x="141797" y="-129"/>
                </a:lnTo>
                <a:lnTo>
                  <a:pt x="141797" y="-129"/>
                </a:lnTo>
                <a:cubicBezTo>
                  <a:pt x="142260" y="-123"/>
                  <a:pt x="142665" y="149"/>
                  <a:pt x="142838" y="565"/>
                </a:cubicBezTo>
                <a:lnTo>
                  <a:pt x="146598" y="8779"/>
                </a:lnTo>
                <a:cubicBezTo>
                  <a:pt x="150705" y="8779"/>
                  <a:pt x="171471" y="10688"/>
                  <a:pt x="181594" y="17398"/>
                </a:cubicBezTo>
                <a:cubicBezTo>
                  <a:pt x="188651" y="21424"/>
                  <a:pt x="196344" y="24200"/>
                  <a:pt x="204326" y="25612"/>
                </a:cubicBezTo>
                <a:cubicBezTo>
                  <a:pt x="207334" y="26080"/>
                  <a:pt x="210285" y="27000"/>
                  <a:pt x="213061" y="28330"/>
                </a:cubicBezTo>
                <a:cubicBezTo>
                  <a:pt x="215664" y="30008"/>
                  <a:pt x="215433" y="37759"/>
                  <a:pt x="214912" y="51468"/>
                </a:cubicBezTo>
                <a:cubicBezTo>
                  <a:pt x="214507" y="58213"/>
                  <a:pt x="214507" y="64969"/>
                  <a:pt x="214912" y="71714"/>
                </a:cubicBezTo>
                <a:cubicBezTo>
                  <a:pt x="215201" y="77296"/>
                  <a:pt x="213061" y="82739"/>
                  <a:pt x="209128" y="86695"/>
                </a:cubicBezTo>
                <a:cubicBezTo>
                  <a:pt x="205946" y="90513"/>
                  <a:pt x="204616" y="92480"/>
                  <a:pt x="207508" y="95198"/>
                </a:cubicBezTo>
                <a:cubicBezTo>
                  <a:pt x="210979" y="99097"/>
                  <a:pt x="213003" y="104054"/>
                  <a:pt x="213293" y="109254"/>
                </a:cubicBezTo>
                <a:cubicBezTo>
                  <a:pt x="213813" y="112899"/>
                  <a:pt x="214218" y="115039"/>
                  <a:pt x="215664" y="115502"/>
                </a:cubicBezTo>
                <a:cubicBezTo>
                  <a:pt x="216647" y="115698"/>
                  <a:pt x="217399" y="116520"/>
                  <a:pt x="217515" y="117526"/>
                </a:cubicBezTo>
                <a:cubicBezTo>
                  <a:pt x="218209" y="122269"/>
                  <a:pt x="206525" y="134879"/>
                  <a:pt x="201434" y="138177"/>
                </a:cubicBezTo>
                <a:cubicBezTo>
                  <a:pt x="199063" y="139565"/>
                  <a:pt x="198947" y="143151"/>
                  <a:pt x="198832" y="147663"/>
                </a:cubicBezTo>
                <a:cubicBezTo>
                  <a:pt x="199178" y="153592"/>
                  <a:pt x="197674" y="159481"/>
                  <a:pt x="194493" y="164496"/>
                </a:cubicBezTo>
                <a:cubicBezTo>
                  <a:pt x="188419" y="171489"/>
                  <a:pt x="181883" y="178101"/>
                  <a:pt x="175000" y="184279"/>
                </a:cubicBezTo>
                <a:lnTo>
                  <a:pt x="166670" y="192261"/>
                </a:lnTo>
                <a:cubicBezTo>
                  <a:pt x="166265" y="192527"/>
                  <a:pt x="165803" y="192568"/>
                  <a:pt x="165339" y="192377"/>
                </a:cubicBezTo>
                <a:close/>
                <a:moveTo>
                  <a:pt x="90952" y="167909"/>
                </a:moveTo>
                <a:cubicBezTo>
                  <a:pt x="103388" y="167909"/>
                  <a:pt x="109404" y="172073"/>
                  <a:pt x="109404" y="180634"/>
                </a:cubicBezTo>
                <a:cubicBezTo>
                  <a:pt x="109404" y="181907"/>
                  <a:pt x="116635" y="181907"/>
                  <a:pt x="120163" y="181907"/>
                </a:cubicBezTo>
                <a:cubicBezTo>
                  <a:pt x="126989" y="181907"/>
                  <a:pt x="133409" y="181907"/>
                  <a:pt x="135261" y="184857"/>
                </a:cubicBezTo>
                <a:cubicBezTo>
                  <a:pt x="136533" y="186881"/>
                  <a:pt x="145094" y="187518"/>
                  <a:pt x="151342" y="187980"/>
                </a:cubicBezTo>
                <a:cubicBezTo>
                  <a:pt x="155969" y="188038"/>
                  <a:pt x="160597" y="188698"/>
                  <a:pt x="165109" y="189947"/>
                </a:cubicBezTo>
                <a:lnTo>
                  <a:pt x="172917" y="182485"/>
                </a:lnTo>
                <a:cubicBezTo>
                  <a:pt x="179743" y="176389"/>
                  <a:pt x="186163" y="169875"/>
                  <a:pt x="192179" y="162992"/>
                </a:cubicBezTo>
                <a:cubicBezTo>
                  <a:pt x="195072" y="158335"/>
                  <a:pt x="196402" y="152898"/>
                  <a:pt x="196055" y="147432"/>
                </a:cubicBezTo>
                <a:cubicBezTo>
                  <a:pt x="196055" y="142399"/>
                  <a:pt x="196055" y="138119"/>
                  <a:pt x="199757" y="135863"/>
                </a:cubicBezTo>
                <a:cubicBezTo>
                  <a:pt x="205542" y="132508"/>
                  <a:pt x="215201" y="120476"/>
                  <a:pt x="214797" y="117526"/>
                </a:cubicBezTo>
                <a:cubicBezTo>
                  <a:pt x="211615" y="116601"/>
                  <a:pt x="211094" y="113188"/>
                  <a:pt x="210516" y="109254"/>
                </a:cubicBezTo>
                <a:cubicBezTo>
                  <a:pt x="210342" y="104563"/>
                  <a:pt x="208607" y="100063"/>
                  <a:pt x="205600" y="96471"/>
                </a:cubicBezTo>
                <a:cubicBezTo>
                  <a:pt x="201145" y="92017"/>
                  <a:pt x="204153" y="88373"/>
                  <a:pt x="207103" y="84902"/>
                </a:cubicBezTo>
                <a:cubicBezTo>
                  <a:pt x="210747" y="81449"/>
                  <a:pt x="212772" y="76573"/>
                  <a:pt x="212541" y="71540"/>
                </a:cubicBezTo>
                <a:cubicBezTo>
                  <a:pt x="212135" y="64703"/>
                  <a:pt x="212135" y="57842"/>
                  <a:pt x="212541" y="51005"/>
                </a:cubicBezTo>
                <a:cubicBezTo>
                  <a:pt x="212541" y="43081"/>
                  <a:pt x="213350" y="31049"/>
                  <a:pt x="211731" y="29950"/>
                </a:cubicBezTo>
                <a:cubicBezTo>
                  <a:pt x="209128" y="28857"/>
                  <a:pt x="206467" y="28058"/>
                  <a:pt x="203690" y="27578"/>
                </a:cubicBezTo>
                <a:cubicBezTo>
                  <a:pt x="195534" y="26069"/>
                  <a:pt x="187725" y="23171"/>
                  <a:pt x="180553" y="19017"/>
                </a:cubicBezTo>
                <a:cubicBezTo>
                  <a:pt x="169967" y="12018"/>
                  <a:pt x="146193" y="10746"/>
                  <a:pt x="145846" y="10746"/>
                </a:cubicBezTo>
                <a:cubicBezTo>
                  <a:pt x="145441" y="10728"/>
                  <a:pt x="145036" y="10485"/>
                  <a:pt x="144863" y="10109"/>
                </a:cubicBezTo>
                <a:lnTo>
                  <a:pt x="141161" y="1953"/>
                </a:lnTo>
                <a:lnTo>
                  <a:pt x="118428" y="2705"/>
                </a:lnTo>
                <a:cubicBezTo>
                  <a:pt x="104198" y="6465"/>
                  <a:pt x="104198" y="10746"/>
                  <a:pt x="104198" y="15315"/>
                </a:cubicBezTo>
                <a:cubicBezTo>
                  <a:pt x="104198" y="21100"/>
                  <a:pt x="88580" y="32669"/>
                  <a:pt x="78342" y="35792"/>
                </a:cubicBezTo>
                <a:cubicBezTo>
                  <a:pt x="72558" y="37528"/>
                  <a:pt x="66368" y="46378"/>
                  <a:pt x="60989" y="54129"/>
                </a:cubicBezTo>
                <a:cubicBezTo>
                  <a:pt x="58270" y="58837"/>
                  <a:pt x="54741" y="62979"/>
                  <a:pt x="50461" y="66334"/>
                </a:cubicBezTo>
                <a:cubicBezTo>
                  <a:pt x="48957" y="67028"/>
                  <a:pt x="47279" y="67346"/>
                  <a:pt x="45602" y="67259"/>
                </a:cubicBezTo>
                <a:cubicBezTo>
                  <a:pt x="38314" y="66646"/>
                  <a:pt x="31141" y="65229"/>
                  <a:pt x="24199" y="63037"/>
                </a:cubicBezTo>
                <a:cubicBezTo>
                  <a:pt x="21192" y="62140"/>
                  <a:pt x="18126" y="61406"/>
                  <a:pt x="15060" y="60839"/>
                </a:cubicBezTo>
                <a:cubicBezTo>
                  <a:pt x="11011" y="60839"/>
                  <a:pt x="6904" y="61440"/>
                  <a:pt x="3029" y="62632"/>
                </a:cubicBezTo>
                <a:cubicBezTo>
                  <a:pt x="7425" y="69573"/>
                  <a:pt x="14598" y="76283"/>
                  <a:pt x="16854" y="76283"/>
                </a:cubicBezTo>
                <a:cubicBezTo>
                  <a:pt x="19109" y="76283"/>
                  <a:pt x="20498" y="80621"/>
                  <a:pt x="22349" y="87852"/>
                </a:cubicBezTo>
                <a:cubicBezTo>
                  <a:pt x="24199" y="95082"/>
                  <a:pt x="27149" y="106941"/>
                  <a:pt x="32298" y="109139"/>
                </a:cubicBezTo>
                <a:cubicBezTo>
                  <a:pt x="32298" y="109139"/>
                  <a:pt x="60294" y="121344"/>
                  <a:pt x="60294" y="129269"/>
                </a:cubicBezTo>
                <a:cubicBezTo>
                  <a:pt x="60294" y="131351"/>
                  <a:pt x="62435" y="133954"/>
                  <a:pt x="64690" y="136788"/>
                </a:cubicBezTo>
                <a:cubicBezTo>
                  <a:pt x="68277" y="140282"/>
                  <a:pt x="70533" y="144858"/>
                  <a:pt x="71227" y="149803"/>
                </a:cubicBezTo>
                <a:cubicBezTo>
                  <a:pt x="72731" y="158926"/>
                  <a:pt x="79845" y="166115"/>
                  <a:pt x="88927" y="16779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8" name="Forma libre: forma 277">
            <a:extLst>
              <a:ext uri="{FF2B5EF4-FFF2-40B4-BE49-F238E27FC236}">
                <a16:creationId xmlns:a16="http://schemas.microsoft.com/office/drawing/2014/main" id="{F3AE7683-92CB-97B7-AFED-FA1F4C558634}"/>
              </a:ext>
            </a:extLst>
          </p:cNvPr>
          <p:cNvSpPr/>
          <p:nvPr/>
        </p:nvSpPr>
        <p:spPr>
          <a:xfrm>
            <a:off x="6717694" y="4976858"/>
            <a:ext cx="245592" cy="263202"/>
          </a:xfrm>
          <a:custGeom>
            <a:avLst/>
            <a:gdLst>
              <a:gd name="connsiteX0" fmla="*/ 39514 w 245592"/>
              <a:gd name="connsiteY0" fmla="*/ 262974 h 263202"/>
              <a:gd name="connsiteX1" fmla="*/ 29623 w 245592"/>
              <a:gd name="connsiteY1" fmla="*/ 262048 h 263202"/>
              <a:gd name="connsiteX2" fmla="*/ 21872 w 245592"/>
              <a:gd name="connsiteY2" fmla="*/ 261238 h 263202"/>
              <a:gd name="connsiteX3" fmla="*/ 16550 w 245592"/>
              <a:gd name="connsiteY3" fmla="*/ 259387 h 263202"/>
              <a:gd name="connsiteX4" fmla="*/ 15566 w 245592"/>
              <a:gd name="connsiteY4" fmla="*/ 251289 h 263202"/>
              <a:gd name="connsiteX5" fmla="*/ 15913 w 245592"/>
              <a:gd name="connsiteY5" fmla="*/ 247992 h 263202"/>
              <a:gd name="connsiteX6" fmla="*/ 18979 w 245592"/>
              <a:gd name="connsiteY6" fmla="*/ 243654 h 263202"/>
              <a:gd name="connsiteX7" fmla="*/ 21582 w 245592"/>
              <a:gd name="connsiteY7" fmla="*/ 241166 h 263202"/>
              <a:gd name="connsiteX8" fmla="*/ 12905 w 245592"/>
              <a:gd name="connsiteY8" fmla="*/ 211724 h 263202"/>
              <a:gd name="connsiteX9" fmla="*/ 12905 w 245592"/>
              <a:gd name="connsiteY9" fmla="*/ 211261 h 263202"/>
              <a:gd name="connsiteX10" fmla="*/ 585 w 245592"/>
              <a:gd name="connsiteY10" fmla="*/ 203394 h 263202"/>
              <a:gd name="connsiteX11" fmla="*/ -110 w 245592"/>
              <a:gd name="connsiteY11" fmla="*/ 202353 h 263202"/>
              <a:gd name="connsiteX12" fmla="*/ -110 w 245592"/>
              <a:gd name="connsiteY12" fmla="*/ 122007 h 263202"/>
              <a:gd name="connsiteX13" fmla="*/ 12211 w 245592"/>
              <a:gd name="connsiteY13" fmla="*/ 117322 h 263202"/>
              <a:gd name="connsiteX14" fmla="*/ 27367 w 245592"/>
              <a:gd name="connsiteY14" fmla="*/ 111537 h 263202"/>
              <a:gd name="connsiteX15" fmla="*/ 27367 w 245592"/>
              <a:gd name="connsiteY15" fmla="*/ 17772 h 263202"/>
              <a:gd name="connsiteX16" fmla="*/ 28408 w 245592"/>
              <a:gd name="connsiteY16" fmla="*/ 16673 h 263202"/>
              <a:gd name="connsiteX17" fmla="*/ 54033 w 245592"/>
              <a:gd name="connsiteY17" fmla="*/ 13491 h 263202"/>
              <a:gd name="connsiteX18" fmla="*/ 61437 w 245592"/>
              <a:gd name="connsiteY18" fmla="*/ 10599 h 263202"/>
              <a:gd name="connsiteX19" fmla="*/ 82376 w 245592"/>
              <a:gd name="connsiteY19" fmla="*/ 3947 h 263202"/>
              <a:gd name="connsiteX20" fmla="*/ 85674 w 245592"/>
              <a:gd name="connsiteY20" fmla="*/ 4757 h 263202"/>
              <a:gd name="connsiteX21" fmla="*/ 91458 w 245592"/>
              <a:gd name="connsiteY21" fmla="*/ 10541 h 263202"/>
              <a:gd name="connsiteX22" fmla="*/ 98052 w 245592"/>
              <a:gd name="connsiteY22" fmla="*/ 16326 h 263202"/>
              <a:gd name="connsiteX23" fmla="*/ 98747 w 245592"/>
              <a:gd name="connsiteY23" fmla="*/ 15921 h 263202"/>
              <a:gd name="connsiteX24" fmla="*/ 119050 w 245592"/>
              <a:gd name="connsiteY24" fmla="*/ 3311 h 263202"/>
              <a:gd name="connsiteX25" fmla="*/ 134436 w 245592"/>
              <a:gd name="connsiteY25" fmla="*/ 534 h 263202"/>
              <a:gd name="connsiteX26" fmla="*/ 137155 w 245592"/>
              <a:gd name="connsiteY26" fmla="*/ -102 h 263202"/>
              <a:gd name="connsiteX27" fmla="*/ 138428 w 245592"/>
              <a:gd name="connsiteY27" fmla="*/ 418 h 263202"/>
              <a:gd name="connsiteX28" fmla="*/ 153004 w 245592"/>
              <a:gd name="connsiteY28" fmla="*/ 15400 h 263202"/>
              <a:gd name="connsiteX29" fmla="*/ 158500 w 245592"/>
              <a:gd name="connsiteY29" fmla="*/ 26969 h 263202"/>
              <a:gd name="connsiteX30" fmla="*/ 168449 w 245592"/>
              <a:gd name="connsiteY30" fmla="*/ 48256 h 263202"/>
              <a:gd name="connsiteX31" fmla="*/ 196445 w 245592"/>
              <a:gd name="connsiteY31" fmla="*/ 68385 h 263202"/>
              <a:gd name="connsiteX32" fmla="*/ 200841 w 245592"/>
              <a:gd name="connsiteY32" fmla="*/ 75905 h 263202"/>
              <a:gd name="connsiteX33" fmla="*/ 207378 w 245592"/>
              <a:gd name="connsiteY33" fmla="*/ 88920 h 263202"/>
              <a:gd name="connsiteX34" fmla="*/ 213162 w 245592"/>
              <a:gd name="connsiteY34" fmla="*/ 100489 h 263202"/>
              <a:gd name="connsiteX35" fmla="*/ 224731 w 245592"/>
              <a:gd name="connsiteY35" fmla="*/ 106678 h 263202"/>
              <a:gd name="connsiteX36" fmla="*/ 226987 w 245592"/>
              <a:gd name="connsiteY36" fmla="*/ 106678 h 263202"/>
              <a:gd name="connsiteX37" fmla="*/ 245440 w 245592"/>
              <a:gd name="connsiteY37" fmla="*/ 119115 h 263202"/>
              <a:gd name="connsiteX38" fmla="*/ 245440 w 245592"/>
              <a:gd name="connsiteY38" fmla="*/ 119520 h 263202"/>
              <a:gd name="connsiteX39" fmla="*/ 245440 w 245592"/>
              <a:gd name="connsiteY39" fmla="*/ 120156 h 263202"/>
              <a:gd name="connsiteX40" fmla="*/ 236011 w 245592"/>
              <a:gd name="connsiteY40" fmla="*/ 133460 h 263202"/>
              <a:gd name="connsiteX41" fmla="*/ 227681 w 245592"/>
              <a:gd name="connsiteY41" fmla="*/ 137104 h 263202"/>
              <a:gd name="connsiteX42" fmla="*/ 219294 w 245592"/>
              <a:gd name="connsiteY42" fmla="*/ 142889 h 263202"/>
              <a:gd name="connsiteX43" fmla="*/ 196156 w 245592"/>
              <a:gd name="connsiteY43" fmla="*/ 160242 h 263202"/>
              <a:gd name="connsiteX44" fmla="*/ 185918 w 245592"/>
              <a:gd name="connsiteY44" fmla="*/ 177595 h 263202"/>
              <a:gd name="connsiteX45" fmla="*/ 161392 w 245592"/>
              <a:gd name="connsiteY45" fmla="*/ 195701 h 263202"/>
              <a:gd name="connsiteX46" fmla="*/ 153699 w 245592"/>
              <a:gd name="connsiteY46" fmla="*/ 205766 h 263202"/>
              <a:gd name="connsiteX47" fmla="*/ 152021 w 245592"/>
              <a:gd name="connsiteY47" fmla="*/ 215078 h 263202"/>
              <a:gd name="connsiteX48" fmla="*/ 125066 w 245592"/>
              <a:gd name="connsiteY48" fmla="*/ 227978 h 263202"/>
              <a:gd name="connsiteX49" fmla="*/ 95391 w 245592"/>
              <a:gd name="connsiteY49" fmla="*/ 219475 h 263202"/>
              <a:gd name="connsiteX50" fmla="*/ 92615 w 245592"/>
              <a:gd name="connsiteY50" fmla="*/ 216698 h 263202"/>
              <a:gd name="connsiteX51" fmla="*/ 85905 w 245592"/>
              <a:gd name="connsiteY51" fmla="*/ 214269 h 263202"/>
              <a:gd name="connsiteX52" fmla="*/ 75782 w 245592"/>
              <a:gd name="connsiteY52" fmla="*/ 230407 h 263202"/>
              <a:gd name="connsiteX53" fmla="*/ 58024 w 245592"/>
              <a:gd name="connsiteY53" fmla="*/ 251926 h 263202"/>
              <a:gd name="connsiteX54" fmla="*/ 50447 w 245592"/>
              <a:gd name="connsiteY54" fmla="*/ 259329 h 263202"/>
              <a:gd name="connsiteX55" fmla="*/ 39514 w 245592"/>
              <a:gd name="connsiteY55" fmla="*/ 262974 h 263202"/>
              <a:gd name="connsiteX56" fmla="*/ 1915 w 245592"/>
              <a:gd name="connsiteY56" fmla="*/ 201543 h 263202"/>
              <a:gd name="connsiteX57" fmla="*/ 14814 w 245592"/>
              <a:gd name="connsiteY57" fmla="*/ 210451 h 263202"/>
              <a:gd name="connsiteX58" fmla="*/ 14814 w 245592"/>
              <a:gd name="connsiteY58" fmla="*/ 210856 h 263202"/>
              <a:gd name="connsiteX59" fmla="*/ 23549 w 245592"/>
              <a:gd name="connsiteY59" fmla="*/ 241918 h 263202"/>
              <a:gd name="connsiteX60" fmla="*/ 19558 w 245592"/>
              <a:gd name="connsiteY60" fmla="*/ 245794 h 263202"/>
              <a:gd name="connsiteX61" fmla="*/ 17996 w 245592"/>
              <a:gd name="connsiteY61" fmla="*/ 247992 h 263202"/>
              <a:gd name="connsiteX62" fmla="*/ 17649 w 245592"/>
              <a:gd name="connsiteY62" fmla="*/ 251579 h 263202"/>
              <a:gd name="connsiteX63" fmla="*/ 18112 w 245592"/>
              <a:gd name="connsiteY63" fmla="*/ 257883 h 263202"/>
              <a:gd name="connsiteX64" fmla="*/ 21698 w 245592"/>
              <a:gd name="connsiteY64" fmla="*/ 258982 h 263202"/>
              <a:gd name="connsiteX65" fmla="*/ 29796 w 245592"/>
              <a:gd name="connsiteY65" fmla="*/ 259792 h 263202"/>
              <a:gd name="connsiteX66" fmla="*/ 39340 w 245592"/>
              <a:gd name="connsiteY66" fmla="*/ 260718 h 263202"/>
              <a:gd name="connsiteX67" fmla="*/ 48249 w 245592"/>
              <a:gd name="connsiteY67" fmla="*/ 257768 h 263202"/>
              <a:gd name="connsiteX68" fmla="*/ 55999 w 245592"/>
              <a:gd name="connsiteY68" fmla="*/ 250190 h 263202"/>
              <a:gd name="connsiteX69" fmla="*/ 73064 w 245592"/>
              <a:gd name="connsiteY69" fmla="*/ 230060 h 263202"/>
              <a:gd name="connsiteX70" fmla="*/ 85442 w 245592"/>
              <a:gd name="connsiteY70" fmla="*/ 211955 h 263202"/>
              <a:gd name="connsiteX71" fmla="*/ 93367 w 245592"/>
              <a:gd name="connsiteY71" fmla="*/ 214731 h 263202"/>
              <a:gd name="connsiteX72" fmla="*/ 96664 w 245592"/>
              <a:gd name="connsiteY72" fmla="*/ 216872 h 263202"/>
              <a:gd name="connsiteX73" fmla="*/ 125066 w 245592"/>
              <a:gd name="connsiteY73" fmla="*/ 225086 h 263202"/>
              <a:gd name="connsiteX74" fmla="*/ 149823 w 245592"/>
              <a:gd name="connsiteY74" fmla="*/ 213517 h 263202"/>
              <a:gd name="connsiteX75" fmla="*/ 151501 w 245592"/>
              <a:gd name="connsiteY75" fmla="*/ 204493 h 263202"/>
              <a:gd name="connsiteX76" fmla="*/ 161392 w 245592"/>
              <a:gd name="connsiteY76" fmla="*/ 192462 h 263202"/>
              <a:gd name="connsiteX77" fmla="*/ 183662 w 245592"/>
              <a:gd name="connsiteY77" fmla="*/ 176612 h 263202"/>
              <a:gd name="connsiteX78" fmla="*/ 196156 w 245592"/>
              <a:gd name="connsiteY78" fmla="*/ 156945 h 263202"/>
              <a:gd name="connsiteX79" fmla="*/ 216864 w 245592"/>
              <a:gd name="connsiteY79" fmla="*/ 141674 h 263202"/>
              <a:gd name="connsiteX80" fmla="*/ 226987 w 245592"/>
              <a:gd name="connsiteY80" fmla="*/ 134386 h 263202"/>
              <a:gd name="connsiteX81" fmla="*/ 234044 w 245592"/>
              <a:gd name="connsiteY81" fmla="*/ 131436 h 263202"/>
              <a:gd name="connsiteX82" fmla="*/ 243068 w 245592"/>
              <a:gd name="connsiteY82" fmla="*/ 118826 h 263202"/>
              <a:gd name="connsiteX83" fmla="*/ 224963 w 245592"/>
              <a:gd name="connsiteY83" fmla="*/ 108471 h 263202"/>
              <a:gd name="connsiteX84" fmla="*/ 224615 w 245592"/>
              <a:gd name="connsiteY84" fmla="*/ 108471 h 263202"/>
              <a:gd name="connsiteX85" fmla="*/ 211312 w 245592"/>
              <a:gd name="connsiteY85" fmla="*/ 101588 h 263202"/>
              <a:gd name="connsiteX86" fmla="*/ 204659 w 245592"/>
              <a:gd name="connsiteY86" fmla="*/ 88226 h 263202"/>
              <a:gd name="connsiteX87" fmla="*/ 198875 w 245592"/>
              <a:gd name="connsiteY87" fmla="*/ 76657 h 263202"/>
              <a:gd name="connsiteX88" fmla="*/ 193958 w 245592"/>
              <a:gd name="connsiteY88" fmla="*/ 67749 h 263202"/>
              <a:gd name="connsiteX89" fmla="*/ 167350 w 245592"/>
              <a:gd name="connsiteY89" fmla="*/ 49702 h 263202"/>
              <a:gd name="connsiteX90" fmla="*/ 155781 w 245592"/>
              <a:gd name="connsiteY90" fmla="*/ 26911 h 263202"/>
              <a:gd name="connsiteX91" fmla="*/ 152368 w 245592"/>
              <a:gd name="connsiteY91" fmla="*/ 16962 h 263202"/>
              <a:gd name="connsiteX92" fmla="*/ 152368 w 245592"/>
              <a:gd name="connsiteY92" fmla="*/ 16962 h 263202"/>
              <a:gd name="connsiteX93" fmla="*/ 136345 w 245592"/>
              <a:gd name="connsiteY93" fmla="*/ 1633 h 263202"/>
              <a:gd name="connsiteX94" fmla="*/ 134436 w 245592"/>
              <a:gd name="connsiteY94" fmla="*/ 2096 h 263202"/>
              <a:gd name="connsiteX95" fmla="*/ 118529 w 245592"/>
              <a:gd name="connsiteY95" fmla="*/ 4930 h 263202"/>
              <a:gd name="connsiteX96" fmla="*/ 100019 w 245592"/>
              <a:gd name="connsiteY96" fmla="*/ 16499 h 263202"/>
              <a:gd name="connsiteX97" fmla="*/ 97532 w 245592"/>
              <a:gd name="connsiteY97" fmla="*/ 17772 h 263202"/>
              <a:gd name="connsiteX98" fmla="*/ 89260 w 245592"/>
              <a:gd name="connsiteY98" fmla="*/ 11409 h 263202"/>
              <a:gd name="connsiteX99" fmla="*/ 83996 w 245592"/>
              <a:gd name="connsiteY99" fmla="*/ 6261 h 263202"/>
              <a:gd name="connsiteX100" fmla="*/ 81972 w 245592"/>
              <a:gd name="connsiteY100" fmla="*/ 5798 h 263202"/>
              <a:gd name="connsiteX101" fmla="*/ 61900 w 245592"/>
              <a:gd name="connsiteY101" fmla="*/ 12276 h 263202"/>
              <a:gd name="connsiteX102" fmla="*/ 54206 w 245592"/>
              <a:gd name="connsiteY102" fmla="*/ 15284 h 263202"/>
              <a:gd name="connsiteX103" fmla="*/ 29218 w 245592"/>
              <a:gd name="connsiteY103" fmla="*/ 18408 h 263202"/>
              <a:gd name="connsiteX104" fmla="*/ 29218 w 245592"/>
              <a:gd name="connsiteY104" fmla="*/ 110959 h 263202"/>
              <a:gd name="connsiteX105" fmla="*/ 11864 w 245592"/>
              <a:gd name="connsiteY105" fmla="*/ 118999 h 263202"/>
              <a:gd name="connsiteX106" fmla="*/ 1626 w 245592"/>
              <a:gd name="connsiteY106" fmla="*/ 121429 h 26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245592" h="263202">
                <a:moveTo>
                  <a:pt x="39514" y="262974"/>
                </a:moveTo>
                <a:cubicBezTo>
                  <a:pt x="36217" y="262887"/>
                  <a:pt x="32920" y="262580"/>
                  <a:pt x="29623" y="262048"/>
                </a:cubicBezTo>
                <a:cubicBezTo>
                  <a:pt x="27077" y="261608"/>
                  <a:pt x="24474" y="261343"/>
                  <a:pt x="21872" y="261238"/>
                </a:cubicBezTo>
                <a:cubicBezTo>
                  <a:pt x="19905" y="261447"/>
                  <a:pt x="17938" y="260770"/>
                  <a:pt x="16550" y="259387"/>
                </a:cubicBezTo>
                <a:cubicBezTo>
                  <a:pt x="15161" y="256929"/>
                  <a:pt x="14814" y="254014"/>
                  <a:pt x="15566" y="251289"/>
                </a:cubicBezTo>
                <a:cubicBezTo>
                  <a:pt x="15740" y="250202"/>
                  <a:pt x="15856" y="249097"/>
                  <a:pt x="15913" y="247992"/>
                </a:cubicBezTo>
                <a:cubicBezTo>
                  <a:pt x="15624" y="245956"/>
                  <a:pt x="16955" y="244036"/>
                  <a:pt x="18979" y="243654"/>
                </a:cubicBezTo>
                <a:cubicBezTo>
                  <a:pt x="20252" y="243440"/>
                  <a:pt x="21293" y="242456"/>
                  <a:pt x="21582" y="241166"/>
                </a:cubicBezTo>
                <a:cubicBezTo>
                  <a:pt x="23028" y="236828"/>
                  <a:pt x="15798" y="218549"/>
                  <a:pt x="12905" y="211724"/>
                </a:cubicBezTo>
                <a:lnTo>
                  <a:pt x="12905" y="211261"/>
                </a:lnTo>
                <a:cubicBezTo>
                  <a:pt x="12154" y="209468"/>
                  <a:pt x="9435" y="206576"/>
                  <a:pt x="585" y="203394"/>
                </a:cubicBezTo>
                <a:cubicBezTo>
                  <a:pt x="180" y="203215"/>
                  <a:pt x="-104" y="202804"/>
                  <a:pt x="-110" y="202353"/>
                </a:cubicBezTo>
                <a:lnTo>
                  <a:pt x="-110" y="122007"/>
                </a:lnTo>
                <a:cubicBezTo>
                  <a:pt x="-110" y="118074"/>
                  <a:pt x="5675" y="117727"/>
                  <a:pt x="12211" y="117322"/>
                </a:cubicBezTo>
                <a:cubicBezTo>
                  <a:pt x="18748" y="116917"/>
                  <a:pt x="27367" y="116339"/>
                  <a:pt x="27367" y="111537"/>
                </a:cubicBezTo>
                <a:lnTo>
                  <a:pt x="27367" y="17772"/>
                </a:lnTo>
                <a:cubicBezTo>
                  <a:pt x="27367" y="17187"/>
                  <a:pt x="27829" y="16702"/>
                  <a:pt x="28408" y="16673"/>
                </a:cubicBezTo>
                <a:cubicBezTo>
                  <a:pt x="28408" y="16673"/>
                  <a:pt x="48538" y="15053"/>
                  <a:pt x="54033" y="13491"/>
                </a:cubicBezTo>
                <a:cubicBezTo>
                  <a:pt x="55537" y="13086"/>
                  <a:pt x="58256" y="11929"/>
                  <a:pt x="61437" y="10599"/>
                </a:cubicBezTo>
                <a:cubicBezTo>
                  <a:pt x="68031" y="7314"/>
                  <a:pt x="75088" y="5069"/>
                  <a:pt x="82376" y="3947"/>
                </a:cubicBezTo>
                <a:cubicBezTo>
                  <a:pt x="83533" y="3883"/>
                  <a:pt x="84690" y="4161"/>
                  <a:pt x="85674" y="4757"/>
                </a:cubicBezTo>
                <a:cubicBezTo>
                  <a:pt x="87814" y="6457"/>
                  <a:pt x="89781" y="8401"/>
                  <a:pt x="91458" y="10541"/>
                </a:cubicBezTo>
                <a:cubicBezTo>
                  <a:pt x="93714" y="13028"/>
                  <a:pt x="96490" y="16326"/>
                  <a:pt x="98052" y="16326"/>
                </a:cubicBezTo>
                <a:cubicBezTo>
                  <a:pt x="98342" y="16314"/>
                  <a:pt x="98573" y="16164"/>
                  <a:pt x="98747" y="15921"/>
                </a:cubicBezTo>
                <a:cubicBezTo>
                  <a:pt x="99788" y="14590"/>
                  <a:pt x="109101" y="3311"/>
                  <a:pt x="119050" y="3311"/>
                </a:cubicBezTo>
                <a:cubicBezTo>
                  <a:pt x="124256" y="2883"/>
                  <a:pt x="129404" y="1951"/>
                  <a:pt x="134436" y="534"/>
                </a:cubicBezTo>
                <a:lnTo>
                  <a:pt x="137155" y="-102"/>
                </a:lnTo>
                <a:cubicBezTo>
                  <a:pt x="137618" y="-206"/>
                  <a:pt x="138138" y="-4"/>
                  <a:pt x="138428" y="418"/>
                </a:cubicBezTo>
                <a:cubicBezTo>
                  <a:pt x="141783" y="6700"/>
                  <a:pt x="146815" y="11895"/>
                  <a:pt x="153004" y="15400"/>
                </a:cubicBezTo>
                <a:cubicBezTo>
                  <a:pt x="155550" y="15400"/>
                  <a:pt x="156648" y="19739"/>
                  <a:pt x="158500" y="26969"/>
                </a:cubicBezTo>
                <a:cubicBezTo>
                  <a:pt x="160350" y="34200"/>
                  <a:pt x="163301" y="46058"/>
                  <a:pt x="168449" y="48256"/>
                </a:cubicBezTo>
                <a:cubicBezTo>
                  <a:pt x="168449" y="48256"/>
                  <a:pt x="196445" y="60461"/>
                  <a:pt x="196445" y="68385"/>
                </a:cubicBezTo>
                <a:cubicBezTo>
                  <a:pt x="196445" y="70468"/>
                  <a:pt x="198585" y="73071"/>
                  <a:pt x="200841" y="75905"/>
                </a:cubicBezTo>
                <a:cubicBezTo>
                  <a:pt x="204428" y="79393"/>
                  <a:pt x="206684" y="83975"/>
                  <a:pt x="207378" y="88920"/>
                </a:cubicBezTo>
                <a:cubicBezTo>
                  <a:pt x="207899" y="93340"/>
                  <a:pt x="209923" y="97435"/>
                  <a:pt x="213162" y="100489"/>
                </a:cubicBezTo>
                <a:cubicBezTo>
                  <a:pt x="216112" y="103943"/>
                  <a:pt x="220220" y="106158"/>
                  <a:pt x="224731" y="106678"/>
                </a:cubicBezTo>
                <a:lnTo>
                  <a:pt x="226987" y="106678"/>
                </a:lnTo>
                <a:cubicBezTo>
                  <a:pt x="239250" y="106678"/>
                  <a:pt x="245266" y="110727"/>
                  <a:pt x="245440" y="119115"/>
                </a:cubicBezTo>
                <a:cubicBezTo>
                  <a:pt x="245440" y="119248"/>
                  <a:pt x="245440" y="119387"/>
                  <a:pt x="245440" y="119520"/>
                </a:cubicBezTo>
                <a:cubicBezTo>
                  <a:pt x="245498" y="119728"/>
                  <a:pt x="245498" y="119948"/>
                  <a:pt x="245440" y="120156"/>
                </a:cubicBezTo>
                <a:cubicBezTo>
                  <a:pt x="242142" y="125073"/>
                  <a:pt x="238094" y="130973"/>
                  <a:pt x="236011" y="133460"/>
                </a:cubicBezTo>
                <a:cubicBezTo>
                  <a:pt x="233697" y="135560"/>
                  <a:pt x="230805" y="136844"/>
                  <a:pt x="227681" y="137104"/>
                </a:cubicBezTo>
                <a:cubicBezTo>
                  <a:pt x="223575" y="137972"/>
                  <a:pt x="220046" y="138724"/>
                  <a:pt x="219294" y="142889"/>
                </a:cubicBezTo>
                <a:cubicBezTo>
                  <a:pt x="217501" y="151508"/>
                  <a:pt x="203503" y="160242"/>
                  <a:pt x="196156" y="160242"/>
                </a:cubicBezTo>
                <a:cubicBezTo>
                  <a:pt x="190372" y="160242"/>
                  <a:pt x="185918" y="170770"/>
                  <a:pt x="185918" y="177595"/>
                </a:cubicBezTo>
                <a:cubicBezTo>
                  <a:pt x="185918" y="185694"/>
                  <a:pt x="172440" y="195701"/>
                  <a:pt x="161392" y="195701"/>
                </a:cubicBezTo>
                <a:cubicBezTo>
                  <a:pt x="154971" y="195701"/>
                  <a:pt x="154566" y="199056"/>
                  <a:pt x="153699" y="205766"/>
                </a:cubicBezTo>
                <a:cubicBezTo>
                  <a:pt x="153409" y="208912"/>
                  <a:pt x="152831" y="212025"/>
                  <a:pt x="152021" y="215078"/>
                </a:cubicBezTo>
                <a:cubicBezTo>
                  <a:pt x="148493" y="227399"/>
                  <a:pt x="142303" y="227978"/>
                  <a:pt x="125066" y="227978"/>
                </a:cubicBezTo>
                <a:cubicBezTo>
                  <a:pt x="107828" y="227978"/>
                  <a:pt x="106208" y="226532"/>
                  <a:pt x="95391" y="219475"/>
                </a:cubicBezTo>
                <a:lnTo>
                  <a:pt x="92615" y="216698"/>
                </a:lnTo>
                <a:cubicBezTo>
                  <a:pt x="90648" y="215264"/>
                  <a:pt x="88335" y="214425"/>
                  <a:pt x="85905" y="214269"/>
                </a:cubicBezTo>
                <a:cubicBezTo>
                  <a:pt x="77980" y="214269"/>
                  <a:pt x="76072" y="227689"/>
                  <a:pt x="75782" y="230407"/>
                </a:cubicBezTo>
                <a:cubicBezTo>
                  <a:pt x="75146" y="236192"/>
                  <a:pt x="66007" y="244406"/>
                  <a:pt x="58024" y="251926"/>
                </a:cubicBezTo>
                <a:cubicBezTo>
                  <a:pt x="54843" y="254875"/>
                  <a:pt x="52240" y="257421"/>
                  <a:pt x="50447" y="259329"/>
                </a:cubicBezTo>
                <a:cubicBezTo>
                  <a:pt x="47554" y="262129"/>
                  <a:pt x="43505" y="263466"/>
                  <a:pt x="39514" y="262974"/>
                </a:cubicBezTo>
                <a:close/>
                <a:moveTo>
                  <a:pt x="1915" y="201543"/>
                </a:moveTo>
                <a:cubicBezTo>
                  <a:pt x="9319" y="204320"/>
                  <a:pt x="13484" y="207328"/>
                  <a:pt x="14814" y="210451"/>
                </a:cubicBezTo>
                <a:lnTo>
                  <a:pt x="14814" y="210856"/>
                </a:lnTo>
                <a:cubicBezTo>
                  <a:pt x="20252" y="224334"/>
                  <a:pt x="25053" y="237407"/>
                  <a:pt x="23549" y="241918"/>
                </a:cubicBezTo>
                <a:cubicBezTo>
                  <a:pt x="23028" y="243845"/>
                  <a:pt x="21525" y="245331"/>
                  <a:pt x="19558" y="245794"/>
                </a:cubicBezTo>
                <a:cubicBezTo>
                  <a:pt x="18401" y="246199"/>
                  <a:pt x="17996" y="246315"/>
                  <a:pt x="17996" y="247992"/>
                </a:cubicBezTo>
                <a:cubicBezTo>
                  <a:pt x="17938" y="249195"/>
                  <a:pt x="17822" y="250393"/>
                  <a:pt x="17649" y="251579"/>
                </a:cubicBezTo>
                <a:cubicBezTo>
                  <a:pt x="17302" y="254066"/>
                  <a:pt x="17013" y="256611"/>
                  <a:pt x="18112" y="257883"/>
                </a:cubicBezTo>
                <a:cubicBezTo>
                  <a:pt x="19095" y="258745"/>
                  <a:pt x="20425" y="259144"/>
                  <a:pt x="21698" y="258982"/>
                </a:cubicBezTo>
                <a:cubicBezTo>
                  <a:pt x="24417" y="259081"/>
                  <a:pt x="27135" y="259347"/>
                  <a:pt x="29796" y="259792"/>
                </a:cubicBezTo>
                <a:cubicBezTo>
                  <a:pt x="32978" y="260319"/>
                  <a:pt x="36159" y="260631"/>
                  <a:pt x="39340" y="260718"/>
                </a:cubicBezTo>
                <a:cubicBezTo>
                  <a:pt x="42580" y="261117"/>
                  <a:pt x="45877" y="260035"/>
                  <a:pt x="48249" y="257768"/>
                </a:cubicBezTo>
                <a:cubicBezTo>
                  <a:pt x="49984" y="255801"/>
                  <a:pt x="52760" y="253198"/>
                  <a:pt x="55999" y="250190"/>
                </a:cubicBezTo>
                <a:cubicBezTo>
                  <a:pt x="62941" y="243711"/>
                  <a:pt x="72543" y="234804"/>
                  <a:pt x="73064" y="230060"/>
                </a:cubicBezTo>
                <a:cubicBezTo>
                  <a:pt x="74047" y="221326"/>
                  <a:pt x="77807" y="211955"/>
                  <a:pt x="85442" y="211955"/>
                </a:cubicBezTo>
                <a:cubicBezTo>
                  <a:pt x="88277" y="212094"/>
                  <a:pt x="91053" y="213060"/>
                  <a:pt x="93367" y="214731"/>
                </a:cubicBezTo>
                <a:lnTo>
                  <a:pt x="96664" y="216872"/>
                </a:lnTo>
                <a:cubicBezTo>
                  <a:pt x="107250" y="223813"/>
                  <a:pt x="109158" y="225086"/>
                  <a:pt x="125066" y="225086"/>
                </a:cubicBezTo>
                <a:cubicBezTo>
                  <a:pt x="143055" y="225086"/>
                  <a:pt x="146873" y="224160"/>
                  <a:pt x="149823" y="213517"/>
                </a:cubicBezTo>
                <a:cubicBezTo>
                  <a:pt x="150633" y="210555"/>
                  <a:pt x="151153" y="207541"/>
                  <a:pt x="151501" y="204493"/>
                </a:cubicBezTo>
                <a:cubicBezTo>
                  <a:pt x="152310" y="198015"/>
                  <a:pt x="153004" y="192462"/>
                  <a:pt x="161392" y="192462"/>
                </a:cubicBezTo>
                <a:cubicBezTo>
                  <a:pt x="171746" y="192462"/>
                  <a:pt x="183662" y="182860"/>
                  <a:pt x="183662" y="176612"/>
                </a:cubicBezTo>
                <a:cubicBezTo>
                  <a:pt x="183662" y="168688"/>
                  <a:pt x="188926" y="156945"/>
                  <a:pt x="196156" y="156945"/>
                </a:cubicBezTo>
                <a:cubicBezTo>
                  <a:pt x="202288" y="156945"/>
                  <a:pt x="215360" y="149078"/>
                  <a:pt x="216864" y="141674"/>
                </a:cubicBezTo>
                <a:cubicBezTo>
                  <a:pt x="217906" y="136295"/>
                  <a:pt x="222649" y="135253"/>
                  <a:pt x="226987" y="134386"/>
                </a:cubicBezTo>
                <a:cubicBezTo>
                  <a:pt x="229591" y="134230"/>
                  <a:pt x="232078" y="133188"/>
                  <a:pt x="234044" y="131436"/>
                </a:cubicBezTo>
                <a:cubicBezTo>
                  <a:pt x="236011" y="129180"/>
                  <a:pt x="239828" y="123569"/>
                  <a:pt x="243068" y="118826"/>
                </a:cubicBezTo>
                <a:cubicBezTo>
                  <a:pt x="243068" y="115702"/>
                  <a:pt x="243068" y="107777"/>
                  <a:pt x="224963" y="108471"/>
                </a:cubicBezTo>
                <a:lnTo>
                  <a:pt x="224615" y="108471"/>
                </a:lnTo>
                <a:cubicBezTo>
                  <a:pt x="219468" y="107991"/>
                  <a:pt x="214666" y="105522"/>
                  <a:pt x="211312" y="101588"/>
                </a:cubicBezTo>
                <a:cubicBezTo>
                  <a:pt x="207494" y="98117"/>
                  <a:pt x="205122" y="93351"/>
                  <a:pt x="204659" y="88226"/>
                </a:cubicBezTo>
                <a:cubicBezTo>
                  <a:pt x="204023" y="83859"/>
                  <a:pt x="201999" y="79810"/>
                  <a:pt x="198875" y="76657"/>
                </a:cubicBezTo>
                <a:cubicBezTo>
                  <a:pt x="196330" y="74286"/>
                  <a:pt x="194595" y="71168"/>
                  <a:pt x="193958" y="67749"/>
                </a:cubicBezTo>
                <a:cubicBezTo>
                  <a:pt x="193958" y="63758"/>
                  <a:pt x="180191" y="55197"/>
                  <a:pt x="167350" y="49702"/>
                </a:cubicBezTo>
                <a:cubicBezTo>
                  <a:pt x="161160" y="47099"/>
                  <a:pt x="158326" y="35877"/>
                  <a:pt x="155781" y="26911"/>
                </a:cubicBezTo>
                <a:cubicBezTo>
                  <a:pt x="155202" y="23423"/>
                  <a:pt x="154046" y="20062"/>
                  <a:pt x="152368" y="16962"/>
                </a:cubicBezTo>
                <a:lnTo>
                  <a:pt x="152368" y="16962"/>
                </a:lnTo>
                <a:cubicBezTo>
                  <a:pt x="148782" y="16962"/>
                  <a:pt x="140799" y="8517"/>
                  <a:pt x="136345" y="1633"/>
                </a:cubicBezTo>
                <a:lnTo>
                  <a:pt x="134436" y="2096"/>
                </a:lnTo>
                <a:cubicBezTo>
                  <a:pt x="129231" y="3548"/>
                  <a:pt x="123909" y="4497"/>
                  <a:pt x="118529" y="4930"/>
                </a:cubicBezTo>
                <a:cubicBezTo>
                  <a:pt x="109679" y="4930"/>
                  <a:pt x="101176" y="15458"/>
                  <a:pt x="100019" y="16499"/>
                </a:cubicBezTo>
                <a:cubicBezTo>
                  <a:pt x="99441" y="17280"/>
                  <a:pt x="98515" y="17743"/>
                  <a:pt x="97532" y="17772"/>
                </a:cubicBezTo>
                <a:cubicBezTo>
                  <a:pt x="94986" y="17772"/>
                  <a:pt x="92210" y="14706"/>
                  <a:pt x="89260" y="11409"/>
                </a:cubicBezTo>
                <a:cubicBezTo>
                  <a:pt x="87698" y="9506"/>
                  <a:pt x="85963" y="7776"/>
                  <a:pt x="83996" y="6261"/>
                </a:cubicBezTo>
                <a:cubicBezTo>
                  <a:pt x="83360" y="5908"/>
                  <a:pt x="82666" y="5752"/>
                  <a:pt x="81972" y="5798"/>
                </a:cubicBezTo>
                <a:cubicBezTo>
                  <a:pt x="75030" y="6966"/>
                  <a:pt x="68262" y="9153"/>
                  <a:pt x="61900" y="12276"/>
                </a:cubicBezTo>
                <a:cubicBezTo>
                  <a:pt x="59412" y="13416"/>
                  <a:pt x="56809" y="14423"/>
                  <a:pt x="54206" y="15284"/>
                </a:cubicBezTo>
                <a:cubicBezTo>
                  <a:pt x="45935" y="16788"/>
                  <a:pt x="37605" y="17835"/>
                  <a:pt x="29218" y="18408"/>
                </a:cubicBezTo>
                <a:lnTo>
                  <a:pt x="29218" y="110959"/>
                </a:lnTo>
                <a:cubicBezTo>
                  <a:pt x="29218" y="117842"/>
                  <a:pt x="19616" y="118479"/>
                  <a:pt x="11864" y="118999"/>
                </a:cubicBezTo>
                <a:cubicBezTo>
                  <a:pt x="7353" y="118999"/>
                  <a:pt x="1626" y="119635"/>
                  <a:pt x="1626" y="12142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79" name="Forma libre: forma 278">
            <a:extLst>
              <a:ext uri="{FF2B5EF4-FFF2-40B4-BE49-F238E27FC236}">
                <a16:creationId xmlns:a16="http://schemas.microsoft.com/office/drawing/2014/main" id="{873D6089-27E0-EFB0-7ABF-ACB971DC18F7}"/>
              </a:ext>
            </a:extLst>
          </p:cNvPr>
          <p:cNvSpPr/>
          <p:nvPr/>
        </p:nvSpPr>
        <p:spPr>
          <a:xfrm>
            <a:off x="7004544" y="5204270"/>
            <a:ext cx="38871" cy="47258"/>
          </a:xfrm>
          <a:custGeom>
            <a:avLst/>
            <a:gdLst>
              <a:gd name="connsiteX0" fmla="*/ 22276 w 38871"/>
              <a:gd name="connsiteY0" fmla="*/ 47130 h 47258"/>
              <a:gd name="connsiteX1" fmla="*/ 22276 w 38871"/>
              <a:gd name="connsiteY1" fmla="*/ 47130 h 47258"/>
              <a:gd name="connsiteX2" fmla="*/ 17822 w 38871"/>
              <a:gd name="connsiteY2" fmla="*/ 47130 h 47258"/>
              <a:gd name="connsiteX3" fmla="*/ -110 w 38871"/>
              <a:gd name="connsiteY3" fmla="*/ 20695 h 47258"/>
              <a:gd name="connsiteX4" fmla="*/ 19615 w 38871"/>
              <a:gd name="connsiteY4" fmla="*/ -129 h 47258"/>
              <a:gd name="connsiteX5" fmla="*/ 34365 w 38871"/>
              <a:gd name="connsiteY5" fmla="*/ 7102 h 47258"/>
              <a:gd name="connsiteX6" fmla="*/ 35812 w 38871"/>
              <a:gd name="connsiteY6" fmla="*/ 8085 h 47258"/>
              <a:gd name="connsiteX7" fmla="*/ 36274 w 38871"/>
              <a:gd name="connsiteY7" fmla="*/ 8953 h 47258"/>
              <a:gd name="connsiteX8" fmla="*/ 38762 w 38871"/>
              <a:gd name="connsiteY8" fmla="*/ 31627 h 47258"/>
              <a:gd name="connsiteX9" fmla="*/ 38762 w 38871"/>
              <a:gd name="connsiteY9" fmla="*/ 32379 h 47258"/>
              <a:gd name="connsiteX10" fmla="*/ 38356 w 38871"/>
              <a:gd name="connsiteY10" fmla="*/ 33363 h 47258"/>
              <a:gd name="connsiteX11" fmla="*/ 34134 w 38871"/>
              <a:gd name="connsiteY11" fmla="*/ 39899 h 47258"/>
              <a:gd name="connsiteX12" fmla="*/ 22276 w 38871"/>
              <a:gd name="connsiteY12" fmla="*/ 47130 h 47258"/>
              <a:gd name="connsiteX13" fmla="*/ 19615 w 38871"/>
              <a:gd name="connsiteY13" fmla="*/ 1953 h 47258"/>
              <a:gd name="connsiteX14" fmla="*/ 2262 w 38871"/>
              <a:gd name="connsiteY14" fmla="*/ 20521 h 47258"/>
              <a:gd name="connsiteX15" fmla="*/ 18111 w 38871"/>
              <a:gd name="connsiteY15" fmla="*/ 44700 h 47258"/>
              <a:gd name="connsiteX16" fmla="*/ 22391 w 38871"/>
              <a:gd name="connsiteY16" fmla="*/ 44700 h 47258"/>
              <a:gd name="connsiteX17" fmla="*/ 32109 w 38871"/>
              <a:gd name="connsiteY17" fmla="*/ 39378 h 47258"/>
              <a:gd name="connsiteX18" fmla="*/ 36679 w 38871"/>
              <a:gd name="connsiteY18" fmla="*/ 31685 h 47258"/>
              <a:gd name="connsiteX19" fmla="*/ 36679 w 38871"/>
              <a:gd name="connsiteY19" fmla="*/ 31685 h 47258"/>
              <a:gd name="connsiteX20" fmla="*/ 34250 w 38871"/>
              <a:gd name="connsiteY20" fmla="*/ 9415 h 47258"/>
              <a:gd name="connsiteX21" fmla="*/ 33208 w 38871"/>
              <a:gd name="connsiteY21" fmla="*/ 8721 h 47258"/>
              <a:gd name="connsiteX22" fmla="*/ 19789 w 38871"/>
              <a:gd name="connsiteY22" fmla="*/ 2069 h 47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871" h="47258">
                <a:moveTo>
                  <a:pt x="22276" y="47130"/>
                </a:moveTo>
                <a:lnTo>
                  <a:pt x="22276" y="47130"/>
                </a:lnTo>
                <a:lnTo>
                  <a:pt x="17822" y="47130"/>
                </a:lnTo>
                <a:cubicBezTo>
                  <a:pt x="8451" y="46493"/>
                  <a:pt x="-110" y="23992"/>
                  <a:pt x="-110" y="20695"/>
                </a:cubicBezTo>
                <a:cubicBezTo>
                  <a:pt x="-110" y="17398"/>
                  <a:pt x="12038" y="-129"/>
                  <a:pt x="19615" y="-129"/>
                </a:cubicBezTo>
                <a:cubicBezTo>
                  <a:pt x="25053" y="981"/>
                  <a:pt x="30143" y="3469"/>
                  <a:pt x="34365" y="7102"/>
                </a:cubicBezTo>
                <a:lnTo>
                  <a:pt x="35812" y="8085"/>
                </a:lnTo>
                <a:cubicBezTo>
                  <a:pt x="36100" y="8287"/>
                  <a:pt x="36274" y="8606"/>
                  <a:pt x="36274" y="8953"/>
                </a:cubicBezTo>
                <a:cubicBezTo>
                  <a:pt x="36794" y="15431"/>
                  <a:pt x="38068" y="25959"/>
                  <a:pt x="38762" y="31627"/>
                </a:cubicBezTo>
                <a:lnTo>
                  <a:pt x="38762" y="32379"/>
                </a:lnTo>
                <a:cubicBezTo>
                  <a:pt x="38762" y="32749"/>
                  <a:pt x="38646" y="33108"/>
                  <a:pt x="38356" y="33363"/>
                </a:cubicBezTo>
                <a:cubicBezTo>
                  <a:pt x="36158" y="34925"/>
                  <a:pt x="34654" y="37261"/>
                  <a:pt x="34134" y="39899"/>
                </a:cubicBezTo>
                <a:cubicBezTo>
                  <a:pt x="33613" y="46436"/>
                  <a:pt x="27482" y="47130"/>
                  <a:pt x="22276" y="47130"/>
                </a:cubicBezTo>
                <a:close/>
                <a:moveTo>
                  <a:pt x="19615" y="1953"/>
                </a:moveTo>
                <a:cubicBezTo>
                  <a:pt x="13426" y="1953"/>
                  <a:pt x="2262" y="17687"/>
                  <a:pt x="2262" y="20521"/>
                </a:cubicBezTo>
                <a:cubicBezTo>
                  <a:pt x="2262" y="23356"/>
                  <a:pt x="10649" y="44237"/>
                  <a:pt x="18111" y="44700"/>
                </a:cubicBezTo>
                <a:lnTo>
                  <a:pt x="22391" y="44700"/>
                </a:lnTo>
                <a:cubicBezTo>
                  <a:pt x="28986" y="44700"/>
                  <a:pt x="31762" y="43196"/>
                  <a:pt x="32109" y="39378"/>
                </a:cubicBezTo>
                <a:cubicBezTo>
                  <a:pt x="32572" y="36324"/>
                  <a:pt x="34250" y="33565"/>
                  <a:pt x="36679" y="31685"/>
                </a:cubicBezTo>
                <a:lnTo>
                  <a:pt x="36679" y="31685"/>
                </a:lnTo>
                <a:cubicBezTo>
                  <a:pt x="36043" y="25901"/>
                  <a:pt x="34770" y="16009"/>
                  <a:pt x="34250" y="9415"/>
                </a:cubicBezTo>
                <a:lnTo>
                  <a:pt x="33208" y="8721"/>
                </a:lnTo>
                <a:cubicBezTo>
                  <a:pt x="29333" y="5476"/>
                  <a:pt x="24705" y="3197"/>
                  <a:pt x="19789" y="206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0" name="Forma libre: forma 279">
            <a:extLst>
              <a:ext uri="{FF2B5EF4-FFF2-40B4-BE49-F238E27FC236}">
                <a16:creationId xmlns:a16="http://schemas.microsoft.com/office/drawing/2014/main" id="{FFE9DAEE-BEA3-7DE2-B2FB-D0756511498D}"/>
              </a:ext>
            </a:extLst>
          </p:cNvPr>
          <p:cNvSpPr/>
          <p:nvPr/>
        </p:nvSpPr>
        <p:spPr>
          <a:xfrm>
            <a:off x="6905572" y="5286542"/>
            <a:ext cx="63570" cy="63958"/>
          </a:xfrm>
          <a:custGeom>
            <a:avLst/>
            <a:gdLst>
              <a:gd name="connsiteX0" fmla="*/ 28582 w 63570"/>
              <a:gd name="connsiteY0" fmla="*/ 63829 h 63958"/>
              <a:gd name="connsiteX1" fmla="*/ 28582 w 63570"/>
              <a:gd name="connsiteY1" fmla="*/ 63829 h 63958"/>
              <a:gd name="connsiteX2" fmla="*/ 17013 w 63570"/>
              <a:gd name="connsiteY2" fmla="*/ 62268 h 63958"/>
              <a:gd name="connsiteX3" fmla="*/ 16203 w 63570"/>
              <a:gd name="connsiteY3" fmla="*/ 61805 h 63958"/>
              <a:gd name="connsiteX4" fmla="*/ 64 w 63570"/>
              <a:gd name="connsiteY4" fmla="*/ 39188 h 63958"/>
              <a:gd name="connsiteX5" fmla="*/ 64 w 63570"/>
              <a:gd name="connsiteY5" fmla="*/ 37857 h 63958"/>
              <a:gd name="connsiteX6" fmla="*/ 16145 w 63570"/>
              <a:gd name="connsiteY6" fmla="*/ 13794 h 63958"/>
              <a:gd name="connsiteX7" fmla="*/ 40555 w 63570"/>
              <a:gd name="connsiteY7" fmla="*/ -88 h 63958"/>
              <a:gd name="connsiteX8" fmla="*/ 45588 w 63570"/>
              <a:gd name="connsiteY8" fmla="*/ 2457 h 63958"/>
              <a:gd name="connsiteX9" fmla="*/ 53686 w 63570"/>
              <a:gd name="connsiteY9" fmla="*/ 11076 h 63958"/>
              <a:gd name="connsiteX10" fmla="*/ 63461 w 63570"/>
              <a:gd name="connsiteY10" fmla="*/ 23975 h 63958"/>
              <a:gd name="connsiteX11" fmla="*/ 58372 w 63570"/>
              <a:gd name="connsiteY11" fmla="*/ 34387 h 63958"/>
              <a:gd name="connsiteX12" fmla="*/ 53802 w 63570"/>
              <a:gd name="connsiteY12" fmla="*/ 43353 h 63958"/>
              <a:gd name="connsiteX13" fmla="*/ 52124 w 63570"/>
              <a:gd name="connsiteY13" fmla="*/ 46534 h 63958"/>
              <a:gd name="connsiteX14" fmla="*/ 48769 w 63570"/>
              <a:gd name="connsiteY14" fmla="*/ 47228 h 63958"/>
              <a:gd name="connsiteX15" fmla="*/ 48769 w 63570"/>
              <a:gd name="connsiteY15" fmla="*/ 47228 h 63958"/>
              <a:gd name="connsiteX16" fmla="*/ 45009 w 63570"/>
              <a:gd name="connsiteY16" fmla="*/ 46939 h 63958"/>
              <a:gd name="connsiteX17" fmla="*/ 40903 w 63570"/>
              <a:gd name="connsiteY17" fmla="*/ 46939 h 63958"/>
              <a:gd name="connsiteX18" fmla="*/ 35928 w 63570"/>
              <a:gd name="connsiteY18" fmla="*/ 49021 h 63958"/>
              <a:gd name="connsiteX19" fmla="*/ 29450 w 63570"/>
              <a:gd name="connsiteY19" fmla="*/ 63425 h 63958"/>
              <a:gd name="connsiteX20" fmla="*/ 28582 w 63570"/>
              <a:gd name="connsiteY20" fmla="*/ 63829 h 63958"/>
              <a:gd name="connsiteX21" fmla="*/ 17938 w 63570"/>
              <a:gd name="connsiteY21" fmla="*/ 60070 h 63958"/>
              <a:gd name="connsiteX22" fmla="*/ 27888 w 63570"/>
              <a:gd name="connsiteY22" fmla="*/ 61458 h 63958"/>
              <a:gd name="connsiteX23" fmla="*/ 34077 w 63570"/>
              <a:gd name="connsiteY23" fmla="*/ 47691 h 63958"/>
              <a:gd name="connsiteX24" fmla="*/ 41076 w 63570"/>
              <a:gd name="connsiteY24" fmla="*/ 44394 h 63958"/>
              <a:gd name="connsiteX25" fmla="*/ 45414 w 63570"/>
              <a:gd name="connsiteY25" fmla="*/ 44394 h 63958"/>
              <a:gd name="connsiteX26" fmla="*/ 48943 w 63570"/>
              <a:gd name="connsiteY26" fmla="*/ 44683 h 63958"/>
              <a:gd name="connsiteX27" fmla="*/ 48943 w 63570"/>
              <a:gd name="connsiteY27" fmla="*/ 44683 h 63958"/>
              <a:gd name="connsiteX28" fmla="*/ 51141 w 63570"/>
              <a:gd name="connsiteY28" fmla="*/ 44278 h 63958"/>
              <a:gd name="connsiteX29" fmla="*/ 51719 w 63570"/>
              <a:gd name="connsiteY29" fmla="*/ 43064 h 63958"/>
              <a:gd name="connsiteX30" fmla="*/ 56752 w 63570"/>
              <a:gd name="connsiteY30" fmla="*/ 32767 h 63958"/>
              <a:gd name="connsiteX31" fmla="*/ 61379 w 63570"/>
              <a:gd name="connsiteY31" fmla="*/ 23686 h 63958"/>
              <a:gd name="connsiteX32" fmla="*/ 52356 w 63570"/>
              <a:gd name="connsiteY32" fmla="*/ 12464 h 63958"/>
              <a:gd name="connsiteX33" fmla="*/ 43795 w 63570"/>
              <a:gd name="connsiteY33" fmla="*/ 3209 h 63958"/>
              <a:gd name="connsiteX34" fmla="*/ 40729 w 63570"/>
              <a:gd name="connsiteY34" fmla="*/ 1878 h 63958"/>
              <a:gd name="connsiteX35" fmla="*/ 18343 w 63570"/>
              <a:gd name="connsiteY35" fmla="*/ 14488 h 63958"/>
              <a:gd name="connsiteX36" fmla="*/ 2552 w 63570"/>
              <a:gd name="connsiteY36" fmla="*/ 38262 h 6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3570" h="63958">
                <a:moveTo>
                  <a:pt x="28582" y="63829"/>
                </a:moveTo>
                <a:lnTo>
                  <a:pt x="28582" y="63829"/>
                </a:lnTo>
                <a:lnTo>
                  <a:pt x="17013" y="62268"/>
                </a:lnTo>
                <a:cubicBezTo>
                  <a:pt x="16723" y="62210"/>
                  <a:pt x="16435" y="62042"/>
                  <a:pt x="16203" y="61805"/>
                </a:cubicBezTo>
                <a:lnTo>
                  <a:pt x="64" y="39188"/>
                </a:lnTo>
                <a:cubicBezTo>
                  <a:pt x="-167" y="38772"/>
                  <a:pt x="-167" y="38274"/>
                  <a:pt x="64" y="37857"/>
                </a:cubicBezTo>
                <a:cubicBezTo>
                  <a:pt x="64" y="37857"/>
                  <a:pt x="12963" y="20099"/>
                  <a:pt x="16145" y="13794"/>
                </a:cubicBezTo>
                <a:cubicBezTo>
                  <a:pt x="22161" y="6171"/>
                  <a:pt x="30896" y="1190"/>
                  <a:pt x="40555" y="-88"/>
                </a:cubicBezTo>
                <a:cubicBezTo>
                  <a:pt x="42580" y="-349"/>
                  <a:pt x="44605" y="658"/>
                  <a:pt x="45588" y="2457"/>
                </a:cubicBezTo>
                <a:cubicBezTo>
                  <a:pt x="47844" y="5725"/>
                  <a:pt x="50562" y="8635"/>
                  <a:pt x="53686" y="11076"/>
                </a:cubicBezTo>
                <a:cubicBezTo>
                  <a:pt x="58718" y="15530"/>
                  <a:pt x="63461" y="19752"/>
                  <a:pt x="63461" y="23975"/>
                </a:cubicBezTo>
                <a:cubicBezTo>
                  <a:pt x="62883" y="27885"/>
                  <a:pt x="61090" y="31524"/>
                  <a:pt x="58372" y="34387"/>
                </a:cubicBezTo>
                <a:cubicBezTo>
                  <a:pt x="56000" y="36868"/>
                  <a:pt x="54438" y="39986"/>
                  <a:pt x="53802" y="43353"/>
                </a:cubicBezTo>
                <a:cubicBezTo>
                  <a:pt x="53860" y="44637"/>
                  <a:pt x="53223" y="45857"/>
                  <a:pt x="52124" y="46534"/>
                </a:cubicBezTo>
                <a:cubicBezTo>
                  <a:pt x="51083" y="47055"/>
                  <a:pt x="49926" y="47298"/>
                  <a:pt x="48769" y="47228"/>
                </a:cubicBezTo>
                <a:lnTo>
                  <a:pt x="48769" y="47228"/>
                </a:lnTo>
                <a:cubicBezTo>
                  <a:pt x="47497" y="47211"/>
                  <a:pt x="46282" y="47112"/>
                  <a:pt x="45009" y="46939"/>
                </a:cubicBezTo>
                <a:cubicBezTo>
                  <a:pt x="43621" y="46939"/>
                  <a:pt x="42233" y="46939"/>
                  <a:pt x="40903" y="46939"/>
                </a:cubicBezTo>
                <a:cubicBezTo>
                  <a:pt x="38183" y="46939"/>
                  <a:pt x="36622" y="47575"/>
                  <a:pt x="35928" y="49021"/>
                </a:cubicBezTo>
                <a:cubicBezTo>
                  <a:pt x="32746" y="55327"/>
                  <a:pt x="29507" y="63367"/>
                  <a:pt x="29450" y="63425"/>
                </a:cubicBezTo>
                <a:cubicBezTo>
                  <a:pt x="29218" y="63685"/>
                  <a:pt x="28928" y="63835"/>
                  <a:pt x="28582" y="63829"/>
                </a:cubicBezTo>
                <a:close/>
                <a:moveTo>
                  <a:pt x="17938" y="60070"/>
                </a:moveTo>
                <a:lnTo>
                  <a:pt x="27888" y="61458"/>
                </a:lnTo>
                <a:cubicBezTo>
                  <a:pt x="28813" y="59202"/>
                  <a:pt x="31474" y="52897"/>
                  <a:pt x="34077" y="47691"/>
                </a:cubicBezTo>
                <a:cubicBezTo>
                  <a:pt x="35581" y="45308"/>
                  <a:pt x="38299" y="44018"/>
                  <a:pt x="41076" y="44394"/>
                </a:cubicBezTo>
                <a:cubicBezTo>
                  <a:pt x="42522" y="44394"/>
                  <a:pt x="43968" y="44394"/>
                  <a:pt x="45414" y="44394"/>
                </a:cubicBezTo>
                <a:cubicBezTo>
                  <a:pt x="46571" y="44573"/>
                  <a:pt x="47786" y="44666"/>
                  <a:pt x="48943" y="44683"/>
                </a:cubicBezTo>
                <a:lnTo>
                  <a:pt x="48943" y="44683"/>
                </a:lnTo>
                <a:cubicBezTo>
                  <a:pt x="49695" y="44753"/>
                  <a:pt x="50446" y="44614"/>
                  <a:pt x="51141" y="44278"/>
                </a:cubicBezTo>
                <a:cubicBezTo>
                  <a:pt x="51141" y="44278"/>
                  <a:pt x="51719" y="43873"/>
                  <a:pt x="51719" y="43064"/>
                </a:cubicBezTo>
                <a:cubicBezTo>
                  <a:pt x="52298" y="39194"/>
                  <a:pt x="54033" y="35596"/>
                  <a:pt x="56752" y="32767"/>
                </a:cubicBezTo>
                <a:cubicBezTo>
                  <a:pt x="59123" y="30257"/>
                  <a:pt x="60743" y="27099"/>
                  <a:pt x="61379" y="23686"/>
                </a:cubicBezTo>
                <a:cubicBezTo>
                  <a:pt x="61379" y="20504"/>
                  <a:pt x="56578" y="16224"/>
                  <a:pt x="52356" y="12464"/>
                </a:cubicBezTo>
                <a:cubicBezTo>
                  <a:pt x="49000" y="9890"/>
                  <a:pt x="46108" y="6761"/>
                  <a:pt x="43795" y="3209"/>
                </a:cubicBezTo>
                <a:cubicBezTo>
                  <a:pt x="43101" y="2220"/>
                  <a:pt x="41943" y="1705"/>
                  <a:pt x="40729" y="1878"/>
                </a:cubicBezTo>
                <a:cubicBezTo>
                  <a:pt x="31994" y="3185"/>
                  <a:pt x="24012" y="7674"/>
                  <a:pt x="18343" y="14488"/>
                </a:cubicBezTo>
                <a:cubicBezTo>
                  <a:pt x="13484" y="22679"/>
                  <a:pt x="8220" y="30615"/>
                  <a:pt x="2552" y="3826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1" name="Forma libre: forma 280">
            <a:extLst>
              <a:ext uri="{FF2B5EF4-FFF2-40B4-BE49-F238E27FC236}">
                <a16:creationId xmlns:a16="http://schemas.microsoft.com/office/drawing/2014/main" id="{991D13D0-A899-289B-F5DF-791CC91E7C16}"/>
              </a:ext>
            </a:extLst>
          </p:cNvPr>
          <p:cNvSpPr/>
          <p:nvPr/>
        </p:nvSpPr>
        <p:spPr>
          <a:xfrm>
            <a:off x="6623367" y="5095046"/>
            <a:ext cx="440206" cy="386473"/>
          </a:xfrm>
          <a:custGeom>
            <a:avLst/>
            <a:gdLst>
              <a:gd name="connsiteX0" fmla="*/ 91267 w 440206"/>
              <a:gd name="connsiteY0" fmla="*/ 386343 h 386473"/>
              <a:gd name="connsiteX1" fmla="*/ 82186 w 440206"/>
              <a:gd name="connsiteY1" fmla="*/ 382121 h 386473"/>
              <a:gd name="connsiteX2" fmla="*/ 81839 w 440206"/>
              <a:gd name="connsiteY2" fmla="*/ 381716 h 386473"/>
              <a:gd name="connsiteX3" fmla="*/ 68419 w 440206"/>
              <a:gd name="connsiteY3" fmla="*/ 370841 h 386473"/>
              <a:gd name="connsiteX4" fmla="*/ 62634 w 440206"/>
              <a:gd name="connsiteY4" fmla="*/ 367544 h 386473"/>
              <a:gd name="connsiteX5" fmla="*/ 56850 w 440206"/>
              <a:gd name="connsiteY5" fmla="*/ 363900 h 386473"/>
              <a:gd name="connsiteX6" fmla="*/ 51991 w 440206"/>
              <a:gd name="connsiteY6" fmla="*/ 355975 h 386473"/>
              <a:gd name="connsiteX7" fmla="*/ 47247 w 440206"/>
              <a:gd name="connsiteY7" fmla="*/ 340010 h 386473"/>
              <a:gd name="connsiteX8" fmla="*/ 41001 w 440206"/>
              <a:gd name="connsiteY8" fmla="*/ 320228 h 386473"/>
              <a:gd name="connsiteX9" fmla="*/ 47652 w 440206"/>
              <a:gd name="connsiteY9" fmla="*/ 316063 h 386473"/>
              <a:gd name="connsiteX10" fmla="*/ 50718 w 440206"/>
              <a:gd name="connsiteY10" fmla="*/ 314327 h 386473"/>
              <a:gd name="connsiteX11" fmla="*/ 47595 w 440206"/>
              <a:gd name="connsiteY11" fmla="*/ 294718 h 386473"/>
              <a:gd name="connsiteX12" fmla="*/ 46727 w 440206"/>
              <a:gd name="connsiteY12" fmla="*/ 292115 h 386473"/>
              <a:gd name="connsiteX13" fmla="*/ 37009 w 440206"/>
              <a:gd name="connsiteY13" fmla="*/ 272737 h 386473"/>
              <a:gd name="connsiteX14" fmla="*/ 20466 w 440206"/>
              <a:gd name="connsiteY14" fmla="*/ 238031 h 386473"/>
              <a:gd name="connsiteX15" fmla="*/ 47 w 440206"/>
              <a:gd name="connsiteY15" fmla="*/ 194705 h 386473"/>
              <a:gd name="connsiteX16" fmla="*/ 47 w 440206"/>
              <a:gd name="connsiteY16" fmla="*/ 193490 h 386473"/>
              <a:gd name="connsiteX17" fmla="*/ 1146 w 440206"/>
              <a:gd name="connsiteY17" fmla="*/ 192970 h 386473"/>
              <a:gd name="connsiteX18" fmla="*/ 2476 w 440206"/>
              <a:gd name="connsiteY18" fmla="*/ 192970 h 386473"/>
              <a:gd name="connsiteX19" fmla="*/ 7740 w 440206"/>
              <a:gd name="connsiteY19" fmla="*/ 193375 h 386473"/>
              <a:gd name="connsiteX20" fmla="*/ 11616 w 440206"/>
              <a:gd name="connsiteY20" fmla="*/ 191119 h 386473"/>
              <a:gd name="connsiteX21" fmla="*/ 23184 w 440206"/>
              <a:gd name="connsiteY21" fmla="*/ 179029 h 386473"/>
              <a:gd name="connsiteX22" fmla="*/ 28969 w 440206"/>
              <a:gd name="connsiteY22" fmla="*/ 182442 h 386473"/>
              <a:gd name="connsiteX23" fmla="*/ 32960 w 440206"/>
              <a:gd name="connsiteY23" fmla="*/ 191697 h 386473"/>
              <a:gd name="connsiteX24" fmla="*/ 42562 w 440206"/>
              <a:gd name="connsiteY24" fmla="*/ 201358 h 386473"/>
              <a:gd name="connsiteX25" fmla="*/ 54768 w 440206"/>
              <a:gd name="connsiteY25" fmla="*/ 202109 h 386473"/>
              <a:gd name="connsiteX26" fmla="*/ 67840 w 440206"/>
              <a:gd name="connsiteY26" fmla="*/ 202919 h 386473"/>
              <a:gd name="connsiteX27" fmla="*/ 76401 w 440206"/>
              <a:gd name="connsiteY27" fmla="*/ 201010 h 386473"/>
              <a:gd name="connsiteX28" fmla="*/ 83400 w 440206"/>
              <a:gd name="connsiteY28" fmla="*/ 195226 h 386473"/>
              <a:gd name="connsiteX29" fmla="*/ 93928 w 440206"/>
              <a:gd name="connsiteY29" fmla="*/ 183657 h 386473"/>
              <a:gd name="connsiteX30" fmla="*/ 93928 w 440206"/>
              <a:gd name="connsiteY30" fmla="*/ 84165 h 386473"/>
              <a:gd name="connsiteX31" fmla="*/ 94391 w 440206"/>
              <a:gd name="connsiteY31" fmla="*/ 83239 h 386473"/>
              <a:gd name="connsiteX32" fmla="*/ 95432 w 440206"/>
              <a:gd name="connsiteY32" fmla="*/ 83239 h 386473"/>
              <a:gd name="connsiteX33" fmla="*/ 109025 w 440206"/>
              <a:gd name="connsiteY33" fmla="*/ 92437 h 386473"/>
              <a:gd name="connsiteX34" fmla="*/ 109025 w 440206"/>
              <a:gd name="connsiteY34" fmla="*/ 92842 h 386473"/>
              <a:gd name="connsiteX35" fmla="*/ 117760 w 440206"/>
              <a:gd name="connsiteY35" fmla="*/ 123904 h 386473"/>
              <a:gd name="connsiteX36" fmla="*/ 113768 w 440206"/>
              <a:gd name="connsiteY36" fmla="*/ 127779 h 386473"/>
              <a:gd name="connsiteX37" fmla="*/ 112207 w 440206"/>
              <a:gd name="connsiteY37" fmla="*/ 129978 h 386473"/>
              <a:gd name="connsiteX38" fmla="*/ 111860 w 440206"/>
              <a:gd name="connsiteY38" fmla="*/ 133564 h 386473"/>
              <a:gd name="connsiteX39" fmla="*/ 112322 w 440206"/>
              <a:gd name="connsiteY39" fmla="*/ 139869 h 386473"/>
              <a:gd name="connsiteX40" fmla="*/ 115909 w 440206"/>
              <a:gd name="connsiteY40" fmla="*/ 140968 h 386473"/>
              <a:gd name="connsiteX41" fmla="*/ 124007 w 440206"/>
              <a:gd name="connsiteY41" fmla="*/ 141778 h 386473"/>
              <a:gd name="connsiteX42" fmla="*/ 133551 w 440206"/>
              <a:gd name="connsiteY42" fmla="*/ 142703 h 386473"/>
              <a:gd name="connsiteX43" fmla="*/ 142459 w 440206"/>
              <a:gd name="connsiteY43" fmla="*/ 139753 h 386473"/>
              <a:gd name="connsiteX44" fmla="*/ 150211 w 440206"/>
              <a:gd name="connsiteY44" fmla="*/ 132176 h 386473"/>
              <a:gd name="connsiteX45" fmla="*/ 167274 w 440206"/>
              <a:gd name="connsiteY45" fmla="*/ 112046 h 386473"/>
              <a:gd name="connsiteX46" fmla="*/ 179653 w 440206"/>
              <a:gd name="connsiteY46" fmla="*/ 93941 h 386473"/>
              <a:gd name="connsiteX47" fmla="*/ 187578 w 440206"/>
              <a:gd name="connsiteY47" fmla="*/ 96717 h 386473"/>
              <a:gd name="connsiteX48" fmla="*/ 190875 w 440206"/>
              <a:gd name="connsiteY48" fmla="*/ 98857 h 386473"/>
              <a:gd name="connsiteX49" fmla="*/ 219277 w 440206"/>
              <a:gd name="connsiteY49" fmla="*/ 107071 h 386473"/>
              <a:gd name="connsiteX50" fmla="*/ 244034 w 440206"/>
              <a:gd name="connsiteY50" fmla="*/ 95502 h 386473"/>
              <a:gd name="connsiteX51" fmla="*/ 245712 w 440206"/>
              <a:gd name="connsiteY51" fmla="*/ 86479 h 386473"/>
              <a:gd name="connsiteX52" fmla="*/ 255603 w 440206"/>
              <a:gd name="connsiteY52" fmla="*/ 74447 h 386473"/>
              <a:gd name="connsiteX53" fmla="*/ 277873 w 440206"/>
              <a:gd name="connsiteY53" fmla="*/ 58598 h 386473"/>
              <a:gd name="connsiteX54" fmla="*/ 290367 w 440206"/>
              <a:gd name="connsiteY54" fmla="*/ 38931 h 386473"/>
              <a:gd name="connsiteX55" fmla="*/ 311075 w 440206"/>
              <a:gd name="connsiteY55" fmla="*/ 23660 h 386473"/>
              <a:gd name="connsiteX56" fmla="*/ 321198 w 440206"/>
              <a:gd name="connsiteY56" fmla="*/ 16371 h 386473"/>
              <a:gd name="connsiteX57" fmla="*/ 328255 w 440206"/>
              <a:gd name="connsiteY57" fmla="*/ 13421 h 386473"/>
              <a:gd name="connsiteX58" fmla="*/ 337568 w 440206"/>
              <a:gd name="connsiteY58" fmla="*/ 349 h 386473"/>
              <a:gd name="connsiteX59" fmla="*/ 338783 w 440206"/>
              <a:gd name="connsiteY59" fmla="*/ -114 h 386473"/>
              <a:gd name="connsiteX60" fmla="*/ 339593 w 440206"/>
              <a:gd name="connsiteY60" fmla="*/ 869 h 386473"/>
              <a:gd name="connsiteX61" fmla="*/ 350352 w 440206"/>
              <a:gd name="connsiteY61" fmla="*/ 2142 h 386473"/>
              <a:gd name="connsiteX62" fmla="*/ 365391 w 440206"/>
              <a:gd name="connsiteY62" fmla="*/ 5092 h 386473"/>
              <a:gd name="connsiteX63" fmla="*/ 381530 w 440206"/>
              <a:gd name="connsiteY63" fmla="*/ 8215 h 386473"/>
              <a:gd name="connsiteX64" fmla="*/ 397495 w 440206"/>
              <a:gd name="connsiteY64" fmla="*/ 11802 h 386473"/>
              <a:gd name="connsiteX65" fmla="*/ 401370 w 440206"/>
              <a:gd name="connsiteY65" fmla="*/ 25627 h 386473"/>
              <a:gd name="connsiteX66" fmla="*/ 414096 w 440206"/>
              <a:gd name="connsiteY66" fmla="*/ 62242 h 386473"/>
              <a:gd name="connsiteX67" fmla="*/ 417046 w 440206"/>
              <a:gd name="connsiteY67" fmla="*/ 113145 h 386473"/>
              <a:gd name="connsiteX68" fmla="*/ 417046 w 440206"/>
              <a:gd name="connsiteY68" fmla="*/ 117657 h 386473"/>
              <a:gd name="connsiteX69" fmla="*/ 417046 w 440206"/>
              <a:gd name="connsiteY69" fmla="*/ 118062 h 386473"/>
              <a:gd name="connsiteX70" fmla="*/ 416005 w 440206"/>
              <a:gd name="connsiteY70" fmla="*/ 119219 h 386473"/>
              <a:gd name="connsiteX71" fmla="*/ 415947 w 440206"/>
              <a:gd name="connsiteY71" fmla="*/ 119219 h 386473"/>
              <a:gd name="connsiteX72" fmla="*/ 415947 w 440206"/>
              <a:gd name="connsiteY72" fmla="*/ 119219 h 386473"/>
              <a:gd name="connsiteX73" fmla="*/ 415311 w 440206"/>
              <a:gd name="connsiteY73" fmla="*/ 119219 h 386473"/>
              <a:gd name="connsiteX74" fmla="*/ 413807 w 440206"/>
              <a:gd name="connsiteY74" fmla="*/ 118235 h 386473"/>
              <a:gd name="connsiteX75" fmla="*/ 400387 w 440206"/>
              <a:gd name="connsiteY75" fmla="*/ 111409 h 386473"/>
              <a:gd name="connsiteX76" fmla="*/ 383034 w 440206"/>
              <a:gd name="connsiteY76" fmla="*/ 129978 h 386473"/>
              <a:gd name="connsiteX77" fmla="*/ 398883 w 440206"/>
              <a:gd name="connsiteY77" fmla="*/ 154156 h 386473"/>
              <a:gd name="connsiteX78" fmla="*/ 403164 w 440206"/>
              <a:gd name="connsiteY78" fmla="*/ 154156 h 386473"/>
              <a:gd name="connsiteX79" fmla="*/ 412882 w 440206"/>
              <a:gd name="connsiteY79" fmla="*/ 148835 h 386473"/>
              <a:gd name="connsiteX80" fmla="*/ 417914 w 440206"/>
              <a:gd name="connsiteY80" fmla="*/ 140737 h 386473"/>
              <a:gd name="connsiteX81" fmla="*/ 419013 w 440206"/>
              <a:gd name="connsiteY81" fmla="*/ 140737 h 386473"/>
              <a:gd name="connsiteX82" fmla="*/ 419765 w 440206"/>
              <a:gd name="connsiteY82" fmla="*/ 141662 h 386473"/>
              <a:gd name="connsiteX83" fmla="*/ 419765 w 440206"/>
              <a:gd name="connsiteY83" fmla="*/ 143397 h 386473"/>
              <a:gd name="connsiteX84" fmla="*/ 438044 w 440206"/>
              <a:gd name="connsiteY84" fmla="*/ 142009 h 386473"/>
              <a:gd name="connsiteX85" fmla="*/ 439143 w 440206"/>
              <a:gd name="connsiteY85" fmla="*/ 142009 h 386473"/>
              <a:gd name="connsiteX86" fmla="*/ 440010 w 440206"/>
              <a:gd name="connsiteY86" fmla="*/ 142356 h 386473"/>
              <a:gd name="connsiteX87" fmla="*/ 440010 w 440206"/>
              <a:gd name="connsiteY87" fmla="*/ 143282 h 386473"/>
              <a:gd name="connsiteX88" fmla="*/ 426822 w 440206"/>
              <a:gd name="connsiteY88" fmla="*/ 188921 h 386473"/>
              <a:gd name="connsiteX89" fmla="*/ 424624 w 440206"/>
              <a:gd name="connsiteY89" fmla="*/ 190887 h 386473"/>
              <a:gd name="connsiteX90" fmla="*/ 387835 w 440206"/>
              <a:gd name="connsiteY90" fmla="*/ 232246 h 386473"/>
              <a:gd name="connsiteX91" fmla="*/ 322644 w 440206"/>
              <a:gd name="connsiteY91" fmla="*/ 312129 h 386473"/>
              <a:gd name="connsiteX92" fmla="*/ 265725 w 440206"/>
              <a:gd name="connsiteY92" fmla="*/ 347877 h 386473"/>
              <a:gd name="connsiteX93" fmla="*/ 257743 w 440206"/>
              <a:gd name="connsiteY93" fmla="*/ 347877 h 386473"/>
              <a:gd name="connsiteX94" fmla="*/ 244208 w 440206"/>
              <a:gd name="connsiteY94" fmla="*/ 354702 h 386473"/>
              <a:gd name="connsiteX95" fmla="*/ 239001 w 440206"/>
              <a:gd name="connsiteY95" fmla="*/ 360024 h 386473"/>
              <a:gd name="connsiteX96" fmla="*/ 234201 w 440206"/>
              <a:gd name="connsiteY96" fmla="*/ 359272 h 386473"/>
              <a:gd name="connsiteX97" fmla="*/ 226334 w 440206"/>
              <a:gd name="connsiteY97" fmla="*/ 359272 h 386473"/>
              <a:gd name="connsiteX98" fmla="*/ 199089 w 440206"/>
              <a:gd name="connsiteY98" fmla="*/ 362627 h 386473"/>
              <a:gd name="connsiteX99" fmla="*/ 157788 w 440206"/>
              <a:gd name="connsiteY99" fmla="*/ 362974 h 386473"/>
              <a:gd name="connsiteX100" fmla="*/ 146913 w 440206"/>
              <a:gd name="connsiteY100" fmla="*/ 368759 h 386473"/>
              <a:gd name="connsiteX101" fmla="*/ 132452 w 440206"/>
              <a:gd name="connsiteY101" fmla="*/ 373329 h 386473"/>
              <a:gd name="connsiteX102" fmla="*/ 101043 w 440206"/>
              <a:gd name="connsiteY102" fmla="*/ 381311 h 386473"/>
              <a:gd name="connsiteX103" fmla="*/ 91267 w 440206"/>
              <a:gd name="connsiteY103" fmla="*/ 386343 h 386473"/>
              <a:gd name="connsiteX104" fmla="*/ 3286 w 440206"/>
              <a:gd name="connsiteY104" fmla="*/ 195457 h 386473"/>
              <a:gd name="connsiteX105" fmla="*/ 22779 w 440206"/>
              <a:gd name="connsiteY105" fmla="*/ 237394 h 386473"/>
              <a:gd name="connsiteX106" fmla="*/ 39034 w 440206"/>
              <a:gd name="connsiteY106" fmla="*/ 271754 h 386473"/>
              <a:gd name="connsiteX107" fmla="*/ 48983 w 440206"/>
              <a:gd name="connsiteY107" fmla="*/ 291537 h 386473"/>
              <a:gd name="connsiteX108" fmla="*/ 49851 w 440206"/>
              <a:gd name="connsiteY108" fmla="*/ 294140 h 386473"/>
              <a:gd name="connsiteX109" fmla="*/ 52801 w 440206"/>
              <a:gd name="connsiteY109" fmla="*/ 315658 h 386473"/>
              <a:gd name="connsiteX110" fmla="*/ 48057 w 440206"/>
              <a:gd name="connsiteY110" fmla="*/ 318376 h 386473"/>
              <a:gd name="connsiteX111" fmla="*/ 43199 w 440206"/>
              <a:gd name="connsiteY111" fmla="*/ 321269 h 386473"/>
              <a:gd name="connsiteX112" fmla="*/ 49272 w 440206"/>
              <a:gd name="connsiteY112" fmla="*/ 338622 h 386473"/>
              <a:gd name="connsiteX113" fmla="*/ 54363 w 440206"/>
              <a:gd name="connsiteY113" fmla="*/ 355975 h 386473"/>
              <a:gd name="connsiteX114" fmla="*/ 57428 w 440206"/>
              <a:gd name="connsiteY114" fmla="*/ 361760 h 386473"/>
              <a:gd name="connsiteX115" fmla="*/ 64485 w 440206"/>
              <a:gd name="connsiteY115" fmla="*/ 366214 h 386473"/>
              <a:gd name="connsiteX116" fmla="*/ 68592 w 440206"/>
              <a:gd name="connsiteY116" fmla="*/ 368643 h 386473"/>
              <a:gd name="connsiteX117" fmla="*/ 83632 w 440206"/>
              <a:gd name="connsiteY117" fmla="*/ 380212 h 386473"/>
              <a:gd name="connsiteX118" fmla="*/ 83979 w 440206"/>
              <a:gd name="connsiteY118" fmla="*/ 380617 h 386473"/>
              <a:gd name="connsiteX119" fmla="*/ 91267 w 440206"/>
              <a:gd name="connsiteY119" fmla="*/ 383972 h 386473"/>
              <a:gd name="connsiteX120" fmla="*/ 99886 w 440206"/>
              <a:gd name="connsiteY120" fmla="*/ 379402 h 386473"/>
              <a:gd name="connsiteX121" fmla="*/ 133146 w 440206"/>
              <a:gd name="connsiteY121" fmla="*/ 370436 h 386473"/>
              <a:gd name="connsiteX122" fmla="*/ 146219 w 440206"/>
              <a:gd name="connsiteY122" fmla="*/ 366329 h 386473"/>
              <a:gd name="connsiteX123" fmla="*/ 157788 w 440206"/>
              <a:gd name="connsiteY123" fmla="*/ 360545 h 386473"/>
              <a:gd name="connsiteX124" fmla="*/ 200477 w 440206"/>
              <a:gd name="connsiteY124" fmla="*/ 360198 h 386473"/>
              <a:gd name="connsiteX125" fmla="*/ 225755 w 440206"/>
              <a:gd name="connsiteY125" fmla="*/ 357074 h 386473"/>
              <a:gd name="connsiteX126" fmla="*/ 235357 w 440206"/>
              <a:gd name="connsiteY126" fmla="*/ 357074 h 386473"/>
              <a:gd name="connsiteX127" fmla="*/ 239638 w 440206"/>
              <a:gd name="connsiteY127" fmla="*/ 357768 h 386473"/>
              <a:gd name="connsiteX128" fmla="*/ 242588 w 440206"/>
              <a:gd name="connsiteY128" fmla="*/ 354529 h 386473"/>
              <a:gd name="connsiteX129" fmla="*/ 258379 w 440206"/>
              <a:gd name="connsiteY129" fmla="*/ 345621 h 386473"/>
              <a:gd name="connsiteX130" fmla="*/ 266362 w 440206"/>
              <a:gd name="connsiteY130" fmla="*/ 345621 h 386473"/>
              <a:gd name="connsiteX131" fmla="*/ 321719 w 440206"/>
              <a:gd name="connsiteY131" fmla="*/ 310452 h 386473"/>
              <a:gd name="connsiteX132" fmla="*/ 386562 w 440206"/>
              <a:gd name="connsiteY132" fmla="*/ 231089 h 386473"/>
              <a:gd name="connsiteX133" fmla="*/ 423756 w 440206"/>
              <a:gd name="connsiteY133" fmla="*/ 189210 h 386473"/>
              <a:gd name="connsiteX134" fmla="*/ 425897 w 440206"/>
              <a:gd name="connsiteY134" fmla="*/ 187244 h 386473"/>
              <a:gd name="connsiteX135" fmla="*/ 438275 w 440206"/>
              <a:gd name="connsiteY135" fmla="*/ 144265 h 386473"/>
              <a:gd name="connsiteX136" fmla="*/ 419360 w 440206"/>
              <a:gd name="connsiteY136" fmla="*/ 145769 h 386473"/>
              <a:gd name="connsiteX137" fmla="*/ 418492 w 440206"/>
              <a:gd name="connsiteY137" fmla="*/ 145769 h 386473"/>
              <a:gd name="connsiteX138" fmla="*/ 418029 w 440206"/>
              <a:gd name="connsiteY138" fmla="*/ 145017 h 386473"/>
              <a:gd name="connsiteX139" fmla="*/ 418029 w 440206"/>
              <a:gd name="connsiteY139" fmla="*/ 144381 h 386473"/>
              <a:gd name="connsiteX140" fmla="*/ 415426 w 440206"/>
              <a:gd name="connsiteY140" fmla="*/ 149413 h 386473"/>
              <a:gd name="connsiteX141" fmla="*/ 403453 w 440206"/>
              <a:gd name="connsiteY141" fmla="*/ 156817 h 386473"/>
              <a:gd name="connsiteX142" fmla="*/ 398999 w 440206"/>
              <a:gd name="connsiteY142" fmla="*/ 156817 h 386473"/>
              <a:gd name="connsiteX143" fmla="*/ 381067 w 440206"/>
              <a:gd name="connsiteY143" fmla="*/ 130382 h 386473"/>
              <a:gd name="connsiteX144" fmla="*/ 400792 w 440206"/>
              <a:gd name="connsiteY144" fmla="*/ 109558 h 386473"/>
              <a:gd name="connsiteX145" fmla="*/ 415079 w 440206"/>
              <a:gd name="connsiteY145" fmla="*/ 116500 h 386473"/>
              <a:gd name="connsiteX146" fmla="*/ 415079 w 440206"/>
              <a:gd name="connsiteY146" fmla="*/ 113376 h 386473"/>
              <a:gd name="connsiteX147" fmla="*/ 413170 w 440206"/>
              <a:gd name="connsiteY147" fmla="*/ 64845 h 386473"/>
              <a:gd name="connsiteX148" fmla="*/ 399404 w 440206"/>
              <a:gd name="connsiteY148" fmla="*/ 26783 h 386473"/>
              <a:gd name="connsiteX149" fmla="*/ 395759 w 440206"/>
              <a:gd name="connsiteY149" fmla="*/ 13537 h 386473"/>
              <a:gd name="connsiteX150" fmla="*/ 381646 w 440206"/>
              <a:gd name="connsiteY150" fmla="*/ 11050 h 386473"/>
              <a:gd name="connsiteX151" fmla="*/ 363714 w 440206"/>
              <a:gd name="connsiteY151" fmla="*/ 6943 h 386473"/>
              <a:gd name="connsiteX152" fmla="*/ 350583 w 440206"/>
              <a:gd name="connsiteY152" fmla="*/ 5034 h 386473"/>
              <a:gd name="connsiteX153" fmla="*/ 339014 w 440206"/>
              <a:gd name="connsiteY153" fmla="*/ 3645 h 386473"/>
              <a:gd name="connsiteX154" fmla="*/ 330511 w 440206"/>
              <a:gd name="connsiteY154" fmla="*/ 15561 h 386473"/>
              <a:gd name="connsiteX155" fmla="*/ 322182 w 440206"/>
              <a:gd name="connsiteY155" fmla="*/ 19206 h 386473"/>
              <a:gd name="connsiteX156" fmla="*/ 313794 w 440206"/>
              <a:gd name="connsiteY156" fmla="*/ 24990 h 386473"/>
              <a:gd name="connsiteX157" fmla="*/ 290657 w 440206"/>
              <a:gd name="connsiteY157" fmla="*/ 42343 h 386473"/>
              <a:gd name="connsiteX158" fmla="*/ 280418 w 440206"/>
              <a:gd name="connsiteY158" fmla="*/ 59697 h 386473"/>
              <a:gd name="connsiteX159" fmla="*/ 255892 w 440206"/>
              <a:gd name="connsiteY159" fmla="*/ 77802 h 386473"/>
              <a:gd name="connsiteX160" fmla="*/ 248198 w 440206"/>
              <a:gd name="connsiteY160" fmla="*/ 87867 h 386473"/>
              <a:gd name="connsiteX161" fmla="*/ 246521 w 440206"/>
              <a:gd name="connsiteY161" fmla="*/ 97180 h 386473"/>
              <a:gd name="connsiteX162" fmla="*/ 219566 w 440206"/>
              <a:gd name="connsiteY162" fmla="*/ 110079 h 386473"/>
              <a:gd name="connsiteX163" fmla="*/ 189892 w 440206"/>
              <a:gd name="connsiteY163" fmla="*/ 101576 h 386473"/>
              <a:gd name="connsiteX164" fmla="*/ 186942 w 440206"/>
              <a:gd name="connsiteY164" fmla="*/ 98510 h 386473"/>
              <a:gd name="connsiteX165" fmla="*/ 180232 w 440206"/>
              <a:gd name="connsiteY165" fmla="*/ 96081 h 386473"/>
              <a:gd name="connsiteX166" fmla="*/ 170109 w 440206"/>
              <a:gd name="connsiteY166" fmla="*/ 112219 h 386473"/>
              <a:gd name="connsiteX167" fmla="*/ 152351 w 440206"/>
              <a:gd name="connsiteY167" fmla="*/ 133738 h 386473"/>
              <a:gd name="connsiteX168" fmla="*/ 144773 w 440206"/>
              <a:gd name="connsiteY168" fmla="*/ 141141 h 386473"/>
              <a:gd name="connsiteX169" fmla="*/ 134130 w 440206"/>
              <a:gd name="connsiteY169" fmla="*/ 144844 h 386473"/>
              <a:gd name="connsiteX170" fmla="*/ 124238 w 440206"/>
              <a:gd name="connsiteY170" fmla="*/ 143918 h 386473"/>
              <a:gd name="connsiteX171" fmla="*/ 116487 w 440206"/>
              <a:gd name="connsiteY171" fmla="*/ 143108 h 386473"/>
              <a:gd name="connsiteX172" fmla="*/ 111166 w 440206"/>
              <a:gd name="connsiteY172" fmla="*/ 141257 h 386473"/>
              <a:gd name="connsiteX173" fmla="*/ 110182 w 440206"/>
              <a:gd name="connsiteY173" fmla="*/ 133159 h 386473"/>
              <a:gd name="connsiteX174" fmla="*/ 110529 w 440206"/>
              <a:gd name="connsiteY174" fmla="*/ 129862 h 386473"/>
              <a:gd name="connsiteX175" fmla="*/ 113595 w 440206"/>
              <a:gd name="connsiteY175" fmla="*/ 125523 h 386473"/>
              <a:gd name="connsiteX176" fmla="*/ 116198 w 440206"/>
              <a:gd name="connsiteY176" fmla="*/ 123036 h 386473"/>
              <a:gd name="connsiteX177" fmla="*/ 107521 w 440206"/>
              <a:gd name="connsiteY177" fmla="*/ 93594 h 386473"/>
              <a:gd name="connsiteX178" fmla="*/ 107521 w 440206"/>
              <a:gd name="connsiteY178" fmla="*/ 93131 h 386473"/>
              <a:gd name="connsiteX179" fmla="*/ 96705 w 440206"/>
              <a:gd name="connsiteY179" fmla="*/ 85842 h 386473"/>
              <a:gd name="connsiteX180" fmla="*/ 96705 w 440206"/>
              <a:gd name="connsiteY180" fmla="*/ 184178 h 386473"/>
              <a:gd name="connsiteX181" fmla="*/ 85136 w 440206"/>
              <a:gd name="connsiteY181" fmla="*/ 197655 h 386473"/>
              <a:gd name="connsiteX182" fmla="*/ 78773 w 440206"/>
              <a:gd name="connsiteY182" fmla="*/ 202572 h 386473"/>
              <a:gd name="connsiteX183" fmla="*/ 68361 w 440206"/>
              <a:gd name="connsiteY183" fmla="*/ 205464 h 386473"/>
              <a:gd name="connsiteX184" fmla="*/ 55057 w 440206"/>
              <a:gd name="connsiteY184" fmla="*/ 204654 h 386473"/>
              <a:gd name="connsiteX185" fmla="*/ 43083 w 440206"/>
              <a:gd name="connsiteY185" fmla="*/ 203902 h 386473"/>
              <a:gd name="connsiteX186" fmla="*/ 31514 w 440206"/>
              <a:gd name="connsiteY186" fmla="*/ 192623 h 386473"/>
              <a:gd name="connsiteX187" fmla="*/ 27812 w 440206"/>
              <a:gd name="connsiteY187" fmla="*/ 184062 h 386473"/>
              <a:gd name="connsiteX188" fmla="*/ 23705 w 440206"/>
              <a:gd name="connsiteY188" fmla="*/ 181575 h 386473"/>
              <a:gd name="connsiteX189" fmla="*/ 14508 w 440206"/>
              <a:gd name="connsiteY189" fmla="*/ 191408 h 386473"/>
              <a:gd name="connsiteX190" fmla="*/ 8376 w 440206"/>
              <a:gd name="connsiteY190" fmla="*/ 195920 h 386473"/>
              <a:gd name="connsiteX191" fmla="*/ 3286 w 440206"/>
              <a:gd name="connsiteY191" fmla="*/ 195342 h 386473"/>
              <a:gd name="connsiteX192" fmla="*/ 310786 w 440206"/>
              <a:gd name="connsiteY192" fmla="*/ 255442 h 386473"/>
              <a:gd name="connsiteX193" fmla="*/ 310786 w 440206"/>
              <a:gd name="connsiteY193" fmla="*/ 255442 h 386473"/>
              <a:gd name="connsiteX194" fmla="*/ 299218 w 440206"/>
              <a:gd name="connsiteY194" fmla="*/ 253880 h 386473"/>
              <a:gd name="connsiteX195" fmla="*/ 298408 w 440206"/>
              <a:gd name="connsiteY195" fmla="*/ 253417 h 386473"/>
              <a:gd name="connsiteX196" fmla="*/ 282269 w 440206"/>
              <a:gd name="connsiteY196" fmla="*/ 230800 h 386473"/>
              <a:gd name="connsiteX197" fmla="*/ 282269 w 440206"/>
              <a:gd name="connsiteY197" fmla="*/ 229470 h 386473"/>
              <a:gd name="connsiteX198" fmla="*/ 298350 w 440206"/>
              <a:gd name="connsiteY198" fmla="*/ 205406 h 386473"/>
              <a:gd name="connsiteX199" fmla="*/ 322760 w 440206"/>
              <a:gd name="connsiteY199" fmla="*/ 191524 h 386473"/>
              <a:gd name="connsiteX200" fmla="*/ 327792 w 440206"/>
              <a:gd name="connsiteY200" fmla="*/ 194069 h 386473"/>
              <a:gd name="connsiteX201" fmla="*/ 335891 w 440206"/>
              <a:gd name="connsiteY201" fmla="*/ 202688 h 386473"/>
              <a:gd name="connsiteX202" fmla="*/ 345666 w 440206"/>
              <a:gd name="connsiteY202" fmla="*/ 215587 h 386473"/>
              <a:gd name="connsiteX203" fmla="*/ 340576 w 440206"/>
              <a:gd name="connsiteY203" fmla="*/ 225999 h 386473"/>
              <a:gd name="connsiteX204" fmla="*/ 336006 w 440206"/>
              <a:gd name="connsiteY204" fmla="*/ 234965 h 386473"/>
              <a:gd name="connsiteX205" fmla="*/ 330974 w 440206"/>
              <a:gd name="connsiteY205" fmla="*/ 238841 h 386473"/>
              <a:gd name="connsiteX206" fmla="*/ 327214 w 440206"/>
              <a:gd name="connsiteY206" fmla="*/ 238551 h 386473"/>
              <a:gd name="connsiteX207" fmla="*/ 323107 w 440206"/>
              <a:gd name="connsiteY207" fmla="*/ 238551 h 386473"/>
              <a:gd name="connsiteX208" fmla="*/ 318133 w 440206"/>
              <a:gd name="connsiteY208" fmla="*/ 240634 h 386473"/>
              <a:gd name="connsiteX209" fmla="*/ 311654 w 440206"/>
              <a:gd name="connsiteY209" fmla="*/ 255037 h 386473"/>
              <a:gd name="connsiteX210" fmla="*/ 310786 w 440206"/>
              <a:gd name="connsiteY210" fmla="*/ 255326 h 386473"/>
              <a:gd name="connsiteX211" fmla="*/ 300143 w 440206"/>
              <a:gd name="connsiteY211" fmla="*/ 251682 h 386473"/>
              <a:gd name="connsiteX212" fmla="*/ 310092 w 440206"/>
              <a:gd name="connsiteY212" fmla="*/ 253070 h 386473"/>
              <a:gd name="connsiteX213" fmla="*/ 316281 w 440206"/>
              <a:gd name="connsiteY213" fmla="*/ 239303 h 386473"/>
              <a:gd name="connsiteX214" fmla="*/ 323280 w 440206"/>
              <a:gd name="connsiteY214" fmla="*/ 236006 h 386473"/>
              <a:gd name="connsiteX215" fmla="*/ 327619 w 440206"/>
              <a:gd name="connsiteY215" fmla="*/ 236006 h 386473"/>
              <a:gd name="connsiteX216" fmla="*/ 331148 w 440206"/>
              <a:gd name="connsiteY216" fmla="*/ 236295 h 386473"/>
              <a:gd name="connsiteX217" fmla="*/ 333924 w 440206"/>
              <a:gd name="connsiteY217" fmla="*/ 234676 h 386473"/>
              <a:gd name="connsiteX218" fmla="*/ 338957 w 440206"/>
              <a:gd name="connsiteY218" fmla="*/ 224379 h 386473"/>
              <a:gd name="connsiteX219" fmla="*/ 343584 w 440206"/>
              <a:gd name="connsiteY219" fmla="*/ 215298 h 386473"/>
              <a:gd name="connsiteX220" fmla="*/ 334560 w 440206"/>
              <a:gd name="connsiteY220" fmla="*/ 204076 h 386473"/>
              <a:gd name="connsiteX221" fmla="*/ 325999 w 440206"/>
              <a:gd name="connsiteY221" fmla="*/ 194821 h 386473"/>
              <a:gd name="connsiteX222" fmla="*/ 322934 w 440206"/>
              <a:gd name="connsiteY222" fmla="*/ 193490 h 386473"/>
              <a:gd name="connsiteX223" fmla="*/ 300548 w 440206"/>
              <a:gd name="connsiteY223" fmla="*/ 206100 h 386473"/>
              <a:gd name="connsiteX224" fmla="*/ 284756 w 440206"/>
              <a:gd name="connsiteY224" fmla="*/ 229875 h 38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440206" h="386473">
                <a:moveTo>
                  <a:pt x="91267" y="386343"/>
                </a:moveTo>
                <a:cubicBezTo>
                  <a:pt x="87756" y="386390"/>
                  <a:pt x="84413" y="384834"/>
                  <a:pt x="82186" y="382121"/>
                </a:cubicBezTo>
                <a:lnTo>
                  <a:pt x="81839" y="381716"/>
                </a:lnTo>
                <a:cubicBezTo>
                  <a:pt x="78079" y="376799"/>
                  <a:pt x="73856" y="371188"/>
                  <a:pt x="68419" y="370841"/>
                </a:cubicBezTo>
                <a:cubicBezTo>
                  <a:pt x="66041" y="370841"/>
                  <a:pt x="63843" y="369592"/>
                  <a:pt x="62634" y="367544"/>
                </a:cubicBezTo>
                <a:cubicBezTo>
                  <a:pt x="61327" y="365548"/>
                  <a:pt x="59216" y="364218"/>
                  <a:pt x="56850" y="363900"/>
                </a:cubicBezTo>
                <a:cubicBezTo>
                  <a:pt x="52222" y="362974"/>
                  <a:pt x="52107" y="359735"/>
                  <a:pt x="51991" y="355975"/>
                </a:cubicBezTo>
                <a:cubicBezTo>
                  <a:pt x="52043" y="350301"/>
                  <a:pt x="50389" y="344736"/>
                  <a:pt x="47247" y="340010"/>
                </a:cubicBezTo>
                <a:cubicBezTo>
                  <a:pt x="41463" y="330697"/>
                  <a:pt x="39207" y="324219"/>
                  <a:pt x="41001" y="320228"/>
                </a:cubicBezTo>
                <a:cubicBezTo>
                  <a:pt x="42308" y="317746"/>
                  <a:pt x="44847" y="316155"/>
                  <a:pt x="47652" y="316063"/>
                </a:cubicBezTo>
                <a:cubicBezTo>
                  <a:pt x="48890" y="315999"/>
                  <a:pt x="50030" y="315357"/>
                  <a:pt x="50718" y="314327"/>
                </a:cubicBezTo>
                <a:cubicBezTo>
                  <a:pt x="52859" y="310972"/>
                  <a:pt x="50313" y="303048"/>
                  <a:pt x="47595" y="294718"/>
                </a:cubicBezTo>
                <a:lnTo>
                  <a:pt x="46727" y="292115"/>
                </a:lnTo>
                <a:cubicBezTo>
                  <a:pt x="44066" y="285382"/>
                  <a:pt x="40815" y="278898"/>
                  <a:pt x="37009" y="272737"/>
                </a:cubicBezTo>
                <a:cubicBezTo>
                  <a:pt x="30213" y="261822"/>
                  <a:pt x="24665" y="250184"/>
                  <a:pt x="20466" y="238031"/>
                </a:cubicBezTo>
                <a:cubicBezTo>
                  <a:pt x="15537" y="222777"/>
                  <a:pt x="8671" y="208218"/>
                  <a:pt x="47" y="194705"/>
                </a:cubicBezTo>
                <a:cubicBezTo>
                  <a:pt x="-162" y="194329"/>
                  <a:pt x="-162" y="193866"/>
                  <a:pt x="47" y="193490"/>
                </a:cubicBezTo>
                <a:cubicBezTo>
                  <a:pt x="272" y="193109"/>
                  <a:pt x="706" y="192906"/>
                  <a:pt x="1146" y="192970"/>
                </a:cubicBezTo>
                <a:lnTo>
                  <a:pt x="2476" y="192970"/>
                </a:lnTo>
                <a:cubicBezTo>
                  <a:pt x="4385" y="192970"/>
                  <a:pt x="6236" y="193375"/>
                  <a:pt x="7740" y="193375"/>
                </a:cubicBezTo>
                <a:cubicBezTo>
                  <a:pt x="11326" y="193375"/>
                  <a:pt x="11616" y="192334"/>
                  <a:pt x="11616" y="191119"/>
                </a:cubicBezTo>
                <a:cubicBezTo>
                  <a:pt x="12321" y="184947"/>
                  <a:pt x="17053" y="180001"/>
                  <a:pt x="23184" y="179029"/>
                </a:cubicBezTo>
                <a:cubicBezTo>
                  <a:pt x="25562" y="179140"/>
                  <a:pt x="27725" y="180418"/>
                  <a:pt x="28969" y="182442"/>
                </a:cubicBezTo>
                <a:cubicBezTo>
                  <a:pt x="30768" y="185306"/>
                  <a:pt x="32110" y="188423"/>
                  <a:pt x="32960" y="191697"/>
                </a:cubicBezTo>
                <a:cubicBezTo>
                  <a:pt x="34753" y="197482"/>
                  <a:pt x="36026" y="201358"/>
                  <a:pt x="42562" y="201358"/>
                </a:cubicBezTo>
                <a:cubicBezTo>
                  <a:pt x="46091" y="201358"/>
                  <a:pt x="50313" y="201705"/>
                  <a:pt x="54768" y="202109"/>
                </a:cubicBezTo>
                <a:cubicBezTo>
                  <a:pt x="59221" y="202514"/>
                  <a:pt x="63965" y="202919"/>
                  <a:pt x="67840" y="202919"/>
                </a:cubicBezTo>
                <a:cubicBezTo>
                  <a:pt x="73624" y="202919"/>
                  <a:pt x="75765" y="201878"/>
                  <a:pt x="76401" y="201010"/>
                </a:cubicBezTo>
                <a:cubicBezTo>
                  <a:pt x="78339" y="198650"/>
                  <a:pt x="80716" y="196683"/>
                  <a:pt x="83400" y="195226"/>
                </a:cubicBezTo>
                <a:cubicBezTo>
                  <a:pt x="88317" y="192160"/>
                  <a:pt x="93928" y="188690"/>
                  <a:pt x="93928" y="183657"/>
                </a:cubicBezTo>
                <a:lnTo>
                  <a:pt x="93928" y="84165"/>
                </a:lnTo>
                <a:cubicBezTo>
                  <a:pt x="93905" y="83795"/>
                  <a:pt x="94084" y="83442"/>
                  <a:pt x="94391" y="83239"/>
                </a:cubicBezTo>
                <a:cubicBezTo>
                  <a:pt x="94738" y="83066"/>
                  <a:pt x="95085" y="83066"/>
                  <a:pt x="95432" y="83239"/>
                </a:cubicBezTo>
                <a:cubicBezTo>
                  <a:pt x="103241" y="86074"/>
                  <a:pt x="107695" y="89024"/>
                  <a:pt x="109025" y="92437"/>
                </a:cubicBezTo>
                <a:lnTo>
                  <a:pt x="109025" y="92842"/>
                </a:lnTo>
                <a:cubicBezTo>
                  <a:pt x="114463" y="106319"/>
                  <a:pt x="119264" y="119392"/>
                  <a:pt x="117760" y="123904"/>
                </a:cubicBezTo>
                <a:cubicBezTo>
                  <a:pt x="117239" y="125830"/>
                  <a:pt x="115735" y="127317"/>
                  <a:pt x="113768" y="127779"/>
                </a:cubicBezTo>
                <a:cubicBezTo>
                  <a:pt x="112612" y="128184"/>
                  <a:pt x="112207" y="128300"/>
                  <a:pt x="112207" y="129978"/>
                </a:cubicBezTo>
                <a:cubicBezTo>
                  <a:pt x="112149" y="131181"/>
                  <a:pt x="112033" y="132378"/>
                  <a:pt x="111860" y="133564"/>
                </a:cubicBezTo>
                <a:cubicBezTo>
                  <a:pt x="111513" y="136051"/>
                  <a:pt x="111166" y="138596"/>
                  <a:pt x="112322" y="139869"/>
                </a:cubicBezTo>
                <a:cubicBezTo>
                  <a:pt x="113306" y="140731"/>
                  <a:pt x="114636" y="141130"/>
                  <a:pt x="115909" y="140968"/>
                </a:cubicBezTo>
                <a:cubicBezTo>
                  <a:pt x="118627" y="141066"/>
                  <a:pt x="121346" y="141338"/>
                  <a:pt x="124007" y="141778"/>
                </a:cubicBezTo>
                <a:cubicBezTo>
                  <a:pt x="127188" y="142304"/>
                  <a:pt x="130370" y="142617"/>
                  <a:pt x="133551" y="142703"/>
                </a:cubicBezTo>
                <a:cubicBezTo>
                  <a:pt x="136791" y="143102"/>
                  <a:pt x="140088" y="142021"/>
                  <a:pt x="142459" y="139753"/>
                </a:cubicBezTo>
                <a:cubicBezTo>
                  <a:pt x="144195" y="137786"/>
                  <a:pt x="146971" y="135184"/>
                  <a:pt x="150211" y="132176"/>
                </a:cubicBezTo>
                <a:cubicBezTo>
                  <a:pt x="157152" y="125697"/>
                  <a:pt x="166754" y="116789"/>
                  <a:pt x="167274" y="112046"/>
                </a:cubicBezTo>
                <a:cubicBezTo>
                  <a:pt x="168258" y="103311"/>
                  <a:pt x="172018" y="93941"/>
                  <a:pt x="179653" y="93941"/>
                </a:cubicBezTo>
                <a:cubicBezTo>
                  <a:pt x="182487" y="94079"/>
                  <a:pt x="185264" y="95045"/>
                  <a:pt x="187578" y="96717"/>
                </a:cubicBezTo>
                <a:lnTo>
                  <a:pt x="190875" y="98857"/>
                </a:lnTo>
                <a:cubicBezTo>
                  <a:pt x="201461" y="105799"/>
                  <a:pt x="203370" y="107071"/>
                  <a:pt x="219277" y="107071"/>
                </a:cubicBezTo>
                <a:cubicBezTo>
                  <a:pt x="237266" y="107071"/>
                  <a:pt x="241084" y="106146"/>
                  <a:pt x="244034" y="95502"/>
                </a:cubicBezTo>
                <a:cubicBezTo>
                  <a:pt x="244844" y="92541"/>
                  <a:pt x="245364" y="89527"/>
                  <a:pt x="245712" y="86479"/>
                </a:cubicBezTo>
                <a:cubicBezTo>
                  <a:pt x="246521" y="80000"/>
                  <a:pt x="247216" y="74447"/>
                  <a:pt x="255603" y="74447"/>
                </a:cubicBezTo>
                <a:cubicBezTo>
                  <a:pt x="265957" y="74447"/>
                  <a:pt x="277873" y="64845"/>
                  <a:pt x="277873" y="58598"/>
                </a:cubicBezTo>
                <a:cubicBezTo>
                  <a:pt x="277873" y="50673"/>
                  <a:pt x="283137" y="38931"/>
                  <a:pt x="290367" y="38931"/>
                </a:cubicBezTo>
                <a:cubicBezTo>
                  <a:pt x="296498" y="38931"/>
                  <a:pt x="309571" y="31064"/>
                  <a:pt x="311075" y="23660"/>
                </a:cubicBezTo>
                <a:cubicBezTo>
                  <a:pt x="312117" y="18280"/>
                  <a:pt x="316860" y="17239"/>
                  <a:pt x="321198" y="16371"/>
                </a:cubicBezTo>
                <a:cubicBezTo>
                  <a:pt x="323801" y="16215"/>
                  <a:pt x="326288" y="15174"/>
                  <a:pt x="328255" y="13421"/>
                </a:cubicBezTo>
                <a:cubicBezTo>
                  <a:pt x="330280" y="11108"/>
                  <a:pt x="334040" y="5207"/>
                  <a:pt x="337568" y="349"/>
                </a:cubicBezTo>
                <a:cubicBezTo>
                  <a:pt x="337857" y="-4"/>
                  <a:pt x="338320" y="-184"/>
                  <a:pt x="338783" y="-114"/>
                </a:cubicBezTo>
                <a:cubicBezTo>
                  <a:pt x="339245" y="-10"/>
                  <a:pt x="339593" y="395"/>
                  <a:pt x="339593" y="869"/>
                </a:cubicBezTo>
                <a:cubicBezTo>
                  <a:pt x="339593" y="2142"/>
                  <a:pt x="346881" y="2142"/>
                  <a:pt x="350352" y="2142"/>
                </a:cubicBezTo>
                <a:cubicBezTo>
                  <a:pt x="357120" y="2142"/>
                  <a:pt x="363540" y="2142"/>
                  <a:pt x="365391" y="5092"/>
                </a:cubicBezTo>
                <a:cubicBezTo>
                  <a:pt x="366663" y="7116"/>
                  <a:pt x="375283" y="7753"/>
                  <a:pt x="381530" y="8215"/>
                </a:cubicBezTo>
                <a:cubicBezTo>
                  <a:pt x="390553" y="8852"/>
                  <a:pt x="396107" y="9372"/>
                  <a:pt x="397495" y="11802"/>
                </a:cubicBezTo>
                <a:cubicBezTo>
                  <a:pt x="399172" y="16290"/>
                  <a:pt x="400503" y="20918"/>
                  <a:pt x="401370" y="25627"/>
                </a:cubicBezTo>
                <a:cubicBezTo>
                  <a:pt x="404436" y="38352"/>
                  <a:pt x="409584" y="59639"/>
                  <a:pt x="414096" y="62242"/>
                </a:cubicBezTo>
                <a:cubicBezTo>
                  <a:pt x="422599" y="67217"/>
                  <a:pt x="417162" y="112682"/>
                  <a:pt x="417046" y="113145"/>
                </a:cubicBezTo>
                <a:cubicBezTo>
                  <a:pt x="416931" y="114649"/>
                  <a:pt x="416931" y="116153"/>
                  <a:pt x="417046" y="117657"/>
                </a:cubicBezTo>
                <a:cubicBezTo>
                  <a:pt x="417046" y="117790"/>
                  <a:pt x="417046" y="117929"/>
                  <a:pt x="417046" y="118062"/>
                </a:cubicBezTo>
                <a:cubicBezTo>
                  <a:pt x="417104" y="118669"/>
                  <a:pt x="416641" y="119184"/>
                  <a:pt x="416005" y="119219"/>
                </a:cubicBezTo>
                <a:cubicBezTo>
                  <a:pt x="416005" y="119219"/>
                  <a:pt x="415947" y="119219"/>
                  <a:pt x="415947" y="119219"/>
                </a:cubicBezTo>
                <a:lnTo>
                  <a:pt x="415947" y="119219"/>
                </a:lnTo>
                <a:cubicBezTo>
                  <a:pt x="415716" y="119299"/>
                  <a:pt x="415542" y="119299"/>
                  <a:pt x="415311" y="119219"/>
                </a:cubicBezTo>
                <a:lnTo>
                  <a:pt x="413807" y="118235"/>
                </a:lnTo>
                <a:cubicBezTo>
                  <a:pt x="409932" y="114927"/>
                  <a:pt x="405362" y="112584"/>
                  <a:pt x="400387" y="111409"/>
                </a:cubicBezTo>
                <a:cubicBezTo>
                  <a:pt x="394197" y="111409"/>
                  <a:pt x="383034" y="127143"/>
                  <a:pt x="383034" y="129978"/>
                </a:cubicBezTo>
                <a:cubicBezTo>
                  <a:pt x="383034" y="132812"/>
                  <a:pt x="391421" y="153694"/>
                  <a:pt x="398883" y="154156"/>
                </a:cubicBezTo>
                <a:lnTo>
                  <a:pt x="403164" y="154156"/>
                </a:lnTo>
                <a:cubicBezTo>
                  <a:pt x="409758" y="154156"/>
                  <a:pt x="412534" y="152652"/>
                  <a:pt x="412882" y="148835"/>
                </a:cubicBezTo>
                <a:cubicBezTo>
                  <a:pt x="413460" y="145584"/>
                  <a:pt x="415253" y="142680"/>
                  <a:pt x="417914" y="140737"/>
                </a:cubicBezTo>
                <a:cubicBezTo>
                  <a:pt x="418261" y="140511"/>
                  <a:pt x="418666" y="140511"/>
                  <a:pt x="419013" y="140737"/>
                </a:cubicBezTo>
                <a:cubicBezTo>
                  <a:pt x="419417" y="140881"/>
                  <a:pt x="419707" y="141240"/>
                  <a:pt x="419765" y="141662"/>
                </a:cubicBezTo>
                <a:cubicBezTo>
                  <a:pt x="419765" y="142356"/>
                  <a:pt x="419765" y="142935"/>
                  <a:pt x="419765" y="143397"/>
                </a:cubicBezTo>
                <a:cubicBezTo>
                  <a:pt x="425839" y="142553"/>
                  <a:pt x="431912" y="142084"/>
                  <a:pt x="438044" y="142009"/>
                </a:cubicBezTo>
                <a:lnTo>
                  <a:pt x="439143" y="142009"/>
                </a:lnTo>
                <a:cubicBezTo>
                  <a:pt x="439490" y="141998"/>
                  <a:pt x="439779" y="142125"/>
                  <a:pt x="440010" y="142356"/>
                </a:cubicBezTo>
                <a:cubicBezTo>
                  <a:pt x="440126" y="142657"/>
                  <a:pt x="440126" y="142981"/>
                  <a:pt x="440010" y="143282"/>
                </a:cubicBezTo>
                <a:cubicBezTo>
                  <a:pt x="438391" y="157280"/>
                  <a:pt x="434515" y="181864"/>
                  <a:pt x="426822" y="188921"/>
                </a:cubicBezTo>
                <a:lnTo>
                  <a:pt x="424624" y="190887"/>
                </a:lnTo>
                <a:cubicBezTo>
                  <a:pt x="410452" y="202856"/>
                  <a:pt x="398073" y="216779"/>
                  <a:pt x="387835" y="232246"/>
                </a:cubicBezTo>
                <a:cubicBezTo>
                  <a:pt x="368804" y="260966"/>
                  <a:pt x="346997" y="287730"/>
                  <a:pt x="322644" y="312129"/>
                </a:cubicBezTo>
                <a:cubicBezTo>
                  <a:pt x="303903" y="329482"/>
                  <a:pt x="277468" y="347877"/>
                  <a:pt x="265725" y="347877"/>
                </a:cubicBezTo>
                <a:lnTo>
                  <a:pt x="257743" y="347877"/>
                </a:lnTo>
                <a:cubicBezTo>
                  <a:pt x="249529" y="347877"/>
                  <a:pt x="244728" y="349034"/>
                  <a:pt x="244208" y="354702"/>
                </a:cubicBezTo>
                <a:cubicBezTo>
                  <a:pt x="244208" y="358231"/>
                  <a:pt x="242183" y="360024"/>
                  <a:pt x="239001" y="360024"/>
                </a:cubicBezTo>
                <a:cubicBezTo>
                  <a:pt x="237382" y="359949"/>
                  <a:pt x="235762" y="359700"/>
                  <a:pt x="234201" y="359272"/>
                </a:cubicBezTo>
                <a:cubicBezTo>
                  <a:pt x="231655" y="358353"/>
                  <a:pt x="228879" y="358353"/>
                  <a:pt x="226334" y="359272"/>
                </a:cubicBezTo>
                <a:cubicBezTo>
                  <a:pt x="218293" y="364629"/>
                  <a:pt x="208170" y="365872"/>
                  <a:pt x="199089" y="362627"/>
                </a:cubicBezTo>
                <a:cubicBezTo>
                  <a:pt x="185553" y="358839"/>
                  <a:pt x="171266" y="358960"/>
                  <a:pt x="157788" y="362974"/>
                </a:cubicBezTo>
                <a:cubicBezTo>
                  <a:pt x="153797" y="364114"/>
                  <a:pt x="150095" y="366081"/>
                  <a:pt x="146913" y="368759"/>
                </a:cubicBezTo>
                <a:cubicBezTo>
                  <a:pt x="142922" y="372149"/>
                  <a:pt x="137716" y="373791"/>
                  <a:pt x="132452" y="373329"/>
                </a:cubicBezTo>
                <a:cubicBezTo>
                  <a:pt x="115735" y="373329"/>
                  <a:pt x="104629" y="376163"/>
                  <a:pt x="101043" y="381311"/>
                </a:cubicBezTo>
                <a:cubicBezTo>
                  <a:pt x="98729" y="384400"/>
                  <a:pt x="95143" y="386257"/>
                  <a:pt x="91267" y="386343"/>
                </a:cubicBezTo>
                <a:close/>
                <a:moveTo>
                  <a:pt x="3286" y="195457"/>
                </a:moveTo>
                <a:cubicBezTo>
                  <a:pt x="11419" y="208617"/>
                  <a:pt x="17967" y="222696"/>
                  <a:pt x="22779" y="237394"/>
                </a:cubicBezTo>
                <a:cubicBezTo>
                  <a:pt x="26892" y="249420"/>
                  <a:pt x="32341" y="260948"/>
                  <a:pt x="39034" y="271754"/>
                </a:cubicBezTo>
                <a:cubicBezTo>
                  <a:pt x="42961" y="278024"/>
                  <a:pt x="46293" y="284647"/>
                  <a:pt x="48983" y="291537"/>
                </a:cubicBezTo>
                <a:lnTo>
                  <a:pt x="49851" y="294140"/>
                </a:lnTo>
                <a:cubicBezTo>
                  <a:pt x="52859" y="303395"/>
                  <a:pt x="55635" y="311493"/>
                  <a:pt x="52801" y="315658"/>
                </a:cubicBezTo>
                <a:cubicBezTo>
                  <a:pt x="51702" y="317225"/>
                  <a:pt x="49966" y="318220"/>
                  <a:pt x="48057" y="318376"/>
                </a:cubicBezTo>
                <a:cubicBezTo>
                  <a:pt x="46045" y="318428"/>
                  <a:pt x="44205" y="319522"/>
                  <a:pt x="43199" y="321269"/>
                </a:cubicBezTo>
                <a:cubicBezTo>
                  <a:pt x="42157" y="323467"/>
                  <a:pt x="42447" y="328326"/>
                  <a:pt x="49272" y="338622"/>
                </a:cubicBezTo>
                <a:cubicBezTo>
                  <a:pt x="52650" y="343776"/>
                  <a:pt x="54420" y="349815"/>
                  <a:pt x="54363" y="355975"/>
                </a:cubicBezTo>
                <a:cubicBezTo>
                  <a:pt x="54363" y="360024"/>
                  <a:pt x="54363" y="361181"/>
                  <a:pt x="57428" y="361760"/>
                </a:cubicBezTo>
                <a:cubicBezTo>
                  <a:pt x="60291" y="362211"/>
                  <a:pt x="62848" y="363819"/>
                  <a:pt x="64485" y="366214"/>
                </a:cubicBezTo>
                <a:cubicBezTo>
                  <a:pt x="65289" y="367729"/>
                  <a:pt x="66874" y="368672"/>
                  <a:pt x="68592" y="368643"/>
                </a:cubicBezTo>
                <a:cubicBezTo>
                  <a:pt x="75013" y="369048"/>
                  <a:pt x="79583" y="375064"/>
                  <a:pt x="83632" y="380212"/>
                </a:cubicBezTo>
                <a:lnTo>
                  <a:pt x="83979" y="380617"/>
                </a:lnTo>
                <a:cubicBezTo>
                  <a:pt x="85749" y="382815"/>
                  <a:pt x="88444" y="384053"/>
                  <a:pt x="91267" y="383972"/>
                </a:cubicBezTo>
                <a:cubicBezTo>
                  <a:pt x="94738" y="383972"/>
                  <a:pt x="97977" y="382260"/>
                  <a:pt x="99886" y="379402"/>
                </a:cubicBezTo>
                <a:cubicBezTo>
                  <a:pt x="105034" y="371998"/>
                  <a:pt x="120768" y="370436"/>
                  <a:pt x="133146" y="370436"/>
                </a:cubicBezTo>
                <a:cubicBezTo>
                  <a:pt x="137890" y="370916"/>
                  <a:pt x="142633" y="369435"/>
                  <a:pt x="146219" y="366329"/>
                </a:cubicBezTo>
                <a:cubicBezTo>
                  <a:pt x="149632" y="363634"/>
                  <a:pt x="153565" y="361667"/>
                  <a:pt x="157788" y="360545"/>
                </a:cubicBezTo>
                <a:cubicBezTo>
                  <a:pt x="171671" y="356357"/>
                  <a:pt x="186479" y="356235"/>
                  <a:pt x="200477" y="360198"/>
                </a:cubicBezTo>
                <a:cubicBezTo>
                  <a:pt x="208922" y="363252"/>
                  <a:pt x="218293" y="362089"/>
                  <a:pt x="225755" y="357074"/>
                </a:cubicBezTo>
                <a:cubicBezTo>
                  <a:pt x="228821" y="355865"/>
                  <a:pt x="232292" y="355865"/>
                  <a:pt x="235357" y="357074"/>
                </a:cubicBezTo>
                <a:cubicBezTo>
                  <a:pt x="236745" y="357450"/>
                  <a:pt x="238192" y="357682"/>
                  <a:pt x="239638" y="357768"/>
                </a:cubicBezTo>
                <a:cubicBezTo>
                  <a:pt x="241315" y="357768"/>
                  <a:pt x="242356" y="357190"/>
                  <a:pt x="242588" y="354529"/>
                </a:cubicBezTo>
                <a:cubicBezTo>
                  <a:pt x="243340" y="346315"/>
                  <a:pt x="251149" y="345621"/>
                  <a:pt x="258379" y="345621"/>
                </a:cubicBezTo>
                <a:lnTo>
                  <a:pt x="266362" y="345621"/>
                </a:lnTo>
                <a:cubicBezTo>
                  <a:pt x="276196" y="345621"/>
                  <a:pt x="301068" y="329830"/>
                  <a:pt x="321719" y="310452"/>
                </a:cubicBezTo>
                <a:cubicBezTo>
                  <a:pt x="345955" y="286238"/>
                  <a:pt x="367647" y="259647"/>
                  <a:pt x="386562" y="231089"/>
                </a:cubicBezTo>
                <a:cubicBezTo>
                  <a:pt x="396859" y="215419"/>
                  <a:pt x="409410" y="201311"/>
                  <a:pt x="423756" y="189210"/>
                </a:cubicBezTo>
                <a:lnTo>
                  <a:pt x="425897" y="187244"/>
                </a:lnTo>
                <a:cubicBezTo>
                  <a:pt x="431044" y="182558"/>
                  <a:pt x="435498" y="166882"/>
                  <a:pt x="438275" y="144265"/>
                </a:cubicBezTo>
                <a:cubicBezTo>
                  <a:pt x="431970" y="144363"/>
                  <a:pt x="425607" y="144861"/>
                  <a:pt x="419360" y="145769"/>
                </a:cubicBezTo>
                <a:cubicBezTo>
                  <a:pt x="419071" y="145879"/>
                  <a:pt x="418781" y="145879"/>
                  <a:pt x="418492" y="145769"/>
                </a:cubicBezTo>
                <a:cubicBezTo>
                  <a:pt x="418261" y="145584"/>
                  <a:pt x="418087" y="145312"/>
                  <a:pt x="418029" y="145017"/>
                </a:cubicBezTo>
                <a:cubicBezTo>
                  <a:pt x="418029" y="144803"/>
                  <a:pt x="418029" y="144595"/>
                  <a:pt x="418029" y="144381"/>
                </a:cubicBezTo>
                <a:cubicBezTo>
                  <a:pt x="416641" y="145729"/>
                  <a:pt x="415716" y="147499"/>
                  <a:pt x="415426" y="149413"/>
                </a:cubicBezTo>
                <a:cubicBezTo>
                  <a:pt x="414790" y="156007"/>
                  <a:pt x="408658" y="156817"/>
                  <a:pt x="403453" y="156817"/>
                </a:cubicBezTo>
                <a:lnTo>
                  <a:pt x="398999" y="156817"/>
                </a:lnTo>
                <a:cubicBezTo>
                  <a:pt x="389628" y="156181"/>
                  <a:pt x="381067" y="133680"/>
                  <a:pt x="381067" y="130382"/>
                </a:cubicBezTo>
                <a:cubicBezTo>
                  <a:pt x="381067" y="127085"/>
                  <a:pt x="393214" y="109558"/>
                  <a:pt x="400792" y="109558"/>
                </a:cubicBezTo>
                <a:cubicBezTo>
                  <a:pt x="406056" y="110600"/>
                  <a:pt x="410972" y="112989"/>
                  <a:pt x="415079" y="116500"/>
                </a:cubicBezTo>
                <a:cubicBezTo>
                  <a:pt x="414964" y="115459"/>
                  <a:pt x="414964" y="114417"/>
                  <a:pt x="415079" y="113376"/>
                </a:cubicBezTo>
                <a:cubicBezTo>
                  <a:pt x="416294" y="106088"/>
                  <a:pt x="419187" y="68373"/>
                  <a:pt x="413170" y="64845"/>
                </a:cubicBezTo>
                <a:cubicBezTo>
                  <a:pt x="408254" y="62011"/>
                  <a:pt x="404031" y="45930"/>
                  <a:pt x="399404" y="26783"/>
                </a:cubicBezTo>
                <a:cubicBezTo>
                  <a:pt x="398478" y="22289"/>
                  <a:pt x="397263" y="17864"/>
                  <a:pt x="395759" y="13537"/>
                </a:cubicBezTo>
                <a:cubicBezTo>
                  <a:pt x="394949" y="12033"/>
                  <a:pt x="387256" y="11513"/>
                  <a:pt x="381646" y="11050"/>
                </a:cubicBezTo>
                <a:cubicBezTo>
                  <a:pt x="371639" y="10356"/>
                  <a:pt x="365449" y="9719"/>
                  <a:pt x="363714" y="6943"/>
                </a:cubicBezTo>
                <a:cubicBezTo>
                  <a:pt x="361978" y="4166"/>
                  <a:pt x="355616" y="5034"/>
                  <a:pt x="350583" y="5034"/>
                </a:cubicBezTo>
                <a:cubicBezTo>
                  <a:pt x="346650" y="5445"/>
                  <a:pt x="342717" y="4970"/>
                  <a:pt x="339014" y="3645"/>
                </a:cubicBezTo>
                <a:cubicBezTo>
                  <a:pt x="335949" y="8215"/>
                  <a:pt x="332420" y="13306"/>
                  <a:pt x="330511" y="15561"/>
                </a:cubicBezTo>
                <a:cubicBezTo>
                  <a:pt x="328198" y="17661"/>
                  <a:pt x="325305" y="18945"/>
                  <a:pt x="322182" y="19206"/>
                </a:cubicBezTo>
                <a:cubicBezTo>
                  <a:pt x="318075" y="20073"/>
                  <a:pt x="314546" y="20825"/>
                  <a:pt x="313794" y="24990"/>
                </a:cubicBezTo>
                <a:cubicBezTo>
                  <a:pt x="312001" y="33609"/>
                  <a:pt x="298002" y="42343"/>
                  <a:pt x="290657" y="42343"/>
                </a:cubicBezTo>
                <a:cubicBezTo>
                  <a:pt x="284872" y="42343"/>
                  <a:pt x="280418" y="52871"/>
                  <a:pt x="280418" y="59697"/>
                </a:cubicBezTo>
                <a:cubicBezTo>
                  <a:pt x="280418" y="67795"/>
                  <a:pt x="266940" y="77802"/>
                  <a:pt x="255892" y="77802"/>
                </a:cubicBezTo>
                <a:cubicBezTo>
                  <a:pt x="249472" y="77802"/>
                  <a:pt x="249066" y="81157"/>
                  <a:pt x="248198" y="87867"/>
                </a:cubicBezTo>
                <a:cubicBezTo>
                  <a:pt x="247910" y="91013"/>
                  <a:pt x="247331" y="94126"/>
                  <a:pt x="246521" y="97180"/>
                </a:cubicBezTo>
                <a:cubicBezTo>
                  <a:pt x="242992" y="109501"/>
                  <a:pt x="236803" y="110079"/>
                  <a:pt x="219566" y="110079"/>
                </a:cubicBezTo>
                <a:cubicBezTo>
                  <a:pt x="202328" y="110079"/>
                  <a:pt x="200709" y="108633"/>
                  <a:pt x="189892" y="101576"/>
                </a:cubicBezTo>
                <a:lnTo>
                  <a:pt x="186942" y="98510"/>
                </a:lnTo>
                <a:cubicBezTo>
                  <a:pt x="184975" y="97076"/>
                  <a:pt x="182661" y="96237"/>
                  <a:pt x="180232" y="96081"/>
                </a:cubicBezTo>
                <a:cubicBezTo>
                  <a:pt x="172307" y="96081"/>
                  <a:pt x="170398" y="109501"/>
                  <a:pt x="170109" y="112219"/>
                </a:cubicBezTo>
                <a:cubicBezTo>
                  <a:pt x="169472" y="118004"/>
                  <a:pt x="160333" y="126218"/>
                  <a:pt x="152351" y="133738"/>
                </a:cubicBezTo>
                <a:cubicBezTo>
                  <a:pt x="149169" y="136687"/>
                  <a:pt x="146566" y="139232"/>
                  <a:pt x="144773" y="141141"/>
                </a:cubicBezTo>
                <a:cubicBezTo>
                  <a:pt x="141939" y="143878"/>
                  <a:pt x="138063" y="145231"/>
                  <a:pt x="134130" y="144844"/>
                </a:cubicBezTo>
                <a:cubicBezTo>
                  <a:pt x="130833" y="144757"/>
                  <a:pt x="127535" y="144450"/>
                  <a:pt x="124238" y="143918"/>
                </a:cubicBezTo>
                <a:cubicBezTo>
                  <a:pt x="121693" y="143478"/>
                  <a:pt x="119090" y="143212"/>
                  <a:pt x="116487" y="143108"/>
                </a:cubicBezTo>
                <a:cubicBezTo>
                  <a:pt x="114520" y="143316"/>
                  <a:pt x="112554" y="142640"/>
                  <a:pt x="111166" y="141257"/>
                </a:cubicBezTo>
                <a:cubicBezTo>
                  <a:pt x="109777" y="138799"/>
                  <a:pt x="109430" y="135883"/>
                  <a:pt x="110182" y="133159"/>
                </a:cubicBezTo>
                <a:cubicBezTo>
                  <a:pt x="110356" y="132072"/>
                  <a:pt x="110472" y="130967"/>
                  <a:pt x="110529" y="129862"/>
                </a:cubicBezTo>
                <a:cubicBezTo>
                  <a:pt x="110240" y="127826"/>
                  <a:pt x="111570" y="125905"/>
                  <a:pt x="113595" y="125523"/>
                </a:cubicBezTo>
                <a:cubicBezTo>
                  <a:pt x="114867" y="125309"/>
                  <a:pt x="115909" y="124326"/>
                  <a:pt x="116198" y="123036"/>
                </a:cubicBezTo>
                <a:cubicBezTo>
                  <a:pt x="117644" y="118698"/>
                  <a:pt x="110414" y="100419"/>
                  <a:pt x="107521" y="93594"/>
                </a:cubicBezTo>
                <a:lnTo>
                  <a:pt x="107521" y="93131"/>
                </a:lnTo>
                <a:cubicBezTo>
                  <a:pt x="106827" y="91396"/>
                  <a:pt x="104398" y="88792"/>
                  <a:pt x="96705" y="85842"/>
                </a:cubicBezTo>
                <a:lnTo>
                  <a:pt x="96705" y="184178"/>
                </a:lnTo>
                <a:cubicBezTo>
                  <a:pt x="96705" y="190425"/>
                  <a:pt x="90342" y="194474"/>
                  <a:pt x="85136" y="197655"/>
                </a:cubicBezTo>
                <a:cubicBezTo>
                  <a:pt x="82747" y="198911"/>
                  <a:pt x="80589" y="200577"/>
                  <a:pt x="78773" y="202572"/>
                </a:cubicBezTo>
                <a:cubicBezTo>
                  <a:pt x="77442" y="204597"/>
                  <a:pt x="74203" y="205464"/>
                  <a:pt x="68361" y="205464"/>
                </a:cubicBezTo>
                <a:cubicBezTo>
                  <a:pt x="64370" y="205464"/>
                  <a:pt x="59626" y="205059"/>
                  <a:pt x="55057" y="204654"/>
                </a:cubicBezTo>
                <a:cubicBezTo>
                  <a:pt x="50487" y="204250"/>
                  <a:pt x="46495" y="203902"/>
                  <a:pt x="43083" y="203902"/>
                </a:cubicBezTo>
                <a:cubicBezTo>
                  <a:pt x="34869" y="203902"/>
                  <a:pt x="33076" y="198118"/>
                  <a:pt x="31514" y="192623"/>
                </a:cubicBezTo>
                <a:cubicBezTo>
                  <a:pt x="30739" y="189592"/>
                  <a:pt x="29490" y="186699"/>
                  <a:pt x="27812" y="184062"/>
                </a:cubicBezTo>
                <a:cubicBezTo>
                  <a:pt x="26962" y="182581"/>
                  <a:pt x="25411" y="181644"/>
                  <a:pt x="23705" y="181575"/>
                </a:cubicBezTo>
                <a:cubicBezTo>
                  <a:pt x="19251" y="181575"/>
                  <a:pt x="14508" y="187938"/>
                  <a:pt x="14508" y="191408"/>
                </a:cubicBezTo>
                <a:cubicBezTo>
                  <a:pt x="14508" y="195920"/>
                  <a:pt x="9880" y="195920"/>
                  <a:pt x="8376" y="195920"/>
                </a:cubicBezTo>
                <a:cubicBezTo>
                  <a:pt x="6670" y="195822"/>
                  <a:pt x="4969" y="195631"/>
                  <a:pt x="3286" y="195342"/>
                </a:cubicBezTo>
                <a:close/>
                <a:moveTo>
                  <a:pt x="310786" y="255442"/>
                </a:moveTo>
                <a:lnTo>
                  <a:pt x="310786" y="255442"/>
                </a:lnTo>
                <a:lnTo>
                  <a:pt x="299218" y="253880"/>
                </a:lnTo>
                <a:cubicBezTo>
                  <a:pt x="298928" y="253816"/>
                  <a:pt x="298639" y="253654"/>
                  <a:pt x="298408" y="253417"/>
                </a:cubicBezTo>
                <a:lnTo>
                  <a:pt x="282269" y="230800"/>
                </a:lnTo>
                <a:cubicBezTo>
                  <a:pt x="282037" y="230384"/>
                  <a:pt x="282037" y="229886"/>
                  <a:pt x="282269" y="229470"/>
                </a:cubicBezTo>
                <a:cubicBezTo>
                  <a:pt x="282269" y="229470"/>
                  <a:pt x="295168" y="211712"/>
                  <a:pt x="298350" y="205406"/>
                </a:cubicBezTo>
                <a:cubicBezTo>
                  <a:pt x="304366" y="197783"/>
                  <a:pt x="313100" y="192802"/>
                  <a:pt x="322760" y="191524"/>
                </a:cubicBezTo>
                <a:cubicBezTo>
                  <a:pt x="324784" y="191263"/>
                  <a:pt x="326809" y="192270"/>
                  <a:pt x="327792" y="194069"/>
                </a:cubicBezTo>
                <a:cubicBezTo>
                  <a:pt x="330048" y="197337"/>
                  <a:pt x="332767" y="200247"/>
                  <a:pt x="335891" y="202688"/>
                </a:cubicBezTo>
                <a:cubicBezTo>
                  <a:pt x="340923" y="207142"/>
                  <a:pt x="345666" y="211365"/>
                  <a:pt x="345666" y="215587"/>
                </a:cubicBezTo>
                <a:cubicBezTo>
                  <a:pt x="345088" y="219503"/>
                  <a:pt x="343295" y="223136"/>
                  <a:pt x="340576" y="225999"/>
                </a:cubicBezTo>
                <a:cubicBezTo>
                  <a:pt x="338205" y="228481"/>
                  <a:pt x="336643" y="231598"/>
                  <a:pt x="336006" y="234965"/>
                </a:cubicBezTo>
                <a:cubicBezTo>
                  <a:pt x="336006" y="237510"/>
                  <a:pt x="334329" y="238841"/>
                  <a:pt x="330974" y="238841"/>
                </a:cubicBezTo>
                <a:cubicBezTo>
                  <a:pt x="329702" y="238823"/>
                  <a:pt x="328486" y="238725"/>
                  <a:pt x="327214" y="238551"/>
                </a:cubicBezTo>
                <a:cubicBezTo>
                  <a:pt x="325826" y="238551"/>
                  <a:pt x="324438" y="238551"/>
                  <a:pt x="323107" y="238551"/>
                </a:cubicBezTo>
                <a:cubicBezTo>
                  <a:pt x="320388" y="238551"/>
                  <a:pt x="318827" y="239188"/>
                  <a:pt x="318133" y="240634"/>
                </a:cubicBezTo>
                <a:cubicBezTo>
                  <a:pt x="314951" y="246939"/>
                  <a:pt x="311711" y="254979"/>
                  <a:pt x="311654" y="255037"/>
                </a:cubicBezTo>
                <a:cubicBezTo>
                  <a:pt x="311423" y="255257"/>
                  <a:pt x="311075" y="255361"/>
                  <a:pt x="310786" y="255326"/>
                </a:cubicBezTo>
                <a:close/>
                <a:moveTo>
                  <a:pt x="300143" y="251682"/>
                </a:moveTo>
                <a:lnTo>
                  <a:pt x="310092" y="253070"/>
                </a:lnTo>
                <a:cubicBezTo>
                  <a:pt x="311017" y="250814"/>
                  <a:pt x="313679" y="244509"/>
                  <a:pt x="316281" y="239303"/>
                </a:cubicBezTo>
                <a:cubicBezTo>
                  <a:pt x="317785" y="236920"/>
                  <a:pt x="320504" y="235630"/>
                  <a:pt x="323280" y="236006"/>
                </a:cubicBezTo>
                <a:cubicBezTo>
                  <a:pt x="324726" y="236006"/>
                  <a:pt x="326172" y="236006"/>
                  <a:pt x="327619" y="236006"/>
                </a:cubicBezTo>
                <a:cubicBezTo>
                  <a:pt x="328776" y="236186"/>
                  <a:pt x="329990" y="236278"/>
                  <a:pt x="331148" y="236295"/>
                </a:cubicBezTo>
                <a:cubicBezTo>
                  <a:pt x="333924" y="236295"/>
                  <a:pt x="333924" y="235370"/>
                  <a:pt x="333924" y="234676"/>
                </a:cubicBezTo>
                <a:cubicBezTo>
                  <a:pt x="334502" y="230806"/>
                  <a:pt x="336238" y="227208"/>
                  <a:pt x="338957" y="224379"/>
                </a:cubicBezTo>
                <a:cubicBezTo>
                  <a:pt x="341328" y="221869"/>
                  <a:pt x="342947" y="218711"/>
                  <a:pt x="343584" y="215298"/>
                </a:cubicBezTo>
                <a:cubicBezTo>
                  <a:pt x="343584" y="212117"/>
                  <a:pt x="338783" y="207836"/>
                  <a:pt x="334560" y="204076"/>
                </a:cubicBezTo>
                <a:cubicBezTo>
                  <a:pt x="331205" y="201502"/>
                  <a:pt x="328313" y="198372"/>
                  <a:pt x="325999" y="194821"/>
                </a:cubicBezTo>
                <a:cubicBezTo>
                  <a:pt x="325305" y="193832"/>
                  <a:pt x="324148" y="193317"/>
                  <a:pt x="322934" y="193490"/>
                </a:cubicBezTo>
                <a:cubicBezTo>
                  <a:pt x="314199" y="194798"/>
                  <a:pt x="306216" y="199287"/>
                  <a:pt x="300548" y="206100"/>
                </a:cubicBezTo>
                <a:cubicBezTo>
                  <a:pt x="295689" y="214291"/>
                  <a:pt x="290425" y="222228"/>
                  <a:pt x="284756" y="22987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2" name="Forma libre: forma 281">
            <a:extLst>
              <a:ext uri="{FF2B5EF4-FFF2-40B4-BE49-F238E27FC236}">
                <a16:creationId xmlns:a16="http://schemas.microsoft.com/office/drawing/2014/main" id="{A0C231AD-8202-36B1-1D26-98E0C96BB9F2}"/>
              </a:ext>
            </a:extLst>
          </p:cNvPr>
          <p:cNvSpPr/>
          <p:nvPr/>
        </p:nvSpPr>
        <p:spPr>
          <a:xfrm>
            <a:off x="6507035" y="4642892"/>
            <a:ext cx="321786" cy="338075"/>
          </a:xfrm>
          <a:custGeom>
            <a:avLst/>
            <a:gdLst>
              <a:gd name="connsiteX0" fmla="*/ 256998 w 321786"/>
              <a:gd name="connsiteY0" fmla="*/ 337913 h 338075"/>
              <a:gd name="connsiteX1" fmla="*/ 245429 w 321786"/>
              <a:gd name="connsiteY1" fmla="*/ 336062 h 338075"/>
              <a:gd name="connsiteX2" fmla="*/ 226746 w 321786"/>
              <a:gd name="connsiteY2" fmla="*/ 334384 h 338075"/>
              <a:gd name="connsiteX3" fmla="*/ 185908 w 321786"/>
              <a:gd name="connsiteY3" fmla="*/ 336177 h 338075"/>
              <a:gd name="connsiteX4" fmla="*/ 185040 w 321786"/>
              <a:gd name="connsiteY4" fmla="*/ 335830 h 338075"/>
              <a:gd name="connsiteX5" fmla="*/ 175785 w 321786"/>
              <a:gd name="connsiteY5" fmla="*/ 326575 h 338075"/>
              <a:gd name="connsiteX6" fmla="*/ 81961 w 321786"/>
              <a:gd name="connsiteY6" fmla="*/ 326575 h 338075"/>
              <a:gd name="connsiteX7" fmla="*/ 56799 w 321786"/>
              <a:gd name="connsiteY7" fmla="*/ 319634 h 338075"/>
              <a:gd name="connsiteX8" fmla="*/ 31868 w 321786"/>
              <a:gd name="connsiteY8" fmla="*/ 318304 h 338075"/>
              <a:gd name="connsiteX9" fmla="*/ 27530 w 321786"/>
              <a:gd name="connsiteY9" fmla="*/ 319461 h 338075"/>
              <a:gd name="connsiteX10" fmla="*/ 22902 w 321786"/>
              <a:gd name="connsiteY10" fmla="*/ 315817 h 338075"/>
              <a:gd name="connsiteX11" fmla="*/ 19200 w 321786"/>
              <a:gd name="connsiteY11" fmla="*/ 312924 h 338075"/>
              <a:gd name="connsiteX12" fmla="*/ 10697 w 321786"/>
              <a:gd name="connsiteY12" fmla="*/ 319113 h 338075"/>
              <a:gd name="connsiteX13" fmla="*/ 9888 w 321786"/>
              <a:gd name="connsiteY13" fmla="*/ 319808 h 338075"/>
              <a:gd name="connsiteX14" fmla="*/ 1384 w 321786"/>
              <a:gd name="connsiteY14" fmla="*/ 322006 h 338075"/>
              <a:gd name="connsiteX15" fmla="*/ 343 w 321786"/>
              <a:gd name="connsiteY15" fmla="*/ 322006 h 338075"/>
              <a:gd name="connsiteX16" fmla="*/ -62 w 321786"/>
              <a:gd name="connsiteY16" fmla="*/ 321080 h 338075"/>
              <a:gd name="connsiteX17" fmla="*/ -62 w 321786"/>
              <a:gd name="connsiteY17" fmla="*/ 319865 h 338075"/>
              <a:gd name="connsiteX18" fmla="*/ 3524 w 321786"/>
              <a:gd name="connsiteY18" fmla="*/ 283423 h 338075"/>
              <a:gd name="connsiteX19" fmla="*/ 8788 w 321786"/>
              <a:gd name="connsiteY19" fmla="*/ 270119 h 338075"/>
              <a:gd name="connsiteX20" fmla="*/ 17638 w 321786"/>
              <a:gd name="connsiteY20" fmla="*/ 244957 h 338075"/>
              <a:gd name="connsiteX21" fmla="*/ 37711 w 321786"/>
              <a:gd name="connsiteY21" fmla="*/ 191740 h 338075"/>
              <a:gd name="connsiteX22" fmla="*/ 40545 w 321786"/>
              <a:gd name="connsiteY22" fmla="*/ 188443 h 338075"/>
              <a:gd name="connsiteX23" fmla="*/ 56799 w 321786"/>
              <a:gd name="connsiteY23" fmla="*/ 152985 h 338075"/>
              <a:gd name="connsiteX24" fmla="*/ 48007 w 321786"/>
              <a:gd name="connsiteY24" fmla="*/ 124063 h 338075"/>
              <a:gd name="connsiteX25" fmla="*/ 39851 w 321786"/>
              <a:gd name="connsiteY25" fmla="*/ 95603 h 338075"/>
              <a:gd name="connsiteX26" fmla="*/ 43206 w 321786"/>
              <a:gd name="connsiteY26" fmla="*/ 79291 h 338075"/>
              <a:gd name="connsiteX27" fmla="*/ 44363 w 321786"/>
              <a:gd name="connsiteY27" fmla="*/ 67433 h 338075"/>
              <a:gd name="connsiteX28" fmla="*/ 42974 w 321786"/>
              <a:gd name="connsiteY28" fmla="*/ 64541 h 338075"/>
              <a:gd name="connsiteX29" fmla="*/ 20415 w 321786"/>
              <a:gd name="connsiteY29" fmla="*/ 10225 h 338075"/>
              <a:gd name="connsiteX30" fmla="*/ 20878 w 321786"/>
              <a:gd name="connsiteY30" fmla="*/ 9010 h 338075"/>
              <a:gd name="connsiteX31" fmla="*/ 36727 w 321786"/>
              <a:gd name="connsiteY31" fmla="*/ 391 h 338075"/>
              <a:gd name="connsiteX32" fmla="*/ 63625 w 321786"/>
              <a:gd name="connsiteY32" fmla="*/ -129 h 338075"/>
              <a:gd name="connsiteX33" fmla="*/ 125402 w 321786"/>
              <a:gd name="connsiteY33" fmla="*/ 391 h 338075"/>
              <a:gd name="connsiteX34" fmla="*/ 126328 w 321786"/>
              <a:gd name="connsiteY34" fmla="*/ 970 h 338075"/>
              <a:gd name="connsiteX35" fmla="*/ 131303 w 321786"/>
              <a:gd name="connsiteY35" fmla="*/ 24802 h 338075"/>
              <a:gd name="connsiteX36" fmla="*/ 133790 w 321786"/>
              <a:gd name="connsiteY36" fmla="*/ 33074 h 338075"/>
              <a:gd name="connsiteX37" fmla="*/ 142177 w 321786"/>
              <a:gd name="connsiteY37" fmla="*/ 44642 h 338075"/>
              <a:gd name="connsiteX38" fmla="*/ 163811 w 321786"/>
              <a:gd name="connsiteY38" fmla="*/ 60955 h 338075"/>
              <a:gd name="connsiteX39" fmla="*/ 192155 w 321786"/>
              <a:gd name="connsiteY39" fmla="*/ 55691 h 338075"/>
              <a:gd name="connsiteX40" fmla="*/ 195915 w 321786"/>
              <a:gd name="connsiteY40" fmla="*/ 56038 h 338075"/>
              <a:gd name="connsiteX41" fmla="*/ 195915 w 321786"/>
              <a:gd name="connsiteY41" fmla="*/ 56038 h 338075"/>
              <a:gd name="connsiteX42" fmla="*/ 198865 w 321786"/>
              <a:gd name="connsiteY42" fmla="*/ 47650 h 338075"/>
              <a:gd name="connsiteX43" fmla="*/ 206037 w 321786"/>
              <a:gd name="connsiteY43" fmla="*/ 31917 h 338075"/>
              <a:gd name="connsiteX44" fmla="*/ 215408 w 321786"/>
              <a:gd name="connsiteY44" fmla="*/ 30181 h 338075"/>
              <a:gd name="connsiteX45" fmla="*/ 228654 w 321786"/>
              <a:gd name="connsiteY45" fmla="*/ 31801 h 338075"/>
              <a:gd name="connsiteX46" fmla="*/ 229522 w 321786"/>
              <a:gd name="connsiteY46" fmla="*/ 32669 h 338075"/>
              <a:gd name="connsiteX47" fmla="*/ 241669 w 321786"/>
              <a:gd name="connsiteY47" fmla="*/ 37817 h 338075"/>
              <a:gd name="connsiteX48" fmla="*/ 251214 w 321786"/>
              <a:gd name="connsiteY48" fmla="*/ 36949 h 338075"/>
              <a:gd name="connsiteX49" fmla="*/ 255899 w 321786"/>
              <a:gd name="connsiteY49" fmla="*/ 36428 h 338075"/>
              <a:gd name="connsiteX50" fmla="*/ 260989 w 321786"/>
              <a:gd name="connsiteY50" fmla="*/ 42618 h 338075"/>
              <a:gd name="connsiteX51" fmla="*/ 265501 w 321786"/>
              <a:gd name="connsiteY51" fmla="*/ 63615 h 338075"/>
              <a:gd name="connsiteX52" fmla="*/ 263824 w 321786"/>
              <a:gd name="connsiteY52" fmla="*/ 80621 h 338075"/>
              <a:gd name="connsiteX53" fmla="*/ 261741 w 321786"/>
              <a:gd name="connsiteY53" fmla="*/ 102255 h 338075"/>
              <a:gd name="connsiteX54" fmla="*/ 275508 w 321786"/>
              <a:gd name="connsiteY54" fmla="*/ 125393 h 338075"/>
              <a:gd name="connsiteX55" fmla="*/ 275046 w 321786"/>
              <a:gd name="connsiteY55" fmla="*/ 127418 h 338075"/>
              <a:gd name="connsiteX56" fmla="*/ 274641 w 321786"/>
              <a:gd name="connsiteY56" fmla="*/ 145870 h 338075"/>
              <a:gd name="connsiteX57" fmla="*/ 278979 w 321786"/>
              <a:gd name="connsiteY57" fmla="*/ 143498 h 338075"/>
              <a:gd name="connsiteX58" fmla="*/ 288928 w 321786"/>
              <a:gd name="connsiteY58" fmla="*/ 138582 h 338075"/>
              <a:gd name="connsiteX59" fmla="*/ 294019 w 321786"/>
              <a:gd name="connsiteY59" fmla="*/ 138582 h 338075"/>
              <a:gd name="connsiteX60" fmla="*/ 298704 w 321786"/>
              <a:gd name="connsiteY60" fmla="*/ 138582 h 338075"/>
              <a:gd name="connsiteX61" fmla="*/ 312702 w 321786"/>
              <a:gd name="connsiteY61" fmla="*/ 136094 h 338075"/>
              <a:gd name="connsiteX62" fmla="*/ 321032 w 321786"/>
              <a:gd name="connsiteY62" fmla="*/ 136383 h 338075"/>
              <a:gd name="connsiteX63" fmla="*/ 321668 w 321786"/>
              <a:gd name="connsiteY63" fmla="*/ 137540 h 338075"/>
              <a:gd name="connsiteX64" fmla="*/ 315884 w 321786"/>
              <a:gd name="connsiteY64" fmla="*/ 191740 h 338075"/>
              <a:gd name="connsiteX65" fmla="*/ 315594 w 321786"/>
              <a:gd name="connsiteY65" fmla="*/ 192435 h 338075"/>
              <a:gd name="connsiteX66" fmla="*/ 308595 w 321786"/>
              <a:gd name="connsiteY66" fmla="*/ 199434 h 338075"/>
              <a:gd name="connsiteX67" fmla="*/ 307786 w 321786"/>
              <a:gd name="connsiteY67" fmla="*/ 199781 h 338075"/>
              <a:gd name="connsiteX68" fmla="*/ 307786 w 321786"/>
              <a:gd name="connsiteY68" fmla="*/ 199781 h 338075"/>
              <a:gd name="connsiteX69" fmla="*/ 268393 w 321786"/>
              <a:gd name="connsiteY69" fmla="*/ 198392 h 338075"/>
              <a:gd name="connsiteX70" fmla="*/ 265617 w 321786"/>
              <a:gd name="connsiteY70" fmla="*/ 287762 h 338075"/>
              <a:gd name="connsiteX71" fmla="*/ 296564 w 321786"/>
              <a:gd name="connsiteY71" fmla="*/ 330046 h 338075"/>
              <a:gd name="connsiteX72" fmla="*/ 296564 w 321786"/>
              <a:gd name="connsiteY72" fmla="*/ 331087 h 338075"/>
              <a:gd name="connsiteX73" fmla="*/ 295754 w 321786"/>
              <a:gd name="connsiteY73" fmla="*/ 331781 h 338075"/>
              <a:gd name="connsiteX74" fmla="*/ 288408 w 321786"/>
              <a:gd name="connsiteY74" fmla="*/ 333574 h 338075"/>
              <a:gd name="connsiteX75" fmla="*/ 256998 w 321786"/>
              <a:gd name="connsiteY75" fmla="*/ 337913 h 338075"/>
              <a:gd name="connsiteX76" fmla="*/ 226456 w 321786"/>
              <a:gd name="connsiteY76" fmla="*/ 332128 h 338075"/>
              <a:gd name="connsiteX77" fmla="*/ 246123 w 321786"/>
              <a:gd name="connsiteY77" fmla="*/ 334037 h 338075"/>
              <a:gd name="connsiteX78" fmla="*/ 256998 w 321786"/>
              <a:gd name="connsiteY78" fmla="*/ 335657 h 338075"/>
              <a:gd name="connsiteX79" fmla="*/ 287598 w 321786"/>
              <a:gd name="connsiteY79" fmla="*/ 331261 h 338075"/>
              <a:gd name="connsiteX80" fmla="*/ 293382 w 321786"/>
              <a:gd name="connsiteY80" fmla="*/ 329757 h 338075"/>
              <a:gd name="connsiteX81" fmla="*/ 263303 w 321786"/>
              <a:gd name="connsiteY81" fmla="*/ 288630 h 338075"/>
              <a:gd name="connsiteX82" fmla="*/ 263303 w 321786"/>
              <a:gd name="connsiteY82" fmla="*/ 287936 h 338075"/>
              <a:gd name="connsiteX83" fmla="*/ 266138 w 321786"/>
              <a:gd name="connsiteY83" fmla="*/ 197062 h 338075"/>
              <a:gd name="connsiteX84" fmla="*/ 266485 w 321786"/>
              <a:gd name="connsiteY84" fmla="*/ 196252 h 338075"/>
              <a:gd name="connsiteX85" fmla="*/ 267237 w 321786"/>
              <a:gd name="connsiteY85" fmla="*/ 195963 h 338075"/>
              <a:gd name="connsiteX86" fmla="*/ 267237 w 321786"/>
              <a:gd name="connsiteY86" fmla="*/ 195963 h 338075"/>
              <a:gd name="connsiteX87" fmla="*/ 307265 w 321786"/>
              <a:gd name="connsiteY87" fmla="*/ 197351 h 338075"/>
              <a:gd name="connsiteX88" fmla="*/ 313628 w 321786"/>
              <a:gd name="connsiteY88" fmla="*/ 190931 h 338075"/>
              <a:gd name="connsiteX89" fmla="*/ 319412 w 321786"/>
              <a:gd name="connsiteY89" fmla="*/ 137887 h 338075"/>
              <a:gd name="connsiteX90" fmla="*/ 313628 w 321786"/>
              <a:gd name="connsiteY90" fmla="*/ 137887 h 338075"/>
              <a:gd name="connsiteX91" fmla="*/ 298762 w 321786"/>
              <a:gd name="connsiteY91" fmla="*/ 140548 h 338075"/>
              <a:gd name="connsiteX92" fmla="*/ 294019 w 321786"/>
              <a:gd name="connsiteY92" fmla="*/ 140548 h 338075"/>
              <a:gd name="connsiteX93" fmla="*/ 288986 w 321786"/>
              <a:gd name="connsiteY93" fmla="*/ 140548 h 338075"/>
              <a:gd name="connsiteX94" fmla="*/ 280657 w 321786"/>
              <a:gd name="connsiteY94" fmla="*/ 144771 h 338075"/>
              <a:gd name="connsiteX95" fmla="*/ 275335 w 321786"/>
              <a:gd name="connsiteY95" fmla="*/ 147952 h 338075"/>
              <a:gd name="connsiteX96" fmla="*/ 274178 w 321786"/>
              <a:gd name="connsiteY96" fmla="*/ 147952 h 338075"/>
              <a:gd name="connsiteX97" fmla="*/ 272905 w 321786"/>
              <a:gd name="connsiteY97" fmla="*/ 126839 h 338075"/>
              <a:gd name="connsiteX98" fmla="*/ 273368 w 321786"/>
              <a:gd name="connsiteY98" fmla="*/ 124815 h 338075"/>
              <a:gd name="connsiteX99" fmla="*/ 260411 w 321786"/>
              <a:gd name="connsiteY99" fmla="*/ 104106 h 338075"/>
              <a:gd name="connsiteX100" fmla="*/ 261684 w 321786"/>
              <a:gd name="connsiteY100" fmla="*/ 80101 h 338075"/>
              <a:gd name="connsiteX101" fmla="*/ 263940 w 321786"/>
              <a:gd name="connsiteY101" fmla="*/ 65235 h 338075"/>
              <a:gd name="connsiteX102" fmla="*/ 258791 w 321786"/>
              <a:gd name="connsiteY102" fmla="*/ 42676 h 338075"/>
              <a:gd name="connsiteX103" fmla="*/ 255957 w 321786"/>
              <a:gd name="connsiteY103" fmla="*/ 38742 h 338075"/>
              <a:gd name="connsiteX104" fmla="*/ 251561 w 321786"/>
              <a:gd name="connsiteY104" fmla="*/ 39263 h 338075"/>
              <a:gd name="connsiteX105" fmla="*/ 241727 w 321786"/>
              <a:gd name="connsiteY105" fmla="*/ 40130 h 338075"/>
              <a:gd name="connsiteX106" fmla="*/ 227555 w 321786"/>
              <a:gd name="connsiteY106" fmla="*/ 33941 h 338075"/>
              <a:gd name="connsiteX107" fmla="*/ 215466 w 321786"/>
              <a:gd name="connsiteY107" fmla="*/ 32495 h 338075"/>
              <a:gd name="connsiteX108" fmla="*/ 207079 w 321786"/>
              <a:gd name="connsiteY108" fmla="*/ 33999 h 338075"/>
              <a:gd name="connsiteX109" fmla="*/ 201294 w 321786"/>
              <a:gd name="connsiteY109" fmla="*/ 48171 h 338075"/>
              <a:gd name="connsiteX110" fmla="*/ 196262 w 321786"/>
              <a:gd name="connsiteY110" fmla="*/ 58409 h 338075"/>
              <a:gd name="connsiteX111" fmla="*/ 195568 w 321786"/>
              <a:gd name="connsiteY111" fmla="*/ 58409 h 338075"/>
              <a:gd name="connsiteX112" fmla="*/ 164679 w 321786"/>
              <a:gd name="connsiteY112" fmla="*/ 63268 h 338075"/>
              <a:gd name="connsiteX113" fmla="*/ 140326 w 321786"/>
              <a:gd name="connsiteY113" fmla="*/ 45915 h 338075"/>
              <a:gd name="connsiteX114" fmla="*/ 132517 w 321786"/>
              <a:gd name="connsiteY114" fmla="*/ 35098 h 338075"/>
              <a:gd name="connsiteX115" fmla="*/ 129336 w 321786"/>
              <a:gd name="connsiteY115" fmla="*/ 24570 h 338075"/>
              <a:gd name="connsiteX116" fmla="*/ 124940 w 321786"/>
              <a:gd name="connsiteY116" fmla="*/ 2937 h 338075"/>
              <a:gd name="connsiteX117" fmla="*/ 63856 w 321786"/>
              <a:gd name="connsiteY117" fmla="*/ 2416 h 338075"/>
              <a:gd name="connsiteX118" fmla="*/ 37306 w 321786"/>
              <a:gd name="connsiteY118" fmla="*/ 2937 h 338075"/>
              <a:gd name="connsiteX119" fmla="*/ 23018 w 321786"/>
              <a:gd name="connsiteY119" fmla="*/ 10688 h 338075"/>
              <a:gd name="connsiteX120" fmla="*/ 45288 w 321786"/>
              <a:gd name="connsiteY120" fmla="*/ 63847 h 338075"/>
              <a:gd name="connsiteX121" fmla="*/ 46676 w 321786"/>
              <a:gd name="connsiteY121" fmla="*/ 66739 h 338075"/>
              <a:gd name="connsiteX122" fmla="*/ 45577 w 321786"/>
              <a:gd name="connsiteY122" fmla="*/ 80332 h 338075"/>
              <a:gd name="connsiteX123" fmla="*/ 42338 w 321786"/>
              <a:gd name="connsiteY123" fmla="*/ 95892 h 338075"/>
              <a:gd name="connsiteX124" fmla="*/ 50379 w 321786"/>
              <a:gd name="connsiteY124" fmla="*/ 123542 h 338075"/>
              <a:gd name="connsiteX125" fmla="*/ 59286 w 321786"/>
              <a:gd name="connsiteY125" fmla="*/ 153158 h 338075"/>
              <a:gd name="connsiteX126" fmla="*/ 42511 w 321786"/>
              <a:gd name="connsiteY126" fmla="*/ 190294 h 338075"/>
              <a:gd name="connsiteX127" fmla="*/ 39619 w 321786"/>
              <a:gd name="connsiteY127" fmla="*/ 193591 h 338075"/>
              <a:gd name="connsiteX128" fmla="*/ 20126 w 321786"/>
              <a:gd name="connsiteY128" fmla="*/ 245304 h 338075"/>
              <a:gd name="connsiteX129" fmla="*/ 10986 w 321786"/>
              <a:gd name="connsiteY129" fmla="*/ 271508 h 338075"/>
              <a:gd name="connsiteX130" fmla="*/ 6012 w 321786"/>
              <a:gd name="connsiteY130" fmla="*/ 283655 h 338075"/>
              <a:gd name="connsiteX131" fmla="*/ 2483 w 321786"/>
              <a:gd name="connsiteY131" fmla="*/ 319287 h 338075"/>
              <a:gd name="connsiteX132" fmla="*/ 8904 w 321786"/>
              <a:gd name="connsiteY132" fmla="*/ 317610 h 338075"/>
              <a:gd name="connsiteX133" fmla="*/ 19316 w 321786"/>
              <a:gd name="connsiteY133" fmla="*/ 310610 h 338075"/>
              <a:gd name="connsiteX134" fmla="*/ 25100 w 321786"/>
              <a:gd name="connsiteY134" fmla="*/ 314717 h 338075"/>
              <a:gd name="connsiteX135" fmla="*/ 27703 w 321786"/>
              <a:gd name="connsiteY135" fmla="*/ 317089 h 338075"/>
              <a:gd name="connsiteX136" fmla="*/ 31174 w 321786"/>
              <a:gd name="connsiteY136" fmla="*/ 316164 h 338075"/>
              <a:gd name="connsiteX137" fmla="*/ 58187 w 321786"/>
              <a:gd name="connsiteY137" fmla="*/ 317667 h 338075"/>
              <a:gd name="connsiteX138" fmla="*/ 82135 w 321786"/>
              <a:gd name="connsiteY138" fmla="*/ 324204 h 338075"/>
              <a:gd name="connsiteX139" fmla="*/ 176016 w 321786"/>
              <a:gd name="connsiteY139" fmla="*/ 324204 h 338075"/>
              <a:gd name="connsiteX140" fmla="*/ 176826 w 321786"/>
              <a:gd name="connsiteY140" fmla="*/ 324551 h 338075"/>
              <a:gd name="connsiteX141" fmla="*/ 185965 w 321786"/>
              <a:gd name="connsiteY141" fmla="*/ 333748 h 338075"/>
              <a:gd name="connsiteX142" fmla="*/ 226688 w 321786"/>
              <a:gd name="connsiteY142" fmla="*/ 332128 h 3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321786" h="338075">
                <a:moveTo>
                  <a:pt x="256998" y="337913"/>
                </a:moveTo>
                <a:cubicBezTo>
                  <a:pt x="253065" y="338104"/>
                  <a:pt x="249131" y="337473"/>
                  <a:pt x="245429" y="336062"/>
                </a:cubicBezTo>
                <a:cubicBezTo>
                  <a:pt x="239356" y="334437"/>
                  <a:pt x="233051" y="333870"/>
                  <a:pt x="226746" y="334384"/>
                </a:cubicBezTo>
                <a:cubicBezTo>
                  <a:pt x="209392" y="334384"/>
                  <a:pt x="186255" y="336177"/>
                  <a:pt x="185908" y="336177"/>
                </a:cubicBezTo>
                <a:cubicBezTo>
                  <a:pt x="185578" y="336230"/>
                  <a:pt x="185248" y="336097"/>
                  <a:pt x="185040" y="335830"/>
                </a:cubicBezTo>
                <a:lnTo>
                  <a:pt x="175785" y="326575"/>
                </a:lnTo>
                <a:lnTo>
                  <a:pt x="81961" y="326575"/>
                </a:lnTo>
                <a:cubicBezTo>
                  <a:pt x="73042" y="327067"/>
                  <a:pt x="64203" y="324632"/>
                  <a:pt x="56799" y="319634"/>
                </a:cubicBezTo>
                <a:cubicBezTo>
                  <a:pt x="49401" y="314538"/>
                  <a:pt x="39770" y="314023"/>
                  <a:pt x="31868" y="318304"/>
                </a:cubicBezTo>
                <a:cubicBezTo>
                  <a:pt x="30509" y="318969"/>
                  <a:pt x="29040" y="319362"/>
                  <a:pt x="27530" y="319461"/>
                </a:cubicBezTo>
                <a:cubicBezTo>
                  <a:pt x="24696" y="319461"/>
                  <a:pt x="23712" y="317436"/>
                  <a:pt x="22902" y="315817"/>
                </a:cubicBezTo>
                <a:cubicBezTo>
                  <a:pt x="22093" y="314197"/>
                  <a:pt x="21456" y="312924"/>
                  <a:pt x="19200" y="312924"/>
                </a:cubicBezTo>
                <a:cubicBezTo>
                  <a:pt x="15406" y="313173"/>
                  <a:pt x="12097" y="315579"/>
                  <a:pt x="10697" y="319113"/>
                </a:cubicBezTo>
                <a:cubicBezTo>
                  <a:pt x="10529" y="319443"/>
                  <a:pt x="10240" y="319692"/>
                  <a:pt x="9888" y="319808"/>
                </a:cubicBezTo>
                <a:lnTo>
                  <a:pt x="1384" y="322006"/>
                </a:lnTo>
                <a:cubicBezTo>
                  <a:pt x="1054" y="322145"/>
                  <a:pt x="678" y="322145"/>
                  <a:pt x="343" y="322006"/>
                </a:cubicBezTo>
                <a:cubicBezTo>
                  <a:pt x="94" y="321757"/>
                  <a:pt x="-50" y="321427"/>
                  <a:pt x="-62" y="321080"/>
                </a:cubicBezTo>
                <a:cubicBezTo>
                  <a:pt x="-125" y="320675"/>
                  <a:pt x="-125" y="320270"/>
                  <a:pt x="-62" y="319865"/>
                </a:cubicBezTo>
                <a:cubicBezTo>
                  <a:pt x="2067" y="307828"/>
                  <a:pt x="3264" y="295646"/>
                  <a:pt x="3524" y="283423"/>
                </a:cubicBezTo>
                <a:cubicBezTo>
                  <a:pt x="4201" y="278634"/>
                  <a:pt x="6006" y="274076"/>
                  <a:pt x="8788" y="270119"/>
                </a:cubicBezTo>
                <a:cubicBezTo>
                  <a:pt x="13705" y="262559"/>
                  <a:pt x="16742" y="253929"/>
                  <a:pt x="17638" y="244957"/>
                </a:cubicBezTo>
                <a:cubicBezTo>
                  <a:pt x="19142" y="225672"/>
                  <a:pt x="26101" y="207214"/>
                  <a:pt x="37711" y="191740"/>
                </a:cubicBezTo>
                <a:lnTo>
                  <a:pt x="40545" y="188443"/>
                </a:lnTo>
                <a:cubicBezTo>
                  <a:pt x="49222" y="178494"/>
                  <a:pt x="58245" y="168198"/>
                  <a:pt x="56799" y="152985"/>
                </a:cubicBezTo>
                <a:cubicBezTo>
                  <a:pt x="55087" y="143012"/>
                  <a:pt x="52137" y="133300"/>
                  <a:pt x="48007" y="124063"/>
                </a:cubicBezTo>
                <a:cubicBezTo>
                  <a:pt x="43813" y="115062"/>
                  <a:pt x="41060" y="105460"/>
                  <a:pt x="39851" y="95603"/>
                </a:cubicBezTo>
                <a:cubicBezTo>
                  <a:pt x="39972" y="90009"/>
                  <a:pt x="41112" y="84480"/>
                  <a:pt x="43206" y="79291"/>
                </a:cubicBezTo>
                <a:cubicBezTo>
                  <a:pt x="44883" y="74490"/>
                  <a:pt x="46098" y="71077"/>
                  <a:pt x="44363" y="67433"/>
                </a:cubicBezTo>
                <a:lnTo>
                  <a:pt x="42974" y="64541"/>
                </a:lnTo>
                <a:cubicBezTo>
                  <a:pt x="34089" y="47031"/>
                  <a:pt x="26552" y="28874"/>
                  <a:pt x="20415" y="10225"/>
                </a:cubicBezTo>
                <a:cubicBezTo>
                  <a:pt x="20305" y="9762"/>
                  <a:pt x="20490" y="9282"/>
                  <a:pt x="20878" y="9010"/>
                </a:cubicBezTo>
                <a:cubicBezTo>
                  <a:pt x="25546" y="5123"/>
                  <a:pt x="30931" y="2196"/>
                  <a:pt x="36727" y="391"/>
                </a:cubicBezTo>
                <a:cubicBezTo>
                  <a:pt x="39272" y="44"/>
                  <a:pt x="48296" y="-129"/>
                  <a:pt x="63625" y="-129"/>
                </a:cubicBezTo>
                <a:cubicBezTo>
                  <a:pt x="89539" y="-129"/>
                  <a:pt x="125055" y="391"/>
                  <a:pt x="125402" y="391"/>
                </a:cubicBezTo>
                <a:cubicBezTo>
                  <a:pt x="125796" y="391"/>
                  <a:pt x="126154" y="617"/>
                  <a:pt x="126328" y="970"/>
                </a:cubicBezTo>
                <a:cubicBezTo>
                  <a:pt x="130631" y="8125"/>
                  <a:pt x="132384" y="16524"/>
                  <a:pt x="131303" y="24802"/>
                </a:cubicBezTo>
                <a:cubicBezTo>
                  <a:pt x="130146" y="30008"/>
                  <a:pt x="131303" y="30991"/>
                  <a:pt x="133790" y="33074"/>
                </a:cubicBezTo>
                <a:cubicBezTo>
                  <a:pt x="137573" y="36105"/>
                  <a:pt x="140471" y="40101"/>
                  <a:pt x="142177" y="44642"/>
                </a:cubicBezTo>
                <a:cubicBezTo>
                  <a:pt x="147962" y="58814"/>
                  <a:pt x="152358" y="64309"/>
                  <a:pt x="163811" y="60955"/>
                </a:cubicBezTo>
                <a:cubicBezTo>
                  <a:pt x="173002" y="58027"/>
                  <a:pt x="182524" y="56258"/>
                  <a:pt x="192155" y="55691"/>
                </a:cubicBezTo>
                <a:cubicBezTo>
                  <a:pt x="193416" y="55662"/>
                  <a:pt x="194677" y="55777"/>
                  <a:pt x="195915" y="56038"/>
                </a:cubicBezTo>
                <a:lnTo>
                  <a:pt x="195915" y="56038"/>
                </a:lnTo>
                <a:cubicBezTo>
                  <a:pt x="197129" y="56038"/>
                  <a:pt x="198229" y="50774"/>
                  <a:pt x="198865" y="47650"/>
                </a:cubicBezTo>
                <a:cubicBezTo>
                  <a:pt x="200195" y="41287"/>
                  <a:pt x="201699" y="34057"/>
                  <a:pt x="206037" y="31917"/>
                </a:cubicBezTo>
                <a:cubicBezTo>
                  <a:pt x="208987" y="30633"/>
                  <a:pt x="212169" y="30042"/>
                  <a:pt x="215408" y="30181"/>
                </a:cubicBezTo>
                <a:cubicBezTo>
                  <a:pt x="219862" y="30262"/>
                  <a:pt x="224316" y="30800"/>
                  <a:pt x="228654" y="31801"/>
                </a:cubicBezTo>
                <a:cubicBezTo>
                  <a:pt x="229059" y="31934"/>
                  <a:pt x="229406" y="32258"/>
                  <a:pt x="229522" y="32669"/>
                </a:cubicBezTo>
                <a:cubicBezTo>
                  <a:pt x="229522" y="32669"/>
                  <a:pt x="230795" y="37817"/>
                  <a:pt x="241669" y="37817"/>
                </a:cubicBezTo>
                <a:cubicBezTo>
                  <a:pt x="244851" y="37782"/>
                  <a:pt x="248032" y="37493"/>
                  <a:pt x="251214" y="36949"/>
                </a:cubicBezTo>
                <a:cubicBezTo>
                  <a:pt x="252776" y="36689"/>
                  <a:pt x="254337" y="36515"/>
                  <a:pt x="255899" y="36428"/>
                </a:cubicBezTo>
                <a:cubicBezTo>
                  <a:pt x="259370" y="36428"/>
                  <a:pt x="260989" y="38337"/>
                  <a:pt x="260989" y="42618"/>
                </a:cubicBezTo>
                <a:cubicBezTo>
                  <a:pt x="260989" y="52914"/>
                  <a:pt x="262667" y="60781"/>
                  <a:pt x="265501" y="63615"/>
                </a:cubicBezTo>
                <a:cubicBezTo>
                  <a:pt x="268336" y="66449"/>
                  <a:pt x="266196" y="71077"/>
                  <a:pt x="263824" y="80621"/>
                </a:cubicBezTo>
                <a:cubicBezTo>
                  <a:pt x="261741" y="88778"/>
                  <a:pt x="258965" y="100057"/>
                  <a:pt x="261741" y="102255"/>
                </a:cubicBezTo>
                <a:cubicBezTo>
                  <a:pt x="268220" y="107461"/>
                  <a:pt x="276781" y="118625"/>
                  <a:pt x="275508" y="125393"/>
                </a:cubicBezTo>
                <a:lnTo>
                  <a:pt x="275046" y="127418"/>
                </a:lnTo>
                <a:cubicBezTo>
                  <a:pt x="274062" y="132218"/>
                  <a:pt x="271343" y="145060"/>
                  <a:pt x="274641" y="145870"/>
                </a:cubicBezTo>
                <a:cubicBezTo>
                  <a:pt x="276260" y="146217"/>
                  <a:pt x="277417" y="145118"/>
                  <a:pt x="278979" y="143498"/>
                </a:cubicBezTo>
                <a:cubicBezTo>
                  <a:pt x="281408" y="140462"/>
                  <a:pt x="285052" y="138662"/>
                  <a:pt x="288928" y="138582"/>
                </a:cubicBezTo>
                <a:lnTo>
                  <a:pt x="294019" y="138582"/>
                </a:lnTo>
                <a:lnTo>
                  <a:pt x="298704" y="138582"/>
                </a:lnTo>
                <a:cubicBezTo>
                  <a:pt x="303505" y="138749"/>
                  <a:pt x="308248" y="137905"/>
                  <a:pt x="312702" y="136094"/>
                </a:cubicBezTo>
                <a:cubicBezTo>
                  <a:pt x="315363" y="134885"/>
                  <a:pt x="318429" y="134989"/>
                  <a:pt x="321032" y="136383"/>
                </a:cubicBezTo>
                <a:cubicBezTo>
                  <a:pt x="321495" y="136586"/>
                  <a:pt x="321726" y="137054"/>
                  <a:pt x="321668" y="137540"/>
                </a:cubicBezTo>
                <a:lnTo>
                  <a:pt x="315884" y="191740"/>
                </a:lnTo>
                <a:cubicBezTo>
                  <a:pt x="315884" y="192001"/>
                  <a:pt x="315768" y="192250"/>
                  <a:pt x="315594" y="192435"/>
                </a:cubicBezTo>
                <a:lnTo>
                  <a:pt x="308595" y="199434"/>
                </a:lnTo>
                <a:cubicBezTo>
                  <a:pt x="308364" y="199653"/>
                  <a:pt x="308075" y="199775"/>
                  <a:pt x="307786" y="199781"/>
                </a:cubicBezTo>
                <a:lnTo>
                  <a:pt x="307786" y="199781"/>
                </a:lnTo>
                <a:lnTo>
                  <a:pt x="268393" y="198392"/>
                </a:lnTo>
                <a:lnTo>
                  <a:pt x="265617" y="287762"/>
                </a:lnTo>
                <a:lnTo>
                  <a:pt x="296564" y="330046"/>
                </a:lnTo>
                <a:cubicBezTo>
                  <a:pt x="296737" y="330364"/>
                  <a:pt x="296737" y="330769"/>
                  <a:pt x="296564" y="331087"/>
                </a:cubicBezTo>
                <a:cubicBezTo>
                  <a:pt x="296448" y="331457"/>
                  <a:pt x="296159" y="331729"/>
                  <a:pt x="295754" y="331781"/>
                </a:cubicBezTo>
                <a:cubicBezTo>
                  <a:pt x="293267" y="332227"/>
                  <a:pt x="290837" y="332828"/>
                  <a:pt x="288408" y="333574"/>
                </a:cubicBezTo>
                <a:cubicBezTo>
                  <a:pt x="278169" y="336363"/>
                  <a:pt x="267584" y="337820"/>
                  <a:pt x="256998" y="337913"/>
                </a:cubicBezTo>
                <a:close/>
                <a:moveTo>
                  <a:pt x="226456" y="332128"/>
                </a:moveTo>
                <a:cubicBezTo>
                  <a:pt x="233051" y="331642"/>
                  <a:pt x="239703" y="332290"/>
                  <a:pt x="246123" y="334037"/>
                </a:cubicBezTo>
                <a:cubicBezTo>
                  <a:pt x="249594" y="335310"/>
                  <a:pt x="253296" y="335859"/>
                  <a:pt x="256998" y="335657"/>
                </a:cubicBezTo>
                <a:cubicBezTo>
                  <a:pt x="267352" y="335466"/>
                  <a:pt x="277649" y="333991"/>
                  <a:pt x="287598" y="331261"/>
                </a:cubicBezTo>
                <a:cubicBezTo>
                  <a:pt x="289507" y="330654"/>
                  <a:pt x="291416" y="330150"/>
                  <a:pt x="293382" y="329757"/>
                </a:cubicBezTo>
                <a:lnTo>
                  <a:pt x="263303" y="288630"/>
                </a:lnTo>
                <a:cubicBezTo>
                  <a:pt x="263245" y="288404"/>
                  <a:pt x="263245" y="288161"/>
                  <a:pt x="263303" y="287936"/>
                </a:cubicBezTo>
                <a:lnTo>
                  <a:pt x="266138" y="197062"/>
                </a:lnTo>
                <a:cubicBezTo>
                  <a:pt x="266138" y="196756"/>
                  <a:pt x="266253" y="196466"/>
                  <a:pt x="266485" y="196252"/>
                </a:cubicBezTo>
                <a:cubicBezTo>
                  <a:pt x="266658" y="196038"/>
                  <a:pt x="266947" y="195928"/>
                  <a:pt x="267237" y="195963"/>
                </a:cubicBezTo>
                <a:lnTo>
                  <a:pt x="267237" y="195963"/>
                </a:lnTo>
                <a:lnTo>
                  <a:pt x="307265" y="197351"/>
                </a:lnTo>
                <a:lnTo>
                  <a:pt x="313628" y="190931"/>
                </a:lnTo>
                <a:lnTo>
                  <a:pt x="319412" y="137887"/>
                </a:lnTo>
                <a:cubicBezTo>
                  <a:pt x="317561" y="137112"/>
                  <a:pt x="315479" y="137112"/>
                  <a:pt x="313628" y="137887"/>
                </a:cubicBezTo>
                <a:cubicBezTo>
                  <a:pt x="308942" y="139814"/>
                  <a:pt x="303852" y="140716"/>
                  <a:pt x="298762" y="140548"/>
                </a:cubicBezTo>
                <a:lnTo>
                  <a:pt x="294019" y="140548"/>
                </a:lnTo>
                <a:lnTo>
                  <a:pt x="288986" y="140548"/>
                </a:lnTo>
                <a:cubicBezTo>
                  <a:pt x="285747" y="140658"/>
                  <a:pt x="282681" y="142202"/>
                  <a:pt x="280657" y="144771"/>
                </a:cubicBezTo>
                <a:cubicBezTo>
                  <a:pt x="279384" y="146535"/>
                  <a:pt x="277475" y="147692"/>
                  <a:pt x="275335" y="147952"/>
                </a:cubicBezTo>
                <a:lnTo>
                  <a:pt x="274178" y="147952"/>
                </a:lnTo>
                <a:cubicBezTo>
                  <a:pt x="269145" y="146737"/>
                  <a:pt x="270823" y="136846"/>
                  <a:pt x="272905" y="126839"/>
                </a:cubicBezTo>
                <a:lnTo>
                  <a:pt x="273368" y="124815"/>
                </a:lnTo>
                <a:cubicBezTo>
                  <a:pt x="274409" y="119377"/>
                  <a:pt x="266427" y="108907"/>
                  <a:pt x="260411" y="104106"/>
                </a:cubicBezTo>
                <a:cubicBezTo>
                  <a:pt x="256477" y="100925"/>
                  <a:pt x="259138" y="90339"/>
                  <a:pt x="261684" y="80101"/>
                </a:cubicBezTo>
                <a:cubicBezTo>
                  <a:pt x="263130" y="74317"/>
                  <a:pt x="265096" y="66392"/>
                  <a:pt x="263940" y="65235"/>
                </a:cubicBezTo>
                <a:cubicBezTo>
                  <a:pt x="259254" y="60550"/>
                  <a:pt x="258791" y="47882"/>
                  <a:pt x="258791" y="42676"/>
                </a:cubicBezTo>
                <a:cubicBezTo>
                  <a:pt x="258791" y="39031"/>
                  <a:pt x="257692" y="38742"/>
                  <a:pt x="255957" y="38742"/>
                </a:cubicBezTo>
                <a:cubicBezTo>
                  <a:pt x="254453" y="38806"/>
                  <a:pt x="253007" y="38979"/>
                  <a:pt x="251561" y="39263"/>
                </a:cubicBezTo>
                <a:cubicBezTo>
                  <a:pt x="248322" y="39812"/>
                  <a:pt x="245024" y="40101"/>
                  <a:pt x="241727" y="40130"/>
                </a:cubicBezTo>
                <a:cubicBezTo>
                  <a:pt x="231257" y="40130"/>
                  <a:pt x="228307" y="35734"/>
                  <a:pt x="227555" y="33941"/>
                </a:cubicBezTo>
                <a:cubicBezTo>
                  <a:pt x="223564" y="33039"/>
                  <a:pt x="219515" y="32553"/>
                  <a:pt x="215466" y="32495"/>
                </a:cubicBezTo>
                <a:cubicBezTo>
                  <a:pt x="212574" y="32339"/>
                  <a:pt x="209722" y="32854"/>
                  <a:pt x="207079" y="33999"/>
                </a:cubicBezTo>
                <a:cubicBezTo>
                  <a:pt x="203723" y="35676"/>
                  <a:pt x="202277" y="42560"/>
                  <a:pt x="201294" y="48171"/>
                </a:cubicBezTo>
                <a:cubicBezTo>
                  <a:pt x="200311" y="53782"/>
                  <a:pt x="199154" y="58409"/>
                  <a:pt x="196262" y="58409"/>
                </a:cubicBezTo>
                <a:lnTo>
                  <a:pt x="195568" y="58409"/>
                </a:lnTo>
                <a:cubicBezTo>
                  <a:pt x="185069" y="58207"/>
                  <a:pt x="174611" y="59856"/>
                  <a:pt x="164679" y="63268"/>
                </a:cubicBezTo>
                <a:cubicBezTo>
                  <a:pt x="151721" y="67086"/>
                  <a:pt x="146573" y="60550"/>
                  <a:pt x="140326" y="45915"/>
                </a:cubicBezTo>
                <a:cubicBezTo>
                  <a:pt x="138724" y="41681"/>
                  <a:pt x="136034" y="37950"/>
                  <a:pt x="132517" y="35098"/>
                </a:cubicBezTo>
                <a:cubicBezTo>
                  <a:pt x="129047" y="32825"/>
                  <a:pt x="127705" y="28388"/>
                  <a:pt x="129336" y="24570"/>
                </a:cubicBezTo>
                <a:cubicBezTo>
                  <a:pt x="130267" y="17074"/>
                  <a:pt x="128723" y="9479"/>
                  <a:pt x="124940" y="2937"/>
                </a:cubicBezTo>
                <a:cubicBezTo>
                  <a:pt x="120023" y="2937"/>
                  <a:pt x="87804" y="2416"/>
                  <a:pt x="63856" y="2416"/>
                </a:cubicBezTo>
                <a:cubicBezTo>
                  <a:pt x="48701" y="2416"/>
                  <a:pt x="39735" y="2416"/>
                  <a:pt x="37306" y="2937"/>
                </a:cubicBezTo>
                <a:cubicBezTo>
                  <a:pt x="32059" y="4516"/>
                  <a:pt x="27200" y="7153"/>
                  <a:pt x="23018" y="10688"/>
                </a:cubicBezTo>
                <a:cubicBezTo>
                  <a:pt x="29103" y="28938"/>
                  <a:pt x="36548" y="46707"/>
                  <a:pt x="45288" y="63847"/>
                </a:cubicBezTo>
                <a:lnTo>
                  <a:pt x="46676" y="66739"/>
                </a:lnTo>
                <a:cubicBezTo>
                  <a:pt x="48180" y="71228"/>
                  <a:pt x="47781" y="76139"/>
                  <a:pt x="45577" y="80332"/>
                </a:cubicBezTo>
                <a:cubicBezTo>
                  <a:pt x="43564" y="85278"/>
                  <a:pt x="42471" y="90553"/>
                  <a:pt x="42338" y="95892"/>
                </a:cubicBezTo>
                <a:cubicBezTo>
                  <a:pt x="43547" y="105471"/>
                  <a:pt x="46260" y="114808"/>
                  <a:pt x="50379" y="123542"/>
                </a:cubicBezTo>
                <a:cubicBezTo>
                  <a:pt x="54578" y="133005"/>
                  <a:pt x="57568" y="142954"/>
                  <a:pt x="59286" y="153158"/>
                </a:cubicBezTo>
                <a:cubicBezTo>
                  <a:pt x="60790" y="169355"/>
                  <a:pt x="51477" y="179998"/>
                  <a:pt x="42511" y="190294"/>
                </a:cubicBezTo>
                <a:cubicBezTo>
                  <a:pt x="41528" y="191335"/>
                  <a:pt x="40603" y="192435"/>
                  <a:pt x="39619" y="193591"/>
                </a:cubicBezTo>
                <a:cubicBezTo>
                  <a:pt x="28346" y="208631"/>
                  <a:pt x="21583" y="226568"/>
                  <a:pt x="20126" y="245304"/>
                </a:cubicBezTo>
                <a:cubicBezTo>
                  <a:pt x="19252" y="254652"/>
                  <a:pt x="16112" y="263646"/>
                  <a:pt x="10986" y="271508"/>
                </a:cubicBezTo>
                <a:cubicBezTo>
                  <a:pt x="8470" y="275152"/>
                  <a:pt x="6770" y="279293"/>
                  <a:pt x="6012" y="283655"/>
                </a:cubicBezTo>
                <a:cubicBezTo>
                  <a:pt x="5763" y="295606"/>
                  <a:pt x="4583" y="307522"/>
                  <a:pt x="2483" y="319287"/>
                </a:cubicBezTo>
                <a:lnTo>
                  <a:pt x="8904" y="317610"/>
                </a:lnTo>
                <a:cubicBezTo>
                  <a:pt x="10767" y="313491"/>
                  <a:pt x="14799" y="310778"/>
                  <a:pt x="19316" y="310610"/>
                </a:cubicBezTo>
                <a:cubicBezTo>
                  <a:pt x="21954" y="310495"/>
                  <a:pt x="24337" y="312190"/>
                  <a:pt x="25100" y="314717"/>
                </a:cubicBezTo>
                <a:cubicBezTo>
                  <a:pt x="25852" y="316279"/>
                  <a:pt x="26315" y="317089"/>
                  <a:pt x="27703" y="317089"/>
                </a:cubicBezTo>
                <a:cubicBezTo>
                  <a:pt x="28907" y="316985"/>
                  <a:pt x="30081" y="316672"/>
                  <a:pt x="31174" y="316164"/>
                </a:cubicBezTo>
                <a:cubicBezTo>
                  <a:pt x="39741" y="311536"/>
                  <a:pt x="50182" y="312120"/>
                  <a:pt x="58187" y="317667"/>
                </a:cubicBezTo>
                <a:cubicBezTo>
                  <a:pt x="65233" y="322422"/>
                  <a:pt x="73649" y="324724"/>
                  <a:pt x="82135" y="324204"/>
                </a:cubicBezTo>
                <a:lnTo>
                  <a:pt x="176016" y="324204"/>
                </a:lnTo>
                <a:cubicBezTo>
                  <a:pt x="176323" y="324210"/>
                  <a:pt x="176612" y="324331"/>
                  <a:pt x="176826" y="324551"/>
                </a:cubicBezTo>
                <a:lnTo>
                  <a:pt x="185965" y="333748"/>
                </a:lnTo>
                <a:cubicBezTo>
                  <a:pt x="189783" y="333632"/>
                  <a:pt x="210723" y="332128"/>
                  <a:pt x="226688" y="33212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3" name="Forma libre: forma 282">
            <a:extLst>
              <a:ext uri="{FF2B5EF4-FFF2-40B4-BE49-F238E27FC236}">
                <a16:creationId xmlns:a16="http://schemas.microsoft.com/office/drawing/2014/main" id="{D3E7DA99-6C97-FEA3-F374-E5D1D4F684DB}"/>
              </a:ext>
            </a:extLst>
          </p:cNvPr>
          <p:cNvSpPr/>
          <p:nvPr/>
        </p:nvSpPr>
        <p:spPr>
          <a:xfrm>
            <a:off x="6770752" y="4705780"/>
            <a:ext cx="317189" cy="277179"/>
          </a:xfrm>
          <a:custGeom>
            <a:avLst/>
            <a:gdLst>
              <a:gd name="connsiteX0" fmla="*/ 128406 w 317189"/>
              <a:gd name="connsiteY0" fmla="*/ 277049 h 277179"/>
              <a:gd name="connsiteX1" fmla="*/ 107004 w 317189"/>
              <a:gd name="connsiteY1" fmla="*/ 272827 h 277179"/>
              <a:gd name="connsiteX2" fmla="*/ 97864 w 317189"/>
              <a:gd name="connsiteY2" fmla="*/ 270629 h 277179"/>
              <a:gd name="connsiteX3" fmla="*/ 84329 w 317189"/>
              <a:gd name="connsiteY3" fmla="*/ 272769 h 277179"/>
              <a:gd name="connsiteX4" fmla="*/ 83114 w 317189"/>
              <a:gd name="connsiteY4" fmla="*/ 272190 h 277179"/>
              <a:gd name="connsiteX5" fmla="*/ 80742 w 317189"/>
              <a:gd name="connsiteY5" fmla="*/ 265365 h 277179"/>
              <a:gd name="connsiteX6" fmla="*/ 72297 w 317189"/>
              <a:gd name="connsiteY6" fmla="*/ 263803 h 277179"/>
              <a:gd name="connsiteX7" fmla="*/ 32211 w 317189"/>
              <a:gd name="connsiteY7" fmla="*/ 268720 h 277179"/>
              <a:gd name="connsiteX8" fmla="*/ 31054 w 317189"/>
              <a:gd name="connsiteY8" fmla="*/ 268315 h 277179"/>
              <a:gd name="connsiteX9" fmla="*/ -66 w 317189"/>
              <a:gd name="connsiteY9" fmla="*/ 225742 h 277179"/>
              <a:gd name="connsiteX10" fmla="*/ -66 w 317189"/>
              <a:gd name="connsiteY10" fmla="*/ 225047 h 277179"/>
              <a:gd name="connsiteX11" fmla="*/ 2768 w 317189"/>
              <a:gd name="connsiteY11" fmla="*/ 134174 h 277179"/>
              <a:gd name="connsiteX12" fmla="*/ 3115 w 317189"/>
              <a:gd name="connsiteY12" fmla="*/ 133364 h 277179"/>
              <a:gd name="connsiteX13" fmla="*/ 3867 w 317189"/>
              <a:gd name="connsiteY13" fmla="*/ 133075 h 277179"/>
              <a:gd name="connsiteX14" fmla="*/ 3867 w 317189"/>
              <a:gd name="connsiteY14" fmla="*/ 133075 h 277179"/>
              <a:gd name="connsiteX15" fmla="*/ 43895 w 317189"/>
              <a:gd name="connsiteY15" fmla="*/ 134463 h 277179"/>
              <a:gd name="connsiteX16" fmla="*/ 50258 w 317189"/>
              <a:gd name="connsiteY16" fmla="*/ 128042 h 277179"/>
              <a:gd name="connsiteX17" fmla="*/ 56043 w 317189"/>
              <a:gd name="connsiteY17" fmla="*/ 74189 h 277179"/>
              <a:gd name="connsiteX18" fmla="*/ 56621 w 317189"/>
              <a:gd name="connsiteY18" fmla="*/ 73379 h 277179"/>
              <a:gd name="connsiteX19" fmla="*/ 57662 w 317189"/>
              <a:gd name="connsiteY19" fmla="*/ 73379 h 277179"/>
              <a:gd name="connsiteX20" fmla="*/ 65298 w 317189"/>
              <a:gd name="connsiteY20" fmla="*/ 80784 h 277179"/>
              <a:gd name="connsiteX21" fmla="*/ 69867 w 317189"/>
              <a:gd name="connsiteY21" fmla="*/ 86568 h 277179"/>
              <a:gd name="connsiteX22" fmla="*/ 71082 w 317189"/>
              <a:gd name="connsiteY22" fmla="*/ 86221 h 277179"/>
              <a:gd name="connsiteX23" fmla="*/ 85254 w 317189"/>
              <a:gd name="connsiteY23" fmla="*/ 82519 h 277179"/>
              <a:gd name="connsiteX24" fmla="*/ 89187 w 317189"/>
              <a:gd name="connsiteY24" fmla="*/ 83849 h 277179"/>
              <a:gd name="connsiteX25" fmla="*/ 89650 w 317189"/>
              <a:gd name="connsiteY25" fmla="*/ 86279 h 277179"/>
              <a:gd name="connsiteX26" fmla="*/ 92601 w 317189"/>
              <a:gd name="connsiteY26" fmla="*/ 96575 h 277179"/>
              <a:gd name="connsiteX27" fmla="*/ 96534 w 317189"/>
              <a:gd name="connsiteY27" fmla="*/ 98368 h 277179"/>
              <a:gd name="connsiteX28" fmla="*/ 98905 w 317189"/>
              <a:gd name="connsiteY28" fmla="*/ 97848 h 277179"/>
              <a:gd name="connsiteX29" fmla="*/ 110474 w 317189"/>
              <a:gd name="connsiteY29" fmla="*/ 101839 h 277179"/>
              <a:gd name="connsiteX30" fmla="*/ 120365 w 317189"/>
              <a:gd name="connsiteY30" fmla="*/ 105483 h 277179"/>
              <a:gd name="connsiteX31" fmla="*/ 131298 w 317189"/>
              <a:gd name="connsiteY31" fmla="*/ 102996 h 277179"/>
              <a:gd name="connsiteX32" fmla="*/ 139454 w 317189"/>
              <a:gd name="connsiteY32" fmla="*/ 95187 h 277179"/>
              <a:gd name="connsiteX33" fmla="*/ 143156 w 317189"/>
              <a:gd name="connsiteY33" fmla="*/ 97616 h 277179"/>
              <a:gd name="connsiteX34" fmla="*/ 156692 w 317189"/>
              <a:gd name="connsiteY34" fmla="*/ 112771 h 277179"/>
              <a:gd name="connsiteX35" fmla="*/ 178383 w 317189"/>
              <a:gd name="connsiteY35" fmla="*/ 118556 h 277179"/>
              <a:gd name="connsiteX36" fmla="*/ 188854 w 317189"/>
              <a:gd name="connsiteY36" fmla="*/ 140652 h 277179"/>
              <a:gd name="connsiteX37" fmla="*/ 195910 w 317189"/>
              <a:gd name="connsiteY37" fmla="*/ 142561 h 277179"/>
              <a:gd name="connsiteX38" fmla="*/ 207016 w 317189"/>
              <a:gd name="connsiteY38" fmla="*/ 140537 h 277179"/>
              <a:gd name="connsiteX39" fmla="*/ 211296 w 317189"/>
              <a:gd name="connsiteY39" fmla="*/ 129431 h 277179"/>
              <a:gd name="connsiteX40" fmla="*/ 208752 w 317189"/>
              <a:gd name="connsiteY40" fmla="*/ 111152 h 277179"/>
              <a:gd name="connsiteX41" fmla="*/ 204645 w 317189"/>
              <a:gd name="connsiteY41" fmla="*/ 113292 h 277179"/>
              <a:gd name="connsiteX42" fmla="*/ 193712 w 317189"/>
              <a:gd name="connsiteY42" fmla="*/ 117631 h 277179"/>
              <a:gd name="connsiteX43" fmla="*/ 190300 w 317189"/>
              <a:gd name="connsiteY43" fmla="*/ 117168 h 277179"/>
              <a:gd name="connsiteX44" fmla="*/ 176359 w 317189"/>
              <a:gd name="connsiteY44" fmla="*/ 101723 h 277179"/>
              <a:gd name="connsiteX45" fmla="*/ 171789 w 317189"/>
              <a:gd name="connsiteY45" fmla="*/ 95187 h 277179"/>
              <a:gd name="connsiteX46" fmla="*/ 173756 w 317189"/>
              <a:gd name="connsiteY46" fmla="*/ 81073 h 277179"/>
              <a:gd name="connsiteX47" fmla="*/ 177342 w 317189"/>
              <a:gd name="connsiteY47" fmla="*/ 68868 h 277179"/>
              <a:gd name="connsiteX48" fmla="*/ 178731 w 317189"/>
              <a:gd name="connsiteY48" fmla="*/ 58398 h 277179"/>
              <a:gd name="connsiteX49" fmla="*/ 179193 w 317189"/>
              <a:gd name="connsiteY49" fmla="*/ 39541 h 277179"/>
              <a:gd name="connsiteX50" fmla="*/ 176069 w 317189"/>
              <a:gd name="connsiteY50" fmla="*/ 35029 h 277179"/>
              <a:gd name="connsiteX51" fmla="*/ 182664 w 317189"/>
              <a:gd name="connsiteY51" fmla="*/ 23113 h 277179"/>
              <a:gd name="connsiteX52" fmla="*/ 184572 w 317189"/>
              <a:gd name="connsiteY52" fmla="*/ 14436 h 277179"/>
              <a:gd name="connsiteX53" fmla="*/ 186019 w 317189"/>
              <a:gd name="connsiteY53" fmla="*/ 6338 h 277179"/>
              <a:gd name="connsiteX54" fmla="*/ 190588 w 317189"/>
              <a:gd name="connsiteY54" fmla="*/ 4718 h 277179"/>
              <a:gd name="connsiteX55" fmla="*/ 198860 w 317189"/>
              <a:gd name="connsiteY55" fmla="*/ 4718 h 277179"/>
              <a:gd name="connsiteX56" fmla="*/ 222634 w 317189"/>
              <a:gd name="connsiteY56" fmla="*/ 149 h 277179"/>
              <a:gd name="connsiteX57" fmla="*/ 224138 w 317189"/>
              <a:gd name="connsiteY57" fmla="*/ 149 h 277179"/>
              <a:gd name="connsiteX58" fmla="*/ 243227 w 317189"/>
              <a:gd name="connsiteY58" fmla="*/ 11139 h 277179"/>
              <a:gd name="connsiteX59" fmla="*/ 258035 w 317189"/>
              <a:gd name="connsiteY59" fmla="*/ 16519 h 277179"/>
              <a:gd name="connsiteX60" fmla="*/ 268620 w 317189"/>
              <a:gd name="connsiteY60" fmla="*/ 21030 h 277179"/>
              <a:gd name="connsiteX61" fmla="*/ 304253 w 317189"/>
              <a:gd name="connsiteY61" fmla="*/ 36764 h 277179"/>
              <a:gd name="connsiteX62" fmla="*/ 317036 w 317189"/>
              <a:gd name="connsiteY62" fmla="*/ 66843 h 277179"/>
              <a:gd name="connsiteX63" fmla="*/ 314491 w 317189"/>
              <a:gd name="connsiteY63" fmla="*/ 70349 h 277179"/>
              <a:gd name="connsiteX64" fmla="*/ 313739 w 317189"/>
              <a:gd name="connsiteY64" fmla="*/ 70372 h 277179"/>
              <a:gd name="connsiteX65" fmla="*/ 313739 w 317189"/>
              <a:gd name="connsiteY65" fmla="*/ 70372 h 277179"/>
              <a:gd name="connsiteX66" fmla="*/ 312351 w 317189"/>
              <a:gd name="connsiteY66" fmla="*/ 70372 h 277179"/>
              <a:gd name="connsiteX67" fmla="*/ 310905 w 317189"/>
              <a:gd name="connsiteY67" fmla="*/ 70372 h 277179"/>
              <a:gd name="connsiteX68" fmla="*/ 307203 w 317189"/>
              <a:gd name="connsiteY68" fmla="*/ 73032 h 277179"/>
              <a:gd name="connsiteX69" fmla="*/ 308301 w 317189"/>
              <a:gd name="connsiteY69" fmla="*/ 116531 h 277179"/>
              <a:gd name="connsiteX70" fmla="*/ 309690 w 317189"/>
              <a:gd name="connsiteY70" fmla="*/ 119829 h 277179"/>
              <a:gd name="connsiteX71" fmla="*/ 303905 w 317189"/>
              <a:gd name="connsiteY71" fmla="*/ 121969 h 277179"/>
              <a:gd name="connsiteX72" fmla="*/ 297485 w 317189"/>
              <a:gd name="connsiteY72" fmla="*/ 124340 h 277179"/>
              <a:gd name="connsiteX73" fmla="*/ 292857 w 317189"/>
              <a:gd name="connsiteY73" fmla="*/ 151816 h 277179"/>
              <a:gd name="connsiteX74" fmla="*/ 295576 w 317189"/>
              <a:gd name="connsiteY74" fmla="*/ 157601 h 277179"/>
              <a:gd name="connsiteX75" fmla="*/ 298006 w 317189"/>
              <a:gd name="connsiteY75" fmla="*/ 162286 h 277179"/>
              <a:gd name="connsiteX76" fmla="*/ 298006 w 317189"/>
              <a:gd name="connsiteY76" fmla="*/ 163270 h 277179"/>
              <a:gd name="connsiteX77" fmla="*/ 297138 w 317189"/>
              <a:gd name="connsiteY77" fmla="*/ 163906 h 277179"/>
              <a:gd name="connsiteX78" fmla="*/ 222692 w 317189"/>
              <a:gd name="connsiteY78" fmla="*/ 190861 h 277179"/>
              <a:gd name="connsiteX79" fmla="*/ 228071 w 317189"/>
              <a:gd name="connsiteY79" fmla="*/ 210066 h 277179"/>
              <a:gd name="connsiteX80" fmla="*/ 228071 w 317189"/>
              <a:gd name="connsiteY80" fmla="*/ 211049 h 277179"/>
              <a:gd name="connsiteX81" fmla="*/ 227146 w 317189"/>
              <a:gd name="connsiteY81" fmla="*/ 211512 h 277179"/>
              <a:gd name="connsiteX82" fmla="*/ 224659 w 317189"/>
              <a:gd name="connsiteY82" fmla="*/ 211512 h 277179"/>
              <a:gd name="connsiteX83" fmla="*/ 201174 w 317189"/>
              <a:gd name="connsiteY83" fmla="*/ 212322 h 277179"/>
              <a:gd name="connsiteX84" fmla="*/ 186944 w 317189"/>
              <a:gd name="connsiteY84" fmla="*/ 224932 h 277179"/>
              <a:gd name="connsiteX85" fmla="*/ 161088 w 317189"/>
              <a:gd name="connsiteY85" fmla="*/ 245408 h 277179"/>
              <a:gd name="connsiteX86" fmla="*/ 143735 w 317189"/>
              <a:gd name="connsiteY86" fmla="*/ 263745 h 277179"/>
              <a:gd name="connsiteX87" fmla="*/ 133207 w 317189"/>
              <a:gd name="connsiteY87" fmla="*/ 275950 h 277179"/>
              <a:gd name="connsiteX88" fmla="*/ 128406 w 317189"/>
              <a:gd name="connsiteY88" fmla="*/ 277049 h 277179"/>
              <a:gd name="connsiteX89" fmla="*/ 96765 w 317189"/>
              <a:gd name="connsiteY89" fmla="*/ 268315 h 277179"/>
              <a:gd name="connsiteX90" fmla="*/ 98153 w 317189"/>
              <a:gd name="connsiteY90" fmla="*/ 268315 h 277179"/>
              <a:gd name="connsiteX91" fmla="*/ 107582 w 317189"/>
              <a:gd name="connsiteY91" fmla="*/ 270571 h 277179"/>
              <a:gd name="connsiteX92" fmla="*/ 128406 w 317189"/>
              <a:gd name="connsiteY92" fmla="*/ 274735 h 277179"/>
              <a:gd name="connsiteX93" fmla="*/ 132224 w 317189"/>
              <a:gd name="connsiteY93" fmla="*/ 274041 h 277179"/>
              <a:gd name="connsiteX94" fmla="*/ 141999 w 317189"/>
              <a:gd name="connsiteY94" fmla="*/ 262472 h 277179"/>
              <a:gd name="connsiteX95" fmla="*/ 160683 w 317189"/>
              <a:gd name="connsiteY95" fmla="*/ 243268 h 277179"/>
              <a:gd name="connsiteX96" fmla="*/ 184978 w 317189"/>
              <a:gd name="connsiteY96" fmla="*/ 224990 h 277179"/>
              <a:gd name="connsiteX97" fmla="*/ 201116 w 317189"/>
              <a:gd name="connsiteY97" fmla="*/ 210181 h 277179"/>
              <a:gd name="connsiteX98" fmla="*/ 224948 w 317189"/>
              <a:gd name="connsiteY98" fmla="*/ 209314 h 277179"/>
              <a:gd name="connsiteX99" fmla="*/ 219684 w 317189"/>
              <a:gd name="connsiteY99" fmla="*/ 190514 h 277179"/>
              <a:gd name="connsiteX100" fmla="*/ 220436 w 317189"/>
              <a:gd name="connsiteY100" fmla="*/ 189126 h 277179"/>
              <a:gd name="connsiteX101" fmla="*/ 294824 w 317189"/>
              <a:gd name="connsiteY101" fmla="*/ 162113 h 277179"/>
              <a:gd name="connsiteX102" fmla="*/ 293088 w 317189"/>
              <a:gd name="connsiteY102" fmla="*/ 158700 h 277179"/>
              <a:gd name="connsiteX103" fmla="*/ 290196 w 317189"/>
              <a:gd name="connsiteY103" fmla="*/ 150891 h 277179"/>
              <a:gd name="connsiteX104" fmla="*/ 291180 w 317189"/>
              <a:gd name="connsiteY104" fmla="*/ 149850 h 277179"/>
              <a:gd name="connsiteX105" fmla="*/ 294708 w 317189"/>
              <a:gd name="connsiteY105" fmla="*/ 124282 h 277179"/>
              <a:gd name="connsiteX106" fmla="*/ 303153 w 317189"/>
              <a:gd name="connsiteY106" fmla="*/ 119655 h 277179"/>
              <a:gd name="connsiteX107" fmla="*/ 307029 w 317189"/>
              <a:gd name="connsiteY107" fmla="*/ 118961 h 277179"/>
              <a:gd name="connsiteX108" fmla="*/ 306219 w 317189"/>
              <a:gd name="connsiteY108" fmla="*/ 118035 h 277179"/>
              <a:gd name="connsiteX109" fmla="*/ 304542 w 317189"/>
              <a:gd name="connsiteY109" fmla="*/ 72107 h 277179"/>
              <a:gd name="connsiteX110" fmla="*/ 310327 w 317189"/>
              <a:gd name="connsiteY110" fmla="*/ 68058 h 277179"/>
              <a:gd name="connsiteX111" fmla="*/ 312004 w 317189"/>
              <a:gd name="connsiteY111" fmla="*/ 68058 h 277179"/>
              <a:gd name="connsiteX112" fmla="*/ 313161 w 317189"/>
              <a:gd name="connsiteY112" fmla="*/ 68058 h 277179"/>
              <a:gd name="connsiteX113" fmla="*/ 313161 w 317189"/>
              <a:gd name="connsiteY113" fmla="*/ 68058 h 277179"/>
              <a:gd name="connsiteX114" fmla="*/ 313970 w 317189"/>
              <a:gd name="connsiteY114" fmla="*/ 68058 h 277179"/>
              <a:gd name="connsiteX115" fmla="*/ 313970 w 317189"/>
              <a:gd name="connsiteY115" fmla="*/ 66959 h 277179"/>
              <a:gd name="connsiteX116" fmla="*/ 301650 w 317189"/>
              <a:gd name="connsiteY116" fmla="*/ 38037 h 277179"/>
              <a:gd name="connsiteX117" fmla="*/ 267348 w 317189"/>
              <a:gd name="connsiteY117" fmla="*/ 23171 h 277179"/>
              <a:gd name="connsiteX118" fmla="*/ 256242 w 317189"/>
              <a:gd name="connsiteY118" fmla="*/ 18485 h 277179"/>
              <a:gd name="connsiteX119" fmla="*/ 242417 w 317189"/>
              <a:gd name="connsiteY119" fmla="*/ 13337 h 277179"/>
              <a:gd name="connsiteX120" fmla="*/ 222750 w 317189"/>
              <a:gd name="connsiteY120" fmla="*/ 2520 h 277179"/>
              <a:gd name="connsiteX121" fmla="*/ 198051 w 317189"/>
              <a:gd name="connsiteY121" fmla="*/ 7090 h 277179"/>
              <a:gd name="connsiteX122" fmla="*/ 189952 w 317189"/>
              <a:gd name="connsiteY122" fmla="*/ 7090 h 277179"/>
              <a:gd name="connsiteX123" fmla="*/ 187060 w 317189"/>
              <a:gd name="connsiteY123" fmla="*/ 8016 h 277179"/>
              <a:gd name="connsiteX124" fmla="*/ 186192 w 317189"/>
              <a:gd name="connsiteY124" fmla="*/ 14436 h 277179"/>
              <a:gd name="connsiteX125" fmla="*/ 183416 w 317189"/>
              <a:gd name="connsiteY125" fmla="*/ 25022 h 277179"/>
              <a:gd name="connsiteX126" fmla="*/ 177631 w 317189"/>
              <a:gd name="connsiteY126" fmla="*/ 34913 h 277179"/>
              <a:gd name="connsiteX127" fmla="*/ 179540 w 317189"/>
              <a:gd name="connsiteY127" fmla="*/ 37632 h 277179"/>
              <a:gd name="connsiteX128" fmla="*/ 180292 w 317189"/>
              <a:gd name="connsiteY128" fmla="*/ 58861 h 277179"/>
              <a:gd name="connsiteX129" fmla="*/ 178962 w 317189"/>
              <a:gd name="connsiteY129" fmla="*/ 68983 h 277179"/>
              <a:gd name="connsiteX130" fmla="*/ 175260 w 317189"/>
              <a:gd name="connsiteY130" fmla="*/ 82056 h 277179"/>
              <a:gd name="connsiteX131" fmla="*/ 172425 w 317189"/>
              <a:gd name="connsiteY131" fmla="*/ 93625 h 277179"/>
              <a:gd name="connsiteX132" fmla="*/ 177631 w 317189"/>
              <a:gd name="connsiteY132" fmla="*/ 100913 h 277179"/>
              <a:gd name="connsiteX133" fmla="*/ 190300 w 317189"/>
              <a:gd name="connsiteY133" fmla="*/ 115259 h 277179"/>
              <a:gd name="connsiteX134" fmla="*/ 193076 w 317189"/>
              <a:gd name="connsiteY134" fmla="*/ 115664 h 277179"/>
              <a:gd name="connsiteX135" fmla="*/ 202793 w 317189"/>
              <a:gd name="connsiteY135" fmla="*/ 111730 h 277179"/>
              <a:gd name="connsiteX136" fmla="*/ 208115 w 317189"/>
              <a:gd name="connsiteY136" fmla="*/ 109185 h 277179"/>
              <a:gd name="connsiteX137" fmla="*/ 212916 w 317189"/>
              <a:gd name="connsiteY137" fmla="*/ 129720 h 277179"/>
              <a:gd name="connsiteX138" fmla="*/ 207595 w 317189"/>
              <a:gd name="connsiteY138" fmla="*/ 142735 h 277179"/>
              <a:gd name="connsiteX139" fmla="*/ 207595 w 317189"/>
              <a:gd name="connsiteY139" fmla="*/ 142735 h 277179"/>
              <a:gd name="connsiteX140" fmla="*/ 195563 w 317189"/>
              <a:gd name="connsiteY140" fmla="*/ 144933 h 277179"/>
              <a:gd name="connsiteX141" fmla="*/ 187118 w 317189"/>
              <a:gd name="connsiteY141" fmla="*/ 142561 h 277179"/>
              <a:gd name="connsiteX142" fmla="*/ 175549 w 317189"/>
              <a:gd name="connsiteY142" fmla="*/ 118672 h 277179"/>
              <a:gd name="connsiteX143" fmla="*/ 156113 w 317189"/>
              <a:gd name="connsiteY143" fmla="*/ 114912 h 277179"/>
              <a:gd name="connsiteX144" fmla="*/ 140553 w 317189"/>
              <a:gd name="connsiteY144" fmla="*/ 98484 h 277179"/>
              <a:gd name="connsiteX145" fmla="*/ 132976 w 317189"/>
              <a:gd name="connsiteY145" fmla="*/ 102880 h 277179"/>
              <a:gd name="connsiteX146" fmla="*/ 119787 w 317189"/>
              <a:gd name="connsiteY146" fmla="*/ 107624 h 277179"/>
              <a:gd name="connsiteX147" fmla="*/ 108912 w 317189"/>
              <a:gd name="connsiteY147" fmla="*/ 103748 h 277179"/>
              <a:gd name="connsiteX148" fmla="*/ 97343 w 317189"/>
              <a:gd name="connsiteY148" fmla="*/ 100277 h 277179"/>
              <a:gd name="connsiteX149" fmla="*/ 90691 w 317189"/>
              <a:gd name="connsiteY149" fmla="*/ 97848 h 277179"/>
              <a:gd name="connsiteX150" fmla="*/ 87279 w 317189"/>
              <a:gd name="connsiteY150" fmla="*/ 85642 h 277179"/>
              <a:gd name="connsiteX151" fmla="*/ 87279 w 317189"/>
              <a:gd name="connsiteY151" fmla="*/ 85122 h 277179"/>
              <a:gd name="connsiteX152" fmla="*/ 85081 w 317189"/>
              <a:gd name="connsiteY152" fmla="*/ 84659 h 277179"/>
              <a:gd name="connsiteX153" fmla="*/ 71892 w 317189"/>
              <a:gd name="connsiteY153" fmla="*/ 88130 h 277179"/>
              <a:gd name="connsiteX154" fmla="*/ 69694 w 317189"/>
              <a:gd name="connsiteY154" fmla="*/ 88708 h 277179"/>
              <a:gd name="connsiteX155" fmla="*/ 63100 w 317189"/>
              <a:gd name="connsiteY155" fmla="*/ 81362 h 277179"/>
              <a:gd name="connsiteX156" fmla="*/ 63100 w 317189"/>
              <a:gd name="connsiteY156" fmla="*/ 81362 h 277179"/>
              <a:gd name="connsiteX157" fmla="*/ 57952 w 317189"/>
              <a:gd name="connsiteY157" fmla="*/ 75925 h 277179"/>
              <a:gd name="connsiteX158" fmla="*/ 52167 w 317189"/>
              <a:gd name="connsiteY158" fmla="*/ 128447 h 277179"/>
              <a:gd name="connsiteX159" fmla="*/ 51878 w 317189"/>
              <a:gd name="connsiteY159" fmla="*/ 129141 h 277179"/>
              <a:gd name="connsiteX160" fmla="*/ 44879 w 317189"/>
              <a:gd name="connsiteY160" fmla="*/ 136141 h 277179"/>
              <a:gd name="connsiteX161" fmla="*/ 44069 w 317189"/>
              <a:gd name="connsiteY161" fmla="*/ 136488 h 277179"/>
              <a:gd name="connsiteX162" fmla="*/ 44069 w 317189"/>
              <a:gd name="connsiteY162" fmla="*/ 136488 h 277179"/>
              <a:gd name="connsiteX163" fmla="*/ 4677 w 317189"/>
              <a:gd name="connsiteY163" fmla="*/ 135100 h 277179"/>
              <a:gd name="connsiteX164" fmla="*/ 1900 w 317189"/>
              <a:gd name="connsiteY164" fmla="*/ 224469 h 277179"/>
              <a:gd name="connsiteX165" fmla="*/ 32442 w 317189"/>
              <a:gd name="connsiteY165" fmla="*/ 266175 h 277179"/>
              <a:gd name="connsiteX166" fmla="*/ 72239 w 317189"/>
              <a:gd name="connsiteY166" fmla="*/ 261316 h 277179"/>
              <a:gd name="connsiteX167" fmla="*/ 82940 w 317189"/>
              <a:gd name="connsiteY167" fmla="*/ 265133 h 277179"/>
              <a:gd name="connsiteX168" fmla="*/ 84618 w 317189"/>
              <a:gd name="connsiteY168" fmla="*/ 270108 h 277179"/>
              <a:gd name="connsiteX169" fmla="*/ 96765 w 317189"/>
              <a:gd name="connsiteY169" fmla="*/ 268315 h 27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317189" h="277179">
                <a:moveTo>
                  <a:pt x="128406" y="277049"/>
                </a:moveTo>
                <a:cubicBezTo>
                  <a:pt x="121117" y="276436"/>
                  <a:pt x="113945" y="275019"/>
                  <a:pt x="107004" y="272827"/>
                </a:cubicBezTo>
                <a:cubicBezTo>
                  <a:pt x="103996" y="271930"/>
                  <a:pt x="100930" y="271195"/>
                  <a:pt x="97864" y="270629"/>
                </a:cubicBezTo>
                <a:cubicBezTo>
                  <a:pt x="93295" y="270710"/>
                  <a:pt x="88725" y="271427"/>
                  <a:pt x="84329" y="272769"/>
                </a:cubicBezTo>
                <a:cubicBezTo>
                  <a:pt x="83866" y="272855"/>
                  <a:pt x="83345" y="272624"/>
                  <a:pt x="83114" y="272190"/>
                </a:cubicBezTo>
                <a:cubicBezTo>
                  <a:pt x="81783" y="270149"/>
                  <a:pt x="80973" y="267800"/>
                  <a:pt x="80742" y="265365"/>
                </a:cubicBezTo>
                <a:cubicBezTo>
                  <a:pt x="80742" y="265365"/>
                  <a:pt x="80395" y="263803"/>
                  <a:pt x="72297" y="263803"/>
                </a:cubicBezTo>
                <a:cubicBezTo>
                  <a:pt x="58819" y="264364"/>
                  <a:pt x="45399" y="266007"/>
                  <a:pt x="32211" y="268720"/>
                </a:cubicBezTo>
                <a:cubicBezTo>
                  <a:pt x="31806" y="268818"/>
                  <a:pt x="31343" y="268662"/>
                  <a:pt x="31054" y="268315"/>
                </a:cubicBezTo>
                <a:lnTo>
                  <a:pt x="-66" y="225742"/>
                </a:lnTo>
                <a:cubicBezTo>
                  <a:pt x="-124" y="225516"/>
                  <a:pt x="-124" y="225273"/>
                  <a:pt x="-66" y="225047"/>
                </a:cubicBezTo>
                <a:lnTo>
                  <a:pt x="2768" y="134174"/>
                </a:lnTo>
                <a:cubicBezTo>
                  <a:pt x="2768" y="133867"/>
                  <a:pt x="2884" y="133578"/>
                  <a:pt x="3115" y="133364"/>
                </a:cubicBezTo>
                <a:cubicBezTo>
                  <a:pt x="3289" y="133150"/>
                  <a:pt x="3578" y="133040"/>
                  <a:pt x="3867" y="133075"/>
                </a:cubicBezTo>
                <a:lnTo>
                  <a:pt x="3867" y="133075"/>
                </a:lnTo>
                <a:lnTo>
                  <a:pt x="43895" y="134463"/>
                </a:lnTo>
                <a:lnTo>
                  <a:pt x="50258" y="128042"/>
                </a:lnTo>
                <a:lnTo>
                  <a:pt x="56043" y="74189"/>
                </a:lnTo>
                <a:cubicBezTo>
                  <a:pt x="56100" y="73837"/>
                  <a:pt x="56332" y="73536"/>
                  <a:pt x="56621" y="73379"/>
                </a:cubicBezTo>
                <a:cubicBezTo>
                  <a:pt x="56968" y="73183"/>
                  <a:pt x="57315" y="73183"/>
                  <a:pt x="57662" y="73379"/>
                </a:cubicBezTo>
                <a:cubicBezTo>
                  <a:pt x="60844" y="75109"/>
                  <a:pt x="63447" y="77666"/>
                  <a:pt x="65298" y="80784"/>
                </a:cubicBezTo>
                <a:cubicBezTo>
                  <a:pt x="65818" y="82519"/>
                  <a:pt x="67554" y="86568"/>
                  <a:pt x="69867" y="86568"/>
                </a:cubicBezTo>
                <a:cubicBezTo>
                  <a:pt x="70272" y="86562"/>
                  <a:pt x="70735" y="86441"/>
                  <a:pt x="71082" y="86221"/>
                </a:cubicBezTo>
                <a:cubicBezTo>
                  <a:pt x="75536" y="84138"/>
                  <a:pt x="80337" y="82883"/>
                  <a:pt x="85254" y="82519"/>
                </a:cubicBezTo>
                <a:cubicBezTo>
                  <a:pt x="86700" y="82317"/>
                  <a:pt x="88146" y="82808"/>
                  <a:pt x="89187" y="83849"/>
                </a:cubicBezTo>
                <a:cubicBezTo>
                  <a:pt x="89708" y="84543"/>
                  <a:pt x="89881" y="85440"/>
                  <a:pt x="89650" y="86279"/>
                </a:cubicBezTo>
                <a:cubicBezTo>
                  <a:pt x="89303" y="89958"/>
                  <a:pt x="90345" y="93637"/>
                  <a:pt x="92601" y="96575"/>
                </a:cubicBezTo>
                <a:cubicBezTo>
                  <a:pt x="93989" y="98310"/>
                  <a:pt x="95261" y="99004"/>
                  <a:pt x="96534" y="98368"/>
                </a:cubicBezTo>
                <a:cubicBezTo>
                  <a:pt x="97286" y="98010"/>
                  <a:pt x="98095" y="97836"/>
                  <a:pt x="98905" y="97848"/>
                </a:cubicBezTo>
                <a:cubicBezTo>
                  <a:pt x="103012" y="98392"/>
                  <a:pt x="106946" y="99751"/>
                  <a:pt x="110474" y="101839"/>
                </a:cubicBezTo>
                <a:cubicBezTo>
                  <a:pt x="113540" y="103650"/>
                  <a:pt x="116895" y="104887"/>
                  <a:pt x="120365" y="105483"/>
                </a:cubicBezTo>
                <a:cubicBezTo>
                  <a:pt x="125514" y="105483"/>
                  <a:pt x="131298" y="105483"/>
                  <a:pt x="131298" y="102996"/>
                </a:cubicBezTo>
                <a:cubicBezTo>
                  <a:pt x="131992" y="98889"/>
                  <a:pt x="135348" y="95731"/>
                  <a:pt x="139454" y="95187"/>
                </a:cubicBezTo>
                <a:cubicBezTo>
                  <a:pt x="141074" y="95175"/>
                  <a:pt x="142520" y="96136"/>
                  <a:pt x="143156" y="97616"/>
                </a:cubicBezTo>
                <a:cubicBezTo>
                  <a:pt x="147841" y="107103"/>
                  <a:pt x="152874" y="112771"/>
                  <a:pt x="156692" y="112771"/>
                </a:cubicBezTo>
                <a:cubicBezTo>
                  <a:pt x="167971" y="112771"/>
                  <a:pt x="178383" y="113523"/>
                  <a:pt x="178383" y="118556"/>
                </a:cubicBezTo>
                <a:cubicBezTo>
                  <a:pt x="179425" y="126851"/>
                  <a:pt x="183069" y="134596"/>
                  <a:pt x="188854" y="140652"/>
                </a:cubicBezTo>
                <a:cubicBezTo>
                  <a:pt x="190936" y="142035"/>
                  <a:pt x="193423" y="142706"/>
                  <a:pt x="195910" y="142561"/>
                </a:cubicBezTo>
                <a:cubicBezTo>
                  <a:pt x="199670" y="142434"/>
                  <a:pt x="203430" y="141751"/>
                  <a:pt x="207016" y="140537"/>
                </a:cubicBezTo>
                <a:cubicBezTo>
                  <a:pt x="209966" y="137621"/>
                  <a:pt x="211528" y="133578"/>
                  <a:pt x="211296" y="129431"/>
                </a:cubicBezTo>
                <a:cubicBezTo>
                  <a:pt x="211296" y="123646"/>
                  <a:pt x="211296" y="111152"/>
                  <a:pt x="208752" y="111152"/>
                </a:cubicBezTo>
                <a:cubicBezTo>
                  <a:pt x="207248" y="111568"/>
                  <a:pt x="205859" y="112297"/>
                  <a:pt x="204645" y="113292"/>
                </a:cubicBezTo>
                <a:cubicBezTo>
                  <a:pt x="201521" y="115826"/>
                  <a:pt x="197703" y="117335"/>
                  <a:pt x="193712" y="117631"/>
                </a:cubicBezTo>
                <a:cubicBezTo>
                  <a:pt x="192555" y="117648"/>
                  <a:pt x="191398" y="117492"/>
                  <a:pt x="190300" y="117168"/>
                </a:cubicBezTo>
                <a:cubicBezTo>
                  <a:pt x="184515" y="115490"/>
                  <a:pt x="179945" y="107855"/>
                  <a:pt x="176359" y="101723"/>
                </a:cubicBezTo>
                <a:cubicBezTo>
                  <a:pt x="175144" y="99346"/>
                  <a:pt x="173583" y="97148"/>
                  <a:pt x="171789" y="95187"/>
                </a:cubicBezTo>
                <a:cubicBezTo>
                  <a:pt x="169013" y="93394"/>
                  <a:pt x="171095" y="87956"/>
                  <a:pt x="173756" y="81073"/>
                </a:cubicBezTo>
                <a:cubicBezTo>
                  <a:pt x="175549" y="77209"/>
                  <a:pt x="176764" y="73096"/>
                  <a:pt x="177342" y="68868"/>
                </a:cubicBezTo>
                <a:cubicBezTo>
                  <a:pt x="177573" y="65351"/>
                  <a:pt x="178036" y="61851"/>
                  <a:pt x="178731" y="58398"/>
                </a:cubicBezTo>
                <a:cubicBezTo>
                  <a:pt x="179887" y="51399"/>
                  <a:pt x="181738" y="41045"/>
                  <a:pt x="179193" y="39541"/>
                </a:cubicBezTo>
                <a:cubicBezTo>
                  <a:pt x="177400" y="38719"/>
                  <a:pt x="176185" y="36990"/>
                  <a:pt x="176069" y="35029"/>
                </a:cubicBezTo>
                <a:cubicBezTo>
                  <a:pt x="176243" y="30239"/>
                  <a:pt x="178731" y="25820"/>
                  <a:pt x="182664" y="23113"/>
                </a:cubicBezTo>
                <a:cubicBezTo>
                  <a:pt x="184920" y="21320"/>
                  <a:pt x="184746" y="17849"/>
                  <a:pt x="184572" y="14436"/>
                </a:cubicBezTo>
                <a:cubicBezTo>
                  <a:pt x="183936" y="11654"/>
                  <a:pt x="184457" y="8739"/>
                  <a:pt x="186019" y="6338"/>
                </a:cubicBezTo>
                <a:cubicBezTo>
                  <a:pt x="187234" y="5152"/>
                  <a:pt x="188911" y="4562"/>
                  <a:pt x="190588" y="4718"/>
                </a:cubicBezTo>
                <a:lnTo>
                  <a:pt x="198860" y="4718"/>
                </a:lnTo>
                <a:cubicBezTo>
                  <a:pt x="207306" y="4718"/>
                  <a:pt x="218990" y="4255"/>
                  <a:pt x="222634" y="149"/>
                </a:cubicBezTo>
                <a:cubicBezTo>
                  <a:pt x="223039" y="-222"/>
                  <a:pt x="223733" y="-222"/>
                  <a:pt x="224138" y="149"/>
                </a:cubicBezTo>
                <a:cubicBezTo>
                  <a:pt x="237153" y="9751"/>
                  <a:pt x="241492" y="11139"/>
                  <a:pt x="243227" y="11139"/>
                </a:cubicBezTo>
                <a:cubicBezTo>
                  <a:pt x="248491" y="11885"/>
                  <a:pt x="253523" y="13719"/>
                  <a:pt x="258035" y="16519"/>
                </a:cubicBezTo>
                <a:cubicBezTo>
                  <a:pt x="261390" y="18422"/>
                  <a:pt x="264918" y="19937"/>
                  <a:pt x="268620" y="21030"/>
                </a:cubicBezTo>
                <a:cubicBezTo>
                  <a:pt x="275620" y="22361"/>
                  <a:pt x="300955" y="32599"/>
                  <a:pt x="304253" y="36764"/>
                </a:cubicBezTo>
                <a:cubicBezTo>
                  <a:pt x="310327" y="45921"/>
                  <a:pt x="314665" y="56113"/>
                  <a:pt x="317036" y="66843"/>
                </a:cubicBezTo>
                <a:cubicBezTo>
                  <a:pt x="317325" y="68515"/>
                  <a:pt x="316168" y="70082"/>
                  <a:pt x="314491" y="70349"/>
                </a:cubicBezTo>
                <a:cubicBezTo>
                  <a:pt x="314260" y="70383"/>
                  <a:pt x="313970" y="70395"/>
                  <a:pt x="313739" y="70372"/>
                </a:cubicBezTo>
                <a:lnTo>
                  <a:pt x="313739" y="70372"/>
                </a:lnTo>
                <a:lnTo>
                  <a:pt x="312351" y="70372"/>
                </a:lnTo>
                <a:lnTo>
                  <a:pt x="310905" y="70372"/>
                </a:lnTo>
                <a:cubicBezTo>
                  <a:pt x="309169" y="70210"/>
                  <a:pt x="307607" y="71343"/>
                  <a:pt x="307203" y="73032"/>
                </a:cubicBezTo>
                <a:cubicBezTo>
                  <a:pt x="304426" y="79916"/>
                  <a:pt x="303327" y="111557"/>
                  <a:pt x="308301" y="116531"/>
                </a:cubicBezTo>
                <a:cubicBezTo>
                  <a:pt x="309111" y="117341"/>
                  <a:pt x="310153" y="118556"/>
                  <a:pt x="309690" y="119829"/>
                </a:cubicBezTo>
                <a:cubicBezTo>
                  <a:pt x="309227" y="121101"/>
                  <a:pt x="306797" y="121680"/>
                  <a:pt x="303905" y="121969"/>
                </a:cubicBezTo>
                <a:cubicBezTo>
                  <a:pt x="301013" y="122258"/>
                  <a:pt x="297485" y="122779"/>
                  <a:pt x="297485" y="124340"/>
                </a:cubicBezTo>
                <a:cubicBezTo>
                  <a:pt x="297485" y="124340"/>
                  <a:pt x="296848" y="148982"/>
                  <a:pt x="292857" y="151816"/>
                </a:cubicBezTo>
                <a:cubicBezTo>
                  <a:pt x="293552" y="153829"/>
                  <a:pt x="294477" y="155767"/>
                  <a:pt x="295576" y="157601"/>
                </a:cubicBezTo>
                <a:lnTo>
                  <a:pt x="298006" y="162286"/>
                </a:lnTo>
                <a:cubicBezTo>
                  <a:pt x="298121" y="162604"/>
                  <a:pt x="298121" y="162951"/>
                  <a:pt x="298006" y="163270"/>
                </a:cubicBezTo>
                <a:cubicBezTo>
                  <a:pt x="297832" y="163617"/>
                  <a:pt x="297542" y="163860"/>
                  <a:pt x="297138" y="163906"/>
                </a:cubicBezTo>
                <a:cubicBezTo>
                  <a:pt x="293956" y="164426"/>
                  <a:pt x="243227" y="183168"/>
                  <a:pt x="222692" y="190861"/>
                </a:cubicBezTo>
                <a:lnTo>
                  <a:pt x="228071" y="210066"/>
                </a:lnTo>
                <a:cubicBezTo>
                  <a:pt x="228187" y="210384"/>
                  <a:pt x="228187" y="210731"/>
                  <a:pt x="228071" y="211049"/>
                </a:cubicBezTo>
                <a:cubicBezTo>
                  <a:pt x="227841" y="211332"/>
                  <a:pt x="227493" y="211500"/>
                  <a:pt x="227146" y="211512"/>
                </a:cubicBezTo>
                <a:lnTo>
                  <a:pt x="224659" y="211512"/>
                </a:lnTo>
                <a:lnTo>
                  <a:pt x="201174" y="212322"/>
                </a:lnTo>
                <a:cubicBezTo>
                  <a:pt x="186944" y="216082"/>
                  <a:pt x="186944" y="220362"/>
                  <a:pt x="186944" y="224932"/>
                </a:cubicBezTo>
                <a:cubicBezTo>
                  <a:pt x="186944" y="230716"/>
                  <a:pt x="171327" y="242285"/>
                  <a:pt x="161088" y="245408"/>
                </a:cubicBezTo>
                <a:cubicBezTo>
                  <a:pt x="155304" y="247144"/>
                  <a:pt x="149114" y="255994"/>
                  <a:pt x="143735" y="263745"/>
                </a:cubicBezTo>
                <a:cubicBezTo>
                  <a:pt x="141016" y="268454"/>
                  <a:pt x="137488" y="272595"/>
                  <a:pt x="133207" y="275950"/>
                </a:cubicBezTo>
                <a:cubicBezTo>
                  <a:pt x="131703" y="276696"/>
                  <a:pt x="130084" y="277072"/>
                  <a:pt x="128406" y="277049"/>
                </a:cubicBezTo>
                <a:close/>
                <a:moveTo>
                  <a:pt x="96765" y="268315"/>
                </a:moveTo>
                <a:lnTo>
                  <a:pt x="98153" y="268315"/>
                </a:lnTo>
                <a:cubicBezTo>
                  <a:pt x="101335" y="268887"/>
                  <a:pt x="104458" y="269639"/>
                  <a:pt x="107582" y="270571"/>
                </a:cubicBezTo>
                <a:cubicBezTo>
                  <a:pt x="114350" y="272723"/>
                  <a:pt x="121349" y="274123"/>
                  <a:pt x="128406" y="274735"/>
                </a:cubicBezTo>
                <a:cubicBezTo>
                  <a:pt x="129736" y="274817"/>
                  <a:pt x="131009" y="274579"/>
                  <a:pt x="132224" y="274041"/>
                </a:cubicBezTo>
                <a:cubicBezTo>
                  <a:pt x="136157" y="270785"/>
                  <a:pt x="139454" y="266869"/>
                  <a:pt x="141999" y="262472"/>
                </a:cubicBezTo>
                <a:cubicBezTo>
                  <a:pt x="147784" y="254432"/>
                  <a:pt x="154204" y="245119"/>
                  <a:pt x="160683" y="243268"/>
                </a:cubicBezTo>
                <a:cubicBezTo>
                  <a:pt x="171153" y="240029"/>
                  <a:pt x="184978" y="228981"/>
                  <a:pt x="184978" y="224990"/>
                </a:cubicBezTo>
                <a:cubicBezTo>
                  <a:pt x="184978" y="220015"/>
                  <a:pt x="184978" y="214404"/>
                  <a:pt x="201116" y="210181"/>
                </a:cubicBezTo>
                <a:lnTo>
                  <a:pt x="224948" y="209314"/>
                </a:lnTo>
                <a:lnTo>
                  <a:pt x="219684" y="190514"/>
                </a:lnTo>
                <a:cubicBezTo>
                  <a:pt x="219568" y="189930"/>
                  <a:pt x="219858" y="189340"/>
                  <a:pt x="220436" y="189126"/>
                </a:cubicBezTo>
                <a:cubicBezTo>
                  <a:pt x="223155" y="188143"/>
                  <a:pt x="284065" y="165410"/>
                  <a:pt x="294824" y="162113"/>
                </a:cubicBezTo>
                <a:cubicBezTo>
                  <a:pt x="294246" y="160898"/>
                  <a:pt x="293609" y="159799"/>
                  <a:pt x="293088" y="158700"/>
                </a:cubicBezTo>
                <a:cubicBezTo>
                  <a:pt x="290775" y="154304"/>
                  <a:pt x="289734" y="152337"/>
                  <a:pt x="290196" y="150891"/>
                </a:cubicBezTo>
                <a:cubicBezTo>
                  <a:pt x="290370" y="150416"/>
                  <a:pt x="290717" y="150040"/>
                  <a:pt x="291180" y="149850"/>
                </a:cubicBezTo>
                <a:cubicBezTo>
                  <a:pt x="292973" y="148519"/>
                  <a:pt x="294708" y="131687"/>
                  <a:pt x="294708" y="124282"/>
                </a:cubicBezTo>
                <a:cubicBezTo>
                  <a:pt x="294708" y="120523"/>
                  <a:pt x="299394" y="120060"/>
                  <a:pt x="303153" y="119655"/>
                </a:cubicBezTo>
                <a:cubicBezTo>
                  <a:pt x="304484" y="119609"/>
                  <a:pt x="305757" y="119377"/>
                  <a:pt x="307029" y="118961"/>
                </a:cubicBezTo>
                <a:cubicBezTo>
                  <a:pt x="306740" y="118666"/>
                  <a:pt x="306451" y="118359"/>
                  <a:pt x="306219" y="118035"/>
                </a:cubicBezTo>
                <a:cubicBezTo>
                  <a:pt x="300088" y="111962"/>
                  <a:pt x="301765" y="79280"/>
                  <a:pt x="304542" y="72107"/>
                </a:cubicBezTo>
                <a:cubicBezTo>
                  <a:pt x="305351" y="69602"/>
                  <a:pt x="307723" y="67936"/>
                  <a:pt x="310327" y="68058"/>
                </a:cubicBezTo>
                <a:lnTo>
                  <a:pt x="312004" y="68058"/>
                </a:lnTo>
                <a:lnTo>
                  <a:pt x="313161" y="68058"/>
                </a:lnTo>
                <a:lnTo>
                  <a:pt x="313161" y="68058"/>
                </a:lnTo>
                <a:cubicBezTo>
                  <a:pt x="313450" y="68145"/>
                  <a:pt x="313681" y="68145"/>
                  <a:pt x="313970" y="68058"/>
                </a:cubicBezTo>
                <a:cubicBezTo>
                  <a:pt x="313970" y="68058"/>
                  <a:pt x="313970" y="67769"/>
                  <a:pt x="313970" y="66959"/>
                </a:cubicBezTo>
                <a:cubicBezTo>
                  <a:pt x="311599" y="56668"/>
                  <a:pt x="307434" y="46881"/>
                  <a:pt x="301650" y="38037"/>
                </a:cubicBezTo>
                <a:cubicBezTo>
                  <a:pt x="298873" y="34508"/>
                  <a:pt x="274405" y="24501"/>
                  <a:pt x="267348" y="23171"/>
                </a:cubicBezTo>
                <a:cubicBezTo>
                  <a:pt x="263472" y="22078"/>
                  <a:pt x="259713" y="20504"/>
                  <a:pt x="256242" y="18485"/>
                </a:cubicBezTo>
                <a:cubicBezTo>
                  <a:pt x="252019" y="15865"/>
                  <a:pt x="247334" y="14118"/>
                  <a:pt x="242417" y="13337"/>
                </a:cubicBezTo>
                <a:cubicBezTo>
                  <a:pt x="239236" y="13337"/>
                  <a:pt x="232757" y="9809"/>
                  <a:pt x="222750" y="2520"/>
                </a:cubicBezTo>
                <a:cubicBezTo>
                  <a:pt x="218122" y="6511"/>
                  <a:pt x="207710" y="7090"/>
                  <a:pt x="198051" y="7090"/>
                </a:cubicBezTo>
                <a:lnTo>
                  <a:pt x="189952" y="7090"/>
                </a:lnTo>
                <a:cubicBezTo>
                  <a:pt x="188911" y="6969"/>
                  <a:pt x="187870" y="7310"/>
                  <a:pt x="187060" y="8016"/>
                </a:cubicBezTo>
                <a:cubicBezTo>
                  <a:pt x="185903" y="9172"/>
                  <a:pt x="186019" y="11718"/>
                  <a:pt x="186192" y="14436"/>
                </a:cubicBezTo>
                <a:cubicBezTo>
                  <a:pt x="187060" y="18208"/>
                  <a:pt x="186019" y="22153"/>
                  <a:pt x="183416" y="25022"/>
                </a:cubicBezTo>
                <a:cubicBezTo>
                  <a:pt x="180061" y="27272"/>
                  <a:pt x="177979" y="30910"/>
                  <a:pt x="177631" y="34913"/>
                </a:cubicBezTo>
                <a:cubicBezTo>
                  <a:pt x="177747" y="36087"/>
                  <a:pt x="178499" y="37111"/>
                  <a:pt x="179540" y="37632"/>
                </a:cubicBezTo>
                <a:cubicBezTo>
                  <a:pt x="183590" y="39657"/>
                  <a:pt x="181912" y="49201"/>
                  <a:pt x="180292" y="58861"/>
                </a:cubicBezTo>
                <a:cubicBezTo>
                  <a:pt x="179598" y="62198"/>
                  <a:pt x="179193" y="65582"/>
                  <a:pt x="178962" y="68983"/>
                </a:cubicBezTo>
                <a:cubicBezTo>
                  <a:pt x="178383" y="73501"/>
                  <a:pt x="177169" y="77909"/>
                  <a:pt x="175260" y="82056"/>
                </a:cubicBezTo>
                <a:cubicBezTo>
                  <a:pt x="173698" y="85989"/>
                  <a:pt x="171153" y="92584"/>
                  <a:pt x="172425" y="93625"/>
                </a:cubicBezTo>
                <a:cubicBezTo>
                  <a:pt x="174565" y="95725"/>
                  <a:pt x="176359" y="98195"/>
                  <a:pt x="177631" y="100913"/>
                </a:cubicBezTo>
                <a:cubicBezTo>
                  <a:pt x="180871" y="106351"/>
                  <a:pt x="185267" y="113870"/>
                  <a:pt x="190300" y="115259"/>
                </a:cubicBezTo>
                <a:cubicBezTo>
                  <a:pt x="191225" y="115537"/>
                  <a:pt x="192150" y="115670"/>
                  <a:pt x="193076" y="115664"/>
                </a:cubicBezTo>
                <a:cubicBezTo>
                  <a:pt x="196604" y="115317"/>
                  <a:pt x="200017" y="113952"/>
                  <a:pt x="202793" y="111730"/>
                </a:cubicBezTo>
                <a:cubicBezTo>
                  <a:pt x="204298" y="110394"/>
                  <a:pt x="206149" y="109509"/>
                  <a:pt x="208115" y="109185"/>
                </a:cubicBezTo>
                <a:cubicBezTo>
                  <a:pt x="212570" y="109185"/>
                  <a:pt x="212916" y="117688"/>
                  <a:pt x="212916" y="129720"/>
                </a:cubicBezTo>
                <a:cubicBezTo>
                  <a:pt x="213206" y="134642"/>
                  <a:pt x="211239" y="139426"/>
                  <a:pt x="207595" y="142735"/>
                </a:cubicBezTo>
                <a:lnTo>
                  <a:pt x="207595" y="142735"/>
                </a:lnTo>
                <a:cubicBezTo>
                  <a:pt x="203719" y="144054"/>
                  <a:pt x="199670" y="144794"/>
                  <a:pt x="195563" y="144933"/>
                </a:cubicBezTo>
                <a:cubicBezTo>
                  <a:pt x="192555" y="145095"/>
                  <a:pt x="189605" y="144262"/>
                  <a:pt x="187118" y="142561"/>
                </a:cubicBezTo>
                <a:cubicBezTo>
                  <a:pt x="180755" y="136071"/>
                  <a:pt x="176706" y="127684"/>
                  <a:pt x="175549" y="118672"/>
                </a:cubicBezTo>
                <a:cubicBezTo>
                  <a:pt x="175549" y="116994"/>
                  <a:pt x="172194" y="114912"/>
                  <a:pt x="156113" y="114912"/>
                </a:cubicBezTo>
                <a:cubicBezTo>
                  <a:pt x="149635" y="114912"/>
                  <a:pt x="143619" y="104616"/>
                  <a:pt x="140553" y="98484"/>
                </a:cubicBezTo>
                <a:cubicBezTo>
                  <a:pt x="138876" y="95187"/>
                  <a:pt x="132976" y="100219"/>
                  <a:pt x="132976" y="102880"/>
                </a:cubicBezTo>
                <a:cubicBezTo>
                  <a:pt x="132976" y="107624"/>
                  <a:pt x="126266" y="107624"/>
                  <a:pt x="119787" y="107624"/>
                </a:cubicBezTo>
                <a:cubicBezTo>
                  <a:pt x="115969" y="107051"/>
                  <a:pt x="112267" y="105738"/>
                  <a:pt x="108912" y="103748"/>
                </a:cubicBezTo>
                <a:cubicBezTo>
                  <a:pt x="104285" y="101492"/>
                  <a:pt x="99310" y="99236"/>
                  <a:pt x="97343" y="100277"/>
                </a:cubicBezTo>
                <a:cubicBezTo>
                  <a:pt x="95377" y="101318"/>
                  <a:pt x="92716" y="100277"/>
                  <a:pt x="90691" y="97848"/>
                </a:cubicBezTo>
                <a:cubicBezTo>
                  <a:pt x="87973" y="94383"/>
                  <a:pt x="86758" y="90004"/>
                  <a:pt x="87279" y="85642"/>
                </a:cubicBezTo>
                <a:cubicBezTo>
                  <a:pt x="87337" y="85475"/>
                  <a:pt x="87337" y="85290"/>
                  <a:pt x="87279" y="85122"/>
                </a:cubicBezTo>
                <a:cubicBezTo>
                  <a:pt x="87279" y="85122"/>
                  <a:pt x="86411" y="84659"/>
                  <a:pt x="85081" y="84659"/>
                </a:cubicBezTo>
                <a:cubicBezTo>
                  <a:pt x="80511" y="85018"/>
                  <a:pt x="76057" y="86192"/>
                  <a:pt x="71892" y="88130"/>
                </a:cubicBezTo>
                <a:cubicBezTo>
                  <a:pt x="71198" y="88517"/>
                  <a:pt x="70446" y="88714"/>
                  <a:pt x="69694" y="88708"/>
                </a:cubicBezTo>
                <a:cubicBezTo>
                  <a:pt x="65298" y="88708"/>
                  <a:pt x="63273" y="82172"/>
                  <a:pt x="63100" y="81362"/>
                </a:cubicBezTo>
                <a:lnTo>
                  <a:pt x="63100" y="81362"/>
                </a:lnTo>
                <a:cubicBezTo>
                  <a:pt x="61712" y="79280"/>
                  <a:pt x="59976" y="77446"/>
                  <a:pt x="57952" y="75925"/>
                </a:cubicBezTo>
                <a:lnTo>
                  <a:pt x="52167" y="128447"/>
                </a:lnTo>
                <a:cubicBezTo>
                  <a:pt x="52167" y="128708"/>
                  <a:pt x="52051" y="128956"/>
                  <a:pt x="51878" y="129141"/>
                </a:cubicBezTo>
                <a:lnTo>
                  <a:pt x="44879" y="136141"/>
                </a:lnTo>
                <a:cubicBezTo>
                  <a:pt x="44647" y="136360"/>
                  <a:pt x="44358" y="136482"/>
                  <a:pt x="44069" y="136488"/>
                </a:cubicBezTo>
                <a:lnTo>
                  <a:pt x="44069" y="136488"/>
                </a:lnTo>
                <a:lnTo>
                  <a:pt x="4677" y="135100"/>
                </a:lnTo>
                <a:lnTo>
                  <a:pt x="1900" y="224469"/>
                </a:lnTo>
                <a:lnTo>
                  <a:pt x="32442" y="266175"/>
                </a:lnTo>
                <a:cubicBezTo>
                  <a:pt x="45573" y="263473"/>
                  <a:pt x="58877" y="261848"/>
                  <a:pt x="72239" y="261316"/>
                </a:cubicBezTo>
                <a:cubicBezTo>
                  <a:pt x="77214" y="261316"/>
                  <a:pt x="82940" y="261778"/>
                  <a:pt x="82940" y="265133"/>
                </a:cubicBezTo>
                <a:cubicBezTo>
                  <a:pt x="83114" y="266898"/>
                  <a:pt x="83692" y="268598"/>
                  <a:pt x="84618" y="270108"/>
                </a:cubicBezTo>
                <a:cubicBezTo>
                  <a:pt x="88609" y="269113"/>
                  <a:pt x="92658" y="268511"/>
                  <a:pt x="96765" y="26831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4" name="Forma libre: forma 283">
            <a:extLst>
              <a:ext uri="{FF2B5EF4-FFF2-40B4-BE49-F238E27FC236}">
                <a16:creationId xmlns:a16="http://schemas.microsoft.com/office/drawing/2014/main" id="{30210209-8F83-E6ED-B537-2E719A03B7D4}"/>
              </a:ext>
            </a:extLst>
          </p:cNvPr>
          <p:cNvSpPr/>
          <p:nvPr/>
        </p:nvSpPr>
        <p:spPr>
          <a:xfrm>
            <a:off x="6957357" y="4509806"/>
            <a:ext cx="54325" cy="46659"/>
          </a:xfrm>
          <a:custGeom>
            <a:avLst/>
            <a:gdLst>
              <a:gd name="connsiteX0" fmla="*/ 20122 w 54325"/>
              <a:gd name="connsiteY0" fmla="*/ 46479 h 46659"/>
              <a:gd name="connsiteX1" fmla="*/ 15378 w 54325"/>
              <a:gd name="connsiteY1" fmla="*/ 46016 h 46659"/>
              <a:gd name="connsiteX2" fmla="*/ 6471 w 54325"/>
              <a:gd name="connsiteY2" fmla="*/ 45264 h 46659"/>
              <a:gd name="connsiteX3" fmla="*/ 6066 w 54325"/>
              <a:gd name="connsiteY3" fmla="*/ 45264 h 46659"/>
              <a:gd name="connsiteX4" fmla="*/ -66 w 54325"/>
              <a:gd name="connsiteY4" fmla="*/ 36299 h 46659"/>
              <a:gd name="connsiteX5" fmla="*/ 5719 w 54325"/>
              <a:gd name="connsiteY5" fmla="*/ 27506 h 46659"/>
              <a:gd name="connsiteX6" fmla="*/ 11966 w 54325"/>
              <a:gd name="connsiteY6" fmla="*/ 9806 h 46659"/>
              <a:gd name="connsiteX7" fmla="*/ 14800 w 54325"/>
              <a:gd name="connsiteY7" fmla="*/ 7550 h 46659"/>
              <a:gd name="connsiteX8" fmla="*/ 15784 w 54325"/>
              <a:gd name="connsiteY8" fmla="*/ 7145 h 46659"/>
              <a:gd name="connsiteX9" fmla="*/ 19948 w 54325"/>
              <a:gd name="connsiteY9" fmla="*/ 7145 h 46659"/>
              <a:gd name="connsiteX10" fmla="*/ 28278 w 54325"/>
              <a:gd name="connsiteY10" fmla="*/ 4947 h 46659"/>
              <a:gd name="connsiteX11" fmla="*/ 28799 w 54325"/>
              <a:gd name="connsiteY11" fmla="*/ 4947 h 46659"/>
              <a:gd name="connsiteX12" fmla="*/ 44070 w 54325"/>
              <a:gd name="connsiteY12" fmla="*/ -85 h 46659"/>
              <a:gd name="connsiteX13" fmla="*/ 45458 w 54325"/>
              <a:gd name="connsiteY13" fmla="*/ 609 h 46659"/>
              <a:gd name="connsiteX14" fmla="*/ 49912 w 54325"/>
              <a:gd name="connsiteY14" fmla="*/ 12525 h 46659"/>
              <a:gd name="connsiteX15" fmla="*/ 54192 w 54325"/>
              <a:gd name="connsiteY15" fmla="*/ 31324 h 46659"/>
              <a:gd name="connsiteX16" fmla="*/ 33715 w 54325"/>
              <a:gd name="connsiteY16" fmla="*/ 37976 h 46659"/>
              <a:gd name="connsiteX17" fmla="*/ 30476 w 54325"/>
              <a:gd name="connsiteY17" fmla="*/ 37976 h 46659"/>
              <a:gd name="connsiteX18" fmla="*/ 28278 w 54325"/>
              <a:gd name="connsiteY18" fmla="*/ 43760 h 46659"/>
              <a:gd name="connsiteX19" fmla="*/ 20122 w 54325"/>
              <a:gd name="connsiteY19" fmla="*/ 46479 h 46659"/>
              <a:gd name="connsiteX20" fmla="*/ 6760 w 54325"/>
              <a:gd name="connsiteY20" fmla="*/ 43008 h 46659"/>
              <a:gd name="connsiteX21" fmla="*/ 15784 w 54325"/>
              <a:gd name="connsiteY21" fmla="*/ 43818 h 46659"/>
              <a:gd name="connsiteX22" fmla="*/ 26832 w 54325"/>
              <a:gd name="connsiteY22" fmla="*/ 41909 h 46659"/>
              <a:gd name="connsiteX23" fmla="*/ 28393 w 54325"/>
              <a:gd name="connsiteY23" fmla="*/ 36704 h 46659"/>
              <a:gd name="connsiteX24" fmla="*/ 28741 w 54325"/>
              <a:gd name="connsiteY24" fmla="*/ 35778 h 46659"/>
              <a:gd name="connsiteX25" fmla="*/ 29609 w 54325"/>
              <a:gd name="connsiteY25" fmla="*/ 35431 h 46659"/>
              <a:gd name="connsiteX26" fmla="*/ 33947 w 54325"/>
              <a:gd name="connsiteY26" fmla="*/ 35431 h 46659"/>
              <a:gd name="connsiteX27" fmla="*/ 52225 w 54325"/>
              <a:gd name="connsiteY27" fmla="*/ 30630 h 46659"/>
              <a:gd name="connsiteX28" fmla="*/ 48061 w 54325"/>
              <a:gd name="connsiteY28" fmla="*/ 13277 h 46659"/>
              <a:gd name="connsiteX29" fmla="*/ 43954 w 54325"/>
              <a:gd name="connsiteY29" fmla="*/ 2228 h 46659"/>
              <a:gd name="connsiteX30" fmla="*/ 30071 w 54325"/>
              <a:gd name="connsiteY30" fmla="*/ 6798 h 46659"/>
              <a:gd name="connsiteX31" fmla="*/ 29551 w 54325"/>
              <a:gd name="connsiteY31" fmla="*/ 6798 h 46659"/>
              <a:gd name="connsiteX32" fmla="*/ 16420 w 54325"/>
              <a:gd name="connsiteY32" fmla="*/ 9054 h 46659"/>
              <a:gd name="connsiteX33" fmla="*/ 12949 w 54325"/>
              <a:gd name="connsiteY33" fmla="*/ 11541 h 46659"/>
              <a:gd name="connsiteX34" fmla="*/ 8264 w 54325"/>
              <a:gd name="connsiteY34" fmla="*/ 27969 h 46659"/>
              <a:gd name="connsiteX35" fmla="*/ 7223 w 54325"/>
              <a:gd name="connsiteY35" fmla="*/ 29184 h 46659"/>
              <a:gd name="connsiteX36" fmla="*/ 2133 w 54325"/>
              <a:gd name="connsiteY36" fmla="*/ 35599 h 46659"/>
              <a:gd name="connsiteX37" fmla="*/ 2191 w 54325"/>
              <a:gd name="connsiteY37" fmla="*/ 35894 h 46659"/>
              <a:gd name="connsiteX38" fmla="*/ 6760 w 54325"/>
              <a:gd name="connsiteY38" fmla="*/ 43008 h 4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325" h="46659">
                <a:moveTo>
                  <a:pt x="20122" y="46479"/>
                </a:moveTo>
                <a:cubicBezTo>
                  <a:pt x="18502" y="46485"/>
                  <a:pt x="16940" y="46329"/>
                  <a:pt x="15378" y="46016"/>
                </a:cubicBezTo>
                <a:cubicBezTo>
                  <a:pt x="12428" y="45577"/>
                  <a:pt x="9479" y="45328"/>
                  <a:pt x="6471" y="45264"/>
                </a:cubicBezTo>
                <a:lnTo>
                  <a:pt x="6066" y="45264"/>
                </a:lnTo>
                <a:cubicBezTo>
                  <a:pt x="2306" y="43917"/>
                  <a:pt x="-181" y="40296"/>
                  <a:pt x="-66" y="36299"/>
                </a:cubicBezTo>
                <a:cubicBezTo>
                  <a:pt x="-471" y="32371"/>
                  <a:pt x="1959" y="28709"/>
                  <a:pt x="5719" y="27506"/>
                </a:cubicBezTo>
                <a:cubicBezTo>
                  <a:pt x="5719" y="23920"/>
                  <a:pt x="5719" y="12120"/>
                  <a:pt x="11966" y="9806"/>
                </a:cubicBezTo>
                <a:cubicBezTo>
                  <a:pt x="13122" y="9355"/>
                  <a:pt x="14106" y="8568"/>
                  <a:pt x="14800" y="7550"/>
                </a:cubicBezTo>
                <a:cubicBezTo>
                  <a:pt x="15032" y="7272"/>
                  <a:pt x="15436" y="7122"/>
                  <a:pt x="15784" y="7145"/>
                </a:cubicBezTo>
                <a:cubicBezTo>
                  <a:pt x="17172" y="7220"/>
                  <a:pt x="18560" y="7220"/>
                  <a:pt x="19948" y="7145"/>
                </a:cubicBezTo>
                <a:cubicBezTo>
                  <a:pt x="22899" y="7214"/>
                  <a:pt x="25791" y="6451"/>
                  <a:pt x="28278" y="4947"/>
                </a:cubicBezTo>
                <a:lnTo>
                  <a:pt x="28799" y="4947"/>
                </a:lnTo>
                <a:cubicBezTo>
                  <a:pt x="33773" y="2940"/>
                  <a:pt x="38864" y="1262"/>
                  <a:pt x="44070" y="-85"/>
                </a:cubicBezTo>
                <a:cubicBezTo>
                  <a:pt x="44648" y="-247"/>
                  <a:pt x="45226" y="53"/>
                  <a:pt x="45458" y="609"/>
                </a:cubicBezTo>
                <a:lnTo>
                  <a:pt x="49912" y="12525"/>
                </a:lnTo>
                <a:cubicBezTo>
                  <a:pt x="52919" y="18315"/>
                  <a:pt x="54423" y="24793"/>
                  <a:pt x="54192" y="31324"/>
                </a:cubicBezTo>
                <a:cubicBezTo>
                  <a:pt x="53093" y="37109"/>
                  <a:pt x="42624" y="37976"/>
                  <a:pt x="33715" y="37976"/>
                </a:cubicBezTo>
                <a:lnTo>
                  <a:pt x="30476" y="37976"/>
                </a:lnTo>
                <a:cubicBezTo>
                  <a:pt x="30476" y="40105"/>
                  <a:pt x="29667" y="42158"/>
                  <a:pt x="28278" y="43760"/>
                </a:cubicBezTo>
                <a:cubicBezTo>
                  <a:pt x="26080" y="45785"/>
                  <a:pt x="23130" y="46774"/>
                  <a:pt x="20122" y="46479"/>
                </a:cubicBezTo>
                <a:close/>
                <a:moveTo>
                  <a:pt x="6760" y="43008"/>
                </a:moveTo>
                <a:cubicBezTo>
                  <a:pt x="9768" y="43061"/>
                  <a:pt x="12776" y="43327"/>
                  <a:pt x="15784" y="43818"/>
                </a:cubicBezTo>
                <a:cubicBezTo>
                  <a:pt x="19544" y="45126"/>
                  <a:pt x="23708" y="44408"/>
                  <a:pt x="26832" y="41909"/>
                </a:cubicBezTo>
                <a:cubicBezTo>
                  <a:pt x="28047" y="40452"/>
                  <a:pt x="28567" y="38578"/>
                  <a:pt x="28393" y="36704"/>
                </a:cubicBezTo>
                <a:cubicBezTo>
                  <a:pt x="28393" y="36362"/>
                  <a:pt x="28509" y="36032"/>
                  <a:pt x="28741" y="35778"/>
                </a:cubicBezTo>
                <a:cubicBezTo>
                  <a:pt x="28972" y="35541"/>
                  <a:pt x="29261" y="35414"/>
                  <a:pt x="29609" y="35431"/>
                </a:cubicBezTo>
                <a:cubicBezTo>
                  <a:pt x="29609" y="35431"/>
                  <a:pt x="31401" y="35431"/>
                  <a:pt x="33947" y="35431"/>
                </a:cubicBezTo>
                <a:cubicBezTo>
                  <a:pt x="44764" y="35431"/>
                  <a:pt x="51300" y="33638"/>
                  <a:pt x="52225" y="30630"/>
                </a:cubicBezTo>
                <a:cubicBezTo>
                  <a:pt x="52283" y="24591"/>
                  <a:pt x="50837" y="18633"/>
                  <a:pt x="48061" y="13277"/>
                </a:cubicBezTo>
                <a:lnTo>
                  <a:pt x="43954" y="2228"/>
                </a:lnTo>
                <a:cubicBezTo>
                  <a:pt x="39210" y="3385"/>
                  <a:pt x="34583" y="4918"/>
                  <a:pt x="30071" y="6798"/>
                </a:cubicBezTo>
                <a:lnTo>
                  <a:pt x="29551" y="6798"/>
                </a:lnTo>
                <a:cubicBezTo>
                  <a:pt x="25559" y="9031"/>
                  <a:pt x="20932" y="9829"/>
                  <a:pt x="16420" y="9054"/>
                </a:cubicBezTo>
                <a:cubicBezTo>
                  <a:pt x="15494" y="10165"/>
                  <a:pt x="14280" y="11021"/>
                  <a:pt x="12949" y="11541"/>
                </a:cubicBezTo>
                <a:cubicBezTo>
                  <a:pt x="8148" y="13277"/>
                  <a:pt x="7917" y="23978"/>
                  <a:pt x="8264" y="27969"/>
                </a:cubicBezTo>
                <a:cubicBezTo>
                  <a:pt x="8322" y="28588"/>
                  <a:pt x="7859" y="29120"/>
                  <a:pt x="7223" y="29184"/>
                </a:cubicBezTo>
                <a:cubicBezTo>
                  <a:pt x="4041" y="29554"/>
                  <a:pt x="1785" y="32429"/>
                  <a:pt x="2133" y="35599"/>
                </a:cubicBezTo>
                <a:cubicBezTo>
                  <a:pt x="2133" y="35697"/>
                  <a:pt x="2191" y="35795"/>
                  <a:pt x="2191" y="35894"/>
                </a:cubicBezTo>
                <a:cubicBezTo>
                  <a:pt x="1901" y="39029"/>
                  <a:pt x="3810" y="41944"/>
                  <a:pt x="6760" y="4300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5" name="Forma libre: forma 284">
            <a:extLst>
              <a:ext uri="{FF2B5EF4-FFF2-40B4-BE49-F238E27FC236}">
                <a16:creationId xmlns:a16="http://schemas.microsoft.com/office/drawing/2014/main" id="{0773548A-2110-FD4F-A03A-5A90BED3B445}"/>
              </a:ext>
            </a:extLst>
          </p:cNvPr>
          <p:cNvSpPr/>
          <p:nvPr/>
        </p:nvSpPr>
        <p:spPr>
          <a:xfrm>
            <a:off x="7286564" y="4146067"/>
            <a:ext cx="284486" cy="379690"/>
          </a:xfrm>
          <a:custGeom>
            <a:avLst/>
            <a:gdLst>
              <a:gd name="connsiteX0" fmla="*/ 15826 w 284486"/>
              <a:gd name="connsiteY0" fmla="*/ 379561 h 379690"/>
              <a:gd name="connsiteX1" fmla="*/ 14901 w 284486"/>
              <a:gd name="connsiteY1" fmla="*/ 379040 h 379690"/>
              <a:gd name="connsiteX2" fmla="*/ 1365 w 284486"/>
              <a:gd name="connsiteY2" fmla="*/ 357580 h 379690"/>
              <a:gd name="connsiteX3" fmla="*/ 1365 w 284486"/>
              <a:gd name="connsiteY3" fmla="*/ 356944 h 379690"/>
              <a:gd name="connsiteX4" fmla="*/ -23 w 284486"/>
              <a:gd name="connsiteY4" fmla="*/ 259071 h 379690"/>
              <a:gd name="connsiteX5" fmla="*/ -23 w 284486"/>
              <a:gd name="connsiteY5" fmla="*/ 258493 h 379690"/>
              <a:gd name="connsiteX6" fmla="*/ 12529 w 284486"/>
              <a:gd name="connsiteY6" fmla="*/ 238941 h 379690"/>
              <a:gd name="connsiteX7" fmla="*/ 25602 w 284486"/>
              <a:gd name="connsiteY7" fmla="*/ 219795 h 379690"/>
              <a:gd name="connsiteX8" fmla="*/ 26296 w 284486"/>
              <a:gd name="connsiteY8" fmla="*/ 219332 h 379690"/>
              <a:gd name="connsiteX9" fmla="*/ 48798 w 284486"/>
              <a:gd name="connsiteY9" fmla="*/ 215861 h 379690"/>
              <a:gd name="connsiteX10" fmla="*/ 48798 w 284486"/>
              <a:gd name="connsiteY10" fmla="*/ 215861 h 379690"/>
              <a:gd name="connsiteX11" fmla="*/ 56260 w 284486"/>
              <a:gd name="connsiteY11" fmla="*/ 210829 h 379690"/>
              <a:gd name="connsiteX12" fmla="*/ 84372 w 284486"/>
              <a:gd name="connsiteY12" fmla="*/ 197062 h 379690"/>
              <a:gd name="connsiteX13" fmla="*/ 95073 w 284486"/>
              <a:gd name="connsiteY13" fmla="*/ 197409 h 379690"/>
              <a:gd name="connsiteX14" fmla="*/ 113815 w 284486"/>
              <a:gd name="connsiteY14" fmla="*/ 191972 h 379690"/>
              <a:gd name="connsiteX15" fmla="*/ 186640 w 284486"/>
              <a:gd name="connsiteY15" fmla="*/ 119146 h 379690"/>
              <a:gd name="connsiteX16" fmla="*/ 187913 w 284486"/>
              <a:gd name="connsiteY16" fmla="*/ 117526 h 379690"/>
              <a:gd name="connsiteX17" fmla="*/ 177675 w 284486"/>
              <a:gd name="connsiteY17" fmla="*/ 115155 h 379690"/>
              <a:gd name="connsiteX18" fmla="*/ 139671 w 284486"/>
              <a:gd name="connsiteY18" fmla="*/ 106536 h 379690"/>
              <a:gd name="connsiteX19" fmla="*/ 84719 w 284486"/>
              <a:gd name="connsiteY19" fmla="*/ 87216 h 379690"/>
              <a:gd name="connsiteX20" fmla="*/ 73670 w 284486"/>
              <a:gd name="connsiteY20" fmla="*/ 77845 h 379690"/>
              <a:gd name="connsiteX21" fmla="*/ 66325 w 284486"/>
              <a:gd name="connsiteY21" fmla="*/ 70788 h 379690"/>
              <a:gd name="connsiteX22" fmla="*/ 48971 w 284486"/>
              <a:gd name="connsiteY22" fmla="*/ 45394 h 379690"/>
              <a:gd name="connsiteX23" fmla="*/ 64705 w 284486"/>
              <a:gd name="connsiteY23" fmla="*/ 20464 h 379690"/>
              <a:gd name="connsiteX24" fmla="*/ 66093 w 284486"/>
              <a:gd name="connsiteY24" fmla="*/ 20464 h 379690"/>
              <a:gd name="connsiteX25" fmla="*/ 80554 w 284486"/>
              <a:gd name="connsiteY25" fmla="*/ 36544 h 379690"/>
              <a:gd name="connsiteX26" fmla="*/ 101146 w 284486"/>
              <a:gd name="connsiteY26" fmla="*/ 48113 h 379690"/>
              <a:gd name="connsiteX27" fmla="*/ 123880 w 284486"/>
              <a:gd name="connsiteY27" fmla="*/ 39841 h 379690"/>
              <a:gd name="connsiteX28" fmla="*/ 136490 w 284486"/>
              <a:gd name="connsiteY28" fmla="*/ 35677 h 379690"/>
              <a:gd name="connsiteX29" fmla="*/ 142679 w 284486"/>
              <a:gd name="connsiteY29" fmla="*/ 35677 h 379690"/>
              <a:gd name="connsiteX30" fmla="*/ 148868 w 284486"/>
              <a:gd name="connsiteY30" fmla="*/ 35677 h 379690"/>
              <a:gd name="connsiteX31" fmla="*/ 159512 w 284486"/>
              <a:gd name="connsiteY31" fmla="*/ 32784 h 379690"/>
              <a:gd name="connsiteX32" fmla="*/ 203878 w 284486"/>
              <a:gd name="connsiteY32" fmla="*/ 22373 h 379690"/>
              <a:gd name="connsiteX33" fmla="*/ 264268 w 284486"/>
              <a:gd name="connsiteY33" fmla="*/ 6407 h 379690"/>
              <a:gd name="connsiteX34" fmla="*/ 273754 w 284486"/>
              <a:gd name="connsiteY34" fmla="*/ -129 h 379690"/>
              <a:gd name="connsiteX35" fmla="*/ 280579 w 284486"/>
              <a:gd name="connsiteY35" fmla="*/ 2937 h 379690"/>
              <a:gd name="connsiteX36" fmla="*/ 284166 w 284486"/>
              <a:gd name="connsiteY36" fmla="*/ 16299 h 379690"/>
              <a:gd name="connsiteX37" fmla="*/ 278729 w 284486"/>
              <a:gd name="connsiteY37" fmla="*/ 43948 h 379690"/>
              <a:gd name="connsiteX38" fmla="*/ 274911 w 284486"/>
              <a:gd name="connsiteY38" fmla="*/ 63847 h 379690"/>
              <a:gd name="connsiteX39" fmla="*/ 249228 w 284486"/>
              <a:gd name="connsiteY39" fmla="*/ 118683 h 379690"/>
              <a:gd name="connsiteX40" fmla="*/ 224817 w 284486"/>
              <a:gd name="connsiteY40" fmla="*/ 160562 h 379690"/>
              <a:gd name="connsiteX41" fmla="*/ 193119 w 284486"/>
              <a:gd name="connsiteY41" fmla="*/ 211581 h 379690"/>
              <a:gd name="connsiteX42" fmla="*/ 124805 w 284486"/>
              <a:gd name="connsiteY42" fmla="*/ 278507 h 379690"/>
              <a:gd name="connsiteX43" fmla="*/ 124284 w 284486"/>
              <a:gd name="connsiteY43" fmla="*/ 278796 h 379690"/>
              <a:gd name="connsiteX44" fmla="*/ 77488 w 284486"/>
              <a:gd name="connsiteY44" fmla="*/ 314660 h 379690"/>
              <a:gd name="connsiteX45" fmla="*/ 55045 w 284486"/>
              <a:gd name="connsiteY45" fmla="*/ 337797 h 379690"/>
              <a:gd name="connsiteX46" fmla="*/ 16925 w 284486"/>
              <a:gd name="connsiteY46" fmla="*/ 378751 h 379690"/>
              <a:gd name="connsiteX47" fmla="*/ 15826 w 284486"/>
              <a:gd name="connsiteY47" fmla="*/ 379561 h 379690"/>
              <a:gd name="connsiteX48" fmla="*/ 3448 w 284486"/>
              <a:gd name="connsiteY48" fmla="*/ 356423 h 379690"/>
              <a:gd name="connsiteX49" fmla="*/ 15942 w 284486"/>
              <a:gd name="connsiteY49" fmla="*/ 376264 h 379690"/>
              <a:gd name="connsiteX50" fmla="*/ 53252 w 284486"/>
              <a:gd name="connsiteY50" fmla="*/ 336409 h 379690"/>
              <a:gd name="connsiteX51" fmla="*/ 75695 w 284486"/>
              <a:gd name="connsiteY51" fmla="*/ 313271 h 379690"/>
              <a:gd name="connsiteX52" fmla="*/ 123070 w 284486"/>
              <a:gd name="connsiteY52" fmla="*/ 276945 h 379690"/>
              <a:gd name="connsiteX53" fmla="*/ 123648 w 284486"/>
              <a:gd name="connsiteY53" fmla="*/ 276656 h 379690"/>
              <a:gd name="connsiteX54" fmla="*/ 191152 w 284486"/>
              <a:gd name="connsiteY54" fmla="*/ 210366 h 379690"/>
              <a:gd name="connsiteX55" fmla="*/ 222388 w 284486"/>
              <a:gd name="connsiteY55" fmla="*/ 160389 h 379690"/>
              <a:gd name="connsiteX56" fmla="*/ 247261 w 284486"/>
              <a:gd name="connsiteY56" fmla="*/ 117468 h 379690"/>
              <a:gd name="connsiteX57" fmla="*/ 272481 w 284486"/>
              <a:gd name="connsiteY57" fmla="*/ 64136 h 379690"/>
              <a:gd name="connsiteX58" fmla="*/ 276357 w 284486"/>
              <a:gd name="connsiteY58" fmla="*/ 43543 h 379690"/>
              <a:gd name="connsiteX59" fmla="*/ 281737 w 284486"/>
              <a:gd name="connsiteY59" fmla="*/ 16299 h 379690"/>
              <a:gd name="connsiteX60" fmla="*/ 278787 w 284486"/>
              <a:gd name="connsiteY60" fmla="*/ 4730 h 379690"/>
              <a:gd name="connsiteX61" fmla="*/ 273581 w 284486"/>
              <a:gd name="connsiteY61" fmla="*/ 2416 h 379690"/>
              <a:gd name="connsiteX62" fmla="*/ 266176 w 284486"/>
              <a:gd name="connsiteY62" fmla="*/ 7680 h 379690"/>
              <a:gd name="connsiteX63" fmla="*/ 203763 w 284486"/>
              <a:gd name="connsiteY63" fmla="*/ 25033 h 379690"/>
              <a:gd name="connsiteX64" fmla="*/ 160900 w 284486"/>
              <a:gd name="connsiteY64" fmla="*/ 34809 h 379690"/>
              <a:gd name="connsiteX65" fmla="*/ 148695 w 284486"/>
              <a:gd name="connsiteY65" fmla="*/ 38337 h 379690"/>
              <a:gd name="connsiteX66" fmla="*/ 142389 w 284486"/>
              <a:gd name="connsiteY66" fmla="*/ 38337 h 379690"/>
              <a:gd name="connsiteX67" fmla="*/ 136605 w 284486"/>
              <a:gd name="connsiteY67" fmla="*/ 38337 h 379690"/>
              <a:gd name="connsiteX68" fmla="*/ 125730 w 284486"/>
              <a:gd name="connsiteY68" fmla="*/ 41634 h 379690"/>
              <a:gd name="connsiteX69" fmla="*/ 101262 w 284486"/>
              <a:gd name="connsiteY69" fmla="*/ 50716 h 379690"/>
              <a:gd name="connsiteX70" fmla="*/ 78646 w 284486"/>
              <a:gd name="connsiteY70" fmla="*/ 37759 h 379690"/>
              <a:gd name="connsiteX71" fmla="*/ 65804 w 284486"/>
              <a:gd name="connsiteY71" fmla="*/ 23124 h 379690"/>
              <a:gd name="connsiteX72" fmla="*/ 51170 w 284486"/>
              <a:gd name="connsiteY72" fmla="*/ 44874 h 379690"/>
              <a:gd name="connsiteX73" fmla="*/ 67655 w 284486"/>
              <a:gd name="connsiteY73" fmla="*/ 69168 h 379690"/>
              <a:gd name="connsiteX74" fmla="*/ 75638 w 284486"/>
              <a:gd name="connsiteY74" fmla="*/ 76746 h 379690"/>
              <a:gd name="connsiteX75" fmla="*/ 85529 w 284486"/>
              <a:gd name="connsiteY75" fmla="*/ 85423 h 379690"/>
              <a:gd name="connsiteX76" fmla="*/ 140828 w 284486"/>
              <a:gd name="connsiteY76" fmla="*/ 104858 h 379690"/>
              <a:gd name="connsiteX77" fmla="*/ 177964 w 284486"/>
              <a:gd name="connsiteY77" fmla="*/ 113304 h 379690"/>
              <a:gd name="connsiteX78" fmla="*/ 190285 w 284486"/>
              <a:gd name="connsiteY78" fmla="*/ 117237 h 379690"/>
              <a:gd name="connsiteX79" fmla="*/ 188318 w 284486"/>
              <a:gd name="connsiteY79" fmla="*/ 121344 h 379690"/>
              <a:gd name="connsiteX80" fmla="*/ 115781 w 284486"/>
              <a:gd name="connsiteY80" fmla="*/ 193939 h 379690"/>
              <a:gd name="connsiteX81" fmla="*/ 101146 w 284486"/>
              <a:gd name="connsiteY81" fmla="*/ 200244 h 379690"/>
              <a:gd name="connsiteX82" fmla="*/ 95362 w 284486"/>
              <a:gd name="connsiteY82" fmla="*/ 200244 h 379690"/>
              <a:gd name="connsiteX83" fmla="*/ 84777 w 284486"/>
              <a:gd name="connsiteY83" fmla="*/ 199896 h 379690"/>
              <a:gd name="connsiteX84" fmla="*/ 58111 w 284486"/>
              <a:gd name="connsiteY84" fmla="*/ 213143 h 379690"/>
              <a:gd name="connsiteX85" fmla="*/ 49260 w 284486"/>
              <a:gd name="connsiteY85" fmla="*/ 218927 h 379690"/>
              <a:gd name="connsiteX86" fmla="*/ 48914 w 284486"/>
              <a:gd name="connsiteY86" fmla="*/ 218927 h 379690"/>
              <a:gd name="connsiteX87" fmla="*/ 27627 w 284486"/>
              <a:gd name="connsiteY87" fmla="*/ 222224 h 379690"/>
              <a:gd name="connsiteX88" fmla="*/ 14843 w 284486"/>
              <a:gd name="connsiteY88" fmla="*/ 240966 h 379690"/>
              <a:gd name="connsiteX89" fmla="*/ 2464 w 284486"/>
              <a:gd name="connsiteY89" fmla="*/ 260228 h 379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84486" h="379690">
                <a:moveTo>
                  <a:pt x="15826" y="379561"/>
                </a:moveTo>
                <a:cubicBezTo>
                  <a:pt x="15479" y="379549"/>
                  <a:pt x="15132" y="379353"/>
                  <a:pt x="14901" y="379040"/>
                </a:cubicBezTo>
                <a:lnTo>
                  <a:pt x="1365" y="357580"/>
                </a:lnTo>
                <a:cubicBezTo>
                  <a:pt x="1308" y="357372"/>
                  <a:pt x="1308" y="357152"/>
                  <a:pt x="1365" y="356944"/>
                </a:cubicBezTo>
                <a:lnTo>
                  <a:pt x="-23" y="259071"/>
                </a:lnTo>
                <a:cubicBezTo>
                  <a:pt x="-138" y="258892"/>
                  <a:pt x="-138" y="258672"/>
                  <a:pt x="-23" y="258493"/>
                </a:cubicBezTo>
                <a:lnTo>
                  <a:pt x="12529" y="238941"/>
                </a:lnTo>
                <a:lnTo>
                  <a:pt x="25602" y="219795"/>
                </a:lnTo>
                <a:cubicBezTo>
                  <a:pt x="25776" y="219558"/>
                  <a:pt x="26007" y="219396"/>
                  <a:pt x="26296" y="219332"/>
                </a:cubicBezTo>
                <a:cubicBezTo>
                  <a:pt x="33643" y="217429"/>
                  <a:pt x="41220" y="216266"/>
                  <a:pt x="48798" y="215861"/>
                </a:cubicBezTo>
                <a:lnTo>
                  <a:pt x="48798" y="215861"/>
                </a:lnTo>
                <a:cubicBezTo>
                  <a:pt x="50244" y="215861"/>
                  <a:pt x="53136" y="213432"/>
                  <a:pt x="56260" y="210829"/>
                </a:cubicBezTo>
                <a:cubicBezTo>
                  <a:pt x="62796" y="205045"/>
                  <a:pt x="72745" y="197062"/>
                  <a:pt x="84372" y="197062"/>
                </a:cubicBezTo>
                <a:cubicBezTo>
                  <a:pt x="88595" y="197062"/>
                  <a:pt x="92065" y="197062"/>
                  <a:pt x="95073" y="197409"/>
                </a:cubicBezTo>
                <a:cubicBezTo>
                  <a:pt x="103981" y="197872"/>
                  <a:pt x="107972" y="198335"/>
                  <a:pt x="113815" y="191972"/>
                </a:cubicBezTo>
                <a:cubicBezTo>
                  <a:pt x="122318" y="182833"/>
                  <a:pt x="181203" y="123426"/>
                  <a:pt x="186640" y="119146"/>
                </a:cubicBezTo>
                <a:cubicBezTo>
                  <a:pt x="187682" y="118394"/>
                  <a:pt x="187971" y="117816"/>
                  <a:pt x="187913" y="117526"/>
                </a:cubicBezTo>
                <a:cubicBezTo>
                  <a:pt x="187856" y="117237"/>
                  <a:pt x="183054" y="115155"/>
                  <a:pt x="177675" y="115155"/>
                </a:cubicBezTo>
                <a:cubicBezTo>
                  <a:pt x="164544" y="114900"/>
                  <a:pt x="151645" y="111967"/>
                  <a:pt x="139671" y="106536"/>
                </a:cubicBezTo>
                <a:cubicBezTo>
                  <a:pt x="119715" y="98438"/>
                  <a:pt x="89809" y="88373"/>
                  <a:pt x="84719" y="87216"/>
                </a:cubicBezTo>
                <a:cubicBezTo>
                  <a:pt x="81306" y="86464"/>
                  <a:pt x="77430" y="82068"/>
                  <a:pt x="73670" y="77845"/>
                </a:cubicBezTo>
                <a:cubicBezTo>
                  <a:pt x="71588" y="75161"/>
                  <a:pt x="69101" y="72784"/>
                  <a:pt x="66325" y="70788"/>
                </a:cubicBezTo>
                <a:cubicBezTo>
                  <a:pt x="60540" y="68069"/>
                  <a:pt x="50764" y="49791"/>
                  <a:pt x="48971" y="45394"/>
                </a:cubicBezTo>
                <a:cubicBezTo>
                  <a:pt x="46368" y="39610"/>
                  <a:pt x="62854" y="22257"/>
                  <a:pt x="64705" y="20464"/>
                </a:cubicBezTo>
                <a:cubicBezTo>
                  <a:pt x="65110" y="20174"/>
                  <a:pt x="65688" y="20174"/>
                  <a:pt x="66093" y="20464"/>
                </a:cubicBezTo>
                <a:cubicBezTo>
                  <a:pt x="72398" y="24247"/>
                  <a:pt x="77488" y="29852"/>
                  <a:pt x="80554" y="36544"/>
                </a:cubicBezTo>
                <a:cubicBezTo>
                  <a:pt x="84545" y="44139"/>
                  <a:pt x="92586" y="48674"/>
                  <a:pt x="101146" y="48113"/>
                </a:cubicBezTo>
                <a:cubicBezTo>
                  <a:pt x="109476" y="48321"/>
                  <a:pt x="117633" y="45365"/>
                  <a:pt x="123880" y="39841"/>
                </a:cubicBezTo>
                <a:cubicBezTo>
                  <a:pt x="127292" y="36694"/>
                  <a:pt x="131862" y="35173"/>
                  <a:pt x="136490" y="35677"/>
                </a:cubicBezTo>
                <a:cubicBezTo>
                  <a:pt x="138456" y="35677"/>
                  <a:pt x="140597" y="35677"/>
                  <a:pt x="142679" y="35677"/>
                </a:cubicBezTo>
                <a:cubicBezTo>
                  <a:pt x="144761" y="35677"/>
                  <a:pt x="146844" y="35677"/>
                  <a:pt x="148868" y="35677"/>
                </a:cubicBezTo>
                <a:cubicBezTo>
                  <a:pt x="152628" y="36082"/>
                  <a:pt x="156446" y="35052"/>
                  <a:pt x="159512" y="32784"/>
                </a:cubicBezTo>
                <a:cubicBezTo>
                  <a:pt x="168188" y="24513"/>
                  <a:pt x="182360" y="22720"/>
                  <a:pt x="203878" y="22373"/>
                </a:cubicBezTo>
                <a:cubicBezTo>
                  <a:pt x="225397" y="22025"/>
                  <a:pt x="260103" y="15547"/>
                  <a:pt x="264268" y="6407"/>
                </a:cubicBezTo>
                <a:cubicBezTo>
                  <a:pt x="265888" y="2549"/>
                  <a:pt x="269589" y="-14"/>
                  <a:pt x="273754" y="-129"/>
                </a:cubicBezTo>
                <a:cubicBezTo>
                  <a:pt x="276357" y="-112"/>
                  <a:pt x="278845" y="999"/>
                  <a:pt x="280579" y="2937"/>
                </a:cubicBezTo>
                <a:cubicBezTo>
                  <a:pt x="283645" y="6673"/>
                  <a:pt x="284918" y="11538"/>
                  <a:pt x="284166" y="16299"/>
                </a:cubicBezTo>
                <a:cubicBezTo>
                  <a:pt x="283183" y="25658"/>
                  <a:pt x="281331" y="34907"/>
                  <a:pt x="278729" y="43948"/>
                </a:cubicBezTo>
                <a:cubicBezTo>
                  <a:pt x="276646" y="50404"/>
                  <a:pt x="275373" y="57085"/>
                  <a:pt x="274911" y="63847"/>
                </a:cubicBezTo>
                <a:cubicBezTo>
                  <a:pt x="275316" y="74085"/>
                  <a:pt x="258715" y="106420"/>
                  <a:pt x="249228" y="118683"/>
                </a:cubicBezTo>
                <a:cubicBezTo>
                  <a:pt x="239742" y="130946"/>
                  <a:pt x="226843" y="147605"/>
                  <a:pt x="224817" y="160562"/>
                </a:cubicBezTo>
                <a:cubicBezTo>
                  <a:pt x="222793" y="173519"/>
                  <a:pt x="207002" y="193881"/>
                  <a:pt x="193119" y="211581"/>
                </a:cubicBezTo>
                <a:cubicBezTo>
                  <a:pt x="171196" y="239404"/>
                  <a:pt x="137993" y="271970"/>
                  <a:pt x="124805" y="278507"/>
                </a:cubicBezTo>
                <a:lnTo>
                  <a:pt x="124284" y="278796"/>
                </a:lnTo>
                <a:cubicBezTo>
                  <a:pt x="111848" y="285043"/>
                  <a:pt x="100048" y="290886"/>
                  <a:pt x="77488" y="314660"/>
                </a:cubicBezTo>
                <a:cubicBezTo>
                  <a:pt x="70489" y="321948"/>
                  <a:pt x="62623" y="329931"/>
                  <a:pt x="55045" y="337797"/>
                </a:cubicBezTo>
                <a:cubicBezTo>
                  <a:pt x="41625" y="350760"/>
                  <a:pt x="28899" y="364434"/>
                  <a:pt x="16925" y="378751"/>
                </a:cubicBezTo>
                <a:cubicBezTo>
                  <a:pt x="16810" y="379243"/>
                  <a:pt x="16347" y="379578"/>
                  <a:pt x="15826" y="379561"/>
                </a:cubicBezTo>
                <a:close/>
                <a:moveTo>
                  <a:pt x="3448" y="356423"/>
                </a:moveTo>
                <a:lnTo>
                  <a:pt x="15942" y="376264"/>
                </a:lnTo>
                <a:cubicBezTo>
                  <a:pt x="23462" y="366604"/>
                  <a:pt x="37981" y="351911"/>
                  <a:pt x="53252" y="336409"/>
                </a:cubicBezTo>
                <a:cubicBezTo>
                  <a:pt x="60829" y="328658"/>
                  <a:pt x="68696" y="320675"/>
                  <a:pt x="75695" y="313271"/>
                </a:cubicBezTo>
                <a:cubicBezTo>
                  <a:pt x="98544" y="289266"/>
                  <a:pt x="110402" y="283250"/>
                  <a:pt x="123070" y="276945"/>
                </a:cubicBezTo>
                <a:lnTo>
                  <a:pt x="123648" y="276656"/>
                </a:lnTo>
                <a:cubicBezTo>
                  <a:pt x="136547" y="270235"/>
                  <a:pt x="169403" y="238016"/>
                  <a:pt x="191152" y="210366"/>
                </a:cubicBezTo>
                <a:cubicBezTo>
                  <a:pt x="204862" y="193013"/>
                  <a:pt x="220421" y="173057"/>
                  <a:pt x="222388" y="160389"/>
                </a:cubicBezTo>
                <a:cubicBezTo>
                  <a:pt x="224529" y="146853"/>
                  <a:pt x="238180" y="129153"/>
                  <a:pt x="247261" y="117468"/>
                </a:cubicBezTo>
                <a:cubicBezTo>
                  <a:pt x="257269" y="104511"/>
                  <a:pt x="272829" y="73102"/>
                  <a:pt x="272481" y="64136"/>
                </a:cubicBezTo>
                <a:cubicBezTo>
                  <a:pt x="272886" y="57137"/>
                  <a:pt x="274217" y="50213"/>
                  <a:pt x="276357" y="43543"/>
                </a:cubicBezTo>
                <a:cubicBezTo>
                  <a:pt x="278960" y="34647"/>
                  <a:pt x="280753" y="25525"/>
                  <a:pt x="281737" y="16299"/>
                </a:cubicBezTo>
                <a:cubicBezTo>
                  <a:pt x="282431" y="12198"/>
                  <a:pt x="281331" y="8010"/>
                  <a:pt x="278787" y="4730"/>
                </a:cubicBezTo>
                <a:cubicBezTo>
                  <a:pt x="277456" y="3266"/>
                  <a:pt x="275547" y="2427"/>
                  <a:pt x="273581" y="2416"/>
                </a:cubicBezTo>
                <a:cubicBezTo>
                  <a:pt x="270284" y="2538"/>
                  <a:pt x="267392" y="4603"/>
                  <a:pt x="266176" y="7680"/>
                </a:cubicBezTo>
                <a:cubicBezTo>
                  <a:pt x="261375" y="18092"/>
                  <a:pt x="226206" y="24513"/>
                  <a:pt x="203763" y="25033"/>
                </a:cubicBezTo>
                <a:cubicBezTo>
                  <a:pt x="182765" y="25380"/>
                  <a:pt x="169056" y="27058"/>
                  <a:pt x="160900" y="34809"/>
                </a:cubicBezTo>
                <a:cubicBezTo>
                  <a:pt x="157429" y="37487"/>
                  <a:pt x="153091" y="38748"/>
                  <a:pt x="148695" y="38337"/>
                </a:cubicBezTo>
                <a:cubicBezTo>
                  <a:pt x="146670" y="38337"/>
                  <a:pt x="144530" y="38337"/>
                  <a:pt x="142389" y="38337"/>
                </a:cubicBezTo>
                <a:cubicBezTo>
                  <a:pt x="140249" y="38337"/>
                  <a:pt x="138283" y="38337"/>
                  <a:pt x="136605" y="38337"/>
                </a:cubicBezTo>
                <a:cubicBezTo>
                  <a:pt x="132672" y="37771"/>
                  <a:pt x="128680" y="38979"/>
                  <a:pt x="125730" y="41634"/>
                </a:cubicBezTo>
                <a:cubicBezTo>
                  <a:pt x="119021" y="47697"/>
                  <a:pt x="110286" y="50953"/>
                  <a:pt x="101262" y="50716"/>
                </a:cubicBezTo>
                <a:cubicBezTo>
                  <a:pt x="91776" y="51364"/>
                  <a:pt x="82868" y="46251"/>
                  <a:pt x="78646" y="37759"/>
                </a:cubicBezTo>
                <a:cubicBezTo>
                  <a:pt x="75868" y="31743"/>
                  <a:pt x="71415" y="26659"/>
                  <a:pt x="65804" y="23124"/>
                </a:cubicBezTo>
                <a:cubicBezTo>
                  <a:pt x="56607" y="32669"/>
                  <a:pt x="50070" y="42329"/>
                  <a:pt x="51170" y="44874"/>
                </a:cubicBezTo>
                <a:cubicBezTo>
                  <a:pt x="53888" y="51063"/>
                  <a:pt x="63433" y="67086"/>
                  <a:pt x="67655" y="69168"/>
                </a:cubicBezTo>
                <a:cubicBezTo>
                  <a:pt x="70663" y="71268"/>
                  <a:pt x="73382" y="73825"/>
                  <a:pt x="75638" y="76746"/>
                </a:cubicBezTo>
                <a:cubicBezTo>
                  <a:pt x="78992" y="80506"/>
                  <a:pt x="82810" y="84844"/>
                  <a:pt x="85529" y="85423"/>
                </a:cubicBezTo>
                <a:cubicBezTo>
                  <a:pt x="91313" y="86695"/>
                  <a:pt x="121913" y="96991"/>
                  <a:pt x="140828" y="104858"/>
                </a:cubicBezTo>
                <a:cubicBezTo>
                  <a:pt x="152512" y="110174"/>
                  <a:pt x="165123" y="113049"/>
                  <a:pt x="177964" y="113304"/>
                </a:cubicBezTo>
                <a:cubicBezTo>
                  <a:pt x="179063" y="113304"/>
                  <a:pt x="189012" y="113304"/>
                  <a:pt x="190285" y="117237"/>
                </a:cubicBezTo>
                <a:cubicBezTo>
                  <a:pt x="190748" y="118567"/>
                  <a:pt x="190285" y="119956"/>
                  <a:pt x="188318" y="121344"/>
                </a:cubicBezTo>
                <a:cubicBezTo>
                  <a:pt x="182938" y="125567"/>
                  <a:pt x="123243" y="185898"/>
                  <a:pt x="115781" y="193939"/>
                </a:cubicBezTo>
                <a:cubicBezTo>
                  <a:pt x="112195" y="198289"/>
                  <a:pt x="106758" y="200637"/>
                  <a:pt x="101146" y="200244"/>
                </a:cubicBezTo>
                <a:lnTo>
                  <a:pt x="95362" y="200244"/>
                </a:lnTo>
                <a:cubicBezTo>
                  <a:pt x="92355" y="200244"/>
                  <a:pt x="88941" y="199896"/>
                  <a:pt x="84777" y="199896"/>
                </a:cubicBezTo>
                <a:cubicBezTo>
                  <a:pt x="73960" y="199896"/>
                  <a:pt x="64763" y="207590"/>
                  <a:pt x="58111" y="213143"/>
                </a:cubicBezTo>
                <a:cubicBezTo>
                  <a:pt x="54235" y="216382"/>
                  <a:pt x="51458" y="218927"/>
                  <a:pt x="49260" y="218927"/>
                </a:cubicBezTo>
                <a:lnTo>
                  <a:pt x="48914" y="218927"/>
                </a:lnTo>
                <a:cubicBezTo>
                  <a:pt x="41741" y="219297"/>
                  <a:pt x="34568" y="220402"/>
                  <a:pt x="27627" y="222224"/>
                </a:cubicBezTo>
                <a:lnTo>
                  <a:pt x="14843" y="240966"/>
                </a:lnTo>
                <a:lnTo>
                  <a:pt x="2464" y="260228"/>
                </a:ln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6" name="Forma libre: forma 285">
            <a:extLst>
              <a:ext uri="{FF2B5EF4-FFF2-40B4-BE49-F238E27FC236}">
                <a16:creationId xmlns:a16="http://schemas.microsoft.com/office/drawing/2014/main" id="{A521DADF-DB50-E4A4-2445-FAB98136F6E1}"/>
              </a:ext>
            </a:extLst>
          </p:cNvPr>
          <p:cNvSpPr/>
          <p:nvPr/>
        </p:nvSpPr>
        <p:spPr>
          <a:xfrm>
            <a:off x="5827008" y="3449795"/>
            <a:ext cx="330100" cy="262323"/>
          </a:xfrm>
          <a:custGeom>
            <a:avLst/>
            <a:gdLst>
              <a:gd name="connsiteX0" fmla="*/ 122289 w 330100"/>
              <a:gd name="connsiteY0" fmla="*/ 261732 h 262323"/>
              <a:gd name="connsiteX1" fmla="*/ 121306 w 330100"/>
              <a:gd name="connsiteY1" fmla="*/ 261154 h 262323"/>
              <a:gd name="connsiteX2" fmla="*/ 119744 w 330100"/>
              <a:gd name="connsiteY2" fmla="*/ 257220 h 262323"/>
              <a:gd name="connsiteX3" fmla="*/ 102391 w 330100"/>
              <a:gd name="connsiteY3" fmla="*/ 251436 h 262323"/>
              <a:gd name="connsiteX4" fmla="*/ 1105 w 330100"/>
              <a:gd name="connsiteY4" fmla="*/ 251436 h 262323"/>
              <a:gd name="connsiteX5" fmla="*/ 64 w 330100"/>
              <a:gd name="connsiteY5" fmla="*/ 250684 h 262323"/>
              <a:gd name="connsiteX6" fmla="*/ 64 w 330100"/>
              <a:gd name="connsiteY6" fmla="*/ 249469 h 262323"/>
              <a:gd name="connsiteX7" fmla="*/ 20425 w 330100"/>
              <a:gd name="connsiteY7" fmla="*/ 239462 h 262323"/>
              <a:gd name="connsiteX8" fmla="*/ 47265 w 330100"/>
              <a:gd name="connsiteY8" fmla="*/ 223497 h 262323"/>
              <a:gd name="connsiteX9" fmla="*/ 60049 w 330100"/>
              <a:gd name="connsiteY9" fmla="*/ 212564 h 262323"/>
              <a:gd name="connsiteX10" fmla="*/ 92152 w 330100"/>
              <a:gd name="connsiteY10" fmla="*/ 174619 h 262323"/>
              <a:gd name="connsiteX11" fmla="*/ 92152 w 330100"/>
              <a:gd name="connsiteY11" fmla="*/ 169297 h 262323"/>
              <a:gd name="connsiteX12" fmla="*/ 92152 w 330100"/>
              <a:gd name="connsiteY12" fmla="*/ 126203 h 262323"/>
              <a:gd name="connsiteX13" fmla="*/ 100251 w 330100"/>
              <a:gd name="connsiteY13" fmla="*/ 112783 h 262323"/>
              <a:gd name="connsiteX14" fmla="*/ 107539 w 330100"/>
              <a:gd name="connsiteY14" fmla="*/ 100404 h 262323"/>
              <a:gd name="connsiteX15" fmla="*/ 115001 w 330100"/>
              <a:gd name="connsiteY15" fmla="*/ 89472 h 262323"/>
              <a:gd name="connsiteX16" fmla="*/ 128826 w 330100"/>
              <a:gd name="connsiteY16" fmla="*/ 76746 h 262323"/>
              <a:gd name="connsiteX17" fmla="*/ 169317 w 330100"/>
              <a:gd name="connsiteY17" fmla="*/ 57426 h 262323"/>
              <a:gd name="connsiteX18" fmla="*/ 181233 w 330100"/>
              <a:gd name="connsiteY18" fmla="*/ 33536 h 262323"/>
              <a:gd name="connsiteX19" fmla="*/ 199627 w 330100"/>
              <a:gd name="connsiteY19" fmla="*/ 1317 h 262323"/>
              <a:gd name="connsiteX20" fmla="*/ 205758 w 330100"/>
              <a:gd name="connsiteY20" fmla="*/ -129 h 262323"/>
              <a:gd name="connsiteX21" fmla="*/ 226409 w 330100"/>
              <a:gd name="connsiteY21" fmla="*/ 13291 h 262323"/>
              <a:gd name="connsiteX22" fmla="*/ 244977 w 330100"/>
              <a:gd name="connsiteY22" fmla="*/ 19654 h 262323"/>
              <a:gd name="connsiteX23" fmla="*/ 258686 w 330100"/>
              <a:gd name="connsiteY23" fmla="*/ 18670 h 262323"/>
              <a:gd name="connsiteX24" fmla="*/ 271990 w 330100"/>
              <a:gd name="connsiteY24" fmla="*/ 17745 h 262323"/>
              <a:gd name="connsiteX25" fmla="*/ 287897 w 330100"/>
              <a:gd name="connsiteY25" fmla="*/ 21563 h 262323"/>
              <a:gd name="connsiteX26" fmla="*/ 303284 w 330100"/>
              <a:gd name="connsiteY26" fmla="*/ 25149 h 262323"/>
              <a:gd name="connsiteX27" fmla="*/ 303689 w 330100"/>
              <a:gd name="connsiteY27" fmla="*/ 25149 h 262323"/>
              <a:gd name="connsiteX28" fmla="*/ 304730 w 330100"/>
              <a:gd name="connsiteY28" fmla="*/ 25843 h 262323"/>
              <a:gd name="connsiteX29" fmla="*/ 309068 w 330100"/>
              <a:gd name="connsiteY29" fmla="*/ 34057 h 262323"/>
              <a:gd name="connsiteX30" fmla="*/ 317282 w 330100"/>
              <a:gd name="connsiteY30" fmla="*/ 62979 h 262323"/>
              <a:gd name="connsiteX31" fmla="*/ 316704 w 330100"/>
              <a:gd name="connsiteY31" fmla="*/ 72986 h 262323"/>
              <a:gd name="connsiteX32" fmla="*/ 318150 w 330100"/>
              <a:gd name="connsiteY32" fmla="*/ 86811 h 262323"/>
              <a:gd name="connsiteX33" fmla="*/ 329719 w 330100"/>
              <a:gd name="connsiteY33" fmla="*/ 106420 h 262323"/>
              <a:gd name="connsiteX34" fmla="*/ 327752 w 330100"/>
              <a:gd name="connsiteY34" fmla="*/ 115907 h 262323"/>
              <a:gd name="connsiteX35" fmla="*/ 322430 w 330100"/>
              <a:gd name="connsiteY35" fmla="*/ 118452 h 262323"/>
              <a:gd name="connsiteX36" fmla="*/ 316010 w 330100"/>
              <a:gd name="connsiteY36" fmla="*/ 118105 h 262323"/>
              <a:gd name="connsiteX37" fmla="*/ 296400 w 330100"/>
              <a:gd name="connsiteY37" fmla="*/ 117295 h 262323"/>
              <a:gd name="connsiteX38" fmla="*/ 283501 w 330100"/>
              <a:gd name="connsiteY38" fmla="*/ 119088 h 262323"/>
              <a:gd name="connsiteX39" fmla="*/ 266148 w 330100"/>
              <a:gd name="connsiteY39" fmla="*/ 130021 h 262323"/>
              <a:gd name="connsiteX40" fmla="*/ 262735 w 330100"/>
              <a:gd name="connsiteY40" fmla="*/ 130021 h 262323"/>
              <a:gd name="connsiteX41" fmla="*/ 261000 w 330100"/>
              <a:gd name="connsiteY41" fmla="*/ 130021 h 262323"/>
              <a:gd name="connsiteX42" fmla="*/ 258397 w 330100"/>
              <a:gd name="connsiteY42" fmla="*/ 136326 h 262323"/>
              <a:gd name="connsiteX43" fmla="*/ 258397 w 330100"/>
              <a:gd name="connsiteY43" fmla="*/ 144077 h 262323"/>
              <a:gd name="connsiteX44" fmla="*/ 256950 w 330100"/>
              <a:gd name="connsiteY44" fmla="*/ 153043 h 262323"/>
              <a:gd name="connsiteX45" fmla="*/ 253885 w 330100"/>
              <a:gd name="connsiteY45" fmla="*/ 154200 h 262323"/>
              <a:gd name="connsiteX46" fmla="*/ 249836 w 330100"/>
              <a:gd name="connsiteY46" fmla="*/ 156976 h 262323"/>
              <a:gd name="connsiteX47" fmla="*/ 241506 w 330100"/>
              <a:gd name="connsiteY47" fmla="*/ 162240 h 262323"/>
              <a:gd name="connsiteX48" fmla="*/ 235722 w 330100"/>
              <a:gd name="connsiteY48" fmla="*/ 162587 h 262323"/>
              <a:gd name="connsiteX49" fmla="*/ 222013 w 330100"/>
              <a:gd name="connsiteY49" fmla="*/ 168372 h 262323"/>
              <a:gd name="connsiteX50" fmla="*/ 206857 w 330100"/>
              <a:gd name="connsiteY50" fmla="*/ 185725 h 262323"/>
              <a:gd name="connsiteX51" fmla="*/ 196908 w 330100"/>
              <a:gd name="connsiteY51" fmla="*/ 186361 h 262323"/>
              <a:gd name="connsiteX52" fmla="*/ 196619 w 330100"/>
              <a:gd name="connsiteY52" fmla="*/ 186361 h 262323"/>
              <a:gd name="connsiteX53" fmla="*/ 184472 w 330100"/>
              <a:gd name="connsiteY53" fmla="*/ 189947 h 262323"/>
              <a:gd name="connsiteX54" fmla="*/ 176778 w 330100"/>
              <a:gd name="connsiteY54" fmla="*/ 195096 h 262323"/>
              <a:gd name="connsiteX55" fmla="*/ 172845 w 330100"/>
              <a:gd name="connsiteY55" fmla="*/ 195096 h 262323"/>
              <a:gd name="connsiteX56" fmla="*/ 166077 w 330100"/>
              <a:gd name="connsiteY56" fmla="*/ 196310 h 262323"/>
              <a:gd name="connsiteX57" fmla="*/ 122983 w 330100"/>
              <a:gd name="connsiteY57" fmla="*/ 224191 h 262323"/>
              <a:gd name="connsiteX58" fmla="*/ 123330 w 330100"/>
              <a:gd name="connsiteY58" fmla="*/ 250337 h 262323"/>
              <a:gd name="connsiteX59" fmla="*/ 123619 w 330100"/>
              <a:gd name="connsiteY59" fmla="*/ 261096 h 262323"/>
              <a:gd name="connsiteX60" fmla="*/ 122810 w 330100"/>
              <a:gd name="connsiteY60" fmla="*/ 262195 h 262323"/>
              <a:gd name="connsiteX61" fmla="*/ 4113 w 330100"/>
              <a:gd name="connsiteY61" fmla="*/ 249007 h 262323"/>
              <a:gd name="connsiteX62" fmla="*/ 102448 w 330100"/>
              <a:gd name="connsiteY62" fmla="*/ 249007 h 262323"/>
              <a:gd name="connsiteX63" fmla="*/ 120727 w 330100"/>
              <a:gd name="connsiteY63" fmla="*/ 253923 h 262323"/>
              <a:gd name="connsiteX64" fmla="*/ 120727 w 330100"/>
              <a:gd name="connsiteY64" fmla="*/ 249874 h 262323"/>
              <a:gd name="connsiteX65" fmla="*/ 120727 w 330100"/>
              <a:gd name="connsiteY65" fmla="*/ 223034 h 262323"/>
              <a:gd name="connsiteX66" fmla="*/ 164862 w 330100"/>
              <a:gd name="connsiteY66" fmla="*/ 193823 h 262323"/>
              <a:gd name="connsiteX67" fmla="*/ 174869 w 330100"/>
              <a:gd name="connsiteY67" fmla="*/ 192319 h 262323"/>
              <a:gd name="connsiteX68" fmla="*/ 176720 w 330100"/>
              <a:gd name="connsiteY68" fmla="*/ 192319 h 262323"/>
              <a:gd name="connsiteX69" fmla="*/ 182158 w 330100"/>
              <a:gd name="connsiteY69" fmla="*/ 189427 h 262323"/>
              <a:gd name="connsiteX70" fmla="*/ 196561 w 330100"/>
              <a:gd name="connsiteY70" fmla="*/ 183642 h 262323"/>
              <a:gd name="connsiteX71" fmla="*/ 197602 w 330100"/>
              <a:gd name="connsiteY71" fmla="*/ 183642 h 262323"/>
              <a:gd name="connsiteX72" fmla="*/ 207089 w 330100"/>
              <a:gd name="connsiteY72" fmla="*/ 183122 h 262323"/>
              <a:gd name="connsiteX73" fmla="*/ 220393 w 330100"/>
              <a:gd name="connsiteY73" fmla="*/ 168198 h 262323"/>
              <a:gd name="connsiteX74" fmla="*/ 236358 w 330100"/>
              <a:gd name="connsiteY74" fmla="*/ 160215 h 262323"/>
              <a:gd name="connsiteX75" fmla="*/ 242142 w 330100"/>
              <a:gd name="connsiteY75" fmla="*/ 159926 h 262323"/>
              <a:gd name="connsiteX76" fmla="*/ 248910 w 330100"/>
              <a:gd name="connsiteY76" fmla="*/ 155588 h 262323"/>
              <a:gd name="connsiteX77" fmla="*/ 254694 w 330100"/>
              <a:gd name="connsiteY77" fmla="*/ 151886 h 262323"/>
              <a:gd name="connsiteX78" fmla="*/ 256141 w 330100"/>
              <a:gd name="connsiteY78" fmla="*/ 151423 h 262323"/>
              <a:gd name="connsiteX79" fmla="*/ 256950 w 330100"/>
              <a:gd name="connsiteY79" fmla="*/ 144077 h 262323"/>
              <a:gd name="connsiteX80" fmla="*/ 256950 w 330100"/>
              <a:gd name="connsiteY80" fmla="*/ 136037 h 262323"/>
              <a:gd name="connsiteX81" fmla="*/ 261810 w 330100"/>
              <a:gd name="connsiteY81" fmla="*/ 127707 h 262323"/>
              <a:gd name="connsiteX82" fmla="*/ 263603 w 330100"/>
              <a:gd name="connsiteY82" fmla="*/ 127707 h 262323"/>
              <a:gd name="connsiteX83" fmla="*/ 266957 w 330100"/>
              <a:gd name="connsiteY83" fmla="*/ 127707 h 262323"/>
              <a:gd name="connsiteX84" fmla="*/ 281881 w 330100"/>
              <a:gd name="connsiteY84" fmla="*/ 119030 h 262323"/>
              <a:gd name="connsiteX85" fmla="*/ 297037 w 330100"/>
              <a:gd name="connsiteY85" fmla="*/ 114981 h 262323"/>
              <a:gd name="connsiteX86" fmla="*/ 316820 w 330100"/>
              <a:gd name="connsiteY86" fmla="*/ 115791 h 262323"/>
              <a:gd name="connsiteX87" fmla="*/ 323066 w 330100"/>
              <a:gd name="connsiteY87" fmla="*/ 116138 h 262323"/>
              <a:gd name="connsiteX88" fmla="*/ 326653 w 330100"/>
              <a:gd name="connsiteY88" fmla="*/ 114461 h 262323"/>
              <a:gd name="connsiteX89" fmla="*/ 328157 w 330100"/>
              <a:gd name="connsiteY89" fmla="*/ 106767 h 262323"/>
              <a:gd name="connsiteX90" fmla="*/ 318439 w 330100"/>
              <a:gd name="connsiteY90" fmla="*/ 88951 h 262323"/>
              <a:gd name="connsiteX91" fmla="*/ 315084 w 330100"/>
              <a:gd name="connsiteY91" fmla="*/ 72755 h 262323"/>
              <a:gd name="connsiteX92" fmla="*/ 315663 w 330100"/>
              <a:gd name="connsiteY92" fmla="*/ 62921 h 262323"/>
              <a:gd name="connsiteX93" fmla="*/ 307911 w 330100"/>
              <a:gd name="connsiteY93" fmla="*/ 35156 h 262323"/>
              <a:gd name="connsiteX94" fmla="*/ 303573 w 330100"/>
              <a:gd name="connsiteY94" fmla="*/ 27116 h 262323"/>
              <a:gd name="connsiteX95" fmla="*/ 287839 w 330100"/>
              <a:gd name="connsiteY95" fmla="*/ 23414 h 262323"/>
              <a:gd name="connsiteX96" fmla="*/ 272569 w 330100"/>
              <a:gd name="connsiteY96" fmla="*/ 19769 h 262323"/>
              <a:gd name="connsiteX97" fmla="*/ 259554 w 330100"/>
              <a:gd name="connsiteY97" fmla="*/ 20637 h 262323"/>
              <a:gd name="connsiteX98" fmla="*/ 245613 w 330100"/>
              <a:gd name="connsiteY98" fmla="*/ 21621 h 262323"/>
              <a:gd name="connsiteX99" fmla="*/ 225367 w 330100"/>
              <a:gd name="connsiteY99" fmla="*/ 14506 h 262323"/>
              <a:gd name="connsiteX100" fmla="*/ 206395 w 330100"/>
              <a:gd name="connsiteY100" fmla="*/ 1838 h 262323"/>
              <a:gd name="connsiteX101" fmla="*/ 201246 w 330100"/>
              <a:gd name="connsiteY101" fmla="*/ 3053 h 262323"/>
              <a:gd name="connsiteX102" fmla="*/ 183893 w 330100"/>
              <a:gd name="connsiteY102" fmla="*/ 34173 h 262323"/>
              <a:gd name="connsiteX103" fmla="*/ 171804 w 330100"/>
              <a:gd name="connsiteY103" fmla="*/ 58410 h 262323"/>
              <a:gd name="connsiteX104" fmla="*/ 129288 w 330100"/>
              <a:gd name="connsiteY104" fmla="*/ 78713 h 262323"/>
              <a:gd name="connsiteX105" fmla="*/ 117719 w 330100"/>
              <a:gd name="connsiteY105" fmla="*/ 90282 h 262323"/>
              <a:gd name="connsiteX106" fmla="*/ 109621 w 330100"/>
              <a:gd name="connsiteY106" fmla="*/ 101851 h 262323"/>
              <a:gd name="connsiteX107" fmla="*/ 103085 w 330100"/>
              <a:gd name="connsiteY107" fmla="*/ 113420 h 262323"/>
              <a:gd name="connsiteX108" fmla="*/ 94292 w 330100"/>
              <a:gd name="connsiteY108" fmla="*/ 127938 h 262323"/>
              <a:gd name="connsiteX109" fmla="*/ 94292 w 330100"/>
              <a:gd name="connsiteY109" fmla="*/ 168082 h 262323"/>
              <a:gd name="connsiteX110" fmla="*/ 94697 w 330100"/>
              <a:gd name="connsiteY110" fmla="*/ 175139 h 262323"/>
              <a:gd name="connsiteX111" fmla="*/ 61610 w 330100"/>
              <a:gd name="connsiteY111" fmla="*/ 214473 h 262323"/>
              <a:gd name="connsiteX112" fmla="*/ 49290 w 330100"/>
              <a:gd name="connsiteY112" fmla="*/ 225001 h 262323"/>
              <a:gd name="connsiteX113" fmla="*/ 21235 w 330100"/>
              <a:gd name="connsiteY113" fmla="*/ 241660 h 262323"/>
              <a:gd name="connsiteX114" fmla="*/ 4113 w 330100"/>
              <a:gd name="connsiteY114" fmla="*/ 249007 h 26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330100" h="262323">
                <a:moveTo>
                  <a:pt x="122289" y="261732"/>
                </a:moveTo>
                <a:cubicBezTo>
                  <a:pt x="121878" y="261738"/>
                  <a:pt x="121502" y="261512"/>
                  <a:pt x="121306" y="261154"/>
                </a:cubicBezTo>
                <a:cubicBezTo>
                  <a:pt x="120611" y="259922"/>
                  <a:pt x="120085" y="258597"/>
                  <a:pt x="119744" y="257220"/>
                </a:cubicBezTo>
                <a:cubicBezTo>
                  <a:pt x="118760" y="253634"/>
                  <a:pt x="118124" y="251436"/>
                  <a:pt x="102391" y="251436"/>
                </a:cubicBezTo>
                <a:lnTo>
                  <a:pt x="1105" y="251436"/>
                </a:lnTo>
                <a:cubicBezTo>
                  <a:pt x="625" y="251453"/>
                  <a:pt x="197" y="251147"/>
                  <a:pt x="64" y="250684"/>
                </a:cubicBezTo>
                <a:cubicBezTo>
                  <a:pt x="-167" y="250314"/>
                  <a:pt x="-167" y="249839"/>
                  <a:pt x="64" y="249469"/>
                </a:cubicBezTo>
                <a:cubicBezTo>
                  <a:pt x="5721" y="244211"/>
                  <a:pt x="12801" y="240729"/>
                  <a:pt x="20425" y="239462"/>
                </a:cubicBezTo>
                <a:cubicBezTo>
                  <a:pt x="31005" y="237559"/>
                  <a:pt x="40544" y="231890"/>
                  <a:pt x="47265" y="223497"/>
                </a:cubicBezTo>
                <a:cubicBezTo>
                  <a:pt x="51013" y="219292"/>
                  <a:pt x="55311" y="215613"/>
                  <a:pt x="60049" y="212564"/>
                </a:cubicBezTo>
                <a:cubicBezTo>
                  <a:pt x="71270" y="205970"/>
                  <a:pt x="88971" y="186014"/>
                  <a:pt x="92152" y="174619"/>
                </a:cubicBezTo>
                <a:cubicBezTo>
                  <a:pt x="92817" y="172907"/>
                  <a:pt x="92817" y="171009"/>
                  <a:pt x="92152" y="169297"/>
                </a:cubicBezTo>
                <a:cubicBezTo>
                  <a:pt x="86889" y="160447"/>
                  <a:pt x="81509" y="134937"/>
                  <a:pt x="92152" y="126203"/>
                </a:cubicBezTo>
                <a:cubicBezTo>
                  <a:pt x="96219" y="122715"/>
                  <a:pt x="99059" y="118006"/>
                  <a:pt x="100251" y="112783"/>
                </a:cubicBezTo>
                <a:cubicBezTo>
                  <a:pt x="101344" y="108005"/>
                  <a:pt x="103889" y="103678"/>
                  <a:pt x="107539" y="100404"/>
                </a:cubicBezTo>
                <a:cubicBezTo>
                  <a:pt x="110726" y="97292"/>
                  <a:pt x="113265" y="93573"/>
                  <a:pt x="115001" y="89472"/>
                </a:cubicBezTo>
                <a:cubicBezTo>
                  <a:pt x="118240" y="83225"/>
                  <a:pt x="121595" y="76746"/>
                  <a:pt x="128826" y="76746"/>
                </a:cubicBezTo>
                <a:cubicBezTo>
                  <a:pt x="139816" y="76746"/>
                  <a:pt x="161739" y="68648"/>
                  <a:pt x="169317" y="57426"/>
                </a:cubicBezTo>
                <a:cubicBezTo>
                  <a:pt x="173805" y="49727"/>
                  <a:pt x="177785" y="41750"/>
                  <a:pt x="181233" y="33536"/>
                </a:cubicBezTo>
                <a:cubicBezTo>
                  <a:pt x="188174" y="18150"/>
                  <a:pt x="194710" y="3631"/>
                  <a:pt x="199627" y="1317"/>
                </a:cubicBezTo>
                <a:cubicBezTo>
                  <a:pt x="201536" y="380"/>
                  <a:pt x="203630" y="-112"/>
                  <a:pt x="205758" y="-129"/>
                </a:cubicBezTo>
                <a:cubicBezTo>
                  <a:pt x="211832" y="-129"/>
                  <a:pt x="217963" y="3862"/>
                  <a:pt x="226409" y="13291"/>
                </a:cubicBezTo>
                <a:cubicBezTo>
                  <a:pt x="231349" y="18063"/>
                  <a:pt x="238151" y="20394"/>
                  <a:pt x="244977" y="19654"/>
                </a:cubicBezTo>
                <a:cubicBezTo>
                  <a:pt x="249431" y="19654"/>
                  <a:pt x="254116" y="19133"/>
                  <a:pt x="258686" y="18670"/>
                </a:cubicBezTo>
                <a:cubicBezTo>
                  <a:pt x="263094" y="18075"/>
                  <a:pt x="267542" y="17762"/>
                  <a:pt x="271990" y="17745"/>
                </a:cubicBezTo>
                <a:cubicBezTo>
                  <a:pt x="277445" y="18260"/>
                  <a:pt x="282801" y="19544"/>
                  <a:pt x="287897" y="21563"/>
                </a:cubicBezTo>
                <a:cubicBezTo>
                  <a:pt x="292814" y="23541"/>
                  <a:pt x="298002" y="24750"/>
                  <a:pt x="303284" y="25149"/>
                </a:cubicBezTo>
                <a:lnTo>
                  <a:pt x="303689" y="25149"/>
                </a:lnTo>
                <a:cubicBezTo>
                  <a:pt x="304123" y="25218"/>
                  <a:pt x="304499" y="25473"/>
                  <a:pt x="304730" y="25843"/>
                </a:cubicBezTo>
                <a:cubicBezTo>
                  <a:pt x="305875" y="28730"/>
                  <a:pt x="307327" y="31483"/>
                  <a:pt x="309068" y="34057"/>
                </a:cubicBezTo>
                <a:cubicBezTo>
                  <a:pt x="315020" y="42479"/>
                  <a:pt x="317918" y="52683"/>
                  <a:pt x="317282" y="62979"/>
                </a:cubicBezTo>
                <a:cubicBezTo>
                  <a:pt x="317282" y="66218"/>
                  <a:pt x="316993" y="69689"/>
                  <a:pt x="316704" y="72986"/>
                </a:cubicBezTo>
                <a:cubicBezTo>
                  <a:pt x="316068" y="79580"/>
                  <a:pt x="315431" y="86348"/>
                  <a:pt x="318150" y="86811"/>
                </a:cubicBezTo>
                <a:cubicBezTo>
                  <a:pt x="324744" y="87910"/>
                  <a:pt x="329198" y="103586"/>
                  <a:pt x="329719" y="106420"/>
                </a:cubicBezTo>
                <a:cubicBezTo>
                  <a:pt x="330436" y="109717"/>
                  <a:pt x="329719" y="113165"/>
                  <a:pt x="327752" y="115907"/>
                </a:cubicBezTo>
                <a:cubicBezTo>
                  <a:pt x="326479" y="117544"/>
                  <a:pt x="324507" y="118487"/>
                  <a:pt x="322430" y="118452"/>
                </a:cubicBezTo>
                <a:cubicBezTo>
                  <a:pt x="321331" y="118452"/>
                  <a:pt x="318960" y="118452"/>
                  <a:pt x="316010" y="118105"/>
                </a:cubicBezTo>
                <a:cubicBezTo>
                  <a:pt x="310225" y="117758"/>
                  <a:pt x="302995" y="117295"/>
                  <a:pt x="296400" y="117295"/>
                </a:cubicBezTo>
                <a:cubicBezTo>
                  <a:pt x="284079" y="117295"/>
                  <a:pt x="283501" y="119030"/>
                  <a:pt x="283501" y="119088"/>
                </a:cubicBezTo>
                <a:cubicBezTo>
                  <a:pt x="283501" y="125509"/>
                  <a:pt x="274420" y="130021"/>
                  <a:pt x="266148" y="130021"/>
                </a:cubicBezTo>
                <a:lnTo>
                  <a:pt x="262735" y="130021"/>
                </a:lnTo>
                <a:lnTo>
                  <a:pt x="261000" y="130021"/>
                </a:lnTo>
                <a:cubicBezTo>
                  <a:pt x="259091" y="130021"/>
                  <a:pt x="258975" y="130021"/>
                  <a:pt x="258397" y="136326"/>
                </a:cubicBezTo>
                <a:cubicBezTo>
                  <a:pt x="258229" y="138906"/>
                  <a:pt x="258229" y="141497"/>
                  <a:pt x="258397" y="144077"/>
                </a:cubicBezTo>
                <a:cubicBezTo>
                  <a:pt x="258397" y="148126"/>
                  <a:pt x="258397" y="151307"/>
                  <a:pt x="256950" y="153043"/>
                </a:cubicBezTo>
                <a:cubicBezTo>
                  <a:pt x="256129" y="153829"/>
                  <a:pt x="255024" y="154252"/>
                  <a:pt x="253885" y="154200"/>
                </a:cubicBezTo>
                <a:cubicBezTo>
                  <a:pt x="252034" y="154200"/>
                  <a:pt x="251224" y="155125"/>
                  <a:pt x="249836" y="156976"/>
                </a:cubicBezTo>
                <a:cubicBezTo>
                  <a:pt x="248031" y="159932"/>
                  <a:pt x="244954" y="161881"/>
                  <a:pt x="241506" y="162240"/>
                </a:cubicBezTo>
                <a:cubicBezTo>
                  <a:pt x="239771" y="162240"/>
                  <a:pt x="237862" y="162240"/>
                  <a:pt x="235722" y="162587"/>
                </a:cubicBezTo>
                <a:cubicBezTo>
                  <a:pt x="227450" y="162587"/>
                  <a:pt x="222013" y="163397"/>
                  <a:pt x="222013" y="168372"/>
                </a:cubicBezTo>
                <a:cubicBezTo>
                  <a:pt x="222082" y="177158"/>
                  <a:pt x="215574" y="184614"/>
                  <a:pt x="206857" y="185725"/>
                </a:cubicBezTo>
                <a:cubicBezTo>
                  <a:pt x="203572" y="186257"/>
                  <a:pt x="200240" y="186465"/>
                  <a:pt x="196908" y="186361"/>
                </a:cubicBezTo>
                <a:lnTo>
                  <a:pt x="196619" y="186361"/>
                </a:lnTo>
                <a:cubicBezTo>
                  <a:pt x="189504" y="186361"/>
                  <a:pt x="184472" y="186361"/>
                  <a:pt x="184472" y="189947"/>
                </a:cubicBezTo>
                <a:cubicBezTo>
                  <a:pt x="184472" y="195096"/>
                  <a:pt x="179439" y="195096"/>
                  <a:pt x="176778" y="195096"/>
                </a:cubicBezTo>
                <a:lnTo>
                  <a:pt x="172845" y="195096"/>
                </a:lnTo>
                <a:cubicBezTo>
                  <a:pt x="170525" y="194934"/>
                  <a:pt x="168194" y="195350"/>
                  <a:pt x="166077" y="196310"/>
                </a:cubicBezTo>
                <a:cubicBezTo>
                  <a:pt x="152137" y="204293"/>
                  <a:pt x="124256" y="221241"/>
                  <a:pt x="122983" y="224191"/>
                </a:cubicBezTo>
                <a:cubicBezTo>
                  <a:pt x="122636" y="225464"/>
                  <a:pt x="122983" y="238074"/>
                  <a:pt x="123330" y="250337"/>
                </a:cubicBezTo>
                <a:lnTo>
                  <a:pt x="123619" y="261096"/>
                </a:lnTo>
                <a:cubicBezTo>
                  <a:pt x="123619" y="261599"/>
                  <a:pt x="123290" y="262045"/>
                  <a:pt x="122810" y="262195"/>
                </a:cubicBezTo>
                <a:close/>
                <a:moveTo>
                  <a:pt x="4113" y="249007"/>
                </a:moveTo>
                <a:lnTo>
                  <a:pt x="102448" y="249007"/>
                </a:lnTo>
                <a:cubicBezTo>
                  <a:pt x="115406" y="249007"/>
                  <a:pt x="119107" y="250800"/>
                  <a:pt x="120727" y="253923"/>
                </a:cubicBezTo>
                <a:lnTo>
                  <a:pt x="120727" y="249874"/>
                </a:lnTo>
                <a:cubicBezTo>
                  <a:pt x="120322" y="233736"/>
                  <a:pt x="120091" y="224538"/>
                  <a:pt x="120727" y="223034"/>
                </a:cubicBezTo>
                <a:cubicBezTo>
                  <a:pt x="121884" y="218523"/>
                  <a:pt x="163127" y="194864"/>
                  <a:pt x="164862" y="193823"/>
                </a:cubicBezTo>
                <a:cubicBezTo>
                  <a:pt x="168015" y="192464"/>
                  <a:pt x="171462" y="191949"/>
                  <a:pt x="174869" y="192319"/>
                </a:cubicBezTo>
                <a:lnTo>
                  <a:pt x="176720" y="192319"/>
                </a:lnTo>
                <a:cubicBezTo>
                  <a:pt x="180885" y="192319"/>
                  <a:pt x="182158" y="191625"/>
                  <a:pt x="182158" y="189427"/>
                </a:cubicBezTo>
                <a:cubicBezTo>
                  <a:pt x="182158" y="183642"/>
                  <a:pt x="189793" y="183642"/>
                  <a:pt x="196561" y="183642"/>
                </a:cubicBezTo>
                <a:lnTo>
                  <a:pt x="197602" y="183642"/>
                </a:lnTo>
                <a:cubicBezTo>
                  <a:pt x="200772" y="183758"/>
                  <a:pt x="203948" y="183585"/>
                  <a:pt x="207089" y="183122"/>
                </a:cubicBezTo>
                <a:cubicBezTo>
                  <a:pt x="214643" y="182191"/>
                  <a:pt x="220335" y="175804"/>
                  <a:pt x="220393" y="168198"/>
                </a:cubicBezTo>
                <a:cubicBezTo>
                  <a:pt x="220393" y="160794"/>
                  <a:pt x="228896" y="160505"/>
                  <a:pt x="236358" y="160215"/>
                </a:cubicBezTo>
                <a:cubicBezTo>
                  <a:pt x="238325" y="160215"/>
                  <a:pt x="240233" y="160215"/>
                  <a:pt x="242142" y="159926"/>
                </a:cubicBezTo>
                <a:cubicBezTo>
                  <a:pt x="244965" y="159649"/>
                  <a:pt x="247482" y="158035"/>
                  <a:pt x="248910" y="155588"/>
                </a:cubicBezTo>
                <a:cubicBezTo>
                  <a:pt x="250050" y="153419"/>
                  <a:pt x="252248" y="152013"/>
                  <a:pt x="254694" y="151886"/>
                </a:cubicBezTo>
                <a:cubicBezTo>
                  <a:pt x="255215" y="151921"/>
                  <a:pt x="255736" y="151753"/>
                  <a:pt x="256141" y="151423"/>
                </a:cubicBezTo>
                <a:cubicBezTo>
                  <a:pt x="257124" y="150382"/>
                  <a:pt x="257066" y="147490"/>
                  <a:pt x="256950" y="144077"/>
                </a:cubicBezTo>
                <a:cubicBezTo>
                  <a:pt x="256783" y="141399"/>
                  <a:pt x="256783" y="138715"/>
                  <a:pt x="256950" y="136037"/>
                </a:cubicBezTo>
                <a:cubicBezTo>
                  <a:pt x="257529" y="129847"/>
                  <a:pt x="257760" y="127707"/>
                  <a:pt x="261810" y="127707"/>
                </a:cubicBezTo>
                <a:lnTo>
                  <a:pt x="263603" y="127707"/>
                </a:lnTo>
                <a:lnTo>
                  <a:pt x="266957" y="127707"/>
                </a:lnTo>
                <a:cubicBezTo>
                  <a:pt x="274651" y="127707"/>
                  <a:pt x="281881" y="123484"/>
                  <a:pt x="281881" y="119030"/>
                </a:cubicBezTo>
                <a:cubicBezTo>
                  <a:pt x="281881" y="116138"/>
                  <a:pt x="286278" y="114981"/>
                  <a:pt x="297037" y="114981"/>
                </a:cubicBezTo>
                <a:cubicBezTo>
                  <a:pt x="303689" y="114981"/>
                  <a:pt x="311266" y="115444"/>
                  <a:pt x="316820" y="115791"/>
                </a:cubicBezTo>
                <a:lnTo>
                  <a:pt x="323066" y="116138"/>
                </a:lnTo>
                <a:cubicBezTo>
                  <a:pt x="324461" y="116173"/>
                  <a:pt x="325785" y="115548"/>
                  <a:pt x="326653" y="114461"/>
                </a:cubicBezTo>
                <a:cubicBezTo>
                  <a:pt x="328203" y="112216"/>
                  <a:pt x="328753" y="109428"/>
                  <a:pt x="328157" y="106767"/>
                </a:cubicBezTo>
                <a:cubicBezTo>
                  <a:pt x="327174" y="101793"/>
                  <a:pt x="322719" y="89703"/>
                  <a:pt x="318439" y="88951"/>
                </a:cubicBezTo>
                <a:cubicBezTo>
                  <a:pt x="314159" y="88199"/>
                  <a:pt x="314274" y="81027"/>
                  <a:pt x="315084" y="72755"/>
                </a:cubicBezTo>
                <a:cubicBezTo>
                  <a:pt x="315084" y="69458"/>
                  <a:pt x="315663" y="66103"/>
                  <a:pt x="315663" y="62921"/>
                </a:cubicBezTo>
                <a:cubicBezTo>
                  <a:pt x="316351" y="53047"/>
                  <a:pt x="313615" y="43243"/>
                  <a:pt x="307911" y="35156"/>
                </a:cubicBezTo>
                <a:cubicBezTo>
                  <a:pt x="306211" y="32623"/>
                  <a:pt x="304759" y="29927"/>
                  <a:pt x="303573" y="27116"/>
                </a:cubicBezTo>
                <a:cubicBezTo>
                  <a:pt x="298171" y="26682"/>
                  <a:pt x="292866" y="25432"/>
                  <a:pt x="287839" y="23414"/>
                </a:cubicBezTo>
                <a:cubicBezTo>
                  <a:pt x="282951" y="21476"/>
                  <a:pt x="277809" y="20250"/>
                  <a:pt x="272569" y="19769"/>
                </a:cubicBezTo>
                <a:cubicBezTo>
                  <a:pt x="268213" y="19741"/>
                  <a:pt x="263863" y="20030"/>
                  <a:pt x="259554" y="20637"/>
                </a:cubicBezTo>
                <a:cubicBezTo>
                  <a:pt x="254926" y="21100"/>
                  <a:pt x="250183" y="21621"/>
                  <a:pt x="245613" y="21621"/>
                </a:cubicBezTo>
                <a:cubicBezTo>
                  <a:pt x="238145" y="22373"/>
                  <a:pt x="230724" y="19764"/>
                  <a:pt x="225367" y="14506"/>
                </a:cubicBezTo>
                <a:cubicBezTo>
                  <a:pt x="217501" y="5713"/>
                  <a:pt x="211658" y="1838"/>
                  <a:pt x="206395" y="1838"/>
                </a:cubicBezTo>
                <a:cubicBezTo>
                  <a:pt x="204613" y="1861"/>
                  <a:pt x="202855" y="2272"/>
                  <a:pt x="201246" y="3053"/>
                </a:cubicBezTo>
                <a:cubicBezTo>
                  <a:pt x="197082" y="5019"/>
                  <a:pt x="190083" y="20406"/>
                  <a:pt x="183893" y="34173"/>
                </a:cubicBezTo>
                <a:cubicBezTo>
                  <a:pt x="180446" y="42531"/>
                  <a:pt x="176402" y="50630"/>
                  <a:pt x="171804" y="58410"/>
                </a:cubicBezTo>
                <a:cubicBezTo>
                  <a:pt x="163706" y="69978"/>
                  <a:pt x="140742" y="78713"/>
                  <a:pt x="129288" y="78713"/>
                </a:cubicBezTo>
                <a:cubicBezTo>
                  <a:pt x="123504" y="78713"/>
                  <a:pt x="120669" y="84035"/>
                  <a:pt x="117719" y="90282"/>
                </a:cubicBezTo>
                <a:cubicBezTo>
                  <a:pt x="115839" y="94655"/>
                  <a:pt x="113086" y="98588"/>
                  <a:pt x="109621" y="101851"/>
                </a:cubicBezTo>
                <a:cubicBezTo>
                  <a:pt x="106312" y="104945"/>
                  <a:pt x="104027" y="108983"/>
                  <a:pt x="103085" y="113420"/>
                </a:cubicBezTo>
                <a:cubicBezTo>
                  <a:pt x="101783" y="119077"/>
                  <a:pt x="98700" y="124161"/>
                  <a:pt x="94292" y="127938"/>
                </a:cubicBezTo>
                <a:cubicBezTo>
                  <a:pt x="84517" y="135747"/>
                  <a:pt x="89723" y="159984"/>
                  <a:pt x="94292" y="168082"/>
                </a:cubicBezTo>
                <a:cubicBezTo>
                  <a:pt x="95397" y="170280"/>
                  <a:pt x="95542" y="172831"/>
                  <a:pt x="94697" y="175139"/>
                </a:cubicBezTo>
                <a:cubicBezTo>
                  <a:pt x="91631" y="187171"/>
                  <a:pt x="73411" y="207532"/>
                  <a:pt x="61610" y="214473"/>
                </a:cubicBezTo>
                <a:cubicBezTo>
                  <a:pt x="57035" y="217389"/>
                  <a:pt x="52887" y="220935"/>
                  <a:pt x="49290" y="225001"/>
                </a:cubicBezTo>
                <a:cubicBezTo>
                  <a:pt x="42273" y="233776"/>
                  <a:pt x="32301" y="239699"/>
                  <a:pt x="21235" y="241660"/>
                </a:cubicBezTo>
                <a:cubicBezTo>
                  <a:pt x="14988" y="242592"/>
                  <a:pt x="9094" y="245125"/>
                  <a:pt x="4113" y="24900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7" name="Forma libre: forma 286">
            <a:extLst>
              <a:ext uri="{FF2B5EF4-FFF2-40B4-BE49-F238E27FC236}">
                <a16:creationId xmlns:a16="http://schemas.microsoft.com/office/drawing/2014/main" id="{6AF86BAC-B1AE-9B80-8A81-363FCA8EFB46}"/>
              </a:ext>
            </a:extLst>
          </p:cNvPr>
          <p:cNvSpPr/>
          <p:nvPr/>
        </p:nvSpPr>
        <p:spPr>
          <a:xfrm>
            <a:off x="6390916" y="3403595"/>
            <a:ext cx="115821" cy="221063"/>
          </a:xfrm>
          <a:custGeom>
            <a:avLst/>
            <a:gdLst>
              <a:gd name="connsiteX0" fmla="*/ 62725 w 115821"/>
              <a:gd name="connsiteY0" fmla="*/ 220645 h 221063"/>
              <a:gd name="connsiteX1" fmla="*/ 61799 w 115821"/>
              <a:gd name="connsiteY1" fmla="*/ 220182 h 221063"/>
              <a:gd name="connsiteX2" fmla="*/ 59138 w 115821"/>
              <a:gd name="connsiteY2" fmla="*/ 212373 h 221063"/>
              <a:gd name="connsiteX3" fmla="*/ 46471 w 115821"/>
              <a:gd name="connsiteY3" fmla="*/ 164536 h 221063"/>
              <a:gd name="connsiteX4" fmla="*/ 35422 w 115821"/>
              <a:gd name="connsiteY4" fmla="*/ 156669 h 221063"/>
              <a:gd name="connsiteX5" fmla="*/ 25242 w 115821"/>
              <a:gd name="connsiteY5" fmla="*/ 147703 h 221063"/>
              <a:gd name="connsiteX6" fmla="*/ 14483 w 115821"/>
              <a:gd name="connsiteY6" fmla="*/ 130986 h 221063"/>
              <a:gd name="connsiteX7" fmla="*/ 80 w 115821"/>
              <a:gd name="connsiteY7" fmla="*/ 103221 h 221063"/>
              <a:gd name="connsiteX8" fmla="*/ 3608 w 115821"/>
              <a:gd name="connsiteY8" fmla="*/ 99750 h 221063"/>
              <a:gd name="connsiteX9" fmla="*/ 12458 w 115821"/>
              <a:gd name="connsiteY9" fmla="*/ 91247 h 221063"/>
              <a:gd name="connsiteX10" fmla="*/ 20845 w 115821"/>
              <a:gd name="connsiteY10" fmla="*/ 82050 h 221063"/>
              <a:gd name="connsiteX11" fmla="*/ 29869 w 115821"/>
              <a:gd name="connsiteY11" fmla="*/ 68341 h 221063"/>
              <a:gd name="connsiteX12" fmla="*/ 28481 w 115821"/>
              <a:gd name="connsiteY12" fmla="*/ 54632 h 221063"/>
              <a:gd name="connsiteX13" fmla="*/ 28481 w 115821"/>
              <a:gd name="connsiteY13" fmla="*/ 11249 h 221063"/>
              <a:gd name="connsiteX14" fmla="*/ 29580 w 115821"/>
              <a:gd name="connsiteY14" fmla="*/ 10265 h 221063"/>
              <a:gd name="connsiteX15" fmla="*/ 29927 w 115821"/>
              <a:gd name="connsiteY15" fmla="*/ 10265 h 221063"/>
              <a:gd name="connsiteX16" fmla="*/ 43521 w 115821"/>
              <a:gd name="connsiteY16" fmla="*/ 6332 h 221063"/>
              <a:gd name="connsiteX17" fmla="*/ 64113 w 115821"/>
              <a:gd name="connsiteY17" fmla="*/ -89 h 221063"/>
              <a:gd name="connsiteX18" fmla="*/ 82970 w 115821"/>
              <a:gd name="connsiteY18" fmla="*/ 9050 h 221063"/>
              <a:gd name="connsiteX19" fmla="*/ 88003 w 115821"/>
              <a:gd name="connsiteY19" fmla="*/ 15529 h 221063"/>
              <a:gd name="connsiteX20" fmla="*/ 93787 w 115821"/>
              <a:gd name="connsiteY20" fmla="*/ 12810 h 221063"/>
              <a:gd name="connsiteX21" fmla="*/ 98126 w 115821"/>
              <a:gd name="connsiteY21" fmla="*/ 11075 h 221063"/>
              <a:gd name="connsiteX22" fmla="*/ 102753 w 115821"/>
              <a:gd name="connsiteY22" fmla="*/ 13967 h 221063"/>
              <a:gd name="connsiteX23" fmla="*/ 99051 w 115821"/>
              <a:gd name="connsiteY23" fmla="*/ 24090 h 221063"/>
              <a:gd name="connsiteX24" fmla="*/ 95812 w 115821"/>
              <a:gd name="connsiteY24" fmla="*/ 27387 h 221063"/>
              <a:gd name="connsiteX25" fmla="*/ 88465 w 115821"/>
              <a:gd name="connsiteY25" fmla="*/ 38378 h 221063"/>
              <a:gd name="connsiteX26" fmla="*/ 94250 w 115821"/>
              <a:gd name="connsiteY26" fmla="*/ 46244 h 221063"/>
              <a:gd name="connsiteX27" fmla="*/ 103100 w 115821"/>
              <a:gd name="connsiteY27" fmla="*/ 64465 h 221063"/>
              <a:gd name="connsiteX28" fmla="*/ 93440 w 115821"/>
              <a:gd name="connsiteY28" fmla="*/ 84827 h 221063"/>
              <a:gd name="connsiteX29" fmla="*/ 81235 w 115821"/>
              <a:gd name="connsiteY29" fmla="*/ 92173 h 221063"/>
              <a:gd name="connsiteX30" fmla="*/ 72443 w 115821"/>
              <a:gd name="connsiteY30" fmla="*/ 102700 h 221063"/>
              <a:gd name="connsiteX31" fmla="*/ 87077 w 115821"/>
              <a:gd name="connsiteY31" fmla="*/ 113112 h 221063"/>
              <a:gd name="connsiteX32" fmla="*/ 91878 w 115821"/>
              <a:gd name="connsiteY32" fmla="*/ 111493 h 221063"/>
              <a:gd name="connsiteX33" fmla="*/ 95523 w 115821"/>
              <a:gd name="connsiteY33" fmla="*/ 109642 h 221063"/>
              <a:gd name="connsiteX34" fmla="*/ 105182 w 115821"/>
              <a:gd name="connsiteY34" fmla="*/ 121211 h 221063"/>
              <a:gd name="connsiteX35" fmla="*/ 115189 w 115821"/>
              <a:gd name="connsiteY35" fmla="*/ 131854 h 221063"/>
              <a:gd name="connsiteX36" fmla="*/ 115710 w 115821"/>
              <a:gd name="connsiteY36" fmla="*/ 132953 h 221063"/>
              <a:gd name="connsiteX37" fmla="*/ 114842 w 115821"/>
              <a:gd name="connsiteY37" fmla="*/ 147009 h 221063"/>
              <a:gd name="connsiteX38" fmla="*/ 105067 w 115821"/>
              <a:gd name="connsiteY38" fmla="*/ 156091 h 221063"/>
              <a:gd name="connsiteX39" fmla="*/ 102464 w 115821"/>
              <a:gd name="connsiteY39" fmla="*/ 156611 h 221063"/>
              <a:gd name="connsiteX40" fmla="*/ 88523 w 115821"/>
              <a:gd name="connsiteY40" fmla="*/ 170320 h 221063"/>
              <a:gd name="connsiteX41" fmla="*/ 82103 w 115821"/>
              <a:gd name="connsiteY41" fmla="*/ 176626 h 221063"/>
              <a:gd name="connsiteX42" fmla="*/ 79905 w 115821"/>
              <a:gd name="connsiteY42" fmla="*/ 187385 h 221063"/>
              <a:gd name="connsiteX43" fmla="*/ 75045 w 115821"/>
              <a:gd name="connsiteY43" fmla="*/ 210522 h 221063"/>
              <a:gd name="connsiteX44" fmla="*/ 64344 w 115821"/>
              <a:gd name="connsiteY44" fmla="*/ 220298 h 221063"/>
              <a:gd name="connsiteX45" fmla="*/ 63361 w 115821"/>
              <a:gd name="connsiteY45" fmla="*/ 220934 h 221063"/>
              <a:gd name="connsiteX46" fmla="*/ 62725 w 115821"/>
              <a:gd name="connsiteY46" fmla="*/ 220645 h 221063"/>
              <a:gd name="connsiteX47" fmla="*/ 30853 w 115821"/>
              <a:gd name="connsiteY47" fmla="*/ 12406 h 221063"/>
              <a:gd name="connsiteX48" fmla="*/ 30506 w 115821"/>
              <a:gd name="connsiteY48" fmla="*/ 53301 h 221063"/>
              <a:gd name="connsiteX49" fmla="*/ 32241 w 115821"/>
              <a:gd name="connsiteY49" fmla="*/ 68804 h 221063"/>
              <a:gd name="connsiteX50" fmla="*/ 22060 w 115821"/>
              <a:gd name="connsiteY50" fmla="*/ 83959 h 221063"/>
              <a:gd name="connsiteX51" fmla="*/ 14483 w 115821"/>
              <a:gd name="connsiteY51" fmla="*/ 92404 h 221063"/>
              <a:gd name="connsiteX52" fmla="*/ 3782 w 115821"/>
              <a:gd name="connsiteY52" fmla="*/ 101891 h 221063"/>
              <a:gd name="connsiteX53" fmla="*/ 2509 w 115821"/>
              <a:gd name="connsiteY53" fmla="*/ 103510 h 221063"/>
              <a:gd name="connsiteX54" fmla="*/ 15524 w 115821"/>
              <a:gd name="connsiteY54" fmla="*/ 128788 h 221063"/>
              <a:gd name="connsiteX55" fmla="*/ 27498 w 115821"/>
              <a:gd name="connsiteY55" fmla="*/ 147588 h 221063"/>
              <a:gd name="connsiteX56" fmla="*/ 36521 w 115821"/>
              <a:gd name="connsiteY56" fmla="*/ 154587 h 221063"/>
              <a:gd name="connsiteX57" fmla="*/ 48090 w 115821"/>
              <a:gd name="connsiteY57" fmla="*/ 163090 h 221063"/>
              <a:gd name="connsiteX58" fmla="*/ 61279 w 115821"/>
              <a:gd name="connsiteY58" fmla="*/ 212258 h 221063"/>
              <a:gd name="connsiteX59" fmla="*/ 62840 w 115821"/>
              <a:gd name="connsiteY59" fmla="*/ 218042 h 221063"/>
              <a:gd name="connsiteX60" fmla="*/ 62840 w 115821"/>
              <a:gd name="connsiteY60" fmla="*/ 218042 h 221063"/>
              <a:gd name="connsiteX61" fmla="*/ 72790 w 115821"/>
              <a:gd name="connsiteY61" fmla="*/ 209076 h 221063"/>
              <a:gd name="connsiteX62" fmla="*/ 77649 w 115821"/>
              <a:gd name="connsiteY62" fmla="*/ 188310 h 221063"/>
              <a:gd name="connsiteX63" fmla="*/ 80367 w 115821"/>
              <a:gd name="connsiteY63" fmla="*/ 174832 h 221063"/>
              <a:gd name="connsiteX64" fmla="*/ 86672 w 115821"/>
              <a:gd name="connsiteY64" fmla="*/ 168643 h 221063"/>
              <a:gd name="connsiteX65" fmla="*/ 101654 w 115821"/>
              <a:gd name="connsiteY65" fmla="*/ 154876 h 221063"/>
              <a:gd name="connsiteX66" fmla="*/ 104835 w 115821"/>
              <a:gd name="connsiteY66" fmla="*/ 154240 h 221063"/>
              <a:gd name="connsiteX67" fmla="*/ 112644 w 115821"/>
              <a:gd name="connsiteY67" fmla="*/ 147472 h 221063"/>
              <a:gd name="connsiteX68" fmla="*/ 113454 w 115821"/>
              <a:gd name="connsiteY68" fmla="*/ 133763 h 221063"/>
              <a:gd name="connsiteX69" fmla="*/ 102984 w 115821"/>
              <a:gd name="connsiteY69" fmla="*/ 121558 h 221063"/>
              <a:gd name="connsiteX70" fmla="*/ 93672 w 115821"/>
              <a:gd name="connsiteY70" fmla="*/ 113055 h 221063"/>
              <a:gd name="connsiteX71" fmla="*/ 87135 w 115821"/>
              <a:gd name="connsiteY71" fmla="*/ 115484 h 221063"/>
              <a:gd name="connsiteX72" fmla="*/ 70303 w 115821"/>
              <a:gd name="connsiteY72" fmla="*/ 103221 h 221063"/>
              <a:gd name="connsiteX73" fmla="*/ 80310 w 115821"/>
              <a:gd name="connsiteY73" fmla="*/ 90264 h 221063"/>
              <a:gd name="connsiteX74" fmla="*/ 91878 w 115821"/>
              <a:gd name="connsiteY74" fmla="*/ 83149 h 221063"/>
              <a:gd name="connsiteX75" fmla="*/ 101249 w 115821"/>
              <a:gd name="connsiteY75" fmla="*/ 64465 h 221063"/>
              <a:gd name="connsiteX76" fmla="*/ 93209 w 115821"/>
              <a:gd name="connsiteY76" fmla="*/ 48037 h 221063"/>
              <a:gd name="connsiteX77" fmla="*/ 86788 w 115821"/>
              <a:gd name="connsiteY77" fmla="*/ 38493 h 221063"/>
              <a:gd name="connsiteX78" fmla="*/ 94771 w 115821"/>
              <a:gd name="connsiteY78" fmla="*/ 25768 h 221063"/>
              <a:gd name="connsiteX79" fmla="*/ 97952 w 115821"/>
              <a:gd name="connsiteY79" fmla="*/ 22528 h 221063"/>
              <a:gd name="connsiteX80" fmla="*/ 101249 w 115821"/>
              <a:gd name="connsiteY80" fmla="*/ 14893 h 221063"/>
              <a:gd name="connsiteX81" fmla="*/ 95870 w 115821"/>
              <a:gd name="connsiteY81" fmla="*/ 14488 h 221063"/>
              <a:gd name="connsiteX82" fmla="*/ 88408 w 115821"/>
              <a:gd name="connsiteY82" fmla="*/ 17785 h 221063"/>
              <a:gd name="connsiteX83" fmla="*/ 81119 w 115821"/>
              <a:gd name="connsiteY83" fmla="*/ 9340 h 221063"/>
              <a:gd name="connsiteX84" fmla="*/ 64518 w 115821"/>
              <a:gd name="connsiteY84" fmla="*/ 2167 h 221063"/>
              <a:gd name="connsiteX85" fmla="*/ 45429 w 115821"/>
              <a:gd name="connsiteY85" fmla="*/ 7951 h 221063"/>
              <a:gd name="connsiteX86" fmla="*/ 30853 w 115821"/>
              <a:gd name="connsiteY86" fmla="*/ 12521 h 22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15821" h="221063">
                <a:moveTo>
                  <a:pt x="62725" y="220645"/>
                </a:moveTo>
                <a:cubicBezTo>
                  <a:pt x="62360" y="220639"/>
                  <a:pt x="62025" y="220466"/>
                  <a:pt x="61799" y="220182"/>
                </a:cubicBezTo>
                <a:cubicBezTo>
                  <a:pt x="60099" y="217932"/>
                  <a:pt x="59162" y="215196"/>
                  <a:pt x="59138" y="212373"/>
                </a:cubicBezTo>
                <a:cubicBezTo>
                  <a:pt x="59138" y="201094"/>
                  <a:pt x="51098" y="170667"/>
                  <a:pt x="46471" y="164536"/>
                </a:cubicBezTo>
                <a:cubicBezTo>
                  <a:pt x="43278" y="161285"/>
                  <a:pt x="39541" y="158624"/>
                  <a:pt x="35422" y="156669"/>
                </a:cubicBezTo>
                <a:cubicBezTo>
                  <a:pt x="29638" y="153603"/>
                  <a:pt x="25242" y="150885"/>
                  <a:pt x="25242" y="147703"/>
                </a:cubicBezTo>
                <a:cubicBezTo>
                  <a:pt x="26144" y="140270"/>
                  <a:pt x="21626" y="133242"/>
                  <a:pt x="14483" y="130986"/>
                </a:cubicBezTo>
                <a:cubicBezTo>
                  <a:pt x="4534" y="126764"/>
                  <a:pt x="-1251" y="109757"/>
                  <a:pt x="80" y="103221"/>
                </a:cubicBezTo>
                <a:cubicBezTo>
                  <a:pt x="716" y="100097"/>
                  <a:pt x="2740" y="99750"/>
                  <a:pt x="3608" y="99750"/>
                </a:cubicBezTo>
                <a:cubicBezTo>
                  <a:pt x="6558" y="99750"/>
                  <a:pt x="9392" y="95412"/>
                  <a:pt x="12458" y="91247"/>
                </a:cubicBezTo>
                <a:cubicBezTo>
                  <a:pt x="14541" y="87597"/>
                  <a:pt x="17404" y="84456"/>
                  <a:pt x="20845" y="82050"/>
                </a:cubicBezTo>
                <a:cubicBezTo>
                  <a:pt x="25427" y="78735"/>
                  <a:pt x="28637" y="73859"/>
                  <a:pt x="29869" y="68341"/>
                </a:cubicBezTo>
                <a:cubicBezTo>
                  <a:pt x="31390" y="63783"/>
                  <a:pt x="30887" y="58791"/>
                  <a:pt x="28481" y="54632"/>
                </a:cubicBezTo>
                <a:cubicBezTo>
                  <a:pt x="24952" y="49310"/>
                  <a:pt x="24952" y="35485"/>
                  <a:pt x="28481" y="11249"/>
                </a:cubicBezTo>
                <a:cubicBezTo>
                  <a:pt x="28539" y="10688"/>
                  <a:pt x="29013" y="10260"/>
                  <a:pt x="29580" y="10265"/>
                </a:cubicBezTo>
                <a:lnTo>
                  <a:pt x="29927" y="10265"/>
                </a:lnTo>
                <a:cubicBezTo>
                  <a:pt x="34786" y="10676"/>
                  <a:pt x="39628" y="9276"/>
                  <a:pt x="43521" y="6332"/>
                </a:cubicBezTo>
                <a:cubicBezTo>
                  <a:pt x="49403" y="1808"/>
                  <a:pt x="56703" y="-465"/>
                  <a:pt x="64113" y="-89"/>
                </a:cubicBezTo>
                <a:cubicBezTo>
                  <a:pt x="72905" y="-89"/>
                  <a:pt x="82161" y="2745"/>
                  <a:pt x="82970" y="9050"/>
                </a:cubicBezTo>
                <a:cubicBezTo>
                  <a:pt x="83318" y="12001"/>
                  <a:pt x="84474" y="15529"/>
                  <a:pt x="88003" y="15529"/>
                </a:cubicBezTo>
                <a:cubicBezTo>
                  <a:pt x="90189" y="15321"/>
                  <a:pt x="92231" y="14361"/>
                  <a:pt x="93787" y="12810"/>
                </a:cubicBezTo>
                <a:cubicBezTo>
                  <a:pt x="94979" y="11729"/>
                  <a:pt x="96517" y="11110"/>
                  <a:pt x="98126" y="11075"/>
                </a:cubicBezTo>
                <a:cubicBezTo>
                  <a:pt x="100109" y="11017"/>
                  <a:pt x="101938" y="12157"/>
                  <a:pt x="102753" y="13967"/>
                </a:cubicBezTo>
                <a:cubicBezTo>
                  <a:pt x="103447" y="15587"/>
                  <a:pt x="103852" y="19058"/>
                  <a:pt x="99051" y="24090"/>
                </a:cubicBezTo>
                <a:lnTo>
                  <a:pt x="95812" y="27387"/>
                </a:lnTo>
                <a:cubicBezTo>
                  <a:pt x="91589" y="31552"/>
                  <a:pt x="88292" y="34849"/>
                  <a:pt x="88465" y="38378"/>
                </a:cubicBezTo>
                <a:cubicBezTo>
                  <a:pt x="88465" y="40749"/>
                  <a:pt x="90432" y="43352"/>
                  <a:pt x="94250" y="46244"/>
                </a:cubicBezTo>
                <a:cubicBezTo>
                  <a:pt x="99844" y="50635"/>
                  <a:pt x="103106" y="57356"/>
                  <a:pt x="103100" y="64465"/>
                </a:cubicBezTo>
                <a:cubicBezTo>
                  <a:pt x="103054" y="72349"/>
                  <a:pt x="99519" y="79806"/>
                  <a:pt x="93440" y="84827"/>
                </a:cubicBezTo>
                <a:cubicBezTo>
                  <a:pt x="89669" y="87742"/>
                  <a:pt x="85573" y="90206"/>
                  <a:pt x="81235" y="92173"/>
                </a:cubicBezTo>
                <a:cubicBezTo>
                  <a:pt x="74525" y="95528"/>
                  <a:pt x="71344" y="97321"/>
                  <a:pt x="72443" y="102700"/>
                </a:cubicBezTo>
                <a:cubicBezTo>
                  <a:pt x="74548" y="108976"/>
                  <a:pt x="80460" y="113182"/>
                  <a:pt x="87077" y="113112"/>
                </a:cubicBezTo>
                <a:cubicBezTo>
                  <a:pt x="88836" y="113274"/>
                  <a:pt x="90577" y="112684"/>
                  <a:pt x="91878" y="111493"/>
                </a:cubicBezTo>
                <a:cubicBezTo>
                  <a:pt x="92740" y="110342"/>
                  <a:pt x="94088" y="109659"/>
                  <a:pt x="95523" y="109642"/>
                </a:cubicBezTo>
                <a:cubicBezTo>
                  <a:pt x="100092" y="109642"/>
                  <a:pt x="105182" y="116699"/>
                  <a:pt x="105182" y="121211"/>
                </a:cubicBezTo>
                <a:cubicBezTo>
                  <a:pt x="105182" y="123004"/>
                  <a:pt x="108653" y="127689"/>
                  <a:pt x="115189" y="131854"/>
                </a:cubicBezTo>
                <a:cubicBezTo>
                  <a:pt x="115536" y="132109"/>
                  <a:pt x="115733" y="132525"/>
                  <a:pt x="115710" y="132953"/>
                </a:cubicBezTo>
                <a:cubicBezTo>
                  <a:pt x="115109" y="137615"/>
                  <a:pt x="114819" y="142312"/>
                  <a:pt x="114842" y="147009"/>
                </a:cubicBezTo>
                <a:cubicBezTo>
                  <a:pt x="115189" y="154818"/>
                  <a:pt x="109058" y="155628"/>
                  <a:pt x="105067" y="156091"/>
                </a:cubicBezTo>
                <a:cubicBezTo>
                  <a:pt x="104188" y="156183"/>
                  <a:pt x="103314" y="156357"/>
                  <a:pt x="102464" y="156611"/>
                </a:cubicBezTo>
                <a:cubicBezTo>
                  <a:pt x="97495" y="160840"/>
                  <a:pt x="92839" y="165421"/>
                  <a:pt x="88523" y="170320"/>
                </a:cubicBezTo>
                <a:cubicBezTo>
                  <a:pt x="85747" y="173097"/>
                  <a:pt x="83318" y="175527"/>
                  <a:pt x="82103" y="176626"/>
                </a:cubicBezTo>
                <a:cubicBezTo>
                  <a:pt x="79205" y="179408"/>
                  <a:pt x="78331" y="183688"/>
                  <a:pt x="79905" y="187385"/>
                </a:cubicBezTo>
                <a:cubicBezTo>
                  <a:pt x="81756" y="191144"/>
                  <a:pt x="78748" y="203292"/>
                  <a:pt x="75045" y="210522"/>
                </a:cubicBezTo>
                <a:cubicBezTo>
                  <a:pt x="72246" y="214531"/>
                  <a:pt x="68590" y="217868"/>
                  <a:pt x="64344" y="220298"/>
                </a:cubicBezTo>
                <a:lnTo>
                  <a:pt x="63361" y="220934"/>
                </a:lnTo>
                <a:cubicBezTo>
                  <a:pt x="63118" y="220917"/>
                  <a:pt x="62893" y="220818"/>
                  <a:pt x="62725" y="220645"/>
                </a:cubicBezTo>
                <a:close/>
                <a:moveTo>
                  <a:pt x="30853" y="12406"/>
                </a:moveTo>
                <a:cubicBezTo>
                  <a:pt x="29465" y="21834"/>
                  <a:pt x="25994" y="46418"/>
                  <a:pt x="30506" y="53301"/>
                </a:cubicBezTo>
                <a:cubicBezTo>
                  <a:pt x="33288" y="57981"/>
                  <a:pt x="33918" y="63627"/>
                  <a:pt x="32241" y="68804"/>
                </a:cubicBezTo>
                <a:cubicBezTo>
                  <a:pt x="30870" y="74953"/>
                  <a:pt x="27237" y="80361"/>
                  <a:pt x="22060" y="83959"/>
                </a:cubicBezTo>
                <a:cubicBezTo>
                  <a:pt x="18960" y="86203"/>
                  <a:pt x="16380" y="89084"/>
                  <a:pt x="14483" y="92404"/>
                </a:cubicBezTo>
                <a:cubicBezTo>
                  <a:pt x="11128" y="97321"/>
                  <a:pt x="7946" y="101891"/>
                  <a:pt x="3782" y="101891"/>
                </a:cubicBezTo>
                <a:cubicBezTo>
                  <a:pt x="3782" y="101891"/>
                  <a:pt x="2856" y="101891"/>
                  <a:pt x="2509" y="103510"/>
                </a:cubicBezTo>
                <a:cubicBezTo>
                  <a:pt x="1352" y="109295"/>
                  <a:pt x="6847" y="125086"/>
                  <a:pt x="15524" y="128788"/>
                </a:cubicBezTo>
                <a:cubicBezTo>
                  <a:pt x="23397" y="131513"/>
                  <a:pt x="28359" y="139298"/>
                  <a:pt x="27498" y="147588"/>
                </a:cubicBezTo>
                <a:cubicBezTo>
                  <a:pt x="27498" y="149496"/>
                  <a:pt x="32299" y="152215"/>
                  <a:pt x="36521" y="154587"/>
                </a:cubicBezTo>
                <a:cubicBezTo>
                  <a:pt x="40883" y="156663"/>
                  <a:pt x="44805" y="159550"/>
                  <a:pt x="48090" y="163090"/>
                </a:cubicBezTo>
                <a:cubicBezTo>
                  <a:pt x="53007" y="169626"/>
                  <a:pt x="61279" y="200400"/>
                  <a:pt x="61279" y="212258"/>
                </a:cubicBezTo>
                <a:cubicBezTo>
                  <a:pt x="61232" y="214294"/>
                  <a:pt x="61776" y="216301"/>
                  <a:pt x="62840" y="218042"/>
                </a:cubicBezTo>
                <a:lnTo>
                  <a:pt x="62840" y="218042"/>
                </a:lnTo>
                <a:cubicBezTo>
                  <a:pt x="66774" y="215821"/>
                  <a:pt x="70169" y="212755"/>
                  <a:pt x="72790" y="209076"/>
                </a:cubicBezTo>
                <a:cubicBezTo>
                  <a:pt x="76723" y="201788"/>
                  <a:pt x="78921" y="190855"/>
                  <a:pt x="77649" y="188310"/>
                </a:cubicBezTo>
                <a:cubicBezTo>
                  <a:pt x="75612" y="183694"/>
                  <a:pt x="76700" y="178297"/>
                  <a:pt x="80367" y="174832"/>
                </a:cubicBezTo>
                <a:cubicBezTo>
                  <a:pt x="81524" y="173791"/>
                  <a:pt x="83896" y="171362"/>
                  <a:pt x="86672" y="168643"/>
                </a:cubicBezTo>
                <a:cubicBezTo>
                  <a:pt x="91207" y="163576"/>
                  <a:pt x="96222" y="158965"/>
                  <a:pt x="101654" y="154876"/>
                </a:cubicBezTo>
                <a:cubicBezTo>
                  <a:pt x="102684" y="154535"/>
                  <a:pt x="103754" y="154321"/>
                  <a:pt x="104835" y="154240"/>
                </a:cubicBezTo>
                <a:cubicBezTo>
                  <a:pt x="109405" y="153661"/>
                  <a:pt x="112876" y="152794"/>
                  <a:pt x="112644" y="147472"/>
                </a:cubicBezTo>
                <a:cubicBezTo>
                  <a:pt x="112592" y="142891"/>
                  <a:pt x="112864" y="138309"/>
                  <a:pt x="113454" y="133763"/>
                </a:cubicBezTo>
                <a:cubicBezTo>
                  <a:pt x="107323" y="129714"/>
                  <a:pt x="102984" y="124681"/>
                  <a:pt x="102984" y="121558"/>
                </a:cubicBezTo>
                <a:cubicBezTo>
                  <a:pt x="102984" y="117219"/>
                  <a:pt x="96680" y="109352"/>
                  <a:pt x="93672" y="113055"/>
                </a:cubicBezTo>
                <a:cubicBezTo>
                  <a:pt x="91948" y="114773"/>
                  <a:pt x="89564" y="115663"/>
                  <a:pt x="87135" y="115484"/>
                </a:cubicBezTo>
                <a:cubicBezTo>
                  <a:pt x="79424" y="115594"/>
                  <a:pt x="72564" y="110596"/>
                  <a:pt x="70303" y="103221"/>
                </a:cubicBezTo>
                <a:cubicBezTo>
                  <a:pt x="68799" y="95933"/>
                  <a:pt x="73889" y="93445"/>
                  <a:pt x="80310" y="90264"/>
                </a:cubicBezTo>
                <a:cubicBezTo>
                  <a:pt x="84434" y="88361"/>
                  <a:pt x="88321" y="85978"/>
                  <a:pt x="91878" y="83149"/>
                </a:cubicBezTo>
                <a:cubicBezTo>
                  <a:pt x="97697" y="78683"/>
                  <a:pt x="101151" y="71800"/>
                  <a:pt x="101249" y="64465"/>
                </a:cubicBezTo>
                <a:cubicBezTo>
                  <a:pt x="101226" y="58045"/>
                  <a:pt x="98264" y="51994"/>
                  <a:pt x="93209" y="48037"/>
                </a:cubicBezTo>
                <a:cubicBezTo>
                  <a:pt x="89807" y="45915"/>
                  <a:pt x="87470" y="42444"/>
                  <a:pt x="86788" y="38493"/>
                </a:cubicBezTo>
                <a:cubicBezTo>
                  <a:pt x="86788" y="33981"/>
                  <a:pt x="90374" y="30164"/>
                  <a:pt x="94771" y="25768"/>
                </a:cubicBezTo>
                <a:cubicBezTo>
                  <a:pt x="95812" y="24726"/>
                  <a:pt x="96911" y="23685"/>
                  <a:pt x="97952" y="22528"/>
                </a:cubicBezTo>
                <a:cubicBezTo>
                  <a:pt x="100786" y="19578"/>
                  <a:pt x="102001" y="16744"/>
                  <a:pt x="101249" y="14893"/>
                </a:cubicBezTo>
                <a:cubicBezTo>
                  <a:pt x="100497" y="13042"/>
                  <a:pt x="97721" y="12868"/>
                  <a:pt x="95870" y="14488"/>
                </a:cubicBezTo>
                <a:cubicBezTo>
                  <a:pt x="93868" y="16455"/>
                  <a:pt x="91213" y="17629"/>
                  <a:pt x="88408" y="17785"/>
                </a:cubicBezTo>
                <a:cubicBezTo>
                  <a:pt x="86557" y="17785"/>
                  <a:pt x="82045" y="16917"/>
                  <a:pt x="81119" y="9340"/>
                </a:cubicBezTo>
                <a:cubicBezTo>
                  <a:pt x="80599" y="5175"/>
                  <a:pt x="73599" y="2167"/>
                  <a:pt x="64518" y="2167"/>
                </a:cubicBezTo>
                <a:cubicBezTo>
                  <a:pt x="57675" y="1808"/>
                  <a:pt x="50925" y="3856"/>
                  <a:pt x="45429" y="7951"/>
                </a:cubicBezTo>
                <a:cubicBezTo>
                  <a:pt x="41317" y="11249"/>
                  <a:pt x="36111" y="12874"/>
                  <a:pt x="30853" y="1252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8" name="Forma libre: forma 287">
            <a:extLst>
              <a:ext uri="{FF2B5EF4-FFF2-40B4-BE49-F238E27FC236}">
                <a16:creationId xmlns:a16="http://schemas.microsoft.com/office/drawing/2014/main" id="{CD1CA3BF-86A3-1734-F6C9-A871D47E2982}"/>
              </a:ext>
            </a:extLst>
          </p:cNvPr>
          <p:cNvSpPr/>
          <p:nvPr/>
        </p:nvSpPr>
        <p:spPr>
          <a:xfrm>
            <a:off x="5947507" y="3408890"/>
            <a:ext cx="571646" cy="547735"/>
          </a:xfrm>
          <a:custGeom>
            <a:avLst/>
            <a:gdLst>
              <a:gd name="connsiteX0" fmla="*/ 333584 w 571646"/>
              <a:gd name="connsiteY0" fmla="*/ 547550 h 547735"/>
              <a:gd name="connsiteX1" fmla="*/ 332890 w 571646"/>
              <a:gd name="connsiteY1" fmla="*/ 547550 h 547735"/>
              <a:gd name="connsiteX2" fmla="*/ 332485 w 571646"/>
              <a:gd name="connsiteY2" fmla="*/ 546682 h 547735"/>
              <a:gd name="connsiteX3" fmla="*/ 319586 w 571646"/>
              <a:gd name="connsiteY3" fmla="*/ 518859 h 547735"/>
              <a:gd name="connsiteX4" fmla="*/ 289333 w 571646"/>
              <a:gd name="connsiteY4" fmla="*/ 509430 h 547735"/>
              <a:gd name="connsiteX5" fmla="*/ 288466 w 571646"/>
              <a:gd name="connsiteY5" fmla="*/ 508852 h 547735"/>
              <a:gd name="connsiteX6" fmla="*/ 271113 w 571646"/>
              <a:gd name="connsiteY6" fmla="*/ 484152 h 547735"/>
              <a:gd name="connsiteX7" fmla="*/ 6359 w 571646"/>
              <a:gd name="connsiteY7" fmla="*/ 307612 h 547735"/>
              <a:gd name="connsiteX8" fmla="*/ 575 w 571646"/>
              <a:gd name="connsiteY8" fmla="*/ 302290 h 547735"/>
              <a:gd name="connsiteX9" fmla="*/ 575 w 571646"/>
              <a:gd name="connsiteY9" fmla="*/ 301770 h 547735"/>
              <a:gd name="connsiteX10" fmla="*/ 286 w 571646"/>
              <a:gd name="connsiteY10" fmla="*/ 291011 h 547735"/>
              <a:gd name="connsiteX11" fmla="*/ 286 w 571646"/>
              <a:gd name="connsiteY11" fmla="*/ 264171 h 547735"/>
              <a:gd name="connsiteX12" fmla="*/ 44421 w 571646"/>
              <a:gd name="connsiteY12" fmla="*/ 234959 h 547735"/>
              <a:gd name="connsiteX13" fmla="*/ 54428 w 571646"/>
              <a:gd name="connsiteY13" fmla="*/ 233455 h 547735"/>
              <a:gd name="connsiteX14" fmla="*/ 56279 w 571646"/>
              <a:gd name="connsiteY14" fmla="*/ 233455 h 547735"/>
              <a:gd name="connsiteX15" fmla="*/ 61716 w 571646"/>
              <a:gd name="connsiteY15" fmla="*/ 230563 h 547735"/>
              <a:gd name="connsiteX16" fmla="*/ 76119 w 571646"/>
              <a:gd name="connsiteY16" fmla="*/ 224779 h 547735"/>
              <a:gd name="connsiteX17" fmla="*/ 77161 w 571646"/>
              <a:gd name="connsiteY17" fmla="*/ 224779 h 547735"/>
              <a:gd name="connsiteX18" fmla="*/ 86647 w 571646"/>
              <a:gd name="connsiteY18" fmla="*/ 224258 h 547735"/>
              <a:gd name="connsiteX19" fmla="*/ 99951 w 571646"/>
              <a:gd name="connsiteY19" fmla="*/ 209334 h 547735"/>
              <a:gd name="connsiteX20" fmla="*/ 115916 w 571646"/>
              <a:gd name="connsiteY20" fmla="*/ 201352 h 547735"/>
              <a:gd name="connsiteX21" fmla="*/ 121701 w 571646"/>
              <a:gd name="connsiteY21" fmla="*/ 201062 h 547735"/>
              <a:gd name="connsiteX22" fmla="*/ 128468 w 571646"/>
              <a:gd name="connsiteY22" fmla="*/ 196724 h 547735"/>
              <a:gd name="connsiteX23" fmla="*/ 134253 w 571646"/>
              <a:gd name="connsiteY23" fmla="*/ 193022 h 547735"/>
              <a:gd name="connsiteX24" fmla="*/ 135699 w 571646"/>
              <a:gd name="connsiteY24" fmla="*/ 192560 h 547735"/>
              <a:gd name="connsiteX25" fmla="*/ 136509 w 571646"/>
              <a:gd name="connsiteY25" fmla="*/ 185213 h 547735"/>
              <a:gd name="connsiteX26" fmla="*/ 136509 w 571646"/>
              <a:gd name="connsiteY26" fmla="*/ 177173 h 547735"/>
              <a:gd name="connsiteX27" fmla="*/ 141368 w 571646"/>
              <a:gd name="connsiteY27" fmla="*/ 168843 h 547735"/>
              <a:gd name="connsiteX28" fmla="*/ 143161 w 571646"/>
              <a:gd name="connsiteY28" fmla="*/ 168843 h 547735"/>
              <a:gd name="connsiteX29" fmla="*/ 146516 w 571646"/>
              <a:gd name="connsiteY29" fmla="*/ 168843 h 547735"/>
              <a:gd name="connsiteX30" fmla="*/ 161440 w 571646"/>
              <a:gd name="connsiteY30" fmla="*/ 160167 h 547735"/>
              <a:gd name="connsiteX31" fmla="*/ 176595 w 571646"/>
              <a:gd name="connsiteY31" fmla="*/ 156118 h 547735"/>
              <a:gd name="connsiteX32" fmla="*/ 196378 w 571646"/>
              <a:gd name="connsiteY32" fmla="*/ 156927 h 547735"/>
              <a:gd name="connsiteX33" fmla="*/ 202625 w 571646"/>
              <a:gd name="connsiteY33" fmla="*/ 157274 h 547735"/>
              <a:gd name="connsiteX34" fmla="*/ 206211 w 571646"/>
              <a:gd name="connsiteY34" fmla="*/ 155597 h 547735"/>
              <a:gd name="connsiteX35" fmla="*/ 207715 w 571646"/>
              <a:gd name="connsiteY35" fmla="*/ 147904 h 547735"/>
              <a:gd name="connsiteX36" fmla="*/ 197997 w 571646"/>
              <a:gd name="connsiteY36" fmla="*/ 130088 h 547735"/>
              <a:gd name="connsiteX37" fmla="*/ 194642 w 571646"/>
              <a:gd name="connsiteY37" fmla="*/ 113891 h 547735"/>
              <a:gd name="connsiteX38" fmla="*/ 195221 w 571646"/>
              <a:gd name="connsiteY38" fmla="*/ 104058 h 547735"/>
              <a:gd name="connsiteX39" fmla="*/ 187470 w 571646"/>
              <a:gd name="connsiteY39" fmla="*/ 76292 h 547735"/>
              <a:gd name="connsiteX40" fmla="*/ 182842 w 571646"/>
              <a:gd name="connsiteY40" fmla="*/ 67616 h 547735"/>
              <a:gd name="connsiteX41" fmla="*/ 183438 w 571646"/>
              <a:gd name="connsiteY41" fmla="*/ 66095 h 547735"/>
              <a:gd name="connsiteX42" fmla="*/ 183883 w 571646"/>
              <a:gd name="connsiteY42" fmla="*/ 65996 h 547735"/>
              <a:gd name="connsiteX43" fmla="*/ 193370 w 571646"/>
              <a:gd name="connsiteY43" fmla="*/ 61831 h 547735"/>
              <a:gd name="connsiteX44" fmla="*/ 236984 w 571646"/>
              <a:gd name="connsiteY44" fmla="*/ 39214 h 547735"/>
              <a:gd name="connsiteX45" fmla="*/ 252082 w 571646"/>
              <a:gd name="connsiteY45" fmla="*/ 30480 h 547735"/>
              <a:gd name="connsiteX46" fmla="*/ 279384 w 571646"/>
              <a:gd name="connsiteY46" fmla="*/ 16597 h 547735"/>
              <a:gd name="connsiteX47" fmla="*/ 311372 w 571646"/>
              <a:gd name="connsiteY47" fmla="*/ 13416 h 547735"/>
              <a:gd name="connsiteX48" fmla="*/ 368811 w 571646"/>
              <a:gd name="connsiteY48" fmla="*/ 8441 h 547735"/>
              <a:gd name="connsiteX49" fmla="*/ 382752 w 571646"/>
              <a:gd name="connsiteY49" fmla="*/ 10871 h 547735"/>
              <a:gd name="connsiteX50" fmla="*/ 387727 w 571646"/>
              <a:gd name="connsiteY50" fmla="*/ 12432 h 547735"/>
              <a:gd name="connsiteX51" fmla="*/ 406179 w 571646"/>
              <a:gd name="connsiteY51" fmla="*/ 7111 h 547735"/>
              <a:gd name="connsiteX52" fmla="*/ 419888 w 571646"/>
              <a:gd name="connsiteY52" fmla="*/ 2888 h 547735"/>
              <a:gd name="connsiteX53" fmla="*/ 432093 w 571646"/>
              <a:gd name="connsiteY53" fmla="*/ 1268 h 547735"/>
              <a:gd name="connsiteX54" fmla="*/ 448174 w 571646"/>
              <a:gd name="connsiteY54" fmla="*/ 169 h 547735"/>
              <a:gd name="connsiteX55" fmla="*/ 448521 w 571646"/>
              <a:gd name="connsiteY55" fmla="*/ 169 h 547735"/>
              <a:gd name="connsiteX56" fmla="*/ 473510 w 571646"/>
              <a:gd name="connsiteY56" fmla="*/ 4970 h 547735"/>
              <a:gd name="connsiteX57" fmla="*/ 474377 w 571646"/>
              <a:gd name="connsiteY57" fmla="*/ 5375 h 547735"/>
              <a:gd name="connsiteX58" fmla="*/ 474667 w 571646"/>
              <a:gd name="connsiteY58" fmla="*/ 6243 h 547735"/>
              <a:gd name="connsiteX59" fmla="*/ 474146 w 571646"/>
              <a:gd name="connsiteY59" fmla="*/ 48122 h 547735"/>
              <a:gd name="connsiteX60" fmla="*/ 475881 w 571646"/>
              <a:gd name="connsiteY60" fmla="*/ 63625 h 547735"/>
              <a:gd name="connsiteX61" fmla="*/ 465700 w 571646"/>
              <a:gd name="connsiteY61" fmla="*/ 78780 h 547735"/>
              <a:gd name="connsiteX62" fmla="*/ 458123 w 571646"/>
              <a:gd name="connsiteY62" fmla="*/ 87225 h 547735"/>
              <a:gd name="connsiteX63" fmla="*/ 447422 w 571646"/>
              <a:gd name="connsiteY63" fmla="*/ 96711 h 547735"/>
              <a:gd name="connsiteX64" fmla="*/ 446149 w 571646"/>
              <a:gd name="connsiteY64" fmla="*/ 98331 h 547735"/>
              <a:gd name="connsiteX65" fmla="*/ 459164 w 571646"/>
              <a:gd name="connsiteY65" fmla="*/ 123609 h 547735"/>
              <a:gd name="connsiteX66" fmla="*/ 471138 w 571646"/>
              <a:gd name="connsiteY66" fmla="*/ 142408 h 547735"/>
              <a:gd name="connsiteX67" fmla="*/ 480162 w 571646"/>
              <a:gd name="connsiteY67" fmla="*/ 149408 h 547735"/>
              <a:gd name="connsiteX68" fmla="*/ 491730 w 571646"/>
              <a:gd name="connsiteY68" fmla="*/ 157911 h 547735"/>
              <a:gd name="connsiteX69" fmla="*/ 504919 w 571646"/>
              <a:gd name="connsiteY69" fmla="*/ 207078 h 547735"/>
              <a:gd name="connsiteX70" fmla="*/ 507059 w 571646"/>
              <a:gd name="connsiteY70" fmla="*/ 213557 h 547735"/>
              <a:gd name="connsiteX71" fmla="*/ 507059 w 571646"/>
              <a:gd name="connsiteY71" fmla="*/ 214424 h 547735"/>
              <a:gd name="connsiteX72" fmla="*/ 506596 w 571646"/>
              <a:gd name="connsiteY72" fmla="*/ 215119 h 547735"/>
              <a:gd name="connsiteX73" fmla="*/ 500812 w 571646"/>
              <a:gd name="connsiteY73" fmla="*/ 220151 h 547735"/>
              <a:gd name="connsiteX74" fmla="*/ 505787 w 571646"/>
              <a:gd name="connsiteY74" fmla="*/ 230852 h 547735"/>
              <a:gd name="connsiteX75" fmla="*/ 513307 w 571646"/>
              <a:gd name="connsiteY75" fmla="*/ 244561 h 547735"/>
              <a:gd name="connsiteX76" fmla="*/ 513307 w 571646"/>
              <a:gd name="connsiteY76" fmla="*/ 261452 h 547735"/>
              <a:gd name="connsiteX77" fmla="*/ 512728 w 571646"/>
              <a:gd name="connsiteY77" fmla="*/ 273021 h 547735"/>
              <a:gd name="connsiteX78" fmla="*/ 510588 w 571646"/>
              <a:gd name="connsiteY78" fmla="*/ 292861 h 547735"/>
              <a:gd name="connsiteX79" fmla="*/ 510009 w 571646"/>
              <a:gd name="connsiteY79" fmla="*/ 304026 h 547735"/>
              <a:gd name="connsiteX80" fmla="*/ 510819 w 571646"/>
              <a:gd name="connsiteY80" fmla="*/ 309116 h 547735"/>
              <a:gd name="connsiteX81" fmla="*/ 513307 w 571646"/>
              <a:gd name="connsiteY81" fmla="*/ 315768 h 547735"/>
              <a:gd name="connsiteX82" fmla="*/ 514579 w 571646"/>
              <a:gd name="connsiteY82" fmla="*/ 322420 h 547735"/>
              <a:gd name="connsiteX83" fmla="*/ 512902 w 571646"/>
              <a:gd name="connsiteY83" fmla="*/ 323924 h 547735"/>
              <a:gd name="connsiteX84" fmla="*/ 503068 w 571646"/>
              <a:gd name="connsiteY84" fmla="*/ 335088 h 547735"/>
              <a:gd name="connsiteX85" fmla="*/ 507638 w 571646"/>
              <a:gd name="connsiteY85" fmla="*/ 342376 h 547735"/>
              <a:gd name="connsiteX86" fmla="*/ 514926 w 571646"/>
              <a:gd name="connsiteY86" fmla="*/ 351631 h 547735"/>
              <a:gd name="connsiteX87" fmla="*/ 518223 w 571646"/>
              <a:gd name="connsiteY87" fmla="*/ 366902 h 547735"/>
              <a:gd name="connsiteX88" fmla="*/ 518223 w 571646"/>
              <a:gd name="connsiteY88" fmla="*/ 373207 h 547735"/>
              <a:gd name="connsiteX89" fmla="*/ 536271 w 571646"/>
              <a:gd name="connsiteY89" fmla="*/ 383388 h 547735"/>
              <a:gd name="connsiteX90" fmla="*/ 547839 w 571646"/>
              <a:gd name="connsiteY90" fmla="*/ 386627 h 547735"/>
              <a:gd name="connsiteX91" fmla="*/ 556690 w 571646"/>
              <a:gd name="connsiteY91" fmla="*/ 389403 h 547735"/>
              <a:gd name="connsiteX92" fmla="*/ 571498 w 571646"/>
              <a:gd name="connsiteY92" fmla="*/ 413178 h 547735"/>
              <a:gd name="connsiteX93" fmla="*/ 571498 w 571646"/>
              <a:gd name="connsiteY93" fmla="*/ 413814 h 547735"/>
              <a:gd name="connsiteX94" fmla="*/ 570341 w 571646"/>
              <a:gd name="connsiteY94" fmla="*/ 414971 h 547735"/>
              <a:gd name="connsiteX95" fmla="*/ 570341 w 571646"/>
              <a:gd name="connsiteY95" fmla="*/ 414971 h 547735"/>
              <a:gd name="connsiteX96" fmla="*/ 453264 w 571646"/>
              <a:gd name="connsiteY96" fmla="*/ 487912 h 547735"/>
              <a:gd name="connsiteX97" fmla="*/ 403460 w 571646"/>
              <a:gd name="connsiteY97" fmla="*/ 528114 h 547735"/>
              <a:gd name="connsiteX98" fmla="*/ 403113 w 571646"/>
              <a:gd name="connsiteY98" fmla="*/ 528114 h 547735"/>
              <a:gd name="connsiteX99" fmla="*/ 360713 w 571646"/>
              <a:gd name="connsiteY99" fmla="*/ 541650 h 547735"/>
              <a:gd name="connsiteX100" fmla="*/ 333874 w 571646"/>
              <a:gd name="connsiteY100" fmla="*/ 547434 h 547735"/>
              <a:gd name="connsiteX101" fmla="*/ 290143 w 571646"/>
              <a:gd name="connsiteY101" fmla="*/ 507059 h 547735"/>
              <a:gd name="connsiteX102" fmla="*/ 320685 w 571646"/>
              <a:gd name="connsiteY102" fmla="*/ 516719 h 547735"/>
              <a:gd name="connsiteX103" fmla="*/ 334683 w 571646"/>
              <a:gd name="connsiteY103" fmla="*/ 545121 h 547735"/>
              <a:gd name="connsiteX104" fmla="*/ 360250 w 571646"/>
              <a:gd name="connsiteY104" fmla="*/ 539683 h 547735"/>
              <a:gd name="connsiteX105" fmla="*/ 402188 w 571646"/>
              <a:gd name="connsiteY105" fmla="*/ 526321 h 547735"/>
              <a:gd name="connsiteX106" fmla="*/ 451934 w 571646"/>
              <a:gd name="connsiteY106" fmla="*/ 485830 h 547735"/>
              <a:gd name="connsiteX107" fmla="*/ 568779 w 571646"/>
              <a:gd name="connsiteY107" fmla="*/ 413062 h 547735"/>
              <a:gd name="connsiteX108" fmla="*/ 556343 w 571646"/>
              <a:gd name="connsiteY108" fmla="*/ 391544 h 547735"/>
              <a:gd name="connsiteX109" fmla="*/ 546509 w 571646"/>
              <a:gd name="connsiteY109" fmla="*/ 388594 h 547735"/>
              <a:gd name="connsiteX110" fmla="*/ 536213 w 571646"/>
              <a:gd name="connsiteY110" fmla="*/ 385528 h 547735"/>
              <a:gd name="connsiteX111" fmla="*/ 515967 w 571646"/>
              <a:gd name="connsiteY111" fmla="*/ 373439 h 547735"/>
              <a:gd name="connsiteX112" fmla="*/ 515967 w 571646"/>
              <a:gd name="connsiteY112" fmla="*/ 366555 h 547735"/>
              <a:gd name="connsiteX113" fmla="*/ 513017 w 571646"/>
              <a:gd name="connsiteY113" fmla="*/ 352788 h 547735"/>
              <a:gd name="connsiteX114" fmla="*/ 505960 w 571646"/>
              <a:gd name="connsiteY114" fmla="*/ 343707 h 547735"/>
              <a:gd name="connsiteX115" fmla="*/ 500754 w 571646"/>
              <a:gd name="connsiteY115" fmla="*/ 334972 h 547735"/>
              <a:gd name="connsiteX116" fmla="*/ 511398 w 571646"/>
              <a:gd name="connsiteY116" fmla="*/ 322073 h 547735"/>
              <a:gd name="connsiteX117" fmla="*/ 512960 w 571646"/>
              <a:gd name="connsiteY117" fmla="*/ 320684 h 547735"/>
              <a:gd name="connsiteX118" fmla="*/ 511282 w 571646"/>
              <a:gd name="connsiteY118" fmla="*/ 316693 h 547735"/>
              <a:gd name="connsiteX119" fmla="*/ 508563 w 571646"/>
              <a:gd name="connsiteY119" fmla="*/ 309000 h 547735"/>
              <a:gd name="connsiteX120" fmla="*/ 507811 w 571646"/>
              <a:gd name="connsiteY120" fmla="*/ 304373 h 547735"/>
              <a:gd name="connsiteX121" fmla="*/ 508852 w 571646"/>
              <a:gd name="connsiteY121" fmla="*/ 291300 h 547735"/>
              <a:gd name="connsiteX122" fmla="*/ 510704 w 571646"/>
              <a:gd name="connsiteY122" fmla="*/ 273946 h 547735"/>
              <a:gd name="connsiteX123" fmla="*/ 511166 w 571646"/>
              <a:gd name="connsiteY123" fmla="*/ 260527 h 547735"/>
              <a:gd name="connsiteX124" fmla="*/ 511513 w 571646"/>
              <a:gd name="connsiteY124" fmla="*/ 245256 h 547735"/>
              <a:gd name="connsiteX125" fmla="*/ 504167 w 571646"/>
              <a:gd name="connsiteY125" fmla="*/ 231778 h 547735"/>
              <a:gd name="connsiteX126" fmla="*/ 498903 w 571646"/>
              <a:gd name="connsiteY126" fmla="*/ 219515 h 547735"/>
              <a:gd name="connsiteX127" fmla="*/ 504688 w 571646"/>
              <a:gd name="connsiteY127" fmla="*/ 213730 h 547735"/>
              <a:gd name="connsiteX128" fmla="*/ 502663 w 571646"/>
              <a:gd name="connsiteY128" fmla="*/ 206905 h 547735"/>
              <a:gd name="connsiteX129" fmla="*/ 489995 w 571646"/>
              <a:gd name="connsiteY129" fmla="*/ 159067 h 547735"/>
              <a:gd name="connsiteX130" fmla="*/ 478947 w 571646"/>
              <a:gd name="connsiteY130" fmla="*/ 151201 h 547735"/>
              <a:gd name="connsiteX131" fmla="*/ 468766 w 571646"/>
              <a:gd name="connsiteY131" fmla="*/ 142235 h 547735"/>
              <a:gd name="connsiteX132" fmla="*/ 457892 w 571646"/>
              <a:gd name="connsiteY132" fmla="*/ 125692 h 547735"/>
              <a:gd name="connsiteX133" fmla="*/ 443488 w 571646"/>
              <a:gd name="connsiteY133" fmla="*/ 97926 h 547735"/>
              <a:gd name="connsiteX134" fmla="*/ 447017 w 571646"/>
              <a:gd name="connsiteY134" fmla="*/ 94455 h 547735"/>
              <a:gd name="connsiteX135" fmla="*/ 455867 w 571646"/>
              <a:gd name="connsiteY135" fmla="*/ 85952 h 547735"/>
              <a:gd name="connsiteX136" fmla="*/ 464254 w 571646"/>
              <a:gd name="connsiteY136" fmla="*/ 76755 h 547735"/>
              <a:gd name="connsiteX137" fmla="*/ 473278 w 571646"/>
              <a:gd name="connsiteY137" fmla="*/ 63046 h 547735"/>
              <a:gd name="connsiteX138" fmla="*/ 471890 w 571646"/>
              <a:gd name="connsiteY138" fmla="*/ 49337 h 547735"/>
              <a:gd name="connsiteX139" fmla="*/ 471890 w 571646"/>
              <a:gd name="connsiteY139" fmla="*/ 7168 h 547735"/>
              <a:gd name="connsiteX140" fmla="*/ 447480 w 571646"/>
              <a:gd name="connsiteY140" fmla="*/ 2310 h 547735"/>
              <a:gd name="connsiteX141" fmla="*/ 447133 w 571646"/>
              <a:gd name="connsiteY141" fmla="*/ 2310 h 547735"/>
              <a:gd name="connsiteX142" fmla="*/ 432093 w 571646"/>
              <a:gd name="connsiteY142" fmla="*/ 3467 h 547735"/>
              <a:gd name="connsiteX143" fmla="*/ 419657 w 571646"/>
              <a:gd name="connsiteY143" fmla="*/ 5144 h 547735"/>
              <a:gd name="connsiteX144" fmla="*/ 406642 w 571646"/>
              <a:gd name="connsiteY144" fmla="*/ 9251 h 547735"/>
              <a:gd name="connsiteX145" fmla="*/ 387379 w 571646"/>
              <a:gd name="connsiteY145" fmla="*/ 14688 h 547735"/>
              <a:gd name="connsiteX146" fmla="*/ 380843 w 571646"/>
              <a:gd name="connsiteY146" fmla="*/ 12490 h 547735"/>
              <a:gd name="connsiteX147" fmla="*/ 368464 w 571646"/>
              <a:gd name="connsiteY147" fmla="*/ 10697 h 547735"/>
              <a:gd name="connsiteX148" fmla="*/ 311257 w 571646"/>
              <a:gd name="connsiteY148" fmla="*/ 15672 h 547735"/>
              <a:gd name="connsiteX149" fmla="*/ 279095 w 571646"/>
              <a:gd name="connsiteY149" fmla="*/ 18853 h 547735"/>
              <a:gd name="connsiteX150" fmla="*/ 253181 w 571646"/>
              <a:gd name="connsiteY150" fmla="*/ 32157 h 547735"/>
              <a:gd name="connsiteX151" fmla="*/ 236637 w 571646"/>
              <a:gd name="connsiteY151" fmla="*/ 41470 h 547735"/>
              <a:gd name="connsiteX152" fmla="*/ 194700 w 571646"/>
              <a:gd name="connsiteY152" fmla="*/ 63335 h 547735"/>
              <a:gd name="connsiteX153" fmla="*/ 185214 w 571646"/>
              <a:gd name="connsiteY153" fmla="*/ 68194 h 547735"/>
              <a:gd name="connsiteX154" fmla="*/ 188916 w 571646"/>
              <a:gd name="connsiteY154" fmla="*/ 74904 h 547735"/>
              <a:gd name="connsiteX155" fmla="*/ 197130 w 571646"/>
              <a:gd name="connsiteY155" fmla="*/ 103826 h 547735"/>
              <a:gd name="connsiteX156" fmla="*/ 196551 w 571646"/>
              <a:gd name="connsiteY156" fmla="*/ 113833 h 547735"/>
              <a:gd name="connsiteX157" fmla="*/ 197997 w 571646"/>
              <a:gd name="connsiteY157" fmla="*/ 127658 h 547735"/>
              <a:gd name="connsiteX158" fmla="*/ 209566 w 571646"/>
              <a:gd name="connsiteY158" fmla="*/ 147267 h 547735"/>
              <a:gd name="connsiteX159" fmla="*/ 207599 w 571646"/>
              <a:gd name="connsiteY159" fmla="*/ 156754 h 547735"/>
              <a:gd name="connsiteX160" fmla="*/ 202278 w 571646"/>
              <a:gd name="connsiteY160" fmla="*/ 159299 h 547735"/>
              <a:gd name="connsiteX161" fmla="*/ 195857 w 571646"/>
              <a:gd name="connsiteY161" fmla="*/ 158952 h 547735"/>
              <a:gd name="connsiteX162" fmla="*/ 176248 w 571646"/>
              <a:gd name="connsiteY162" fmla="*/ 158142 h 547735"/>
              <a:gd name="connsiteX163" fmla="*/ 163349 w 571646"/>
              <a:gd name="connsiteY163" fmla="*/ 159935 h 547735"/>
              <a:gd name="connsiteX164" fmla="*/ 145995 w 571646"/>
              <a:gd name="connsiteY164" fmla="*/ 170868 h 547735"/>
              <a:gd name="connsiteX165" fmla="*/ 142582 w 571646"/>
              <a:gd name="connsiteY165" fmla="*/ 170868 h 547735"/>
              <a:gd name="connsiteX166" fmla="*/ 140847 w 571646"/>
              <a:gd name="connsiteY166" fmla="*/ 170868 h 547735"/>
              <a:gd name="connsiteX167" fmla="*/ 138244 w 571646"/>
              <a:gd name="connsiteY167" fmla="*/ 177173 h 547735"/>
              <a:gd name="connsiteX168" fmla="*/ 138244 w 571646"/>
              <a:gd name="connsiteY168" fmla="*/ 184924 h 547735"/>
              <a:gd name="connsiteX169" fmla="*/ 136798 w 571646"/>
              <a:gd name="connsiteY169" fmla="*/ 193890 h 547735"/>
              <a:gd name="connsiteX170" fmla="*/ 133732 w 571646"/>
              <a:gd name="connsiteY170" fmla="*/ 195047 h 547735"/>
              <a:gd name="connsiteX171" fmla="*/ 129683 w 571646"/>
              <a:gd name="connsiteY171" fmla="*/ 197823 h 547735"/>
              <a:gd name="connsiteX172" fmla="*/ 121354 w 571646"/>
              <a:gd name="connsiteY172" fmla="*/ 203087 h 547735"/>
              <a:gd name="connsiteX173" fmla="*/ 115569 w 571646"/>
              <a:gd name="connsiteY173" fmla="*/ 203434 h 547735"/>
              <a:gd name="connsiteX174" fmla="*/ 101860 w 571646"/>
              <a:gd name="connsiteY174" fmla="*/ 209219 h 547735"/>
              <a:gd name="connsiteX175" fmla="*/ 86705 w 571646"/>
              <a:gd name="connsiteY175" fmla="*/ 226572 h 547735"/>
              <a:gd name="connsiteX176" fmla="*/ 76756 w 571646"/>
              <a:gd name="connsiteY176" fmla="*/ 227208 h 547735"/>
              <a:gd name="connsiteX177" fmla="*/ 76119 w 571646"/>
              <a:gd name="connsiteY177" fmla="*/ 227208 h 547735"/>
              <a:gd name="connsiteX178" fmla="*/ 63972 w 571646"/>
              <a:gd name="connsiteY178" fmla="*/ 230795 h 547735"/>
              <a:gd name="connsiteX179" fmla="*/ 56279 w 571646"/>
              <a:gd name="connsiteY179" fmla="*/ 235943 h 547735"/>
              <a:gd name="connsiteX180" fmla="*/ 52345 w 571646"/>
              <a:gd name="connsiteY180" fmla="*/ 235943 h 547735"/>
              <a:gd name="connsiteX181" fmla="*/ 45577 w 571646"/>
              <a:gd name="connsiteY181" fmla="*/ 237157 h 547735"/>
              <a:gd name="connsiteX182" fmla="*/ 2484 w 571646"/>
              <a:gd name="connsiteY182" fmla="*/ 265038 h 547735"/>
              <a:gd name="connsiteX183" fmla="*/ 2831 w 571646"/>
              <a:gd name="connsiteY183" fmla="*/ 291184 h 547735"/>
              <a:gd name="connsiteX184" fmla="*/ 3120 w 571646"/>
              <a:gd name="connsiteY184" fmla="*/ 301596 h 547735"/>
              <a:gd name="connsiteX185" fmla="*/ 7921 w 571646"/>
              <a:gd name="connsiteY185" fmla="*/ 305876 h 547735"/>
              <a:gd name="connsiteX186" fmla="*/ 273195 w 571646"/>
              <a:gd name="connsiteY186" fmla="*/ 482764 h 547735"/>
              <a:gd name="connsiteX187" fmla="*/ 290143 w 571646"/>
              <a:gd name="connsiteY187" fmla="*/ 507001 h 54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71646" h="547735">
                <a:moveTo>
                  <a:pt x="333584" y="547550"/>
                </a:moveTo>
                <a:cubicBezTo>
                  <a:pt x="333359" y="547625"/>
                  <a:pt x="333116" y="547625"/>
                  <a:pt x="332890" y="547550"/>
                </a:cubicBezTo>
                <a:cubicBezTo>
                  <a:pt x="332641" y="547330"/>
                  <a:pt x="332497" y="547012"/>
                  <a:pt x="332485" y="546682"/>
                </a:cubicBezTo>
                <a:cubicBezTo>
                  <a:pt x="332485" y="546682"/>
                  <a:pt x="332485" y="526147"/>
                  <a:pt x="319586" y="518859"/>
                </a:cubicBezTo>
                <a:cubicBezTo>
                  <a:pt x="310134" y="513965"/>
                  <a:pt x="299896" y="510772"/>
                  <a:pt x="289333" y="509430"/>
                </a:cubicBezTo>
                <a:cubicBezTo>
                  <a:pt x="288975" y="509378"/>
                  <a:pt x="288651" y="509165"/>
                  <a:pt x="288466" y="508852"/>
                </a:cubicBezTo>
                <a:cubicBezTo>
                  <a:pt x="283566" y="500031"/>
                  <a:pt x="277747" y="491753"/>
                  <a:pt x="271113" y="484152"/>
                </a:cubicBezTo>
                <a:cubicBezTo>
                  <a:pt x="263303" y="476344"/>
                  <a:pt x="20068" y="315421"/>
                  <a:pt x="6359" y="307612"/>
                </a:cubicBezTo>
                <a:cubicBezTo>
                  <a:pt x="3988" y="306391"/>
                  <a:pt x="1992" y="304552"/>
                  <a:pt x="575" y="302290"/>
                </a:cubicBezTo>
                <a:cubicBezTo>
                  <a:pt x="523" y="302122"/>
                  <a:pt x="523" y="301937"/>
                  <a:pt x="575" y="301770"/>
                </a:cubicBezTo>
                <a:lnTo>
                  <a:pt x="286" y="291011"/>
                </a:lnTo>
                <a:cubicBezTo>
                  <a:pt x="-119" y="274872"/>
                  <a:pt x="-351" y="265675"/>
                  <a:pt x="286" y="264171"/>
                </a:cubicBezTo>
                <a:cubicBezTo>
                  <a:pt x="1443" y="259659"/>
                  <a:pt x="42685" y="236001"/>
                  <a:pt x="44421" y="234959"/>
                </a:cubicBezTo>
                <a:cubicBezTo>
                  <a:pt x="47573" y="233606"/>
                  <a:pt x="51021" y="233085"/>
                  <a:pt x="54428" y="233455"/>
                </a:cubicBezTo>
                <a:lnTo>
                  <a:pt x="56279" y="233455"/>
                </a:lnTo>
                <a:cubicBezTo>
                  <a:pt x="60443" y="233455"/>
                  <a:pt x="61716" y="232761"/>
                  <a:pt x="61716" y="230563"/>
                </a:cubicBezTo>
                <a:cubicBezTo>
                  <a:pt x="61716" y="224779"/>
                  <a:pt x="69352" y="224779"/>
                  <a:pt x="76119" y="224779"/>
                </a:cubicBezTo>
                <a:lnTo>
                  <a:pt x="77161" y="224779"/>
                </a:lnTo>
                <a:cubicBezTo>
                  <a:pt x="80331" y="224894"/>
                  <a:pt x="83506" y="224721"/>
                  <a:pt x="86647" y="224258"/>
                </a:cubicBezTo>
                <a:cubicBezTo>
                  <a:pt x="94201" y="223327"/>
                  <a:pt x="99893" y="216941"/>
                  <a:pt x="99951" y="209334"/>
                </a:cubicBezTo>
                <a:cubicBezTo>
                  <a:pt x="99951" y="201930"/>
                  <a:pt x="108454" y="201641"/>
                  <a:pt x="115916" y="201352"/>
                </a:cubicBezTo>
                <a:cubicBezTo>
                  <a:pt x="117883" y="201352"/>
                  <a:pt x="119792" y="201352"/>
                  <a:pt x="121701" y="201062"/>
                </a:cubicBezTo>
                <a:cubicBezTo>
                  <a:pt x="124523" y="200785"/>
                  <a:pt x="127040" y="199171"/>
                  <a:pt x="128468" y="196724"/>
                </a:cubicBezTo>
                <a:cubicBezTo>
                  <a:pt x="129608" y="194555"/>
                  <a:pt x="131806" y="193149"/>
                  <a:pt x="134253" y="193022"/>
                </a:cubicBezTo>
                <a:cubicBezTo>
                  <a:pt x="134774" y="193057"/>
                  <a:pt x="135294" y="192889"/>
                  <a:pt x="135699" y="192560"/>
                </a:cubicBezTo>
                <a:cubicBezTo>
                  <a:pt x="136682" y="191518"/>
                  <a:pt x="136625" y="188626"/>
                  <a:pt x="136509" y="185213"/>
                </a:cubicBezTo>
                <a:cubicBezTo>
                  <a:pt x="136341" y="182535"/>
                  <a:pt x="136341" y="179851"/>
                  <a:pt x="136509" y="177173"/>
                </a:cubicBezTo>
                <a:cubicBezTo>
                  <a:pt x="137087" y="170984"/>
                  <a:pt x="137319" y="168843"/>
                  <a:pt x="141368" y="168843"/>
                </a:cubicBezTo>
                <a:lnTo>
                  <a:pt x="143161" y="168843"/>
                </a:lnTo>
                <a:lnTo>
                  <a:pt x="146516" y="168843"/>
                </a:lnTo>
                <a:cubicBezTo>
                  <a:pt x="154209" y="168843"/>
                  <a:pt x="161440" y="164621"/>
                  <a:pt x="161440" y="160167"/>
                </a:cubicBezTo>
                <a:cubicBezTo>
                  <a:pt x="161440" y="157274"/>
                  <a:pt x="165836" y="156118"/>
                  <a:pt x="176595" y="156118"/>
                </a:cubicBezTo>
                <a:cubicBezTo>
                  <a:pt x="183247" y="156118"/>
                  <a:pt x="190825" y="156580"/>
                  <a:pt x="196378" y="156927"/>
                </a:cubicBezTo>
                <a:lnTo>
                  <a:pt x="202625" y="157274"/>
                </a:lnTo>
                <a:cubicBezTo>
                  <a:pt x="204019" y="157309"/>
                  <a:pt x="205344" y="156684"/>
                  <a:pt x="206211" y="155597"/>
                </a:cubicBezTo>
                <a:cubicBezTo>
                  <a:pt x="207761" y="153353"/>
                  <a:pt x="208311" y="150565"/>
                  <a:pt x="207715" y="147904"/>
                </a:cubicBezTo>
                <a:cubicBezTo>
                  <a:pt x="206732" y="142929"/>
                  <a:pt x="202278" y="130840"/>
                  <a:pt x="197997" y="130088"/>
                </a:cubicBezTo>
                <a:cubicBezTo>
                  <a:pt x="193717" y="129336"/>
                  <a:pt x="193832" y="122163"/>
                  <a:pt x="194642" y="113891"/>
                </a:cubicBezTo>
                <a:cubicBezTo>
                  <a:pt x="194642" y="110594"/>
                  <a:pt x="195221" y="107239"/>
                  <a:pt x="195221" y="104058"/>
                </a:cubicBezTo>
                <a:cubicBezTo>
                  <a:pt x="195909" y="94184"/>
                  <a:pt x="193173" y="84379"/>
                  <a:pt x="187470" y="76292"/>
                </a:cubicBezTo>
                <a:cubicBezTo>
                  <a:pt x="185653" y="73556"/>
                  <a:pt x="184103" y="70653"/>
                  <a:pt x="182842" y="67616"/>
                </a:cubicBezTo>
                <a:cubicBezTo>
                  <a:pt x="182588" y="67032"/>
                  <a:pt x="182854" y="66349"/>
                  <a:pt x="183438" y="66095"/>
                </a:cubicBezTo>
                <a:cubicBezTo>
                  <a:pt x="183583" y="66031"/>
                  <a:pt x="183733" y="65996"/>
                  <a:pt x="183883" y="65996"/>
                </a:cubicBezTo>
                <a:cubicBezTo>
                  <a:pt x="187504" y="66083"/>
                  <a:pt x="190981" y="64562"/>
                  <a:pt x="193370" y="61831"/>
                </a:cubicBezTo>
                <a:cubicBezTo>
                  <a:pt x="204302" y="49568"/>
                  <a:pt x="224316" y="39214"/>
                  <a:pt x="236984" y="39214"/>
                </a:cubicBezTo>
                <a:cubicBezTo>
                  <a:pt x="242075" y="39214"/>
                  <a:pt x="246702" y="35165"/>
                  <a:pt x="252082" y="30480"/>
                </a:cubicBezTo>
                <a:cubicBezTo>
                  <a:pt x="259139" y="24175"/>
                  <a:pt x="267237" y="17060"/>
                  <a:pt x="279384" y="16597"/>
                </a:cubicBezTo>
                <a:cubicBezTo>
                  <a:pt x="285979" y="16597"/>
                  <a:pt x="297721" y="14977"/>
                  <a:pt x="311372" y="13416"/>
                </a:cubicBezTo>
                <a:cubicBezTo>
                  <a:pt x="331560" y="11102"/>
                  <a:pt x="354408" y="8441"/>
                  <a:pt x="368811" y="8441"/>
                </a:cubicBezTo>
                <a:cubicBezTo>
                  <a:pt x="379050" y="8441"/>
                  <a:pt x="381653" y="9829"/>
                  <a:pt x="382752" y="10871"/>
                </a:cubicBezTo>
                <a:cubicBezTo>
                  <a:pt x="384146" y="12016"/>
                  <a:pt x="385928" y="12577"/>
                  <a:pt x="387727" y="12432"/>
                </a:cubicBezTo>
                <a:cubicBezTo>
                  <a:pt x="394124" y="11651"/>
                  <a:pt x="400354" y="9858"/>
                  <a:pt x="406179" y="7111"/>
                </a:cubicBezTo>
                <a:cubicBezTo>
                  <a:pt x="410540" y="5098"/>
                  <a:pt x="415151" y="3675"/>
                  <a:pt x="419888" y="2888"/>
                </a:cubicBezTo>
                <a:cubicBezTo>
                  <a:pt x="423983" y="2558"/>
                  <a:pt x="428055" y="2015"/>
                  <a:pt x="432093" y="1268"/>
                </a:cubicBezTo>
                <a:cubicBezTo>
                  <a:pt x="437340" y="-91"/>
                  <a:pt x="442794" y="-461"/>
                  <a:pt x="448174" y="169"/>
                </a:cubicBezTo>
                <a:lnTo>
                  <a:pt x="448521" y="169"/>
                </a:lnTo>
                <a:cubicBezTo>
                  <a:pt x="456584" y="2923"/>
                  <a:pt x="464995" y="4542"/>
                  <a:pt x="473510" y="4970"/>
                </a:cubicBezTo>
                <a:cubicBezTo>
                  <a:pt x="473845" y="4959"/>
                  <a:pt x="474169" y="5109"/>
                  <a:pt x="474377" y="5375"/>
                </a:cubicBezTo>
                <a:cubicBezTo>
                  <a:pt x="474585" y="5618"/>
                  <a:pt x="474690" y="5925"/>
                  <a:pt x="474667" y="6243"/>
                </a:cubicBezTo>
                <a:cubicBezTo>
                  <a:pt x="473336" y="14862"/>
                  <a:pt x="469461" y="40949"/>
                  <a:pt x="474146" y="48122"/>
                </a:cubicBezTo>
                <a:cubicBezTo>
                  <a:pt x="476928" y="52802"/>
                  <a:pt x="477559" y="58448"/>
                  <a:pt x="475881" y="63625"/>
                </a:cubicBezTo>
                <a:cubicBezTo>
                  <a:pt x="474510" y="69773"/>
                  <a:pt x="470878" y="75188"/>
                  <a:pt x="465700" y="78780"/>
                </a:cubicBezTo>
                <a:cubicBezTo>
                  <a:pt x="462600" y="81024"/>
                  <a:pt x="460020" y="83905"/>
                  <a:pt x="458123" y="87225"/>
                </a:cubicBezTo>
                <a:cubicBezTo>
                  <a:pt x="454768" y="92142"/>
                  <a:pt x="451586" y="96711"/>
                  <a:pt x="447422" y="96711"/>
                </a:cubicBezTo>
                <a:cubicBezTo>
                  <a:pt x="447422" y="96711"/>
                  <a:pt x="446497" y="96711"/>
                  <a:pt x="446149" y="98331"/>
                </a:cubicBezTo>
                <a:cubicBezTo>
                  <a:pt x="444992" y="104116"/>
                  <a:pt x="450487" y="119907"/>
                  <a:pt x="459164" y="123609"/>
                </a:cubicBezTo>
                <a:cubicBezTo>
                  <a:pt x="467037" y="126334"/>
                  <a:pt x="472000" y="134119"/>
                  <a:pt x="471138" y="142408"/>
                </a:cubicBezTo>
                <a:cubicBezTo>
                  <a:pt x="471138" y="144317"/>
                  <a:pt x="475939" y="147036"/>
                  <a:pt x="480162" y="149408"/>
                </a:cubicBezTo>
                <a:cubicBezTo>
                  <a:pt x="484523" y="151484"/>
                  <a:pt x="488445" y="154371"/>
                  <a:pt x="491730" y="157911"/>
                </a:cubicBezTo>
                <a:cubicBezTo>
                  <a:pt x="496647" y="164447"/>
                  <a:pt x="504919" y="195220"/>
                  <a:pt x="504919" y="207078"/>
                </a:cubicBezTo>
                <a:cubicBezTo>
                  <a:pt x="504913" y="209415"/>
                  <a:pt x="505659" y="211689"/>
                  <a:pt x="507059" y="213557"/>
                </a:cubicBezTo>
                <a:cubicBezTo>
                  <a:pt x="507204" y="213829"/>
                  <a:pt x="507204" y="214153"/>
                  <a:pt x="507059" y="214424"/>
                </a:cubicBezTo>
                <a:cubicBezTo>
                  <a:pt x="506996" y="214708"/>
                  <a:pt x="506834" y="214951"/>
                  <a:pt x="506596" y="215119"/>
                </a:cubicBezTo>
                <a:cubicBezTo>
                  <a:pt x="504456" y="216623"/>
                  <a:pt x="501275" y="218821"/>
                  <a:pt x="500812" y="220151"/>
                </a:cubicBezTo>
                <a:cubicBezTo>
                  <a:pt x="501622" y="224056"/>
                  <a:pt x="503323" y="227717"/>
                  <a:pt x="505787" y="230852"/>
                </a:cubicBezTo>
                <a:cubicBezTo>
                  <a:pt x="508569" y="235266"/>
                  <a:pt x="511080" y="239847"/>
                  <a:pt x="513307" y="244561"/>
                </a:cubicBezTo>
                <a:cubicBezTo>
                  <a:pt x="515557" y="249970"/>
                  <a:pt x="515557" y="256049"/>
                  <a:pt x="513307" y="261452"/>
                </a:cubicBezTo>
                <a:cubicBezTo>
                  <a:pt x="511548" y="265067"/>
                  <a:pt x="511340" y="269244"/>
                  <a:pt x="512728" y="273021"/>
                </a:cubicBezTo>
                <a:cubicBezTo>
                  <a:pt x="516789" y="279309"/>
                  <a:pt x="515898" y="287586"/>
                  <a:pt x="510588" y="292861"/>
                </a:cubicBezTo>
                <a:cubicBezTo>
                  <a:pt x="508158" y="295754"/>
                  <a:pt x="509142" y="300150"/>
                  <a:pt x="510009" y="304026"/>
                </a:cubicBezTo>
                <a:cubicBezTo>
                  <a:pt x="510449" y="305691"/>
                  <a:pt x="510721" y="307398"/>
                  <a:pt x="510819" y="309116"/>
                </a:cubicBezTo>
                <a:cubicBezTo>
                  <a:pt x="511184" y="311481"/>
                  <a:pt x="512028" y="313743"/>
                  <a:pt x="513307" y="315768"/>
                </a:cubicBezTo>
                <a:cubicBezTo>
                  <a:pt x="514753" y="318718"/>
                  <a:pt x="515967" y="321031"/>
                  <a:pt x="514579" y="322420"/>
                </a:cubicBezTo>
                <a:lnTo>
                  <a:pt x="512902" y="323924"/>
                </a:lnTo>
                <a:cubicBezTo>
                  <a:pt x="510183" y="326180"/>
                  <a:pt x="503068" y="332311"/>
                  <a:pt x="503068" y="335088"/>
                </a:cubicBezTo>
                <a:cubicBezTo>
                  <a:pt x="503068" y="337864"/>
                  <a:pt x="504977" y="339253"/>
                  <a:pt x="507638" y="342376"/>
                </a:cubicBezTo>
                <a:cubicBezTo>
                  <a:pt x="510270" y="345297"/>
                  <a:pt x="512705" y="348386"/>
                  <a:pt x="514926" y="351631"/>
                </a:cubicBezTo>
                <a:cubicBezTo>
                  <a:pt x="518056" y="356062"/>
                  <a:pt x="519247" y="361575"/>
                  <a:pt x="518223" y="366902"/>
                </a:cubicBezTo>
                <a:cubicBezTo>
                  <a:pt x="517963" y="368996"/>
                  <a:pt x="517963" y="371113"/>
                  <a:pt x="518223" y="373207"/>
                </a:cubicBezTo>
                <a:cubicBezTo>
                  <a:pt x="519149" y="379454"/>
                  <a:pt x="528288" y="383388"/>
                  <a:pt x="536271" y="383388"/>
                </a:cubicBezTo>
                <a:cubicBezTo>
                  <a:pt x="540331" y="383509"/>
                  <a:pt x="544305" y="384620"/>
                  <a:pt x="547839" y="386627"/>
                </a:cubicBezTo>
                <a:cubicBezTo>
                  <a:pt x="550535" y="388224"/>
                  <a:pt x="553566" y="389172"/>
                  <a:pt x="556690" y="389403"/>
                </a:cubicBezTo>
                <a:cubicBezTo>
                  <a:pt x="563400" y="389403"/>
                  <a:pt x="567449" y="398890"/>
                  <a:pt x="571498" y="413178"/>
                </a:cubicBezTo>
                <a:cubicBezTo>
                  <a:pt x="571550" y="413386"/>
                  <a:pt x="571550" y="413606"/>
                  <a:pt x="571498" y="413814"/>
                </a:cubicBezTo>
                <a:cubicBezTo>
                  <a:pt x="571498" y="414450"/>
                  <a:pt x="570977" y="414971"/>
                  <a:pt x="570341" y="414971"/>
                </a:cubicBezTo>
                <a:lnTo>
                  <a:pt x="570341" y="414971"/>
                </a:lnTo>
                <a:lnTo>
                  <a:pt x="453264" y="487912"/>
                </a:lnTo>
                <a:lnTo>
                  <a:pt x="403460" y="528114"/>
                </a:lnTo>
                <a:lnTo>
                  <a:pt x="403113" y="528114"/>
                </a:lnTo>
                <a:cubicBezTo>
                  <a:pt x="401783" y="528577"/>
                  <a:pt x="370315" y="539683"/>
                  <a:pt x="360713" y="541650"/>
                </a:cubicBezTo>
                <a:cubicBezTo>
                  <a:pt x="351111" y="543617"/>
                  <a:pt x="334047" y="547434"/>
                  <a:pt x="333874" y="547434"/>
                </a:cubicBezTo>
                <a:close/>
                <a:moveTo>
                  <a:pt x="290143" y="507059"/>
                </a:moveTo>
                <a:cubicBezTo>
                  <a:pt x="300815" y="508441"/>
                  <a:pt x="311158" y="511715"/>
                  <a:pt x="320685" y="516719"/>
                </a:cubicBezTo>
                <a:cubicBezTo>
                  <a:pt x="332717" y="523544"/>
                  <a:pt x="334452" y="540146"/>
                  <a:pt x="334683" y="545121"/>
                </a:cubicBezTo>
                <a:cubicBezTo>
                  <a:pt x="338964" y="544195"/>
                  <a:pt x="352037" y="541245"/>
                  <a:pt x="360250" y="539683"/>
                </a:cubicBezTo>
                <a:cubicBezTo>
                  <a:pt x="369332" y="537832"/>
                  <a:pt x="399527" y="527247"/>
                  <a:pt x="402188" y="526321"/>
                </a:cubicBezTo>
                <a:lnTo>
                  <a:pt x="451934" y="485830"/>
                </a:lnTo>
                <a:lnTo>
                  <a:pt x="568779" y="413062"/>
                </a:lnTo>
                <a:cubicBezTo>
                  <a:pt x="565540" y="401782"/>
                  <a:pt x="561838" y="391544"/>
                  <a:pt x="556343" y="391544"/>
                </a:cubicBezTo>
                <a:cubicBezTo>
                  <a:pt x="552884" y="391307"/>
                  <a:pt x="549523" y="390300"/>
                  <a:pt x="546509" y="388594"/>
                </a:cubicBezTo>
                <a:cubicBezTo>
                  <a:pt x="543374" y="386760"/>
                  <a:pt x="539840" y="385707"/>
                  <a:pt x="536213" y="385528"/>
                </a:cubicBezTo>
                <a:cubicBezTo>
                  <a:pt x="527074" y="385528"/>
                  <a:pt x="517008" y="380958"/>
                  <a:pt x="515967" y="373439"/>
                </a:cubicBezTo>
                <a:cubicBezTo>
                  <a:pt x="515707" y="371154"/>
                  <a:pt x="515707" y="368840"/>
                  <a:pt x="515967" y="366555"/>
                </a:cubicBezTo>
                <a:cubicBezTo>
                  <a:pt x="516974" y="361754"/>
                  <a:pt x="515904" y="356756"/>
                  <a:pt x="513017" y="352788"/>
                </a:cubicBezTo>
                <a:cubicBezTo>
                  <a:pt x="510877" y="349601"/>
                  <a:pt x="508517" y="346570"/>
                  <a:pt x="505960" y="343707"/>
                </a:cubicBezTo>
                <a:cubicBezTo>
                  <a:pt x="502952" y="340236"/>
                  <a:pt x="500754" y="337922"/>
                  <a:pt x="500754" y="334972"/>
                </a:cubicBezTo>
                <a:cubicBezTo>
                  <a:pt x="500754" y="332022"/>
                  <a:pt x="506539" y="326469"/>
                  <a:pt x="511398" y="322073"/>
                </a:cubicBezTo>
                <a:cubicBezTo>
                  <a:pt x="511947" y="321645"/>
                  <a:pt x="512468" y="321182"/>
                  <a:pt x="512960" y="320684"/>
                </a:cubicBezTo>
                <a:cubicBezTo>
                  <a:pt x="512589" y="319285"/>
                  <a:pt x="512022" y="317937"/>
                  <a:pt x="511282" y="316693"/>
                </a:cubicBezTo>
                <a:cubicBezTo>
                  <a:pt x="509830" y="314356"/>
                  <a:pt x="508899" y="311730"/>
                  <a:pt x="508563" y="309000"/>
                </a:cubicBezTo>
                <a:cubicBezTo>
                  <a:pt x="508476" y="307438"/>
                  <a:pt x="508222" y="305882"/>
                  <a:pt x="507811" y="304373"/>
                </a:cubicBezTo>
                <a:cubicBezTo>
                  <a:pt x="506087" y="300092"/>
                  <a:pt x="506475" y="295250"/>
                  <a:pt x="508852" y="291300"/>
                </a:cubicBezTo>
                <a:cubicBezTo>
                  <a:pt x="513613" y="286736"/>
                  <a:pt x="514394" y="279407"/>
                  <a:pt x="510704" y="273946"/>
                </a:cubicBezTo>
                <a:cubicBezTo>
                  <a:pt x="508997" y="269602"/>
                  <a:pt x="509165" y="264743"/>
                  <a:pt x="511166" y="260527"/>
                </a:cubicBezTo>
                <a:cubicBezTo>
                  <a:pt x="513318" y="255685"/>
                  <a:pt x="513440" y="250190"/>
                  <a:pt x="511513" y="245256"/>
                </a:cubicBezTo>
                <a:cubicBezTo>
                  <a:pt x="509333" y="240622"/>
                  <a:pt x="506880" y="236122"/>
                  <a:pt x="504167" y="231778"/>
                </a:cubicBezTo>
                <a:cubicBezTo>
                  <a:pt x="500812" y="225993"/>
                  <a:pt x="498383" y="222234"/>
                  <a:pt x="498903" y="219515"/>
                </a:cubicBezTo>
                <a:cubicBezTo>
                  <a:pt x="499424" y="216796"/>
                  <a:pt x="501449" y="215813"/>
                  <a:pt x="504688" y="213730"/>
                </a:cubicBezTo>
                <a:cubicBezTo>
                  <a:pt x="503369" y="211700"/>
                  <a:pt x="502663" y="209328"/>
                  <a:pt x="502663" y="206905"/>
                </a:cubicBezTo>
                <a:cubicBezTo>
                  <a:pt x="502663" y="195625"/>
                  <a:pt x="494623" y="165199"/>
                  <a:pt x="489995" y="159067"/>
                </a:cubicBezTo>
                <a:cubicBezTo>
                  <a:pt x="486802" y="155817"/>
                  <a:pt x="483065" y="153156"/>
                  <a:pt x="478947" y="151201"/>
                </a:cubicBezTo>
                <a:cubicBezTo>
                  <a:pt x="473163" y="148135"/>
                  <a:pt x="468766" y="145416"/>
                  <a:pt x="468766" y="142235"/>
                </a:cubicBezTo>
                <a:cubicBezTo>
                  <a:pt x="469570" y="134831"/>
                  <a:pt x="465012" y="127889"/>
                  <a:pt x="457892" y="125692"/>
                </a:cubicBezTo>
                <a:cubicBezTo>
                  <a:pt x="447943" y="121469"/>
                  <a:pt x="442158" y="104463"/>
                  <a:pt x="443488" y="97926"/>
                </a:cubicBezTo>
                <a:cubicBezTo>
                  <a:pt x="444125" y="94803"/>
                  <a:pt x="446149" y="94455"/>
                  <a:pt x="447017" y="94455"/>
                </a:cubicBezTo>
                <a:cubicBezTo>
                  <a:pt x="449967" y="94455"/>
                  <a:pt x="452801" y="90117"/>
                  <a:pt x="455867" y="85952"/>
                </a:cubicBezTo>
                <a:cubicBezTo>
                  <a:pt x="457950" y="82302"/>
                  <a:pt x="460813" y="79162"/>
                  <a:pt x="464254" y="76755"/>
                </a:cubicBezTo>
                <a:cubicBezTo>
                  <a:pt x="468836" y="73441"/>
                  <a:pt x="472046" y="68564"/>
                  <a:pt x="473278" y="63046"/>
                </a:cubicBezTo>
                <a:cubicBezTo>
                  <a:pt x="474799" y="58488"/>
                  <a:pt x="474296" y="53496"/>
                  <a:pt x="471890" y="49337"/>
                </a:cubicBezTo>
                <a:cubicBezTo>
                  <a:pt x="468419" y="44131"/>
                  <a:pt x="468361" y="30711"/>
                  <a:pt x="471890" y="7168"/>
                </a:cubicBezTo>
                <a:cubicBezTo>
                  <a:pt x="463572" y="6631"/>
                  <a:pt x="455370" y="4999"/>
                  <a:pt x="447480" y="2310"/>
                </a:cubicBezTo>
                <a:lnTo>
                  <a:pt x="447133" y="2310"/>
                </a:lnTo>
                <a:cubicBezTo>
                  <a:pt x="442089" y="1893"/>
                  <a:pt x="437016" y="2281"/>
                  <a:pt x="432093" y="3467"/>
                </a:cubicBezTo>
                <a:cubicBezTo>
                  <a:pt x="427986" y="4265"/>
                  <a:pt x="423833" y="4826"/>
                  <a:pt x="419657" y="5144"/>
                </a:cubicBezTo>
                <a:cubicBezTo>
                  <a:pt x="415156" y="5936"/>
                  <a:pt x="410783" y="7319"/>
                  <a:pt x="406642" y="9251"/>
                </a:cubicBezTo>
                <a:cubicBezTo>
                  <a:pt x="400562" y="12103"/>
                  <a:pt x="394055" y="13942"/>
                  <a:pt x="387379" y="14688"/>
                </a:cubicBezTo>
                <a:cubicBezTo>
                  <a:pt x="385002" y="14821"/>
                  <a:pt x="382659" y="14035"/>
                  <a:pt x="380843" y="12490"/>
                </a:cubicBezTo>
                <a:cubicBezTo>
                  <a:pt x="380149" y="11854"/>
                  <a:pt x="377604" y="10697"/>
                  <a:pt x="368464" y="10697"/>
                </a:cubicBezTo>
                <a:cubicBezTo>
                  <a:pt x="354177" y="10697"/>
                  <a:pt x="331386" y="13358"/>
                  <a:pt x="311257" y="15672"/>
                </a:cubicBezTo>
                <a:cubicBezTo>
                  <a:pt x="297605" y="17233"/>
                  <a:pt x="285805" y="18622"/>
                  <a:pt x="279095" y="18853"/>
                </a:cubicBezTo>
                <a:cubicBezTo>
                  <a:pt x="267526" y="19316"/>
                  <a:pt x="260006" y="26141"/>
                  <a:pt x="253181" y="32157"/>
                </a:cubicBezTo>
                <a:cubicBezTo>
                  <a:pt x="247396" y="37190"/>
                  <a:pt x="242595" y="41470"/>
                  <a:pt x="236637" y="41470"/>
                </a:cubicBezTo>
                <a:cubicBezTo>
                  <a:pt x="224721" y="41470"/>
                  <a:pt x="205112" y="51709"/>
                  <a:pt x="194700" y="63335"/>
                </a:cubicBezTo>
                <a:cubicBezTo>
                  <a:pt x="192271" y="66106"/>
                  <a:pt x="188881" y="67841"/>
                  <a:pt x="185214" y="68194"/>
                </a:cubicBezTo>
                <a:cubicBezTo>
                  <a:pt x="186232" y="70543"/>
                  <a:pt x="187470" y="72787"/>
                  <a:pt x="188916" y="74904"/>
                </a:cubicBezTo>
                <a:cubicBezTo>
                  <a:pt x="194868" y="83326"/>
                  <a:pt x="197766" y="93530"/>
                  <a:pt x="197130" y="103826"/>
                </a:cubicBezTo>
                <a:cubicBezTo>
                  <a:pt x="197130" y="107066"/>
                  <a:pt x="196840" y="110536"/>
                  <a:pt x="196551" y="113833"/>
                </a:cubicBezTo>
                <a:cubicBezTo>
                  <a:pt x="195915" y="120428"/>
                  <a:pt x="195278" y="127195"/>
                  <a:pt x="197997" y="127658"/>
                </a:cubicBezTo>
                <a:cubicBezTo>
                  <a:pt x="204592" y="128757"/>
                  <a:pt x="209045" y="144433"/>
                  <a:pt x="209566" y="147267"/>
                </a:cubicBezTo>
                <a:cubicBezTo>
                  <a:pt x="210283" y="150565"/>
                  <a:pt x="209566" y="154012"/>
                  <a:pt x="207599" y="156754"/>
                </a:cubicBezTo>
                <a:cubicBezTo>
                  <a:pt x="206327" y="158391"/>
                  <a:pt x="204354" y="159334"/>
                  <a:pt x="202278" y="159299"/>
                </a:cubicBezTo>
                <a:cubicBezTo>
                  <a:pt x="201179" y="159299"/>
                  <a:pt x="198807" y="159299"/>
                  <a:pt x="195857" y="158952"/>
                </a:cubicBezTo>
                <a:cubicBezTo>
                  <a:pt x="190073" y="158605"/>
                  <a:pt x="182842" y="158142"/>
                  <a:pt x="176248" y="158142"/>
                </a:cubicBezTo>
                <a:cubicBezTo>
                  <a:pt x="163927" y="158142"/>
                  <a:pt x="163349" y="159877"/>
                  <a:pt x="163349" y="159935"/>
                </a:cubicBezTo>
                <a:cubicBezTo>
                  <a:pt x="163349" y="166356"/>
                  <a:pt x="154267" y="170868"/>
                  <a:pt x="145995" y="170868"/>
                </a:cubicBezTo>
                <a:lnTo>
                  <a:pt x="142582" y="170868"/>
                </a:lnTo>
                <a:lnTo>
                  <a:pt x="140847" y="170868"/>
                </a:lnTo>
                <a:cubicBezTo>
                  <a:pt x="138938" y="170868"/>
                  <a:pt x="138823" y="170868"/>
                  <a:pt x="138244" y="177173"/>
                </a:cubicBezTo>
                <a:cubicBezTo>
                  <a:pt x="138076" y="179753"/>
                  <a:pt x="138076" y="182344"/>
                  <a:pt x="138244" y="184924"/>
                </a:cubicBezTo>
                <a:cubicBezTo>
                  <a:pt x="138244" y="188973"/>
                  <a:pt x="138244" y="192155"/>
                  <a:pt x="136798" y="193890"/>
                </a:cubicBezTo>
                <a:cubicBezTo>
                  <a:pt x="135977" y="194676"/>
                  <a:pt x="134872" y="195099"/>
                  <a:pt x="133732" y="195047"/>
                </a:cubicBezTo>
                <a:cubicBezTo>
                  <a:pt x="131881" y="195047"/>
                  <a:pt x="131071" y="195972"/>
                  <a:pt x="129683" y="197823"/>
                </a:cubicBezTo>
                <a:cubicBezTo>
                  <a:pt x="127878" y="200779"/>
                  <a:pt x="124801" y="202729"/>
                  <a:pt x="121354" y="203087"/>
                </a:cubicBezTo>
                <a:cubicBezTo>
                  <a:pt x="119618" y="203087"/>
                  <a:pt x="117709" y="203087"/>
                  <a:pt x="115569" y="203434"/>
                </a:cubicBezTo>
                <a:cubicBezTo>
                  <a:pt x="107298" y="203434"/>
                  <a:pt x="101860" y="204244"/>
                  <a:pt x="101860" y="209219"/>
                </a:cubicBezTo>
                <a:cubicBezTo>
                  <a:pt x="101929" y="218005"/>
                  <a:pt x="95422" y="225461"/>
                  <a:pt x="86705" y="226572"/>
                </a:cubicBezTo>
                <a:cubicBezTo>
                  <a:pt x="83419" y="227104"/>
                  <a:pt x="80087" y="227312"/>
                  <a:pt x="76756" y="227208"/>
                </a:cubicBezTo>
                <a:lnTo>
                  <a:pt x="76119" y="227208"/>
                </a:lnTo>
                <a:cubicBezTo>
                  <a:pt x="69005" y="227208"/>
                  <a:pt x="63972" y="227208"/>
                  <a:pt x="63972" y="230795"/>
                </a:cubicBezTo>
                <a:cubicBezTo>
                  <a:pt x="63972" y="235943"/>
                  <a:pt x="58940" y="235943"/>
                  <a:pt x="56279" y="235943"/>
                </a:cubicBezTo>
                <a:lnTo>
                  <a:pt x="52345" y="235943"/>
                </a:lnTo>
                <a:cubicBezTo>
                  <a:pt x="50026" y="235781"/>
                  <a:pt x="47695" y="236197"/>
                  <a:pt x="45577" y="237157"/>
                </a:cubicBezTo>
                <a:cubicBezTo>
                  <a:pt x="31637" y="245140"/>
                  <a:pt x="3756" y="262088"/>
                  <a:pt x="2484" y="265038"/>
                </a:cubicBezTo>
                <a:cubicBezTo>
                  <a:pt x="2137" y="266311"/>
                  <a:pt x="2484" y="278921"/>
                  <a:pt x="2831" y="291184"/>
                </a:cubicBezTo>
                <a:lnTo>
                  <a:pt x="3120" y="301596"/>
                </a:lnTo>
                <a:cubicBezTo>
                  <a:pt x="4335" y="303401"/>
                  <a:pt x="5989" y="304876"/>
                  <a:pt x="7921" y="305876"/>
                </a:cubicBezTo>
                <a:cubicBezTo>
                  <a:pt x="21630" y="313743"/>
                  <a:pt x="265328" y="474955"/>
                  <a:pt x="273195" y="482764"/>
                </a:cubicBezTo>
                <a:cubicBezTo>
                  <a:pt x="279685" y="490220"/>
                  <a:pt x="285365" y="498348"/>
                  <a:pt x="290143" y="50700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89" name="Forma libre: forma 288">
            <a:extLst>
              <a:ext uri="{FF2B5EF4-FFF2-40B4-BE49-F238E27FC236}">
                <a16:creationId xmlns:a16="http://schemas.microsoft.com/office/drawing/2014/main" id="{6FA2F70E-D7B9-B595-09B9-2E5D22C2F93C}"/>
              </a:ext>
            </a:extLst>
          </p:cNvPr>
          <p:cNvSpPr/>
          <p:nvPr/>
        </p:nvSpPr>
        <p:spPr>
          <a:xfrm>
            <a:off x="6446160" y="3535795"/>
            <a:ext cx="415262" cy="400470"/>
          </a:xfrm>
          <a:custGeom>
            <a:avLst/>
            <a:gdLst>
              <a:gd name="connsiteX0" fmla="*/ 383353 w 415262"/>
              <a:gd name="connsiteY0" fmla="*/ 400341 h 400470"/>
              <a:gd name="connsiteX1" fmla="*/ 382832 w 415262"/>
              <a:gd name="connsiteY1" fmla="*/ 400341 h 400470"/>
              <a:gd name="connsiteX2" fmla="*/ 174593 w 415262"/>
              <a:gd name="connsiteY2" fmla="*/ 288471 h 400470"/>
              <a:gd name="connsiteX3" fmla="*/ 129011 w 415262"/>
              <a:gd name="connsiteY3" fmla="*/ 313170 h 400470"/>
              <a:gd name="connsiteX4" fmla="*/ 127508 w 415262"/>
              <a:gd name="connsiteY4" fmla="*/ 312765 h 400470"/>
              <a:gd name="connsiteX5" fmla="*/ 110559 w 415262"/>
              <a:gd name="connsiteY5" fmla="*/ 295875 h 400470"/>
              <a:gd name="connsiteX6" fmla="*/ 71167 w 415262"/>
              <a:gd name="connsiteY6" fmla="*/ 288355 h 400470"/>
              <a:gd name="connsiteX7" fmla="*/ 70068 w 415262"/>
              <a:gd name="connsiteY7" fmla="*/ 287487 h 400470"/>
              <a:gd name="connsiteX8" fmla="*/ 57400 w 415262"/>
              <a:gd name="connsiteY8" fmla="*/ 265044 h 400470"/>
              <a:gd name="connsiteX9" fmla="*/ 47567 w 415262"/>
              <a:gd name="connsiteY9" fmla="*/ 262093 h 400470"/>
              <a:gd name="connsiteX10" fmla="*/ 37270 w 415262"/>
              <a:gd name="connsiteY10" fmla="*/ 259028 h 400470"/>
              <a:gd name="connsiteX11" fmla="*/ 17025 w 415262"/>
              <a:gd name="connsiteY11" fmla="*/ 246938 h 400470"/>
              <a:gd name="connsiteX12" fmla="*/ 17025 w 415262"/>
              <a:gd name="connsiteY12" fmla="*/ 240055 h 400470"/>
              <a:gd name="connsiteX13" fmla="*/ 14075 w 415262"/>
              <a:gd name="connsiteY13" fmla="*/ 226288 h 400470"/>
              <a:gd name="connsiteX14" fmla="*/ 7018 w 415262"/>
              <a:gd name="connsiteY14" fmla="*/ 217207 h 400470"/>
              <a:gd name="connsiteX15" fmla="*/ 1812 w 415262"/>
              <a:gd name="connsiteY15" fmla="*/ 208472 h 400470"/>
              <a:gd name="connsiteX16" fmla="*/ 12455 w 415262"/>
              <a:gd name="connsiteY16" fmla="*/ 195573 h 400470"/>
              <a:gd name="connsiteX17" fmla="*/ 14017 w 415262"/>
              <a:gd name="connsiteY17" fmla="*/ 194184 h 400470"/>
              <a:gd name="connsiteX18" fmla="*/ 12340 w 415262"/>
              <a:gd name="connsiteY18" fmla="*/ 190193 h 400470"/>
              <a:gd name="connsiteX19" fmla="*/ 9621 w 415262"/>
              <a:gd name="connsiteY19" fmla="*/ 182500 h 400470"/>
              <a:gd name="connsiteX20" fmla="*/ 8869 w 415262"/>
              <a:gd name="connsiteY20" fmla="*/ 177872 h 400470"/>
              <a:gd name="connsiteX21" fmla="*/ 9910 w 415262"/>
              <a:gd name="connsiteY21" fmla="*/ 164800 h 400470"/>
              <a:gd name="connsiteX22" fmla="*/ 11761 w 415262"/>
              <a:gd name="connsiteY22" fmla="*/ 147446 h 400470"/>
              <a:gd name="connsiteX23" fmla="*/ 12224 w 415262"/>
              <a:gd name="connsiteY23" fmla="*/ 134026 h 400470"/>
              <a:gd name="connsiteX24" fmla="*/ 12571 w 415262"/>
              <a:gd name="connsiteY24" fmla="*/ 118755 h 400470"/>
              <a:gd name="connsiteX25" fmla="*/ 5225 w 415262"/>
              <a:gd name="connsiteY25" fmla="*/ 105278 h 400470"/>
              <a:gd name="connsiteX26" fmla="*/ -39 w 415262"/>
              <a:gd name="connsiteY26" fmla="*/ 93015 h 400470"/>
              <a:gd name="connsiteX27" fmla="*/ 7365 w 415262"/>
              <a:gd name="connsiteY27" fmla="*/ 85958 h 400470"/>
              <a:gd name="connsiteX28" fmla="*/ 17430 w 415262"/>
              <a:gd name="connsiteY28" fmla="*/ 76934 h 400470"/>
              <a:gd name="connsiteX29" fmla="*/ 22289 w 415262"/>
              <a:gd name="connsiteY29" fmla="*/ 56168 h 400470"/>
              <a:gd name="connsiteX30" fmla="*/ 25007 w 415262"/>
              <a:gd name="connsiteY30" fmla="*/ 42690 h 400470"/>
              <a:gd name="connsiteX31" fmla="*/ 31313 w 415262"/>
              <a:gd name="connsiteY31" fmla="*/ 36443 h 400470"/>
              <a:gd name="connsiteX32" fmla="*/ 46294 w 415262"/>
              <a:gd name="connsiteY32" fmla="*/ 22734 h 400470"/>
              <a:gd name="connsiteX33" fmla="*/ 49475 w 415262"/>
              <a:gd name="connsiteY33" fmla="*/ 22098 h 400470"/>
              <a:gd name="connsiteX34" fmla="*/ 57285 w 415262"/>
              <a:gd name="connsiteY34" fmla="*/ 15330 h 400470"/>
              <a:gd name="connsiteX35" fmla="*/ 58152 w 415262"/>
              <a:gd name="connsiteY35" fmla="*/ 927 h 400470"/>
              <a:gd name="connsiteX36" fmla="*/ 58789 w 415262"/>
              <a:gd name="connsiteY36" fmla="*/ 1 h 400470"/>
              <a:gd name="connsiteX37" fmla="*/ 59888 w 415262"/>
              <a:gd name="connsiteY37" fmla="*/ 1 h 400470"/>
              <a:gd name="connsiteX38" fmla="*/ 90545 w 415262"/>
              <a:gd name="connsiteY38" fmla="*/ 6422 h 400470"/>
              <a:gd name="connsiteX39" fmla="*/ 100726 w 415262"/>
              <a:gd name="connsiteY39" fmla="*/ 5554 h 400470"/>
              <a:gd name="connsiteX40" fmla="*/ 128144 w 415262"/>
              <a:gd name="connsiteY40" fmla="*/ 12206 h 400470"/>
              <a:gd name="connsiteX41" fmla="*/ 140580 w 415262"/>
              <a:gd name="connsiteY41" fmla="*/ 16545 h 400470"/>
              <a:gd name="connsiteX42" fmla="*/ 159264 w 415262"/>
              <a:gd name="connsiteY42" fmla="*/ 33551 h 400470"/>
              <a:gd name="connsiteX43" fmla="*/ 162677 w 415262"/>
              <a:gd name="connsiteY43" fmla="*/ 42690 h 400470"/>
              <a:gd name="connsiteX44" fmla="*/ 185236 w 415262"/>
              <a:gd name="connsiteY44" fmla="*/ 51656 h 400470"/>
              <a:gd name="connsiteX45" fmla="*/ 236428 w 415262"/>
              <a:gd name="connsiteY45" fmla="*/ 70109 h 400470"/>
              <a:gd name="connsiteX46" fmla="*/ 257773 w 415262"/>
              <a:gd name="connsiteY46" fmla="*/ 78727 h 400470"/>
              <a:gd name="connsiteX47" fmla="*/ 276804 w 415262"/>
              <a:gd name="connsiteY47" fmla="*/ 69877 h 400470"/>
              <a:gd name="connsiteX48" fmla="*/ 276341 w 415262"/>
              <a:gd name="connsiteY48" fmla="*/ 48532 h 400470"/>
              <a:gd name="connsiteX49" fmla="*/ 272928 w 415262"/>
              <a:gd name="connsiteY49" fmla="*/ 34939 h 400470"/>
              <a:gd name="connsiteX50" fmla="*/ 335111 w 415262"/>
              <a:gd name="connsiteY50" fmla="*/ 2778 h 400470"/>
              <a:gd name="connsiteX51" fmla="*/ 358248 w 415262"/>
              <a:gd name="connsiteY51" fmla="*/ 13826 h 400470"/>
              <a:gd name="connsiteX52" fmla="*/ 376701 w 415262"/>
              <a:gd name="connsiteY52" fmla="*/ 24180 h 400470"/>
              <a:gd name="connsiteX53" fmla="*/ 387865 w 415262"/>
              <a:gd name="connsiteY53" fmla="*/ 25800 h 400470"/>
              <a:gd name="connsiteX54" fmla="*/ 414358 w 415262"/>
              <a:gd name="connsiteY54" fmla="*/ 34650 h 400470"/>
              <a:gd name="connsiteX55" fmla="*/ 414762 w 415262"/>
              <a:gd name="connsiteY55" fmla="*/ 35170 h 400470"/>
              <a:gd name="connsiteX56" fmla="*/ 415110 w 415262"/>
              <a:gd name="connsiteY56" fmla="*/ 36443 h 400470"/>
              <a:gd name="connsiteX57" fmla="*/ 414820 w 415262"/>
              <a:gd name="connsiteY57" fmla="*/ 37195 h 400470"/>
              <a:gd name="connsiteX58" fmla="*/ 412622 w 415262"/>
              <a:gd name="connsiteY58" fmla="*/ 42980 h 400470"/>
              <a:gd name="connsiteX59" fmla="*/ 411581 w 415262"/>
              <a:gd name="connsiteY59" fmla="*/ 62415 h 400470"/>
              <a:gd name="connsiteX60" fmla="*/ 409036 w 415262"/>
              <a:gd name="connsiteY60" fmla="*/ 76992 h 400470"/>
              <a:gd name="connsiteX61" fmla="*/ 407127 w 415262"/>
              <a:gd name="connsiteY61" fmla="*/ 98394 h 400470"/>
              <a:gd name="connsiteX62" fmla="*/ 409325 w 415262"/>
              <a:gd name="connsiteY62" fmla="*/ 116731 h 400470"/>
              <a:gd name="connsiteX63" fmla="*/ 409325 w 415262"/>
              <a:gd name="connsiteY63" fmla="*/ 384550 h 400470"/>
              <a:gd name="connsiteX64" fmla="*/ 408168 w 415262"/>
              <a:gd name="connsiteY64" fmla="*/ 385707 h 400470"/>
              <a:gd name="connsiteX65" fmla="*/ 383989 w 415262"/>
              <a:gd name="connsiteY65" fmla="*/ 385707 h 400470"/>
              <a:gd name="connsiteX66" fmla="*/ 383989 w 415262"/>
              <a:gd name="connsiteY66" fmla="*/ 399011 h 400470"/>
              <a:gd name="connsiteX67" fmla="*/ 383469 w 415262"/>
              <a:gd name="connsiteY67" fmla="*/ 399994 h 400470"/>
              <a:gd name="connsiteX68" fmla="*/ 383353 w 415262"/>
              <a:gd name="connsiteY68" fmla="*/ 400341 h 400470"/>
              <a:gd name="connsiteX69" fmla="*/ 175113 w 415262"/>
              <a:gd name="connsiteY69" fmla="*/ 285926 h 400470"/>
              <a:gd name="connsiteX70" fmla="*/ 175634 w 415262"/>
              <a:gd name="connsiteY70" fmla="*/ 285926 h 400470"/>
              <a:gd name="connsiteX71" fmla="*/ 382485 w 415262"/>
              <a:gd name="connsiteY71" fmla="*/ 397160 h 400470"/>
              <a:gd name="connsiteX72" fmla="*/ 382485 w 415262"/>
              <a:gd name="connsiteY72" fmla="*/ 384608 h 400470"/>
              <a:gd name="connsiteX73" fmla="*/ 383469 w 415262"/>
              <a:gd name="connsiteY73" fmla="*/ 383509 h 400470"/>
              <a:gd name="connsiteX74" fmla="*/ 383584 w 415262"/>
              <a:gd name="connsiteY74" fmla="*/ 383509 h 400470"/>
              <a:gd name="connsiteX75" fmla="*/ 407763 w 415262"/>
              <a:gd name="connsiteY75" fmla="*/ 383509 h 400470"/>
              <a:gd name="connsiteX76" fmla="*/ 407763 w 415262"/>
              <a:gd name="connsiteY76" fmla="*/ 116904 h 400470"/>
              <a:gd name="connsiteX77" fmla="*/ 405565 w 415262"/>
              <a:gd name="connsiteY77" fmla="*/ 99031 h 400470"/>
              <a:gd name="connsiteX78" fmla="*/ 407995 w 415262"/>
              <a:gd name="connsiteY78" fmla="*/ 75893 h 400470"/>
              <a:gd name="connsiteX79" fmla="*/ 410077 w 415262"/>
              <a:gd name="connsiteY79" fmla="*/ 63225 h 400470"/>
              <a:gd name="connsiteX80" fmla="*/ 411176 w 415262"/>
              <a:gd name="connsiteY80" fmla="*/ 42517 h 400470"/>
              <a:gd name="connsiteX81" fmla="*/ 413432 w 415262"/>
              <a:gd name="connsiteY81" fmla="*/ 36443 h 400470"/>
              <a:gd name="connsiteX82" fmla="*/ 413432 w 415262"/>
              <a:gd name="connsiteY82" fmla="*/ 36443 h 400470"/>
              <a:gd name="connsiteX83" fmla="*/ 412912 w 415262"/>
              <a:gd name="connsiteY83" fmla="*/ 35575 h 400470"/>
              <a:gd name="connsiteX84" fmla="*/ 388270 w 415262"/>
              <a:gd name="connsiteY84" fmla="*/ 28229 h 400470"/>
              <a:gd name="connsiteX85" fmla="*/ 377048 w 415262"/>
              <a:gd name="connsiteY85" fmla="*/ 26610 h 400470"/>
              <a:gd name="connsiteX86" fmla="*/ 357207 w 415262"/>
              <a:gd name="connsiteY86" fmla="*/ 15445 h 400470"/>
              <a:gd name="connsiteX87" fmla="*/ 335573 w 415262"/>
              <a:gd name="connsiteY87" fmla="*/ 5207 h 400470"/>
              <a:gd name="connsiteX88" fmla="*/ 275762 w 415262"/>
              <a:gd name="connsiteY88" fmla="*/ 35228 h 400470"/>
              <a:gd name="connsiteX89" fmla="*/ 279002 w 415262"/>
              <a:gd name="connsiteY89" fmla="*/ 47896 h 400470"/>
              <a:gd name="connsiteX90" fmla="*/ 279002 w 415262"/>
              <a:gd name="connsiteY90" fmla="*/ 71381 h 400470"/>
              <a:gd name="connsiteX91" fmla="*/ 258178 w 415262"/>
              <a:gd name="connsiteY91" fmla="*/ 81157 h 400470"/>
              <a:gd name="connsiteX92" fmla="*/ 235040 w 415262"/>
              <a:gd name="connsiteY92" fmla="*/ 71959 h 400470"/>
              <a:gd name="connsiteX93" fmla="*/ 185410 w 415262"/>
              <a:gd name="connsiteY93" fmla="*/ 54086 h 400470"/>
              <a:gd name="connsiteX94" fmla="*/ 161173 w 415262"/>
              <a:gd name="connsiteY94" fmla="*/ 44368 h 400470"/>
              <a:gd name="connsiteX95" fmla="*/ 157182 w 415262"/>
              <a:gd name="connsiteY95" fmla="*/ 33435 h 400470"/>
              <a:gd name="connsiteX96" fmla="*/ 140349 w 415262"/>
              <a:gd name="connsiteY96" fmla="*/ 18916 h 400470"/>
              <a:gd name="connsiteX97" fmla="*/ 127392 w 415262"/>
              <a:gd name="connsiteY97" fmla="*/ 14462 h 400470"/>
              <a:gd name="connsiteX98" fmla="*/ 100899 w 415262"/>
              <a:gd name="connsiteY98" fmla="*/ 7984 h 400470"/>
              <a:gd name="connsiteX99" fmla="*/ 91123 w 415262"/>
              <a:gd name="connsiteY99" fmla="*/ 8851 h 400470"/>
              <a:gd name="connsiteX100" fmla="*/ 83546 w 415262"/>
              <a:gd name="connsiteY100" fmla="*/ 9488 h 400470"/>
              <a:gd name="connsiteX101" fmla="*/ 60408 w 415262"/>
              <a:gd name="connsiteY101" fmla="*/ 3067 h 400470"/>
              <a:gd name="connsiteX102" fmla="*/ 59772 w 415262"/>
              <a:gd name="connsiteY102" fmla="*/ 15330 h 400470"/>
              <a:gd name="connsiteX103" fmla="*/ 49996 w 415262"/>
              <a:gd name="connsiteY103" fmla="*/ 24411 h 400470"/>
              <a:gd name="connsiteX104" fmla="*/ 47393 w 415262"/>
              <a:gd name="connsiteY104" fmla="*/ 24932 h 400470"/>
              <a:gd name="connsiteX105" fmla="*/ 33279 w 415262"/>
              <a:gd name="connsiteY105" fmla="*/ 38121 h 400470"/>
              <a:gd name="connsiteX106" fmla="*/ 26859 w 415262"/>
              <a:gd name="connsiteY106" fmla="*/ 44426 h 400470"/>
              <a:gd name="connsiteX107" fmla="*/ 24660 w 415262"/>
              <a:gd name="connsiteY107" fmla="*/ 55185 h 400470"/>
              <a:gd name="connsiteX108" fmla="*/ 19801 w 415262"/>
              <a:gd name="connsiteY108" fmla="*/ 78322 h 400470"/>
              <a:gd name="connsiteX109" fmla="*/ 8984 w 415262"/>
              <a:gd name="connsiteY109" fmla="*/ 88156 h 400470"/>
              <a:gd name="connsiteX110" fmla="*/ 2506 w 415262"/>
              <a:gd name="connsiteY110" fmla="*/ 93940 h 400470"/>
              <a:gd name="connsiteX111" fmla="*/ 7481 w 415262"/>
              <a:gd name="connsiteY111" fmla="*/ 104641 h 400470"/>
              <a:gd name="connsiteX112" fmla="*/ 15001 w 415262"/>
              <a:gd name="connsiteY112" fmla="*/ 118351 h 400470"/>
              <a:gd name="connsiteX113" fmla="*/ 15001 w 415262"/>
              <a:gd name="connsiteY113" fmla="*/ 135241 h 400470"/>
              <a:gd name="connsiteX114" fmla="*/ 14422 w 415262"/>
              <a:gd name="connsiteY114" fmla="*/ 146810 h 400470"/>
              <a:gd name="connsiteX115" fmla="*/ 12282 w 415262"/>
              <a:gd name="connsiteY115" fmla="*/ 166650 h 400470"/>
              <a:gd name="connsiteX116" fmla="*/ 11703 w 415262"/>
              <a:gd name="connsiteY116" fmla="*/ 177815 h 400470"/>
              <a:gd name="connsiteX117" fmla="*/ 12513 w 415262"/>
              <a:gd name="connsiteY117" fmla="*/ 182905 h 400470"/>
              <a:gd name="connsiteX118" fmla="*/ 15001 w 415262"/>
              <a:gd name="connsiteY118" fmla="*/ 189557 h 400470"/>
              <a:gd name="connsiteX119" fmla="*/ 16273 w 415262"/>
              <a:gd name="connsiteY119" fmla="*/ 196209 h 400470"/>
              <a:gd name="connsiteX120" fmla="*/ 14596 w 415262"/>
              <a:gd name="connsiteY120" fmla="*/ 197713 h 400470"/>
              <a:gd name="connsiteX121" fmla="*/ 4762 w 415262"/>
              <a:gd name="connsiteY121" fmla="*/ 208877 h 400470"/>
              <a:gd name="connsiteX122" fmla="*/ 9332 w 415262"/>
              <a:gd name="connsiteY122" fmla="*/ 216165 h 400470"/>
              <a:gd name="connsiteX123" fmla="*/ 16620 w 415262"/>
              <a:gd name="connsiteY123" fmla="*/ 225420 h 400470"/>
              <a:gd name="connsiteX124" fmla="*/ 19917 w 415262"/>
              <a:gd name="connsiteY124" fmla="*/ 240691 h 400470"/>
              <a:gd name="connsiteX125" fmla="*/ 19917 w 415262"/>
              <a:gd name="connsiteY125" fmla="*/ 246996 h 400470"/>
              <a:gd name="connsiteX126" fmla="*/ 37965 w 415262"/>
              <a:gd name="connsiteY126" fmla="*/ 257177 h 400470"/>
              <a:gd name="connsiteX127" fmla="*/ 49533 w 415262"/>
              <a:gd name="connsiteY127" fmla="*/ 260416 h 400470"/>
              <a:gd name="connsiteX128" fmla="*/ 58384 w 415262"/>
              <a:gd name="connsiteY128" fmla="*/ 263193 h 400470"/>
              <a:gd name="connsiteX129" fmla="*/ 73018 w 415262"/>
              <a:gd name="connsiteY129" fmla="*/ 286330 h 400470"/>
              <a:gd name="connsiteX130" fmla="*/ 112815 w 415262"/>
              <a:gd name="connsiteY130" fmla="*/ 294197 h 400470"/>
              <a:gd name="connsiteX131" fmla="*/ 130168 w 415262"/>
              <a:gd name="connsiteY131" fmla="*/ 310914 h 400470"/>
              <a:gd name="connsiteX132" fmla="*/ 175287 w 415262"/>
              <a:gd name="connsiteY132" fmla="*/ 286446 h 400470"/>
              <a:gd name="connsiteX133" fmla="*/ 174882 w 415262"/>
              <a:gd name="connsiteY133" fmla="*/ 285926 h 40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15262" h="400470">
                <a:moveTo>
                  <a:pt x="383353" y="400341"/>
                </a:moveTo>
                <a:lnTo>
                  <a:pt x="382832" y="400341"/>
                </a:lnTo>
                <a:lnTo>
                  <a:pt x="174593" y="288471"/>
                </a:lnTo>
                <a:lnTo>
                  <a:pt x="129011" y="313170"/>
                </a:lnTo>
                <a:cubicBezTo>
                  <a:pt x="128479" y="313442"/>
                  <a:pt x="127831" y="313269"/>
                  <a:pt x="127508" y="312765"/>
                </a:cubicBezTo>
                <a:cubicBezTo>
                  <a:pt x="123048" y="306055"/>
                  <a:pt x="117281" y="300311"/>
                  <a:pt x="110559" y="295875"/>
                </a:cubicBezTo>
                <a:cubicBezTo>
                  <a:pt x="100321" y="288991"/>
                  <a:pt x="75852" y="288413"/>
                  <a:pt x="71167" y="288355"/>
                </a:cubicBezTo>
                <a:cubicBezTo>
                  <a:pt x="70647" y="288343"/>
                  <a:pt x="70195" y="287991"/>
                  <a:pt x="70068" y="287487"/>
                </a:cubicBezTo>
                <a:cubicBezTo>
                  <a:pt x="66829" y="275918"/>
                  <a:pt x="63011" y="265044"/>
                  <a:pt x="57400" y="265044"/>
                </a:cubicBezTo>
                <a:cubicBezTo>
                  <a:pt x="53941" y="264807"/>
                  <a:pt x="50581" y="263800"/>
                  <a:pt x="47567" y="262093"/>
                </a:cubicBezTo>
                <a:cubicBezTo>
                  <a:pt x="44432" y="260260"/>
                  <a:pt x="40897" y="259207"/>
                  <a:pt x="37270" y="259028"/>
                </a:cubicBezTo>
                <a:cubicBezTo>
                  <a:pt x="28131" y="259028"/>
                  <a:pt x="18066" y="254458"/>
                  <a:pt x="17025" y="246938"/>
                </a:cubicBezTo>
                <a:cubicBezTo>
                  <a:pt x="16765" y="244654"/>
                  <a:pt x="16765" y="242340"/>
                  <a:pt x="17025" y="240055"/>
                </a:cubicBezTo>
                <a:cubicBezTo>
                  <a:pt x="18031" y="235254"/>
                  <a:pt x="16961" y="230256"/>
                  <a:pt x="14075" y="226288"/>
                </a:cubicBezTo>
                <a:cubicBezTo>
                  <a:pt x="11935" y="223101"/>
                  <a:pt x="9575" y="220070"/>
                  <a:pt x="7018" y="217207"/>
                </a:cubicBezTo>
                <a:cubicBezTo>
                  <a:pt x="4010" y="213736"/>
                  <a:pt x="1812" y="211422"/>
                  <a:pt x="1812" y="208472"/>
                </a:cubicBezTo>
                <a:cubicBezTo>
                  <a:pt x="1812" y="205522"/>
                  <a:pt x="7596" y="199969"/>
                  <a:pt x="12455" y="195573"/>
                </a:cubicBezTo>
                <a:cubicBezTo>
                  <a:pt x="13005" y="195145"/>
                  <a:pt x="13525" y="194682"/>
                  <a:pt x="14017" y="194184"/>
                </a:cubicBezTo>
                <a:cubicBezTo>
                  <a:pt x="13647" y="192784"/>
                  <a:pt x="13080" y="191437"/>
                  <a:pt x="12340" y="190193"/>
                </a:cubicBezTo>
                <a:cubicBezTo>
                  <a:pt x="10888" y="187856"/>
                  <a:pt x="9956" y="185230"/>
                  <a:pt x="9621" y="182500"/>
                </a:cubicBezTo>
                <a:cubicBezTo>
                  <a:pt x="9534" y="180938"/>
                  <a:pt x="9280" y="179382"/>
                  <a:pt x="8869" y="177872"/>
                </a:cubicBezTo>
                <a:cubicBezTo>
                  <a:pt x="7145" y="173592"/>
                  <a:pt x="7533" y="168750"/>
                  <a:pt x="9910" y="164800"/>
                </a:cubicBezTo>
                <a:cubicBezTo>
                  <a:pt x="14671" y="160236"/>
                  <a:pt x="15452" y="152907"/>
                  <a:pt x="11761" y="147446"/>
                </a:cubicBezTo>
                <a:cubicBezTo>
                  <a:pt x="10055" y="143102"/>
                  <a:pt x="10223" y="138243"/>
                  <a:pt x="12224" y="134026"/>
                </a:cubicBezTo>
                <a:cubicBezTo>
                  <a:pt x="14376" y="129185"/>
                  <a:pt x="14497" y="123690"/>
                  <a:pt x="12571" y="118755"/>
                </a:cubicBezTo>
                <a:cubicBezTo>
                  <a:pt x="10390" y="114122"/>
                  <a:pt x="7938" y="109622"/>
                  <a:pt x="5225" y="105278"/>
                </a:cubicBezTo>
                <a:cubicBezTo>
                  <a:pt x="1870" y="99493"/>
                  <a:pt x="-560" y="95734"/>
                  <a:pt x="-39" y="93015"/>
                </a:cubicBezTo>
                <a:cubicBezTo>
                  <a:pt x="482" y="90296"/>
                  <a:pt x="3490" y="88561"/>
                  <a:pt x="7365" y="85958"/>
                </a:cubicBezTo>
                <a:cubicBezTo>
                  <a:pt x="11333" y="83713"/>
                  <a:pt x="14769" y="80636"/>
                  <a:pt x="17430" y="76934"/>
                </a:cubicBezTo>
                <a:cubicBezTo>
                  <a:pt x="21363" y="69646"/>
                  <a:pt x="23561" y="58713"/>
                  <a:pt x="22289" y="56168"/>
                </a:cubicBezTo>
                <a:cubicBezTo>
                  <a:pt x="20253" y="51552"/>
                  <a:pt x="21340" y="46155"/>
                  <a:pt x="25007" y="42690"/>
                </a:cubicBezTo>
                <a:cubicBezTo>
                  <a:pt x="26164" y="41649"/>
                  <a:pt x="28536" y="39220"/>
                  <a:pt x="31313" y="36443"/>
                </a:cubicBezTo>
                <a:cubicBezTo>
                  <a:pt x="35859" y="31405"/>
                  <a:pt x="40874" y="26818"/>
                  <a:pt x="46294" y="22734"/>
                </a:cubicBezTo>
                <a:cubicBezTo>
                  <a:pt x="47324" y="22393"/>
                  <a:pt x="48394" y="22179"/>
                  <a:pt x="49475" y="22098"/>
                </a:cubicBezTo>
                <a:cubicBezTo>
                  <a:pt x="54045" y="21519"/>
                  <a:pt x="57516" y="20652"/>
                  <a:pt x="57285" y="15330"/>
                </a:cubicBezTo>
                <a:cubicBezTo>
                  <a:pt x="57261" y="10517"/>
                  <a:pt x="57551" y="5705"/>
                  <a:pt x="58152" y="927"/>
                </a:cubicBezTo>
                <a:cubicBezTo>
                  <a:pt x="58181" y="528"/>
                  <a:pt x="58424" y="169"/>
                  <a:pt x="58789" y="1"/>
                </a:cubicBezTo>
                <a:cubicBezTo>
                  <a:pt x="59136" y="-172"/>
                  <a:pt x="59541" y="-172"/>
                  <a:pt x="59888" y="1"/>
                </a:cubicBezTo>
                <a:cubicBezTo>
                  <a:pt x="68905" y="6000"/>
                  <a:pt x="79879" y="8296"/>
                  <a:pt x="90545" y="6422"/>
                </a:cubicBezTo>
                <a:cubicBezTo>
                  <a:pt x="93911" y="5861"/>
                  <a:pt x="97313" y="5566"/>
                  <a:pt x="100726" y="5554"/>
                </a:cubicBezTo>
                <a:cubicBezTo>
                  <a:pt x="110235" y="5791"/>
                  <a:pt x="119583" y="8059"/>
                  <a:pt x="128144" y="12206"/>
                </a:cubicBezTo>
                <a:cubicBezTo>
                  <a:pt x="132141" y="14046"/>
                  <a:pt x="136306" y="15498"/>
                  <a:pt x="140580" y="16545"/>
                </a:cubicBezTo>
                <a:cubicBezTo>
                  <a:pt x="153191" y="19148"/>
                  <a:pt x="160710" y="22907"/>
                  <a:pt x="159264" y="33551"/>
                </a:cubicBezTo>
                <a:cubicBezTo>
                  <a:pt x="158998" y="36952"/>
                  <a:pt x="160247" y="40295"/>
                  <a:pt x="162677" y="42690"/>
                </a:cubicBezTo>
                <a:cubicBezTo>
                  <a:pt x="168600" y="48723"/>
                  <a:pt x="176791" y="51974"/>
                  <a:pt x="185236" y="51656"/>
                </a:cubicBezTo>
                <a:cubicBezTo>
                  <a:pt x="203949" y="51558"/>
                  <a:pt x="222083" y="58094"/>
                  <a:pt x="236428" y="70109"/>
                </a:cubicBezTo>
                <a:cubicBezTo>
                  <a:pt x="242213" y="75552"/>
                  <a:pt x="249831" y="78623"/>
                  <a:pt x="257773" y="78727"/>
                </a:cubicBezTo>
                <a:cubicBezTo>
                  <a:pt x="265154" y="78924"/>
                  <a:pt x="272176" y="75650"/>
                  <a:pt x="276804" y="69877"/>
                </a:cubicBezTo>
                <a:cubicBezTo>
                  <a:pt x="281952" y="63051"/>
                  <a:pt x="279233" y="55995"/>
                  <a:pt x="276341" y="48532"/>
                </a:cubicBezTo>
                <a:cubicBezTo>
                  <a:pt x="274316" y="44281"/>
                  <a:pt x="273102" y="39653"/>
                  <a:pt x="272928" y="34939"/>
                </a:cubicBezTo>
                <a:cubicBezTo>
                  <a:pt x="273391" y="22213"/>
                  <a:pt x="309081" y="1216"/>
                  <a:pt x="335111" y="2778"/>
                </a:cubicBezTo>
                <a:cubicBezTo>
                  <a:pt x="344134" y="2477"/>
                  <a:pt x="352811" y="6595"/>
                  <a:pt x="358248" y="13826"/>
                </a:cubicBezTo>
                <a:cubicBezTo>
                  <a:pt x="362645" y="19772"/>
                  <a:pt x="369355" y="23549"/>
                  <a:pt x="376701" y="24180"/>
                </a:cubicBezTo>
                <a:lnTo>
                  <a:pt x="387865" y="25800"/>
                </a:lnTo>
                <a:cubicBezTo>
                  <a:pt x="404755" y="28229"/>
                  <a:pt x="412448" y="29328"/>
                  <a:pt x="414358" y="34650"/>
                </a:cubicBezTo>
                <a:lnTo>
                  <a:pt x="414762" y="35170"/>
                </a:lnTo>
                <a:cubicBezTo>
                  <a:pt x="415110" y="35506"/>
                  <a:pt x="415225" y="35986"/>
                  <a:pt x="415110" y="36443"/>
                </a:cubicBezTo>
                <a:lnTo>
                  <a:pt x="414820" y="37195"/>
                </a:lnTo>
                <a:lnTo>
                  <a:pt x="412622" y="42980"/>
                </a:lnTo>
                <a:cubicBezTo>
                  <a:pt x="410193" y="49175"/>
                  <a:pt x="409788" y="55995"/>
                  <a:pt x="411581" y="62415"/>
                </a:cubicBezTo>
                <a:cubicBezTo>
                  <a:pt x="413548" y="67367"/>
                  <a:pt x="412564" y="72989"/>
                  <a:pt x="409036" y="76992"/>
                </a:cubicBezTo>
                <a:cubicBezTo>
                  <a:pt x="404061" y="82776"/>
                  <a:pt x="405334" y="89428"/>
                  <a:pt x="407127" y="98394"/>
                </a:cubicBezTo>
                <a:cubicBezTo>
                  <a:pt x="408457" y="104421"/>
                  <a:pt x="409152" y="110565"/>
                  <a:pt x="409325" y="116731"/>
                </a:cubicBezTo>
                <a:lnTo>
                  <a:pt x="409325" y="384550"/>
                </a:lnTo>
                <a:cubicBezTo>
                  <a:pt x="409325" y="385186"/>
                  <a:pt x="408804" y="385707"/>
                  <a:pt x="408168" y="385707"/>
                </a:cubicBezTo>
                <a:lnTo>
                  <a:pt x="383989" y="385707"/>
                </a:lnTo>
                <a:lnTo>
                  <a:pt x="383989" y="399011"/>
                </a:lnTo>
                <a:cubicBezTo>
                  <a:pt x="383989" y="399404"/>
                  <a:pt x="383816" y="399774"/>
                  <a:pt x="383469" y="399994"/>
                </a:cubicBezTo>
                <a:cubicBezTo>
                  <a:pt x="383469" y="400116"/>
                  <a:pt x="383411" y="400232"/>
                  <a:pt x="383353" y="400341"/>
                </a:cubicBezTo>
                <a:close/>
                <a:moveTo>
                  <a:pt x="175113" y="285926"/>
                </a:moveTo>
                <a:cubicBezTo>
                  <a:pt x="175281" y="285873"/>
                  <a:pt x="175466" y="285873"/>
                  <a:pt x="175634" y="285926"/>
                </a:cubicBezTo>
                <a:lnTo>
                  <a:pt x="382485" y="397160"/>
                </a:lnTo>
                <a:lnTo>
                  <a:pt x="382485" y="384608"/>
                </a:lnTo>
                <a:cubicBezTo>
                  <a:pt x="382427" y="384035"/>
                  <a:pt x="382890" y="383544"/>
                  <a:pt x="383469" y="383509"/>
                </a:cubicBezTo>
                <a:cubicBezTo>
                  <a:pt x="383526" y="383509"/>
                  <a:pt x="383526" y="383509"/>
                  <a:pt x="383584" y="383509"/>
                </a:cubicBezTo>
                <a:lnTo>
                  <a:pt x="407763" y="383509"/>
                </a:lnTo>
                <a:lnTo>
                  <a:pt x="407763" y="116904"/>
                </a:lnTo>
                <a:cubicBezTo>
                  <a:pt x="407648" y="110889"/>
                  <a:pt x="406896" y="104896"/>
                  <a:pt x="405565" y="99031"/>
                </a:cubicBezTo>
                <a:cubicBezTo>
                  <a:pt x="403772" y="89775"/>
                  <a:pt x="402326" y="82487"/>
                  <a:pt x="407995" y="75893"/>
                </a:cubicBezTo>
                <a:cubicBezTo>
                  <a:pt x="411060" y="72405"/>
                  <a:pt x="411812" y="67500"/>
                  <a:pt x="410077" y="63225"/>
                </a:cubicBezTo>
                <a:cubicBezTo>
                  <a:pt x="408226" y="56382"/>
                  <a:pt x="408631" y="49128"/>
                  <a:pt x="411176" y="42517"/>
                </a:cubicBezTo>
                <a:cubicBezTo>
                  <a:pt x="411870" y="40550"/>
                  <a:pt x="412622" y="38525"/>
                  <a:pt x="413432" y="36443"/>
                </a:cubicBezTo>
                <a:lnTo>
                  <a:pt x="413432" y="36443"/>
                </a:lnTo>
                <a:cubicBezTo>
                  <a:pt x="413200" y="36189"/>
                  <a:pt x="413027" y="35893"/>
                  <a:pt x="412912" y="35575"/>
                </a:cubicBezTo>
                <a:cubicBezTo>
                  <a:pt x="411465" y="31526"/>
                  <a:pt x="403714" y="30427"/>
                  <a:pt x="388270" y="28229"/>
                </a:cubicBezTo>
                <a:lnTo>
                  <a:pt x="377048" y="26610"/>
                </a:lnTo>
                <a:cubicBezTo>
                  <a:pt x="369123" y="25875"/>
                  <a:pt x="361950" y="21814"/>
                  <a:pt x="357207" y="15445"/>
                </a:cubicBezTo>
                <a:cubicBezTo>
                  <a:pt x="352117" y="8678"/>
                  <a:pt x="344019" y="4848"/>
                  <a:pt x="335573" y="5207"/>
                </a:cubicBezTo>
                <a:cubicBezTo>
                  <a:pt x="309196" y="3645"/>
                  <a:pt x="276110" y="24643"/>
                  <a:pt x="275762" y="35228"/>
                </a:cubicBezTo>
                <a:cubicBezTo>
                  <a:pt x="275994" y="39619"/>
                  <a:pt x="277093" y="43922"/>
                  <a:pt x="279002" y="47896"/>
                </a:cubicBezTo>
                <a:cubicBezTo>
                  <a:pt x="282010" y="55590"/>
                  <a:pt x="284786" y="63572"/>
                  <a:pt x="279002" y="71381"/>
                </a:cubicBezTo>
                <a:cubicBezTo>
                  <a:pt x="273969" y="77732"/>
                  <a:pt x="266270" y="81353"/>
                  <a:pt x="258178" y="81157"/>
                </a:cubicBezTo>
                <a:cubicBezTo>
                  <a:pt x="249594" y="81058"/>
                  <a:pt x="241351" y="77784"/>
                  <a:pt x="235040" y="71959"/>
                </a:cubicBezTo>
                <a:cubicBezTo>
                  <a:pt x="221146" y="60292"/>
                  <a:pt x="203550" y="53958"/>
                  <a:pt x="185410" y="54086"/>
                </a:cubicBezTo>
                <a:cubicBezTo>
                  <a:pt x="176322" y="54404"/>
                  <a:pt x="167524" y="50875"/>
                  <a:pt x="161173" y="44368"/>
                </a:cubicBezTo>
                <a:cubicBezTo>
                  <a:pt x="158327" y="41470"/>
                  <a:pt x="156869" y="37484"/>
                  <a:pt x="157182" y="33435"/>
                </a:cubicBezTo>
                <a:cubicBezTo>
                  <a:pt x="158281" y="25510"/>
                  <a:pt x="153885" y="21866"/>
                  <a:pt x="140349" y="18916"/>
                </a:cubicBezTo>
                <a:cubicBezTo>
                  <a:pt x="135895" y="17852"/>
                  <a:pt x="131557" y="16360"/>
                  <a:pt x="127392" y="14462"/>
                </a:cubicBezTo>
                <a:cubicBezTo>
                  <a:pt x="119132" y="10413"/>
                  <a:pt x="110097" y="8203"/>
                  <a:pt x="100899" y="7984"/>
                </a:cubicBezTo>
                <a:cubicBezTo>
                  <a:pt x="97619" y="7995"/>
                  <a:pt x="94351" y="8284"/>
                  <a:pt x="91123" y="8851"/>
                </a:cubicBezTo>
                <a:cubicBezTo>
                  <a:pt x="88619" y="9268"/>
                  <a:pt x="86085" y="9482"/>
                  <a:pt x="83546" y="9488"/>
                </a:cubicBezTo>
                <a:cubicBezTo>
                  <a:pt x="75396" y="9464"/>
                  <a:pt x="67401" y="7249"/>
                  <a:pt x="60408" y="3067"/>
                </a:cubicBezTo>
                <a:cubicBezTo>
                  <a:pt x="59940" y="7139"/>
                  <a:pt x="59731" y="11234"/>
                  <a:pt x="59772" y="15330"/>
                </a:cubicBezTo>
                <a:cubicBezTo>
                  <a:pt x="60119" y="23139"/>
                  <a:pt x="53988" y="23949"/>
                  <a:pt x="49996" y="24411"/>
                </a:cubicBezTo>
                <a:cubicBezTo>
                  <a:pt x="49117" y="24504"/>
                  <a:pt x="48244" y="24677"/>
                  <a:pt x="47393" y="24932"/>
                </a:cubicBezTo>
                <a:cubicBezTo>
                  <a:pt x="42384" y="28987"/>
                  <a:pt x="37664" y="33395"/>
                  <a:pt x="33279" y="38121"/>
                </a:cubicBezTo>
                <a:cubicBezTo>
                  <a:pt x="30503" y="40897"/>
                  <a:pt x="28073" y="43327"/>
                  <a:pt x="26859" y="44426"/>
                </a:cubicBezTo>
                <a:cubicBezTo>
                  <a:pt x="23961" y="47208"/>
                  <a:pt x="23087" y="51488"/>
                  <a:pt x="24660" y="55185"/>
                </a:cubicBezTo>
                <a:cubicBezTo>
                  <a:pt x="26511" y="58944"/>
                  <a:pt x="23503" y="71092"/>
                  <a:pt x="19801" y="78322"/>
                </a:cubicBezTo>
                <a:cubicBezTo>
                  <a:pt x="16990" y="82377"/>
                  <a:pt x="13288" y="85744"/>
                  <a:pt x="8984" y="88156"/>
                </a:cubicBezTo>
                <a:cubicBezTo>
                  <a:pt x="5977" y="90238"/>
                  <a:pt x="2795" y="92378"/>
                  <a:pt x="2506" y="93940"/>
                </a:cubicBezTo>
                <a:cubicBezTo>
                  <a:pt x="3316" y="97845"/>
                  <a:pt x="5017" y="101506"/>
                  <a:pt x="7481" y="104641"/>
                </a:cubicBezTo>
                <a:cubicBezTo>
                  <a:pt x="10263" y="109055"/>
                  <a:pt x="12773" y="113636"/>
                  <a:pt x="15001" y="118351"/>
                </a:cubicBezTo>
                <a:cubicBezTo>
                  <a:pt x="17251" y="123759"/>
                  <a:pt x="17251" y="129839"/>
                  <a:pt x="15001" y="135241"/>
                </a:cubicBezTo>
                <a:cubicBezTo>
                  <a:pt x="13242" y="138856"/>
                  <a:pt x="13034" y="143033"/>
                  <a:pt x="14422" y="146810"/>
                </a:cubicBezTo>
                <a:cubicBezTo>
                  <a:pt x="18483" y="153098"/>
                  <a:pt x="17592" y="161375"/>
                  <a:pt x="12282" y="166650"/>
                </a:cubicBezTo>
                <a:cubicBezTo>
                  <a:pt x="9852" y="169543"/>
                  <a:pt x="10836" y="173939"/>
                  <a:pt x="11703" y="177815"/>
                </a:cubicBezTo>
                <a:cubicBezTo>
                  <a:pt x="12143" y="179480"/>
                  <a:pt x="12415" y="181187"/>
                  <a:pt x="12513" y="182905"/>
                </a:cubicBezTo>
                <a:cubicBezTo>
                  <a:pt x="12878" y="185271"/>
                  <a:pt x="13722" y="187532"/>
                  <a:pt x="15001" y="189557"/>
                </a:cubicBezTo>
                <a:cubicBezTo>
                  <a:pt x="16447" y="192507"/>
                  <a:pt x="17661" y="194821"/>
                  <a:pt x="16273" y="196209"/>
                </a:cubicBezTo>
                <a:lnTo>
                  <a:pt x="14596" y="197713"/>
                </a:lnTo>
                <a:cubicBezTo>
                  <a:pt x="11877" y="199969"/>
                  <a:pt x="4762" y="206100"/>
                  <a:pt x="4762" y="208877"/>
                </a:cubicBezTo>
                <a:cubicBezTo>
                  <a:pt x="4762" y="211653"/>
                  <a:pt x="6671" y="213042"/>
                  <a:pt x="9332" y="216165"/>
                </a:cubicBezTo>
                <a:cubicBezTo>
                  <a:pt x="11964" y="219086"/>
                  <a:pt x="14399" y="222175"/>
                  <a:pt x="16620" y="225420"/>
                </a:cubicBezTo>
                <a:cubicBezTo>
                  <a:pt x="19749" y="229851"/>
                  <a:pt x="20941" y="235364"/>
                  <a:pt x="19917" y="240691"/>
                </a:cubicBezTo>
                <a:cubicBezTo>
                  <a:pt x="19657" y="242785"/>
                  <a:pt x="19657" y="244902"/>
                  <a:pt x="19917" y="246996"/>
                </a:cubicBezTo>
                <a:cubicBezTo>
                  <a:pt x="20843" y="253243"/>
                  <a:pt x="29982" y="257177"/>
                  <a:pt x="37965" y="257177"/>
                </a:cubicBezTo>
                <a:cubicBezTo>
                  <a:pt x="42025" y="257298"/>
                  <a:pt x="45999" y="258409"/>
                  <a:pt x="49533" y="260416"/>
                </a:cubicBezTo>
                <a:cubicBezTo>
                  <a:pt x="52229" y="262013"/>
                  <a:pt x="55260" y="262961"/>
                  <a:pt x="58384" y="263193"/>
                </a:cubicBezTo>
                <a:cubicBezTo>
                  <a:pt x="64978" y="263193"/>
                  <a:pt x="69027" y="272448"/>
                  <a:pt x="73018" y="286330"/>
                </a:cubicBezTo>
                <a:cubicBezTo>
                  <a:pt x="79439" y="286330"/>
                  <a:pt x="102577" y="287372"/>
                  <a:pt x="112815" y="294197"/>
                </a:cubicBezTo>
                <a:cubicBezTo>
                  <a:pt x="119600" y="298628"/>
                  <a:pt x="125489" y="304303"/>
                  <a:pt x="130168" y="310914"/>
                </a:cubicBezTo>
                <a:lnTo>
                  <a:pt x="175287" y="286446"/>
                </a:lnTo>
                <a:cubicBezTo>
                  <a:pt x="175090" y="286330"/>
                  <a:pt x="174946" y="286145"/>
                  <a:pt x="174882" y="28592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0" name="Forma libre: forma 289">
            <a:extLst>
              <a:ext uri="{FF2B5EF4-FFF2-40B4-BE49-F238E27FC236}">
                <a16:creationId xmlns:a16="http://schemas.microsoft.com/office/drawing/2014/main" id="{E35D6B7A-F424-641B-7D74-882FE26FBCA1}"/>
              </a:ext>
            </a:extLst>
          </p:cNvPr>
          <p:cNvSpPr/>
          <p:nvPr/>
        </p:nvSpPr>
        <p:spPr>
          <a:xfrm>
            <a:off x="5729419" y="4096784"/>
            <a:ext cx="81276" cy="25740"/>
          </a:xfrm>
          <a:custGeom>
            <a:avLst/>
            <a:gdLst>
              <a:gd name="connsiteX0" fmla="*/ 1053 w 81276"/>
              <a:gd name="connsiteY0" fmla="*/ 24860 h 25740"/>
              <a:gd name="connsiteX1" fmla="*/ -110 w 81276"/>
              <a:gd name="connsiteY1" fmla="*/ 23709 h 25740"/>
              <a:gd name="connsiteX2" fmla="*/ -104 w 81276"/>
              <a:gd name="connsiteY2" fmla="*/ 23587 h 25740"/>
              <a:gd name="connsiteX3" fmla="*/ 1805 w 81276"/>
              <a:gd name="connsiteY3" fmla="*/ 15084 h 25740"/>
              <a:gd name="connsiteX4" fmla="*/ 3425 w 81276"/>
              <a:gd name="connsiteY4" fmla="*/ 7275 h 25740"/>
              <a:gd name="connsiteX5" fmla="*/ 3829 w 81276"/>
              <a:gd name="connsiteY5" fmla="*/ 6465 h 25740"/>
              <a:gd name="connsiteX6" fmla="*/ 4697 w 81276"/>
              <a:gd name="connsiteY6" fmla="*/ 6465 h 25740"/>
              <a:gd name="connsiteX7" fmla="*/ 13952 w 81276"/>
              <a:gd name="connsiteY7" fmla="*/ 6928 h 25740"/>
              <a:gd name="connsiteX8" fmla="*/ 38710 w 81276"/>
              <a:gd name="connsiteY8" fmla="*/ 1144 h 25740"/>
              <a:gd name="connsiteX9" fmla="*/ 43800 w 81276"/>
              <a:gd name="connsiteY9" fmla="*/ -129 h 25740"/>
              <a:gd name="connsiteX10" fmla="*/ 53286 w 81276"/>
              <a:gd name="connsiteY10" fmla="*/ 5655 h 25740"/>
              <a:gd name="connsiteX11" fmla="*/ 65318 w 81276"/>
              <a:gd name="connsiteY11" fmla="*/ 12539 h 25740"/>
              <a:gd name="connsiteX12" fmla="*/ 80647 w 81276"/>
              <a:gd name="connsiteY12" fmla="*/ 14795 h 25740"/>
              <a:gd name="connsiteX13" fmla="*/ 81167 w 81276"/>
              <a:gd name="connsiteY13" fmla="*/ 15720 h 25740"/>
              <a:gd name="connsiteX14" fmla="*/ 80647 w 81276"/>
              <a:gd name="connsiteY14" fmla="*/ 16646 h 25740"/>
              <a:gd name="connsiteX15" fmla="*/ 63294 w 81276"/>
              <a:gd name="connsiteY15" fmla="*/ 21447 h 25740"/>
              <a:gd name="connsiteX16" fmla="*/ 53113 w 81276"/>
              <a:gd name="connsiteY16" fmla="*/ 17340 h 25740"/>
              <a:gd name="connsiteX17" fmla="*/ 41197 w 81276"/>
              <a:gd name="connsiteY17" fmla="*/ 15026 h 25740"/>
              <a:gd name="connsiteX18" fmla="*/ 9325 w 81276"/>
              <a:gd name="connsiteY18" fmla="*/ 23934 h 25740"/>
              <a:gd name="connsiteX19" fmla="*/ 1516 w 81276"/>
              <a:gd name="connsiteY19" fmla="*/ 25612 h 25740"/>
              <a:gd name="connsiteX20" fmla="*/ 5623 w 81276"/>
              <a:gd name="connsiteY20" fmla="*/ 8548 h 25740"/>
              <a:gd name="connsiteX21" fmla="*/ 4003 w 81276"/>
              <a:gd name="connsiteY21" fmla="*/ 15720 h 25740"/>
              <a:gd name="connsiteX22" fmla="*/ 2441 w 81276"/>
              <a:gd name="connsiteY22" fmla="*/ 22257 h 25740"/>
              <a:gd name="connsiteX23" fmla="*/ 8978 w 81276"/>
              <a:gd name="connsiteY23" fmla="*/ 20984 h 25740"/>
              <a:gd name="connsiteX24" fmla="*/ 39404 w 81276"/>
              <a:gd name="connsiteY24" fmla="*/ 12597 h 25740"/>
              <a:gd name="connsiteX25" fmla="*/ 43916 w 81276"/>
              <a:gd name="connsiteY25" fmla="*/ 10862 h 25740"/>
              <a:gd name="connsiteX26" fmla="*/ 53923 w 81276"/>
              <a:gd name="connsiteY26" fmla="*/ 14563 h 25740"/>
              <a:gd name="connsiteX27" fmla="*/ 63351 w 81276"/>
              <a:gd name="connsiteY27" fmla="*/ 18439 h 25740"/>
              <a:gd name="connsiteX28" fmla="*/ 77003 w 81276"/>
              <a:gd name="connsiteY28" fmla="*/ 15373 h 25740"/>
              <a:gd name="connsiteX29" fmla="*/ 65145 w 81276"/>
              <a:gd name="connsiteY29" fmla="*/ 14043 h 25740"/>
              <a:gd name="connsiteX30" fmla="*/ 51725 w 81276"/>
              <a:gd name="connsiteY30" fmla="*/ 6465 h 25740"/>
              <a:gd name="connsiteX31" fmla="*/ 43800 w 81276"/>
              <a:gd name="connsiteY31" fmla="*/ 1606 h 25740"/>
              <a:gd name="connsiteX32" fmla="*/ 39635 w 81276"/>
              <a:gd name="connsiteY32" fmla="*/ 2647 h 25740"/>
              <a:gd name="connsiteX33" fmla="*/ 13952 w 81276"/>
              <a:gd name="connsiteY33" fmla="*/ 8953 h 25740"/>
              <a:gd name="connsiteX34" fmla="*/ 5623 w 81276"/>
              <a:gd name="connsiteY34" fmla="*/ 8548 h 2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1276" h="25740">
                <a:moveTo>
                  <a:pt x="1053" y="24860"/>
                </a:moveTo>
                <a:cubicBezTo>
                  <a:pt x="417" y="24865"/>
                  <a:pt x="-104" y="24345"/>
                  <a:pt x="-110" y="23709"/>
                </a:cubicBezTo>
                <a:cubicBezTo>
                  <a:pt x="-110" y="23668"/>
                  <a:pt x="-110" y="23628"/>
                  <a:pt x="-104" y="23587"/>
                </a:cubicBezTo>
                <a:cubicBezTo>
                  <a:pt x="353" y="20718"/>
                  <a:pt x="990" y="17878"/>
                  <a:pt x="1805" y="15084"/>
                </a:cubicBezTo>
                <a:cubicBezTo>
                  <a:pt x="2638" y="12551"/>
                  <a:pt x="3182" y="9930"/>
                  <a:pt x="3425" y="7275"/>
                </a:cubicBezTo>
                <a:cubicBezTo>
                  <a:pt x="3477" y="6974"/>
                  <a:pt x="3616" y="6691"/>
                  <a:pt x="3829" y="6465"/>
                </a:cubicBezTo>
                <a:cubicBezTo>
                  <a:pt x="4107" y="6356"/>
                  <a:pt x="4419" y="6356"/>
                  <a:pt x="4697" y="6465"/>
                </a:cubicBezTo>
                <a:cubicBezTo>
                  <a:pt x="8168" y="6465"/>
                  <a:pt x="11176" y="6928"/>
                  <a:pt x="13952" y="6928"/>
                </a:cubicBezTo>
                <a:cubicBezTo>
                  <a:pt x="22554" y="7079"/>
                  <a:pt x="31063" y="5088"/>
                  <a:pt x="38710" y="1144"/>
                </a:cubicBezTo>
                <a:cubicBezTo>
                  <a:pt x="40289" y="334"/>
                  <a:pt x="42030" y="-100"/>
                  <a:pt x="43800" y="-129"/>
                </a:cubicBezTo>
                <a:cubicBezTo>
                  <a:pt x="47647" y="340"/>
                  <a:pt x="51111" y="2445"/>
                  <a:pt x="53286" y="5655"/>
                </a:cubicBezTo>
                <a:cubicBezTo>
                  <a:pt x="56225" y="9456"/>
                  <a:pt x="60552" y="11932"/>
                  <a:pt x="65318" y="12539"/>
                </a:cubicBezTo>
                <a:cubicBezTo>
                  <a:pt x="70518" y="12423"/>
                  <a:pt x="75701" y="13187"/>
                  <a:pt x="80647" y="14795"/>
                </a:cubicBezTo>
                <a:cubicBezTo>
                  <a:pt x="80971" y="14992"/>
                  <a:pt x="81167" y="15344"/>
                  <a:pt x="81167" y="15720"/>
                </a:cubicBezTo>
                <a:cubicBezTo>
                  <a:pt x="81167" y="16096"/>
                  <a:pt x="80971" y="16449"/>
                  <a:pt x="80647" y="16646"/>
                </a:cubicBezTo>
                <a:cubicBezTo>
                  <a:pt x="75464" y="19926"/>
                  <a:pt x="69425" y="21597"/>
                  <a:pt x="63294" y="21447"/>
                </a:cubicBezTo>
                <a:cubicBezTo>
                  <a:pt x="59690" y="20684"/>
                  <a:pt x="56242" y="19289"/>
                  <a:pt x="53113" y="17340"/>
                </a:cubicBezTo>
                <a:cubicBezTo>
                  <a:pt x="48254" y="14737"/>
                  <a:pt x="43858" y="12539"/>
                  <a:pt x="41197" y="15026"/>
                </a:cubicBezTo>
                <a:cubicBezTo>
                  <a:pt x="35008" y="20811"/>
                  <a:pt x="16729" y="23529"/>
                  <a:pt x="9325" y="23934"/>
                </a:cubicBezTo>
                <a:cubicBezTo>
                  <a:pt x="6693" y="24357"/>
                  <a:pt x="4090" y="24918"/>
                  <a:pt x="1516" y="25612"/>
                </a:cubicBezTo>
                <a:close/>
                <a:moveTo>
                  <a:pt x="5623" y="8548"/>
                </a:moveTo>
                <a:cubicBezTo>
                  <a:pt x="5241" y="10971"/>
                  <a:pt x="4697" y="13366"/>
                  <a:pt x="4003" y="15720"/>
                </a:cubicBezTo>
                <a:cubicBezTo>
                  <a:pt x="3425" y="17860"/>
                  <a:pt x="2846" y="20059"/>
                  <a:pt x="2441" y="22257"/>
                </a:cubicBezTo>
                <a:cubicBezTo>
                  <a:pt x="4587" y="21684"/>
                  <a:pt x="6774" y="21256"/>
                  <a:pt x="8978" y="20984"/>
                </a:cubicBezTo>
                <a:cubicBezTo>
                  <a:pt x="16671" y="20464"/>
                  <a:pt x="34082" y="17456"/>
                  <a:pt x="39404" y="12597"/>
                </a:cubicBezTo>
                <a:cubicBezTo>
                  <a:pt x="40630" y="11457"/>
                  <a:pt x="42244" y="10838"/>
                  <a:pt x="43916" y="10862"/>
                </a:cubicBezTo>
                <a:cubicBezTo>
                  <a:pt x="47496" y="11301"/>
                  <a:pt x="50920" y="12568"/>
                  <a:pt x="53923" y="14563"/>
                </a:cubicBezTo>
                <a:cubicBezTo>
                  <a:pt x="56821" y="16385"/>
                  <a:pt x="60008" y="17699"/>
                  <a:pt x="63351" y="18439"/>
                </a:cubicBezTo>
                <a:cubicBezTo>
                  <a:pt x="68094" y="18682"/>
                  <a:pt x="72815" y="17618"/>
                  <a:pt x="77003" y="15373"/>
                </a:cubicBezTo>
                <a:cubicBezTo>
                  <a:pt x="73075" y="14708"/>
                  <a:pt x="69118" y="14263"/>
                  <a:pt x="65145" y="14043"/>
                </a:cubicBezTo>
                <a:cubicBezTo>
                  <a:pt x="59834" y="13418"/>
                  <a:pt x="55004" y="10688"/>
                  <a:pt x="51725" y="6465"/>
                </a:cubicBezTo>
                <a:cubicBezTo>
                  <a:pt x="49122" y="3862"/>
                  <a:pt x="46866" y="1606"/>
                  <a:pt x="43800" y="1606"/>
                </a:cubicBezTo>
                <a:cubicBezTo>
                  <a:pt x="42354" y="1653"/>
                  <a:pt x="40937" y="2011"/>
                  <a:pt x="39635" y="2647"/>
                </a:cubicBezTo>
                <a:cubicBezTo>
                  <a:pt x="31728" y="6847"/>
                  <a:pt x="22907" y="9016"/>
                  <a:pt x="13952" y="8953"/>
                </a:cubicBezTo>
                <a:cubicBezTo>
                  <a:pt x="11407" y="8953"/>
                  <a:pt x="8689" y="8837"/>
                  <a:pt x="5623" y="854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1" name="Forma libre: forma 290">
            <a:extLst>
              <a:ext uri="{FF2B5EF4-FFF2-40B4-BE49-F238E27FC236}">
                <a16:creationId xmlns:a16="http://schemas.microsoft.com/office/drawing/2014/main" id="{2B068731-44AE-7907-1D47-EFDD58498CC5}"/>
              </a:ext>
            </a:extLst>
          </p:cNvPr>
          <p:cNvSpPr/>
          <p:nvPr/>
        </p:nvSpPr>
        <p:spPr>
          <a:xfrm>
            <a:off x="5718257" y="4019901"/>
            <a:ext cx="157594" cy="124546"/>
          </a:xfrm>
          <a:custGeom>
            <a:avLst/>
            <a:gdLst>
              <a:gd name="connsiteX0" fmla="*/ 135655 w 157594"/>
              <a:gd name="connsiteY0" fmla="*/ 124417 h 124546"/>
              <a:gd name="connsiteX1" fmla="*/ 112517 w 157594"/>
              <a:gd name="connsiteY1" fmla="*/ 118633 h 124546"/>
              <a:gd name="connsiteX2" fmla="*/ 95164 w 157594"/>
              <a:gd name="connsiteY2" fmla="*/ 111865 h 124546"/>
              <a:gd name="connsiteX3" fmla="*/ 95164 w 157594"/>
              <a:gd name="connsiteY3" fmla="*/ 113138 h 124546"/>
              <a:gd name="connsiteX4" fmla="*/ 94585 w 157594"/>
              <a:gd name="connsiteY4" fmla="*/ 114005 h 124546"/>
              <a:gd name="connsiteX5" fmla="*/ 93544 w 157594"/>
              <a:gd name="connsiteY5" fmla="*/ 114005 h 124546"/>
              <a:gd name="connsiteX6" fmla="*/ 87239 w 157594"/>
              <a:gd name="connsiteY6" fmla="*/ 112212 h 124546"/>
              <a:gd name="connsiteX7" fmla="*/ 47674 w 157594"/>
              <a:gd name="connsiteY7" fmla="*/ 115220 h 124546"/>
              <a:gd name="connsiteX8" fmla="*/ 31882 w 157594"/>
              <a:gd name="connsiteY8" fmla="*/ 121467 h 124546"/>
              <a:gd name="connsiteX9" fmla="*/ 28585 w 157594"/>
              <a:gd name="connsiteY9" fmla="*/ 118864 h 124546"/>
              <a:gd name="connsiteX10" fmla="*/ 24536 w 157594"/>
              <a:gd name="connsiteY10" fmla="*/ 116666 h 124546"/>
              <a:gd name="connsiteX11" fmla="*/ 18404 w 157594"/>
              <a:gd name="connsiteY11" fmla="*/ 117650 h 124546"/>
              <a:gd name="connsiteX12" fmla="*/ 17248 w 157594"/>
              <a:gd name="connsiteY12" fmla="*/ 117245 h 124546"/>
              <a:gd name="connsiteX13" fmla="*/ 14529 w 157594"/>
              <a:gd name="connsiteY13" fmla="*/ 114005 h 124546"/>
              <a:gd name="connsiteX14" fmla="*/ 11116 w 157594"/>
              <a:gd name="connsiteY14" fmla="*/ 100354 h 124546"/>
              <a:gd name="connsiteX15" fmla="*/ 11984 w 157594"/>
              <a:gd name="connsiteY15" fmla="*/ 99429 h 124546"/>
              <a:gd name="connsiteX16" fmla="*/ 20198 w 157594"/>
              <a:gd name="connsiteY16" fmla="*/ 97751 h 124546"/>
              <a:gd name="connsiteX17" fmla="*/ 50624 w 157594"/>
              <a:gd name="connsiteY17" fmla="*/ 89364 h 124546"/>
              <a:gd name="connsiteX18" fmla="*/ 55135 w 157594"/>
              <a:gd name="connsiteY18" fmla="*/ 87628 h 124546"/>
              <a:gd name="connsiteX19" fmla="*/ 65142 w 157594"/>
              <a:gd name="connsiteY19" fmla="*/ 91331 h 124546"/>
              <a:gd name="connsiteX20" fmla="*/ 74571 w 157594"/>
              <a:gd name="connsiteY20" fmla="*/ 95206 h 124546"/>
              <a:gd name="connsiteX21" fmla="*/ 88223 w 157594"/>
              <a:gd name="connsiteY21" fmla="*/ 92140 h 124546"/>
              <a:gd name="connsiteX22" fmla="*/ 76364 w 157594"/>
              <a:gd name="connsiteY22" fmla="*/ 90810 h 124546"/>
              <a:gd name="connsiteX23" fmla="*/ 62945 w 157594"/>
              <a:gd name="connsiteY23" fmla="*/ 83232 h 124546"/>
              <a:gd name="connsiteX24" fmla="*/ 55020 w 157594"/>
              <a:gd name="connsiteY24" fmla="*/ 78373 h 124546"/>
              <a:gd name="connsiteX25" fmla="*/ 50855 w 157594"/>
              <a:gd name="connsiteY25" fmla="*/ 79415 h 124546"/>
              <a:gd name="connsiteX26" fmla="*/ 25172 w 157594"/>
              <a:gd name="connsiteY26" fmla="*/ 85719 h 124546"/>
              <a:gd name="connsiteX27" fmla="*/ 15686 w 157594"/>
              <a:gd name="connsiteY27" fmla="*/ 85199 h 124546"/>
              <a:gd name="connsiteX28" fmla="*/ 14697 w 157594"/>
              <a:gd name="connsiteY28" fmla="*/ 84106 h 124546"/>
              <a:gd name="connsiteX29" fmla="*/ 14702 w 157594"/>
              <a:gd name="connsiteY29" fmla="*/ 84042 h 124546"/>
              <a:gd name="connsiteX30" fmla="*/ 13372 w 157594"/>
              <a:gd name="connsiteY30" fmla="*/ 79704 h 124546"/>
              <a:gd name="connsiteX31" fmla="*/ 3134 w 157594"/>
              <a:gd name="connsiteY31" fmla="*/ 39502 h 124546"/>
              <a:gd name="connsiteX32" fmla="*/ 8918 w 157594"/>
              <a:gd name="connsiteY32" fmla="*/ 18157 h 124546"/>
              <a:gd name="connsiteX33" fmla="*/ 9786 w 157594"/>
              <a:gd name="connsiteY33" fmla="*/ 17174 h 124546"/>
              <a:gd name="connsiteX34" fmla="*/ 11232 w 157594"/>
              <a:gd name="connsiteY34" fmla="*/ 16827 h 124546"/>
              <a:gd name="connsiteX35" fmla="*/ 17016 w 157594"/>
              <a:gd name="connsiteY35" fmla="*/ 10406 h 124546"/>
              <a:gd name="connsiteX36" fmla="*/ 25230 w 157594"/>
              <a:gd name="connsiteY36" fmla="*/ 3118 h 124546"/>
              <a:gd name="connsiteX37" fmla="*/ 27197 w 157594"/>
              <a:gd name="connsiteY37" fmla="*/ 3118 h 124546"/>
              <a:gd name="connsiteX38" fmla="*/ 37724 w 157594"/>
              <a:gd name="connsiteY38" fmla="*/ 3985 h 124546"/>
              <a:gd name="connsiteX39" fmla="*/ 51665 w 157594"/>
              <a:gd name="connsiteY39" fmla="*/ 3118 h 124546"/>
              <a:gd name="connsiteX40" fmla="*/ 66531 w 157594"/>
              <a:gd name="connsiteY40" fmla="*/ -121 h 124546"/>
              <a:gd name="connsiteX41" fmla="*/ 73588 w 157594"/>
              <a:gd name="connsiteY41" fmla="*/ 1267 h 124546"/>
              <a:gd name="connsiteX42" fmla="*/ 88975 w 157594"/>
              <a:gd name="connsiteY42" fmla="*/ 14629 h 124546"/>
              <a:gd name="connsiteX43" fmla="*/ 98056 w 157594"/>
              <a:gd name="connsiteY43" fmla="*/ 14629 h 124546"/>
              <a:gd name="connsiteX44" fmla="*/ 99097 w 157594"/>
              <a:gd name="connsiteY44" fmla="*/ 15323 h 124546"/>
              <a:gd name="connsiteX45" fmla="*/ 117607 w 157594"/>
              <a:gd name="connsiteY45" fmla="*/ 39676 h 124546"/>
              <a:gd name="connsiteX46" fmla="*/ 133688 w 157594"/>
              <a:gd name="connsiteY46" fmla="*/ 59458 h 124546"/>
              <a:gd name="connsiteX47" fmla="*/ 138605 w 157594"/>
              <a:gd name="connsiteY47" fmla="*/ 66747 h 124546"/>
              <a:gd name="connsiteX48" fmla="*/ 138605 w 157594"/>
              <a:gd name="connsiteY48" fmla="*/ 67441 h 124546"/>
              <a:gd name="connsiteX49" fmla="*/ 142307 w 157594"/>
              <a:gd name="connsiteY49" fmla="*/ 83579 h 124546"/>
              <a:gd name="connsiteX50" fmla="*/ 157173 w 157594"/>
              <a:gd name="connsiteY50" fmla="*/ 101858 h 124546"/>
              <a:gd name="connsiteX51" fmla="*/ 157173 w 157594"/>
              <a:gd name="connsiteY51" fmla="*/ 119212 h 124546"/>
              <a:gd name="connsiteX52" fmla="*/ 156421 w 157594"/>
              <a:gd name="connsiteY52" fmla="*/ 120253 h 124546"/>
              <a:gd name="connsiteX53" fmla="*/ 154049 w 157594"/>
              <a:gd name="connsiteY53" fmla="*/ 121120 h 124546"/>
              <a:gd name="connsiteX54" fmla="*/ 153413 w 157594"/>
              <a:gd name="connsiteY54" fmla="*/ 121120 h 124546"/>
              <a:gd name="connsiteX55" fmla="*/ 135655 w 157594"/>
              <a:gd name="connsiteY55" fmla="*/ 124417 h 124546"/>
              <a:gd name="connsiteX56" fmla="*/ 94065 w 157594"/>
              <a:gd name="connsiteY56" fmla="*/ 109320 h 124546"/>
              <a:gd name="connsiteX57" fmla="*/ 94065 w 157594"/>
              <a:gd name="connsiteY57" fmla="*/ 109320 h 124546"/>
              <a:gd name="connsiteX58" fmla="*/ 114310 w 157594"/>
              <a:gd name="connsiteY58" fmla="*/ 117997 h 124546"/>
              <a:gd name="connsiteX59" fmla="*/ 135423 w 157594"/>
              <a:gd name="connsiteY59" fmla="*/ 122046 h 124546"/>
              <a:gd name="connsiteX60" fmla="*/ 152777 w 157594"/>
              <a:gd name="connsiteY60" fmla="*/ 119674 h 124546"/>
              <a:gd name="connsiteX61" fmla="*/ 153413 w 157594"/>
              <a:gd name="connsiteY61" fmla="*/ 119674 h 124546"/>
              <a:gd name="connsiteX62" fmla="*/ 155091 w 157594"/>
              <a:gd name="connsiteY62" fmla="*/ 119038 h 124546"/>
              <a:gd name="connsiteX63" fmla="*/ 155091 w 157594"/>
              <a:gd name="connsiteY63" fmla="*/ 102784 h 124546"/>
              <a:gd name="connsiteX64" fmla="*/ 140861 w 157594"/>
              <a:gd name="connsiteY64" fmla="*/ 85430 h 124546"/>
              <a:gd name="connsiteX65" fmla="*/ 136407 w 157594"/>
              <a:gd name="connsiteY65" fmla="*/ 68077 h 124546"/>
              <a:gd name="connsiteX66" fmla="*/ 131606 w 157594"/>
              <a:gd name="connsiteY66" fmla="*/ 60904 h 124546"/>
              <a:gd name="connsiteX67" fmla="*/ 131606 w 157594"/>
              <a:gd name="connsiteY67" fmla="*/ 60557 h 124546"/>
              <a:gd name="connsiteX68" fmla="*/ 116971 w 157594"/>
              <a:gd name="connsiteY68" fmla="*/ 42163 h 124546"/>
              <a:gd name="connsiteX69" fmla="*/ 97304 w 157594"/>
              <a:gd name="connsiteY69" fmla="*/ 17232 h 124546"/>
              <a:gd name="connsiteX70" fmla="*/ 88454 w 157594"/>
              <a:gd name="connsiteY70" fmla="*/ 17232 h 124546"/>
              <a:gd name="connsiteX71" fmla="*/ 87586 w 157594"/>
              <a:gd name="connsiteY71" fmla="*/ 16769 h 124546"/>
              <a:gd name="connsiteX72" fmla="*/ 72662 w 157594"/>
              <a:gd name="connsiteY72" fmla="*/ 3638 h 124546"/>
              <a:gd name="connsiteX73" fmla="*/ 66878 w 157594"/>
              <a:gd name="connsiteY73" fmla="*/ 2482 h 124546"/>
              <a:gd name="connsiteX74" fmla="*/ 52764 w 157594"/>
              <a:gd name="connsiteY74" fmla="*/ 5605 h 124546"/>
              <a:gd name="connsiteX75" fmla="*/ 52764 w 157594"/>
              <a:gd name="connsiteY75" fmla="*/ 5605 h 124546"/>
              <a:gd name="connsiteX76" fmla="*/ 38361 w 157594"/>
              <a:gd name="connsiteY76" fmla="*/ 6473 h 124546"/>
              <a:gd name="connsiteX77" fmla="*/ 27428 w 157594"/>
              <a:gd name="connsiteY77" fmla="*/ 5547 h 124546"/>
              <a:gd name="connsiteX78" fmla="*/ 19677 w 157594"/>
              <a:gd name="connsiteY78" fmla="*/ 11332 h 124546"/>
              <a:gd name="connsiteX79" fmla="*/ 12562 w 157594"/>
              <a:gd name="connsiteY79" fmla="*/ 18967 h 124546"/>
              <a:gd name="connsiteX80" fmla="*/ 11868 w 157594"/>
              <a:gd name="connsiteY80" fmla="*/ 18967 h 124546"/>
              <a:gd name="connsiteX81" fmla="*/ 5505 w 157594"/>
              <a:gd name="connsiteY81" fmla="*/ 40543 h 124546"/>
              <a:gd name="connsiteX82" fmla="*/ 15454 w 157594"/>
              <a:gd name="connsiteY82" fmla="*/ 77853 h 124546"/>
              <a:gd name="connsiteX83" fmla="*/ 17479 w 157594"/>
              <a:gd name="connsiteY83" fmla="*/ 82827 h 124546"/>
              <a:gd name="connsiteX84" fmla="*/ 25693 w 157594"/>
              <a:gd name="connsiteY84" fmla="*/ 83232 h 124546"/>
              <a:gd name="connsiteX85" fmla="*/ 50450 w 157594"/>
              <a:gd name="connsiteY85" fmla="*/ 77448 h 124546"/>
              <a:gd name="connsiteX86" fmla="*/ 55540 w 157594"/>
              <a:gd name="connsiteY86" fmla="*/ 76175 h 124546"/>
              <a:gd name="connsiteX87" fmla="*/ 65027 w 157594"/>
              <a:gd name="connsiteY87" fmla="*/ 81960 h 124546"/>
              <a:gd name="connsiteX88" fmla="*/ 77059 w 157594"/>
              <a:gd name="connsiteY88" fmla="*/ 88843 h 124546"/>
              <a:gd name="connsiteX89" fmla="*/ 92387 w 157594"/>
              <a:gd name="connsiteY89" fmla="*/ 91099 h 124546"/>
              <a:gd name="connsiteX90" fmla="*/ 92908 w 157594"/>
              <a:gd name="connsiteY90" fmla="*/ 92025 h 124546"/>
              <a:gd name="connsiteX91" fmla="*/ 92387 w 157594"/>
              <a:gd name="connsiteY91" fmla="*/ 92950 h 124546"/>
              <a:gd name="connsiteX92" fmla="*/ 75034 w 157594"/>
              <a:gd name="connsiteY92" fmla="*/ 97751 h 124546"/>
              <a:gd name="connsiteX93" fmla="*/ 64853 w 157594"/>
              <a:gd name="connsiteY93" fmla="*/ 93644 h 124546"/>
              <a:gd name="connsiteX94" fmla="*/ 52937 w 157594"/>
              <a:gd name="connsiteY94" fmla="*/ 91331 h 124546"/>
              <a:gd name="connsiteX95" fmla="*/ 21065 w 157594"/>
              <a:gd name="connsiteY95" fmla="*/ 100238 h 124546"/>
              <a:gd name="connsiteX96" fmla="*/ 14008 w 157594"/>
              <a:gd name="connsiteY96" fmla="*/ 101685 h 124546"/>
              <a:gd name="connsiteX97" fmla="*/ 16958 w 157594"/>
              <a:gd name="connsiteY97" fmla="*/ 112791 h 124546"/>
              <a:gd name="connsiteX98" fmla="*/ 19330 w 157594"/>
              <a:gd name="connsiteY98" fmla="*/ 115567 h 124546"/>
              <a:gd name="connsiteX99" fmla="*/ 25114 w 157594"/>
              <a:gd name="connsiteY99" fmla="*/ 114700 h 124546"/>
              <a:gd name="connsiteX100" fmla="*/ 30899 w 157594"/>
              <a:gd name="connsiteY100" fmla="*/ 118055 h 124546"/>
              <a:gd name="connsiteX101" fmla="*/ 32461 w 157594"/>
              <a:gd name="connsiteY101" fmla="*/ 119501 h 124546"/>
              <a:gd name="connsiteX102" fmla="*/ 32923 w 157594"/>
              <a:gd name="connsiteY102" fmla="*/ 119501 h 124546"/>
              <a:gd name="connsiteX103" fmla="*/ 47037 w 157594"/>
              <a:gd name="connsiteY103" fmla="*/ 113716 h 124546"/>
              <a:gd name="connsiteX104" fmla="*/ 47616 w 157594"/>
              <a:gd name="connsiteY104" fmla="*/ 113716 h 124546"/>
              <a:gd name="connsiteX105" fmla="*/ 87413 w 157594"/>
              <a:gd name="connsiteY105" fmla="*/ 110650 h 124546"/>
              <a:gd name="connsiteX106" fmla="*/ 93197 w 157594"/>
              <a:gd name="connsiteY106" fmla="*/ 111923 h 124546"/>
              <a:gd name="connsiteX107" fmla="*/ 93197 w 157594"/>
              <a:gd name="connsiteY107" fmla="*/ 111171 h 124546"/>
              <a:gd name="connsiteX108" fmla="*/ 94238 w 157594"/>
              <a:gd name="connsiteY108" fmla="*/ 110014 h 124546"/>
              <a:gd name="connsiteX109" fmla="*/ 94296 w 157594"/>
              <a:gd name="connsiteY109" fmla="*/ 110014 h 1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57594" h="124546">
                <a:moveTo>
                  <a:pt x="135655" y="124417"/>
                </a:moveTo>
                <a:cubicBezTo>
                  <a:pt x="127267" y="124417"/>
                  <a:pt x="113558" y="122856"/>
                  <a:pt x="112517" y="118633"/>
                </a:cubicBezTo>
                <a:cubicBezTo>
                  <a:pt x="111881" y="116551"/>
                  <a:pt x="103378" y="113600"/>
                  <a:pt x="95164" y="111865"/>
                </a:cubicBezTo>
                <a:cubicBezTo>
                  <a:pt x="95164" y="112212"/>
                  <a:pt x="95164" y="112675"/>
                  <a:pt x="95164" y="113138"/>
                </a:cubicBezTo>
                <a:cubicBezTo>
                  <a:pt x="95141" y="113508"/>
                  <a:pt x="94921" y="113838"/>
                  <a:pt x="94585" y="114005"/>
                </a:cubicBezTo>
                <a:cubicBezTo>
                  <a:pt x="94262" y="114179"/>
                  <a:pt x="93868" y="114179"/>
                  <a:pt x="93544" y="114005"/>
                </a:cubicBezTo>
                <a:cubicBezTo>
                  <a:pt x="91630" y="112889"/>
                  <a:pt x="89460" y="112270"/>
                  <a:pt x="87239" y="112212"/>
                </a:cubicBezTo>
                <a:cubicBezTo>
                  <a:pt x="81975" y="112675"/>
                  <a:pt x="51029" y="114989"/>
                  <a:pt x="47674" y="115220"/>
                </a:cubicBezTo>
                <a:cubicBezTo>
                  <a:pt x="42994" y="118552"/>
                  <a:pt x="37574" y="120692"/>
                  <a:pt x="31882" y="121467"/>
                </a:cubicBezTo>
                <a:cubicBezTo>
                  <a:pt x="30390" y="121271"/>
                  <a:pt x="29123" y="120270"/>
                  <a:pt x="28585" y="118864"/>
                </a:cubicBezTo>
                <a:cubicBezTo>
                  <a:pt x="27891" y="117650"/>
                  <a:pt x="27370" y="116666"/>
                  <a:pt x="24536" y="116666"/>
                </a:cubicBezTo>
                <a:cubicBezTo>
                  <a:pt x="22459" y="116759"/>
                  <a:pt x="20406" y="117089"/>
                  <a:pt x="18404" y="117650"/>
                </a:cubicBezTo>
                <a:cubicBezTo>
                  <a:pt x="17971" y="117748"/>
                  <a:pt x="17525" y="117592"/>
                  <a:pt x="17248" y="117245"/>
                </a:cubicBezTo>
                <a:cubicBezTo>
                  <a:pt x="16438" y="116204"/>
                  <a:pt x="15570" y="115162"/>
                  <a:pt x="14529" y="114005"/>
                </a:cubicBezTo>
                <a:cubicBezTo>
                  <a:pt x="11411" y="110193"/>
                  <a:pt x="10156" y="105184"/>
                  <a:pt x="11116" y="100354"/>
                </a:cubicBezTo>
                <a:cubicBezTo>
                  <a:pt x="11162" y="99886"/>
                  <a:pt x="11515" y="99504"/>
                  <a:pt x="11984" y="99429"/>
                </a:cubicBezTo>
                <a:cubicBezTo>
                  <a:pt x="14679" y="98671"/>
                  <a:pt x="17421" y="98110"/>
                  <a:pt x="20198" y="97751"/>
                </a:cubicBezTo>
                <a:cubicBezTo>
                  <a:pt x="27891" y="97230"/>
                  <a:pt x="45302" y="94223"/>
                  <a:pt x="50624" y="89364"/>
                </a:cubicBezTo>
                <a:cubicBezTo>
                  <a:pt x="51850" y="88224"/>
                  <a:pt x="53464" y="87605"/>
                  <a:pt x="55135" y="87628"/>
                </a:cubicBezTo>
                <a:cubicBezTo>
                  <a:pt x="58716" y="88068"/>
                  <a:pt x="62140" y="89335"/>
                  <a:pt x="65142" y="91331"/>
                </a:cubicBezTo>
                <a:cubicBezTo>
                  <a:pt x="68041" y="93153"/>
                  <a:pt x="71228" y="94466"/>
                  <a:pt x="74571" y="95206"/>
                </a:cubicBezTo>
                <a:cubicBezTo>
                  <a:pt x="79320" y="95484"/>
                  <a:pt x="84052" y="94419"/>
                  <a:pt x="88223" y="92140"/>
                </a:cubicBezTo>
                <a:cubicBezTo>
                  <a:pt x="84295" y="91475"/>
                  <a:pt x="80338" y="91030"/>
                  <a:pt x="76364" y="90810"/>
                </a:cubicBezTo>
                <a:cubicBezTo>
                  <a:pt x="71054" y="90185"/>
                  <a:pt x="66224" y="87455"/>
                  <a:pt x="62945" y="83232"/>
                </a:cubicBezTo>
                <a:cubicBezTo>
                  <a:pt x="60342" y="80629"/>
                  <a:pt x="58086" y="78373"/>
                  <a:pt x="55020" y="78373"/>
                </a:cubicBezTo>
                <a:cubicBezTo>
                  <a:pt x="53574" y="78420"/>
                  <a:pt x="52156" y="78778"/>
                  <a:pt x="50855" y="79415"/>
                </a:cubicBezTo>
                <a:cubicBezTo>
                  <a:pt x="42948" y="83614"/>
                  <a:pt x="34126" y="85783"/>
                  <a:pt x="25172" y="85719"/>
                </a:cubicBezTo>
                <a:cubicBezTo>
                  <a:pt x="22002" y="85731"/>
                  <a:pt x="18832" y="85558"/>
                  <a:pt x="15686" y="85199"/>
                </a:cubicBezTo>
                <a:cubicBezTo>
                  <a:pt x="15113" y="85170"/>
                  <a:pt x="14668" y="84684"/>
                  <a:pt x="14697" y="84106"/>
                </a:cubicBezTo>
                <a:cubicBezTo>
                  <a:pt x="14697" y="84088"/>
                  <a:pt x="14702" y="84065"/>
                  <a:pt x="14702" y="84042"/>
                </a:cubicBezTo>
                <a:cubicBezTo>
                  <a:pt x="14922" y="82469"/>
                  <a:pt x="14431" y="80884"/>
                  <a:pt x="13372" y="79704"/>
                </a:cubicBezTo>
                <a:cubicBezTo>
                  <a:pt x="7588" y="73919"/>
                  <a:pt x="-6411" y="53905"/>
                  <a:pt x="3134" y="39502"/>
                </a:cubicBezTo>
                <a:cubicBezTo>
                  <a:pt x="6674" y="32925"/>
                  <a:pt x="8652" y="25620"/>
                  <a:pt x="8918" y="18157"/>
                </a:cubicBezTo>
                <a:cubicBezTo>
                  <a:pt x="8959" y="17672"/>
                  <a:pt x="9311" y="17272"/>
                  <a:pt x="9786" y="17174"/>
                </a:cubicBezTo>
                <a:lnTo>
                  <a:pt x="11232" y="16827"/>
                </a:lnTo>
                <a:cubicBezTo>
                  <a:pt x="14066" y="16075"/>
                  <a:pt x="15396" y="13299"/>
                  <a:pt x="17016" y="10406"/>
                </a:cubicBezTo>
                <a:cubicBezTo>
                  <a:pt x="18636" y="7514"/>
                  <a:pt x="20545" y="3118"/>
                  <a:pt x="25230" y="3118"/>
                </a:cubicBezTo>
                <a:cubicBezTo>
                  <a:pt x="25884" y="3066"/>
                  <a:pt x="26543" y="3066"/>
                  <a:pt x="27197" y="3118"/>
                </a:cubicBezTo>
                <a:cubicBezTo>
                  <a:pt x="30667" y="3754"/>
                  <a:pt x="34196" y="4049"/>
                  <a:pt x="37724" y="3985"/>
                </a:cubicBezTo>
                <a:cubicBezTo>
                  <a:pt x="42387" y="3951"/>
                  <a:pt x="47037" y="3662"/>
                  <a:pt x="51665" y="3118"/>
                </a:cubicBezTo>
                <a:cubicBezTo>
                  <a:pt x="56397" y="1192"/>
                  <a:pt x="61423" y="93"/>
                  <a:pt x="66531" y="-121"/>
                </a:cubicBezTo>
                <a:cubicBezTo>
                  <a:pt x="68960" y="-196"/>
                  <a:pt x="71372" y="278"/>
                  <a:pt x="73588" y="1267"/>
                </a:cubicBezTo>
                <a:cubicBezTo>
                  <a:pt x="79459" y="4784"/>
                  <a:pt x="84671" y="9307"/>
                  <a:pt x="88975" y="14629"/>
                </a:cubicBezTo>
                <a:lnTo>
                  <a:pt x="98056" y="14629"/>
                </a:lnTo>
                <a:cubicBezTo>
                  <a:pt x="98507" y="14635"/>
                  <a:pt x="98918" y="14906"/>
                  <a:pt x="99097" y="15323"/>
                </a:cubicBezTo>
                <a:cubicBezTo>
                  <a:pt x="99097" y="15323"/>
                  <a:pt x="106732" y="36031"/>
                  <a:pt x="117607" y="39676"/>
                </a:cubicBezTo>
                <a:cubicBezTo>
                  <a:pt x="128482" y="43320"/>
                  <a:pt x="133167" y="57549"/>
                  <a:pt x="133688" y="59458"/>
                </a:cubicBezTo>
                <a:lnTo>
                  <a:pt x="138605" y="66747"/>
                </a:lnTo>
                <a:cubicBezTo>
                  <a:pt x="138657" y="66978"/>
                  <a:pt x="138657" y="67215"/>
                  <a:pt x="138605" y="67441"/>
                </a:cubicBezTo>
                <a:cubicBezTo>
                  <a:pt x="138605" y="67441"/>
                  <a:pt x="137911" y="79010"/>
                  <a:pt x="142307" y="83579"/>
                </a:cubicBezTo>
                <a:cubicBezTo>
                  <a:pt x="149537" y="90752"/>
                  <a:pt x="156363" y="97925"/>
                  <a:pt x="157173" y="101858"/>
                </a:cubicBezTo>
                <a:cubicBezTo>
                  <a:pt x="157589" y="107637"/>
                  <a:pt x="157589" y="113433"/>
                  <a:pt x="157173" y="119212"/>
                </a:cubicBezTo>
                <a:cubicBezTo>
                  <a:pt x="157173" y="119686"/>
                  <a:pt x="156872" y="120102"/>
                  <a:pt x="156421" y="120253"/>
                </a:cubicBezTo>
                <a:lnTo>
                  <a:pt x="154049" y="121120"/>
                </a:lnTo>
                <a:lnTo>
                  <a:pt x="153413" y="121120"/>
                </a:lnTo>
                <a:cubicBezTo>
                  <a:pt x="147704" y="123157"/>
                  <a:pt x="141711" y="124267"/>
                  <a:pt x="135655" y="124417"/>
                </a:cubicBezTo>
                <a:close/>
                <a:moveTo>
                  <a:pt x="94065" y="109320"/>
                </a:moveTo>
                <a:lnTo>
                  <a:pt x="94065" y="109320"/>
                </a:lnTo>
                <a:cubicBezTo>
                  <a:pt x="97188" y="109956"/>
                  <a:pt x="112980" y="113311"/>
                  <a:pt x="114310" y="117997"/>
                </a:cubicBezTo>
                <a:cubicBezTo>
                  <a:pt x="114715" y="119443"/>
                  <a:pt x="123045" y="122046"/>
                  <a:pt x="135423" y="122046"/>
                </a:cubicBezTo>
                <a:cubicBezTo>
                  <a:pt x="141295" y="122185"/>
                  <a:pt x="147154" y="121381"/>
                  <a:pt x="152777" y="119674"/>
                </a:cubicBezTo>
                <a:lnTo>
                  <a:pt x="153413" y="119674"/>
                </a:lnTo>
                <a:lnTo>
                  <a:pt x="155091" y="119038"/>
                </a:lnTo>
                <a:cubicBezTo>
                  <a:pt x="155455" y="113624"/>
                  <a:pt x="155455" y="108198"/>
                  <a:pt x="155091" y="102784"/>
                </a:cubicBezTo>
                <a:cubicBezTo>
                  <a:pt x="154281" y="99024"/>
                  <a:pt x="144505" y="89306"/>
                  <a:pt x="140861" y="85430"/>
                </a:cubicBezTo>
                <a:cubicBezTo>
                  <a:pt x="136117" y="80629"/>
                  <a:pt x="136349" y="70159"/>
                  <a:pt x="136407" y="68077"/>
                </a:cubicBezTo>
                <a:lnTo>
                  <a:pt x="131606" y="60904"/>
                </a:lnTo>
                <a:cubicBezTo>
                  <a:pt x="131582" y="60789"/>
                  <a:pt x="131582" y="60673"/>
                  <a:pt x="131606" y="60557"/>
                </a:cubicBezTo>
                <a:cubicBezTo>
                  <a:pt x="131606" y="60557"/>
                  <a:pt x="127730" y="45749"/>
                  <a:pt x="116971" y="42163"/>
                </a:cubicBezTo>
                <a:cubicBezTo>
                  <a:pt x="106212" y="38577"/>
                  <a:pt x="98808" y="21107"/>
                  <a:pt x="97304" y="17232"/>
                </a:cubicBezTo>
                <a:lnTo>
                  <a:pt x="88454" y="17232"/>
                </a:lnTo>
                <a:cubicBezTo>
                  <a:pt x="88107" y="17220"/>
                  <a:pt x="87789" y="17053"/>
                  <a:pt x="87586" y="16769"/>
                </a:cubicBezTo>
                <a:cubicBezTo>
                  <a:pt x="83387" y="11586"/>
                  <a:pt x="78337" y="7144"/>
                  <a:pt x="72662" y="3638"/>
                </a:cubicBezTo>
                <a:cubicBezTo>
                  <a:pt x="70834" y="2857"/>
                  <a:pt x="68868" y="2464"/>
                  <a:pt x="66878" y="2482"/>
                </a:cubicBezTo>
                <a:cubicBezTo>
                  <a:pt x="62025" y="2696"/>
                  <a:pt x="57253" y="3749"/>
                  <a:pt x="52764" y="5605"/>
                </a:cubicBezTo>
                <a:lnTo>
                  <a:pt x="52764" y="5605"/>
                </a:lnTo>
                <a:cubicBezTo>
                  <a:pt x="47980" y="6149"/>
                  <a:pt x="43173" y="6438"/>
                  <a:pt x="38361" y="6473"/>
                </a:cubicBezTo>
                <a:cubicBezTo>
                  <a:pt x="34693" y="6548"/>
                  <a:pt x="31032" y="6236"/>
                  <a:pt x="27428" y="5547"/>
                </a:cubicBezTo>
                <a:cubicBezTo>
                  <a:pt x="23032" y="4737"/>
                  <a:pt x="21644" y="7688"/>
                  <a:pt x="19677" y="11332"/>
                </a:cubicBezTo>
                <a:cubicBezTo>
                  <a:pt x="17710" y="14976"/>
                  <a:pt x="16438" y="17984"/>
                  <a:pt x="12562" y="18967"/>
                </a:cubicBezTo>
                <a:lnTo>
                  <a:pt x="11868" y="18967"/>
                </a:lnTo>
                <a:cubicBezTo>
                  <a:pt x="11469" y="26557"/>
                  <a:pt x="9288" y="33949"/>
                  <a:pt x="5505" y="40543"/>
                </a:cubicBezTo>
                <a:cubicBezTo>
                  <a:pt x="-3114" y="53558"/>
                  <a:pt x="9959" y="72704"/>
                  <a:pt x="15454" y="77853"/>
                </a:cubicBezTo>
                <a:cubicBezTo>
                  <a:pt x="16785" y="79160"/>
                  <a:pt x="17519" y="80959"/>
                  <a:pt x="17479" y="82827"/>
                </a:cubicBezTo>
                <a:cubicBezTo>
                  <a:pt x="20487" y="82827"/>
                  <a:pt x="23263" y="83232"/>
                  <a:pt x="25693" y="83232"/>
                </a:cubicBezTo>
                <a:cubicBezTo>
                  <a:pt x="34294" y="83383"/>
                  <a:pt x="42803" y="81393"/>
                  <a:pt x="50450" y="77448"/>
                </a:cubicBezTo>
                <a:cubicBezTo>
                  <a:pt x="52029" y="76638"/>
                  <a:pt x="53771" y="76204"/>
                  <a:pt x="55540" y="76175"/>
                </a:cubicBezTo>
                <a:cubicBezTo>
                  <a:pt x="59393" y="76644"/>
                  <a:pt x="62852" y="78749"/>
                  <a:pt x="65027" y="81960"/>
                </a:cubicBezTo>
                <a:cubicBezTo>
                  <a:pt x="67965" y="85760"/>
                  <a:pt x="72292" y="88236"/>
                  <a:pt x="77059" y="88843"/>
                </a:cubicBezTo>
                <a:cubicBezTo>
                  <a:pt x="82259" y="88727"/>
                  <a:pt x="87442" y="89491"/>
                  <a:pt x="92387" y="91099"/>
                </a:cubicBezTo>
                <a:cubicBezTo>
                  <a:pt x="92711" y="91296"/>
                  <a:pt x="92908" y="91649"/>
                  <a:pt x="92908" y="92025"/>
                </a:cubicBezTo>
                <a:cubicBezTo>
                  <a:pt x="92908" y="92401"/>
                  <a:pt x="92711" y="92753"/>
                  <a:pt x="92387" y="92950"/>
                </a:cubicBezTo>
                <a:cubicBezTo>
                  <a:pt x="87204" y="96230"/>
                  <a:pt x="81165" y="97902"/>
                  <a:pt x="75034" y="97751"/>
                </a:cubicBezTo>
                <a:cubicBezTo>
                  <a:pt x="71430" y="96982"/>
                  <a:pt x="67983" y="95594"/>
                  <a:pt x="64853" y="93644"/>
                </a:cubicBezTo>
                <a:cubicBezTo>
                  <a:pt x="59995" y="91041"/>
                  <a:pt x="55598" y="88843"/>
                  <a:pt x="52937" y="91331"/>
                </a:cubicBezTo>
                <a:cubicBezTo>
                  <a:pt x="46748" y="97115"/>
                  <a:pt x="28469" y="99833"/>
                  <a:pt x="21065" y="100238"/>
                </a:cubicBezTo>
                <a:cubicBezTo>
                  <a:pt x="19908" y="100238"/>
                  <a:pt x="17248" y="100933"/>
                  <a:pt x="14008" y="101685"/>
                </a:cubicBezTo>
                <a:cubicBezTo>
                  <a:pt x="13308" y="105641"/>
                  <a:pt x="14390" y="109702"/>
                  <a:pt x="16958" y="112791"/>
                </a:cubicBezTo>
                <a:lnTo>
                  <a:pt x="19330" y="115567"/>
                </a:lnTo>
                <a:cubicBezTo>
                  <a:pt x="21221" y="115070"/>
                  <a:pt x="23159" y="114775"/>
                  <a:pt x="25114" y="114700"/>
                </a:cubicBezTo>
                <a:cubicBezTo>
                  <a:pt x="27561" y="114480"/>
                  <a:pt x="29875" y="115822"/>
                  <a:pt x="30899" y="118055"/>
                </a:cubicBezTo>
                <a:cubicBezTo>
                  <a:pt x="31419" y="119038"/>
                  <a:pt x="31651" y="119385"/>
                  <a:pt x="32461" y="119501"/>
                </a:cubicBezTo>
                <a:lnTo>
                  <a:pt x="32923" y="119501"/>
                </a:lnTo>
                <a:cubicBezTo>
                  <a:pt x="37962" y="118517"/>
                  <a:pt x="42757" y="116551"/>
                  <a:pt x="47037" y="113716"/>
                </a:cubicBezTo>
                <a:cubicBezTo>
                  <a:pt x="47228" y="113658"/>
                  <a:pt x="47425" y="113658"/>
                  <a:pt x="47616" y="113716"/>
                </a:cubicBezTo>
                <a:cubicBezTo>
                  <a:pt x="47616" y="113716"/>
                  <a:pt x="81859" y="111171"/>
                  <a:pt x="87413" y="110650"/>
                </a:cubicBezTo>
                <a:cubicBezTo>
                  <a:pt x="89414" y="110604"/>
                  <a:pt x="91398" y="111038"/>
                  <a:pt x="93197" y="111923"/>
                </a:cubicBezTo>
                <a:lnTo>
                  <a:pt x="93197" y="111171"/>
                </a:lnTo>
                <a:cubicBezTo>
                  <a:pt x="93168" y="110564"/>
                  <a:pt x="93631" y="110049"/>
                  <a:pt x="94238" y="110014"/>
                </a:cubicBezTo>
                <a:cubicBezTo>
                  <a:pt x="94256" y="110014"/>
                  <a:pt x="94279" y="110014"/>
                  <a:pt x="94296" y="11001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2" name="Forma libre: forma 291">
            <a:extLst>
              <a:ext uri="{FF2B5EF4-FFF2-40B4-BE49-F238E27FC236}">
                <a16:creationId xmlns:a16="http://schemas.microsoft.com/office/drawing/2014/main" id="{4E95D827-86B5-0968-4276-6DD2F55D18A0}"/>
              </a:ext>
            </a:extLst>
          </p:cNvPr>
          <p:cNvSpPr/>
          <p:nvPr/>
        </p:nvSpPr>
        <p:spPr>
          <a:xfrm>
            <a:off x="5735657" y="4130736"/>
            <a:ext cx="78003" cy="47184"/>
          </a:xfrm>
          <a:custGeom>
            <a:avLst/>
            <a:gdLst>
              <a:gd name="connsiteX0" fmla="*/ 37388 w 78003"/>
              <a:gd name="connsiteY0" fmla="*/ 46727 h 47184"/>
              <a:gd name="connsiteX1" fmla="*/ 36694 w 78003"/>
              <a:gd name="connsiteY1" fmla="*/ 46727 h 47184"/>
              <a:gd name="connsiteX2" fmla="*/ 36289 w 78003"/>
              <a:gd name="connsiteY2" fmla="*/ 46380 h 47184"/>
              <a:gd name="connsiteX3" fmla="*/ 33686 w 78003"/>
              <a:gd name="connsiteY3" fmla="*/ 44529 h 47184"/>
              <a:gd name="connsiteX4" fmla="*/ 28306 w 78003"/>
              <a:gd name="connsiteY4" fmla="*/ 32035 h 47184"/>
              <a:gd name="connsiteX5" fmla="*/ 22522 w 78003"/>
              <a:gd name="connsiteY5" fmla="*/ 23994 h 47184"/>
              <a:gd name="connsiteX6" fmla="*/ 3144 w 78003"/>
              <a:gd name="connsiteY6" fmla="*/ 10806 h 47184"/>
              <a:gd name="connsiteX7" fmla="*/ 20 w 78003"/>
              <a:gd name="connsiteY7" fmla="*/ 6757 h 47184"/>
              <a:gd name="connsiteX8" fmla="*/ 20 w 78003"/>
              <a:gd name="connsiteY8" fmla="*/ 5716 h 47184"/>
              <a:gd name="connsiteX9" fmla="*/ 830 w 78003"/>
              <a:gd name="connsiteY9" fmla="*/ 4964 h 47184"/>
              <a:gd name="connsiteX10" fmla="*/ 7483 w 78003"/>
              <a:gd name="connsiteY10" fmla="*/ 3922 h 47184"/>
              <a:gd name="connsiteX11" fmla="*/ 13267 w 78003"/>
              <a:gd name="connsiteY11" fmla="*/ 7277 h 47184"/>
              <a:gd name="connsiteX12" fmla="*/ 14829 w 78003"/>
              <a:gd name="connsiteY12" fmla="*/ 8724 h 47184"/>
              <a:gd name="connsiteX13" fmla="*/ 15291 w 78003"/>
              <a:gd name="connsiteY13" fmla="*/ 8724 h 47184"/>
              <a:gd name="connsiteX14" fmla="*/ 29405 w 78003"/>
              <a:gd name="connsiteY14" fmla="*/ 2939 h 47184"/>
              <a:gd name="connsiteX15" fmla="*/ 29984 w 78003"/>
              <a:gd name="connsiteY15" fmla="*/ 2939 h 47184"/>
              <a:gd name="connsiteX16" fmla="*/ 69781 w 78003"/>
              <a:gd name="connsiteY16" fmla="*/ -127 h 47184"/>
              <a:gd name="connsiteX17" fmla="*/ 77243 w 78003"/>
              <a:gd name="connsiteY17" fmla="*/ 1840 h 47184"/>
              <a:gd name="connsiteX18" fmla="*/ 77879 w 78003"/>
              <a:gd name="connsiteY18" fmla="*/ 2997 h 47184"/>
              <a:gd name="connsiteX19" fmla="*/ 71169 w 78003"/>
              <a:gd name="connsiteY19" fmla="*/ 14103 h 47184"/>
              <a:gd name="connsiteX20" fmla="*/ 69492 w 78003"/>
              <a:gd name="connsiteY20" fmla="*/ 15491 h 47184"/>
              <a:gd name="connsiteX21" fmla="*/ 71921 w 78003"/>
              <a:gd name="connsiteY21" fmla="*/ 21796 h 47184"/>
              <a:gd name="connsiteX22" fmla="*/ 73772 w 78003"/>
              <a:gd name="connsiteY22" fmla="*/ 25787 h 47184"/>
              <a:gd name="connsiteX23" fmla="*/ 65385 w 78003"/>
              <a:gd name="connsiteY23" fmla="*/ 31572 h 47184"/>
              <a:gd name="connsiteX24" fmla="*/ 62493 w 78003"/>
              <a:gd name="connsiteY24" fmla="*/ 30993 h 47184"/>
              <a:gd name="connsiteX25" fmla="*/ 61798 w 78003"/>
              <a:gd name="connsiteY25" fmla="*/ 30993 h 47184"/>
              <a:gd name="connsiteX26" fmla="*/ 46238 w 78003"/>
              <a:gd name="connsiteY26" fmla="*/ 40480 h 47184"/>
              <a:gd name="connsiteX27" fmla="*/ 41148 w 78003"/>
              <a:gd name="connsiteY27" fmla="*/ 44298 h 47184"/>
              <a:gd name="connsiteX28" fmla="*/ 38429 w 78003"/>
              <a:gd name="connsiteY28" fmla="*/ 47016 h 47184"/>
              <a:gd name="connsiteX29" fmla="*/ 37388 w 78003"/>
              <a:gd name="connsiteY29" fmla="*/ 46727 h 47184"/>
              <a:gd name="connsiteX30" fmla="*/ 2681 w 78003"/>
              <a:gd name="connsiteY30" fmla="*/ 6236 h 47184"/>
              <a:gd name="connsiteX31" fmla="*/ 4706 w 78003"/>
              <a:gd name="connsiteY31" fmla="*/ 8955 h 47184"/>
              <a:gd name="connsiteX32" fmla="*/ 22869 w 78003"/>
              <a:gd name="connsiteY32" fmla="*/ 21334 h 47184"/>
              <a:gd name="connsiteX33" fmla="*/ 30505 w 78003"/>
              <a:gd name="connsiteY33" fmla="*/ 31977 h 47184"/>
              <a:gd name="connsiteX34" fmla="*/ 34901 w 78003"/>
              <a:gd name="connsiteY34" fmla="*/ 42099 h 47184"/>
              <a:gd name="connsiteX35" fmla="*/ 37272 w 78003"/>
              <a:gd name="connsiteY35" fmla="*/ 43777 h 47184"/>
              <a:gd name="connsiteX36" fmla="*/ 39644 w 78003"/>
              <a:gd name="connsiteY36" fmla="*/ 41521 h 47184"/>
              <a:gd name="connsiteX37" fmla="*/ 44676 w 78003"/>
              <a:gd name="connsiteY37" fmla="*/ 37704 h 47184"/>
              <a:gd name="connsiteX38" fmla="*/ 61625 w 78003"/>
              <a:gd name="connsiteY38" fmla="*/ 27754 h 47184"/>
              <a:gd name="connsiteX39" fmla="*/ 63187 w 78003"/>
              <a:gd name="connsiteY39" fmla="*/ 27754 h 47184"/>
              <a:gd name="connsiteX40" fmla="*/ 65211 w 78003"/>
              <a:gd name="connsiteY40" fmla="*/ 28159 h 47184"/>
              <a:gd name="connsiteX41" fmla="*/ 70996 w 78003"/>
              <a:gd name="connsiteY41" fmla="*/ 24573 h 47184"/>
              <a:gd name="connsiteX42" fmla="*/ 69549 w 78003"/>
              <a:gd name="connsiteY42" fmla="*/ 21739 h 47184"/>
              <a:gd name="connsiteX43" fmla="*/ 66889 w 78003"/>
              <a:gd name="connsiteY43" fmla="*/ 13582 h 47184"/>
              <a:gd name="connsiteX44" fmla="*/ 69954 w 78003"/>
              <a:gd name="connsiteY44" fmla="*/ 10806 h 47184"/>
              <a:gd name="connsiteX45" fmla="*/ 75103 w 78003"/>
              <a:gd name="connsiteY45" fmla="*/ 2360 h 47184"/>
              <a:gd name="connsiteX46" fmla="*/ 69318 w 78003"/>
              <a:gd name="connsiteY46" fmla="*/ 914 h 47184"/>
              <a:gd name="connsiteX47" fmla="*/ 29753 w 78003"/>
              <a:gd name="connsiteY47" fmla="*/ 3922 h 47184"/>
              <a:gd name="connsiteX48" fmla="*/ 14655 w 78003"/>
              <a:gd name="connsiteY48" fmla="*/ 10170 h 47184"/>
              <a:gd name="connsiteX49" fmla="*/ 13961 w 78003"/>
              <a:gd name="connsiteY49" fmla="*/ 10170 h 47184"/>
              <a:gd name="connsiteX50" fmla="*/ 10664 w 78003"/>
              <a:gd name="connsiteY50" fmla="*/ 7567 h 47184"/>
              <a:gd name="connsiteX51" fmla="*/ 6615 w 78003"/>
              <a:gd name="connsiteY51" fmla="*/ 5368 h 47184"/>
              <a:gd name="connsiteX52" fmla="*/ 2681 w 78003"/>
              <a:gd name="connsiteY52" fmla="*/ 6525 h 4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8003" h="47184">
                <a:moveTo>
                  <a:pt x="37388" y="46727"/>
                </a:moveTo>
                <a:cubicBezTo>
                  <a:pt x="37157" y="46779"/>
                  <a:pt x="36925" y="46779"/>
                  <a:pt x="36694" y="46727"/>
                </a:cubicBezTo>
                <a:lnTo>
                  <a:pt x="36289" y="46380"/>
                </a:lnTo>
                <a:cubicBezTo>
                  <a:pt x="35468" y="45703"/>
                  <a:pt x="34594" y="45085"/>
                  <a:pt x="33686" y="44529"/>
                </a:cubicBezTo>
                <a:cubicBezTo>
                  <a:pt x="28966" y="42348"/>
                  <a:pt x="26646" y="36963"/>
                  <a:pt x="28306" y="32035"/>
                </a:cubicBezTo>
                <a:cubicBezTo>
                  <a:pt x="29001" y="28448"/>
                  <a:pt x="29405" y="26250"/>
                  <a:pt x="22522" y="23994"/>
                </a:cubicBezTo>
                <a:cubicBezTo>
                  <a:pt x="14493" y="22531"/>
                  <a:pt x="7454" y="17741"/>
                  <a:pt x="3144" y="10806"/>
                </a:cubicBezTo>
                <a:cubicBezTo>
                  <a:pt x="2219" y="9591"/>
                  <a:pt x="1235" y="8261"/>
                  <a:pt x="20" y="6757"/>
                </a:cubicBezTo>
                <a:cubicBezTo>
                  <a:pt x="-153" y="6433"/>
                  <a:pt x="-153" y="6040"/>
                  <a:pt x="20" y="5716"/>
                </a:cubicBezTo>
                <a:cubicBezTo>
                  <a:pt x="113" y="5322"/>
                  <a:pt x="431" y="5027"/>
                  <a:pt x="830" y="4964"/>
                </a:cubicBezTo>
                <a:cubicBezTo>
                  <a:pt x="3000" y="4350"/>
                  <a:pt x="5232" y="3998"/>
                  <a:pt x="7483" y="3922"/>
                </a:cubicBezTo>
                <a:cubicBezTo>
                  <a:pt x="9929" y="3702"/>
                  <a:pt x="12243" y="5044"/>
                  <a:pt x="13267" y="7277"/>
                </a:cubicBezTo>
                <a:cubicBezTo>
                  <a:pt x="13787" y="8261"/>
                  <a:pt x="14019" y="8608"/>
                  <a:pt x="14829" y="8724"/>
                </a:cubicBezTo>
                <a:lnTo>
                  <a:pt x="15291" y="8724"/>
                </a:lnTo>
                <a:cubicBezTo>
                  <a:pt x="20330" y="7740"/>
                  <a:pt x="25125" y="5773"/>
                  <a:pt x="29405" y="2939"/>
                </a:cubicBezTo>
                <a:cubicBezTo>
                  <a:pt x="29596" y="2881"/>
                  <a:pt x="29793" y="2881"/>
                  <a:pt x="29984" y="2939"/>
                </a:cubicBezTo>
                <a:cubicBezTo>
                  <a:pt x="29984" y="2939"/>
                  <a:pt x="64228" y="394"/>
                  <a:pt x="69781" y="-127"/>
                </a:cubicBezTo>
                <a:cubicBezTo>
                  <a:pt x="72401" y="-173"/>
                  <a:pt x="74987" y="509"/>
                  <a:pt x="77243" y="1840"/>
                </a:cubicBezTo>
                <a:cubicBezTo>
                  <a:pt x="77677" y="2054"/>
                  <a:pt x="77931" y="2517"/>
                  <a:pt x="77879" y="2997"/>
                </a:cubicBezTo>
                <a:cubicBezTo>
                  <a:pt x="78122" y="7723"/>
                  <a:pt x="75467" y="12125"/>
                  <a:pt x="71169" y="14103"/>
                </a:cubicBezTo>
                <a:cubicBezTo>
                  <a:pt x="70429" y="14282"/>
                  <a:pt x="69810" y="14797"/>
                  <a:pt x="69492" y="15491"/>
                </a:cubicBezTo>
                <a:cubicBezTo>
                  <a:pt x="68913" y="17053"/>
                  <a:pt x="70648" y="19772"/>
                  <a:pt x="71921" y="21796"/>
                </a:cubicBezTo>
                <a:cubicBezTo>
                  <a:pt x="72858" y="22953"/>
                  <a:pt x="73494" y="24324"/>
                  <a:pt x="73772" y="25787"/>
                </a:cubicBezTo>
                <a:cubicBezTo>
                  <a:pt x="73772" y="28564"/>
                  <a:pt x="69376" y="31572"/>
                  <a:pt x="65385" y="31572"/>
                </a:cubicBezTo>
                <a:cubicBezTo>
                  <a:pt x="64390" y="31589"/>
                  <a:pt x="63401" y="31393"/>
                  <a:pt x="62493" y="30993"/>
                </a:cubicBezTo>
                <a:lnTo>
                  <a:pt x="61798" y="30993"/>
                </a:lnTo>
                <a:cubicBezTo>
                  <a:pt x="58501" y="30993"/>
                  <a:pt x="51386" y="36778"/>
                  <a:pt x="46238" y="40480"/>
                </a:cubicBezTo>
                <a:cubicBezTo>
                  <a:pt x="44329" y="41926"/>
                  <a:pt x="42594" y="43314"/>
                  <a:pt x="41148" y="44298"/>
                </a:cubicBezTo>
                <a:cubicBezTo>
                  <a:pt x="40182" y="45142"/>
                  <a:pt x="39274" y="46050"/>
                  <a:pt x="38429" y="47016"/>
                </a:cubicBezTo>
                <a:cubicBezTo>
                  <a:pt x="38053" y="47121"/>
                  <a:pt x="37654" y="47010"/>
                  <a:pt x="37388" y="46727"/>
                </a:cubicBezTo>
                <a:close/>
                <a:moveTo>
                  <a:pt x="2681" y="6236"/>
                </a:moveTo>
                <a:cubicBezTo>
                  <a:pt x="3433" y="7162"/>
                  <a:pt x="4070" y="8087"/>
                  <a:pt x="4706" y="8955"/>
                </a:cubicBezTo>
                <a:cubicBezTo>
                  <a:pt x="8720" y="15480"/>
                  <a:pt x="15326" y="19980"/>
                  <a:pt x="22869" y="21334"/>
                </a:cubicBezTo>
                <a:cubicBezTo>
                  <a:pt x="32009" y="23879"/>
                  <a:pt x="31257" y="28159"/>
                  <a:pt x="30505" y="31977"/>
                </a:cubicBezTo>
                <a:cubicBezTo>
                  <a:pt x="29058" y="35985"/>
                  <a:pt x="30985" y="40422"/>
                  <a:pt x="34901" y="42099"/>
                </a:cubicBezTo>
                <a:cubicBezTo>
                  <a:pt x="35722" y="42615"/>
                  <a:pt x="36515" y="43170"/>
                  <a:pt x="37272" y="43777"/>
                </a:cubicBezTo>
                <a:cubicBezTo>
                  <a:pt x="38001" y="42967"/>
                  <a:pt x="38794" y="42210"/>
                  <a:pt x="39644" y="41521"/>
                </a:cubicBezTo>
                <a:lnTo>
                  <a:pt x="44676" y="37704"/>
                </a:lnTo>
                <a:cubicBezTo>
                  <a:pt x="50461" y="33018"/>
                  <a:pt x="57518" y="27754"/>
                  <a:pt x="61625" y="27754"/>
                </a:cubicBezTo>
                <a:cubicBezTo>
                  <a:pt x="62140" y="27662"/>
                  <a:pt x="62672" y="27662"/>
                  <a:pt x="63187" y="27754"/>
                </a:cubicBezTo>
                <a:cubicBezTo>
                  <a:pt x="63823" y="28038"/>
                  <a:pt x="64517" y="28176"/>
                  <a:pt x="65211" y="28159"/>
                </a:cubicBezTo>
                <a:cubicBezTo>
                  <a:pt x="68335" y="28159"/>
                  <a:pt x="70996" y="25672"/>
                  <a:pt x="70996" y="24573"/>
                </a:cubicBezTo>
                <a:cubicBezTo>
                  <a:pt x="70631" y="23572"/>
                  <a:pt x="70145" y="22618"/>
                  <a:pt x="69549" y="21739"/>
                </a:cubicBezTo>
                <a:cubicBezTo>
                  <a:pt x="67930" y="19251"/>
                  <a:pt x="65963" y="15954"/>
                  <a:pt x="66889" y="13582"/>
                </a:cubicBezTo>
                <a:cubicBezTo>
                  <a:pt x="67404" y="12217"/>
                  <a:pt x="68543" y="11182"/>
                  <a:pt x="69954" y="10806"/>
                </a:cubicBezTo>
                <a:cubicBezTo>
                  <a:pt x="73107" y="9169"/>
                  <a:pt x="75091" y="5912"/>
                  <a:pt x="75103" y="2360"/>
                </a:cubicBezTo>
                <a:cubicBezTo>
                  <a:pt x="73315" y="1429"/>
                  <a:pt x="71337" y="932"/>
                  <a:pt x="69318" y="914"/>
                </a:cubicBezTo>
                <a:cubicBezTo>
                  <a:pt x="64054" y="1377"/>
                  <a:pt x="33108" y="3691"/>
                  <a:pt x="29753" y="3922"/>
                </a:cubicBezTo>
                <a:cubicBezTo>
                  <a:pt x="25229" y="7069"/>
                  <a:pt x="20081" y="9198"/>
                  <a:pt x="14655" y="10170"/>
                </a:cubicBezTo>
                <a:lnTo>
                  <a:pt x="13961" y="10170"/>
                </a:lnTo>
                <a:cubicBezTo>
                  <a:pt x="12469" y="9973"/>
                  <a:pt x="11202" y="8972"/>
                  <a:pt x="10664" y="7567"/>
                </a:cubicBezTo>
                <a:cubicBezTo>
                  <a:pt x="9970" y="6352"/>
                  <a:pt x="9449" y="5368"/>
                  <a:pt x="6615" y="5368"/>
                </a:cubicBezTo>
                <a:cubicBezTo>
                  <a:pt x="5267" y="5617"/>
                  <a:pt x="3948" y="6005"/>
                  <a:pt x="2681" y="652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3" name="Forma libre: forma 292">
            <a:extLst>
              <a:ext uri="{FF2B5EF4-FFF2-40B4-BE49-F238E27FC236}">
                <a16:creationId xmlns:a16="http://schemas.microsoft.com/office/drawing/2014/main" id="{97689E42-E23D-DE92-7057-CC1C00297012}"/>
              </a:ext>
            </a:extLst>
          </p:cNvPr>
          <p:cNvSpPr/>
          <p:nvPr/>
        </p:nvSpPr>
        <p:spPr>
          <a:xfrm>
            <a:off x="6580718" y="4173425"/>
            <a:ext cx="337940" cy="236402"/>
          </a:xfrm>
          <a:custGeom>
            <a:avLst/>
            <a:gdLst>
              <a:gd name="connsiteX0" fmla="*/ 45009 w 337940"/>
              <a:gd name="connsiteY0" fmla="*/ 235936 h 236402"/>
              <a:gd name="connsiteX1" fmla="*/ 44489 w 337940"/>
              <a:gd name="connsiteY1" fmla="*/ 235936 h 236402"/>
              <a:gd name="connsiteX2" fmla="*/ 39225 w 337940"/>
              <a:gd name="connsiteY2" fmla="*/ 230672 h 236402"/>
              <a:gd name="connsiteX3" fmla="*/ 30375 w 337940"/>
              <a:gd name="connsiteY3" fmla="*/ 221591 h 236402"/>
              <a:gd name="connsiteX4" fmla="*/ 21872 w 337940"/>
              <a:gd name="connsiteY4" fmla="*/ 213492 h 236402"/>
              <a:gd name="connsiteX5" fmla="*/ 15682 w 337940"/>
              <a:gd name="connsiteY5" fmla="*/ 204237 h 236402"/>
              <a:gd name="connsiteX6" fmla="*/ 15682 w 337940"/>
              <a:gd name="connsiteY6" fmla="*/ 203601 h 236402"/>
              <a:gd name="connsiteX7" fmla="*/ 11691 w 337940"/>
              <a:gd name="connsiteY7" fmla="*/ 188041 h 236402"/>
              <a:gd name="connsiteX8" fmla="*/ 3535 w 337940"/>
              <a:gd name="connsiteY8" fmla="*/ 165540 h 236402"/>
              <a:gd name="connsiteX9" fmla="*/ 1337 w 337940"/>
              <a:gd name="connsiteY9" fmla="*/ 151483 h 236402"/>
              <a:gd name="connsiteX10" fmla="*/ -110 w 337940"/>
              <a:gd name="connsiteY10" fmla="*/ 143154 h 236402"/>
              <a:gd name="connsiteX11" fmla="*/ 5328 w 337940"/>
              <a:gd name="connsiteY11" fmla="*/ 131296 h 236402"/>
              <a:gd name="connsiteX12" fmla="*/ 13310 w 337940"/>
              <a:gd name="connsiteY12" fmla="*/ 115562 h 236402"/>
              <a:gd name="connsiteX13" fmla="*/ 25920 w 337940"/>
              <a:gd name="connsiteY13" fmla="*/ 99366 h 236402"/>
              <a:gd name="connsiteX14" fmla="*/ 27367 w 337940"/>
              <a:gd name="connsiteY14" fmla="*/ 98035 h 236402"/>
              <a:gd name="connsiteX15" fmla="*/ 28292 w 337940"/>
              <a:gd name="connsiteY15" fmla="*/ 98035 h 236402"/>
              <a:gd name="connsiteX16" fmla="*/ 29102 w 337940"/>
              <a:gd name="connsiteY16" fmla="*/ 98556 h 236402"/>
              <a:gd name="connsiteX17" fmla="*/ 31184 w 337940"/>
              <a:gd name="connsiteY17" fmla="*/ 101101 h 236402"/>
              <a:gd name="connsiteX18" fmla="*/ 34366 w 337940"/>
              <a:gd name="connsiteY18" fmla="*/ 102142 h 236402"/>
              <a:gd name="connsiteX19" fmla="*/ 44951 w 337940"/>
              <a:gd name="connsiteY19" fmla="*/ 94969 h 236402"/>
              <a:gd name="connsiteX20" fmla="*/ 49695 w 337940"/>
              <a:gd name="connsiteY20" fmla="*/ 92019 h 236402"/>
              <a:gd name="connsiteX21" fmla="*/ 55479 w 337940"/>
              <a:gd name="connsiteY21" fmla="*/ 94449 h 236402"/>
              <a:gd name="connsiteX22" fmla="*/ 60049 w 337940"/>
              <a:gd name="connsiteY22" fmla="*/ 96473 h 236402"/>
              <a:gd name="connsiteX23" fmla="*/ 62710 w 337940"/>
              <a:gd name="connsiteY23" fmla="*/ 94912 h 236402"/>
              <a:gd name="connsiteX24" fmla="*/ 84343 w 337940"/>
              <a:gd name="connsiteY24" fmla="*/ 87392 h 236402"/>
              <a:gd name="connsiteX25" fmla="*/ 93020 w 337940"/>
              <a:gd name="connsiteY25" fmla="*/ 85714 h 236402"/>
              <a:gd name="connsiteX26" fmla="*/ 97821 w 337940"/>
              <a:gd name="connsiteY26" fmla="*/ 83343 h 236402"/>
              <a:gd name="connsiteX27" fmla="*/ 116968 w 337940"/>
              <a:gd name="connsiteY27" fmla="*/ 72931 h 236402"/>
              <a:gd name="connsiteX28" fmla="*/ 116968 w 337940"/>
              <a:gd name="connsiteY28" fmla="*/ 67551 h 236402"/>
              <a:gd name="connsiteX29" fmla="*/ 118934 w 337940"/>
              <a:gd name="connsiteY29" fmla="*/ 58238 h 236402"/>
              <a:gd name="connsiteX30" fmla="*/ 128826 w 337940"/>
              <a:gd name="connsiteY30" fmla="*/ 56734 h 236402"/>
              <a:gd name="connsiteX31" fmla="*/ 132643 w 337940"/>
              <a:gd name="connsiteY31" fmla="*/ 56734 h 236402"/>
              <a:gd name="connsiteX32" fmla="*/ 157343 w 337940"/>
              <a:gd name="connsiteY32" fmla="*/ 50429 h 236402"/>
              <a:gd name="connsiteX33" fmla="*/ 180481 w 337940"/>
              <a:gd name="connsiteY33" fmla="*/ 26366 h 236402"/>
              <a:gd name="connsiteX34" fmla="*/ 184183 w 337940"/>
              <a:gd name="connsiteY34" fmla="*/ 22838 h 236402"/>
              <a:gd name="connsiteX35" fmla="*/ 186033 w 337940"/>
              <a:gd name="connsiteY35" fmla="*/ 18210 h 236402"/>
              <a:gd name="connsiteX36" fmla="*/ 189793 w 337940"/>
              <a:gd name="connsiteY36" fmla="*/ 9880 h 236402"/>
              <a:gd name="connsiteX37" fmla="*/ 209518 w 337940"/>
              <a:gd name="connsiteY37" fmla="*/ -127 h 236402"/>
              <a:gd name="connsiteX38" fmla="*/ 213741 w 337940"/>
              <a:gd name="connsiteY38" fmla="*/ 857 h 236402"/>
              <a:gd name="connsiteX39" fmla="*/ 218021 w 337940"/>
              <a:gd name="connsiteY39" fmla="*/ 1782 h 236402"/>
              <a:gd name="connsiteX40" fmla="*/ 218831 w 337940"/>
              <a:gd name="connsiteY40" fmla="*/ 2187 h 236402"/>
              <a:gd name="connsiteX41" fmla="*/ 238383 w 337940"/>
              <a:gd name="connsiteY41" fmla="*/ 28448 h 236402"/>
              <a:gd name="connsiteX42" fmla="*/ 240176 w 337940"/>
              <a:gd name="connsiteY42" fmla="*/ 32382 h 236402"/>
              <a:gd name="connsiteX43" fmla="*/ 244109 w 337940"/>
              <a:gd name="connsiteY43" fmla="*/ 48405 h 236402"/>
              <a:gd name="connsiteX44" fmla="*/ 239482 w 337940"/>
              <a:gd name="connsiteY44" fmla="*/ 53379 h 236402"/>
              <a:gd name="connsiteX45" fmla="*/ 234565 w 337940"/>
              <a:gd name="connsiteY45" fmla="*/ 58238 h 236402"/>
              <a:gd name="connsiteX46" fmla="*/ 236069 w 337940"/>
              <a:gd name="connsiteY46" fmla="*/ 61420 h 236402"/>
              <a:gd name="connsiteX47" fmla="*/ 247638 w 337940"/>
              <a:gd name="connsiteY47" fmla="*/ 63097 h 236402"/>
              <a:gd name="connsiteX48" fmla="*/ 248505 w 337940"/>
              <a:gd name="connsiteY48" fmla="*/ 63791 h 236402"/>
              <a:gd name="connsiteX49" fmla="*/ 251571 w 337940"/>
              <a:gd name="connsiteY49" fmla="*/ 71485 h 236402"/>
              <a:gd name="connsiteX50" fmla="*/ 273610 w 337940"/>
              <a:gd name="connsiteY50" fmla="*/ 81954 h 236402"/>
              <a:gd name="connsiteX51" fmla="*/ 279394 w 337940"/>
              <a:gd name="connsiteY51" fmla="*/ 88722 h 236402"/>
              <a:gd name="connsiteX52" fmla="*/ 285526 w 337940"/>
              <a:gd name="connsiteY52" fmla="*/ 99539 h 236402"/>
              <a:gd name="connsiteX53" fmla="*/ 292409 w 337940"/>
              <a:gd name="connsiteY53" fmla="*/ 106827 h 236402"/>
              <a:gd name="connsiteX54" fmla="*/ 301954 w 337940"/>
              <a:gd name="connsiteY54" fmla="*/ 113885 h 236402"/>
              <a:gd name="connsiteX55" fmla="*/ 312481 w 337940"/>
              <a:gd name="connsiteY55" fmla="*/ 133262 h 236402"/>
              <a:gd name="connsiteX56" fmla="*/ 330355 w 337940"/>
              <a:gd name="connsiteY56" fmla="*/ 145699 h 236402"/>
              <a:gd name="connsiteX57" fmla="*/ 330934 w 337940"/>
              <a:gd name="connsiteY57" fmla="*/ 146335 h 236402"/>
              <a:gd name="connsiteX58" fmla="*/ 337701 w 337940"/>
              <a:gd name="connsiteY58" fmla="*/ 163168 h 236402"/>
              <a:gd name="connsiteX59" fmla="*/ 337701 w 337940"/>
              <a:gd name="connsiteY59" fmla="*/ 164151 h 236402"/>
              <a:gd name="connsiteX60" fmla="*/ 336950 w 337940"/>
              <a:gd name="connsiteY60" fmla="*/ 164730 h 236402"/>
              <a:gd name="connsiteX61" fmla="*/ 316704 w 337940"/>
              <a:gd name="connsiteY61" fmla="*/ 168027 h 236402"/>
              <a:gd name="connsiteX62" fmla="*/ 316009 w 337940"/>
              <a:gd name="connsiteY62" fmla="*/ 168027 h 236402"/>
              <a:gd name="connsiteX63" fmla="*/ 293971 w 337940"/>
              <a:gd name="connsiteY63" fmla="*/ 161085 h 236402"/>
              <a:gd name="connsiteX64" fmla="*/ 287203 w 337940"/>
              <a:gd name="connsiteY64" fmla="*/ 164209 h 236402"/>
              <a:gd name="connsiteX65" fmla="*/ 279220 w 337940"/>
              <a:gd name="connsiteY65" fmla="*/ 170398 h 236402"/>
              <a:gd name="connsiteX66" fmla="*/ 273783 w 337940"/>
              <a:gd name="connsiteY66" fmla="*/ 169531 h 236402"/>
              <a:gd name="connsiteX67" fmla="*/ 264297 w 337940"/>
              <a:gd name="connsiteY67" fmla="*/ 168200 h 236402"/>
              <a:gd name="connsiteX68" fmla="*/ 236532 w 337940"/>
              <a:gd name="connsiteY68" fmla="*/ 176298 h 236402"/>
              <a:gd name="connsiteX69" fmla="*/ 236185 w 337940"/>
              <a:gd name="connsiteY69" fmla="*/ 176298 h 236402"/>
              <a:gd name="connsiteX70" fmla="*/ 223632 w 337940"/>
              <a:gd name="connsiteY70" fmla="*/ 176298 h 236402"/>
              <a:gd name="connsiteX71" fmla="*/ 214435 w 337940"/>
              <a:gd name="connsiteY71" fmla="*/ 176298 h 236402"/>
              <a:gd name="connsiteX72" fmla="*/ 206453 w 337940"/>
              <a:gd name="connsiteY72" fmla="*/ 194173 h 236402"/>
              <a:gd name="connsiteX73" fmla="*/ 205122 w 337940"/>
              <a:gd name="connsiteY73" fmla="*/ 195040 h 236402"/>
              <a:gd name="connsiteX74" fmla="*/ 153062 w 337940"/>
              <a:gd name="connsiteY74" fmla="*/ 184917 h 236402"/>
              <a:gd name="connsiteX75" fmla="*/ 152310 w 337940"/>
              <a:gd name="connsiteY75" fmla="*/ 184455 h 236402"/>
              <a:gd name="connsiteX76" fmla="*/ 131313 w 337940"/>
              <a:gd name="connsiteY76" fmla="*/ 169762 h 236402"/>
              <a:gd name="connsiteX77" fmla="*/ 103837 w 337940"/>
              <a:gd name="connsiteY77" fmla="*/ 190933 h 236402"/>
              <a:gd name="connsiteX78" fmla="*/ 103837 w 337940"/>
              <a:gd name="connsiteY78" fmla="*/ 209096 h 236402"/>
              <a:gd name="connsiteX79" fmla="*/ 103432 w 337940"/>
              <a:gd name="connsiteY79" fmla="*/ 209906 h 236402"/>
              <a:gd name="connsiteX80" fmla="*/ 102564 w 337940"/>
              <a:gd name="connsiteY80" fmla="*/ 209906 h 236402"/>
              <a:gd name="connsiteX81" fmla="*/ 79426 w 337940"/>
              <a:gd name="connsiteY81" fmla="*/ 206551 h 236402"/>
              <a:gd name="connsiteX82" fmla="*/ 67858 w 337940"/>
              <a:gd name="connsiteY82" fmla="*/ 209848 h 236402"/>
              <a:gd name="connsiteX83" fmla="*/ 53628 w 337940"/>
              <a:gd name="connsiteY83" fmla="*/ 213029 h 236402"/>
              <a:gd name="connsiteX84" fmla="*/ 48249 w 337940"/>
              <a:gd name="connsiteY84" fmla="*/ 233044 h 236402"/>
              <a:gd name="connsiteX85" fmla="*/ 46860 w 337940"/>
              <a:gd name="connsiteY85" fmla="*/ 235184 h 236402"/>
              <a:gd name="connsiteX86" fmla="*/ 46860 w 337940"/>
              <a:gd name="connsiteY86" fmla="*/ 235473 h 236402"/>
              <a:gd name="connsiteX87" fmla="*/ 45507 w 337940"/>
              <a:gd name="connsiteY87" fmla="*/ 236231 h 236402"/>
              <a:gd name="connsiteX88" fmla="*/ 45009 w 337940"/>
              <a:gd name="connsiteY88" fmla="*/ 235936 h 236402"/>
              <a:gd name="connsiteX89" fmla="*/ 17822 w 337940"/>
              <a:gd name="connsiteY89" fmla="*/ 203312 h 236402"/>
              <a:gd name="connsiteX90" fmla="*/ 23607 w 337940"/>
              <a:gd name="connsiteY90" fmla="*/ 211931 h 236402"/>
              <a:gd name="connsiteX91" fmla="*/ 31821 w 337940"/>
              <a:gd name="connsiteY91" fmla="*/ 219682 h 236402"/>
              <a:gd name="connsiteX92" fmla="*/ 41365 w 337940"/>
              <a:gd name="connsiteY92" fmla="*/ 229862 h 236402"/>
              <a:gd name="connsiteX93" fmla="*/ 44604 w 337940"/>
              <a:gd name="connsiteY93" fmla="*/ 233275 h 236402"/>
              <a:gd name="connsiteX94" fmla="*/ 45761 w 337940"/>
              <a:gd name="connsiteY94" fmla="*/ 231540 h 236402"/>
              <a:gd name="connsiteX95" fmla="*/ 50620 w 337940"/>
              <a:gd name="connsiteY95" fmla="*/ 212162 h 236402"/>
              <a:gd name="connsiteX96" fmla="*/ 51488 w 337940"/>
              <a:gd name="connsiteY96" fmla="*/ 210889 h 236402"/>
              <a:gd name="connsiteX97" fmla="*/ 66643 w 337940"/>
              <a:gd name="connsiteY97" fmla="*/ 207535 h 236402"/>
              <a:gd name="connsiteX98" fmla="*/ 78212 w 337940"/>
              <a:gd name="connsiteY98" fmla="*/ 204237 h 236402"/>
              <a:gd name="connsiteX99" fmla="*/ 78674 w 337940"/>
              <a:gd name="connsiteY99" fmla="*/ 204237 h 236402"/>
              <a:gd name="connsiteX100" fmla="*/ 101003 w 337940"/>
              <a:gd name="connsiteY100" fmla="*/ 207419 h 236402"/>
              <a:gd name="connsiteX101" fmla="*/ 101003 w 337940"/>
              <a:gd name="connsiteY101" fmla="*/ 190065 h 236402"/>
              <a:gd name="connsiteX102" fmla="*/ 101003 w 337940"/>
              <a:gd name="connsiteY102" fmla="*/ 189371 h 236402"/>
              <a:gd name="connsiteX103" fmla="*/ 130503 w 337940"/>
              <a:gd name="connsiteY103" fmla="*/ 167044 h 236402"/>
              <a:gd name="connsiteX104" fmla="*/ 153120 w 337940"/>
              <a:gd name="connsiteY104" fmla="*/ 182314 h 236402"/>
              <a:gd name="connsiteX105" fmla="*/ 203792 w 337940"/>
              <a:gd name="connsiteY105" fmla="*/ 192148 h 236402"/>
              <a:gd name="connsiteX106" fmla="*/ 212468 w 337940"/>
              <a:gd name="connsiteY106" fmla="*/ 173985 h 236402"/>
              <a:gd name="connsiteX107" fmla="*/ 223401 w 337940"/>
              <a:gd name="connsiteY107" fmla="*/ 173985 h 236402"/>
              <a:gd name="connsiteX108" fmla="*/ 234449 w 337940"/>
              <a:gd name="connsiteY108" fmla="*/ 173985 h 236402"/>
              <a:gd name="connsiteX109" fmla="*/ 234854 w 337940"/>
              <a:gd name="connsiteY109" fmla="*/ 173985 h 236402"/>
              <a:gd name="connsiteX110" fmla="*/ 263776 w 337940"/>
              <a:gd name="connsiteY110" fmla="*/ 165655 h 236402"/>
              <a:gd name="connsiteX111" fmla="*/ 273783 w 337940"/>
              <a:gd name="connsiteY111" fmla="*/ 167044 h 236402"/>
              <a:gd name="connsiteX112" fmla="*/ 278700 w 337940"/>
              <a:gd name="connsiteY112" fmla="*/ 167853 h 236402"/>
              <a:gd name="connsiteX113" fmla="*/ 284484 w 337940"/>
              <a:gd name="connsiteY113" fmla="*/ 162936 h 236402"/>
              <a:gd name="connsiteX114" fmla="*/ 293277 w 337940"/>
              <a:gd name="connsiteY114" fmla="*/ 158540 h 236402"/>
              <a:gd name="connsiteX115" fmla="*/ 316009 w 337940"/>
              <a:gd name="connsiteY115" fmla="*/ 165597 h 236402"/>
              <a:gd name="connsiteX116" fmla="*/ 334462 w 337940"/>
              <a:gd name="connsiteY116" fmla="*/ 162532 h 236402"/>
              <a:gd name="connsiteX117" fmla="*/ 328678 w 337940"/>
              <a:gd name="connsiteY117" fmla="*/ 147434 h 236402"/>
              <a:gd name="connsiteX118" fmla="*/ 309878 w 337940"/>
              <a:gd name="connsiteY118" fmla="*/ 133089 h 236402"/>
              <a:gd name="connsiteX119" fmla="*/ 300160 w 337940"/>
              <a:gd name="connsiteY119" fmla="*/ 115446 h 236402"/>
              <a:gd name="connsiteX120" fmla="*/ 290789 w 337940"/>
              <a:gd name="connsiteY120" fmla="*/ 108505 h 236402"/>
              <a:gd name="connsiteX121" fmla="*/ 282923 w 337940"/>
              <a:gd name="connsiteY121" fmla="*/ 99366 h 236402"/>
              <a:gd name="connsiteX122" fmla="*/ 277138 w 337940"/>
              <a:gd name="connsiteY122" fmla="*/ 90110 h 236402"/>
              <a:gd name="connsiteX123" fmla="*/ 271354 w 337940"/>
              <a:gd name="connsiteY123" fmla="*/ 83227 h 236402"/>
              <a:gd name="connsiteX124" fmla="*/ 250299 w 337940"/>
              <a:gd name="connsiteY124" fmla="*/ 73567 h 236402"/>
              <a:gd name="connsiteX125" fmla="*/ 249257 w 337940"/>
              <a:gd name="connsiteY125" fmla="*/ 72873 h 236402"/>
              <a:gd name="connsiteX126" fmla="*/ 246134 w 337940"/>
              <a:gd name="connsiteY126" fmla="*/ 65064 h 236402"/>
              <a:gd name="connsiteX127" fmla="*/ 234970 w 337940"/>
              <a:gd name="connsiteY127" fmla="*/ 63444 h 236402"/>
              <a:gd name="connsiteX128" fmla="*/ 234449 w 337940"/>
              <a:gd name="connsiteY128" fmla="*/ 63444 h 236402"/>
              <a:gd name="connsiteX129" fmla="*/ 231846 w 337940"/>
              <a:gd name="connsiteY129" fmla="*/ 58065 h 236402"/>
              <a:gd name="connsiteX130" fmla="*/ 238036 w 337940"/>
              <a:gd name="connsiteY130" fmla="*/ 51355 h 236402"/>
              <a:gd name="connsiteX131" fmla="*/ 241506 w 337940"/>
              <a:gd name="connsiteY131" fmla="*/ 47711 h 236402"/>
              <a:gd name="connsiteX132" fmla="*/ 237689 w 337940"/>
              <a:gd name="connsiteY132" fmla="*/ 33365 h 236402"/>
              <a:gd name="connsiteX133" fmla="*/ 235780 w 337940"/>
              <a:gd name="connsiteY133" fmla="*/ 29200 h 236402"/>
              <a:gd name="connsiteX134" fmla="*/ 216922 w 337940"/>
              <a:gd name="connsiteY134" fmla="*/ 3980 h 236402"/>
              <a:gd name="connsiteX135" fmla="*/ 212179 w 337940"/>
              <a:gd name="connsiteY135" fmla="*/ 2824 h 236402"/>
              <a:gd name="connsiteX136" fmla="*/ 209056 w 337940"/>
              <a:gd name="connsiteY136" fmla="*/ 2129 h 236402"/>
              <a:gd name="connsiteX137" fmla="*/ 190950 w 337940"/>
              <a:gd name="connsiteY137" fmla="*/ 11500 h 236402"/>
              <a:gd name="connsiteX138" fmla="*/ 187769 w 337940"/>
              <a:gd name="connsiteY138" fmla="*/ 18384 h 236402"/>
              <a:gd name="connsiteX139" fmla="*/ 185339 w 337940"/>
              <a:gd name="connsiteY139" fmla="*/ 24168 h 236402"/>
              <a:gd name="connsiteX140" fmla="*/ 181580 w 337940"/>
              <a:gd name="connsiteY140" fmla="*/ 27696 h 236402"/>
              <a:gd name="connsiteX141" fmla="*/ 158442 w 337940"/>
              <a:gd name="connsiteY141" fmla="*/ 51528 h 236402"/>
              <a:gd name="connsiteX142" fmla="*/ 136172 w 337940"/>
              <a:gd name="connsiteY142" fmla="*/ 58759 h 236402"/>
              <a:gd name="connsiteX143" fmla="*/ 128132 w 337940"/>
              <a:gd name="connsiteY143" fmla="*/ 58759 h 236402"/>
              <a:gd name="connsiteX144" fmla="*/ 119686 w 337940"/>
              <a:gd name="connsiteY144" fmla="*/ 59916 h 236402"/>
              <a:gd name="connsiteX145" fmla="*/ 118703 w 337940"/>
              <a:gd name="connsiteY145" fmla="*/ 66394 h 236402"/>
              <a:gd name="connsiteX146" fmla="*/ 118240 w 337940"/>
              <a:gd name="connsiteY146" fmla="*/ 74377 h 236402"/>
              <a:gd name="connsiteX147" fmla="*/ 98631 w 337940"/>
              <a:gd name="connsiteY147" fmla="*/ 85136 h 236402"/>
              <a:gd name="connsiteX148" fmla="*/ 93830 w 337940"/>
              <a:gd name="connsiteY148" fmla="*/ 87450 h 236402"/>
              <a:gd name="connsiteX149" fmla="*/ 84459 w 337940"/>
              <a:gd name="connsiteY149" fmla="*/ 89359 h 236402"/>
              <a:gd name="connsiteX150" fmla="*/ 64329 w 337940"/>
              <a:gd name="connsiteY150" fmla="*/ 96011 h 236402"/>
              <a:gd name="connsiteX151" fmla="*/ 59875 w 337940"/>
              <a:gd name="connsiteY151" fmla="*/ 98440 h 236402"/>
              <a:gd name="connsiteX152" fmla="*/ 54091 w 337940"/>
              <a:gd name="connsiteY152" fmla="*/ 96068 h 236402"/>
              <a:gd name="connsiteX153" fmla="*/ 49463 w 337940"/>
              <a:gd name="connsiteY153" fmla="*/ 93986 h 236402"/>
              <a:gd name="connsiteX154" fmla="*/ 46571 w 337940"/>
              <a:gd name="connsiteY154" fmla="*/ 95953 h 236402"/>
              <a:gd name="connsiteX155" fmla="*/ 34135 w 337940"/>
              <a:gd name="connsiteY155" fmla="*/ 104109 h 236402"/>
              <a:gd name="connsiteX156" fmla="*/ 29623 w 337940"/>
              <a:gd name="connsiteY156" fmla="*/ 102663 h 236402"/>
              <a:gd name="connsiteX157" fmla="*/ 27714 w 337940"/>
              <a:gd name="connsiteY157" fmla="*/ 100638 h 236402"/>
              <a:gd name="connsiteX158" fmla="*/ 27193 w 337940"/>
              <a:gd name="connsiteY158" fmla="*/ 101043 h 236402"/>
              <a:gd name="connsiteX159" fmla="*/ 15219 w 337940"/>
              <a:gd name="connsiteY159" fmla="*/ 116256 h 236402"/>
              <a:gd name="connsiteX160" fmla="*/ 7006 w 337940"/>
              <a:gd name="connsiteY160" fmla="*/ 132452 h 236402"/>
              <a:gd name="connsiteX161" fmla="*/ 1915 w 337940"/>
              <a:gd name="connsiteY161" fmla="*/ 143154 h 236402"/>
              <a:gd name="connsiteX162" fmla="*/ 3303 w 337940"/>
              <a:gd name="connsiteY162" fmla="*/ 150963 h 236402"/>
              <a:gd name="connsiteX163" fmla="*/ 5559 w 337940"/>
              <a:gd name="connsiteY163" fmla="*/ 165540 h 236402"/>
              <a:gd name="connsiteX164" fmla="*/ 13252 w 337940"/>
              <a:gd name="connsiteY164" fmla="*/ 186652 h 236402"/>
              <a:gd name="connsiteX165" fmla="*/ 17822 w 337940"/>
              <a:gd name="connsiteY165" fmla="*/ 203312 h 2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337940" h="236402">
                <a:moveTo>
                  <a:pt x="45009" y="235936"/>
                </a:moveTo>
                <a:cubicBezTo>
                  <a:pt x="44841" y="235994"/>
                  <a:pt x="44656" y="235994"/>
                  <a:pt x="44489" y="235936"/>
                </a:cubicBezTo>
                <a:cubicBezTo>
                  <a:pt x="42088" y="234976"/>
                  <a:pt x="40185" y="233073"/>
                  <a:pt x="39225" y="230672"/>
                </a:cubicBezTo>
                <a:cubicBezTo>
                  <a:pt x="38646" y="228590"/>
                  <a:pt x="34250" y="224888"/>
                  <a:pt x="30375" y="221591"/>
                </a:cubicBezTo>
                <a:cubicBezTo>
                  <a:pt x="27303" y="219155"/>
                  <a:pt x="24457" y="216442"/>
                  <a:pt x="21872" y="213492"/>
                </a:cubicBezTo>
                <a:cubicBezTo>
                  <a:pt x="19506" y="210617"/>
                  <a:pt x="17435" y="207517"/>
                  <a:pt x="15682" y="204237"/>
                </a:cubicBezTo>
                <a:cubicBezTo>
                  <a:pt x="15595" y="204035"/>
                  <a:pt x="15595" y="203803"/>
                  <a:pt x="15682" y="203601"/>
                </a:cubicBezTo>
                <a:cubicBezTo>
                  <a:pt x="16180" y="198112"/>
                  <a:pt x="14768" y="192616"/>
                  <a:pt x="11691" y="188041"/>
                </a:cubicBezTo>
                <a:cubicBezTo>
                  <a:pt x="6161" y="181881"/>
                  <a:pt x="3240" y="173811"/>
                  <a:pt x="3535" y="165540"/>
                </a:cubicBezTo>
                <a:cubicBezTo>
                  <a:pt x="3419" y="160779"/>
                  <a:pt x="2679" y="156053"/>
                  <a:pt x="1337" y="151483"/>
                </a:cubicBezTo>
                <a:cubicBezTo>
                  <a:pt x="544" y="148771"/>
                  <a:pt x="58" y="145976"/>
                  <a:pt x="-110" y="143154"/>
                </a:cubicBezTo>
                <a:cubicBezTo>
                  <a:pt x="776" y="138838"/>
                  <a:pt x="2638" y="134784"/>
                  <a:pt x="5328" y="131296"/>
                </a:cubicBezTo>
                <a:cubicBezTo>
                  <a:pt x="8590" y="126379"/>
                  <a:pt x="11269" y="121098"/>
                  <a:pt x="13310" y="115562"/>
                </a:cubicBezTo>
                <a:cubicBezTo>
                  <a:pt x="16076" y="109182"/>
                  <a:pt x="20414" y="103611"/>
                  <a:pt x="25920" y="99366"/>
                </a:cubicBezTo>
                <a:lnTo>
                  <a:pt x="27367" y="98035"/>
                </a:lnTo>
                <a:cubicBezTo>
                  <a:pt x="27662" y="97920"/>
                  <a:pt x="27997" y="97920"/>
                  <a:pt x="28292" y="98035"/>
                </a:cubicBezTo>
                <a:cubicBezTo>
                  <a:pt x="28622" y="98099"/>
                  <a:pt x="28911" y="98284"/>
                  <a:pt x="29102" y="98556"/>
                </a:cubicBezTo>
                <a:cubicBezTo>
                  <a:pt x="29623" y="99533"/>
                  <a:pt x="30328" y="100395"/>
                  <a:pt x="31184" y="101101"/>
                </a:cubicBezTo>
                <a:cubicBezTo>
                  <a:pt x="32092" y="101801"/>
                  <a:pt x="33215" y="102171"/>
                  <a:pt x="34366" y="102142"/>
                </a:cubicBezTo>
                <a:cubicBezTo>
                  <a:pt x="38826" y="101540"/>
                  <a:pt x="42742" y="98885"/>
                  <a:pt x="44951" y="94969"/>
                </a:cubicBezTo>
                <a:cubicBezTo>
                  <a:pt x="45923" y="93240"/>
                  <a:pt x="47711" y="92123"/>
                  <a:pt x="49695" y="92019"/>
                </a:cubicBezTo>
                <a:cubicBezTo>
                  <a:pt x="51812" y="92280"/>
                  <a:pt x="53813" y="93124"/>
                  <a:pt x="55479" y="94449"/>
                </a:cubicBezTo>
                <a:cubicBezTo>
                  <a:pt x="56815" y="95484"/>
                  <a:pt x="58383" y="96178"/>
                  <a:pt x="60049" y="96473"/>
                </a:cubicBezTo>
                <a:cubicBezTo>
                  <a:pt x="61142" y="96433"/>
                  <a:pt x="62143" y="95849"/>
                  <a:pt x="62710" y="94912"/>
                </a:cubicBezTo>
                <a:cubicBezTo>
                  <a:pt x="66701" y="89763"/>
                  <a:pt x="76477" y="88433"/>
                  <a:pt x="84343" y="87392"/>
                </a:cubicBezTo>
                <a:cubicBezTo>
                  <a:pt x="87293" y="87190"/>
                  <a:pt x="90209" y="86628"/>
                  <a:pt x="93020" y="85714"/>
                </a:cubicBezTo>
                <a:lnTo>
                  <a:pt x="97821" y="83343"/>
                </a:lnTo>
                <a:cubicBezTo>
                  <a:pt x="104502" y="80450"/>
                  <a:pt x="110911" y="76968"/>
                  <a:pt x="116968" y="72931"/>
                </a:cubicBezTo>
                <a:cubicBezTo>
                  <a:pt x="118414" y="71716"/>
                  <a:pt x="118009" y="70386"/>
                  <a:pt x="116968" y="67551"/>
                </a:cubicBezTo>
                <a:cubicBezTo>
                  <a:pt x="115926" y="64717"/>
                  <a:pt x="114133" y="60957"/>
                  <a:pt x="118934" y="58238"/>
                </a:cubicBezTo>
                <a:cubicBezTo>
                  <a:pt x="122075" y="56995"/>
                  <a:pt x="125459" y="56480"/>
                  <a:pt x="128826" y="56734"/>
                </a:cubicBezTo>
                <a:lnTo>
                  <a:pt x="132643" y="56734"/>
                </a:lnTo>
                <a:cubicBezTo>
                  <a:pt x="141841" y="56734"/>
                  <a:pt x="152195" y="56734"/>
                  <a:pt x="157343" y="50429"/>
                </a:cubicBezTo>
                <a:cubicBezTo>
                  <a:pt x="164515" y="41886"/>
                  <a:pt x="172209" y="33845"/>
                  <a:pt x="180481" y="26366"/>
                </a:cubicBezTo>
                <a:lnTo>
                  <a:pt x="184183" y="22838"/>
                </a:lnTo>
                <a:cubicBezTo>
                  <a:pt x="185397" y="21611"/>
                  <a:pt x="186091" y="19940"/>
                  <a:pt x="186033" y="18210"/>
                </a:cubicBezTo>
                <a:cubicBezTo>
                  <a:pt x="186149" y="15040"/>
                  <a:pt x="187479" y="12044"/>
                  <a:pt x="189793" y="9880"/>
                </a:cubicBezTo>
                <a:cubicBezTo>
                  <a:pt x="195057" y="4437"/>
                  <a:pt x="201998" y="915"/>
                  <a:pt x="209518" y="-127"/>
                </a:cubicBezTo>
                <a:cubicBezTo>
                  <a:pt x="210965" y="-161"/>
                  <a:pt x="212411" y="180"/>
                  <a:pt x="213741" y="857"/>
                </a:cubicBezTo>
                <a:cubicBezTo>
                  <a:pt x="215071" y="1482"/>
                  <a:pt x="216517" y="1800"/>
                  <a:pt x="218021" y="1782"/>
                </a:cubicBezTo>
                <a:cubicBezTo>
                  <a:pt x="218311" y="1805"/>
                  <a:pt x="218600" y="1950"/>
                  <a:pt x="218831" y="2187"/>
                </a:cubicBezTo>
                <a:cubicBezTo>
                  <a:pt x="226062" y="10366"/>
                  <a:pt x="232656" y="19153"/>
                  <a:pt x="238383" y="28448"/>
                </a:cubicBezTo>
                <a:cubicBezTo>
                  <a:pt x="238903" y="29802"/>
                  <a:pt x="239482" y="31115"/>
                  <a:pt x="240176" y="32382"/>
                </a:cubicBezTo>
                <a:cubicBezTo>
                  <a:pt x="243357" y="37079"/>
                  <a:pt x="244745" y="42765"/>
                  <a:pt x="244109" y="48405"/>
                </a:cubicBezTo>
                <a:cubicBezTo>
                  <a:pt x="243299" y="50626"/>
                  <a:pt x="241622" y="52425"/>
                  <a:pt x="239482" y="53379"/>
                </a:cubicBezTo>
                <a:cubicBezTo>
                  <a:pt x="236416" y="54941"/>
                  <a:pt x="234681" y="56619"/>
                  <a:pt x="234565" y="58238"/>
                </a:cubicBezTo>
                <a:cubicBezTo>
                  <a:pt x="234565" y="59470"/>
                  <a:pt x="235086" y="60645"/>
                  <a:pt x="236069" y="61420"/>
                </a:cubicBezTo>
                <a:lnTo>
                  <a:pt x="247638" y="63097"/>
                </a:lnTo>
                <a:cubicBezTo>
                  <a:pt x="248043" y="63143"/>
                  <a:pt x="248390" y="63410"/>
                  <a:pt x="248505" y="63791"/>
                </a:cubicBezTo>
                <a:lnTo>
                  <a:pt x="251571" y="71485"/>
                </a:lnTo>
                <a:cubicBezTo>
                  <a:pt x="260016" y="71913"/>
                  <a:pt x="267941" y="75678"/>
                  <a:pt x="273610" y="81954"/>
                </a:cubicBezTo>
                <a:cubicBezTo>
                  <a:pt x="275981" y="84789"/>
                  <a:pt x="277948" y="86987"/>
                  <a:pt x="279394" y="88722"/>
                </a:cubicBezTo>
                <a:cubicBezTo>
                  <a:pt x="283617" y="93408"/>
                  <a:pt x="285526" y="95490"/>
                  <a:pt x="285526" y="99539"/>
                </a:cubicBezTo>
                <a:cubicBezTo>
                  <a:pt x="285526" y="102084"/>
                  <a:pt x="287666" y="103588"/>
                  <a:pt x="292409" y="106827"/>
                </a:cubicBezTo>
                <a:cubicBezTo>
                  <a:pt x="295764" y="108974"/>
                  <a:pt x="298946" y="111333"/>
                  <a:pt x="301954" y="113885"/>
                </a:cubicBezTo>
                <a:cubicBezTo>
                  <a:pt x="312481" y="122619"/>
                  <a:pt x="312481" y="127999"/>
                  <a:pt x="312481" y="133262"/>
                </a:cubicBezTo>
                <a:cubicBezTo>
                  <a:pt x="312481" y="136212"/>
                  <a:pt x="322951" y="142344"/>
                  <a:pt x="330355" y="145699"/>
                </a:cubicBezTo>
                <a:cubicBezTo>
                  <a:pt x="330644" y="145838"/>
                  <a:pt x="330818" y="146063"/>
                  <a:pt x="330934" y="146335"/>
                </a:cubicBezTo>
                <a:lnTo>
                  <a:pt x="337701" y="163168"/>
                </a:lnTo>
                <a:cubicBezTo>
                  <a:pt x="337875" y="163480"/>
                  <a:pt x="337875" y="163839"/>
                  <a:pt x="337701" y="164151"/>
                </a:cubicBezTo>
                <a:cubicBezTo>
                  <a:pt x="337528" y="164446"/>
                  <a:pt x="337296" y="164660"/>
                  <a:pt x="336950" y="164730"/>
                </a:cubicBezTo>
                <a:lnTo>
                  <a:pt x="316704" y="168027"/>
                </a:lnTo>
                <a:cubicBezTo>
                  <a:pt x="316472" y="168114"/>
                  <a:pt x="316241" y="168114"/>
                  <a:pt x="316009" y="168027"/>
                </a:cubicBezTo>
                <a:cubicBezTo>
                  <a:pt x="309184" y="164365"/>
                  <a:pt x="301664" y="162011"/>
                  <a:pt x="293971" y="161085"/>
                </a:cubicBezTo>
                <a:cubicBezTo>
                  <a:pt x="291310" y="160680"/>
                  <a:pt x="288649" y="161907"/>
                  <a:pt x="287203" y="164209"/>
                </a:cubicBezTo>
                <a:cubicBezTo>
                  <a:pt x="285063" y="168548"/>
                  <a:pt x="282692" y="170398"/>
                  <a:pt x="279220" y="170398"/>
                </a:cubicBezTo>
                <a:cubicBezTo>
                  <a:pt x="277370" y="170312"/>
                  <a:pt x="275577" y="170017"/>
                  <a:pt x="273783" y="169531"/>
                </a:cubicBezTo>
                <a:cubicBezTo>
                  <a:pt x="270660" y="168698"/>
                  <a:pt x="267478" y="168252"/>
                  <a:pt x="264297" y="168200"/>
                </a:cubicBezTo>
                <a:cubicBezTo>
                  <a:pt x="254521" y="168733"/>
                  <a:pt x="245035" y="171503"/>
                  <a:pt x="236532" y="176298"/>
                </a:cubicBezTo>
                <a:lnTo>
                  <a:pt x="236185" y="176298"/>
                </a:lnTo>
                <a:cubicBezTo>
                  <a:pt x="232078" y="177606"/>
                  <a:pt x="227739" y="177606"/>
                  <a:pt x="223632" y="176298"/>
                </a:cubicBezTo>
                <a:cubicBezTo>
                  <a:pt x="220624" y="175304"/>
                  <a:pt x="217443" y="175304"/>
                  <a:pt x="214435" y="176298"/>
                </a:cubicBezTo>
                <a:cubicBezTo>
                  <a:pt x="210560" y="178844"/>
                  <a:pt x="207320" y="190065"/>
                  <a:pt x="206453" y="194173"/>
                </a:cubicBezTo>
                <a:cubicBezTo>
                  <a:pt x="206279" y="194739"/>
                  <a:pt x="205701" y="195098"/>
                  <a:pt x="205122" y="195040"/>
                </a:cubicBezTo>
                <a:lnTo>
                  <a:pt x="153062" y="184917"/>
                </a:lnTo>
                <a:cubicBezTo>
                  <a:pt x="152773" y="184871"/>
                  <a:pt x="152484" y="184703"/>
                  <a:pt x="152310" y="184455"/>
                </a:cubicBezTo>
                <a:cubicBezTo>
                  <a:pt x="152310" y="184455"/>
                  <a:pt x="142419" y="169762"/>
                  <a:pt x="131313" y="169762"/>
                </a:cubicBezTo>
                <a:cubicBezTo>
                  <a:pt x="120207" y="169762"/>
                  <a:pt x="105919" y="188330"/>
                  <a:pt x="103837" y="190933"/>
                </a:cubicBezTo>
                <a:lnTo>
                  <a:pt x="103837" y="209096"/>
                </a:lnTo>
                <a:cubicBezTo>
                  <a:pt x="103854" y="209420"/>
                  <a:pt x="103698" y="209727"/>
                  <a:pt x="103432" y="209906"/>
                </a:cubicBezTo>
                <a:cubicBezTo>
                  <a:pt x="103160" y="210039"/>
                  <a:pt x="102836" y="210039"/>
                  <a:pt x="102564" y="209906"/>
                </a:cubicBezTo>
                <a:lnTo>
                  <a:pt x="79426" y="206551"/>
                </a:lnTo>
                <a:lnTo>
                  <a:pt x="67858" y="209848"/>
                </a:lnTo>
                <a:lnTo>
                  <a:pt x="53628" y="213029"/>
                </a:lnTo>
                <a:cubicBezTo>
                  <a:pt x="54328" y="220133"/>
                  <a:pt x="52419" y="227248"/>
                  <a:pt x="48249" y="233044"/>
                </a:cubicBezTo>
                <a:cubicBezTo>
                  <a:pt x="47786" y="233680"/>
                  <a:pt x="47323" y="234432"/>
                  <a:pt x="46860" y="235184"/>
                </a:cubicBezTo>
                <a:lnTo>
                  <a:pt x="46860" y="235473"/>
                </a:lnTo>
                <a:cubicBezTo>
                  <a:pt x="46698" y="236057"/>
                  <a:pt x="46091" y="236399"/>
                  <a:pt x="45507" y="236231"/>
                </a:cubicBezTo>
                <a:cubicBezTo>
                  <a:pt x="45316" y="236179"/>
                  <a:pt x="45142" y="236075"/>
                  <a:pt x="45009" y="235936"/>
                </a:cubicBezTo>
                <a:close/>
                <a:moveTo>
                  <a:pt x="17822" y="203312"/>
                </a:moveTo>
                <a:cubicBezTo>
                  <a:pt x="19517" y="206337"/>
                  <a:pt x="21449" y="209218"/>
                  <a:pt x="23607" y="211931"/>
                </a:cubicBezTo>
                <a:cubicBezTo>
                  <a:pt x="26140" y="214724"/>
                  <a:pt x="28888" y="217316"/>
                  <a:pt x="31821" y="219682"/>
                </a:cubicBezTo>
                <a:cubicBezTo>
                  <a:pt x="36333" y="223500"/>
                  <a:pt x="40613" y="227143"/>
                  <a:pt x="41365" y="229862"/>
                </a:cubicBezTo>
                <a:cubicBezTo>
                  <a:pt x="42007" y="231349"/>
                  <a:pt x="43152" y="232558"/>
                  <a:pt x="44604" y="233275"/>
                </a:cubicBezTo>
                <a:lnTo>
                  <a:pt x="45761" y="231540"/>
                </a:lnTo>
                <a:cubicBezTo>
                  <a:pt x="49666" y="225877"/>
                  <a:pt x="51389" y="218993"/>
                  <a:pt x="50620" y="212162"/>
                </a:cubicBezTo>
                <a:cubicBezTo>
                  <a:pt x="50545" y="211578"/>
                  <a:pt x="50915" y="211034"/>
                  <a:pt x="51488" y="210889"/>
                </a:cubicBezTo>
                <a:lnTo>
                  <a:pt x="66643" y="207535"/>
                </a:lnTo>
                <a:lnTo>
                  <a:pt x="78212" y="204237"/>
                </a:lnTo>
                <a:cubicBezTo>
                  <a:pt x="78362" y="204185"/>
                  <a:pt x="78524" y="204185"/>
                  <a:pt x="78674" y="204237"/>
                </a:cubicBezTo>
                <a:lnTo>
                  <a:pt x="101003" y="207419"/>
                </a:lnTo>
                <a:lnTo>
                  <a:pt x="101003" y="190065"/>
                </a:lnTo>
                <a:cubicBezTo>
                  <a:pt x="100927" y="189840"/>
                  <a:pt x="100927" y="189597"/>
                  <a:pt x="101003" y="189371"/>
                </a:cubicBezTo>
                <a:cubicBezTo>
                  <a:pt x="101697" y="188504"/>
                  <a:pt x="118356" y="167044"/>
                  <a:pt x="130503" y="167044"/>
                </a:cubicBezTo>
                <a:cubicBezTo>
                  <a:pt x="142650" y="167044"/>
                  <a:pt x="151385" y="179827"/>
                  <a:pt x="153120" y="182314"/>
                </a:cubicBezTo>
                <a:lnTo>
                  <a:pt x="203792" y="192148"/>
                </a:lnTo>
                <a:cubicBezTo>
                  <a:pt x="204659" y="188504"/>
                  <a:pt x="207841" y="177050"/>
                  <a:pt x="212468" y="173985"/>
                </a:cubicBezTo>
                <a:cubicBezTo>
                  <a:pt x="215997" y="172643"/>
                  <a:pt x="219872" y="172643"/>
                  <a:pt x="223401" y="173985"/>
                </a:cubicBezTo>
                <a:cubicBezTo>
                  <a:pt x="226987" y="175078"/>
                  <a:pt x="230863" y="175078"/>
                  <a:pt x="234449" y="173985"/>
                </a:cubicBezTo>
                <a:lnTo>
                  <a:pt x="234854" y="173985"/>
                </a:lnTo>
                <a:cubicBezTo>
                  <a:pt x="243704" y="169004"/>
                  <a:pt x="253596" y="166153"/>
                  <a:pt x="263776" y="165655"/>
                </a:cubicBezTo>
                <a:cubicBezTo>
                  <a:pt x="267131" y="165707"/>
                  <a:pt x="270544" y="166170"/>
                  <a:pt x="273783" y="167044"/>
                </a:cubicBezTo>
                <a:cubicBezTo>
                  <a:pt x="275403" y="167471"/>
                  <a:pt x="277022" y="167738"/>
                  <a:pt x="278700" y="167853"/>
                </a:cubicBezTo>
                <a:cubicBezTo>
                  <a:pt x="280840" y="167853"/>
                  <a:pt x="282634" y="166986"/>
                  <a:pt x="284484" y="162936"/>
                </a:cubicBezTo>
                <a:cubicBezTo>
                  <a:pt x="286278" y="159830"/>
                  <a:pt x="289748" y="158095"/>
                  <a:pt x="293277" y="158540"/>
                </a:cubicBezTo>
                <a:cubicBezTo>
                  <a:pt x="301259" y="159373"/>
                  <a:pt x="308952" y="161774"/>
                  <a:pt x="316009" y="165597"/>
                </a:cubicBezTo>
                <a:lnTo>
                  <a:pt x="334462" y="162532"/>
                </a:lnTo>
                <a:lnTo>
                  <a:pt x="328678" y="147434"/>
                </a:lnTo>
                <a:cubicBezTo>
                  <a:pt x="324686" y="145583"/>
                  <a:pt x="309878" y="138353"/>
                  <a:pt x="309878" y="133089"/>
                </a:cubicBezTo>
                <a:cubicBezTo>
                  <a:pt x="309878" y="127825"/>
                  <a:pt x="309878" y="123487"/>
                  <a:pt x="300160" y="115446"/>
                </a:cubicBezTo>
                <a:cubicBezTo>
                  <a:pt x="297153" y="112959"/>
                  <a:pt x="294029" y="110639"/>
                  <a:pt x="290789" y="108505"/>
                </a:cubicBezTo>
                <a:cubicBezTo>
                  <a:pt x="286046" y="105323"/>
                  <a:pt x="282923" y="103183"/>
                  <a:pt x="282923" y="99366"/>
                </a:cubicBezTo>
                <a:cubicBezTo>
                  <a:pt x="282923" y="95548"/>
                  <a:pt x="281419" y="94507"/>
                  <a:pt x="277138" y="90110"/>
                </a:cubicBezTo>
                <a:cubicBezTo>
                  <a:pt x="275577" y="88317"/>
                  <a:pt x="273552" y="86119"/>
                  <a:pt x="271354" y="83227"/>
                </a:cubicBezTo>
                <a:cubicBezTo>
                  <a:pt x="265917" y="77333"/>
                  <a:pt x="258339" y="73850"/>
                  <a:pt x="250299" y="73567"/>
                </a:cubicBezTo>
                <a:cubicBezTo>
                  <a:pt x="249836" y="73561"/>
                  <a:pt x="249431" y="73289"/>
                  <a:pt x="249257" y="72873"/>
                </a:cubicBezTo>
                <a:lnTo>
                  <a:pt x="246134" y="65064"/>
                </a:lnTo>
                <a:lnTo>
                  <a:pt x="234970" y="63444"/>
                </a:lnTo>
                <a:cubicBezTo>
                  <a:pt x="234796" y="63468"/>
                  <a:pt x="234623" y="63468"/>
                  <a:pt x="234449" y="63444"/>
                </a:cubicBezTo>
                <a:cubicBezTo>
                  <a:pt x="232772" y="62155"/>
                  <a:pt x="231846" y="60165"/>
                  <a:pt x="231846" y="58065"/>
                </a:cubicBezTo>
                <a:cubicBezTo>
                  <a:pt x="231846" y="55577"/>
                  <a:pt x="234160" y="53321"/>
                  <a:pt x="238036" y="51355"/>
                </a:cubicBezTo>
                <a:cubicBezTo>
                  <a:pt x="239655" y="50655"/>
                  <a:pt x="240870" y="49342"/>
                  <a:pt x="241506" y="47711"/>
                </a:cubicBezTo>
                <a:cubicBezTo>
                  <a:pt x="241911" y="42638"/>
                  <a:pt x="240523" y="37576"/>
                  <a:pt x="237689" y="33365"/>
                </a:cubicBezTo>
                <a:cubicBezTo>
                  <a:pt x="236937" y="32023"/>
                  <a:pt x="236300" y="30629"/>
                  <a:pt x="235780" y="29200"/>
                </a:cubicBezTo>
                <a:cubicBezTo>
                  <a:pt x="230226" y="20258"/>
                  <a:pt x="223922" y="11818"/>
                  <a:pt x="216922" y="3980"/>
                </a:cubicBezTo>
                <a:cubicBezTo>
                  <a:pt x="215245" y="3963"/>
                  <a:pt x="213625" y="3570"/>
                  <a:pt x="212179" y="2824"/>
                </a:cubicBezTo>
                <a:cubicBezTo>
                  <a:pt x="211196" y="2326"/>
                  <a:pt x="210155" y="2089"/>
                  <a:pt x="209056" y="2129"/>
                </a:cubicBezTo>
                <a:cubicBezTo>
                  <a:pt x="202172" y="3176"/>
                  <a:pt x="195809" y="6468"/>
                  <a:pt x="190950" y="11500"/>
                </a:cubicBezTo>
                <a:cubicBezTo>
                  <a:pt x="188983" y="13259"/>
                  <a:pt x="187827" y="15752"/>
                  <a:pt x="187769" y="18384"/>
                </a:cubicBezTo>
                <a:cubicBezTo>
                  <a:pt x="187711" y="20547"/>
                  <a:pt x="186843" y="22612"/>
                  <a:pt x="185339" y="24168"/>
                </a:cubicBezTo>
                <a:lnTo>
                  <a:pt x="181580" y="27696"/>
                </a:lnTo>
                <a:cubicBezTo>
                  <a:pt x="173308" y="35072"/>
                  <a:pt x="165557" y="43037"/>
                  <a:pt x="158442" y="51528"/>
                </a:cubicBezTo>
                <a:cubicBezTo>
                  <a:pt x="153467" y="57833"/>
                  <a:pt x="144791" y="58759"/>
                  <a:pt x="136172" y="58759"/>
                </a:cubicBezTo>
                <a:lnTo>
                  <a:pt x="128132" y="58759"/>
                </a:lnTo>
                <a:cubicBezTo>
                  <a:pt x="125268" y="58557"/>
                  <a:pt x="122393" y="58950"/>
                  <a:pt x="119686" y="59916"/>
                </a:cubicBezTo>
                <a:cubicBezTo>
                  <a:pt x="116794" y="61536"/>
                  <a:pt x="117372" y="63271"/>
                  <a:pt x="118703" y="66394"/>
                </a:cubicBezTo>
                <a:cubicBezTo>
                  <a:pt x="120033" y="69518"/>
                  <a:pt x="121132" y="72179"/>
                  <a:pt x="118240" y="74377"/>
                </a:cubicBezTo>
                <a:cubicBezTo>
                  <a:pt x="112033" y="78536"/>
                  <a:pt x="105474" y="82134"/>
                  <a:pt x="98631" y="85136"/>
                </a:cubicBezTo>
                <a:lnTo>
                  <a:pt x="93830" y="87450"/>
                </a:lnTo>
                <a:cubicBezTo>
                  <a:pt x="90805" y="88497"/>
                  <a:pt x="87652" y="89139"/>
                  <a:pt x="84459" y="89359"/>
                </a:cubicBezTo>
                <a:cubicBezTo>
                  <a:pt x="77402" y="90284"/>
                  <a:pt x="67742" y="91556"/>
                  <a:pt x="64329" y="96011"/>
                </a:cubicBezTo>
                <a:cubicBezTo>
                  <a:pt x="63300" y="97463"/>
                  <a:pt x="61657" y="98359"/>
                  <a:pt x="59875" y="98440"/>
                </a:cubicBezTo>
                <a:cubicBezTo>
                  <a:pt x="57764" y="98197"/>
                  <a:pt x="55762" y="97376"/>
                  <a:pt x="54091" y="96068"/>
                </a:cubicBezTo>
                <a:cubicBezTo>
                  <a:pt x="52749" y="94993"/>
                  <a:pt x="51158" y="94275"/>
                  <a:pt x="49463" y="93986"/>
                </a:cubicBezTo>
                <a:cubicBezTo>
                  <a:pt x="48769" y="93986"/>
                  <a:pt x="47786" y="93986"/>
                  <a:pt x="46571" y="95953"/>
                </a:cubicBezTo>
                <a:cubicBezTo>
                  <a:pt x="43950" y="100488"/>
                  <a:pt x="39335" y="103513"/>
                  <a:pt x="34135" y="104109"/>
                </a:cubicBezTo>
                <a:cubicBezTo>
                  <a:pt x="32515" y="104132"/>
                  <a:pt x="30930" y="103623"/>
                  <a:pt x="29623" y="102663"/>
                </a:cubicBezTo>
                <a:cubicBezTo>
                  <a:pt x="28859" y="102119"/>
                  <a:pt x="28211" y="101431"/>
                  <a:pt x="27714" y="100638"/>
                </a:cubicBezTo>
                <a:lnTo>
                  <a:pt x="27193" y="101043"/>
                </a:lnTo>
                <a:cubicBezTo>
                  <a:pt x="22016" y="105058"/>
                  <a:pt x="17903" y="110281"/>
                  <a:pt x="15219" y="116256"/>
                </a:cubicBezTo>
                <a:cubicBezTo>
                  <a:pt x="13160" y="121977"/>
                  <a:pt x="10401" y="127414"/>
                  <a:pt x="7006" y="132452"/>
                </a:cubicBezTo>
                <a:cubicBezTo>
                  <a:pt x="4587" y="135628"/>
                  <a:pt x="2858" y="139272"/>
                  <a:pt x="1915" y="143154"/>
                </a:cubicBezTo>
                <a:cubicBezTo>
                  <a:pt x="2077" y="145803"/>
                  <a:pt x="2546" y="148424"/>
                  <a:pt x="3303" y="150963"/>
                </a:cubicBezTo>
                <a:cubicBezTo>
                  <a:pt x="4674" y="155706"/>
                  <a:pt x="5432" y="160605"/>
                  <a:pt x="5559" y="165540"/>
                </a:cubicBezTo>
                <a:cubicBezTo>
                  <a:pt x="5264" y="173314"/>
                  <a:pt x="8023" y="180891"/>
                  <a:pt x="13252" y="186652"/>
                </a:cubicBezTo>
                <a:cubicBezTo>
                  <a:pt x="16671" y="191506"/>
                  <a:pt x="18291" y="197394"/>
                  <a:pt x="17822" y="20331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4" name="Forma libre: forma 293">
            <a:extLst>
              <a:ext uri="{FF2B5EF4-FFF2-40B4-BE49-F238E27FC236}">
                <a16:creationId xmlns:a16="http://schemas.microsoft.com/office/drawing/2014/main" id="{B5377C0B-05C4-5722-85C6-DC342E7B0541}"/>
              </a:ext>
            </a:extLst>
          </p:cNvPr>
          <p:cNvSpPr/>
          <p:nvPr/>
        </p:nvSpPr>
        <p:spPr>
          <a:xfrm>
            <a:off x="6262903" y="4097420"/>
            <a:ext cx="323979" cy="265162"/>
          </a:xfrm>
          <a:custGeom>
            <a:avLst/>
            <a:gdLst>
              <a:gd name="connsiteX0" fmla="*/ 95005 w 323979"/>
              <a:gd name="connsiteY0" fmla="*/ 265029 h 265162"/>
              <a:gd name="connsiteX1" fmla="*/ 91245 w 323979"/>
              <a:gd name="connsiteY1" fmla="*/ 264162 h 265162"/>
              <a:gd name="connsiteX2" fmla="*/ 76148 w 323979"/>
              <a:gd name="connsiteY2" fmla="*/ 239751 h 265162"/>
              <a:gd name="connsiteX3" fmla="*/ 51159 w 323979"/>
              <a:gd name="connsiteY3" fmla="*/ 213027 h 265162"/>
              <a:gd name="connsiteX4" fmla="*/ 38491 w 323979"/>
              <a:gd name="connsiteY4" fmla="*/ 210887 h 265162"/>
              <a:gd name="connsiteX5" fmla="*/ 9569 w 323979"/>
              <a:gd name="connsiteY5" fmla="*/ 202095 h 265162"/>
              <a:gd name="connsiteX6" fmla="*/ 9569 w 323979"/>
              <a:gd name="connsiteY6" fmla="*/ 202095 h 265162"/>
              <a:gd name="connsiteX7" fmla="*/ 9569 w 323979"/>
              <a:gd name="connsiteY7" fmla="*/ 202095 h 265162"/>
              <a:gd name="connsiteX8" fmla="*/ 9569 w 323979"/>
              <a:gd name="connsiteY8" fmla="*/ 201690 h 265162"/>
              <a:gd name="connsiteX9" fmla="*/ 5346 w 323979"/>
              <a:gd name="connsiteY9" fmla="*/ 192319 h 265162"/>
              <a:gd name="connsiteX10" fmla="*/ 1182 w 323979"/>
              <a:gd name="connsiteY10" fmla="*/ 179767 h 265162"/>
              <a:gd name="connsiteX11" fmla="*/ 546 w 323979"/>
              <a:gd name="connsiteY11" fmla="*/ 169297 h 265162"/>
              <a:gd name="connsiteX12" fmla="*/ 546 w 323979"/>
              <a:gd name="connsiteY12" fmla="*/ 147490 h 265162"/>
              <a:gd name="connsiteX13" fmla="*/ 12114 w 323979"/>
              <a:gd name="connsiteY13" fmla="*/ 126955 h 265162"/>
              <a:gd name="connsiteX14" fmla="*/ 22526 w 323979"/>
              <a:gd name="connsiteY14" fmla="*/ 111106 h 265162"/>
              <a:gd name="connsiteX15" fmla="*/ 25245 w 323979"/>
              <a:gd name="connsiteY15" fmla="*/ 73275 h 265162"/>
              <a:gd name="connsiteX16" fmla="*/ 22468 w 323979"/>
              <a:gd name="connsiteY16" fmla="*/ 54939 h 265162"/>
              <a:gd name="connsiteX17" fmla="*/ 22989 w 323979"/>
              <a:gd name="connsiteY17" fmla="*/ 53782 h 265162"/>
              <a:gd name="connsiteX18" fmla="*/ 25014 w 323979"/>
              <a:gd name="connsiteY18" fmla="*/ 49386 h 265162"/>
              <a:gd name="connsiteX19" fmla="*/ 37450 w 323979"/>
              <a:gd name="connsiteY19" fmla="*/ 29140 h 265162"/>
              <a:gd name="connsiteX20" fmla="*/ 39128 w 323979"/>
              <a:gd name="connsiteY20" fmla="*/ 21968 h 265162"/>
              <a:gd name="connsiteX21" fmla="*/ 43986 w 323979"/>
              <a:gd name="connsiteY21" fmla="*/ 7275 h 265162"/>
              <a:gd name="connsiteX22" fmla="*/ 53068 w 323979"/>
              <a:gd name="connsiteY22" fmla="*/ 5019 h 265162"/>
              <a:gd name="connsiteX23" fmla="*/ 66893 w 323979"/>
              <a:gd name="connsiteY23" fmla="*/ 6523 h 265162"/>
              <a:gd name="connsiteX24" fmla="*/ 69901 w 323979"/>
              <a:gd name="connsiteY24" fmla="*/ 7044 h 265162"/>
              <a:gd name="connsiteX25" fmla="*/ 75685 w 323979"/>
              <a:gd name="connsiteY25" fmla="*/ 3804 h 265162"/>
              <a:gd name="connsiteX26" fmla="*/ 82627 w 323979"/>
              <a:gd name="connsiteY26" fmla="*/ -129 h 265162"/>
              <a:gd name="connsiteX27" fmla="*/ 86849 w 323979"/>
              <a:gd name="connsiteY27" fmla="*/ 1607 h 265162"/>
              <a:gd name="connsiteX28" fmla="*/ 97666 w 323979"/>
              <a:gd name="connsiteY28" fmla="*/ 4614 h 265162"/>
              <a:gd name="connsiteX29" fmla="*/ 108772 w 323979"/>
              <a:gd name="connsiteY29" fmla="*/ 8201 h 265162"/>
              <a:gd name="connsiteX30" fmla="*/ 112821 w 323979"/>
              <a:gd name="connsiteY30" fmla="*/ 15026 h 265162"/>
              <a:gd name="connsiteX31" fmla="*/ 120052 w 323979"/>
              <a:gd name="connsiteY31" fmla="*/ 23414 h 265162"/>
              <a:gd name="connsiteX32" fmla="*/ 122655 w 323979"/>
              <a:gd name="connsiteY32" fmla="*/ 22546 h 265162"/>
              <a:gd name="connsiteX33" fmla="*/ 145792 w 323979"/>
              <a:gd name="connsiteY33" fmla="*/ 15894 h 265162"/>
              <a:gd name="connsiteX34" fmla="*/ 159039 w 323979"/>
              <a:gd name="connsiteY34" fmla="*/ 22488 h 265162"/>
              <a:gd name="connsiteX35" fmla="*/ 167137 w 323979"/>
              <a:gd name="connsiteY35" fmla="*/ 27289 h 265162"/>
              <a:gd name="connsiteX36" fmla="*/ 182292 w 323979"/>
              <a:gd name="connsiteY36" fmla="*/ 29083 h 265162"/>
              <a:gd name="connsiteX37" fmla="*/ 192878 w 323979"/>
              <a:gd name="connsiteY37" fmla="*/ 27347 h 265162"/>
              <a:gd name="connsiteX38" fmla="*/ 198662 w 323979"/>
              <a:gd name="connsiteY38" fmla="*/ 22488 h 265162"/>
              <a:gd name="connsiteX39" fmla="*/ 213528 w 323979"/>
              <a:gd name="connsiteY39" fmla="*/ 14332 h 265162"/>
              <a:gd name="connsiteX40" fmla="*/ 226774 w 323979"/>
              <a:gd name="connsiteY40" fmla="*/ 14332 h 265162"/>
              <a:gd name="connsiteX41" fmla="*/ 237765 w 323979"/>
              <a:gd name="connsiteY41" fmla="*/ 14332 h 265162"/>
              <a:gd name="connsiteX42" fmla="*/ 248639 w 323979"/>
              <a:gd name="connsiteY42" fmla="*/ 15547 h 265162"/>
              <a:gd name="connsiteX43" fmla="*/ 249796 w 323979"/>
              <a:gd name="connsiteY43" fmla="*/ 16125 h 265162"/>
              <a:gd name="connsiteX44" fmla="*/ 266745 w 323979"/>
              <a:gd name="connsiteY44" fmla="*/ 21910 h 265162"/>
              <a:gd name="connsiteX45" fmla="*/ 270389 w 323979"/>
              <a:gd name="connsiteY45" fmla="*/ 21389 h 265162"/>
              <a:gd name="connsiteX46" fmla="*/ 280627 w 323979"/>
              <a:gd name="connsiteY46" fmla="*/ 11961 h 265162"/>
              <a:gd name="connsiteX47" fmla="*/ 289825 w 323979"/>
              <a:gd name="connsiteY47" fmla="*/ 3631 h 265162"/>
              <a:gd name="connsiteX48" fmla="*/ 298154 w 323979"/>
              <a:gd name="connsiteY48" fmla="*/ 6697 h 265162"/>
              <a:gd name="connsiteX49" fmla="*/ 300584 w 323979"/>
              <a:gd name="connsiteY49" fmla="*/ 9531 h 265162"/>
              <a:gd name="connsiteX50" fmla="*/ 303881 w 323979"/>
              <a:gd name="connsiteY50" fmla="*/ 14390 h 265162"/>
              <a:gd name="connsiteX51" fmla="*/ 310533 w 323979"/>
              <a:gd name="connsiteY51" fmla="*/ 20174 h 265162"/>
              <a:gd name="connsiteX52" fmla="*/ 311343 w 323979"/>
              <a:gd name="connsiteY52" fmla="*/ 20637 h 265162"/>
              <a:gd name="connsiteX53" fmla="*/ 311343 w 323979"/>
              <a:gd name="connsiteY53" fmla="*/ 21563 h 265162"/>
              <a:gd name="connsiteX54" fmla="*/ 309665 w 323979"/>
              <a:gd name="connsiteY54" fmla="*/ 36024 h 265162"/>
              <a:gd name="connsiteX55" fmla="*/ 320193 w 323979"/>
              <a:gd name="connsiteY55" fmla="*/ 46262 h 265162"/>
              <a:gd name="connsiteX56" fmla="*/ 323143 w 323979"/>
              <a:gd name="connsiteY56" fmla="*/ 60145 h 265162"/>
              <a:gd name="connsiteX57" fmla="*/ 322623 w 323979"/>
              <a:gd name="connsiteY57" fmla="*/ 64368 h 265162"/>
              <a:gd name="connsiteX58" fmla="*/ 311632 w 323979"/>
              <a:gd name="connsiteY58" fmla="*/ 71945 h 265162"/>
              <a:gd name="connsiteX59" fmla="*/ 306195 w 323979"/>
              <a:gd name="connsiteY59" fmla="*/ 73854 h 265162"/>
              <a:gd name="connsiteX60" fmla="*/ 290229 w 323979"/>
              <a:gd name="connsiteY60" fmla="*/ 102776 h 265162"/>
              <a:gd name="connsiteX61" fmla="*/ 283115 w 323979"/>
              <a:gd name="connsiteY61" fmla="*/ 121807 h 265162"/>
              <a:gd name="connsiteX62" fmla="*/ 280570 w 323979"/>
              <a:gd name="connsiteY62" fmla="*/ 133376 h 265162"/>
              <a:gd name="connsiteX63" fmla="*/ 280570 w 323979"/>
              <a:gd name="connsiteY63" fmla="*/ 135227 h 265162"/>
              <a:gd name="connsiteX64" fmla="*/ 274785 w 323979"/>
              <a:gd name="connsiteY64" fmla="*/ 142342 h 265162"/>
              <a:gd name="connsiteX65" fmla="*/ 267555 w 323979"/>
              <a:gd name="connsiteY65" fmla="*/ 151423 h 265162"/>
              <a:gd name="connsiteX66" fmla="*/ 249623 w 323979"/>
              <a:gd name="connsiteY66" fmla="*/ 189716 h 265162"/>
              <a:gd name="connsiteX67" fmla="*/ 247309 w 323979"/>
              <a:gd name="connsiteY67" fmla="*/ 193939 h 265162"/>
              <a:gd name="connsiteX68" fmla="*/ 245053 w 323979"/>
              <a:gd name="connsiteY68" fmla="*/ 198219 h 265162"/>
              <a:gd name="connsiteX69" fmla="*/ 236666 w 323979"/>
              <a:gd name="connsiteY69" fmla="*/ 209441 h 265162"/>
              <a:gd name="connsiteX70" fmla="*/ 233889 w 323979"/>
              <a:gd name="connsiteY70" fmla="*/ 205739 h 265162"/>
              <a:gd name="connsiteX71" fmla="*/ 218792 w 323979"/>
              <a:gd name="connsiteY71" fmla="*/ 191972 h 265162"/>
              <a:gd name="connsiteX72" fmla="*/ 216247 w 323979"/>
              <a:gd name="connsiteY72" fmla="*/ 192724 h 265162"/>
              <a:gd name="connsiteX73" fmla="*/ 206645 w 323979"/>
              <a:gd name="connsiteY73" fmla="*/ 195385 h 265162"/>
              <a:gd name="connsiteX74" fmla="*/ 203637 w 323979"/>
              <a:gd name="connsiteY74" fmla="*/ 195385 h 265162"/>
              <a:gd name="connsiteX75" fmla="*/ 199761 w 323979"/>
              <a:gd name="connsiteY75" fmla="*/ 195385 h 265162"/>
              <a:gd name="connsiteX76" fmla="*/ 169219 w 323979"/>
              <a:gd name="connsiteY76" fmla="*/ 224654 h 265162"/>
              <a:gd name="connsiteX77" fmla="*/ 161237 w 323979"/>
              <a:gd name="connsiteY77" fmla="*/ 253576 h 265162"/>
              <a:gd name="connsiteX78" fmla="*/ 160543 w 323979"/>
              <a:gd name="connsiteY78" fmla="*/ 254270 h 265162"/>
              <a:gd name="connsiteX79" fmla="*/ 159617 w 323979"/>
              <a:gd name="connsiteY79" fmla="*/ 254270 h 265162"/>
              <a:gd name="connsiteX80" fmla="*/ 156609 w 323979"/>
              <a:gd name="connsiteY80" fmla="*/ 254270 h 265162"/>
              <a:gd name="connsiteX81" fmla="*/ 123812 w 323979"/>
              <a:gd name="connsiteY81" fmla="*/ 258609 h 265162"/>
              <a:gd name="connsiteX82" fmla="*/ 119473 w 323979"/>
              <a:gd name="connsiteY82" fmla="*/ 258609 h 265162"/>
              <a:gd name="connsiteX83" fmla="*/ 108657 w 323979"/>
              <a:gd name="connsiteY83" fmla="*/ 261674 h 265162"/>
              <a:gd name="connsiteX84" fmla="*/ 95005 w 323979"/>
              <a:gd name="connsiteY84" fmla="*/ 265029 h 265162"/>
              <a:gd name="connsiteX85" fmla="*/ 11305 w 323979"/>
              <a:gd name="connsiteY85" fmla="*/ 200475 h 265162"/>
              <a:gd name="connsiteX86" fmla="*/ 11305 w 323979"/>
              <a:gd name="connsiteY86" fmla="*/ 200880 h 265162"/>
              <a:gd name="connsiteX87" fmla="*/ 38549 w 323979"/>
              <a:gd name="connsiteY87" fmla="*/ 208631 h 265162"/>
              <a:gd name="connsiteX88" fmla="*/ 51333 w 323979"/>
              <a:gd name="connsiteY88" fmla="*/ 210829 h 265162"/>
              <a:gd name="connsiteX89" fmla="*/ 78115 w 323979"/>
              <a:gd name="connsiteY89" fmla="*/ 239751 h 265162"/>
              <a:gd name="connsiteX90" fmla="*/ 92055 w 323979"/>
              <a:gd name="connsiteY90" fmla="*/ 262079 h 265162"/>
              <a:gd name="connsiteX91" fmla="*/ 94716 w 323979"/>
              <a:gd name="connsiteY91" fmla="*/ 262658 h 265162"/>
              <a:gd name="connsiteX92" fmla="*/ 107789 w 323979"/>
              <a:gd name="connsiteY92" fmla="*/ 259071 h 265162"/>
              <a:gd name="connsiteX93" fmla="*/ 119358 w 323979"/>
              <a:gd name="connsiteY93" fmla="*/ 255890 h 265162"/>
              <a:gd name="connsiteX94" fmla="*/ 123696 w 323979"/>
              <a:gd name="connsiteY94" fmla="*/ 255890 h 265162"/>
              <a:gd name="connsiteX95" fmla="*/ 154990 w 323979"/>
              <a:gd name="connsiteY95" fmla="*/ 252130 h 265162"/>
              <a:gd name="connsiteX96" fmla="*/ 159849 w 323979"/>
              <a:gd name="connsiteY96" fmla="*/ 251609 h 265162"/>
              <a:gd name="connsiteX97" fmla="*/ 167310 w 323979"/>
              <a:gd name="connsiteY97" fmla="*/ 223728 h 265162"/>
              <a:gd name="connsiteX98" fmla="*/ 167657 w 323979"/>
              <a:gd name="connsiteY98" fmla="*/ 223092 h 265162"/>
              <a:gd name="connsiteX99" fmla="*/ 199472 w 323979"/>
              <a:gd name="connsiteY99" fmla="*/ 192955 h 265162"/>
              <a:gd name="connsiteX100" fmla="*/ 204042 w 323979"/>
              <a:gd name="connsiteY100" fmla="*/ 192955 h 265162"/>
              <a:gd name="connsiteX101" fmla="*/ 206934 w 323979"/>
              <a:gd name="connsiteY101" fmla="*/ 192955 h 265162"/>
              <a:gd name="connsiteX102" fmla="*/ 215206 w 323979"/>
              <a:gd name="connsiteY102" fmla="*/ 190815 h 265162"/>
              <a:gd name="connsiteX103" fmla="*/ 219081 w 323979"/>
              <a:gd name="connsiteY103" fmla="*/ 189601 h 265162"/>
              <a:gd name="connsiteX104" fmla="*/ 236434 w 323979"/>
              <a:gd name="connsiteY104" fmla="*/ 205160 h 265162"/>
              <a:gd name="connsiteX105" fmla="*/ 237128 w 323979"/>
              <a:gd name="connsiteY105" fmla="*/ 207069 h 265162"/>
              <a:gd name="connsiteX106" fmla="*/ 243376 w 323979"/>
              <a:gd name="connsiteY106" fmla="*/ 197004 h 265162"/>
              <a:gd name="connsiteX107" fmla="*/ 245632 w 323979"/>
              <a:gd name="connsiteY107" fmla="*/ 192724 h 265162"/>
              <a:gd name="connsiteX108" fmla="*/ 248003 w 323979"/>
              <a:gd name="connsiteY108" fmla="*/ 188559 h 265162"/>
              <a:gd name="connsiteX109" fmla="*/ 265357 w 323979"/>
              <a:gd name="connsiteY109" fmla="*/ 151307 h 265162"/>
              <a:gd name="connsiteX110" fmla="*/ 273397 w 323979"/>
              <a:gd name="connsiteY110" fmla="*/ 140490 h 265162"/>
              <a:gd name="connsiteX111" fmla="*/ 278371 w 323979"/>
              <a:gd name="connsiteY111" fmla="*/ 135111 h 265162"/>
              <a:gd name="connsiteX112" fmla="*/ 278371 w 323979"/>
              <a:gd name="connsiteY112" fmla="*/ 133318 h 265162"/>
              <a:gd name="connsiteX113" fmla="*/ 282363 w 323979"/>
              <a:gd name="connsiteY113" fmla="*/ 119551 h 265162"/>
              <a:gd name="connsiteX114" fmla="*/ 288147 w 323979"/>
              <a:gd name="connsiteY114" fmla="*/ 103065 h 265162"/>
              <a:gd name="connsiteX115" fmla="*/ 304517 w 323979"/>
              <a:gd name="connsiteY115" fmla="*/ 72234 h 265162"/>
              <a:gd name="connsiteX116" fmla="*/ 311285 w 323979"/>
              <a:gd name="connsiteY116" fmla="*/ 69516 h 265162"/>
              <a:gd name="connsiteX117" fmla="*/ 320482 w 323979"/>
              <a:gd name="connsiteY117" fmla="*/ 63731 h 265162"/>
              <a:gd name="connsiteX118" fmla="*/ 321061 w 323979"/>
              <a:gd name="connsiteY118" fmla="*/ 59451 h 265162"/>
              <a:gd name="connsiteX119" fmla="*/ 319557 w 323979"/>
              <a:gd name="connsiteY119" fmla="*/ 47882 h 265162"/>
              <a:gd name="connsiteX120" fmla="*/ 307525 w 323979"/>
              <a:gd name="connsiteY120" fmla="*/ 35503 h 265162"/>
              <a:gd name="connsiteX121" fmla="*/ 308971 w 323979"/>
              <a:gd name="connsiteY121" fmla="*/ 21621 h 265162"/>
              <a:gd name="connsiteX122" fmla="*/ 301856 w 323979"/>
              <a:gd name="connsiteY122" fmla="*/ 14737 h 265162"/>
              <a:gd name="connsiteX123" fmla="*/ 298964 w 323979"/>
              <a:gd name="connsiteY123" fmla="*/ 10457 h 265162"/>
              <a:gd name="connsiteX124" fmla="*/ 296303 w 323979"/>
              <a:gd name="connsiteY124" fmla="*/ 7391 h 265162"/>
              <a:gd name="connsiteX125" fmla="*/ 292659 w 323979"/>
              <a:gd name="connsiteY125" fmla="*/ 4672 h 265162"/>
              <a:gd name="connsiteX126" fmla="*/ 290403 w 323979"/>
              <a:gd name="connsiteY126" fmla="*/ 5077 h 265162"/>
              <a:gd name="connsiteX127" fmla="*/ 282363 w 323979"/>
              <a:gd name="connsiteY127" fmla="*/ 12713 h 265162"/>
              <a:gd name="connsiteX128" fmla="*/ 270794 w 323979"/>
              <a:gd name="connsiteY128" fmla="*/ 22835 h 265162"/>
              <a:gd name="connsiteX129" fmla="*/ 266456 w 323979"/>
              <a:gd name="connsiteY129" fmla="*/ 23472 h 265162"/>
              <a:gd name="connsiteX130" fmla="*/ 248466 w 323979"/>
              <a:gd name="connsiteY130" fmla="*/ 17687 h 265162"/>
              <a:gd name="connsiteX131" fmla="*/ 247367 w 323979"/>
              <a:gd name="connsiteY131" fmla="*/ 17109 h 265162"/>
              <a:gd name="connsiteX132" fmla="*/ 237476 w 323979"/>
              <a:gd name="connsiteY132" fmla="*/ 16125 h 265162"/>
              <a:gd name="connsiteX133" fmla="*/ 226601 w 323979"/>
              <a:gd name="connsiteY133" fmla="*/ 16125 h 265162"/>
              <a:gd name="connsiteX134" fmla="*/ 213008 w 323979"/>
              <a:gd name="connsiteY134" fmla="*/ 16125 h 265162"/>
              <a:gd name="connsiteX135" fmla="*/ 212313 w 323979"/>
              <a:gd name="connsiteY135" fmla="*/ 16125 h 265162"/>
              <a:gd name="connsiteX136" fmla="*/ 199935 w 323979"/>
              <a:gd name="connsiteY136" fmla="*/ 23703 h 265162"/>
              <a:gd name="connsiteX137" fmla="*/ 193514 w 323979"/>
              <a:gd name="connsiteY137" fmla="*/ 28909 h 265162"/>
              <a:gd name="connsiteX138" fmla="*/ 181945 w 323979"/>
              <a:gd name="connsiteY138" fmla="*/ 30933 h 265162"/>
              <a:gd name="connsiteX139" fmla="*/ 166096 w 323979"/>
              <a:gd name="connsiteY139" fmla="*/ 29025 h 265162"/>
              <a:gd name="connsiteX140" fmla="*/ 157419 w 323979"/>
              <a:gd name="connsiteY140" fmla="*/ 23992 h 265162"/>
              <a:gd name="connsiteX141" fmla="*/ 145445 w 323979"/>
              <a:gd name="connsiteY141" fmla="*/ 17745 h 265162"/>
              <a:gd name="connsiteX142" fmla="*/ 123407 w 323979"/>
              <a:gd name="connsiteY142" fmla="*/ 24050 h 265162"/>
              <a:gd name="connsiteX143" fmla="*/ 119647 w 323979"/>
              <a:gd name="connsiteY143" fmla="*/ 25265 h 265162"/>
              <a:gd name="connsiteX144" fmla="*/ 110450 w 323979"/>
              <a:gd name="connsiteY144" fmla="*/ 15605 h 265162"/>
              <a:gd name="connsiteX145" fmla="*/ 106632 w 323979"/>
              <a:gd name="connsiteY145" fmla="*/ 9300 h 265162"/>
              <a:gd name="connsiteX146" fmla="*/ 97145 w 323979"/>
              <a:gd name="connsiteY146" fmla="*/ 6465 h 265162"/>
              <a:gd name="connsiteX147" fmla="*/ 84940 w 323979"/>
              <a:gd name="connsiteY147" fmla="*/ 2937 h 265162"/>
              <a:gd name="connsiteX148" fmla="*/ 82222 w 323979"/>
              <a:gd name="connsiteY148" fmla="*/ 1664 h 265162"/>
              <a:gd name="connsiteX149" fmla="*/ 76842 w 323979"/>
              <a:gd name="connsiteY149" fmla="*/ 5019 h 265162"/>
              <a:gd name="connsiteX150" fmla="*/ 69380 w 323979"/>
              <a:gd name="connsiteY150" fmla="*/ 8837 h 265162"/>
              <a:gd name="connsiteX151" fmla="*/ 66314 w 323979"/>
              <a:gd name="connsiteY151" fmla="*/ 8374 h 265162"/>
              <a:gd name="connsiteX152" fmla="*/ 52837 w 323979"/>
              <a:gd name="connsiteY152" fmla="*/ 6870 h 265162"/>
              <a:gd name="connsiteX153" fmla="*/ 45201 w 323979"/>
              <a:gd name="connsiteY153" fmla="*/ 8606 h 265162"/>
              <a:gd name="connsiteX154" fmla="*/ 41094 w 323979"/>
              <a:gd name="connsiteY154" fmla="*/ 21852 h 265162"/>
              <a:gd name="connsiteX155" fmla="*/ 38838 w 323979"/>
              <a:gd name="connsiteY155" fmla="*/ 30355 h 265162"/>
              <a:gd name="connsiteX156" fmla="*/ 27270 w 323979"/>
              <a:gd name="connsiteY156" fmla="*/ 48981 h 265162"/>
              <a:gd name="connsiteX157" fmla="*/ 24782 w 323979"/>
              <a:gd name="connsiteY157" fmla="*/ 54765 h 265162"/>
              <a:gd name="connsiteX158" fmla="*/ 27501 w 323979"/>
              <a:gd name="connsiteY158" fmla="*/ 72466 h 265162"/>
              <a:gd name="connsiteX159" fmla="*/ 24088 w 323979"/>
              <a:gd name="connsiteY159" fmla="*/ 112205 h 265162"/>
              <a:gd name="connsiteX160" fmla="*/ 14081 w 323979"/>
              <a:gd name="connsiteY160" fmla="*/ 127649 h 265162"/>
              <a:gd name="connsiteX161" fmla="*/ 13676 w 323979"/>
              <a:gd name="connsiteY161" fmla="*/ 128112 h 265162"/>
              <a:gd name="connsiteX162" fmla="*/ 2628 w 323979"/>
              <a:gd name="connsiteY162" fmla="*/ 147316 h 265162"/>
              <a:gd name="connsiteX163" fmla="*/ 2628 w 323979"/>
              <a:gd name="connsiteY163" fmla="*/ 168545 h 265162"/>
              <a:gd name="connsiteX164" fmla="*/ 3264 w 323979"/>
              <a:gd name="connsiteY164" fmla="*/ 179246 h 265162"/>
              <a:gd name="connsiteX165" fmla="*/ 7197 w 323979"/>
              <a:gd name="connsiteY165" fmla="*/ 190815 h 265162"/>
              <a:gd name="connsiteX166" fmla="*/ 11305 w 323979"/>
              <a:gd name="connsiteY166" fmla="*/ 200475 h 26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323979" h="265162">
                <a:moveTo>
                  <a:pt x="95005" y="265029"/>
                </a:moveTo>
                <a:cubicBezTo>
                  <a:pt x="93698" y="265070"/>
                  <a:pt x="92402" y="264775"/>
                  <a:pt x="91245" y="264162"/>
                </a:cubicBezTo>
                <a:cubicBezTo>
                  <a:pt x="84940" y="260807"/>
                  <a:pt x="75743" y="247155"/>
                  <a:pt x="76148" y="239751"/>
                </a:cubicBezTo>
                <a:cubicBezTo>
                  <a:pt x="76495" y="233504"/>
                  <a:pt x="63654" y="215804"/>
                  <a:pt x="51159" y="213027"/>
                </a:cubicBezTo>
                <a:cubicBezTo>
                  <a:pt x="47515" y="212218"/>
                  <a:pt x="43119" y="211581"/>
                  <a:pt x="38491" y="210887"/>
                </a:cubicBezTo>
                <a:cubicBezTo>
                  <a:pt x="26171" y="209036"/>
                  <a:pt x="13503" y="207127"/>
                  <a:pt x="9569" y="202095"/>
                </a:cubicBezTo>
                <a:lnTo>
                  <a:pt x="9569" y="202095"/>
                </a:lnTo>
                <a:lnTo>
                  <a:pt x="9569" y="202095"/>
                </a:lnTo>
                <a:cubicBezTo>
                  <a:pt x="9540" y="201962"/>
                  <a:pt x="9540" y="201823"/>
                  <a:pt x="9569" y="201690"/>
                </a:cubicBezTo>
                <a:cubicBezTo>
                  <a:pt x="8453" y="198445"/>
                  <a:pt x="7035" y="195310"/>
                  <a:pt x="5346" y="192319"/>
                </a:cubicBezTo>
                <a:cubicBezTo>
                  <a:pt x="2929" y="188548"/>
                  <a:pt x="1494" y="184232"/>
                  <a:pt x="1182" y="179767"/>
                </a:cubicBezTo>
                <a:cubicBezTo>
                  <a:pt x="1182" y="176181"/>
                  <a:pt x="835" y="172826"/>
                  <a:pt x="546" y="169297"/>
                </a:cubicBezTo>
                <a:cubicBezTo>
                  <a:pt x="-328" y="162055"/>
                  <a:pt x="-328" y="154732"/>
                  <a:pt x="546" y="147490"/>
                </a:cubicBezTo>
                <a:cubicBezTo>
                  <a:pt x="1592" y="139403"/>
                  <a:pt x="5740" y="132039"/>
                  <a:pt x="12114" y="126955"/>
                </a:cubicBezTo>
                <a:cubicBezTo>
                  <a:pt x="14723" y="121153"/>
                  <a:pt x="18234" y="115802"/>
                  <a:pt x="22526" y="111106"/>
                </a:cubicBezTo>
                <a:cubicBezTo>
                  <a:pt x="27327" y="106305"/>
                  <a:pt x="26518" y="85076"/>
                  <a:pt x="25245" y="73275"/>
                </a:cubicBezTo>
                <a:cubicBezTo>
                  <a:pt x="24898" y="70094"/>
                  <a:pt x="23394" y="61012"/>
                  <a:pt x="22468" y="54939"/>
                </a:cubicBezTo>
                <a:cubicBezTo>
                  <a:pt x="22382" y="54482"/>
                  <a:pt x="22590" y="54019"/>
                  <a:pt x="22989" y="53782"/>
                </a:cubicBezTo>
                <a:cubicBezTo>
                  <a:pt x="24400" y="52781"/>
                  <a:pt x="25170" y="51110"/>
                  <a:pt x="25014" y="49386"/>
                </a:cubicBezTo>
                <a:cubicBezTo>
                  <a:pt x="25014" y="43081"/>
                  <a:pt x="35425" y="31223"/>
                  <a:pt x="37450" y="29140"/>
                </a:cubicBezTo>
                <a:cubicBezTo>
                  <a:pt x="38422" y="26861"/>
                  <a:pt x="38989" y="24438"/>
                  <a:pt x="39128" y="21968"/>
                </a:cubicBezTo>
                <a:cubicBezTo>
                  <a:pt x="39186" y="16687"/>
                  <a:pt x="40880" y="11550"/>
                  <a:pt x="43986" y="7275"/>
                </a:cubicBezTo>
                <a:cubicBezTo>
                  <a:pt x="46676" y="5522"/>
                  <a:pt x="49875" y="4730"/>
                  <a:pt x="53068" y="5019"/>
                </a:cubicBezTo>
                <a:cubicBezTo>
                  <a:pt x="57707" y="5164"/>
                  <a:pt x="62329" y="5661"/>
                  <a:pt x="66893" y="6523"/>
                </a:cubicBezTo>
                <a:lnTo>
                  <a:pt x="69901" y="7044"/>
                </a:lnTo>
                <a:cubicBezTo>
                  <a:pt x="71810" y="7044"/>
                  <a:pt x="73603" y="5598"/>
                  <a:pt x="75685" y="3804"/>
                </a:cubicBezTo>
                <a:cubicBezTo>
                  <a:pt x="77432" y="1676"/>
                  <a:pt x="79908" y="276"/>
                  <a:pt x="82627" y="-129"/>
                </a:cubicBezTo>
                <a:cubicBezTo>
                  <a:pt x="84200" y="-77"/>
                  <a:pt x="85698" y="542"/>
                  <a:pt x="86849" y="1607"/>
                </a:cubicBezTo>
                <a:cubicBezTo>
                  <a:pt x="90019" y="3781"/>
                  <a:pt x="93825" y="4840"/>
                  <a:pt x="97666" y="4614"/>
                </a:cubicBezTo>
                <a:cubicBezTo>
                  <a:pt x="101709" y="4192"/>
                  <a:pt x="105741" y="5494"/>
                  <a:pt x="108772" y="8201"/>
                </a:cubicBezTo>
                <a:cubicBezTo>
                  <a:pt x="110386" y="10306"/>
                  <a:pt x="111745" y="12603"/>
                  <a:pt x="112821" y="15026"/>
                </a:cubicBezTo>
                <a:cubicBezTo>
                  <a:pt x="114961" y="19133"/>
                  <a:pt x="117102" y="23414"/>
                  <a:pt x="120052" y="23414"/>
                </a:cubicBezTo>
                <a:cubicBezTo>
                  <a:pt x="120983" y="23373"/>
                  <a:pt x="121885" y="23073"/>
                  <a:pt x="122655" y="22546"/>
                </a:cubicBezTo>
                <a:cubicBezTo>
                  <a:pt x="129694" y="18439"/>
                  <a:pt x="137648" y="16154"/>
                  <a:pt x="145792" y="15894"/>
                </a:cubicBezTo>
                <a:cubicBezTo>
                  <a:pt x="150634" y="17103"/>
                  <a:pt x="155158" y="19353"/>
                  <a:pt x="159039" y="22488"/>
                </a:cubicBezTo>
                <a:cubicBezTo>
                  <a:pt x="161578" y="24345"/>
                  <a:pt x="164291" y="25953"/>
                  <a:pt x="167137" y="27289"/>
                </a:cubicBezTo>
                <a:cubicBezTo>
                  <a:pt x="172094" y="28521"/>
                  <a:pt x="177185" y="29129"/>
                  <a:pt x="182292" y="29083"/>
                </a:cubicBezTo>
                <a:cubicBezTo>
                  <a:pt x="185907" y="29320"/>
                  <a:pt x="189528" y="28724"/>
                  <a:pt x="192878" y="27347"/>
                </a:cubicBezTo>
                <a:cubicBezTo>
                  <a:pt x="194954" y="25918"/>
                  <a:pt x="196892" y="24287"/>
                  <a:pt x="198662" y="22488"/>
                </a:cubicBezTo>
                <a:cubicBezTo>
                  <a:pt x="203116" y="18381"/>
                  <a:pt x="208264" y="13754"/>
                  <a:pt x="213528" y="14332"/>
                </a:cubicBezTo>
                <a:cubicBezTo>
                  <a:pt x="217942" y="14558"/>
                  <a:pt x="222361" y="14558"/>
                  <a:pt x="226774" y="14332"/>
                </a:cubicBezTo>
                <a:cubicBezTo>
                  <a:pt x="230477" y="14332"/>
                  <a:pt x="234352" y="14332"/>
                  <a:pt x="237765" y="14332"/>
                </a:cubicBezTo>
                <a:cubicBezTo>
                  <a:pt x="241432" y="14020"/>
                  <a:pt x="245128" y="14431"/>
                  <a:pt x="248639" y="15547"/>
                </a:cubicBezTo>
                <a:lnTo>
                  <a:pt x="249796" y="16125"/>
                </a:lnTo>
                <a:cubicBezTo>
                  <a:pt x="254974" y="19237"/>
                  <a:pt x="260746" y="21204"/>
                  <a:pt x="266745" y="21910"/>
                </a:cubicBezTo>
                <a:cubicBezTo>
                  <a:pt x="267977" y="21921"/>
                  <a:pt x="269209" y="21748"/>
                  <a:pt x="270389" y="21389"/>
                </a:cubicBezTo>
                <a:cubicBezTo>
                  <a:pt x="274531" y="19139"/>
                  <a:pt x="278048" y="15900"/>
                  <a:pt x="280627" y="11961"/>
                </a:cubicBezTo>
                <a:cubicBezTo>
                  <a:pt x="282918" y="8432"/>
                  <a:pt x="286088" y="5563"/>
                  <a:pt x="289825" y="3631"/>
                </a:cubicBezTo>
                <a:cubicBezTo>
                  <a:pt x="292977" y="2324"/>
                  <a:pt x="296604" y="3660"/>
                  <a:pt x="298154" y="6697"/>
                </a:cubicBezTo>
                <a:cubicBezTo>
                  <a:pt x="298906" y="7686"/>
                  <a:pt x="299722" y="8634"/>
                  <a:pt x="300584" y="9531"/>
                </a:cubicBezTo>
                <a:cubicBezTo>
                  <a:pt x="301909" y="10983"/>
                  <a:pt x="303019" y="12620"/>
                  <a:pt x="303881" y="14390"/>
                </a:cubicBezTo>
                <a:cubicBezTo>
                  <a:pt x="305500" y="17282"/>
                  <a:pt x="306889" y="19827"/>
                  <a:pt x="310533" y="20174"/>
                </a:cubicBezTo>
                <a:cubicBezTo>
                  <a:pt x="310863" y="20192"/>
                  <a:pt x="311163" y="20365"/>
                  <a:pt x="311343" y="20637"/>
                </a:cubicBezTo>
                <a:cubicBezTo>
                  <a:pt x="311459" y="20932"/>
                  <a:pt x="311459" y="21268"/>
                  <a:pt x="311343" y="21563"/>
                </a:cubicBezTo>
                <a:cubicBezTo>
                  <a:pt x="310267" y="26306"/>
                  <a:pt x="309706" y="31159"/>
                  <a:pt x="309665" y="36024"/>
                </a:cubicBezTo>
                <a:cubicBezTo>
                  <a:pt x="309665" y="39379"/>
                  <a:pt x="315450" y="44700"/>
                  <a:pt x="320193" y="46262"/>
                </a:cubicBezTo>
                <a:cubicBezTo>
                  <a:pt x="324936" y="47824"/>
                  <a:pt x="324069" y="54071"/>
                  <a:pt x="323143" y="60145"/>
                </a:cubicBezTo>
                <a:cubicBezTo>
                  <a:pt x="323143" y="61591"/>
                  <a:pt x="322738" y="62979"/>
                  <a:pt x="322623" y="64368"/>
                </a:cubicBezTo>
                <a:cubicBezTo>
                  <a:pt x="321986" y="69747"/>
                  <a:pt x="316259" y="70962"/>
                  <a:pt x="311632" y="71945"/>
                </a:cubicBezTo>
                <a:cubicBezTo>
                  <a:pt x="309683" y="72096"/>
                  <a:pt x="307808" y="72755"/>
                  <a:pt x="306195" y="73854"/>
                </a:cubicBezTo>
                <a:cubicBezTo>
                  <a:pt x="303129" y="77903"/>
                  <a:pt x="289651" y="99595"/>
                  <a:pt x="290229" y="102776"/>
                </a:cubicBezTo>
                <a:cubicBezTo>
                  <a:pt x="291155" y="107115"/>
                  <a:pt x="287916" y="120130"/>
                  <a:pt x="283115" y="121807"/>
                </a:cubicBezTo>
                <a:cubicBezTo>
                  <a:pt x="280338" y="122964"/>
                  <a:pt x="280454" y="129500"/>
                  <a:pt x="280570" y="133376"/>
                </a:cubicBezTo>
                <a:cubicBezTo>
                  <a:pt x="280570" y="134070"/>
                  <a:pt x="280570" y="134706"/>
                  <a:pt x="280570" y="135227"/>
                </a:cubicBezTo>
                <a:cubicBezTo>
                  <a:pt x="280570" y="137541"/>
                  <a:pt x="277851" y="139796"/>
                  <a:pt x="274785" y="142342"/>
                </a:cubicBezTo>
                <a:cubicBezTo>
                  <a:pt x="271720" y="144887"/>
                  <a:pt x="267555" y="148126"/>
                  <a:pt x="267555" y="151423"/>
                </a:cubicBezTo>
                <a:cubicBezTo>
                  <a:pt x="267555" y="156860"/>
                  <a:pt x="258300" y="174040"/>
                  <a:pt x="249623" y="189716"/>
                </a:cubicBezTo>
                <a:cubicBezTo>
                  <a:pt x="248697" y="191394"/>
                  <a:pt x="247887" y="192782"/>
                  <a:pt x="247309" y="193939"/>
                </a:cubicBezTo>
                <a:lnTo>
                  <a:pt x="245053" y="198219"/>
                </a:lnTo>
                <a:cubicBezTo>
                  <a:pt x="241293" y="205334"/>
                  <a:pt x="239269" y="209441"/>
                  <a:pt x="236666" y="209441"/>
                </a:cubicBezTo>
                <a:cubicBezTo>
                  <a:pt x="234063" y="209441"/>
                  <a:pt x="234063" y="206664"/>
                  <a:pt x="233889" y="205739"/>
                </a:cubicBezTo>
                <a:cubicBezTo>
                  <a:pt x="231743" y="198740"/>
                  <a:pt x="225959" y="193464"/>
                  <a:pt x="218792" y="191972"/>
                </a:cubicBezTo>
                <a:cubicBezTo>
                  <a:pt x="217890" y="191966"/>
                  <a:pt x="217004" y="192227"/>
                  <a:pt x="216247" y="192724"/>
                </a:cubicBezTo>
                <a:cubicBezTo>
                  <a:pt x="213406" y="194604"/>
                  <a:pt x="210046" y="195535"/>
                  <a:pt x="206645" y="195385"/>
                </a:cubicBezTo>
                <a:lnTo>
                  <a:pt x="203637" y="195385"/>
                </a:lnTo>
                <a:cubicBezTo>
                  <a:pt x="202353" y="195200"/>
                  <a:pt x="201045" y="195200"/>
                  <a:pt x="199761" y="195385"/>
                </a:cubicBezTo>
                <a:cubicBezTo>
                  <a:pt x="188938" y="204449"/>
                  <a:pt x="178735" y="214231"/>
                  <a:pt x="169219" y="224654"/>
                </a:cubicBezTo>
                <a:cubicBezTo>
                  <a:pt x="167415" y="234511"/>
                  <a:pt x="164742" y="244188"/>
                  <a:pt x="161237" y="253576"/>
                </a:cubicBezTo>
                <a:cubicBezTo>
                  <a:pt x="161139" y="253912"/>
                  <a:pt x="160872" y="254172"/>
                  <a:pt x="160543" y="254270"/>
                </a:cubicBezTo>
                <a:cubicBezTo>
                  <a:pt x="160254" y="254415"/>
                  <a:pt x="159906" y="254415"/>
                  <a:pt x="159617" y="254270"/>
                </a:cubicBezTo>
                <a:cubicBezTo>
                  <a:pt x="158773" y="253478"/>
                  <a:pt x="157454" y="253478"/>
                  <a:pt x="156609" y="254270"/>
                </a:cubicBezTo>
                <a:cubicBezTo>
                  <a:pt x="153370" y="257278"/>
                  <a:pt x="142958" y="258609"/>
                  <a:pt x="123812" y="258609"/>
                </a:cubicBezTo>
                <a:lnTo>
                  <a:pt x="119473" y="258609"/>
                </a:lnTo>
                <a:cubicBezTo>
                  <a:pt x="115737" y="259106"/>
                  <a:pt x="112098" y="260136"/>
                  <a:pt x="108657" y="261674"/>
                </a:cubicBezTo>
                <a:cubicBezTo>
                  <a:pt x="104307" y="263491"/>
                  <a:pt x="99702" y="264619"/>
                  <a:pt x="95005" y="265029"/>
                </a:cubicBezTo>
                <a:close/>
                <a:moveTo>
                  <a:pt x="11305" y="200475"/>
                </a:moveTo>
                <a:lnTo>
                  <a:pt x="11305" y="200880"/>
                </a:lnTo>
                <a:cubicBezTo>
                  <a:pt x="14428" y="204987"/>
                  <a:pt x="27212" y="206664"/>
                  <a:pt x="38549" y="208631"/>
                </a:cubicBezTo>
                <a:cubicBezTo>
                  <a:pt x="43235" y="209325"/>
                  <a:pt x="47688" y="210019"/>
                  <a:pt x="51333" y="210829"/>
                </a:cubicBezTo>
                <a:cubicBezTo>
                  <a:pt x="64521" y="213722"/>
                  <a:pt x="78520" y="231942"/>
                  <a:pt x="78115" y="239751"/>
                </a:cubicBezTo>
                <a:cubicBezTo>
                  <a:pt x="77710" y="246172"/>
                  <a:pt x="86444" y="259129"/>
                  <a:pt x="92055" y="262079"/>
                </a:cubicBezTo>
                <a:cubicBezTo>
                  <a:pt x="92882" y="262479"/>
                  <a:pt x="93796" y="262681"/>
                  <a:pt x="94716" y="262658"/>
                </a:cubicBezTo>
                <a:cubicBezTo>
                  <a:pt x="99234" y="262160"/>
                  <a:pt x="103647" y="260951"/>
                  <a:pt x="107789" y="259071"/>
                </a:cubicBezTo>
                <a:cubicBezTo>
                  <a:pt x="111462" y="257435"/>
                  <a:pt x="115366" y="256364"/>
                  <a:pt x="119358" y="255890"/>
                </a:cubicBezTo>
                <a:lnTo>
                  <a:pt x="123696" y="255890"/>
                </a:lnTo>
                <a:cubicBezTo>
                  <a:pt x="146140" y="255890"/>
                  <a:pt x="153081" y="253865"/>
                  <a:pt x="154990" y="252130"/>
                </a:cubicBezTo>
                <a:cubicBezTo>
                  <a:pt x="156332" y="250944"/>
                  <a:pt x="158281" y="250736"/>
                  <a:pt x="159849" y="251609"/>
                </a:cubicBezTo>
                <a:cubicBezTo>
                  <a:pt x="163180" y="242562"/>
                  <a:pt x="165674" y="233232"/>
                  <a:pt x="167310" y="223728"/>
                </a:cubicBezTo>
                <a:cubicBezTo>
                  <a:pt x="167368" y="223491"/>
                  <a:pt x="167490" y="223272"/>
                  <a:pt x="167657" y="223092"/>
                </a:cubicBezTo>
                <a:cubicBezTo>
                  <a:pt x="172343" y="218233"/>
                  <a:pt x="196059" y="193823"/>
                  <a:pt x="199472" y="192955"/>
                </a:cubicBezTo>
                <a:cubicBezTo>
                  <a:pt x="200987" y="192736"/>
                  <a:pt x="202526" y="192736"/>
                  <a:pt x="204042" y="192955"/>
                </a:cubicBezTo>
                <a:lnTo>
                  <a:pt x="206934" y="192955"/>
                </a:lnTo>
                <a:cubicBezTo>
                  <a:pt x="209849" y="193123"/>
                  <a:pt x="212741" y="192371"/>
                  <a:pt x="215206" y="190815"/>
                </a:cubicBezTo>
                <a:cubicBezTo>
                  <a:pt x="216328" y="189994"/>
                  <a:pt x="217693" y="189566"/>
                  <a:pt x="219081" y="189601"/>
                </a:cubicBezTo>
                <a:cubicBezTo>
                  <a:pt x="227359" y="191052"/>
                  <a:pt x="234092" y="197091"/>
                  <a:pt x="236434" y="205160"/>
                </a:cubicBezTo>
                <a:cubicBezTo>
                  <a:pt x="236781" y="206780"/>
                  <a:pt x="237128" y="207069"/>
                  <a:pt x="237128" y="207069"/>
                </a:cubicBezTo>
                <a:cubicBezTo>
                  <a:pt x="239743" y="204073"/>
                  <a:pt x="241854" y="200678"/>
                  <a:pt x="243376" y="197004"/>
                </a:cubicBezTo>
                <a:lnTo>
                  <a:pt x="245632" y="192724"/>
                </a:lnTo>
                <a:lnTo>
                  <a:pt x="248003" y="188559"/>
                </a:lnTo>
                <a:cubicBezTo>
                  <a:pt x="253788" y="178147"/>
                  <a:pt x="265357" y="156629"/>
                  <a:pt x="265357" y="151307"/>
                </a:cubicBezTo>
                <a:cubicBezTo>
                  <a:pt x="265357" y="147143"/>
                  <a:pt x="269637" y="143614"/>
                  <a:pt x="273397" y="140490"/>
                </a:cubicBezTo>
                <a:cubicBezTo>
                  <a:pt x="275711" y="138582"/>
                  <a:pt x="278371" y="136384"/>
                  <a:pt x="278371" y="135111"/>
                </a:cubicBezTo>
                <a:cubicBezTo>
                  <a:pt x="278371" y="133839"/>
                  <a:pt x="278371" y="134012"/>
                  <a:pt x="278371" y="133318"/>
                </a:cubicBezTo>
                <a:cubicBezTo>
                  <a:pt x="278371" y="128517"/>
                  <a:pt x="278371" y="121229"/>
                  <a:pt x="282363" y="119551"/>
                </a:cubicBezTo>
                <a:cubicBezTo>
                  <a:pt x="285660" y="118221"/>
                  <a:pt x="288841" y="106767"/>
                  <a:pt x="288147" y="103065"/>
                </a:cubicBezTo>
                <a:cubicBezTo>
                  <a:pt x="287164" y="98091"/>
                  <a:pt x="303418" y="73680"/>
                  <a:pt x="304517" y="72234"/>
                </a:cubicBezTo>
                <a:cubicBezTo>
                  <a:pt x="306420" y="70620"/>
                  <a:pt x="308798" y="69666"/>
                  <a:pt x="311285" y="69516"/>
                </a:cubicBezTo>
                <a:cubicBezTo>
                  <a:pt x="316433" y="68417"/>
                  <a:pt x="320077" y="67376"/>
                  <a:pt x="320482" y="63731"/>
                </a:cubicBezTo>
                <a:cubicBezTo>
                  <a:pt x="320482" y="62285"/>
                  <a:pt x="320829" y="60839"/>
                  <a:pt x="321061" y="59451"/>
                </a:cubicBezTo>
                <a:cubicBezTo>
                  <a:pt x="321986" y="53088"/>
                  <a:pt x="322391" y="48923"/>
                  <a:pt x="319557" y="47882"/>
                </a:cubicBezTo>
                <a:cubicBezTo>
                  <a:pt x="314756" y="46204"/>
                  <a:pt x="307525" y="40304"/>
                  <a:pt x="307525" y="35503"/>
                </a:cubicBezTo>
                <a:cubicBezTo>
                  <a:pt x="307560" y="30841"/>
                  <a:pt x="308046" y="26190"/>
                  <a:pt x="308971" y="21621"/>
                </a:cubicBezTo>
                <a:cubicBezTo>
                  <a:pt x="305685" y="20510"/>
                  <a:pt x="303077" y="17982"/>
                  <a:pt x="301856" y="14737"/>
                </a:cubicBezTo>
                <a:cubicBezTo>
                  <a:pt x="301099" y="13181"/>
                  <a:pt x="300121" y="11741"/>
                  <a:pt x="298964" y="10457"/>
                </a:cubicBezTo>
                <a:cubicBezTo>
                  <a:pt x="298015" y="9491"/>
                  <a:pt x="297130" y="8467"/>
                  <a:pt x="296303" y="7391"/>
                </a:cubicBezTo>
                <a:cubicBezTo>
                  <a:pt x="294857" y="5482"/>
                  <a:pt x="294221" y="4672"/>
                  <a:pt x="292659" y="4672"/>
                </a:cubicBezTo>
                <a:cubicBezTo>
                  <a:pt x="291896" y="4724"/>
                  <a:pt x="291138" y="4857"/>
                  <a:pt x="290403" y="5077"/>
                </a:cubicBezTo>
                <a:cubicBezTo>
                  <a:pt x="288031" y="5771"/>
                  <a:pt x="285139" y="9300"/>
                  <a:pt x="282363" y="12713"/>
                </a:cubicBezTo>
                <a:cubicBezTo>
                  <a:pt x="279442" y="17028"/>
                  <a:pt x="275456" y="20516"/>
                  <a:pt x="270794" y="22835"/>
                </a:cubicBezTo>
                <a:cubicBezTo>
                  <a:pt x="269388" y="23269"/>
                  <a:pt x="267925" y="23483"/>
                  <a:pt x="266456" y="23472"/>
                </a:cubicBezTo>
                <a:cubicBezTo>
                  <a:pt x="260116" y="22835"/>
                  <a:pt x="253990" y="20863"/>
                  <a:pt x="248466" y="17687"/>
                </a:cubicBezTo>
                <a:lnTo>
                  <a:pt x="247367" y="17109"/>
                </a:lnTo>
                <a:cubicBezTo>
                  <a:pt x="244151" y="16229"/>
                  <a:pt x="240802" y="15894"/>
                  <a:pt x="237476" y="16125"/>
                </a:cubicBezTo>
                <a:cubicBezTo>
                  <a:pt x="234063" y="16125"/>
                  <a:pt x="230245" y="16125"/>
                  <a:pt x="226601" y="16125"/>
                </a:cubicBezTo>
                <a:cubicBezTo>
                  <a:pt x="220816" y="16125"/>
                  <a:pt x="215553" y="16472"/>
                  <a:pt x="213008" y="16125"/>
                </a:cubicBezTo>
                <a:lnTo>
                  <a:pt x="212313" y="16125"/>
                </a:lnTo>
                <a:cubicBezTo>
                  <a:pt x="208206" y="16125"/>
                  <a:pt x="203810" y="20174"/>
                  <a:pt x="199935" y="23703"/>
                </a:cubicBezTo>
                <a:cubicBezTo>
                  <a:pt x="197979" y="25658"/>
                  <a:pt x="195828" y="27399"/>
                  <a:pt x="193514" y="28909"/>
                </a:cubicBezTo>
                <a:cubicBezTo>
                  <a:pt x="189858" y="30436"/>
                  <a:pt x="185902" y="31124"/>
                  <a:pt x="181945" y="30933"/>
                </a:cubicBezTo>
                <a:cubicBezTo>
                  <a:pt x="176600" y="30980"/>
                  <a:pt x="171273" y="30338"/>
                  <a:pt x="166096" y="29025"/>
                </a:cubicBezTo>
                <a:cubicBezTo>
                  <a:pt x="163047" y="27631"/>
                  <a:pt x="160138" y="25947"/>
                  <a:pt x="157419" y="23992"/>
                </a:cubicBezTo>
                <a:cubicBezTo>
                  <a:pt x="153856" y="21175"/>
                  <a:pt x="149795" y="19058"/>
                  <a:pt x="145445" y="17745"/>
                </a:cubicBezTo>
                <a:cubicBezTo>
                  <a:pt x="137694" y="18023"/>
                  <a:pt x="130134" y="20186"/>
                  <a:pt x="123407" y="24050"/>
                </a:cubicBezTo>
                <a:cubicBezTo>
                  <a:pt x="122296" y="24802"/>
                  <a:pt x="120989" y="25224"/>
                  <a:pt x="119647" y="25265"/>
                </a:cubicBezTo>
                <a:cubicBezTo>
                  <a:pt x="115308" y="25265"/>
                  <a:pt x="112821" y="20348"/>
                  <a:pt x="110450" y="15605"/>
                </a:cubicBezTo>
                <a:cubicBezTo>
                  <a:pt x="109414" y="13372"/>
                  <a:pt x="108130" y="11255"/>
                  <a:pt x="106632" y="9300"/>
                </a:cubicBezTo>
                <a:cubicBezTo>
                  <a:pt x="104549" y="6812"/>
                  <a:pt x="100847" y="6639"/>
                  <a:pt x="97145" y="6465"/>
                </a:cubicBezTo>
                <a:cubicBezTo>
                  <a:pt x="92796" y="6708"/>
                  <a:pt x="88492" y="5465"/>
                  <a:pt x="84940" y="2937"/>
                </a:cubicBezTo>
                <a:cubicBezTo>
                  <a:pt x="84211" y="2202"/>
                  <a:pt x="83251" y="1751"/>
                  <a:pt x="82222" y="1664"/>
                </a:cubicBezTo>
                <a:cubicBezTo>
                  <a:pt x="80429" y="1664"/>
                  <a:pt x="78635" y="3400"/>
                  <a:pt x="76842" y="5019"/>
                </a:cubicBezTo>
                <a:cubicBezTo>
                  <a:pt x="75049" y="6639"/>
                  <a:pt x="72272" y="9242"/>
                  <a:pt x="69380" y="8837"/>
                </a:cubicBezTo>
                <a:lnTo>
                  <a:pt x="66314" y="8374"/>
                </a:lnTo>
                <a:cubicBezTo>
                  <a:pt x="61866" y="7524"/>
                  <a:pt x="57360" y="7021"/>
                  <a:pt x="52837" y="6870"/>
                </a:cubicBezTo>
                <a:cubicBezTo>
                  <a:pt x="50170" y="6633"/>
                  <a:pt x="47503" y="7241"/>
                  <a:pt x="45201" y="8606"/>
                </a:cubicBezTo>
                <a:cubicBezTo>
                  <a:pt x="42650" y="12562"/>
                  <a:pt x="41227" y="17143"/>
                  <a:pt x="41094" y="21852"/>
                </a:cubicBezTo>
                <a:cubicBezTo>
                  <a:pt x="40458" y="26480"/>
                  <a:pt x="40053" y="29140"/>
                  <a:pt x="38838" y="30355"/>
                </a:cubicBezTo>
                <a:cubicBezTo>
                  <a:pt x="36235" y="32958"/>
                  <a:pt x="27270" y="43891"/>
                  <a:pt x="27270" y="48981"/>
                </a:cubicBezTo>
                <a:cubicBezTo>
                  <a:pt x="27403" y="51197"/>
                  <a:pt x="26483" y="53342"/>
                  <a:pt x="24782" y="54765"/>
                </a:cubicBezTo>
                <a:cubicBezTo>
                  <a:pt x="25823" y="61128"/>
                  <a:pt x="27154" y="69400"/>
                  <a:pt x="27501" y="72466"/>
                </a:cubicBezTo>
                <a:cubicBezTo>
                  <a:pt x="28079" y="77961"/>
                  <a:pt x="30682" y="105668"/>
                  <a:pt x="24088" y="112205"/>
                </a:cubicBezTo>
                <a:cubicBezTo>
                  <a:pt x="19958" y="116792"/>
                  <a:pt x="16580" y="122004"/>
                  <a:pt x="14081" y="127649"/>
                </a:cubicBezTo>
                <a:cubicBezTo>
                  <a:pt x="13977" y="127829"/>
                  <a:pt x="13838" y="127985"/>
                  <a:pt x="13676" y="128112"/>
                </a:cubicBezTo>
                <a:cubicBezTo>
                  <a:pt x="7631" y="132832"/>
                  <a:pt x="3669" y="139721"/>
                  <a:pt x="2628" y="147316"/>
                </a:cubicBezTo>
                <a:cubicBezTo>
                  <a:pt x="1754" y="154368"/>
                  <a:pt x="1754" y="161494"/>
                  <a:pt x="2628" y="168545"/>
                </a:cubicBezTo>
                <a:cubicBezTo>
                  <a:pt x="2917" y="172131"/>
                  <a:pt x="3264" y="175544"/>
                  <a:pt x="3264" y="179246"/>
                </a:cubicBezTo>
                <a:cubicBezTo>
                  <a:pt x="3577" y="183371"/>
                  <a:pt x="4930" y="187356"/>
                  <a:pt x="7197" y="190815"/>
                </a:cubicBezTo>
                <a:cubicBezTo>
                  <a:pt x="8811" y="193927"/>
                  <a:pt x="10188" y="197155"/>
                  <a:pt x="11305" y="20047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5" name="Forma libre: forma 294">
            <a:extLst>
              <a:ext uri="{FF2B5EF4-FFF2-40B4-BE49-F238E27FC236}">
                <a16:creationId xmlns:a16="http://schemas.microsoft.com/office/drawing/2014/main" id="{7E8BB499-40AA-4312-98AD-6ADB0D3D5BD6}"/>
              </a:ext>
            </a:extLst>
          </p:cNvPr>
          <p:cNvSpPr/>
          <p:nvPr/>
        </p:nvSpPr>
        <p:spPr>
          <a:xfrm>
            <a:off x="6208259" y="4137522"/>
            <a:ext cx="83420" cy="170566"/>
          </a:xfrm>
          <a:custGeom>
            <a:avLst/>
            <a:gdLst>
              <a:gd name="connsiteX0" fmla="*/ 28061 w 83420"/>
              <a:gd name="connsiteY0" fmla="*/ 169744 h 170566"/>
              <a:gd name="connsiteX1" fmla="*/ 27367 w 83420"/>
              <a:gd name="connsiteY1" fmla="*/ 169744 h 170566"/>
              <a:gd name="connsiteX2" fmla="*/ 26904 w 83420"/>
              <a:gd name="connsiteY2" fmla="*/ 168876 h 170566"/>
              <a:gd name="connsiteX3" fmla="*/ 24590 w 83420"/>
              <a:gd name="connsiteY3" fmla="*/ 118609 h 170566"/>
              <a:gd name="connsiteX4" fmla="*/ 24012 w 83420"/>
              <a:gd name="connsiteY4" fmla="*/ 105768 h 170566"/>
              <a:gd name="connsiteX5" fmla="*/ 20657 w 83420"/>
              <a:gd name="connsiteY5" fmla="*/ 87258 h 170566"/>
              <a:gd name="connsiteX6" fmla="*/ 19674 w 83420"/>
              <a:gd name="connsiteY6" fmla="*/ 78639 h 170566"/>
              <a:gd name="connsiteX7" fmla="*/ 15451 w 83420"/>
              <a:gd name="connsiteY7" fmla="*/ 67070 h 170566"/>
              <a:gd name="connsiteX8" fmla="*/ 11460 w 83420"/>
              <a:gd name="connsiteY8" fmla="*/ 64872 h 170566"/>
              <a:gd name="connsiteX9" fmla="*/ -109 w 83420"/>
              <a:gd name="connsiteY9" fmla="*/ 40577 h 170566"/>
              <a:gd name="connsiteX10" fmla="*/ 238 w 83420"/>
              <a:gd name="connsiteY10" fmla="*/ 39710 h 170566"/>
              <a:gd name="connsiteX11" fmla="*/ 1106 w 83420"/>
              <a:gd name="connsiteY11" fmla="*/ 39420 h 170566"/>
              <a:gd name="connsiteX12" fmla="*/ 5039 w 83420"/>
              <a:gd name="connsiteY12" fmla="*/ 39420 h 170566"/>
              <a:gd name="connsiteX13" fmla="*/ 11402 w 83420"/>
              <a:gd name="connsiteY13" fmla="*/ 34561 h 170566"/>
              <a:gd name="connsiteX14" fmla="*/ 20715 w 83420"/>
              <a:gd name="connsiteY14" fmla="*/ 28777 h 170566"/>
              <a:gd name="connsiteX15" fmla="*/ 42465 w 83420"/>
              <a:gd name="connsiteY15" fmla="*/ 24381 h 170566"/>
              <a:gd name="connsiteX16" fmla="*/ 46745 w 83420"/>
              <a:gd name="connsiteY16" fmla="*/ 20621 h 170566"/>
              <a:gd name="connsiteX17" fmla="*/ 49811 w 83420"/>
              <a:gd name="connsiteY17" fmla="*/ 14489 h 170566"/>
              <a:gd name="connsiteX18" fmla="*/ 51893 w 83420"/>
              <a:gd name="connsiteY18" fmla="*/ 2921 h 170566"/>
              <a:gd name="connsiteX19" fmla="*/ 60917 w 83420"/>
              <a:gd name="connsiteY19" fmla="*/ 375 h 170566"/>
              <a:gd name="connsiteX20" fmla="*/ 66701 w 83420"/>
              <a:gd name="connsiteY20" fmla="*/ 7722 h 170566"/>
              <a:gd name="connsiteX21" fmla="*/ 70114 w 83420"/>
              <a:gd name="connsiteY21" fmla="*/ 13506 h 170566"/>
              <a:gd name="connsiteX22" fmla="*/ 77807 w 83420"/>
              <a:gd name="connsiteY22" fmla="*/ 14085 h 170566"/>
              <a:gd name="connsiteX23" fmla="*/ 78848 w 83420"/>
              <a:gd name="connsiteY23" fmla="*/ 14085 h 170566"/>
              <a:gd name="connsiteX24" fmla="*/ 79485 w 83420"/>
              <a:gd name="connsiteY24" fmla="*/ 14952 h 170566"/>
              <a:gd name="connsiteX25" fmla="*/ 82319 w 83420"/>
              <a:gd name="connsiteY25" fmla="*/ 33347 h 170566"/>
              <a:gd name="connsiteX26" fmla="*/ 78906 w 83420"/>
              <a:gd name="connsiteY26" fmla="*/ 73086 h 170566"/>
              <a:gd name="connsiteX27" fmla="*/ 68899 w 83420"/>
              <a:gd name="connsiteY27" fmla="*/ 88530 h 170566"/>
              <a:gd name="connsiteX28" fmla="*/ 68494 w 83420"/>
              <a:gd name="connsiteY28" fmla="*/ 88993 h 170566"/>
              <a:gd name="connsiteX29" fmla="*/ 57446 w 83420"/>
              <a:gd name="connsiteY29" fmla="*/ 108197 h 170566"/>
              <a:gd name="connsiteX30" fmla="*/ 57446 w 83420"/>
              <a:gd name="connsiteY30" fmla="*/ 129426 h 170566"/>
              <a:gd name="connsiteX31" fmla="*/ 58083 w 83420"/>
              <a:gd name="connsiteY31" fmla="*/ 140127 h 170566"/>
              <a:gd name="connsiteX32" fmla="*/ 62016 w 83420"/>
              <a:gd name="connsiteY32" fmla="*/ 151696 h 170566"/>
              <a:gd name="connsiteX33" fmla="*/ 66354 w 83420"/>
              <a:gd name="connsiteY33" fmla="*/ 161356 h 170566"/>
              <a:gd name="connsiteX34" fmla="*/ 65833 w 83420"/>
              <a:gd name="connsiteY34" fmla="*/ 162744 h 170566"/>
              <a:gd name="connsiteX35" fmla="*/ 64445 w 83420"/>
              <a:gd name="connsiteY35" fmla="*/ 162455 h 170566"/>
              <a:gd name="connsiteX36" fmla="*/ 62421 w 83420"/>
              <a:gd name="connsiteY36" fmla="*/ 161356 h 170566"/>
              <a:gd name="connsiteX37" fmla="*/ 57331 w 83420"/>
              <a:gd name="connsiteY37" fmla="*/ 164075 h 170566"/>
              <a:gd name="connsiteX38" fmla="*/ 46629 w 83420"/>
              <a:gd name="connsiteY38" fmla="*/ 168760 h 170566"/>
              <a:gd name="connsiteX39" fmla="*/ 28582 w 83420"/>
              <a:gd name="connsiteY39" fmla="*/ 170438 h 170566"/>
              <a:gd name="connsiteX40" fmla="*/ 2378 w 83420"/>
              <a:gd name="connsiteY40" fmla="*/ 41271 h 170566"/>
              <a:gd name="connsiteX41" fmla="*/ 12501 w 83420"/>
              <a:gd name="connsiteY41" fmla="*/ 62442 h 170566"/>
              <a:gd name="connsiteX42" fmla="*/ 16550 w 83420"/>
              <a:gd name="connsiteY42" fmla="*/ 64640 h 170566"/>
              <a:gd name="connsiteX43" fmla="*/ 21872 w 83420"/>
              <a:gd name="connsiteY43" fmla="*/ 78928 h 170566"/>
              <a:gd name="connsiteX44" fmla="*/ 22277 w 83420"/>
              <a:gd name="connsiteY44" fmla="*/ 85407 h 170566"/>
              <a:gd name="connsiteX45" fmla="*/ 26268 w 83420"/>
              <a:gd name="connsiteY45" fmla="*/ 105478 h 170566"/>
              <a:gd name="connsiteX46" fmla="*/ 26846 w 83420"/>
              <a:gd name="connsiteY46" fmla="*/ 118204 h 170566"/>
              <a:gd name="connsiteX47" fmla="*/ 29102 w 83420"/>
              <a:gd name="connsiteY47" fmla="*/ 167256 h 170566"/>
              <a:gd name="connsiteX48" fmla="*/ 46456 w 83420"/>
              <a:gd name="connsiteY48" fmla="*/ 165810 h 170566"/>
              <a:gd name="connsiteX49" fmla="*/ 55827 w 83420"/>
              <a:gd name="connsiteY49" fmla="*/ 161587 h 170566"/>
              <a:gd name="connsiteX50" fmla="*/ 62941 w 83420"/>
              <a:gd name="connsiteY50" fmla="*/ 158464 h 170566"/>
              <a:gd name="connsiteX51" fmla="*/ 59818 w 83420"/>
              <a:gd name="connsiteY51" fmla="*/ 152043 h 170566"/>
              <a:gd name="connsiteX52" fmla="*/ 55653 w 83420"/>
              <a:gd name="connsiteY52" fmla="*/ 139491 h 170566"/>
              <a:gd name="connsiteX53" fmla="*/ 55017 w 83420"/>
              <a:gd name="connsiteY53" fmla="*/ 129021 h 170566"/>
              <a:gd name="connsiteX54" fmla="*/ 55017 w 83420"/>
              <a:gd name="connsiteY54" fmla="*/ 107214 h 170566"/>
              <a:gd name="connsiteX55" fmla="*/ 66585 w 83420"/>
              <a:gd name="connsiteY55" fmla="*/ 86679 h 170566"/>
              <a:gd name="connsiteX56" fmla="*/ 76997 w 83420"/>
              <a:gd name="connsiteY56" fmla="*/ 70830 h 170566"/>
              <a:gd name="connsiteX57" fmla="*/ 79716 w 83420"/>
              <a:gd name="connsiteY57" fmla="*/ 33000 h 170566"/>
              <a:gd name="connsiteX58" fmla="*/ 77171 w 83420"/>
              <a:gd name="connsiteY58" fmla="*/ 16109 h 170566"/>
              <a:gd name="connsiteX59" fmla="*/ 68841 w 83420"/>
              <a:gd name="connsiteY59" fmla="*/ 15010 h 170566"/>
              <a:gd name="connsiteX60" fmla="*/ 64098 w 83420"/>
              <a:gd name="connsiteY60" fmla="*/ 7548 h 170566"/>
              <a:gd name="connsiteX61" fmla="*/ 60107 w 83420"/>
              <a:gd name="connsiteY61" fmla="*/ 1764 h 170566"/>
              <a:gd name="connsiteX62" fmla="*/ 53513 w 83420"/>
              <a:gd name="connsiteY62" fmla="*/ 3557 h 170566"/>
              <a:gd name="connsiteX63" fmla="*/ 51835 w 83420"/>
              <a:gd name="connsiteY63" fmla="*/ 13390 h 170566"/>
              <a:gd name="connsiteX64" fmla="*/ 47786 w 83420"/>
              <a:gd name="connsiteY64" fmla="*/ 21951 h 170566"/>
              <a:gd name="connsiteX65" fmla="*/ 44373 w 83420"/>
              <a:gd name="connsiteY65" fmla="*/ 24843 h 170566"/>
              <a:gd name="connsiteX66" fmla="*/ 20831 w 83420"/>
              <a:gd name="connsiteY66" fmla="*/ 30108 h 170566"/>
              <a:gd name="connsiteX67" fmla="*/ 13080 w 83420"/>
              <a:gd name="connsiteY67" fmla="*/ 35256 h 170566"/>
              <a:gd name="connsiteX68" fmla="*/ 5849 w 83420"/>
              <a:gd name="connsiteY68" fmla="*/ 40577 h 170566"/>
              <a:gd name="connsiteX69" fmla="*/ 2378 w 83420"/>
              <a:gd name="connsiteY69" fmla="*/ 41271 h 17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3420" h="170566">
                <a:moveTo>
                  <a:pt x="28061" y="169744"/>
                </a:moveTo>
                <a:cubicBezTo>
                  <a:pt x="27836" y="169813"/>
                  <a:pt x="27593" y="169813"/>
                  <a:pt x="27367" y="169744"/>
                </a:cubicBezTo>
                <a:cubicBezTo>
                  <a:pt x="27084" y="169541"/>
                  <a:pt x="26916" y="169223"/>
                  <a:pt x="26904" y="168876"/>
                </a:cubicBezTo>
                <a:cubicBezTo>
                  <a:pt x="25921" y="142615"/>
                  <a:pt x="25111" y="125724"/>
                  <a:pt x="24590" y="118609"/>
                </a:cubicBezTo>
                <a:cubicBezTo>
                  <a:pt x="24186" y="113982"/>
                  <a:pt x="24128" y="109586"/>
                  <a:pt x="24012" y="105768"/>
                </a:cubicBezTo>
                <a:cubicBezTo>
                  <a:pt x="24012" y="97091"/>
                  <a:pt x="23723" y="90323"/>
                  <a:pt x="20657" y="87258"/>
                </a:cubicBezTo>
                <a:cubicBezTo>
                  <a:pt x="17592" y="84192"/>
                  <a:pt x="18980" y="81473"/>
                  <a:pt x="19674" y="78639"/>
                </a:cubicBezTo>
                <a:cubicBezTo>
                  <a:pt x="20657" y="74416"/>
                  <a:pt x="21583" y="70367"/>
                  <a:pt x="15451" y="67070"/>
                </a:cubicBezTo>
                <a:cubicBezTo>
                  <a:pt x="14005" y="66202"/>
                  <a:pt x="12675" y="65508"/>
                  <a:pt x="11460" y="64872"/>
                </a:cubicBezTo>
                <a:cubicBezTo>
                  <a:pt x="4056" y="60996"/>
                  <a:pt x="1048" y="59435"/>
                  <a:pt x="-109" y="40577"/>
                </a:cubicBezTo>
                <a:cubicBezTo>
                  <a:pt x="-120" y="40253"/>
                  <a:pt x="7" y="39935"/>
                  <a:pt x="238" y="39710"/>
                </a:cubicBezTo>
                <a:cubicBezTo>
                  <a:pt x="481" y="39501"/>
                  <a:pt x="788" y="39397"/>
                  <a:pt x="1106" y="39420"/>
                </a:cubicBezTo>
                <a:cubicBezTo>
                  <a:pt x="2413" y="39594"/>
                  <a:pt x="3732" y="39594"/>
                  <a:pt x="5039" y="39420"/>
                </a:cubicBezTo>
                <a:cubicBezTo>
                  <a:pt x="7428" y="38183"/>
                  <a:pt x="9580" y="36540"/>
                  <a:pt x="11402" y="34561"/>
                </a:cubicBezTo>
                <a:cubicBezTo>
                  <a:pt x="14468" y="31727"/>
                  <a:pt x="17592" y="28777"/>
                  <a:pt x="20715" y="28777"/>
                </a:cubicBezTo>
                <a:cubicBezTo>
                  <a:pt x="27772" y="28777"/>
                  <a:pt x="39861" y="27562"/>
                  <a:pt x="42465" y="24381"/>
                </a:cubicBezTo>
                <a:cubicBezTo>
                  <a:pt x="43656" y="22883"/>
                  <a:pt x="45108" y="21610"/>
                  <a:pt x="46745" y="20621"/>
                </a:cubicBezTo>
                <a:cubicBezTo>
                  <a:pt x="49232" y="18944"/>
                  <a:pt x="50736" y="17960"/>
                  <a:pt x="49811" y="14489"/>
                </a:cubicBezTo>
                <a:cubicBezTo>
                  <a:pt x="48856" y="10510"/>
                  <a:pt x="49614" y="6316"/>
                  <a:pt x="51893" y="2921"/>
                </a:cubicBezTo>
                <a:cubicBezTo>
                  <a:pt x="54022" y="190"/>
                  <a:pt x="57678" y="-839"/>
                  <a:pt x="60917" y="375"/>
                </a:cubicBezTo>
                <a:cubicBezTo>
                  <a:pt x="64370" y="1104"/>
                  <a:pt x="66805" y="4193"/>
                  <a:pt x="66701" y="7722"/>
                </a:cubicBezTo>
                <a:cubicBezTo>
                  <a:pt x="66990" y="10151"/>
                  <a:pt x="67164" y="12060"/>
                  <a:pt x="70114" y="13506"/>
                </a:cubicBezTo>
                <a:cubicBezTo>
                  <a:pt x="72445" y="14900"/>
                  <a:pt x="75297" y="15114"/>
                  <a:pt x="77807" y="14085"/>
                </a:cubicBezTo>
                <a:cubicBezTo>
                  <a:pt x="78137" y="13934"/>
                  <a:pt x="78519" y="13934"/>
                  <a:pt x="78848" y="14085"/>
                </a:cubicBezTo>
                <a:cubicBezTo>
                  <a:pt x="79184" y="14258"/>
                  <a:pt x="79421" y="14582"/>
                  <a:pt x="79485" y="14952"/>
                </a:cubicBezTo>
                <a:cubicBezTo>
                  <a:pt x="80526" y="21373"/>
                  <a:pt x="81972" y="30165"/>
                  <a:pt x="82319" y="33347"/>
                </a:cubicBezTo>
                <a:cubicBezTo>
                  <a:pt x="82898" y="38842"/>
                  <a:pt x="85501" y="66549"/>
                  <a:pt x="78906" y="73086"/>
                </a:cubicBezTo>
                <a:cubicBezTo>
                  <a:pt x="74753" y="77655"/>
                  <a:pt x="71375" y="82873"/>
                  <a:pt x="68899" y="88530"/>
                </a:cubicBezTo>
                <a:cubicBezTo>
                  <a:pt x="68795" y="88709"/>
                  <a:pt x="68656" y="88866"/>
                  <a:pt x="68494" y="88993"/>
                </a:cubicBezTo>
                <a:cubicBezTo>
                  <a:pt x="62450" y="93713"/>
                  <a:pt x="58487" y="100602"/>
                  <a:pt x="57446" y="108197"/>
                </a:cubicBezTo>
                <a:cubicBezTo>
                  <a:pt x="56573" y="115249"/>
                  <a:pt x="56573" y="122375"/>
                  <a:pt x="57446" y="129426"/>
                </a:cubicBezTo>
                <a:cubicBezTo>
                  <a:pt x="57735" y="133012"/>
                  <a:pt x="58083" y="136425"/>
                  <a:pt x="58083" y="140127"/>
                </a:cubicBezTo>
                <a:cubicBezTo>
                  <a:pt x="58395" y="144252"/>
                  <a:pt x="59748" y="148237"/>
                  <a:pt x="62016" y="151696"/>
                </a:cubicBezTo>
                <a:cubicBezTo>
                  <a:pt x="63728" y="154791"/>
                  <a:pt x="65180" y="158018"/>
                  <a:pt x="66354" y="161356"/>
                </a:cubicBezTo>
                <a:cubicBezTo>
                  <a:pt x="66539" y="161883"/>
                  <a:pt x="66319" y="162467"/>
                  <a:pt x="65833" y="162744"/>
                </a:cubicBezTo>
                <a:cubicBezTo>
                  <a:pt x="65359" y="162976"/>
                  <a:pt x="64787" y="162854"/>
                  <a:pt x="64445" y="162455"/>
                </a:cubicBezTo>
                <a:cubicBezTo>
                  <a:pt x="63977" y="161796"/>
                  <a:pt x="63230" y="161385"/>
                  <a:pt x="62421" y="161356"/>
                </a:cubicBezTo>
                <a:cubicBezTo>
                  <a:pt x="60524" y="161819"/>
                  <a:pt x="58771" y="162750"/>
                  <a:pt x="57331" y="164075"/>
                </a:cubicBezTo>
                <a:cubicBezTo>
                  <a:pt x="54363" y="166747"/>
                  <a:pt x="50609" y="168390"/>
                  <a:pt x="46629" y="168760"/>
                </a:cubicBezTo>
                <a:cubicBezTo>
                  <a:pt x="40573" y="168766"/>
                  <a:pt x="34534" y="169333"/>
                  <a:pt x="28582" y="170438"/>
                </a:cubicBezTo>
                <a:close/>
                <a:moveTo>
                  <a:pt x="2378" y="41271"/>
                </a:moveTo>
                <a:cubicBezTo>
                  <a:pt x="3304" y="57641"/>
                  <a:pt x="5733" y="58625"/>
                  <a:pt x="12501" y="62442"/>
                </a:cubicBezTo>
                <a:cubicBezTo>
                  <a:pt x="13716" y="63079"/>
                  <a:pt x="15104" y="63773"/>
                  <a:pt x="16550" y="64640"/>
                </a:cubicBezTo>
                <a:cubicBezTo>
                  <a:pt x="21924" y="67151"/>
                  <a:pt x="24296" y="73514"/>
                  <a:pt x="21872" y="78928"/>
                </a:cubicBezTo>
                <a:cubicBezTo>
                  <a:pt x="21178" y="81994"/>
                  <a:pt x="20831" y="83961"/>
                  <a:pt x="22277" y="85407"/>
                </a:cubicBezTo>
                <a:cubicBezTo>
                  <a:pt x="25921" y="89109"/>
                  <a:pt x="26094" y="96339"/>
                  <a:pt x="26268" y="105478"/>
                </a:cubicBezTo>
                <a:cubicBezTo>
                  <a:pt x="26268" y="109296"/>
                  <a:pt x="26268" y="113635"/>
                  <a:pt x="26846" y="118204"/>
                </a:cubicBezTo>
                <a:cubicBezTo>
                  <a:pt x="27367" y="125204"/>
                  <a:pt x="28177" y="141689"/>
                  <a:pt x="29102" y="167256"/>
                </a:cubicBezTo>
                <a:cubicBezTo>
                  <a:pt x="34841" y="166307"/>
                  <a:pt x="40642" y="165822"/>
                  <a:pt x="46456" y="165810"/>
                </a:cubicBezTo>
                <a:cubicBezTo>
                  <a:pt x="49944" y="165417"/>
                  <a:pt x="53223" y="163942"/>
                  <a:pt x="55827" y="161587"/>
                </a:cubicBezTo>
                <a:cubicBezTo>
                  <a:pt x="57712" y="159673"/>
                  <a:pt x="60257" y="158557"/>
                  <a:pt x="62941" y="158464"/>
                </a:cubicBezTo>
                <a:cubicBezTo>
                  <a:pt x="62028" y="156266"/>
                  <a:pt x="60986" y="154120"/>
                  <a:pt x="59818" y="152043"/>
                </a:cubicBezTo>
                <a:cubicBezTo>
                  <a:pt x="57400" y="148272"/>
                  <a:pt x="55965" y="143957"/>
                  <a:pt x="55653" y="139491"/>
                </a:cubicBezTo>
                <a:cubicBezTo>
                  <a:pt x="55653" y="135905"/>
                  <a:pt x="55306" y="132550"/>
                  <a:pt x="55017" y="129021"/>
                </a:cubicBezTo>
                <a:cubicBezTo>
                  <a:pt x="54143" y="121779"/>
                  <a:pt x="54143" y="114456"/>
                  <a:pt x="55017" y="107214"/>
                </a:cubicBezTo>
                <a:cubicBezTo>
                  <a:pt x="56064" y="99127"/>
                  <a:pt x="60211" y="91764"/>
                  <a:pt x="66585" y="86679"/>
                </a:cubicBezTo>
                <a:cubicBezTo>
                  <a:pt x="69194" y="80877"/>
                  <a:pt x="72705" y="75527"/>
                  <a:pt x="76997" y="70830"/>
                </a:cubicBezTo>
                <a:cubicBezTo>
                  <a:pt x="81799" y="66029"/>
                  <a:pt x="80989" y="44800"/>
                  <a:pt x="79716" y="33000"/>
                </a:cubicBezTo>
                <a:cubicBezTo>
                  <a:pt x="79369" y="30108"/>
                  <a:pt x="78096" y="22067"/>
                  <a:pt x="77171" y="16109"/>
                </a:cubicBezTo>
                <a:cubicBezTo>
                  <a:pt x="74348" y="16693"/>
                  <a:pt x="71416" y="16306"/>
                  <a:pt x="68841" y="15010"/>
                </a:cubicBezTo>
                <a:cubicBezTo>
                  <a:pt x="65880" y="13732"/>
                  <a:pt x="64000" y="10770"/>
                  <a:pt x="64098" y="7548"/>
                </a:cubicBezTo>
                <a:cubicBezTo>
                  <a:pt x="64098" y="4945"/>
                  <a:pt x="63577" y="3094"/>
                  <a:pt x="60107" y="1764"/>
                </a:cubicBezTo>
                <a:cubicBezTo>
                  <a:pt x="57753" y="861"/>
                  <a:pt x="55086" y="1584"/>
                  <a:pt x="53513" y="3557"/>
                </a:cubicBezTo>
                <a:cubicBezTo>
                  <a:pt x="51563" y="6443"/>
                  <a:pt x="50950" y="10024"/>
                  <a:pt x="51835" y="13390"/>
                </a:cubicBezTo>
                <a:cubicBezTo>
                  <a:pt x="52917" y="16861"/>
                  <a:pt x="51153" y="20580"/>
                  <a:pt x="47786" y="21951"/>
                </a:cubicBezTo>
                <a:cubicBezTo>
                  <a:pt x="46508" y="22732"/>
                  <a:pt x="45357" y="23710"/>
                  <a:pt x="44373" y="24843"/>
                </a:cubicBezTo>
                <a:cubicBezTo>
                  <a:pt x="40151" y="30050"/>
                  <a:pt x="21640" y="30108"/>
                  <a:pt x="20831" y="30108"/>
                </a:cubicBezTo>
                <a:cubicBezTo>
                  <a:pt x="18633" y="30108"/>
                  <a:pt x="15798" y="32711"/>
                  <a:pt x="13080" y="35256"/>
                </a:cubicBezTo>
                <a:cubicBezTo>
                  <a:pt x="11038" y="37482"/>
                  <a:pt x="8585" y="39293"/>
                  <a:pt x="5849" y="40577"/>
                </a:cubicBezTo>
                <a:cubicBezTo>
                  <a:pt x="4733" y="40982"/>
                  <a:pt x="3564" y="41214"/>
                  <a:pt x="2378" y="4127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6" name="Forma libre: forma 295">
            <a:extLst>
              <a:ext uri="{FF2B5EF4-FFF2-40B4-BE49-F238E27FC236}">
                <a16:creationId xmlns:a16="http://schemas.microsoft.com/office/drawing/2014/main" id="{E387BF17-BCED-3053-0DBD-12A2DBE83B08}"/>
              </a:ext>
            </a:extLst>
          </p:cNvPr>
          <p:cNvSpPr/>
          <p:nvPr/>
        </p:nvSpPr>
        <p:spPr>
          <a:xfrm>
            <a:off x="6184709" y="4173098"/>
            <a:ext cx="53111" cy="143899"/>
          </a:xfrm>
          <a:custGeom>
            <a:avLst/>
            <a:gdLst>
              <a:gd name="connsiteX0" fmla="*/ 30787 w 53111"/>
              <a:gd name="connsiteY0" fmla="*/ 143770 h 143899"/>
              <a:gd name="connsiteX1" fmla="*/ 30440 w 53111"/>
              <a:gd name="connsiteY1" fmla="*/ 143770 h 143899"/>
              <a:gd name="connsiteX2" fmla="*/ 29804 w 53111"/>
              <a:gd name="connsiteY2" fmla="*/ 143249 h 143899"/>
              <a:gd name="connsiteX3" fmla="*/ 19681 w 53111"/>
              <a:gd name="connsiteY3" fmla="*/ 111262 h 143899"/>
              <a:gd name="connsiteX4" fmla="*/ 12451 w 53111"/>
              <a:gd name="connsiteY4" fmla="*/ 74126 h 143899"/>
              <a:gd name="connsiteX5" fmla="*/ 11410 w 53111"/>
              <a:gd name="connsiteY5" fmla="*/ 40055 h 143899"/>
              <a:gd name="connsiteX6" fmla="*/ 11757 w 53111"/>
              <a:gd name="connsiteY6" fmla="*/ 35428 h 143899"/>
              <a:gd name="connsiteX7" fmla="*/ 5972 w 53111"/>
              <a:gd name="connsiteY7" fmla="*/ 20157 h 143899"/>
              <a:gd name="connsiteX8" fmla="*/ -101 w 53111"/>
              <a:gd name="connsiteY8" fmla="*/ 1763 h 143899"/>
              <a:gd name="connsiteX9" fmla="*/ 535 w 53111"/>
              <a:gd name="connsiteY9" fmla="*/ 548 h 143899"/>
              <a:gd name="connsiteX10" fmla="*/ 4410 w 53111"/>
              <a:gd name="connsiteY10" fmla="*/ -89 h 143899"/>
              <a:gd name="connsiteX11" fmla="*/ 14533 w 53111"/>
              <a:gd name="connsiteY11" fmla="*/ 1647 h 143899"/>
              <a:gd name="connsiteX12" fmla="*/ 25061 w 53111"/>
              <a:gd name="connsiteY12" fmla="*/ 3440 h 143899"/>
              <a:gd name="connsiteX13" fmla="*/ 26102 w 53111"/>
              <a:gd name="connsiteY13" fmla="*/ 4481 h 143899"/>
              <a:gd name="connsiteX14" fmla="*/ 36340 w 53111"/>
              <a:gd name="connsiteY14" fmla="*/ 26925 h 143899"/>
              <a:gd name="connsiteX15" fmla="*/ 40390 w 53111"/>
              <a:gd name="connsiteY15" fmla="*/ 29123 h 143899"/>
              <a:gd name="connsiteX16" fmla="*/ 45711 w 53111"/>
              <a:gd name="connsiteY16" fmla="*/ 43410 h 143899"/>
              <a:gd name="connsiteX17" fmla="*/ 46116 w 53111"/>
              <a:gd name="connsiteY17" fmla="*/ 49889 h 143899"/>
              <a:gd name="connsiteX18" fmla="*/ 50107 w 53111"/>
              <a:gd name="connsiteY18" fmla="*/ 69961 h 143899"/>
              <a:gd name="connsiteX19" fmla="*/ 50686 w 53111"/>
              <a:gd name="connsiteY19" fmla="*/ 82687 h 143899"/>
              <a:gd name="connsiteX20" fmla="*/ 53000 w 53111"/>
              <a:gd name="connsiteY20" fmla="*/ 133069 h 143899"/>
              <a:gd name="connsiteX21" fmla="*/ 52074 w 53111"/>
              <a:gd name="connsiteY21" fmla="*/ 134226 h 143899"/>
              <a:gd name="connsiteX22" fmla="*/ 37382 w 53111"/>
              <a:gd name="connsiteY22" fmla="*/ 140010 h 143899"/>
              <a:gd name="connsiteX23" fmla="*/ 31597 w 53111"/>
              <a:gd name="connsiteY23" fmla="*/ 143712 h 143899"/>
              <a:gd name="connsiteX24" fmla="*/ 1865 w 53111"/>
              <a:gd name="connsiteY24" fmla="*/ 2225 h 143899"/>
              <a:gd name="connsiteX25" fmla="*/ 6666 w 53111"/>
              <a:gd name="connsiteY25" fmla="*/ 18132 h 143899"/>
              <a:gd name="connsiteX26" fmla="*/ 13897 w 53111"/>
              <a:gd name="connsiteY26" fmla="*/ 35485 h 143899"/>
              <a:gd name="connsiteX27" fmla="*/ 13550 w 53111"/>
              <a:gd name="connsiteY27" fmla="*/ 40171 h 143899"/>
              <a:gd name="connsiteX28" fmla="*/ 14418 w 53111"/>
              <a:gd name="connsiteY28" fmla="*/ 73200 h 143899"/>
              <a:gd name="connsiteX29" fmla="*/ 21821 w 53111"/>
              <a:gd name="connsiteY29" fmla="*/ 111146 h 143899"/>
              <a:gd name="connsiteX30" fmla="*/ 31134 w 53111"/>
              <a:gd name="connsiteY30" fmla="*/ 141051 h 143899"/>
              <a:gd name="connsiteX31" fmla="*/ 35531 w 53111"/>
              <a:gd name="connsiteY31" fmla="*/ 138159 h 143899"/>
              <a:gd name="connsiteX32" fmla="*/ 50339 w 53111"/>
              <a:gd name="connsiteY32" fmla="*/ 132086 h 143899"/>
              <a:gd name="connsiteX33" fmla="*/ 48025 w 53111"/>
              <a:gd name="connsiteY33" fmla="*/ 82745 h 143899"/>
              <a:gd name="connsiteX34" fmla="*/ 47446 w 53111"/>
              <a:gd name="connsiteY34" fmla="*/ 69903 h 143899"/>
              <a:gd name="connsiteX35" fmla="*/ 44091 w 53111"/>
              <a:gd name="connsiteY35" fmla="*/ 51393 h 143899"/>
              <a:gd name="connsiteX36" fmla="*/ 43108 w 53111"/>
              <a:gd name="connsiteY36" fmla="*/ 42774 h 143899"/>
              <a:gd name="connsiteX37" fmla="*/ 38886 w 53111"/>
              <a:gd name="connsiteY37" fmla="*/ 31205 h 143899"/>
              <a:gd name="connsiteX38" fmla="*/ 34894 w 53111"/>
              <a:gd name="connsiteY38" fmla="*/ 29007 h 143899"/>
              <a:gd name="connsiteX39" fmla="*/ 23325 w 53111"/>
              <a:gd name="connsiteY39" fmla="*/ 5869 h 143899"/>
              <a:gd name="connsiteX40" fmla="*/ 13492 w 53111"/>
              <a:gd name="connsiteY40" fmla="*/ 4134 h 143899"/>
              <a:gd name="connsiteX41" fmla="*/ 3600 w 53111"/>
              <a:gd name="connsiteY41" fmla="*/ 2457 h 143899"/>
              <a:gd name="connsiteX42" fmla="*/ 1981 w 53111"/>
              <a:gd name="connsiteY42" fmla="*/ 2399 h 14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3111" h="143899">
                <a:moveTo>
                  <a:pt x="30787" y="143770"/>
                </a:moveTo>
                <a:lnTo>
                  <a:pt x="30440" y="143770"/>
                </a:lnTo>
                <a:cubicBezTo>
                  <a:pt x="30163" y="143695"/>
                  <a:pt x="29931" y="143510"/>
                  <a:pt x="29804" y="143249"/>
                </a:cubicBezTo>
                <a:cubicBezTo>
                  <a:pt x="24286" y="133387"/>
                  <a:pt x="20838" y="122501"/>
                  <a:pt x="19681" y="111262"/>
                </a:cubicBezTo>
                <a:cubicBezTo>
                  <a:pt x="19490" y="98553"/>
                  <a:pt x="17044" y="85978"/>
                  <a:pt x="12451" y="74126"/>
                </a:cubicBezTo>
                <a:cubicBezTo>
                  <a:pt x="9269" y="66085"/>
                  <a:pt x="10542" y="50409"/>
                  <a:pt x="11410" y="40055"/>
                </a:cubicBezTo>
                <a:cubicBezTo>
                  <a:pt x="11410" y="38320"/>
                  <a:pt x="11410" y="36758"/>
                  <a:pt x="11757" y="35428"/>
                </a:cubicBezTo>
                <a:cubicBezTo>
                  <a:pt x="13047" y="29638"/>
                  <a:pt x="10773" y="23639"/>
                  <a:pt x="5972" y="20157"/>
                </a:cubicBezTo>
                <a:cubicBezTo>
                  <a:pt x="4468" y="19347"/>
                  <a:pt x="2386" y="16455"/>
                  <a:pt x="-101" y="1763"/>
                </a:cubicBezTo>
                <a:cubicBezTo>
                  <a:pt x="-159" y="1265"/>
                  <a:pt x="95" y="785"/>
                  <a:pt x="535" y="548"/>
                </a:cubicBezTo>
                <a:cubicBezTo>
                  <a:pt x="1750" y="-8"/>
                  <a:pt x="3086" y="-227"/>
                  <a:pt x="4410" y="-89"/>
                </a:cubicBezTo>
                <a:cubicBezTo>
                  <a:pt x="7476" y="201"/>
                  <a:pt x="11063" y="953"/>
                  <a:pt x="14533" y="1647"/>
                </a:cubicBezTo>
                <a:cubicBezTo>
                  <a:pt x="18010" y="2433"/>
                  <a:pt x="21521" y="3035"/>
                  <a:pt x="25061" y="3440"/>
                </a:cubicBezTo>
                <a:cubicBezTo>
                  <a:pt x="25633" y="3440"/>
                  <a:pt x="26102" y="3908"/>
                  <a:pt x="26102" y="4481"/>
                </a:cubicBezTo>
                <a:cubicBezTo>
                  <a:pt x="27028" y="21834"/>
                  <a:pt x="29399" y="23280"/>
                  <a:pt x="36340" y="26925"/>
                </a:cubicBezTo>
                <a:cubicBezTo>
                  <a:pt x="37555" y="27561"/>
                  <a:pt x="38944" y="28255"/>
                  <a:pt x="40390" y="29123"/>
                </a:cubicBezTo>
                <a:cubicBezTo>
                  <a:pt x="45763" y="31639"/>
                  <a:pt x="48135" y="37996"/>
                  <a:pt x="45711" y="43410"/>
                </a:cubicBezTo>
                <a:cubicBezTo>
                  <a:pt x="45017" y="46476"/>
                  <a:pt x="44670" y="48443"/>
                  <a:pt x="46116" y="49889"/>
                </a:cubicBezTo>
                <a:cubicBezTo>
                  <a:pt x="49760" y="53591"/>
                  <a:pt x="49934" y="60821"/>
                  <a:pt x="50107" y="69961"/>
                </a:cubicBezTo>
                <a:cubicBezTo>
                  <a:pt x="50107" y="73779"/>
                  <a:pt x="50107" y="78117"/>
                  <a:pt x="50686" y="82687"/>
                </a:cubicBezTo>
                <a:cubicBezTo>
                  <a:pt x="51206" y="89801"/>
                  <a:pt x="52016" y="106750"/>
                  <a:pt x="53000" y="133069"/>
                </a:cubicBezTo>
                <a:cubicBezTo>
                  <a:pt x="53034" y="133636"/>
                  <a:pt x="52635" y="134139"/>
                  <a:pt x="52074" y="134226"/>
                </a:cubicBezTo>
                <a:cubicBezTo>
                  <a:pt x="46770" y="134885"/>
                  <a:pt x="41714" y="136875"/>
                  <a:pt x="37382" y="140010"/>
                </a:cubicBezTo>
                <a:cubicBezTo>
                  <a:pt x="35571" y="141422"/>
                  <a:pt x="33633" y="142659"/>
                  <a:pt x="31597" y="143712"/>
                </a:cubicBezTo>
                <a:close/>
                <a:moveTo>
                  <a:pt x="1865" y="2225"/>
                </a:moveTo>
                <a:cubicBezTo>
                  <a:pt x="4295" y="15819"/>
                  <a:pt x="6146" y="17843"/>
                  <a:pt x="6666" y="18132"/>
                </a:cubicBezTo>
                <a:cubicBezTo>
                  <a:pt x="12370" y="21916"/>
                  <a:pt x="15227" y="28770"/>
                  <a:pt x="13897" y="35485"/>
                </a:cubicBezTo>
                <a:cubicBezTo>
                  <a:pt x="13897" y="36816"/>
                  <a:pt x="13897" y="38378"/>
                  <a:pt x="13550" y="40171"/>
                </a:cubicBezTo>
                <a:cubicBezTo>
                  <a:pt x="12682" y="50294"/>
                  <a:pt x="11467" y="65622"/>
                  <a:pt x="14418" y="73200"/>
                </a:cubicBezTo>
                <a:cubicBezTo>
                  <a:pt x="19143" y="85301"/>
                  <a:pt x="21648" y="98154"/>
                  <a:pt x="21821" y="111146"/>
                </a:cubicBezTo>
                <a:cubicBezTo>
                  <a:pt x="22898" y="121639"/>
                  <a:pt x="26062" y="131808"/>
                  <a:pt x="31134" y="141051"/>
                </a:cubicBezTo>
                <a:cubicBezTo>
                  <a:pt x="32679" y="140218"/>
                  <a:pt x="34154" y="139247"/>
                  <a:pt x="35531" y="138159"/>
                </a:cubicBezTo>
                <a:cubicBezTo>
                  <a:pt x="39881" y="134926"/>
                  <a:pt x="44971" y="132832"/>
                  <a:pt x="50339" y="132086"/>
                </a:cubicBezTo>
                <a:cubicBezTo>
                  <a:pt x="49355" y="106345"/>
                  <a:pt x="48546" y="89743"/>
                  <a:pt x="48025" y="82745"/>
                </a:cubicBezTo>
                <a:cubicBezTo>
                  <a:pt x="47620" y="78117"/>
                  <a:pt x="47562" y="73721"/>
                  <a:pt x="47446" y="69903"/>
                </a:cubicBezTo>
                <a:cubicBezTo>
                  <a:pt x="47446" y="61226"/>
                  <a:pt x="47157" y="54459"/>
                  <a:pt x="44091" y="51393"/>
                </a:cubicBezTo>
                <a:cubicBezTo>
                  <a:pt x="41026" y="48327"/>
                  <a:pt x="42414" y="45608"/>
                  <a:pt x="43108" y="42774"/>
                </a:cubicBezTo>
                <a:cubicBezTo>
                  <a:pt x="44091" y="38551"/>
                  <a:pt x="45017" y="34502"/>
                  <a:pt x="38886" y="31205"/>
                </a:cubicBezTo>
                <a:cubicBezTo>
                  <a:pt x="37440" y="30338"/>
                  <a:pt x="36109" y="29644"/>
                  <a:pt x="34894" y="29007"/>
                </a:cubicBezTo>
                <a:cubicBezTo>
                  <a:pt x="27664" y="25247"/>
                  <a:pt x="24598" y="23627"/>
                  <a:pt x="23325" y="5869"/>
                </a:cubicBezTo>
                <a:cubicBezTo>
                  <a:pt x="20017" y="5476"/>
                  <a:pt x="16737" y="4898"/>
                  <a:pt x="13492" y="4134"/>
                </a:cubicBezTo>
                <a:cubicBezTo>
                  <a:pt x="10079" y="3440"/>
                  <a:pt x="6551" y="2746"/>
                  <a:pt x="3600" y="2457"/>
                </a:cubicBezTo>
                <a:cubicBezTo>
                  <a:pt x="3068" y="2335"/>
                  <a:pt x="2519" y="2312"/>
                  <a:pt x="1981" y="239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7" name="Forma libre: forma 296">
            <a:extLst>
              <a:ext uri="{FF2B5EF4-FFF2-40B4-BE49-F238E27FC236}">
                <a16:creationId xmlns:a16="http://schemas.microsoft.com/office/drawing/2014/main" id="{C1F2B867-F094-34A9-38C6-B89EE1D70C12}"/>
              </a:ext>
            </a:extLst>
          </p:cNvPr>
          <p:cNvSpPr/>
          <p:nvPr/>
        </p:nvSpPr>
        <p:spPr>
          <a:xfrm>
            <a:off x="6422265" y="4117288"/>
            <a:ext cx="204753" cy="316611"/>
          </a:xfrm>
          <a:custGeom>
            <a:avLst/>
            <a:gdLst>
              <a:gd name="connsiteX0" fmla="*/ 196695 w 204753"/>
              <a:gd name="connsiteY0" fmla="*/ 316425 h 316611"/>
              <a:gd name="connsiteX1" fmla="*/ 196174 w 204753"/>
              <a:gd name="connsiteY1" fmla="*/ 316425 h 316611"/>
              <a:gd name="connsiteX2" fmla="*/ 158171 w 204753"/>
              <a:gd name="connsiteY2" fmla="*/ 303063 h 316611"/>
              <a:gd name="connsiteX3" fmla="*/ 147065 w 204753"/>
              <a:gd name="connsiteY3" fmla="*/ 303583 h 316611"/>
              <a:gd name="connsiteX4" fmla="*/ 85634 w 204753"/>
              <a:gd name="connsiteY4" fmla="*/ 301443 h 316611"/>
              <a:gd name="connsiteX5" fmla="*/ 74065 w 204753"/>
              <a:gd name="connsiteY5" fmla="*/ 304740 h 316611"/>
              <a:gd name="connsiteX6" fmla="*/ 35946 w 204753"/>
              <a:gd name="connsiteY6" fmla="*/ 304740 h 316611"/>
              <a:gd name="connsiteX7" fmla="*/ 34905 w 204753"/>
              <a:gd name="connsiteY7" fmla="*/ 304162 h 316611"/>
              <a:gd name="connsiteX8" fmla="*/ 38375 w 204753"/>
              <a:gd name="connsiteY8" fmla="*/ 283338 h 316611"/>
              <a:gd name="connsiteX9" fmla="*/ 39995 w 204753"/>
              <a:gd name="connsiteY9" fmla="*/ 279057 h 316611"/>
              <a:gd name="connsiteX10" fmla="*/ 32880 w 204753"/>
              <a:gd name="connsiteY10" fmla="*/ 253722 h 316611"/>
              <a:gd name="connsiteX11" fmla="*/ 26633 w 204753"/>
              <a:gd name="connsiteY11" fmla="*/ 253722 h 316611"/>
              <a:gd name="connsiteX12" fmla="*/ 21947 w 204753"/>
              <a:gd name="connsiteY12" fmla="*/ 254069 h 316611"/>
              <a:gd name="connsiteX13" fmla="*/ 11478 w 204753"/>
              <a:gd name="connsiteY13" fmla="*/ 249210 h 316611"/>
              <a:gd name="connsiteX14" fmla="*/ 8180 w 204753"/>
              <a:gd name="connsiteY14" fmla="*/ 244177 h 316611"/>
              <a:gd name="connsiteX15" fmla="*/ 429 w 204753"/>
              <a:gd name="connsiteY15" fmla="*/ 234344 h 316611"/>
              <a:gd name="connsiteX16" fmla="*/ -34 w 204753"/>
              <a:gd name="connsiteY16" fmla="*/ 232956 h 316611"/>
              <a:gd name="connsiteX17" fmla="*/ 7833 w 204753"/>
              <a:gd name="connsiteY17" fmla="*/ 204034 h 316611"/>
              <a:gd name="connsiteX18" fmla="*/ 8180 w 204753"/>
              <a:gd name="connsiteY18" fmla="*/ 203397 h 316611"/>
              <a:gd name="connsiteX19" fmla="*/ 39995 w 204753"/>
              <a:gd name="connsiteY19" fmla="*/ 173260 h 316611"/>
              <a:gd name="connsiteX20" fmla="*/ 44564 w 204753"/>
              <a:gd name="connsiteY20" fmla="*/ 173260 h 316611"/>
              <a:gd name="connsiteX21" fmla="*/ 47457 w 204753"/>
              <a:gd name="connsiteY21" fmla="*/ 173260 h 316611"/>
              <a:gd name="connsiteX22" fmla="*/ 55728 w 204753"/>
              <a:gd name="connsiteY22" fmla="*/ 171120 h 316611"/>
              <a:gd name="connsiteX23" fmla="*/ 59604 w 204753"/>
              <a:gd name="connsiteY23" fmla="*/ 169905 h 316611"/>
              <a:gd name="connsiteX24" fmla="*/ 76957 w 204753"/>
              <a:gd name="connsiteY24" fmla="*/ 185465 h 316611"/>
              <a:gd name="connsiteX25" fmla="*/ 77652 w 204753"/>
              <a:gd name="connsiteY25" fmla="*/ 187374 h 316611"/>
              <a:gd name="connsiteX26" fmla="*/ 83898 w 204753"/>
              <a:gd name="connsiteY26" fmla="*/ 177309 h 316611"/>
              <a:gd name="connsiteX27" fmla="*/ 86154 w 204753"/>
              <a:gd name="connsiteY27" fmla="*/ 173029 h 316611"/>
              <a:gd name="connsiteX28" fmla="*/ 88526 w 204753"/>
              <a:gd name="connsiteY28" fmla="*/ 168864 h 316611"/>
              <a:gd name="connsiteX29" fmla="*/ 105879 w 204753"/>
              <a:gd name="connsiteY29" fmla="*/ 131612 h 316611"/>
              <a:gd name="connsiteX30" fmla="*/ 113920 w 204753"/>
              <a:gd name="connsiteY30" fmla="*/ 120796 h 316611"/>
              <a:gd name="connsiteX31" fmla="*/ 118894 w 204753"/>
              <a:gd name="connsiteY31" fmla="*/ 115416 h 316611"/>
              <a:gd name="connsiteX32" fmla="*/ 118894 w 204753"/>
              <a:gd name="connsiteY32" fmla="*/ 113623 h 316611"/>
              <a:gd name="connsiteX33" fmla="*/ 122885 w 204753"/>
              <a:gd name="connsiteY33" fmla="*/ 99856 h 316611"/>
              <a:gd name="connsiteX34" fmla="*/ 128670 w 204753"/>
              <a:gd name="connsiteY34" fmla="*/ 83370 h 316611"/>
              <a:gd name="connsiteX35" fmla="*/ 145040 w 204753"/>
              <a:gd name="connsiteY35" fmla="*/ 52539 h 316611"/>
              <a:gd name="connsiteX36" fmla="*/ 151808 w 204753"/>
              <a:gd name="connsiteY36" fmla="*/ 49820 h 316611"/>
              <a:gd name="connsiteX37" fmla="*/ 161005 w 204753"/>
              <a:gd name="connsiteY37" fmla="*/ 44036 h 316611"/>
              <a:gd name="connsiteX38" fmla="*/ 161583 w 204753"/>
              <a:gd name="connsiteY38" fmla="*/ 39698 h 316611"/>
              <a:gd name="connsiteX39" fmla="*/ 160080 w 204753"/>
              <a:gd name="connsiteY39" fmla="*/ 28129 h 316611"/>
              <a:gd name="connsiteX40" fmla="*/ 148048 w 204753"/>
              <a:gd name="connsiteY40" fmla="*/ 15750 h 316611"/>
              <a:gd name="connsiteX41" fmla="*/ 149783 w 204753"/>
              <a:gd name="connsiteY41" fmla="*/ 769 h 316611"/>
              <a:gd name="connsiteX42" fmla="*/ 151067 w 204753"/>
              <a:gd name="connsiteY42" fmla="*/ -111 h 316611"/>
              <a:gd name="connsiteX43" fmla="*/ 151113 w 204753"/>
              <a:gd name="connsiteY43" fmla="*/ -99 h 316611"/>
              <a:gd name="connsiteX44" fmla="*/ 152386 w 204753"/>
              <a:gd name="connsiteY44" fmla="*/ -99 h 316611"/>
              <a:gd name="connsiteX45" fmla="*/ 161005 w 204753"/>
              <a:gd name="connsiteY45" fmla="*/ 4933 h 316611"/>
              <a:gd name="connsiteX46" fmla="*/ 170492 w 204753"/>
              <a:gd name="connsiteY46" fmla="*/ 26972 h 316611"/>
              <a:gd name="connsiteX47" fmla="*/ 171706 w 204753"/>
              <a:gd name="connsiteY47" fmla="*/ 35417 h 316611"/>
              <a:gd name="connsiteX48" fmla="*/ 173673 w 204753"/>
              <a:gd name="connsiteY48" fmla="*/ 51209 h 316611"/>
              <a:gd name="connsiteX49" fmla="*/ 184490 w 204753"/>
              <a:gd name="connsiteY49" fmla="*/ 84064 h 316611"/>
              <a:gd name="connsiteX50" fmla="*/ 186283 w 204753"/>
              <a:gd name="connsiteY50" fmla="*/ 87188 h 316611"/>
              <a:gd name="connsiteX51" fmla="*/ 176218 w 204753"/>
              <a:gd name="connsiteY51" fmla="*/ 90369 h 316611"/>
              <a:gd name="connsiteX52" fmla="*/ 172458 w 204753"/>
              <a:gd name="connsiteY52" fmla="*/ 90369 h 316611"/>
              <a:gd name="connsiteX53" fmla="*/ 162914 w 204753"/>
              <a:gd name="connsiteY53" fmla="*/ 89964 h 316611"/>
              <a:gd name="connsiteX54" fmla="*/ 150304 w 204753"/>
              <a:gd name="connsiteY54" fmla="*/ 92452 h 316611"/>
              <a:gd name="connsiteX55" fmla="*/ 149957 w 204753"/>
              <a:gd name="connsiteY55" fmla="*/ 95286 h 316611"/>
              <a:gd name="connsiteX56" fmla="*/ 156378 w 204753"/>
              <a:gd name="connsiteY56" fmla="*/ 111020 h 316611"/>
              <a:gd name="connsiteX57" fmla="*/ 165517 w 204753"/>
              <a:gd name="connsiteY57" fmla="*/ 118539 h 316611"/>
              <a:gd name="connsiteX58" fmla="*/ 179342 w 204753"/>
              <a:gd name="connsiteY58" fmla="*/ 134967 h 316611"/>
              <a:gd name="connsiteX59" fmla="*/ 187266 w 204753"/>
              <a:gd name="connsiteY59" fmla="*/ 154403 h 316611"/>
              <a:gd name="connsiteX60" fmla="*/ 187266 w 204753"/>
              <a:gd name="connsiteY60" fmla="*/ 155849 h 316611"/>
              <a:gd name="connsiteX61" fmla="*/ 185820 w 204753"/>
              <a:gd name="connsiteY61" fmla="*/ 157179 h 316611"/>
              <a:gd name="connsiteX62" fmla="*/ 173846 w 204753"/>
              <a:gd name="connsiteY62" fmla="*/ 172393 h 316611"/>
              <a:gd name="connsiteX63" fmla="*/ 165632 w 204753"/>
              <a:gd name="connsiteY63" fmla="*/ 188589 h 316611"/>
              <a:gd name="connsiteX64" fmla="*/ 160542 w 204753"/>
              <a:gd name="connsiteY64" fmla="*/ 199290 h 316611"/>
              <a:gd name="connsiteX65" fmla="*/ 161930 w 204753"/>
              <a:gd name="connsiteY65" fmla="*/ 207099 h 316611"/>
              <a:gd name="connsiteX66" fmla="*/ 164186 w 204753"/>
              <a:gd name="connsiteY66" fmla="*/ 221676 h 316611"/>
              <a:gd name="connsiteX67" fmla="*/ 171880 w 204753"/>
              <a:gd name="connsiteY67" fmla="*/ 242789 h 316611"/>
              <a:gd name="connsiteX68" fmla="*/ 176334 w 204753"/>
              <a:gd name="connsiteY68" fmla="*/ 259622 h 316611"/>
              <a:gd name="connsiteX69" fmla="*/ 182118 w 204753"/>
              <a:gd name="connsiteY69" fmla="*/ 268241 h 316611"/>
              <a:gd name="connsiteX70" fmla="*/ 190332 w 204753"/>
              <a:gd name="connsiteY70" fmla="*/ 275992 h 316611"/>
              <a:gd name="connsiteX71" fmla="*/ 199876 w 204753"/>
              <a:gd name="connsiteY71" fmla="*/ 286172 h 316611"/>
              <a:gd name="connsiteX72" fmla="*/ 204041 w 204753"/>
              <a:gd name="connsiteY72" fmla="*/ 290106 h 316611"/>
              <a:gd name="connsiteX73" fmla="*/ 204562 w 204753"/>
              <a:gd name="connsiteY73" fmla="*/ 290800 h 316611"/>
              <a:gd name="connsiteX74" fmla="*/ 204562 w 204753"/>
              <a:gd name="connsiteY74" fmla="*/ 291667 h 316611"/>
              <a:gd name="connsiteX75" fmla="*/ 197910 w 204753"/>
              <a:gd name="connsiteY75" fmla="*/ 315615 h 316611"/>
              <a:gd name="connsiteX76" fmla="*/ 197331 w 204753"/>
              <a:gd name="connsiteY76" fmla="*/ 316483 h 316611"/>
              <a:gd name="connsiteX77" fmla="*/ 159443 w 204753"/>
              <a:gd name="connsiteY77" fmla="*/ 300576 h 316611"/>
              <a:gd name="connsiteX78" fmla="*/ 195769 w 204753"/>
              <a:gd name="connsiteY78" fmla="*/ 313591 h 316611"/>
              <a:gd name="connsiteX79" fmla="*/ 201901 w 204753"/>
              <a:gd name="connsiteY79" fmla="*/ 291378 h 316611"/>
              <a:gd name="connsiteX80" fmla="*/ 197678 w 204753"/>
              <a:gd name="connsiteY80" fmla="*/ 286635 h 316611"/>
              <a:gd name="connsiteX81" fmla="*/ 188828 w 204753"/>
              <a:gd name="connsiteY81" fmla="*/ 277553 h 316611"/>
              <a:gd name="connsiteX82" fmla="*/ 180325 w 204753"/>
              <a:gd name="connsiteY82" fmla="*/ 269455 h 316611"/>
              <a:gd name="connsiteX83" fmla="*/ 174136 w 204753"/>
              <a:gd name="connsiteY83" fmla="*/ 260200 h 316611"/>
              <a:gd name="connsiteX84" fmla="*/ 174136 w 204753"/>
              <a:gd name="connsiteY84" fmla="*/ 259564 h 316611"/>
              <a:gd name="connsiteX85" fmla="*/ 170144 w 204753"/>
              <a:gd name="connsiteY85" fmla="*/ 244004 h 316611"/>
              <a:gd name="connsiteX86" fmla="*/ 161988 w 204753"/>
              <a:gd name="connsiteY86" fmla="*/ 221502 h 316611"/>
              <a:gd name="connsiteX87" fmla="*/ 159790 w 204753"/>
              <a:gd name="connsiteY87" fmla="*/ 207446 h 316611"/>
              <a:gd name="connsiteX88" fmla="*/ 158344 w 204753"/>
              <a:gd name="connsiteY88" fmla="*/ 199117 h 316611"/>
              <a:gd name="connsiteX89" fmla="*/ 163781 w 204753"/>
              <a:gd name="connsiteY89" fmla="*/ 187259 h 316611"/>
              <a:gd name="connsiteX90" fmla="*/ 171764 w 204753"/>
              <a:gd name="connsiteY90" fmla="*/ 171525 h 316611"/>
              <a:gd name="connsiteX91" fmla="*/ 184374 w 204753"/>
              <a:gd name="connsiteY91" fmla="*/ 155328 h 316611"/>
              <a:gd name="connsiteX92" fmla="*/ 185126 w 204753"/>
              <a:gd name="connsiteY92" fmla="*/ 154634 h 316611"/>
              <a:gd name="connsiteX93" fmla="*/ 177375 w 204753"/>
              <a:gd name="connsiteY93" fmla="*/ 135430 h 316611"/>
              <a:gd name="connsiteX94" fmla="*/ 164360 w 204753"/>
              <a:gd name="connsiteY94" fmla="*/ 120159 h 316611"/>
              <a:gd name="connsiteX95" fmla="*/ 155105 w 204753"/>
              <a:gd name="connsiteY95" fmla="*/ 112524 h 316611"/>
              <a:gd name="connsiteX96" fmla="*/ 147990 w 204753"/>
              <a:gd name="connsiteY96" fmla="*/ 94708 h 316611"/>
              <a:gd name="connsiteX97" fmla="*/ 147990 w 204753"/>
              <a:gd name="connsiteY97" fmla="*/ 92278 h 316611"/>
              <a:gd name="connsiteX98" fmla="*/ 162856 w 204753"/>
              <a:gd name="connsiteY98" fmla="*/ 87535 h 316611"/>
              <a:gd name="connsiteX99" fmla="*/ 172632 w 204753"/>
              <a:gd name="connsiteY99" fmla="*/ 87940 h 316611"/>
              <a:gd name="connsiteX100" fmla="*/ 176160 w 204753"/>
              <a:gd name="connsiteY100" fmla="*/ 87940 h 316611"/>
              <a:gd name="connsiteX101" fmla="*/ 184027 w 204753"/>
              <a:gd name="connsiteY101" fmla="*/ 86378 h 316611"/>
              <a:gd name="connsiteX102" fmla="*/ 183275 w 204753"/>
              <a:gd name="connsiteY102" fmla="*/ 85800 h 316611"/>
              <a:gd name="connsiteX103" fmla="*/ 171706 w 204753"/>
              <a:gd name="connsiteY103" fmla="*/ 51093 h 316611"/>
              <a:gd name="connsiteX104" fmla="*/ 169797 w 204753"/>
              <a:gd name="connsiteY104" fmla="*/ 36053 h 316611"/>
              <a:gd name="connsiteX105" fmla="*/ 168467 w 204753"/>
              <a:gd name="connsiteY105" fmla="*/ 26741 h 316611"/>
              <a:gd name="connsiteX106" fmla="*/ 159559 w 204753"/>
              <a:gd name="connsiteY106" fmla="*/ 6437 h 316611"/>
              <a:gd name="connsiteX107" fmla="*/ 152617 w 204753"/>
              <a:gd name="connsiteY107" fmla="*/ 2157 h 316611"/>
              <a:gd name="connsiteX108" fmla="*/ 151981 w 204753"/>
              <a:gd name="connsiteY108" fmla="*/ 2157 h 316611"/>
              <a:gd name="connsiteX109" fmla="*/ 150535 w 204753"/>
              <a:gd name="connsiteY109" fmla="*/ 15577 h 316611"/>
              <a:gd name="connsiteX110" fmla="*/ 161063 w 204753"/>
              <a:gd name="connsiteY110" fmla="*/ 25815 h 316611"/>
              <a:gd name="connsiteX111" fmla="*/ 164013 w 204753"/>
              <a:gd name="connsiteY111" fmla="*/ 39698 h 316611"/>
              <a:gd name="connsiteX112" fmla="*/ 163492 w 204753"/>
              <a:gd name="connsiteY112" fmla="*/ 43921 h 316611"/>
              <a:gd name="connsiteX113" fmla="*/ 152502 w 204753"/>
              <a:gd name="connsiteY113" fmla="*/ 51498 h 316611"/>
              <a:gd name="connsiteX114" fmla="*/ 147065 w 204753"/>
              <a:gd name="connsiteY114" fmla="*/ 53407 h 316611"/>
              <a:gd name="connsiteX115" fmla="*/ 131100 w 204753"/>
              <a:gd name="connsiteY115" fmla="*/ 82329 h 316611"/>
              <a:gd name="connsiteX116" fmla="*/ 123984 w 204753"/>
              <a:gd name="connsiteY116" fmla="*/ 101360 h 316611"/>
              <a:gd name="connsiteX117" fmla="*/ 121439 w 204753"/>
              <a:gd name="connsiteY117" fmla="*/ 112929 h 316611"/>
              <a:gd name="connsiteX118" fmla="*/ 121439 w 204753"/>
              <a:gd name="connsiteY118" fmla="*/ 114780 h 316611"/>
              <a:gd name="connsiteX119" fmla="*/ 115655 w 204753"/>
              <a:gd name="connsiteY119" fmla="*/ 121895 h 316611"/>
              <a:gd name="connsiteX120" fmla="*/ 108424 w 204753"/>
              <a:gd name="connsiteY120" fmla="*/ 130976 h 316611"/>
              <a:gd name="connsiteX121" fmla="*/ 90493 w 204753"/>
              <a:gd name="connsiteY121" fmla="*/ 169269 h 316611"/>
              <a:gd name="connsiteX122" fmla="*/ 88179 w 204753"/>
              <a:gd name="connsiteY122" fmla="*/ 173492 h 316611"/>
              <a:gd name="connsiteX123" fmla="*/ 85923 w 204753"/>
              <a:gd name="connsiteY123" fmla="*/ 177772 h 316611"/>
              <a:gd name="connsiteX124" fmla="*/ 77536 w 204753"/>
              <a:gd name="connsiteY124" fmla="*/ 188994 h 316611"/>
              <a:gd name="connsiteX125" fmla="*/ 74759 w 204753"/>
              <a:gd name="connsiteY125" fmla="*/ 185292 h 316611"/>
              <a:gd name="connsiteX126" fmla="*/ 59662 w 204753"/>
              <a:gd name="connsiteY126" fmla="*/ 171525 h 316611"/>
              <a:gd name="connsiteX127" fmla="*/ 57117 w 204753"/>
              <a:gd name="connsiteY127" fmla="*/ 172277 h 316611"/>
              <a:gd name="connsiteX128" fmla="*/ 47515 w 204753"/>
              <a:gd name="connsiteY128" fmla="*/ 174938 h 316611"/>
              <a:gd name="connsiteX129" fmla="*/ 44507 w 204753"/>
              <a:gd name="connsiteY129" fmla="*/ 174938 h 316611"/>
              <a:gd name="connsiteX130" fmla="*/ 40631 w 204753"/>
              <a:gd name="connsiteY130" fmla="*/ 174938 h 316611"/>
              <a:gd name="connsiteX131" fmla="*/ 10089 w 204753"/>
              <a:gd name="connsiteY131" fmla="*/ 204207 h 316611"/>
              <a:gd name="connsiteX132" fmla="*/ 2454 w 204753"/>
              <a:gd name="connsiteY132" fmla="*/ 232551 h 316611"/>
              <a:gd name="connsiteX133" fmla="*/ 10147 w 204753"/>
              <a:gd name="connsiteY133" fmla="*/ 242558 h 316611"/>
              <a:gd name="connsiteX134" fmla="*/ 13386 w 204753"/>
              <a:gd name="connsiteY134" fmla="*/ 247474 h 316611"/>
              <a:gd name="connsiteX135" fmla="*/ 22005 w 204753"/>
              <a:gd name="connsiteY135" fmla="*/ 251408 h 316611"/>
              <a:gd name="connsiteX136" fmla="*/ 26459 w 204753"/>
              <a:gd name="connsiteY136" fmla="*/ 251408 h 316611"/>
              <a:gd name="connsiteX137" fmla="*/ 33979 w 204753"/>
              <a:gd name="connsiteY137" fmla="*/ 251871 h 316611"/>
              <a:gd name="connsiteX138" fmla="*/ 42193 w 204753"/>
              <a:gd name="connsiteY138" fmla="*/ 279867 h 316611"/>
              <a:gd name="connsiteX139" fmla="*/ 40573 w 204753"/>
              <a:gd name="connsiteY139" fmla="*/ 284321 h 316611"/>
              <a:gd name="connsiteX140" fmla="*/ 36756 w 204753"/>
              <a:gd name="connsiteY140" fmla="*/ 302600 h 316611"/>
              <a:gd name="connsiteX141" fmla="*/ 73660 w 204753"/>
              <a:gd name="connsiteY141" fmla="*/ 302600 h 316611"/>
              <a:gd name="connsiteX142" fmla="*/ 85229 w 204753"/>
              <a:gd name="connsiteY142" fmla="*/ 299303 h 316611"/>
              <a:gd name="connsiteX143" fmla="*/ 85576 w 204753"/>
              <a:gd name="connsiteY143" fmla="*/ 299303 h 316611"/>
              <a:gd name="connsiteX144" fmla="*/ 147065 w 204753"/>
              <a:gd name="connsiteY144" fmla="*/ 301443 h 316611"/>
              <a:gd name="connsiteX145" fmla="*/ 157708 w 204753"/>
              <a:gd name="connsiteY145" fmla="*/ 300980 h 316611"/>
              <a:gd name="connsiteX146" fmla="*/ 159443 w 204753"/>
              <a:gd name="connsiteY146" fmla="*/ 300576 h 31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204753" h="316611">
                <a:moveTo>
                  <a:pt x="196695" y="316425"/>
                </a:moveTo>
                <a:cubicBezTo>
                  <a:pt x="196527" y="316477"/>
                  <a:pt x="196342" y="316477"/>
                  <a:pt x="196174" y="316425"/>
                </a:cubicBezTo>
                <a:cubicBezTo>
                  <a:pt x="195885" y="316425"/>
                  <a:pt x="166269" y="301675"/>
                  <a:pt x="158171" y="303063"/>
                </a:cubicBezTo>
                <a:cubicBezTo>
                  <a:pt x="154486" y="303525"/>
                  <a:pt x="150772" y="303699"/>
                  <a:pt x="147065" y="303583"/>
                </a:cubicBezTo>
                <a:cubicBezTo>
                  <a:pt x="127282" y="303583"/>
                  <a:pt x="88700" y="301559"/>
                  <a:pt x="85634" y="301443"/>
                </a:cubicBezTo>
                <a:lnTo>
                  <a:pt x="74065" y="304740"/>
                </a:lnTo>
                <a:lnTo>
                  <a:pt x="35946" y="304740"/>
                </a:lnTo>
                <a:cubicBezTo>
                  <a:pt x="35518" y="304752"/>
                  <a:pt x="35118" y="304532"/>
                  <a:pt x="34905" y="304162"/>
                </a:cubicBezTo>
                <a:cubicBezTo>
                  <a:pt x="32301" y="298725"/>
                  <a:pt x="35830" y="289816"/>
                  <a:pt x="38375" y="283338"/>
                </a:cubicBezTo>
                <a:cubicBezTo>
                  <a:pt x="39069" y="281660"/>
                  <a:pt x="39648" y="280156"/>
                  <a:pt x="39995" y="279057"/>
                </a:cubicBezTo>
                <a:cubicBezTo>
                  <a:pt x="41441" y="274372"/>
                  <a:pt x="36756" y="255920"/>
                  <a:pt x="32880" y="253722"/>
                </a:cubicBezTo>
                <a:cubicBezTo>
                  <a:pt x="30821" y="253276"/>
                  <a:pt x="28692" y="253276"/>
                  <a:pt x="26633" y="253722"/>
                </a:cubicBezTo>
                <a:cubicBezTo>
                  <a:pt x="25077" y="253930"/>
                  <a:pt x="23515" y="254046"/>
                  <a:pt x="21947" y="254069"/>
                </a:cubicBezTo>
                <a:cubicBezTo>
                  <a:pt x="17852" y="254358"/>
                  <a:pt x="13895" y="252524"/>
                  <a:pt x="11478" y="249210"/>
                </a:cubicBezTo>
                <a:lnTo>
                  <a:pt x="8180" y="244177"/>
                </a:lnTo>
                <a:cubicBezTo>
                  <a:pt x="6185" y="240475"/>
                  <a:pt x="3564" y="237149"/>
                  <a:pt x="429" y="234344"/>
                </a:cubicBezTo>
                <a:cubicBezTo>
                  <a:pt x="-34" y="234049"/>
                  <a:pt x="-230" y="233470"/>
                  <a:pt x="-34" y="232956"/>
                </a:cubicBezTo>
                <a:cubicBezTo>
                  <a:pt x="3483" y="223579"/>
                  <a:pt x="6115" y="213896"/>
                  <a:pt x="7833" y="204034"/>
                </a:cubicBezTo>
                <a:cubicBezTo>
                  <a:pt x="7891" y="203796"/>
                  <a:pt x="8013" y="203576"/>
                  <a:pt x="8180" y="203397"/>
                </a:cubicBezTo>
                <a:cubicBezTo>
                  <a:pt x="12866" y="198538"/>
                  <a:pt x="36582" y="174128"/>
                  <a:pt x="39995" y="173260"/>
                </a:cubicBezTo>
                <a:cubicBezTo>
                  <a:pt x="41510" y="173040"/>
                  <a:pt x="43049" y="173040"/>
                  <a:pt x="44564" y="173260"/>
                </a:cubicBezTo>
                <a:lnTo>
                  <a:pt x="47457" y="173260"/>
                </a:lnTo>
                <a:cubicBezTo>
                  <a:pt x="50372" y="173428"/>
                  <a:pt x="53264" y="172676"/>
                  <a:pt x="55728" y="171120"/>
                </a:cubicBezTo>
                <a:cubicBezTo>
                  <a:pt x="56851" y="170299"/>
                  <a:pt x="58216" y="169871"/>
                  <a:pt x="59604" y="169905"/>
                </a:cubicBezTo>
                <a:cubicBezTo>
                  <a:pt x="67881" y="171357"/>
                  <a:pt x="74615" y="177396"/>
                  <a:pt x="76957" y="185465"/>
                </a:cubicBezTo>
                <a:cubicBezTo>
                  <a:pt x="77304" y="187085"/>
                  <a:pt x="77652" y="187374"/>
                  <a:pt x="77652" y="187374"/>
                </a:cubicBezTo>
                <a:cubicBezTo>
                  <a:pt x="80266" y="184378"/>
                  <a:pt x="82377" y="180982"/>
                  <a:pt x="83898" y="177309"/>
                </a:cubicBezTo>
                <a:lnTo>
                  <a:pt x="86154" y="173029"/>
                </a:lnTo>
                <a:lnTo>
                  <a:pt x="88526" y="168864"/>
                </a:lnTo>
                <a:cubicBezTo>
                  <a:pt x="94310" y="158510"/>
                  <a:pt x="105879" y="136934"/>
                  <a:pt x="105879" y="131612"/>
                </a:cubicBezTo>
                <a:cubicBezTo>
                  <a:pt x="105879" y="127447"/>
                  <a:pt x="110160" y="123919"/>
                  <a:pt x="113920" y="120796"/>
                </a:cubicBezTo>
                <a:cubicBezTo>
                  <a:pt x="116234" y="118887"/>
                  <a:pt x="118894" y="116688"/>
                  <a:pt x="118894" y="115416"/>
                </a:cubicBezTo>
                <a:cubicBezTo>
                  <a:pt x="118894" y="114143"/>
                  <a:pt x="118894" y="114317"/>
                  <a:pt x="118894" y="113623"/>
                </a:cubicBezTo>
                <a:cubicBezTo>
                  <a:pt x="118894" y="108822"/>
                  <a:pt x="118894" y="101533"/>
                  <a:pt x="122885" y="99856"/>
                </a:cubicBezTo>
                <a:cubicBezTo>
                  <a:pt x="126183" y="98525"/>
                  <a:pt x="129364" y="87072"/>
                  <a:pt x="128670" y="83370"/>
                </a:cubicBezTo>
                <a:cubicBezTo>
                  <a:pt x="127687" y="78396"/>
                  <a:pt x="143941" y="53985"/>
                  <a:pt x="145040" y="52539"/>
                </a:cubicBezTo>
                <a:cubicBezTo>
                  <a:pt x="146943" y="50925"/>
                  <a:pt x="149315" y="49971"/>
                  <a:pt x="151808" y="49820"/>
                </a:cubicBezTo>
                <a:cubicBezTo>
                  <a:pt x="156956" y="48721"/>
                  <a:pt x="160600" y="47680"/>
                  <a:pt x="161005" y="44036"/>
                </a:cubicBezTo>
                <a:cubicBezTo>
                  <a:pt x="161005" y="42590"/>
                  <a:pt x="161352" y="41144"/>
                  <a:pt x="161583" y="39698"/>
                </a:cubicBezTo>
                <a:cubicBezTo>
                  <a:pt x="162509" y="33393"/>
                  <a:pt x="162914" y="29228"/>
                  <a:pt x="160080" y="28129"/>
                </a:cubicBezTo>
                <a:cubicBezTo>
                  <a:pt x="155278" y="26451"/>
                  <a:pt x="148048" y="20551"/>
                  <a:pt x="148048" y="15750"/>
                </a:cubicBezTo>
                <a:cubicBezTo>
                  <a:pt x="148083" y="10706"/>
                  <a:pt x="148661" y="5685"/>
                  <a:pt x="149783" y="769"/>
                </a:cubicBezTo>
                <a:cubicBezTo>
                  <a:pt x="149893" y="173"/>
                  <a:pt x="150472" y="-221"/>
                  <a:pt x="151067" y="-111"/>
                </a:cubicBezTo>
                <a:cubicBezTo>
                  <a:pt x="151079" y="-105"/>
                  <a:pt x="151096" y="-105"/>
                  <a:pt x="151113" y="-99"/>
                </a:cubicBezTo>
                <a:lnTo>
                  <a:pt x="152386" y="-99"/>
                </a:lnTo>
                <a:cubicBezTo>
                  <a:pt x="155834" y="300"/>
                  <a:pt x="158963" y="2128"/>
                  <a:pt x="161005" y="4933"/>
                </a:cubicBezTo>
                <a:cubicBezTo>
                  <a:pt x="166541" y="11013"/>
                  <a:pt x="169878" y="18770"/>
                  <a:pt x="170492" y="26972"/>
                </a:cubicBezTo>
                <a:cubicBezTo>
                  <a:pt x="170295" y="29841"/>
                  <a:pt x="170705" y="32722"/>
                  <a:pt x="171706" y="35417"/>
                </a:cubicBezTo>
                <a:cubicBezTo>
                  <a:pt x="173378" y="40508"/>
                  <a:pt x="174043" y="45870"/>
                  <a:pt x="173673" y="51209"/>
                </a:cubicBezTo>
                <a:cubicBezTo>
                  <a:pt x="172863" y="64282"/>
                  <a:pt x="181135" y="82040"/>
                  <a:pt x="184490" y="84064"/>
                </a:cubicBezTo>
                <a:cubicBezTo>
                  <a:pt x="186457" y="85279"/>
                  <a:pt x="186457" y="86494"/>
                  <a:pt x="186283" y="87188"/>
                </a:cubicBezTo>
                <a:cubicBezTo>
                  <a:pt x="185473" y="90080"/>
                  <a:pt x="178994" y="90369"/>
                  <a:pt x="176218" y="90369"/>
                </a:cubicBezTo>
                <a:lnTo>
                  <a:pt x="172458" y="90369"/>
                </a:lnTo>
                <a:cubicBezTo>
                  <a:pt x="170202" y="90369"/>
                  <a:pt x="166674" y="89964"/>
                  <a:pt x="162914" y="89964"/>
                </a:cubicBezTo>
                <a:cubicBezTo>
                  <a:pt x="152965" y="89964"/>
                  <a:pt x="150304" y="91584"/>
                  <a:pt x="150304" y="92452"/>
                </a:cubicBezTo>
                <a:cubicBezTo>
                  <a:pt x="150269" y="93406"/>
                  <a:pt x="150154" y="94355"/>
                  <a:pt x="149957" y="95286"/>
                </a:cubicBezTo>
                <a:cubicBezTo>
                  <a:pt x="149262" y="98988"/>
                  <a:pt x="148453" y="103673"/>
                  <a:pt x="156378" y="111020"/>
                </a:cubicBezTo>
                <a:cubicBezTo>
                  <a:pt x="159617" y="114028"/>
                  <a:pt x="162740" y="116399"/>
                  <a:pt x="165517" y="118539"/>
                </a:cubicBezTo>
                <a:cubicBezTo>
                  <a:pt x="171833" y="122311"/>
                  <a:pt x="176704" y="128095"/>
                  <a:pt x="179342" y="134967"/>
                </a:cubicBezTo>
                <a:cubicBezTo>
                  <a:pt x="181227" y="141729"/>
                  <a:pt x="183888" y="148248"/>
                  <a:pt x="187266" y="154403"/>
                </a:cubicBezTo>
                <a:cubicBezTo>
                  <a:pt x="187631" y="154820"/>
                  <a:pt x="187631" y="155433"/>
                  <a:pt x="187266" y="155849"/>
                </a:cubicBezTo>
                <a:lnTo>
                  <a:pt x="185820" y="157179"/>
                </a:lnTo>
                <a:cubicBezTo>
                  <a:pt x="180643" y="161194"/>
                  <a:pt x="176531" y="166417"/>
                  <a:pt x="173846" y="172393"/>
                </a:cubicBezTo>
                <a:cubicBezTo>
                  <a:pt x="171787" y="178113"/>
                  <a:pt x="169028" y="183551"/>
                  <a:pt x="165632" y="188589"/>
                </a:cubicBezTo>
                <a:cubicBezTo>
                  <a:pt x="163215" y="191765"/>
                  <a:pt x="161485" y="195409"/>
                  <a:pt x="160542" y="199290"/>
                </a:cubicBezTo>
                <a:cubicBezTo>
                  <a:pt x="160704" y="201940"/>
                  <a:pt x="161173" y="204560"/>
                  <a:pt x="161930" y="207099"/>
                </a:cubicBezTo>
                <a:cubicBezTo>
                  <a:pt x="163301" y="211842"/>
                  <a:pt x="164059" y="216742"/>
                  <a:pt x="164186" y="221676"/>
                </a:cubicBezTo>
                <a:cubicBezTo>
                  <a:pt x="163892" y="229450"/>
                  <a:pt x="166651" y="237028"/>
                  <a:pt x="171880" y="242789"/>
                </a:cubicBezTo>
                <a:cubicBezTo>
                  <a:pt x="175298" y="247700"/>
                  <a:pt x="176872" y="253664"/>
                  <a:pt x="176334" y="259622"/>
                </a:cubicBezTo>
                <a:cubicBezTo>
                  <a:pt x="178029" y="262647"/>
                  <a:pt x="179960" y="265528"/>
                  <a:pt x="182118" y="268241"/>
                </a:cubicBezTo>
                <a:cubicBezTo>
                  <a:pt x="184652" y="271029"/>
                  <a:pt x="187399" y="273620"/>
                  <a:pt x="190332" y="275992"/>
                </a:cubicBezTo>
                <a:cubicBezTo>
                  <a:pt x="194844" y="279809"/>
                  <a:pt x="199125" y="283454"/>
                  <a:pt x="199876" y="286172"/>
                </a:cubicBezTo>
                <a:cubicBezTo>
                  <a:pt x="200721" y="287960"/>
                  <a:pt x="202207" y="289365"/>
                  <a:pt x="204041" y="290106"/>
                </a:cubicBezTo>
                <a:cubicBezTo>
                  <a:pt x="204307" y="290250"/>
                  <a:pt x="204498" y="290505"/>
                  <a:pt x="204562" y="290800"/>
                </a:cubicBezTo>
                <a:cubicBezTo>
                  <a:pt x="204672" y="291077"/>
                  <a:pt x="204672" y="291390"/>
                  <a:pt x="204562" y="291667"/>
                </a:cubicBezTo>
                <a:cubicBezTo>
                  <a:pt x="200999" y="299216"/>
                  <a:pt x="198749" y="307314"/>
                  <a:pt x="197910" y="315615"/>
                </a:cubicBezTo>
                <a:cubicBezTo>
                  <a:pt x="197886" y="315985"/>
                  <a:pt x="197667" y="316321"/>
                  <a:pt x="197331" y="316483"/>
                </a:cubicBezTo>
                <a:close/>
                <a:moveTo>
                  <a:pt x="159443" y="300576"/>
                </a:moveTo>
                <a:cubicBezTo>
                  <a:pt x="168351" y="300576"/>
                  <a:pt x="189927" y="310756"/>
                  <a:pt x="195769" y="313591"/>
                </a:cubicBezTo>
                <a:cubicBezTo>
                  <a:pt x="196608" y="305903"/>
                  <a:pt x="198679" y="298407"/>
                  <a:pt x="201901" y="291378"/>
                </a:cubicBezTo>
                <a:cubicBezTo>
                  <a:pt x="199963" y="290366"/>
                  <a:pt x="198459" y="288677"/>
                  <a:pt x="197678" y="286635"/>
                </a:cubicBezTo>
                <a:cubicBezTo>
                  <a:pt x="195301" y="283101"/>
                  <a:pt x="192299" y="280023"/>
                  <a:pt x="188828" y="277553"/>
                </a:cubicBezTo>
                <a:cubicBezTo>
                  <a:pt x="185756" y="275118"/>
                  <a:pt x="182911" y="272406"/>
                  <a:pt x="180325" y="269455"/>
                </a:cubicBezTo>
                <a:cubicBezTo>
                  <a:pt x="177959" y="266580"/>
                  <a:pt x="175888" y="263480"/>
                  <a:pt x="174136" y="260200"/>
                </a:cubicBezTo>
                <a:cubicBezTo>
                  <a:pt x="174049" y="259998"/>
                  <a:pt x="174049" y="259766"/>
                  <a:pt x="174136" y="259564"/>
                </a:cubicBezTo>
                <a:cubicBezTo>
                  <a:pt x="174633" y="254075"/>
                  <a:pt x="173222" y="248579"/>
                  <a:pt x="170144" y="244004"/>
                </a:cubicBezTo>
                <a:cubicBezTo>
                  <a:pt x="164615" y="237843"/>
                  <a:pt x="161693" y="229774"/>
                  <a:pt x="161988" y="221502"/>
                </a:cubicBezTo>
                <a:cubicBezTo>
                  <a:pt x="161873" y="216742"/>
                  <a:pt x="161132" y="212016"/>
                  <a:pt x="159790" y="207446"/>
                </a:cubicBezTo>
                <a:cubicBezTo>
                  <a:pt x="158998" y="204733"/>
                  <a:pt x="158512" y="201940"/>
                  <a:pt x="158344" y="199117"/>
                </a:cubicBezTo>
                <a:cubicBezTo>
                  <a:pt x="159229" y="194802"/>
                  <a:pt x="161092" y="190747"/>
                  <a:pt x="163781" y="187259"/>
                </a:cubicBezTo>
                <a:cubicBezTo>
                  <a:pt x="167044" y="182342"/>
                  <a:pt x="169722" y="177061"/>
                  <a:pt x="171764" y="171525"/>
                </a:cubicBezTo>
                <a:cubicBezTo>
                  <a:pt x="174529" y="165145"/>
                  <a:pt x="178867" y="159574"/>
                  <a:pt x="184374" y="155328"/>
                </a:cubicBezTo>
                <a:lnTo>
                  <a:pt x="185126" y="154634"/>
                </a:lnTo>
                <a:cubicBezTo>
                  <a:pt x="181858" y="148532"/>
                  <a:pt x="179255" y="142094"/>
                  <a:pt x="177375" y="135430"/>
                </a:cubicBezTo>
                <a:cubicBezTo>
                  <a:pt x="174859" y="129033"/>
                  <a:pt x="170278" y="123659"/>
                  <a:pt x="164360" y="120159"/>
                </a:cubicBezTo>
                <a:cubicBezTo>
                  <a:pt x="161583" y="118019"/>
                  <a:pt x="158576" y="115589"/>
                  <a:pt x="155105" y="112524"/>
                </a:cubicBezTo>
                <a:cubicBezTo>
                  <a:pt x="146197" y="104310"/>
                  <a:pt x="147238" y="98757"/>
                  <a:pt x="147990" y="94708"/>
                </a:cubicBezTo>
                <a:cubicBezTo>
                  <a:pt x="148060" y="93898"/>
                  <a:pt x="148060" y="93088"/>
                  <a:pt x="147990" y="92278"/>
                </a:cubicBezTo>
                <a:cubicBezTo>
                  <a:pt x="147990" y="89097"/>
                  <a:pt x="152849" y="87535"/>
                  <a:pt x="162856" y="87535"/>
                </a:cubicBezTo>
                <a:cubicBezTo>
                  <a:pt x="166674" y="87535"/>
                  <a:pt x="170260" y="87535"/>
                  <a:pt x="172632" y="87940"/>
                </a:cubicBezTo>
                <a:lnTo>
                  <a:pt x="176160" y="87940"/>
                </a:lnTo>
                <a:cubicBezTo>
                  <a:pt x="181540" y="87940"/>
                  <a:pt x="183738" y="86841"/>
                  <a:pt x="184027" y="86378"/>
                </a:cubicBezTo>
                <a:cubicBezTo>
                  <a:pt x="183796" y="86164"/>
                  <a:pt x="183541" y="85967"/>
                  <a:pt x="183275" y="85800"/>
                </a:cubicBezTo>
                <a:cubicBezTo>
                  <a:pt x="178532" y="83023"/>
                  <a:pt x="170549" y="63934"/>
                  <a:pt x="171706" y="51093"/>
                </a:cubicBezTo>
                <a:cubicBezTo>
                  <a:pt x="172042" y="46003"/>
                  <a:pt x="171394" y="40901"/>
                  <a:pt x="169797" y="36053"/>
                </a:cubicBezTo>
                <a:cubicBezTo>
                  <a:pt x="168710" y="33075"/>
                  <a:pt x="168259" y="29905"/>
                  <a:pt x="168467" y="26741"/>
                </a:cubicBezTo>
                <a:cubicBezTo>
                  <a:pt x="167796" y="19180"/>
                  <a:pt x="164666" y="12048"/>
                  <a:pt x="159559" y="6437"/>
                </a:cubicBezTo>
                <a:cubicBezTo>
                  <a:pt x="157910" y="4141"/>
                  <a:pt x="155412" y="2602"/>
                  <a:pt x="152617" y="2157"/>
                </a:cubicBezTo>
                <a:lnTo>
                  <a:pt x="151981" y="2157"/>
                </a:lnTo>
                <a:cubicBezTo>
                  <a:pt x="151062" y="6570"/>
                  <a:pt x="150576" y="11065"/>
                  <a:pt x="150535" y="15577"/>
                </a:cubicBezTo>
                <a:cubicBezTo>
                  <a:pt x="150535" y="18932"/>
                  <a:pt x="156320" y="24253"/>
                  <a:pt x="161063" y="25815"/>
                </a:cubicBezTo>
                <a:cubicBezTo>
                  <a:pt x="165806" y="27377"/>
                  <a:pt x="164938" y="33624"/>
                  <a:pt x="164013" y="39698"/>
                </a:cubicBezTo>
                <a:cubicBezTo>
                  <a:pt x="164013" y="41144"/>
                  <a:pt x="163608" y="42532"/>
                  <a:pt x="163492" y="43921"/>
                </a:cubicBezTo>
                <a:cubicBezTo>
                  <a:pt x="162856" y="49300"/>
                  <a:pt x="157130" y="50515"/>
                  <a:pt x="152502" y="51498"/>
                </a:cubicBezTo>
                <a:cubicBezTo>
                  <a:pt x="150552" y="51649"/>
                  <a:pt x="148678" y="52308"/>
                  <a:pt x="147065" y="53407"/>
                </a:cubicBezTo>
                <a:cubicBezTo>
                  <a:pt x="143999" y="57456"/>
                  <a:pt x="130521" y="79148"/>
                  <a:pt x="131100" y="82329"/>
                </a:cubicBezTo>
                <a:cubicBezTo>
                  <a:pt x="132025" y="86667"/>
                  <a:pt x="128786" y="99682"/>
                  <a:pt x="123984" y="101360"/>
                </a:cubicBezTo>
                <a:cubicBezTo>
                  <a:pt x="121208" y="102517"/>
                  <a:pt x="121324" y="109053"/>
                  <a:pt x="121439" y="112929"/>
                </a:cubicBezTo>
                <a:cubicBezTo>
                  <a:pt x="121439" y="113623"/>
                  <a:pt x="121439" y="114259"/>
                  <a:pt x="121439" y="114780"/>
                </a:cubicBezTo>
                <a:cubicBezTo>
                  <a:pt x="121439" y="117093"/>
                  <a:pt x="118721" y="119349"/>
                  <a:pt x="115655" y="121895"/>
                </a:cubicBezTo>
                <a:cubicBezTo>
                  <a:pt x="112589" y="124440"/>
                  <a:pt x="108424" y="127679"/>
                  <a:pt x="108424" y="130976"/>
                </a:cubicBezTo>
                <a:cubicBezTo>
                  <a:pt x="108424" y="136414"/>
                  <a:pt x="99169" y="153593"/>
                  <a:pt x="90493" y="169269"/>
                </a:cubicBezTo>
                <a:cubicBezTo>
                  <a:pt x="89567" y="170946"/>
                  <a:pt x="88758" y="172335"/>
                  <a:pt x="88179" y="173492"/>
                </a:cubicBezTo>
                <a:lnTo>
                  <a:pt x="85923" y="177772"/>
                </a:lnTo>
                <a:cubicBezTo>
                  <a:pt x="82163" y="184887"/>
                  <a:pt x="80139" y="188994"/>
                  <a:pt x="77536" y="188994"/>
                </a:cubicBezTo>
                <a:cubicBezTo>
                  <a:pt x="74933" y="188994"/>
                  <a:pt x="74933" y="186217"/>
                  <a:pt x="74759" y="185292"/>
                </a:cubicBezTo>
                <a:cubicBezTo>
                  <a:pt x="72613" y="178293"/>
                  <a:pt x="66829" y="173017"/>
                  <a:pt x="59662" y="171525"/>
                </a:cubicBezTo>
                <a:cubicBezTo>
                  <a:pt x="58759" y="171519"/>
                  <a:pt x="57875" y="171779"/>
                  <a:pt x="57117" y="172277"/>
                </a:cubicBezTo>
                <a:cubicBezTo>
                  <a:pt x="54277" y="174157"/>
                  <a:pt x="50916" y="175088"/>
                  <a:pt x="47515" y="174938"/>
                </a:cubicBezTo>
                <a:lnTo>
                  <a:pt x="44507" y="174938"/>
                </a:lnTo>
                <a:cubicBezTo>
                  <a:pt x="43222" y="174753"/>
                  <a:pt x="41915" y="174753"/>
                  <a:pt x="40631" y="174938"/>
                </a:cubicBezTo>
                <a:cubicBezTo>
                  <a:pt x="29808" y="184002"/>
                  <a:pt x="19605" y="193783"/>
                  <a:pt x="10089" y="204207"/>
                </a:cubicBezTo>
                <a:cubicBezTo>
                  <a:pt x="8331" y="213849"/>
                  <a:pt x="5774" y="223330"/>
                  <a:pt x="2454" y="232551"/>
                </a:cubicBezTo>
                <a:cubicBezTo>
                  <a:pt x="5491" y="235495"/>
                  <a:pt x="8082" y="238867"/>
                  <a:pt x="10147" y="242558"/>
                </a:cubicBezTo>
                <a:cubicBezTo>
                  <a:pt x="11188" y="244235"/>
                  <a:pt x="12287" y="245913"/>
                  <a:pt x="13386" y="247474"/>
                </a:cubicBezTo>
                <a:cubicBezTo>
                  <a:pt x="15353" y="250228"/>
                  <a:pt x="18639" y="251726"/>
                  <a:pt x="22005" y="251408"/>
                </a:cubicBezTo>
                <a:cubicBezTo>
                  <a:pt x="23509" y="251408"/>
                  <a:pt x="25013" y="251408"/>
                  <a:pt x="26459" y="251408"/>
                </a:cubicBezTo>
                <a:cubicBezTo>
                  <a:pt x="28964" y="250893"/>
                  <a:pt x="31555" y="251055"/>
                  <a:pt x="33979" y="251871"/>
                </a:cubicBezTo>
                <a:cubicBezTo>
                  <a:pt x="38954" y="254589"/>
                  <a:pt x="43986" y="274025"/>
                  <a:pt x="42193" y="279867"/>
                </a:cubicBezTo>
                <a:cubicBezTo>
                  <a:pt x="41846" y="281024"/>
                  <a:pt x="41267" y="282528"/>
                  <a:pt x="40573" y="284321"/>
                </a:cubicBezTo>
                <a:cubicBezTo>
                  <a:pt x="38375" y="290106"/>
                  <a:pt x="35136" y="297973"/>
                  <a:pt x="36756" y="302600"/>
                </a:cubicBezTo>
                <a:lnTo>
                  <a:pt x="73660" y="302600"/>
                </a:lnTo>
                <a:lnTo>
                  <a:pt x="85229" y="299303"/>
                </a:lnTo>
                <a:lnTo>
                  <a:pt x="85576" y="299303"/>
                </a:lnTo>
                <a:cubicBezTo>
                  <a:pt x="85981" y="299303"/>
                  <a:pt x="126588" y="301443"/>
                  <a:pt x="147065" y="301443"/>
                </a:cubicBezTo>
                <a:cubicBezTo>
                  <a:pt x="150616" y="301542"/>
                  <a:pt x="154173" y="301385"/>
                  <a:pt x="157708" y="300980"/>
                </a:cubicBezTo>
                <a:cubicBezTo>
                  <a:pt x="158269" y="300784"/>
                  <a:pt x="158853" y="300645"/>
                  <a:pt x="159443" y="30057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8" name="Forma libre: forma 297">
            <a:extLst>
              <a:ext uri="{FF2B5EF4-FFF2-40B4-BE49-F238E27FC236}">
                <a16:creationId xmlns:a16="http://schemas.microsoft.com/office/drawing/2014/main" id="{DFB0DDAA-F250-E1A6-945F-78D2D3384DBB}"/>
              </a:ext>
            </a:extLst>
          </p:cNvPr>
          <p:cNvSpPr/>
          <p:nvPr/>
        </p:nvSpPr>
        <p:spPr>
          <a:xfrm>
            <a:off x="5952336" y="4186025"/>
            <a:ext cx="168809" cy="172850"/>
          </a:xfrm>
          <a:custGeom>
            <a:avLst/>
            <a:gdLst>
              <a:gd name="connsiteX0" fmla="*/ 25015 w 168809"/>
              <a:gd name="connsiteY0" fmla="*/ 172722 h 172850"/>
              <a:gd name="connsiteX1" fmla="*/ 24321 w 168809"/>
              <a:gd name="connsiteY1" fmla="*/ 172722 h 172850"/>
              <a:gd name="connsiteX2" fmla="*/ 23453 w 168809"/>
              <a:gd name="connsiteY2" fmla="*/ 172259 h 172850"/>
              <a:gd name="connsiteX3" fmla="*/ 23453 w 168809"/>
              <a:gd name="connsiteY3" fmla="*/ 171333 h 172850"/>
              <a:gd name="connsiteX4" fmla="*/ 28717 w 168809"/>
              <a:gd name="connsiteY4" fmla="*/ 155137 h 172850"/>
              <a:gd name="connsiteX5" fmla="*/ 31552 w 168809"/>
              <a:gd name="connsiteY5" fmla="*/ 145998 h 172850"/>
              <a:gd name="connsiteX6" fmla="*/ 15818 w 168809"/>
              <a:gd name="connsiteY6" fmla="*/ 129512 h 172850"/>
              <a:gd name="connsiteX7" fmla="*/ 10843 w 168809"/>
              <a:gd name="connsiteY7" fmla="*/ 126504 h 172850"/>
              <a:gd name="connsiteX8" fmla="*/ 4307 w 168809"/>
              <a:gd name="connsiteY8" fmla="*/ 122744 h 172850"/>
              <a:gd name="connsiteX9" fmla="*/ -90 w 168809"/>
              <a:gd name="connsiteY9" fmla="*/ 119042 h 172850"/>
              <a:gd name="connsiteX10" fmla="*/ 1646 w 168809"/>
              <a:gd name="connsiteY10" fmla="*/ 116208 h 172850"/>
              <a:gd name="connsiteX11" fmla="*/ 4307 w 168809"/>
              <a:gd name="connsiteY11" fmla="*/ 97813 h 172850"/>
              <a:gd name="connsiteX12" fmla="*/ 9224 w 168809"/>
              <a:gd name="connsiteY12" fmla="*/ 85030 h 172850"/>
              <a:gd name="connsiteX13" fmla="*/ 12347 w 168809"/>
              <a:gd name="connsiteY13" fmla="*/ 81848 h 172850"/>
              <a:gd name="connsiteX14" fmla="*/ 11306 w 168809"/>
              <a:gd name="connsiteY14" fmla="*/ 75370 h 172850"/>
              <a:gd name="connsiteX15" fmla="*/ 9802 w 168809"/>
              <a:gd name="connsiteY15" fmla="*/ 65710 h 172850"/>
              <a:gd name="connsiteX16" fmla="*/ 13909 w 168809"/>
              <a:gd name="connsiteY16" fmla="*/ 62760 h 172850"/>
              <a:gd name="connsiteX17" fmla="*/ 17495 w 168809"/>
              <a:gd name="connsiteY17" fmla="*/ 63627 h 172850"/>
              <a:gd name="connsiteX18" fmla="*/ 22759 w 168809"/>
              <a:gd name="connsiteY18" fmla="*/ 63627 h 172850"/>
              <a:gd name="connsiteX19" fmla="*/ 20330 w 168809"/>
              <a:gd name="connsiteY19" fmla="*/ 54604 h 172850"/>
              <a:gd name="connsiteX20" fmla="*/ 17669 w 168809"/>
              <a:gd name="connsiteY20" fmla="*/ 47084 h 172850"/>
              <a:gd name="connsiteX21" fmla="*/ 13330 w 168809"/>
              <a:gd name="connsiteY21" fmla="*/ 35515 h 172850"/>
              <a:gd name="connsiteX22" fmla="*/ 12636 w 168809"/>
              <a:gd name="connsiteY22" fmla="*/ 13361 h 172850"/>
              <a:gd name="connsiteX23" fmla="*/ 12636 w 168809"/>
              <a:gd name="connsiteY23" fmla="*/ 12493 h 172850"/>
              <a:gd name="connsiteX24" fmla="*/ 13330 w 168809"/>
              <a:gd name="connsiteY24" fmla="*/ 11683 h 172850"/>
              <a:gd name="connsiteX25" fmla="*/ 14429 w 168809"/>
              <a:gd name="connsiteY25" fmla="*/ 11683 h 172850"/>
              <a:gd name="connsiteX26" fmla="*/ 21949 w 168809"/>
              <a:gd name="connsiteY26" fmla="*/ 9890 h 172850"/>
              <a:gd name="connsiteX27" fmla="*/ 27097 w 168809"/>
              <a:gd name="connsiteY27" fmla="*/ 5956 h 172850"/>
              <a:gd name="connsiteX28" fmla="*/ 37683 w 168809"/>
              <a:gd name="connsiteY28" fmla="*/ 13766 h 172850"/>
              <a:gd name="connsiteX29" fmla="*/ 40459 w 168809"/>
              <a:gd name="connsiteY29" fmla="*/ 15096 h 172850"/>
              <a:gd name="connsiteX30" fmla="*/ 50987 w 168809"/>
              <a:gd name="connsiteY30" fmla="*/ 6824 h 172850"/>
              <a:gd name="connsiteX31" fmla="*/ 61226 w 168809"/>
              <a:gd name="connsiteY31" fmla="*/ -117 h 172850"/>
              <a:gd name="connsiteX32" fmla="*/ 65795 w 168809"/>
              <a:gd name="connsiteY32" fmla="*/ 1676 h 172850"/>
              <a:gd name="connsiteX33" fmla="*/ 66894 w 168809"/>
              <a:gd name="connsiteY33" fmla="*/ 5667 h 172850"/>
              <a:gd name="connsiteX34" fmla="*/ 67415 w 168809"/>
              <a:gd name="connsiteY34" fmla="*/ 10700 h 172850"/>
              <a:gd name="connsiteX35" fmla="*/ 68282 w 168809"/>
              <a:gd name="connsiteY35" fmla="*/ 10700 h 172850"/>
              <a:gd name="connsiteX36" fmla="*/ 74819 w 168809"/>
              <a:gd name="connsiteY36" fmla="*/ 7518 h 172850"/>
              <a:gd name="connsiteX37" fmla="*/ 81297 w 168809"/>
              <a:gd name="connsiteY37" fmla="*/ 5494 h 172850"/>
              <a:gd name="connsiteX38" fmla="*/ 97436 w 168809"/>
              <a:gd name="connsiteY38" fmla="*/ 15154 h 172850"/>
              <a:gd name="connsiteX39" fmla="*/ 115542 w 168809"/>
              <a:gd name="connsiteY39" fmla="*/ 28227 h 172850"/>
              <a:gd name="connsiteX40" fmla="*/ 119880 w 168809"/>
              <a:gd name="connsiteY40" fmla="*/ 26260 h 172850"/>
              <a:gd name="connsiteX41" fmla="*/ 141456 w 168809"/>
              <a:gd name="connsiteY41" fmla="*/ 18856 h 172850"/>
              <a:gd name="connsiteX42" fmla="*/ 153834 w 168809"/>
              <a:gd name="connsiteY42" fmla="*/ 22153 h 172850"/>
              <a:gd name="connsiteX43" fmla="*/ 157826 w 168809"/>
              <a:gd name="connsiteY43" fmla="*/ 24467 h 172850"/>
              <a:gd name="connsiteX44" fmla="*/ 159098 w 168809"/>
              <a:gd name="connsiteY44" fmla="*/ 25103 h 172850"/>
              <a:gd name="connsiteX45" fmla="*/ 168700 w 168809"/>
              <a:gd name="connsiteY45" fmla="*/ 67966 h 172850"/>
              <a:gd name="connsiteX46" fmla="*/ 163552 w 168809"/>
              <a:gd name="connsiteY46" fmla="*/ 76874 h 172850"/>
              <a:gd name="connsiteX47" fmla="*/ 158404 w 168809"/>
              <a:gd name="connsiteY47" fmla="*/ 86071 h 172850"/>
              <a:gd name="connsiteX48" fmla="*/ 151983 w 168809"/>
              <a:gd name="connsiteY48" fmla="*/ 104061 h 172850"/>
              <a:gd name="connsiteX49" fmla="*/ 148050 w 168809"/>
              <a:gd name="connsiteY49" fmla="*/ 113026 h 172850"/>
              <a:gd name="connsiteX50" fmla="*/ 159619 w 168809"/>
              <a:gd name="connsiteY50" fmla="*/ 142411 h 172850"/>
              <a:gd name="connsiteX51" fmla="*/ 159272 w 168809"/>
              <a:gd name="connsiteY51" fmla="*/ 156815 h 172850"/>
              <a:gd name="connsiteX52" fmla="*/ 158751 w 168809"/>
              <a:gd name="connsiteY52" fmla="*/ 157509 h 172850"/>
              <a:gd name="connsiteX53" fmla="*/ 157883 w 168809"/>
              <a:gd name="connsiteY53" fmla="*/ 157509 h 172850"/>
              <a:gd name="connsiteX54" fmla="*/ 105361 w 168809"/>
              <a:gd name="connsiteY54" fmla="*/ 154385 h 172850"/>
              <a:gd name="connsiteX55" fmla="*/ 61978 w 168809"/>
              <a:gd name="connsiteY55" fmla="*/ 164566 h 172850"/>
              <a:gd name="connsiteX56" fmla="*/ 25015 w 168809"/>
              <a:gd name="connsiteY56" fmla="*/ 172722 h 172850"/>
              <a:gd name="connsiteX57" fmla="*/ 13446 w 168809"/>
              <a:gd name="connsiteY57" fmla="*/ 65016 h 172850"/>
              <a:gd name="connsiteX58" fmla="*/ 11364 w 168809"/>
              <a:gd name="connsiteY58" fmla="*/ 66693 h 172850"/>
              <a:gd name="connsiteX59" fmla="*/ 12810 w 168809"/>
              <a:gd name="connsiteY59" fmla="*/ 74271 h 172850"/>
              <a:gd name="connsiteX60" fmla="*/ 13677 w 168809"/>
              <a:gd name="connsiteY60" fmla="*/ 83179 h 172850"/>
              <a:gd name="connsiteX61" fmla="*/ 10265 w 168809"/>
              <a:gd name="connsiteY61" fmla="*/ 86707 h 172850"/>
              <a:gd name="connsiteX62" fmla="*/ 6042 w 168809"/>
              <a:gd name="connsiteY62" fmla="*/ 97524 h 172850"/>
              <a:gd name="connsiteX63" fmla="*/ 2629 w 168809"/>
              <a:gd name="connsiteY63" fmla="*/ 117943 h 172850"/>
              <a:gd name="connsiteX64" fmla="*/ 1704 w 168809"/>
              <a:gd name="connsiteY64" fmla="*/ 118869 h 172850"/>
              <a:gd name="connsiteX65" fmla="*/ 4943 w 168809"/>
              <a:gd name="connsiteY65" fmla="*/ 120778 h 172850"/>
              <a:gd name="connsiteX66" fmla="*/ 11595 w 168809"/>
              <a:gd name="connsiteY66" fmla="*/ 124595 h 172850"/>
              <a:gd name="connsiteX67" fmla="*/ 16512 w 168809"/>
              <a:gd name="connsiteY67" fmla="*/ 127545 h 172850"/>
              <a:gd name="connsiteX68" fmla="*/ 33287 w 168809"/>
              <a:gd name="connsiteY68" fmla="*/ 146287 h 172850"/>
              <a:gd name="connsiteX69" fmla="*/ 30337 w 168809"/>
              <a:gd name="connsiteY69" fmla="*/ 156005 h 172850"/>
              <a:gd name="connsiteX70" fmla="*/ 25536 w 168809"/>
              <a:gd name="connsiteY70" fmla="*/ 170466 h 172850"/>
              <a:gd name="connsiteX71" fmla="*/ 60879 w 168809"/>
              <a:gd name="connsiteY71" fmla="*/ 163062 h 172850"/>
              <a:gd name="connsiteX72" fmla="*/ 104493 w 168809"/>
              <a:gd name="connsiteY72" fmla="*/ 152881 h 172850"/>
              <a:gd name="connsiteX73" fmla="*/ 156900 w 168809"/>
              <a:gd name="connsiteY73" fmla="*/ 155715 h 172850"/>
              <a:gd name="connsiteX74" fmla="*/ 157305 w 168809"/>
              <a:gd name="connsiteY74" fmla="*/ 144147 h 172850"/>
              <a:gd name="connsiteX75" fmla="*/ 145736 w 168809"/>
              <a:gd name="connsiteY75" fmla="*/ 113084 h 172850"/>
              <a:gd name="connsiteX76" fmla="*/ 149843 w 168809"/>
              <a:gd name="connsiteY76" fmla="*/ 103366 h 172850"/>
              <a:gd name="connsiteX77" fmla="*/ 156033 w 168809"/>
              <a:gd name="connsiteY77" fmla="*/ 86591 h 172850"/>
              <a:gd name="connsiteX78" fmla="*/ 161817 w 168809"/>
              <a:gd name="connsiteY78" fmla="*/ 75659 h 172850"/>
              <a:gd name="connsiteX79" fmla="*/ 166387 w 168809"/>
              <a:gd name="connsiteY79" fmla="*/ 68313 h 172850"/>
              <a:gd name="connsiteX80" fmla="*/ 157247 w 168809"/>
              <a:gd name="connsiteY80" fmla="*/ 27012 h 172850"/>
              <a:gd name="connsiteX81" fmla="*/ 152157 w 168809"/>
              <a:gd name="connsiteY81" fmla="*/ 24120 h 172850"/>
              <a:gd name="connsiteX82" fmla="*/ 141398 w 168809"/>
              <a:gd name="connsiteY82" fmla="*/ 21459 h 172850"/>
              <a:gd name="connsiteX83" fmla="*/ 121499 w 168809"/>
              <a:gd name="connsiteY83" fmla="*/ 28111 h 172850"/>
              <a:gd name="connsiteX84" fmla="*/ 115715 w 168809"/>
              <a:gd name="connsiteY84" fmla="*/ 30830 h 172850"/>
              <a:gd name="connsiteX85" fmla="*/ 95701 w 168809"/>
              <a:gd name="connsiteY85" fmla="*/ 16658 h 172850"/>
              <a:gd name="connsiteX86" fmla="*/ 81471 w 168809"/>
              <a:gd name="connsiteY86" fmla="*/ 8097 h 172850"/>
              <a:gd name="connsiteX87" fmla="*/ 76323 w 168809"/>
              <a:gd name="connsiteY87" fmla="*/ 9717 h 172850"/>
              <a:gd name="connsiteX88" fmla="*/ 65911 w 168809"/>
              <a:gd name="connsiteY88" fmla="*/ 12262 h 172850"/>
              <a:gd name="connsiteX89" fmla="*/ 64812 w 168809"/>
              <a:gd name="connsiteY89" fmla="*/ 5436 h 172850"/>
              <a:gd name="connsiteX90" fmla="*/ 64291 w 168809"/>
              <a:gd name="connsiteY90" fmla="*/ 3180 h 172850"/>
              <a:gd name="connsiteX91" fmla="*/ 61399 w 168809"/>
              <a:gd name="connsiteY91" fmla="*/ 2197 h 172850"/>
              <a:gd name="connsiteX92" fmla="*/ 53359 w 168809"/>
              <a:gd name="connsiteY92" fmla="*/ 7460 h 172850"/>
              <a:gd name="connsiteX93" fmla="*/ 40633 w 168809"/>
              <a:gd name="connsiteY93" fmla="*/ 17410 h 172850"/>
              <a:gd name="connsiteX94" fmla="*/ 35948 w 168809"/>
              <a:gd name="connsiteY94" fmla="*/ 15096 h 172850"/>
              <a:gd name="connsiteX95" fmla="*/ 27271 w 168809"/>
              <a:gd name="connsiteY95" fmla="*/ 8270 h 172850"/>
              <a:gd name="connsiteX96" fmla="*/ 24205 w 168809"/>
              <a:gd name="connsiteY96" fmla="*/ 10873 h 172850"/>
              <a:gd name="connsiteX97" fmla="*/ 18421 w 168809"/>
              <a:gd name="connsiteY97" fmla="*/ 15501 h 172850"/>
              <a:gd name="connsiteX98" fmla="*/ 14777 w 168809"/>
              <a:gd name="connsiteY98" fmla="*/ 14460 h 172850"/>
              <a:gd name="connsiteX99" fmla="*/ 14777 w 168809"/>
              <a:gd name="connsiteY99" fmla="*/ 33433 h 172850"/>
              <a:gd name="connsiteX100" fmla="*/ 20156 w 168809"/>
              <a:gd name="connsiteY100" fmla="*/ 47489 h 172850"/>
              <a:gd name="connsiteX101" fmla="*/ 22586 w 168809"/>
              <a:gd name="connsiteY101" fmla="*/ 53273 h 172850"/>
              <a:gd name="connsiteX102" fmla="*/ 24726 w 168809"/>
              <a:gd name="connsiteY102" fmla="*/ 64842 h 172850"/>
              <a:gd name="connsiteX103" fmla="*/ 21024 w 168809"/>
              <a:gd name="connsiteY103" fmla="*/ 66346 h 172850"/>
              <a:gd name="connsiteX104" fmla="*/ 17090 w 168809"/>
              <a:gd name="connsiteY104" fmla="*/ 65421 h 172850"/>
              <a:gd name="connsiteX105" fmla="*/ 13909 w 168809"/>
              <a:gd name="connsiteY105" fmla="*/ 65016 h 17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68809" h="172850">
                <a:moveTo>
                  <a:pt x="25015" y="172722"/>
                </a:moveTo>
                <a:lnTo>
                  <a:pt x="24321" y="172722"/>
                </a:lnTo>
                <a:cubicBezTo>
                  <a:pt x="23974" y="172722"/>
                  <a:pt x="23644" y="172548"/>
                  <a:pt x="23453" y="172259"/>
                </a:cubicBezTo>
                <a:cubicBezTo>
                  <a:pt x="23309" y="171970"/>
                  <a:pt x="23309" y="171623"/>
                  <a:pt x="23453" y="171333"/>
                </a:cubicBezTo>
                <a:cubicBezTo>
                  <a:pt x="24593" y="165751"/>
                  <a:pt x="26357" y="160320"/>
                  <a:pt x="28717" y="155137"/>
                </a:cubicBezTo>
                <a:cubicBezTo>
                  <a:pt x="30088" y="152239"/>
                  <a:pt x="31042" y="149162"/>
                  <a:pt x="31552" y="145998"/>
                </a:cubicBezTo>
                <a:cubicBezTo>
                  <a:pt x="32419" y="139230"/>
                  <a:pt x="23569" y="134082"/>
                  <a:pt x="15818" y="129512"/>
                </a:cubicBezTo>
                <a:cubicBezTo>
                  <a:pt x="14082" y="128471"/>
                  <a:pt x="12347" y="127487"/>
                  <a:pt x="10843" y="126504"/>
                </a:cubicBezTo>
                <a:cubicBezTo>
                  <a:pt x="8240" y="124827"/>
                  <a:pt x="6100" y="123670"/>
                  <a:pt x="4307" y="122744"/>
                </a:cubicBezTo>
                <a:cubicBezTo>
                  <a:pt x="1588" y="121298"/>
                  <a:pt x="84" y="120546"/>
                  <a:pt x="-90" y="119042"/>
                </a:cubicBezTo>
                <a:cubicBezTo>
                  <a:pt x="-263" y="117538"/>
                  <a:pt x="720" y="116960"/>
                  <a:pt x="1646" y="116208"/>
                </a:cubicBezTo>
                <a:cubicBezTo>
                  <a:pt x="4654" y="113663"/>
                  <a:pt x="5522" y="107821"/>
                  <a:pt x="4307" y="97813"/>
                </a:cubicBezTo>
                <a:cubicBezTo>
                  <a:pt x="3173" y="92949"/>
                  <a:pt x="5122" y="87882"/>
                  <a:pt x="9224" y="85030"/>
                </a:cubicBezTo>
                <a:cubicBezTo>
                  <a:pt x="10392" y="84104"/>
                  <a:pt x="11439" y="83034"/>
                  <a:pt x="12347" y="81848"/>
                </a:cubicBezTo>
                <a:cubicBezTo>
                  <a:pt x="13677" y="80113"/>
                  <a:pt x="12810" y="78204"/>
                  <a:pt x="11306" y="75370"/>
                </a:cubicBezTo>
                <a:cubicBezTo>
                  <a:pt x="9177" y="72622"/>
                  <a:pt x="8610" y="68972"/>
                  <a:pt x="9802" y="65710"/>
                </a:cubicBezTo>
                <a:cubicBezTo>
                  <a:pt x="10450" y="63992"/>
                  <a:pt x="12070" y="62829"/>
                  <a:pt x="13909" y="62760"/>
                </a:cubicBezTo>
                <a:cubicBezTo>
                  <a:pt x="15147" y="62846"/>
                  <a:pt x="16356" y="63142"/>
                  <a:pt x="17495" y="63627"/>
                </a:cubicBezTo>
                <a:cubicBezTo>
                  <a:pt x="19462" y="64379"/>
                  <a:pt x="21371" y="64900"/>
                  <a:pt x="22759" y="63627"/>
                </a:cubicBezTo>
                <a:cubicBezTo>
                  <a:pt x="24147" y="62355"/>
                  <a:pt x="22354" y="57843"/>
                  <a:pt x="20330" y="54604"/>
                </a:cubicBezTo>
                <a:cubicBezTo>
                  <a:pt x="18305" y="51364"/>
                  <a:pt x="16975" y="48819"/>
                  <a:pt x="17669" y="47084"/>
                </a:cubicBezTo>
                <a:cubicBezTo>
                  <a:pt x="19179" y="42688"/>
                  <a:pt x="17357" y="37840"/>
                  <a:pt x="13330" y="35515"/>
                </a:cubicBezTo>
                <a:cubicBezTo>
                  <a:pt x="8240" y="32681"/>
                  <a:pt x="10438" y="22905"/>
                  <a:pt x="12636" y="13361"/>
                </a:cubicBezTo>
                <a:lnTo>
                  <a:pt x="12636" y="12493"/>
                </a:lnTo>
                <a:cubicBezTo>
                  <a:pt x="12729" y="12129"/>
                  <a:pt x="12989" y="11834"/>
                  <a:pt x="13330" y="11683"/>
                </a:cubicBezTo>
                <a:cubicBezTo>
                  <a:pt x="13677" y="11515"/>
                  <a:pt x="14082" y="11515"/>
                  <a:pt x="14429" y="11683"/>
                </a:cubicBezTo>
                <a:cubicBezTo>
                  <a:pt x="17611" y="14055"/>
                  <a:pt x="20214" y="13592"/>
                  <a:pt x="21949" y="9890"/>
                </a:cubicBezTo>
                <a:cubicBezTo>
                  <a:pt x="22701" y="7651"/>
                  <a:pt x="24738" y="6096"/>
                  <a:pt x="27097" y="5956"/>
                </a:cubicBezTo>
                <a:cubicBezTo>
                  <a:pt x="31320" y="5956"/>
                  <a:pt x="35716" y="10873"/>
                  <a:pt x="37683" y="13766"/>
                </a:cubicBezTo>
                <a:cubicBezTo>
                  <a:pt x="38308" y="14668"/>
                  <a:pt x="39366" y="15171"/>
                  <a:pt x="40459" y="15096"/>
                </a:cubicBezTo>
                <a:cubicBezTo>
                  <a:pt x="45261" y="14570"/>
                  <a:pt x="49339" y="11359"/>
                  <a:pt x="50987" y="6824"/>
                </a:cubicBezTo>
                <a:cubicBezTo>
                  <a:pt x="52584" y="2573"/>
                  <a:pt x="56685" y="-210"/>
                  <a:pt x="61226" y="-117"/>
                </a:cubicBezTo>
                <a:cubicBezTo>
                  <a:pt x="62938" y="-227"/>
                  <a:pt x="64615" y="427"/>
                  <a:pt x="65795" y="1676"/>
                </a:cubicBezTo>
                <a:cubicBezTo>
                  <a:pt x="66744" y="2769"/>
                  <a:pt x="67149" y="4239"/>
                  <a:pt x="66894" y="5667"/>
                </a:cubicBezTo>
                <a:cubicBezTo>
                  <a:pt x="66547" y="8965"/>
                  <a:pt x="66894" y="10237"/>
                  <a:pt x="67415" y="10700"/>
                </a:cubicBezTo>
                <a:cubicBezTo>
                  <a:pt x="67693" y="10810"/>
                  <a:pt x="68005" y="10810"/>
                  <a:pt x="68282" y="10700"/>
                </a:cubicBezTo>
                <a:cubicBezTo>
                  <a:pt x="70701" y="10226"/>
                  <a:pt x="72957" y="9132"/>
                  <a:pt x="74819" y="7518"/>
                </a:cubicBezTo>
                <a:cubicBezTo>
                  <a:pt x="76728" y="6211"/>
                  <a:pt x="78984" y="5505"/>
                  <a:pt x="81297" y="5494"/>
                </a:cubicBezTo>
                <a:cubicBezTo>
                  <a:pt x="87857" y="6119"/>
                  <a:pt x="93786" y="9665"/>
                  <a:pt x="97436" y="15154"/>
                </a:cubicBezTo>
                <a:cubicBezTo>
                  <a:pt x="99461" y="18509"/>
                  <a:pt x="109005" y="28227"/>
                  <a:pt x="115542" y="28227"/>
                </a:cubicBezTo>
                <a:cubicBezTo>
                  <a:pt x="117202" y="28227"/>
                  <a:pt x="118781" y="27509"/>
                  <a:pt x="119880" y="26260"/>
                </a:cubicBezTo>
                <a:cubicBezTo>
                  <a:pt x="125872" y="21147"/>
                  <a:pt x="133583" y="18497"/>
                  <a:pt x="141456" y="18856"/>
                </a:cubicBezTo>
                <a:cubicBezTo>
                  <a:pt x="145840" y="18463"/>
                  <a:pt x="150225" y="19631"/>
                  <a:pt x="153834" y="22153"/>
                </a:cubicBezTo>
                <a:cubicBezTo>
                  <a:pt x="154806" y="23420"/>
                  <a:pt x="156240" y="24253"/>
                  <a:pt x="157826" y="24467"/>
                </a:cubicBezTo>
                <a:cubicBezTo>
                  <a:pt x="158329" y="24461"/>
                  <a:pt x="158803" y="24698"/>
                  <a:pt x="159098" y="25103"/>
                </a:cubicBezTo>
                <a:cubicBezTo>
                  <a:pt x="164449" y="38824"/>
                  <a:pt x="167688" y="53273"/>
                  <a:pt x="168700" y="67966"/>
                </a:cubicBezTo>
                <a:cubicBezTo>
                  <a:pt x="168087" y="71448"/>
                  <a:pt x="166259" y="74600"/>
                  <a:pt x="163552" y="76874"/>
                </a:cubicBezTo>
                <a:cubicBezTo>
                  <a:pt x="160891" y="79708"/>
                  <a:pt x="158115" y="82658"/>
                  <a:pt x="158404" y="86071"/>
                </a:cubicBezTo>
                <a:cubicBezTo>
                  <a:pt x="157640" y="92474"/>
                  <a:pt x="155448" y="98623"/>
                  <a:pt x="151983" y="104061"/>
                </a:cubicBezTo>
                <a:cubicBezTo>
                  <a:pt x="150323" y="106883"/>
                  <a:pt x="149004" y="109891"/>
                  <a:pt x="148050" y="113026"/>
                </a:cubicBezTo>
                <a:cubicBezTo>
                  <a:pt x="147529" y="117307"/>
                  <a:pt x="155628" y="137495"/>
                  <a:pt x="159619" y="142411"/>
                </a:cubicBezTo>
                <a:cubicBezTo>
                  <a:pt x="161354" y="144800"/>
                  <a:pt x="161238" y="149601"/>
                  <a:pt x="159272" y="156815"/>
                </a:cubicBezTo>
                <a:cubicBezTo>
                  <a:pt x="159208" y="157110"/>
                  <a:pt x="159017" y="157364"/>
                  <a:pt x="158751" y="157509"/>
                </a:cubicBezTo>
                <a:cubicBezTo>
                  <a:pt x="158479" y="157653"/>
                  <a:pt x="158155" y="157653"/>
                  <a:pt x="157883" y="157509"/>
                </a:cubicBezTo>
                <a:cubicBezTo>
                  <a:pt x="140837" y="152493"/>
                  <a:pt x="122876" y="151429"/>
                  <a:pt x="105361" y="154385"/>
                </a:cubicBezTo>
                <a:cubicBezTo>
                  <a:pt x="89627" y="157162"/>
                  <a:pt x="74935" y="161095"/>
                  <a:pt x="61978" y="164566"/>
                </a:cubicBezTo>
                <a:cubicBezTo>
                  <a:pt x="50004" y="168679"/>
                  <a:pt x="37608" y="171414"/>
                  <a:pt x="25015" y="172722"/>
                </a:cubicBezTo>
                <a:close/>
                <a:moveTo>
                  <a:pt x="13446" y="65016"/>
                </a:moveTo>
                <a:cubicBezTo>
                  <a:pt x="12868" y="65016"/>
                  <a:pt x="12116" y="65016"/>
                  <a:pt x="11364" y="66693"/>
                </a:cubicBezTo>
                <a:cubicBezTo>
                  <a:pt x="10149" y="69181"/>
                  <a:pt x="11364" y="71668"/>
                  <a:pt x="12810" y="74271"/>
                </a:cubicBezTo>
                <a:cubicBezTo>
                  <a:pt x="14256" y="76874"/>
                  <a:pt x="15933" y="80055"/>
                  <a:pt x="13677" y="83179"/>
                </a:cubicBezTo>
                <a:cubicBezTo>
                  <a:pt x="12706" y="84503"/>
                  <a:pt x="11555" y="85689"/>
                  <a:pt x="10265" y="86707"/>
                </a:cubicBezTo>
                <a:cubicBezTo>
                  <a:pt x="6707" y="89056"/>
                  <a:pt x="5018" y="93388"/>
                  <a:pt x="6042" y="97524"/>
                </a:cubicBezTo>
                <a:cubicBezTo>
                  <a:pt x="7373" y="108515"/>
                  <a:pt x="6331" y="114877"/>
                  <a:pt x="2629" y="117943"/>
                </a:cubicBezTo>
                <a:cubicBezTo>
                  <a:pt x="1819" y="118580"/>
                  <a:pt x="1704" y="118869"/>
                  <a:pt x="1704" y="118869"/>
                </a:cubicBezTo>
                <a:cubicBezTo>
                  <a:pt x="2710" y="119621"/>
                  <a:pt x="3798" y="120257"/>
                  <a:pt x="4943" y="120778"/>
                </a:cubicBezTo>
                <a:cubicBezTo>
                  <a:pt x="7228" y="121935"/>
                  <a:pt x="9443" y="123207"/>
                  <a:pt x="11595" y="124595"/>
                </a:cubicBezTo>
                <a:lnTo>
                  <a:pt x="16512" y="127545"/>
                </a:lnTo>
                <a:cubicBezTo>
                  <a:pt x="24899" y="132462"/>
                  <a:pt x="34386" y="138073"/>
                  <a:pt x="33287" y="146287"/>
                </a:cubicBezTo>
                <a:cubicBezTo>
                  <a:pt x="32784" y="149654"/>
                  <a:pt x="31789" y="152927"/>
                  <a:pt x="30337" y="156005"/>
                </a:cubicBezTo>
                <a:cubicBezTo>
                  <a:pt x="28249" y="160650"/>
                  <a:pt x="26641" y="165497"/>
                  <a:pt x="25536" y="170466"/>
                </a:cubicBezTo>
                <a:cubicBezTo>
                  <a:pt x="37544" y="169234"/>
                  <a:pt x="49385" y="166752"/>
                  <a:pt x="60879" y="163062"/>
                </a:cubicBezTo>
                <a:cubicBezTo>
                  <a:pt x="73836" y="159591"/>
                  <a:pt x="88586" y="155600"/>
                  <a:pt x="104493" y="152881"/>
                </a:cubicBezTo>
                <a:cubicBezTo>
                  <a:pt x="121956" y="149914"/>
                  <a:pt x="139859" y="150886"/>
                  <a:pt x="156900" y="155715"/>
                </a:cubicBezTo>
                <a:cubicBezTo>
                  <a:pt x="158358" y="152019"/>
                  <a:pt x="158496" y="147936"/>
                  <a:pt x="157305" y="144147"/>
                </a:cubicBezTo>
                <a:cubicBezTo>
                  <a:pt x="153487" y="139172"/>
                  <a:pt x="144926" y="118232"/>
                  <a:pt x="145736" y="113084"/>
                </a:cubicBezTo>
                <a:cubicBezTo>
                  <a:pt x="146650" y="109672"/>
                  <a:pt x="148033" y="106403"/>
                  <a:pt x="149843" y="103366"/>
                </a:cubicBezTo>
                <a:cubicBezTo>
                  <a:pt x="153076" y="98282"/>
                  <a:pt x="155188" y="92561"/>
                  <a:pt x="156033" y="86591"/>
                </a:cubicBezTo>
                <a:cubicBezTo>
                  <a:pt x="156362" y="82305"/>
                  <a:pt x="158456" y="78343"/>
                  <a:pt x="161817" y="75659"/>
                </a:cubicBezTo>
                <a:cubicBezTo>
                  <a:pt x="164131" y="73114"/>
                  <a:pt x="166387" y="70742"/>
                  <a:pt x="166387" y="68313"/>
                </a:cubicBezTo>
                <a:cubicBezTo>
                  <a:pt x="165409" y="54170"/>
                  <a:pt x="162326" y="40247"/>
                  <a:pt x="157247" y="27012"/>
                </a:cubicBezTo>
                <a:cubicBezTo>
                  <a:pt x="155269" y="26665"/>
                  <a:pt x="153470" y="25641"/>
                  <a:pt x="152157" y="24120"/>
                </a:cubicBezTo>
                <a:cubicBezTo>
                  <a:pt x="148970" y="22055"/>
                  <a:pt x="145181" y="21118"/>
                  <a:pt x="141398" y="21459"/>
                </a:cubicBezTo>
                <a:cubicBezTo>
                  <a:pt x="134167" y="21106"/>
                  <a:pt x="127064" y="23483"/>
                  <a:pt x="121499" y="28111"/>
                </a:cubicBezTo>
                <a:cubicBezTo>
                  <a:pt x="120059" y="29812"/>
                  <a:pt x="117948" y="30807"/>
                  <a:pt x="115715" y="30830"/>
                </a:cubicBezTo>
                <a:cubicBezTo>
                  <a:pt x="107674" y="30830"/>
                  <a:pt x="97725" y="20071"/>
                  <a:pt x="95701" y="16658"/>
                </a:cubicBezTo>
                <a:cubicBezTo>
                  <a:pt x="92433" y="11868"/>
                  <a:pt x="87232" y="8739"/>
                  <a:pt x="81471" y="8097"/>
                </a:cubicBezTo>
                <a:cubicBezTo>
                  <a:pt x="79632" y="8103"/>
                  <a:pt x="77833" y="8669"/>
                  <a:pt x="76323" y="9717"/>
                </a:cubicBezTo>
                <a:cubicBezTo>
                  <a:pt x="70539" y="13592"/>
                  <a:pt x="67646" y="14229"/>
                  <a:pt x="65911" y="12262"/>
                </a:cubicBezTo>
                <a:cubicBezTo>
                  <a:pt x="64633" y="10231"/>
                  <a:pt x="64239" y="7767"/>
                  <a:pt x="64812" y="5436"/>
                </a:cubicBezTo>
                <a:cubicBezTo>
                  <a:pt x="64974" y="4643"/>
                  <a:pt x="64783" y="3822"/>
                  <a:pt x="64291" y="3180"/>
                </a:cubicBezTo>
                <a:cubicBezTo>
                  <a:pt x="63493" y="2486"/>
                  <a:pt x="62452" y="2133"/>
                  <a:pt x="61399" y="2197"/>
                </a:cubicBezTo>
                <a:cubicBezTo>
                  <a:pt x="57900" y="2156"/>
                  <a:pt x="54718" y="4239"/>
                  <a:pt x="53359" y="7460"/>
                </a:cubicBezTo>
                <a:cubicBezTo>
                  <a:pt x="51433" y="12985"/>
                  <a:pt x="46458" y="16872"/>
                  <a:pt x="40633" y="17410"/>
                </a:cubicBezTo>
                <a:cubicBezTo>
                  <a:pt x="38776" y="17491"/>
                  <a:pt x="37012" y="16617"/>
                  <a:pt x="35948" y="15096"/>
                </a:cubicBezTo>
                <a:cubicBezTo>
                  <a:pt x="33692" y="11683"/>
                  <a:pt x="30163" y="8270"/>
                  <a:pt x="27271" y="8270"/>
                </a:cubicBezTo>
                <a:cubicBezTo>
                  <a:pt x="25998" y="8270"/>
                  <a:pt x="24957" y="9138"/>
                  <a:pt x="24205" y="10873"/>
                </a:cubicBezTo>
                <a:cubicBezTo>
                  <a:pt x="22470" y="14691"/>
                  <a:pt x="20041" y="15501"/>
                  <a:pt x="18421" y="15501"/>
                </a:cubicBezTo>
                <a:cubicBezTo>
                  <a:pt x="17137" y="15472"/>
                  <a:pt x="15882" y="15113"/>
                  <a:pt x="14777" y="14460"/>
                </a:cubicBezTo>
                <a:cubicBezTo>
                  <a:pt x="12983" y="22211"/>
                  <a:pt x="11017" y="31466"/>
                  <a:pt x="14777" y="33433"/>
                </a:cubicBezTo>
                <a:cubicBezTo>
                  <a:pt x="19659" y="36267"/>
                  <a:pt x="21897" y="42121"/>
                  <a:pt x="20156" y="47489"/>
                </a:cubicBezTo>
                <a:cubicBezTo>
                  <a:pt x="19809" y="48530"/>
                  <a:pt x="21371" y="51075"/>
                  <a:pt x="22586" y="53273"/>
                </a:cubicBezTo>
                <a:cubicBezTo>
                  <a:pt x="24899" y="57149"/>
                  <a:pt x="27791" y="61950"/>
                  <a:pt x="24726" y="64842"/>
                </a:cubicBezTo>
                <a:cubicBezTo>
                  <a:pt x="23748" y="65826"/>
                  <a:pt x="22412" y="66369"/>
                  <a:pt x="21024" y="66346"/>
                </a:cubicBezTo>
                <a:cubicBezTo>
                  <a:pt x="19670" y="66271"/>
                  <a:pt x="18340" y="65959"/>
                  <a:pt x="17090" y="65421"/>
                </a:cubicBezTo>
                <a:cubicBezTo>
                  <a:pt x="16067" y="65091"/>
                  <a:pt x="14985" y="64952"/>
                  <a:pt x="13909" y="6501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299" name="Forma libre: forma 298">
            <a:extLst>
              <a:ext uri="{FF2B5EF4-FFF2-40B4-BE49-F238E27FC236}">
                <a16:creationId xmlns:a16="http://schemas.microsoft.com/office/drawing/2014/main" id="{1EB0731C-B38D-4E1D-7B43-E9F28CE757CB}"/>
              </a:ext>
            </a:extLst>
          </p:cNvPr>
          <p:cNvSpPr/>
          <p:nvPr/>
        </p:nvSpPr>
        <p:spPr>
          <a:xfrm>
            <a:off x="6098591" y="4174133"/>
            <a:ext cx="118288" cy="177686"/>
          </a:xfrm>
          <a:custGeom>
            <a:avLst/>
            <a:gdLst>
              <a:gd name="connsiteX0" fmla="*/ 33031 w 118288"/>
              <a:gd name="connsiteY0" fmla="*/ 177557 h 177686"/>
              <a:gd name="connsiteX1" fmla="*/ 32106 w 118288"/>
              <a:gd name="connsiteY1" fmla="*/ 177557 h 177686"/>
              <a:gd name="connsiteX2" fmla="*/ 27941 w 118288"/>
              <a:gd name="connsiteY2" fmla="*/ 175995 h 177686"/>
              <a:gd name="connsiteX3" fmla="*/ 11571 w 118288"/>
              <a:gd name="connsiteY3" fmla="*/ 170211 h 177686"/>
              <a:gd name="connsiteX4" fmla="*/ 10819 w 118288"/>
              <a:gd name="connsiteY4" fmla="*/ 168823 h 177686"/>
              <a:gd name="connsiteX5" fmla="*/ 11513 w 118288"/>
              <a:gd name="connsiteY5" fmla="*/ 156386 h 177686"/>
              <a:gd name="connsiteX6" fmla="*/ -56 w 118288"/>
              <a:gd name="connsiteY6" fmla="*/ 125324 h 177686"/>
              <a:gd name="connsiteX7" fmla="*/ 4051 w 118288"/>
              <a:gd name="connsiteY7" fmla="*/ 115606 h 177686"/>
              <a:gd name="connsiteX8" fmla="*/ 10240 w 118288"/>
              <a:gd name="connsiteY8" fmla="*/ 98831 h 177686"/>
              <a:gd name="connsiteX9" fmla="*/ 16025 w 118288"/>
              <a:gd name="connsiteY9" fmla="*/ 87898 h 177686"/>
              <a:gd name="connsiteX10" fmla="*/ 20595 w 118288"/>
              <a:gd name="connsiteY10" fmla="*/ 80552 h 177686"/>
              <a:gd name="connsiteX11" fmla="*/ 11166 w 118288"/>
              <a:gd name="connsiteY11" fmla="*/ 38615 h 177686"/>
              <a:gd name="connsiteX12" fmla="*/ 11166 w 118288"/>
              <a:gd name="connsiteY12" fmla="*/ 37574 h 177686"/>
              <a:gd name="connsiteX13" fmla="*/ 12091 w 118288"/>
              <a:gd name="connsiteY13" fmla="*/ 37053 h 177686"/>
              <a:gd name="connsiteX14" fmla="*/ 14868 w 118288"/>
              <a:gd name="connsiteY14" fmla="*/ 32946 h 177686"/>
              <a:gd name="connsiteX15" fmla="*/ 12496 w 118288"/>
              <a:gd name="connsiteY15" fmla="*/ 22708 h 177686"/>
              <a:gd name="connsiteX16" fmla="*/ 10240 w 118288"/>
              <a:gd name="connsiteY16" fmla="*/ 5355 h 177686"/>
              <a:gd name="connsiteX17" fmla="*/ 35345 w 118288"/>
              <a:gd name="connsiteY17" fmla="*/ 2173 h 177686"/>
              <a:gd name="connsiteX18" fmla="*/ 80752 w 118288"/>
              <a:gd name="connsiteY18" fmla="*/ 6974 h 177686"/>
              <a:gd name="connsiteX19" fmla="*/ 81389 w 118288"/>
              <a:gd name="connsiteY19" fmla="*/ 5759 h 177686"/>
              <a:gd name="connsiteX20" fmla="*/ 86537 w 118288"/>
              <a:gd name="connsiteY20" fmla="*/ -25 h 177686"/>
              <a:gd name="connsiteX21" fmla="*/ 87578 w 118288"/>
              <a:gd name="connsiteY21" fmla="*/ -25 h 177686"/>
              <a:gd name="connsiteX22" fmla="*/ 88157 w 118288"/>
              <a:gd name="connsiteY22" fmla="*/ 785 h 177686"/>
              <a:gd name="connsiteX23" fmla="*/ 93073 w 118288"/>
              <a:gd name="connsiteY23" fmla="*/ 17560 h 177686"/>
              <a:gd name="connsiteX24" fmla="*/ 100304 w 118288"/>
              <a:gd name="connsiteY24" fmla="*/ 34913 h 177686"/>
              <a:gd name="connsiteX25" fmla="*/ 99957 w 118288"/>
              <a:gd name="connsiteY25" fmla="*/ 39598 h 177686"/>
              <a:gd name="connsiteX26" fmla="*/ 100825 w 118288"/>
              <a:gd name="connsiteY26" fmla="*/ 72627 h 177686"/>
              <a:gd name="connsiteX27" fmla="*/ 108229 w 118288"/>
              <a:gd name="connsiteY27" fmla="*/ 110573 h 177686"/>
              <a:gd name="connsiteX28" fmla="*/ 118062 w 118288"/>
              <a:gd name="connsiteY28" fmla="*/ 141520 h 177686"/>
              <a:gd name="connsiteX29" fmla="*/ 117599 w 118288"/>
              <a:gd name="connsiteY29" fmla="*/ 143024 h 177686"/>
              <a:gd name="connsiteX30" fmla="*/ 102965 w 118288"/>
              <a:gd name="connsiteY30" fmla="*/ 149213 h 177686"/>
              <a:gd name="connsiteX31" fmla="*/ 85959 w 118288"/>
              <a:gd name="connsiteY31" fmla="*/ 156386 h 177686"/>
              <a:gd name="connsiteX32" fmla="*/ 33031 w 118288"/>
              <a:gd name="connsiteY32" fmla="*/ 177557 h 177686"/>
              <a:gd name="connsiteX33" fmla="*/ 13248 w 118288"/>
              <a:gd name="connsiteY33" fmla="*/ 168244 h 177686"/>
              <a:gd name="connsiteX34" fmla="*/ 28808 w 118288"/>
              <a:gd name="connsiteY34" fmla="*/ 174028 h 177686"/>
              <a:gd name="connsiteX35" fmla="*/ 32626 w 118288"/>
              <a:gd name="connsiteY35" fmla="*/ 175532 h 177686"/>
              <a:gd name="connsiteX36" fmla="*/ 33031 w 118288"/>
              <a:gd name="connsiteY36" fmla="*/ 175532 h 177686"/>
              <a:gd name="connsiteX37" fmla="*/ 85091 w 118288"/>
              <a:gd name="connsiteY37" fmla="*/ 154130 h 177686"/>
              <a:gd name="connsiteX38" fmla="*/ 102444 w 118288"/>
              <a:gd name="connsiteY38" fmla="*/ 146899 h 177686"/>
              <a:gd name="connsiteX39" fmla="*/ 115864 w 118288"/>
              <a:gd name="connsiteY39" fmla="*/ 141115 h 177686"/>
              <a:gd name="connsiteX40" fmla="*/ 106262 w 118288"/>
              <a:gd name="connsiteY40" fmla="*/ 110168 h 177686"/>
              <a:gd name="connsiteX41" fmla="*/ 99031 w 118288"/>
              <a:gd name="connsiteY41" fmla="*/ 73032 h 177686"/>
              <a:gd name="connsiteX42" fmla="*/ 97990 w 118288"/>
              <a:gd name="connsiteY42" fmla="*/ 38962 h 177686"/>
              <a:gd name="connsiteX43" fmla="*/ 98337 w 118288"/>
              <a:gd name="connsiteY43" fmla="*/ 34335 h 177686"/>
              <a:gd name="connsiteX44" fmla="*/ 92553 w 118288"/>
              <a:gd name="connsiteY44" fmla="*/ 19064 h 177686"/>
              <a:gd name="connsiteX45" fmla="*/ 86768 w 118288"/>
              <a:gd name="connsiteY45" fmla="*/ 2347 h 177686"/>
              <a:gd name="connsiteX46" fmla="*/ 83992 w 118288"/>
              <a:gd name="connsiteY46" fmla="*/ 6396 h 177686"/>
              <a:gd name="connsiteX47" fmla="*/ 81331 w 118288"/>
              <a:gd name="connsiteY47" fmla="*/ 9172 h 177686"/>
              <a:gd name="connsiteX48" fmla="*/ 79422 w 118288"/>
              <a:gd name="connsiteY48" fmla="*/ 7784 h 177686"/>
              <a:gd name="connsiteX49" fmla="*/ 35923 w 118288"/>
              <a:gd name="connsiteY49" fmla="*/ 4024 h 177686"/>
              <a:gd name="connsiteX50" fmla="*/ 12785 w 118288"/>
              <a:gd name="connsiteY50" fmla="*/ 6222 h 177686"/>
              <a:gd name="connsiteX51" fmla="*/ 15388 w 118288"/>
              <a:gd name="connsiteY51" fmla="*/ 21956 h 177686"/>
              <a:gd name="connsiteX52" fmla="*/ 17818 w 118288"/>
              <a:gd name="connsiteY52" fmla="*/ 33525 h 177686"/>
              <a:gd name="connsiteX53" fmla="*/ 14405 w 118288"/>
              <a:gd name="connsiteY53" fmla="*/ 39309 h 177686"/>
              <a:gd name="connsiteX54" fmla="*/ 23487 w 118288"/>
              <a:gd name="connsiteY54" fmla="*/ 80957 h 177686"/>
              <a:gd name="connsiteX55" fmla="*/ 18339 w 118288"/>
              <a:gd name="connsiteY55" fmla="*/ 89865 h 177686"/>
              <a:gd name="connsiteX56" fmla="*/ 13190 w 118288"/>
              <a:gd name="connsiteY56" fmla="*/ 99062 h 177686"/>
              <a:gd name="connsiteX57" fmla="*/ 6770 w 118288"/>
              <a:gd name="connsiteY57" fmla="*/ 117052 h 177686"/>
              <a:gd name="connsiteX58" fmla="*/ 2836 w 118288"/>
              <a:gd name="connsiteY58" fmla="*/ 126018 h 177686"/>
              <a:gd name="connsiteX59" fmla="*/ 14405 w 118288"/>
              <a:gd name="connsiteY59" fmla="*/ 155403 h 177686"/>
              <a:gd name="connsiteX60" fmla="*/ 13248 w 118288"/>
              <a:gd name="connsiteY60" fmla="*/ 168244 h 177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18288" h="177686">
                <a:moveTo>
                  <a:pt x="33031" y="177557"/>
                </a:moveTo>
                <a:lnTo>
                  <a:pt x="32106" y="177557"/>
                </a:lnTo>
                <a:cubicBezTo>
                  <a:pt x="31296" y="177557"/>
                  <a:pt x="29965" y="176805"/>
                  <a:pt x="27941" y="175995"/>
                </a:cubicBezTo>
                <a:cubicBezTo>
                  <a:pt x="22607" y="173734"/>
                  <a:pt x="17141" y="171802"/>
                  <a:pt x="11571" y="170211"/>
                </a:cubicBezTo>
                <a:cubicBezTo>
                  <a:pt x="10992" y="170020"/>
                  <a:pt x="10663" y="169413"/>
                  <a:pt x="10819" y="168823"/>
                </a:cubicBezTo>
                <a:cubicBezTo>
                  <a:pt x="12467" y="164878"/>
                  <a:pt x="12716" y="160487"/>
                  <a:pt x="11513" y="156386"/>
                </a:cubicBezTo>
                <a:cubicBezTo>
                  <a:pt x="7695" y="151411"/>
                  <a:pt x="-866" y="130472"/>
                  <a:pt x="-56" y="125324"/>
                </a:cubicBezTo>
                <a:cubicBezTo>
                  <a:pt x="858" y="121911"/>
                  <a:pt x="2240" y="118643"/>
                  <a:pt x="4051" y="115606"/>
                </a:cubicBezTo>
                <a:cubicBezTo>
                  <a:pt x="7285" y="110521"/>
                  <a:pt x="9396" y="104801"/>
                  <a:pt x="10240" y="98831"/>
                </a:cubicBezTo>
                <a:cubicBezTo>
                  <a:pt x="10570" y="94545"/>
                  <a:pt x="12664" y="90582"/>
                  <a:pt x="16025" y="87898"/>
                </a:cubicBezTo>
                <a:cubicBezTo>
                  <a:pt x="18339" y="85353"/>
                  <a:pt x="20595" y="82981"/>
                  <a:pt x="20595" y="80552"/>
                </a:cubicBezTo>
                <a:cubicBezTo>
                  <a:pt x="19594" y="66178"/>
                  <a:pt x="16418" y="52035"/>
                  <a:pt x="11166" y="38615"/>
                </a:cubicBezTo>
                <a:cubicBezTo>
                  <a:pt x="11016" y="38285"/>
                  <a:pt x="11016" y="37904"/>
                  <a:pt x="11166" y="37574"/>
                </a:cubicBezTo>
                <a:cubicBezTo>
                  <a:pt x="11357" y="37244"/>
                  <a:pt x="11710" y="37047"/>
                  <a:pt x="12091" y="37053"/>
                </a:cubicBezTo>
                <a:cubicBezTo>
                  <a:pt x="13422" y="37053"/>
                  <a:pt x="14463" y="35434"/>
                  <a:pt x="14868" y="32946"/>
                </a:cubicBezTo>
                <a:cubicBezTo>
                  <a:pt x="14590" y="29435"/>
                  <a:pt x="13792" y="25982"/>
                  <a:pt x="12496" y="22708"/>
                </a:cubicBezTo>
                <a:cubicBezTo>
                  <a:pt x="10298" y="15651"/>
                  <a:pt x="8042" y="8363"/>
                  <a:pt x="10240" y="5355"/>
                </a:cubicBezTo>
                <a:cubicBezTo>
                  <a:pt x="10761" y="4545"/>
                  <a:pt x="12323" y="2173"/>
                  <a:pt x="35345" y="2173"/>
                </a:cubicBezTo>
                <a:cubicBezTo>
                  <a:pt x="43732" y="2173"/>
                  <a:pt x="78092" y="3041"/>
                  <a:pt x="80752" y="6974"/>
                </a:cubicBezTo>
                <a:cubicBezTo>
                  <a:pt x="80752" y="6627"/>
                  <a:pt x="81215" y="6164"/>
                  <a:pt x="81389" y="5759"/>
                </a:cubicBezTo>
                <a:cubicBezTo>
                  <a:pt x="82430" y="3324"/>
                  <a:pt x="84235" y="1288"/>
                  <a:pt x="86537" y="-25"/>
                </a:cubicBezTo>
                <a:cubicBezTo>
                  <a:pt x="86873" y="-164"/>
                  <a:pt x="87249" y="-164"/>
                  <a:pt x="87578" y="-25"/>
                </a:cubicBezTo>
                <a:cubicBezTo>
                  <a:pt x="87879" y="148"/>
                  <a:pt x="88087" y="444"/>
                  <a:pt x="88157" y="785"/>
                </a:cubicBezTo>
                <a:cubicBezTo>
                  <a:pt x="90586" y="15130"/>
                  <a:pt x="92553" y="17270"/>
                  <a:pt x="93073" y="17560"/>
                </a:cubicBezTo>
                <a:cubicBezTo>
                  <a:pt x="98777" y="21343"/>
                  <a:pt x="101635" y="28197"/>
                  <a:pt x="100304" y="34913"/>
                </a:cubicBezTo>
                <a:cubicBezTo>
                  <a:pt x="100304" y="36244"/>
                  <a:pt x="100304" y="37805"/>
                  <a:pt x="99957" y="39598"/>
                </a:cubicBezTo>
                <a:cubicBezTo>
                  <a:pt x="99089" y="49721"/>
                  <a:pt x="97875" y="65050"/>
                  <a:pt x="100825" y="72627"/>
                </a:cubicBezTo>
                <a:cubicBezTo>
                  <a:pt x="105550" y="84728"/>
                  <a:pt x="108055" y="97581"/>
                  <a:pt x="108229" y="110573"/>
                </a:cubicBezTo>
                <a:cubicBezTo>
                  <a:pt x="109397" y="121442"/>
                  <a:pt x="112741" y="131970"/>
                  <a:pt x="118062" y="141520"/>
                </a:cubicBezTo>
                <a:cubicBezTo>
                  <a:pt x="118328" y="142064"/>
                  <a:pt x="118126" y="142723"/>
                  <a:pt x="117599" y="143024"/>
                </a:cubicBezTo>
                <a:cubicBezTo>
                  <a:pt x="112850" y="145378"/>
                  <a:pt x="107963" y="147443"/>
                  <a:pt x="102965" y="149213"/>
                </a:cubicBezTo>
                <a:cubicBezTo>
                  <a:pt x="97180" y="151353"/>
                  <a:pt x="91396" y="153609"/>
                  <a:pt x="85959" y="156386"/>
                </a:cubicBezTo>
                <a:cubicBezTo>
                  <a:pt x="74737" y="161534"/>
                  <a:pt x="40319" y="177557"/>
                  <a:pt x="33031" y="177557"/>
                </a:cubicBezTo>
                <a:close/>
                <a:moveTo>
                  <a:pt x="13248" y="168244"/>
                </a:moveTo>
                <a:cubicBezTo>
                  <a:pt x="18541" y="169881"/>
                  <a:pt x="23735" y="171813"/>
                  <a:pt x="28808" y="174028"/>
                </a:cubicBezTo>
                <a:cubicBezTo>
                  <a:pt x="30052" y="174595"/>
                  <a:pt x="31330" y="175098"/>
                  <a:pt x="32626" y="175532"/>
                </a:cubicBezTo>
                <a:lnTo>
                  <a:pt x="33031" y="175532"/>
                </a:lnTo>
                <a:cubicBezTo>
                  <a:pt x="39105" y="175532"/>
                  <a:pt x="69473" y="161823"/>
                  <a:pt x="85091" y="154130"/>
                </a:cubicBezTo>
                <a:cubicBezTo>
                  <a:pt x="90748" y="151423"/>
                  <a:pt x="96538" y="149005"/>
                  <a:pt x="102444" y="146899"/>
                </a:cubicBezTo>
                <a:cubicBezTo>
                  <a:pt x="107361" y="144991"/>
                  <a:pt x="111989" y="143255"/>
                  <a:pt x="115864" y="141115"/>
                </a:cubicBezTo>
                <a:cubicBezTo>
                  <a:pt x="110623" y="131548"/>
                  <a:pt x="107361" y="121020"/>
                  <a:pt x="106262" y="110168"/>
                </a:cubicBezTo>
                <a:cubicBezTo>
                  <a:pt x="106071" y="97460"/>
                  <a:pt x="103624" y="84885"/>
                  <a:pt x="99031" y="73032"/>
                </a:cubicBezTo>
                <a:cubicBezTo>
                  <a:pt x="95850" y="64992"/>
                  <a:pt x="97122" y="49316"/>
                  <a:pt x="97990" y="38962"/>
                </a:cubicBezTo>
                <a:cubicBezTo>
                  <a:pt x="97990" y="37227"/>
                  <a:pt x="97990" y="35665"/>
                  <a:pt x="98337" y="34335"/>
                </a:cubicBezTo>
                <a:cubicBezTo>
                  <a:pt x="99627" y="28544"/>
                  <a:pt x="97354" y="22546"/>
                  <a:pt x="92553" y="19064"/>
                </a:cubicBezTo>
                <a:cubicBezTo>
                  <a:pt x="91107" y="18254"/>
                  <a:pt x="89140" y="15593"/>
                  <a:pt x="86768" y="2347"/>
                </a:cubicBezTo>
                <a:cubicBezTo>
                  <a:pt x="85594" y="3509"/>
                  <a:pt x="84651" y="4880"/>
                  <a:pt x="83992" y="6396"/>
                </a:cubicBezTo>
                <a:cubicBezTo>
                  <a:pt x="83182" y="7958"/>
                  <a:pt x="82546" y="9172"/>
                  <a:pt x="81331" y="9172"/>
                </a:cubicBezTo>
                <a:cubicBezTo>
                  <a:pt x="80492" y="9080"/>
                  <a:pt x="79769" y="8553"/>
                  <a:pt x="79422" y="7784"/>
                </a:cubicBezTo>
                <a:cubicBezTo>
                  <a:pt x="77745" y="6107"/>
                  <a:pt x="57326" y="4024"/>
                  <a:pt x="35923" y="4024"/>
                </a:cubicBezTo>
                <a:cubicBezTo>
                  <a:pt x="18975" y="4024"/>
                  <a:pt x="13364" y="5412"/>
                  <a:pt x="12785" y="6222"/>
                </a:cubicBezTo>
                <a:cubicBezTo>
                  <a:pt x="11224" y="8594"/>
                  <a:pt x="13480" y="15998"/>
                  <a:pt x="15388" y="21956"/>
                </a:cubicBezTo>
                <a:cubicBezTo>
                  <a:pt x="16869" y="25641"/>
                  <a:pt x="17691" y="29557"/>
                  <a:pt x="17818" y="33525"/>
                </a:cubicBezTo>
                <a:cubicBezTo>
                  <a:pt x="17743" y="35908"/>
                  <a:pt x="16453" y="38089"/>
                  <a:pt x="14405" y="39309"/>
                </a:cubicBezTo>
                <a:cubicBezTo>
                  <a:pt x="19426" y="52683"/>
                  <a:pt x="22486" y="66710"/>
                  <a:pt x="23487" y="80957"/>
                </a:cubicBezTo>
                <a:cubicBezTo>
                  <a:pt x="22874" y="84439"/>
                  <a:pt x="21046" y="87592"/>
                  <a:pt x="18339" y="89865"/>
                </a:cubicBezTo>
                <a:cubicBezTo>
                  <a:pt x="15678" y="92699"/>
                  <a:pt x="12901" y="95649"/>
                  <a:pt x="13190" y="99062"/>
                </a:cubicBezTo>
                <a:cubicBezTo>
                  <a:pt x="12427" y="105466"/>
                  <a:pt x="10235" y="111614"/>
                  <a:pt x="6770" y="117052"/>
                </a:cubicBezTo>
                <a:cubicBezTo>
                  <a:pt x="5110" y="119875"/>
                  <a:pt x="3791" y="122883"/>
                  <a:pt x="2836" y="126018"/>
                </a:cubicBezTo>
                <a:cubicBezTo>
                  <a:pt x="2316" y="130298"/>
                  <a:pt x="10414" y="150486"/>
                  <a:pt x="14405" y="155403"/>
                </a:cubicBezTo>
                <a:cubicBezTo>
                  <a:pt x="15643" y="159677"/>
                  <a:pt x="15226" y="164259"/>
                  <a:pt x="13248" y="16824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0" name="Forma libre: forma 299">
            <a:extLst>
              <a:ext uri="{FF2B5EF4-FFF2-40B4-BE49-F238E27FC236}">
                <a16:creationId xmlns:a16="http://schemas.microsoft.com/office/drawing/2014/main" id="{A92429BF-853C-2D6E-ED87-4BBEBC5803B3}"/>
              </a:ext>
            </a:extLst>
          </p:cNvPr>
          <p:cNvSpPr/>
          <p:nvPr/>
        </p:nvSpPr>
        <p:spPr>
          <a:xfrm>
            <a:off x="5771956" y="4129286"/>
            <a:ext cx="206254" cy="155317"/>
          </a:xfrm>
          <a:custGeom>
            <a:avLst/>
            <a:gdLst>
              <a:gd name="connsiteX0" fmla="*/ 166003 w 206254"/>
              <a:gd name="connsiteY0" fmla="*/ 155189 h 155317"/>
              <a:gd name="connsiteX1" fmla="*/ 158946 w 206254"/>
              <a:gd name="connsiteY1" fmla="*/ 151602 h 155317"/>
              <a:gd name="connsiteX2" fmla="*/ 156054 w 206254"/>
              <a:gd name="connsiteY2" fmla="*/ 142000 h 155317"/>
              <a:gd name="connsiteX3" fmla="*/ 149402 w 206254"/>
              <a:gd name="connsiteY3" fmla="*/ 120077 h 155317"/>
              <a:gd name="connsiteX4" fmla="*/ 129909 w 206254"/>
              <a:gd name="connsiteY4" fmla="*/ 123490 h 155317"/>
              <a:gd name="connsiteX5" fmla="*/ 128578 w 206254"/>
              <a:gd name="connsiteY5" fmla="*/ 122738 h 155317"/>
              <a:gd name="connsiteX6" fmla="*/ 127884 w 206254"/>
              <a:gd name="connsiteY6" fmla="*/ 121119 h 155317"/>
              <a:gd name="connsiteX7" fmla="*/ 124066 w 206254"/>
              <a:gd name="connsiteY7" fmla="*/ 104112 h 155317"/>
              <a:gd name="connsiteX8" fmla="*/ 103358 w 206254"/>
              <a:gd name="connsiteY8" fmla="*/ 78024 h 155317"/>
              <a:gd name="connsiteX9" fmla="*/ 95028 w 206254"/>
              <a:gd name="connsiteY9" fmla="*/ 80049 h 155317"/>
              <a:gd name="connsiteX10" fmla="*/ 84790 w 206254"/>
              <a:gd name="connsiteY10" fmla="*/ 82421 h 155317"/>
              <a:gd name="connsiteX11" fmla="*/ 82592 w 206254"/>
              <a:gd name="connsiteY11" fmla="*/ 82421 h 155317"/>
              <a:gd name="connsiteX12" fmla="*/ 79584 w 206254"/>
              <a:gd name="connsiteY12" fmla="*/ 81784 h 155317"/>
              <a:gd name="connsiteX13" fmla="*/ 74436 w 206254"/>
              <a:gd name="connsiteY13" fmla="*/ 80975 h 155317"/>
              <a:gd name="connsiteX14" fmla="*/ 71197 w 206254"/>
              <a:gd name="connsiteY14" fmla="*/ 84445 h 155317"/>
              <a:gd name="connsiteX15" fmla="*/ 52108 w 206254"/>
              <a:gd name="connsiteY15" fmla="*/ 105616 h 155317"/>
              <a:gd name="connsiteX16" fmla="*/ 51125 w 206254"/>
              <a:gd name="connsiteY16" fmla="*/ 105616 h 155317"/>
              <a:gd name="connsiteX17" fmla="*/ 50315 w 206254"/>
              <a:gd name="connsiteY17" fmla="*/ 104980 h 155317"/>
              <a:gd name="connsiteX18" fmla="*/ 19947 w 206254"/>
              <a:gd name="connsiteY18" fmla="*/ 71835 h 155317"/>
              <a:gd name="connsiteX19" fmla="*/ 8841 w 206254"/>
              <a:gd name="connsiteY19" fmla="*/ 58647 h 155317"/>
              <a:gd name="connsiteX20" fmla="*/ 395 w 206254"/>
              <a:gd name="connsiteY20" fmla="*/ 47830 h 155317"/>
              <a:gd name="connsiteX21" fmla="*/ -10 w 206254"/>
              <a:gd name="connsiteY21" fmla="*/ 47078 h 155317"/>
              <a:gd name="connsiteX22" fmla="*/ -10 w 206254"/>
              <a:gd name="connsiteY22" fmla="*/ 46210 h 155317"/>
              <a:gd name="connsiteX23" fmla="*/ 3056 w 206254"/>
              <a:gd name="connsiteY23" fmla="*/ 43202 h 155317"/>
              <a:gd name="connsiteX24" fmla="*/ 8089 w 206254"/>
              <a:gd name="connsiteY24" fmla="*/ 39384 h 155317"/>
              <a:gd name="connsiteX25" fmla="*/ 25037 w 206254"/>
              <a:gd name="connsiteY25" fmla="*/ 29435 h 155317"/>
              <a:gd name="connsiteX26" fmla="*/ 26599 w 206254"/>
              <a:gd name="connsiteY26" fmla="*/ 29435 h 155317"/>
              <a:gd name="connsiteX27" fmla="*/ 28623 w 206254"/>
              <a:gd name="connsiteY27" fmla="*/ 29840 h 155317"/>
              <a:gd name="connsiteX28" fmla="*/ 34408 w 206254"/>
              <a:gd name="connsiteY28" fmla="*/ 26254 h 155317"/>
              <a:gd name="connsiteX29" fmla="*/ 32962 w 206254"/>
              <a:gd name="connsiteY29" fmla="*/ 23419 h 155317"/>
              <a:gd name="connsiteX30" fmla="*/ 30301 w 206254"/>
              <a:gd name="connsiteY30" fmla="*/ 15264 h 155317"/>
              <a:gd name="connsiteX31" fmla="*/ 33367 w 206254"/>
              <a:gd name="connsiteY31" fmla="*/ 12487 h 155317"/>
              <a:gd name="connsiteX32" fmla="*/ 38688 w 206254"/>
              <a:gd name="connsiteY32" fmla="*/ 918 h 155317"/>
              <a:gd name="connsiteX33" fmla="*/ 39035 w 206254"/>
              <a:gd name="connsiteY33" fmla="*/ -7 h 155317"/>
              <a:gd name="connsiteX34" fmla="*/ 40018 w 206254"/>
              <a:gd name="connsiteY34" fmla="*/ -7 h 155317"/>
              <a:gd name="connsiteX35" fmla="*/ 60264 w 206254"/>
              <a:gd name="connsiteY35" fmla="*/ 8669 h 155317"/>
              <a:gd name="connsiteX36" fmla="*/ 81377 w 206254"/>
              <a:gd name="connsiteY36" fmla="*/ 12718 h 155317"/>
              <a:gd name="connsiteX37" fmla="*/ 98731 w 206254"/>
              <a:gd name="connsiteY37" fmla="*/ 10347 h 155317"/>
              <a:gd name="connsiteX38" fmla="*/ 99367 w 206254"/>
              <a:gd name="connsiteY38" fmla="*/ 10347 h 155317"/>
              <a:gd name="connsiteX39" fmla="*/ 101796 w 206254"/>
              <a:gd name="connsiteY39" fmla="*/ 9479 h 155317"/>
              <a:gd name="connsiteX40" fmla="*/ 102838 w 206254"/>
              <a:gd name="connsiteY40" fmla="*/ 9479 h 155317"/>
              <a:gd name="connsiteX41" fmla="*/ 103243 w 206254"/>
              <a:gd name="connsiteY41" fmla="*/ 10404 h 155317"/>
              <a:gd name="connsiteX42" fmla="*/ 103243 w 206254"/>
              <a:gd name="connsiteY42" fmla="*/ 14743 h 155317"/>
              <a:gd name="connsiteX43" fmla="*/ 107638 w 206254"/>
              <a:gd name="connsiteY43" fmla="*/ 22783 h 155317"/>
              <a:gd name="connsiteX44" fmla="*/ 109316 w 206254"/>
              <a:gd name="connsiteY44" fmla="*/ 21510 h 155317"/>
              <a:gd name="connsiteX45" fmla="*/ 113828 w 206254"/>
              <a:gd name="connsiteY45" fmla="*/ 19081 h 155317"/>
              <a:gd name="connsiteX46" fmla="*/ 118745 w 206254"/>
              <a:gd name="connsiteY46" fmla="*/ 20411 h 155317"/>
              <a:gd name="connsiteX47" fmla="*/ 122157 w 206254"/>
              <a:gd name="connsiteY47" fmla="*/ 21510 h 155317"/>
              <a:gd name="connsiteX48" fmla="*/ 124471 w 206254"/>
              <a:gd name="connsiteY48" fmla="*/ 19312 h 155317"/>
              <a:gd name="connsiteX49" fmla="*/ 129967 w 206254"/>
              <a:gd name="connsiteY49" fmla="*/ 15379 h 155317"/>
              <a:gd name="connsiteX50" fmla="*/ 138470 w 206254"/>
              <a:gd name="connsiteY50" fmla="*/ 18156 h 155317"/>
              <a:gd name="connsiteX51" fmla="*/ 144254 w 206254"/>
              <a:gd name="connsiteY51" fmla="*/ 20238 h 155317"/>
              <a:gd name="connsiteX52" fmla="*/ 154319 w 206254"/>
              <a:gd name="connsiteY52" fmla="*/ 12892 h 155317"/>
              <a:gd name="connsiteX53" fmla="*/ 163921 w 206254"/>
              <a:gd name="connsiteY53" fmla="*/ 6529 h 155317"/>
              <a:gd name="connsiteX54" fmla="*/ 175490 w 206254"/>
              <a:gd name="connsiteY54" fmla="*/ 27816 h 155317"/>
              <a:gd name="connsiteX55" fmla="*/ 181853 w 206254"/>
              <a:gd name="connsiteY55" fmla="*/ 34988 h 155317"/>
              <a:gd name="connsiteX56" fmla="*/ 186133 w 206254"/>
              <a:gd name="connsiteY56" fmla="*/ 40136 h 155317"/>
              <a:gd name="connsiteX57" fmla="*/ 184398 w 206254"/>
              <a:gd name="connsiteY57" fmla="*/ 41814 h 155317"/>
              <a:gd name="connsiteX58" fmla="*/ 181274 w 206254"/>
              <a:gd name="connsiteY58" fmla="*/ 47078 h 155317"/>
              <a:gd name="connsiteX59" fmla="*/ 184016 w 206254"/>
              <a:gd name="connsiteY59" fmla="*/ 49282 h 155317"/>
              <a:gd name="connsiteX60" fmla="*/ 184051 w 206254"/>
              <a:gd name="connsiteY60" fmla="*/ 49276 h 155317"/>
              <a:gd name="connsiteX61" fmla="*/ 189546 w 206254"/>
              <a:gd name="connsiteY61" fmla="*/ 58010 h 155317"/>
              <a:gd name="connsiteX62" fmla="*/ 191455 w 206254"/>
              <a:gd name="connsiteY62" fmla="*/ 65125 h 155317"/>
              <a:gd name="connsiteX63" fmla="*/ 194868 w 206254"/>
              <a:gd name="connsiteY63" fmla="*/ 68712 h 155317"/>
              <a:gd name="connsiteX64" fmla="*/ 195273 w 206254"/>
              <a:gd name="connsiteY64" fmla="*/ 69869 h 155317"/>
              <a:gd name="connsiteX65" fmla="*/ 195273 w 206254"/>
              <a:gd name="connsiteY65" fmla="*/ 70736 h 155317"/>
              <a:gd name="connsiteX66" fmla="*/ 194868 w 206254"/>
              <a:gd name="connsiteY66" fmla="*/ 90403 h 155317"/>
              <a:gd name="connsiteX67" fmla="*/ 200247 w 206254"/>
              <a:gd name="connsiteY67" fmla="*/ 104459 h 155317"/>
              <a:gd name="connsiteX68" fmla="*/ 202677 w 206254"/>
              <a:gd name="connsiteY68" fmla="*/ 110244 h 155317"/>
              <a:gd name="connsiteX69" fmla="*/ 204817 w 206254"/>
              <a:gd name="connsiteY69" fmla="*/ 121813 h 155317"/>
              <a:gd name="connsiteX70" fmla="*/ 201115 w 206254"/>
              <a:gd name="connsiteY70" fmla="*/ 123317 h 155317"/>
              <a:gd name="connsiteX71" fmla="*/ 197182 w 206254"/>
              <a:gd name="connsiteY71" fmla="*/ 122391 h 155317"/>
              <a:gd name="connsiteX72" fmla="*/ 194347 w 206254"/>
              <a:gd name="connsiteY72" fmla="*/ 121639 h 155317"/>
              <a:gd name="connsiteX73" fmla="*/ 192265 w 206254"/>
              <a:gd name="connsiteY73" fmla="*/ 123317 h 155317"/>
              <a:gd name="connsiteX74" fmla="*/ 193711 w 206254"/>
              <a:gd name="connsiteY74" fmla="*/ 130894 h 155317"/>
              <a:gd name="connsiteX75" fmla="*/ 194579 w 206254"/>
              <a:gd name="connsiteY75" fmla="*/ 139802 h 155317"/>
              <a:gd name="connsiteX76" fmla="*/ 191223 w 206254"/>
              <a:gd name="connsiteY76" fmla="*/ 143331 h 155317"/>
              <a:gd name="connsiteX77" fmla="*/ 187521 w 206254"/>
              <a:gd name="connsiteY77" fmla="*/ 147785 h 155317"/>
              <a:gd name="connsiteX78" fmla="*/ 186075 w 206254"/>
              <a:gd name="connsiteY78" fmla="*/ 148421 h 155317"/>
              <a:gd name="connsiteX79" fmla="*/ 179944 w 206254"/>
              <a:gd name="connsiteY79" fmla="*/ 143504 h 155317"/>
              <a:gd name="connsiteX80" fmla="*/ 179597 w 206254"/>
              <a:gd name="connsiteY80" fmla="*/ 142579 h 155317"/>
              <a:gd name="connsiteX81" fmla="*/ 171383 w 206254"/>
              <a:gd name="connsiteY81" fmla="*/ 152181 h 155317"/>
              <a:gd name="connsiteX82" fmla="*/ 166003 w 206254"/>
              <a:gd name="connsiteY82" fmla="*/ 155189 h 155317"/>
              <a:gd name="connsiteX83" fmla="*/ 149402 w 206254"/>
              <a:gd name="connsiteY83" fmla="*/ 117821 h 155317"/>
              <a:gd name="connsiteX84" fmla="*/ 151947 w 206254"/>
              <a:gd name="connsiteY84" fmla="*/ 119325 h 155317"/>
              <a:gd name="connsiteX85" fmla="*/ 158252 w 206254"/>
              <a:gd name="connsiteY85" fmla="*/ 142463 h 155317"/>
              <a:gd name="connsiteX86" fmla="*/ 160682 w 206254"/>
              <a:gd name="connsiteY86" fmla="*/ 150214 h 155317"/>
              <a:gd name="connsiteX87" fmla="*/ 169359 w 206254"/>
              <a:gd name="connsiteY87" fmla="*/ 151198 h 155317"/>
              <a:gd name="connsiteX88" fmla="*/ 179539 w 206254"/>
              <a:gd name="connsiteY88" fmla="*/ 140554 h 155317"/>
              <a:gd name="connsiteX89" fmla="*/ 182084 w 206254"/>
              <a:gd name="connsiteY89" fmla="*/ 143273 h 155317"/>
              <a:gd name="connsiteX90" fmla="*/ 185902 w 206254"/>
              <a:gd name="connsiteY90" fmla="*/ 146107 h 155317"/>
              <a:gd name="connsiteX91" fmla="*/ 189604 w 206254"/>
              <a:gd name="connsiteY91" fmla="*/ 141884 h 155317"/>
              <a:gd name="connsiteX92" fmla="*/ 192727 w 206254"/>
              <a:gd name="connsiteY92" fmla="*/ 138703 h 155317"/>
              <a:gd name="connsiteX93" fmla="*/ 191686 w 206254"/>
              <a:gd name="connsiteY93" fmla="*/ 132225 h 155317"/>
              <a:gd name="connsiteX94" fmla="*/ 190182 w 206254"/>
              <a:gd name="connsiteY94" fmla="*/ 122565 h 155317"/>
              <a:gd name="connsiteX95" fmla="*/ 194289 w 206254"/>
              <a:gd name="connsiteY95" fmla="*/ 119614 h 155317"/>
              <a:gd name="connsiteX96" fmla="*/ 197876 w 206254"/>
              <a:gd name="connsiteY96" fmla="*/ 120482 h 155317"/>
              <a:gd name="connsiteX97" fmla="*/ 203139 w 206254"/>
              <a:gd name="connsiteY97" fmla="*/ 120482 h 155317"/>
              <a:gd name="connsiteX98" fmla="*/ 200710 w 206254"/>
              <a:gd name="connsiteY98" fmla="*/ 111459 h 155317"/>
              <a:gd name="connsiteX99" fmla="*/ 198049 w 206254"/>
              <a:gd name="connsiteY99" fmla="*/ 103939 h 155317"/>
              <a:gd name="connsiteX100" fmla="*/ 193711 w 206254"/>
              <a:gd name="connsiteY100" fmla="*/ 92370 h 155317"/>
              <a:gd name="connsiteX101" fmla="*/ 193017 w 206254"/>
              <a:gd name="connsiteY101" fmla="*/ 70216 h 155317"/>
              <a:gd name="connsiteX102" fmla="*/ 193017 w 206254"/>
              <a:gd name="connsiteY102" fmla="*/ 70216 h 155317"/>
              <a:gd name="connsiteX103" fmla="*/ 189662 w 206254"/>
              <a:gd name="connsiteY103" fmla="*/ 66571 h 155317"/>
              <a:gd name="connsiteX104" fmla="*/ 187406 w 206254"/>
              <a:gd name="connsiteY104" fmla="*/ 58531 h 155317"/>
              <a:gd name="connsiteX105" fmla="*/ 184167 w 206254"/>
              <a:gd name="connsiteY105" fmla="*/ 51705 h 155317"/>
              <a:gd name="connsiteX106" fmla="*/ 179192 w 206254"/>
              <a:gd name="connsiteY106" fmla="*/ 47598 h 155317"/>
              <a:gd name="connsiteX107" fmla="*/ 183820 w 206254"/>
              <a:gd name="connsiteY107" fmla="*/ 39847 h 155317"/>
              <a:gd name="connsiteX108" fmla="*/ 183820 w 206254"/>
              <a:gd name="connsiteY108" fmla="*/ 39847 h 155317"/>
              <a:gd name="connsiteX109" fmla="*/ 180522 w 206254"/>
              <a:gd name="connsiteY109" fmla="*/ 37013 h 155317"/>
              <a:gd name="connsiteX110" fmla="*/ 173292 w 206254"/>
              <a:gd name="connsiteY110" fmla="*/ 28047 h 155317"/>
              <a:gd name="connsiteX111" fmla="*/ 163632 w 206254"/>
              <a:gd name="connsiteY111" fmla="*/ 8958 h 155317"/>
              <a:gd name="connsiteX112" fmla="*/ 156054 w 206254"/>
              <a:gd name="connsiteY112" fmla="*/ 14743 h 155317"/>
              <a:gd name="connsiteX113" fmla="*/ 144485 w 206254"/>
              <a:gd name="connsiteY113" fmla="*/ 22667 h 155317"/>
              <a:gd name="connsiteX114" fmla="*/ 137891 w 206254"/>
              <a:gd name="connsiteY114" fmla="*/ 20411 h 155317"/>
              <a:gd name="connsiteX115" fmla="*/ 130372 w 206254"/>
              <a:gd name="connsiteY115" fmla="*/ 17809 h 155317"/>
              <a:gd name="connsiteX116" fmla="*/ 126959 w 206254"/>
              <a:gd name="connsiteY116" fmla="*/ 20354 h 155317"/>
              <a:gd name="connsiteX117" fmla="*/ 122562 w 206254"/>
              <a:gd name="connsiteY117" fmla="*/ 23940 h 155317"/>
              <a:gd name="connsiteX118" fmla="*/ 118224 w 206254"/>
              <a:gd name="connsiteY118" fmla="*/ 22667 h 155317"/>
              <a:gd name="connsiteX119" fmla="*/ 114233 w 206254"/>
              <a:gd name="connsiteY119" fmla="*/ 21510 h 155317"/>
              <a:gd name="connsiteX120" fmla="*/ 111514 w 206254"/>
              <a:gd name="connsiteY120" fmla="*/ 23014 h 155317"/>
              <a:gd name="connsiteX121" fmla="*/ 108043 w 206254"/>
              <a:gd name="connsiteY121" fmla="*/ 25213 h 155317"/>
              <a:gd name="connsiteX122" fmla="*/ 101449 w 206254"/>
              <a:gd name="connsiteY122" fmla="*/ 15264 h 155317"/>
              <a:gd name="connsiteX123" fmla="*/ 101449 w 206254"/>
              <a:gd name="connsiteY123" fmla="*/ 12429 h 155317"/>
              <a:gd name="connsiteX124" fmla="*/ 100639 w 206254"/>
              <a:gd name="connsiteY124" fmla="*/ 12776 h 155317"/>
              <a:gd name="connsiteX125" fmla="*/ 100003 w 206254"/>
              <a:gd name="connsiteY125" fmla="*/ 12776 h 155317"/>
              <a:gd name="connsiteX126" fmla="*/ 81840 w 206254"/>
              <a:gd name="connsiteY126" fmla="*/ 15321 h 155317"/>
              <a:gd name="connsiteX127" fmla="*/ 58702 w 206254"/>
              <a:gd name="connsiteY127" fmla="*/ 9537 h 155317"/>
              <a:gd name="connsiteX128" fmla="*/ 41349 w 206254"/>
              <a:gd name="connsiteY128" fmla="*/ 2769 h 155317"/>
              <a:gd name="connsiteX129" fmla="*/ 34524 w 206254"/>
              <a:gd name="connsiteY129" fmla="*/ 15148 h 155317"/>
              <a:gd name="connsiteX130" fmla="*/ 32846 w 206254"/>
              <a:gd name="connsiteY130" fmla="*/ 16536 h 155317"/>
              <a:gd name="connsiteX131" fmla="*/ 35276 w 206254"/>
              <a:gd name="connsiteY131" fmla="*/ 22841 h 155317"/>
              <a:gd name="connsiteX132" fmla="*/ 37126 w 206254"/>
              <a:gd name="connsiteY132" fmla="*/ 26832 h 155317"/>
              <a:gd name="connsiteX133" fmla="*/ 28739 w 206254"/>
              <a:gd name="connsiteY133" fmla="*/ 32617 h 155317"/>
              <a:gd name="connsiteX134" fmla="*/ 25847 w 206254"/>
              <a:gd name="connsiteY134" fmla="*/ 32038 h 155317"/>
              <a:gd name="connsiteX135" fmla="*/ 25153 w 206254"/>
              <a:gd name="connsiteY135" fmla="*/ 32038 h 155317"/>
              <a:gd name="connsiteX136" fmla="*/ 9593 w 206254"/>
              <a:gd name="connsiteY136" fmla="*/ 41525 h 155317"/>
              <a:gd name="connsiteX137" fmla="*/ 4502 w 206254"/>
              <a:gd name="connsiteY137" fmla="*/ 45342 h 155317"/>
              <a:gd name="connsiteX138" fmla="*/ 2535 w 206254"/>
              <a:gd name="connsiteY138" fmla="*/ 47251 h 155317"/>
              <a:gd name="connsiteX139" fmla="*/ 10634 w 206254"/>
              <a:gd name="connsiteY139" fmla="*/ 57837 h 155317"/>
              <a:gd name="connsiteX140" fmla="*/ 21104 w 206254"/>
              <a:gd name="connsiteY140" fmla="*/ 70389 h 155317"/>
              <a:gd name="connsiteX141" fmla="*/ 51530 w 206254"/>
              <a:gd name="connsiteY141" fmla="*/ 103071 h 155317"/>
              <a:gd name="connsiteX142" fmla="*/ 68883 w 206254"/>
              <a:gd name="connsiteY142" fmla="*/ 84330 h 155317"/>
              <a:gd name="connsiteX143" fmla="*/ 74667 w 206254"/>
              <a:gd name="connsiteY143" fmla="*/ 78834 h 155317"/>
              <a:gd name="connsiteX144" fmla="*/ 80452 w 206254"/>
              <a:gd name="connsiteY144" fmla="*/ 79702 h 155317"/>
              <a:gd name="connsiteX145" fmla="*/ 83402 w 206254"/>
              <a:gd name="connsiteY145" fmla="*/ 80338 h 155317"/>
              <a:gd name="connsiteX146" fmla="*/ 94681 w 206254"/>
              <a:gd name="connsiteY146" fmla="*/ 78198 h 155317"/>
              <a:gd name="connsiteX147" fmla="*/ 103763 w 206254"/>
              <a:gd name="connsiteY147" fmla="*/ 76058 h 155317"/>
              <a:gd name="connsiteX148" fmla="*/ 126901 w 206254"/>
              <a:gd name="connsiteY148" fmla="*/ 104401 h 155317"/>
              <a:gd name="connsiteX149" fmla="*/ 130372 w 206254"/>
              <a:gd name="connsiteY149" fmla="*/ 120193 h 155317"/>
              <a:gd name="connsiteX150" fmla="*/ 131008 w 206254"/>
              <a:gd name="connsiteY150" fmla="*/ 121350 h 155317"/>
              <a:gd name="connsiteX151" fmla="*/ 149402 w 206254"/>
              <a:gd name="connsiteY151" fmla="*/ 117821 h 15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206254" h="155317">
                <a:moveTo>
                  <a:pt x="166003" y="155189"/>
                </a:moveTo>
                <a:cubicBezTo>
                  <a:pt x="163250" y="155050"/>
                  <a:pt x="160682" y="153743"/>
                  <a:pt x="158946" y="151602"/>
                </a:cubicBezTo>
                <a:cubicBezTo>
                  <a:pt x="156638" y="148971"/>
                  <a:pt x="155586" y="145471"/>
                  <a:pt x="156054" y="142000"/>
                </a:cubicBezTo>
                <a:cubicBezTo>
                  <a:pt x="157211" y="133381"/>
                  <a:pt x="151369" y="120424"/>
                  <a:pt x="149402" y="120077"/>
                </a:cubicBezTo>
                <a:cubicBezTo>
                  <a:pt x="142837" y="120771"/>
                  <a:pt x="136324" y="121911"/>
                  <a:pt x="129909" y="123490"/>
                </a:cubicBezTo>
                <a:cubicBezTo>
                  <a:pt x="129336" y="123640"/>
                  <a:pt x="128746" y="123305"/>
                  <a:pt x="128578" y="122738"/>
                </a:cubicBezTo>
                <a:cubicBezTo>
                  <a:pt x="128434" y="122165"/>
                  <a:pt x="128202" y="121616"/>
                  <a:pt x="127884" y="121119"/>
                </a:cubicBezTo>
                <a:cubicBezTo>
                  <a:pt x="125009" y="115930"/>
                  <a:pt x="123685" y="110030"/>
                  <a:pt x="124066" y="104112"/>
                </a:cubicBezTo>
                <a:cubicBezTo>
                  <a:pt x="124066" y="98675"/>
                  <a:pt x="108680" y="78024"/>
                  <a:pt x="103358" y="78024"/>
                </a:cubicBezTo>
                <a:cubicBezTo>
                  <a:pt x="100495" y="78267"/>
                  <a:pt x="97684" y="78950"/>
                  <a:pt x="95028" y="80049"/>
                </a:cubicBezTo>
                <a:cubicBezTo>
                  <a:pt x="91766" y="81385"/>
                  <a:pt x="88307" y="82183"/>
                  <a:pt x="84790" y="82421"/>
                </a:cubicBezTo>
                <a:cubicBezTo>
                  <a:pt x="84056" y="82479"/>
                  <a:pt x="83321" y="82479"/>
                  <a:pt x="82592" y="82421"/>
                </a:cubicBezTo>
                <a:lnTo>
                  <a:pt x="79584" y="81784"/>
                </a:lnTo>
                <a:cubicBezTo>
                  <a:pt x="77895" y="81356"/>
                  <a:pt x="76171" y="81084"/>
                  <a:pt x="74436" y="80975"/>
                </a:cubicBezTo>
                <a:cubicBezTo>
                  <a:pt x="72585" y="80975"/>
                  <a:pt x="71428" y="81553"/>
                  <a:pt x="71197" y="84445"/>
                </a:cubicBezTo>
                <a:cubicBezTo>
                  <a:pt x="70734" y="89188"/>
                  <a:pt x="61305" y="97807"/>
                  <a:pt x="52108" y="105616"/>
                </a:cubicBezTo>
                <a:cubicBezTo>
                  <a:pt x="51796" y="105755"/>
                  <a:pt x="51437" y="105755"/>
                  <a:pt x="51125" y="105616"/>
                </a:cubicBezTo>
                <a:cubicBezTo>
                  <a:pt x="50766" y="105552"/>
                  <a:pt x="50465" y="105315"/>
                  <a:pt x="50315" y="104980"/>
                </a:cubicBezTo>
                <a:cubicBezTo>
                  <a:pt x="43131" y="91560"/>
                  <a:pt x="32690" y="80165"/>
                  <a:pt x="19947" y="71835"/>
                </a:cubicBezTo>
                <a:cubicBezTo>
                  <a:pt x="15267" y="68365"/>
                  <a:pt x="11467" y="63847"/>
                  <a:pt x="8841" y="58647"/>
                </a:cubicBezTo>
                <a:cubicBezTo>
                  <a:pt x="6805" y="54499"/>
                  <a:pt x="3930" y="50815"/>
                  <a:pt x="395" y="47830"/>
                </a:cubicBezTo>
                <a:cubicBezTo>
                  <a:pt x="152" y="47656"/>
                  <a:pt x="2" y="47379"/>
                  <a:pt x="-10" y="47078"/>
                </a:cubicBezTo>
                <a:cubicBezTo>
                  <a:pt x="-143" y="46806"/>
                  <a:pt x="-143" y="46482"/>
                  <a:pt x="-10" y="46210"/>
                </a:cubicBezTo>
                <a:cubicBezTo>
                  <a:pt x="922" y="45123"/>
                  <a:pt x="1951" y="44116"/>
                  <a:pt x="3056" y="43202"/>
                </a:cubicBezTo>
                <a:lnTo>
                  <a:pt x="8089" y="39384"/>
                </a:lnTo>
                <a:cubicBezTo>
                  <a:pt x="13873" y="34699"/>
                  <a:pt x="20930" y="29435"/>
                  <a:pt x="25037" y="29435"/>
                </a:cubicBezTo>
                <a:cubicBezTo>
                  <a:pt x="25552" y="29343"/>
                  <a:pt x="26084" y="29343"/>
                  <a:pt x="26599" y="29435"/>
                </a:cubicBezTo>
                <a:cubicBezTo>
                  <a:pt x="27235" y="29719"/>
                  <a:pt x="27929" y="29857"/>
                  <a:pt x="28623" y="29840"/>
                </a:cubicBezTo>
                <a:cubicBezTo>
                  <a:pt x="31747" y="29840"/>
                  <a:pt x="34408" y="27353"/>
                  <a:pt x="34408" y="26254"/>
                </a:cubicBezTo>
                <a:cubicBezTo>
                  <a:pt x="34043" y="25253"/>
                  <a:pt x="33558" y="24299"/>
                  <a:pt x="32962" y="23419"/>
                </a:cubicBezTo>
                <a:cubicBezTo>
                  <a:pt x="31342" y="20932"/>
                  <a:pt x="29375" y="17635"/>
                  <a:pt x="30301" y="15264"/>
                </a:cubicBezTo>
                <a:cubicBezTo>
                  <a:pt x="30815" y="13898"/>
                  <a:pt x="31955" y="12863"/>
                  <a:pt x="33367" y="12487"/>
                </a:cubicBezTo>
                <a:cubicBezTo>
                  <a:pt x="39151" y="10347"/>
                  <a:pt x="38688" y="918"/>
                  <a:pt x="38688" y="918"/>
                </a:cubicBezTo>
                <a:cubicBezTo>
                  <a:pt x="38654" y="571"/>
                  <a:pt x="38781" y="230"/>
                  <a:pt x="39035" y="-7"/>
                </a:cubicBezTo>
                <a:cubicBezTo>
                  <a:pt x="39342" y="-170"/>
                  <a:pt x="39712" y="-170"/>
                  <a:pt x="40018" y="-7"/>
                </a:cubicBezTo>
                <a:cubicBezTo>
                  <a:pt x="43142" y="629"/>
                  <a:pt x="58934" y="3984"/>
                  <a:pt x="60264" y="8669"/>
                </a:cubicBezTo>
                <a:cubicBezTo>
                  <a:pt x="60669" y="10115"/>
                  <a:pt x="68998" y="12718"/>
                  <a:pt x="81377" y="12718"/>
                </a:cubicBezTo>
                <a:cubicBezTo>
                  <a:pt x="87249" y="12857"/>
                  <a:pt x="93108" y="12053"/>
                  <a:pt x="98731" y="10347"/>
                </a:cubicBezTo>
                <a:lnTo>
                  <a:pt x="99367" y="10347"/>
                </a:lnTo>
                <a:lnTo>
                  <a:pt x="101796" y="9479"/>
                </a:lnTo>
                <a:cubicBezTo>
                  <a:pt x="102126" y="9317"/>
                  <a:pt x="102508" y="9317"/>
                  <a:pt x="102838" y="9479"/>
                </a:cubicBezTo>
                <a:cubicBezTo>
                  <a:pt x="103132" y="9687"/>
                  <a:pt x="103289" y="10046"/>
                  <a:pt x="103243" y="10404"/>
                </a:cubicBezTo>
                <a:lnTo>
                  <a:pt x="103243" y="14743"/>
                </a:lnTo>
                <a:cubicBezTo>
                  <a:pt x="104110" y="18156"/>
                  <a:pt x="106019" y="22783"/>
                  <a:pt x="107638" y="22783"/>
                </a:cubicBezTo>
                <a:cubicBezTo>
                  <a:pt x="108101" y="22783"/>
                  <a:pt x="108680" y="22320"/>
                  <a:pt x="109316" y="21510"/>
                </a:cubicBezTo>
                <a:cubicBezTo>
                  <a:pt x="110311" y="19989"/>
                  <a:pt x="112012" y="19075"/>
                  <a:pt x="113828" y="19081"/>
                </a:cubicBezTo>
                <a:cubicBezTo>
                  <a:pt x="115534" y="19208"/>
                  <a:pt x="117206" y="19659"/>
                  <a:pt x="118745" y="20411"/>
                </a:cubicBezTo>
                <a:cubicBezTo>
                  <a:pt x="119803" y="20990"/>
                  <a:pt x="120960" y="21360"/>
                  <a:pt x="122157" y="21510"/>
                </a:cubicBezTo>
                <a:cubicBezTo>
                  <a:pt x="122909" y="21510"/>
                  <a:pt x="123719" y="21221"/>
                  <a:pt x="124471" y="19312"/>
                </a:cubicBezTo>
                <a:cubicBezTo>
                  <a:pt x="125270" y="16958"/>
                  <a:pt x="127479" y="15373"/>
                  <a:pt x="129967" y="15379"/>
                </a:cubicBezTo>
                <a:cubicBezTo>
                  <a:pt x="132957" y="15726"/>
                  <a:pt x="135849" y="16669"/>
                  <a:pt x="138470" y="18156"/>
                </a:cubicBezTo>
                <a:cubicBezTo>
                  <a:pt x="140257" y="19197"/>
                  <a:pt x="142218" y="19903"/>
                  <a:pt x="144254" y="20238"/>
                </a:cubicBezTo>
                <a:cubicBezTo>
                  <a:pt x="146394" y="20238"/>
                  <a:pt x="150790" y="16131"/>
                  <a:pt x="154319" y="12892"/>
                </a:cubicBezTo>
                <a:cubicBezTo>
                  <a:pt x="159062" y="8495"/>
                  <a:pt x="161954" y="6008"/>
                  <a:pt x="163921" y="6529"/>
                </a:cubicBezTo>
                <a:cubicBezTo>
                  <a:pt x="168028" y="7512"/>
                  <a:pt x="175490" y="22089"/>
                  <a:pt x="175490" y="27816"/>
                </a:cubicBezTo>
                <a:cubicBezTo>
                  <a:pt x="175490" y="30129"/>
                  <a:pt x="179192" y="32964"/>
                  <a:pt x="181853" y="34988"/>
                </a:cubicBezTo>
                <a:cubicBezTo>
                  <a:pt x="184514" y="37013"/>
                  <a:pt x="186422" y="38517"/>
                  <a:pt x="186133" y="40136"/>
                </a:cubicBezTo>
                <a:cubicBezTo>
                  <a:pt x="185925" y="40987"/>
                  <a:pt x="185254" y="41634"/>
                  <a:pt x="184398" y="41814"/>
                </a:cubicBezTo>
                <a:cubicBezTo>
                  <a:pt x="182275" y="42647"/>
                  <a:pt x="180985" y="44816"/>
                  <a:pt x="181274" y="47078"/>
                </a:cubicBezTo>
                <a:cubicBezTo>
                  <a:pt x="181425" y="48443"/>
                  <a:pt x="182651" y="49426"/>
                  <a:pt x="184016" y="49282"/>
                </a:cubicBezTo>
                <a:cubicBezTo>
                  <a:pt x="184028" y="49276"/>
                  <a:pt x="184039" y="49276"/>
                  <a:pt x="184051" y="49276"/>
                </a:cubicBezTo>
                <a:cubicBezTo>
                  <a:pt x="188389" y="49276"/>
                  <a:pt x="189025" y="53961"/>
                  <a:pt x="189546" y="58010"/>
                </a:cubicBezTo>
                <a:cubicBezTo>
                  <a:pt x="189650" y="60492"/>
                  <a:pt x="190304" y="62921"/>
                  <a:pt x="191455" y="65125"/>
                </a:cubicBezTo>
                <a:cubicBezTo>
                  <a:pt x="192375" y="66507"/>
                  <a:pt x="193531" y="67722"/>
                  <a:pt x="194868" y="68712"/>
                </a:cubicBezTo>
                <a:cubicBezTo>
                  <a:pt x="195215" y="68989"/>
                  <a:pt x="195371" y="69435"/>
                  <a:pt x="195273" y="69869"/>
                </a:cubicBezTo>
                <a:lnTo>
                  <a:pt x="195273" y="70736"/>
                </a:lnTo>
                <a:cubicBezTo>
                  <a:pt x="193480" y="78603"/>
                  <a:pt x="191223" y="88089"/>
                  <a:pt x="194868" y="90403"/>
                </a:cubicBezTo>
                <a:cubicBezTo>
                  <a:pt x="199750" y="93238"/>
                  <a:pt x="201988" y="99091"/>
                  <a:pt x="200247" y="104459"/>
                </a:cubicBezTo>
                <a:cubicBezTo>
                  <a:pt x="199900" y="105500"/>
                  <a:pt x="201462" y="108046"/>
                  <a:pt x="202677" y="110244"/>
                </a:cubicBezTo>
                <a:cubicBezTo>
                  <a:pt x="204990" y="114119"/>
                  <a:pt x="207883" y="118920"/>
                  <a:pt x="204817" y="121813"/>
                </a:cubicBezTo>
                <a:cubicBezTo>
                  <a:pt x="203840" y="122796"/>
                  <a:pt x="202503" y="123340"/>
                  <a:pt x="201115" y="123317"/>
                </a:cubicBezTo>
                <a:cubicBezTo>
                  <a:pt x="199761" y="123241"/>
                  <a:pt x="198431" y="122929"/>
                  <a:pt x="197182" y="122391"/>
                </a:cubicBezTo>
                <a:cubicBezTo>
                  <a:pt x="196285" y="121980"/>
                  <a:pt x="195331" y="121726"/>
                  <a:pt x="194347" y="121639"/>
                </a:cubicBezTo>
                <a:cubicBezTo>
                  <a:pt x="193769" y="121639"/>
                  <a:pt x="193017" y="121639"/>
                  <a:pt x="192265" y="123317"/>
                </a:cubicBezTo>
                <a:cubicBezTo>
                  <a:pt x="191050" y="125804"/>
                  <a:pt x="192265" y="128291"/>
                  <a:pt x="193711" y="130894"/>
                </a:cubicBezTo>
                <a:cubicBezTo>
                  <a:pt x="195157" y="133497"/>
                  <a:pt x="196835" y="136679"/>
                  <a:pt x="194579" y="139802"/>
                </a:cubicBezTo>
                <a:cubicBezTo>
                  <a:pt x="193595" y="141098"/>
                  <a:pt x="192467" y="142284"/>
                  <a:pt x="191223" y="143331"/>
                </a:cubicBezTo>
                <a:cubicBezTo>
                  <a:pt x="189685" y="144528"/>
                  <a:pt x="188418" y="146049"/>
                  <a:pt x="187521" y="147785"/>
                </a:cubicBezTo>
                <a:cubicBezTo>
                  <a:pt x="187284" y="148346"/>
                  <a:pt x="186648" y="148623"/>
                  <a:pt x="186075" y="148421"/>
                </a:cubicBezTo>
                <a:cubicBezTo>
                  <a:pt x="182316" y="146859"/>
                  <a:pt x="180291" y="145355"/>
                  <a:pt x="179944" y="143504"/>
                </a:cubicBezTo>
                <a:cubicBezTo>
                  <a:pt x="179904" y="143174"/>
                  <a:pt x="179782" y="142856"/>
                  <a:pt x="179597" y="142579"/>
                </a:cubicBezTo>
                <a:cubicBezTo>
                  <a:pt x="177977" y="142579"/>
                  <a:pt x="173812" y="148826"/>
                  <a:pt x="171383" y="152181"/>
                </a:cubicBezTo>
                <a:cubicBezTo>
                  <a:pt x="170215" y="154026"/>
                  <a:pt x="168190" y="155160"/>
                  <a:pt x="166003" y="155189"/>
                </a:cubicBezTo>
                <a:close/>
                <a:moveTo>
                  <a:pt x="149402" y="117821"/>
                </a:moveTo>
                <a:cubicBezTo>
                  <a:pt x="150438" y="117902"/>
                  <a:pt x="151375" y="118458"/>
                  <a:pt x="151947" y="119325"/>
                </a:cubicBezTo>
                <a:cubicBezTo>
                  <a:pt x="156580" y="126116"/>
                  <a:pt x="158802" y="134261"/>
                  <a:pt x="158252" y="142463"/>
                </a:cubicBezTo>
                <a:cubicBezTo>
                  <a:pt x="157905" y="145274"/>
                  <a:pt x="158790" y="148103"/>
                  <a:pt x="160682" y="150214"/>
                </a:cubicBezTo>
                <a:cubicBezTo>
                  <a:pt x="163343" y="153338"/>
                  <a:pt x="167392" y="153974"/>
                  <a:pt x="169359" y="151198"/>
                </a:cubicBezTo>
                <a:cubicBezTo>
                  <a:pt x="173870" y="144719"/>
                  <a:pt x="176936" y="140554"/>
                  <a:pt x="179539" y="140554"/>
                </a:cubicBezTo>
                <a:cubicBezTo>
                  <a:pt x="180291" y="140554"/>
                  <a:pt x="181564" y="140901"/>
                  <a:pt x="182084" y="143273"/>
                </a:cubicBezTo>
                <a:cubicBezTo>
                  <a:pt x="182084" y="143678"/>
                  <a:pt x="182778" y="144719"/>
                  <a:pt x="185902" y="146107"/>
                </a:cubicBezTo>
                <a:cubicBezTo>
                  <a:pt x="186914" y="144522"/>
                  <a:pt x="188164" y="143099"/>
                  <a:pt x="189604" y="141884"/>
                </a:cubicBezTo>
                <a:cubicBezTo>
                  <a:pt x="190772" y="140959"/>
                  <a:pt x="191819" y="139889"/>
                  <a:pt x="192727" y="138703"/>
                </a:cubicBezTo>
                <a:cubicBezTo>
                  <a:pt x="194058" y="136968"/>
                  <a:pt x="193190" y="135059"/>
                  <a:pt x="191686" y="132225"/>
                </a:cubicBezTo>
                <a:cubicBezTo>
                  <a:pt x="189558" y="129477"/>
                  <a:pt x="188991" y="125827"/>
                  <a:pt x="190182" y="122565"/>
                </a:cubicBezTo>
                <a:cubicBezTo>
                  <a:pt x="190830" y="120847"/>
                  <a:pt x="192450" y="119684"/>
                  <a:pt x="194289" y="119614"/>
                </a:cubicBezTo>
                <a:cubicBezTo>
                  <a:pt x="195527" y="119701"/>
                  <a:pt x="196736" y="119996"/>
                  <a:pt x="197876" y="120482"/>
                </a:cubicBezTo>
                <a:cubicBezTo>
                  <a:pt x="199842" y="121234"/>
                  <a:pt x="201751" y="121755"/>
                  <a:pt x="203139" y="120482"/>
                </a:cubicBezTo>
                <a:cubicBezTo>
                  <a:pt x="204528" y="119210"/>
                  <a:pt x="202734" y="114698"/>
                  <a:pt x="200710" y="111459"/>
                </a:cubicBezTo>
                <a:cubicBezTo>
                  <a:pt x="198686" y="108219"/>
                  <a:pt x="197355" y="105674"/>
                  <a:pt x="198049" y="103939"/>
                </a:cubicBezTo>
                <a:cubicBezTo>
                  <a:pt x="199559" y="99542"/>
                  <a:pt x="197737" y="94689"/>
                  <a:pt x="193711" y="92370"/>
                </a:cubicBezTo>
                <a:cubicBezTo>
                  <a:pt x="188620" y="89535"/>
                  <a:pt x="190819" y="79760"/>
                  <a:pt x="193017" y="70216"/>
                </a:cubicBezTo>
                <a:lnTo>
                  <a:pt x="193017" y="70216"/>
                </a:lnTo>
                <a:cubicBezTo>
                  <a:pt x="191721" y="69174"/>
                  <a:pt x="190593" y="67948"/>
                  <a:pt x="189662" y="66571"/>
                </a:cubicBezTo>
                <a:cubicBezTo>
                  <a:pt x="188343" y="64084"/>
                  <a:pt x="187574" y="61342"/>
                  <a:pt x="187406" y="58531"/>
                </a:cubicBezTo>
                <a:cubicBezTo>
                  <a:pt x="186827" y="53903"/>
                  <a:pt x="186307" y="51705"/>
                  <a:pt x="184167" y="51705"/>
                </a:cubicBezTo>
                <a:cubicBezTo>
                  <a:pt x="181691" y="51850"/>
                  <a:pt x="179522" y="50057"/>
                  <a:pt x="179192" y="47598"/>
                </a:cubicBezTo>
                <a:cubicBezTo>
                  <a:pt x="178712" y="44243"/>
                  <a:pt x="180638" y="41016"/>
                  <a:pt x="183820" y="39847"/>
                </a:cubicBezTo>
                <a:lnTo>
                  <a:pt x="183820" y="39847"/>
                </a:lnTo>
                <a:cubicBezTo>
                  <a:pt x="182813" y="38800"/>
                  <a:pt x="181708" y="37852"/>
                  <a:pt x="180522" y="37013"/>
                </a:cubicBezTo>
                <a:cubicBezTo>
                  <a:pt x="177283" y="34525"/>
                  <a:pt x="173292" y="31228"/>
                  <a:pt x="173292" y="28047"/>
                </a:cubicBezTo>
                <a:cubicBezTo>
                  <a:pt x="172112" y="20840"/>
                  <a:pt x="168740" y="14176"/>
                  <a:pt x="163632" y="8958"/>
                </a:cubicBezTo>
                <a:cubicBezTo>
                  <a:pt x="162417" y="8958"/>
                  <a:pt x="158715" y="12313"/>
                  <a:pt x="156054" y="14743"/>
                </a:cubicBezTo>
                <a:cubicBezTo>
                  <a:pt x="151658" y="18792"/>
                  <a:pt x="147493" y="22667"/>
                  <a:pt x="144485" y="22667"/>
                </a:cubicBezTo>
                <a:cubicBezTo>
                  <a:pt x="142160" y="22349"/>
                  <a:pt x="139922" y="21580"/>
                  <a:pt x="137891" y="20411"/>
                </a:cubicBezTo>
                <a:cubicBezTo>
                  <a:pt x="135577" y="19064"/>
                  <a:pt x="133021" y="18179"/>
                  <a:pt x="130372" y="17809"/>
                </a:cubicBezTo>
                <a:cubicBezTo>
                  <a:pt x="128781" y="17756"/>
                  <a:pt x="127364" y="18815"/>
                  <a:pt x="126959" y="20354"/>
                </a:cubicBezTo>
                <a:cubicBezTo>
                  <a:pt x="126449" y="22390"/>
                  <a:pt x="124662" y="23847"/>
                  <a:pt x="122562" y="23940"/>
                </a:cubicBezTo>
                <a:cubicBezTo>
                  <a:pt x="121047" y="23807"/>
                  <a:pt x="119572" y="23373"/>
                  <a:pt x="118224" y="22667"/>
                </a:cubicBezTo>
                <a:cubicBezTo>
                  <a:pt x="116981" y="22031"/>
                  <a:pt x="115627" y="21638"/>
                  <a:pt x="114233" y="21510"/>
                </a:cubicBezTo>
                <a:cubicBezTo>
                  <a:pt x="113128" y="21516"/>
                  <a:pt x="112104" y="22083"/>
                  <a:pt x="111514" y="23014"/>
                </a:cubicBezTo>
                <a:cubicBezTo>
                  <a:pt x="110768" y="24252"/>
                  <a:pt x="109484" y="25068"/>
                  <a:pt x="108043" y="25213"/>
                </a:cubicBezTo>
                <a:cubicBezTo>
                  <a:pt x="103937" y="25213"/>
                  <a:pt x="101854" y="16941"/>
                  <a:pt x="101449" y="15264"/>
                </a:cubicBezTo>
                <a:lnTo>
                  <a:pt x="101449" y="12429"/>
                </a:lnTo>
                <a:lnTo>
                  <a:pt x="100639" y="12776"/>
                </a:lnTo>
                <a:lnTo>
                  <a:pt x="100003" y="12776"/>
                </a:lnTo>
                <a:cubicBezTo>
                  <a:pt x="94126" y="14598"/>
                  <a:pt x="87995" y="15460"/>
                  <a:pt x="81840" y="15321"/>
                </a:cubicBezTo>
                <a:cubicBezTo>
                  <a:pt x="73453" y="15321"/>
                  <a:pt x="59744" y="13760"/>
                  <a:pt x="58702" y="9537"/>
                </a:cubicBezTo>
                <a:cubicBezTo>
                  <a:pt x="58066" y="7454"/>
                  <a:pt x="49563" y="4504"/>
                  <a:pt x="41349" y="2769"/>
                </a:cubicBezTo>
                <a:cubicBezTo>
                  <a:pt x="41349" y="5893"/>
                  <a:pt x="40365" y="13065"/>
                  <a:pt x="34524" y="15148"/>
                </a:cubicBezTo>
                <a:cubicBezTo>
                  <a:pt x="33783" y="15327"/>
                  <a:pt x="33164" y="15842"/>
                  <a:pt x="32846" y="16536"/>
                </a:cubicBezTo>
                <a:cubicBezTo>
                  <a:pt x="32268" y="18098"/>
                  <a:pt x="34003" y="20816"/>
                  <a:pt x="35276" y="22841"/>
                </a:cubicBezTo>
                <a:cubicBezTo>
                  <a:pt x="36213" y="23998"/>
                  <a:pt x="36849" y="25369"/>
                  <a:pt x="37126" y="26832"/>
                </a:cubicBezTo>
                <a:cubicBezTo>
                  <a:pt x="37126" y="29609"/>
                  <a:pt x="32730" y="32617"/>
                  <a:pt x="28739" y="32617"/>
                </a:cubicBezTo>
                <a:cubicBezTo>
                  <a:pt x="27744" y="32640"/>
                  <a:pt x="26755" y="32437"/>
                  <a:pt x="25847" y="32038"/>
                </a:cubicBezTo>
                <a:lnTo>
                  <a:pt x="25153" y="32038"/>
                </a:lnTo>
                <a:cubicBezTo>
                  <a:pt x="21856" y="32038"/>
                  <a:pt x="14741" y="37823"/>
                  <a:pt x="9593" y="41525"/>
                </a:cubicBezTo>
                <a:cubicBezTo>
                  <a:pt x="7684" y="42971"/>
                  <a:pt x="5948" y="44359"/>
                  <a:pt x="4502" y="45342"/>
                </a:cubicBezTo>
                <a:cubicBezTo>
                  <a:pt x="3814" y="45944"/>
                  <a:pt x="3154" y="46580"/>
                  <a:pt x="2535" y="47251"/>
                </a:cubicBezTo>
                <a:cubicBezTo>
                  <a:pt x="5862" y="50253"/>
                  <a:pt x="8609" y="53840"/>
                  <a:pt x="10634" y="57837"/>
                </a:cubicBezTo>
                <a:cubicBezTo>
                  <a:pt x="13098" y="62777"/>
                  <a:pt x="16684" y="67074"/>
                  <a:pt x="21104" y="70389"/>
                </a:cubicBezTo>
                <a:cubicBezTo>
                  <a:pt x="33731" y="78672"/>
                  <a:pt x="44166" y="89888"/>
                  <a:pt x="51530" y="103071"/>
                </a:cubicBezTo>
                <a:cubicBezTo>
                  <a:pt x="56793" y="98617"/>
                  <a:pt x="68362" y="88494"/>
                  <a:pt x="68883" y="84330"/>
                </a:cubicBezTo>
                <a:cubicBezTo>
                  <a:pt x="69403" y="80165"/>
                  <a:pt x="71023" y="78834"/>
                  <a:pt x="74667" y="78834"/>
                </a:cubicBezTo>
                <a:cubicBezTo>
                  <a:pt x="76622" y="78915"/>
                  <a:pt x="78560" y="79204"/>
                  <a:pt x="80452" y="79702"/>
                </a:cubicBezTo>
                <a:lnTo>
                  <a:pt x="83402" y="80338"/>
                </a:lnTo>
                <a:cubicBezTo>
                  <a:pt x="87277" y="80552"/>
                  <a:pt x="91153" y="79818"/>
                  <a:pt x="94681" y="78198"/>
                </a:cubicBezTo>
                <a:cubicBezTo>
                  <a:pt x="97580" y="77012"/>
                  <a:pt x="100639" y="76289"/>
                  <a:pt x="103763" y="76058"/>
                </a:cubicBezTo>
                <a:cubicBezTo>
                  <a:pt x="110357" y="76058"/>
                  <a:pt x="126901" y="97692"/>
                  <a:pt x="126901" y="104401"/>
                </a:cubicBezTo>
                <a:cubicBezTo>
                  <a:pt x="126531" y="109891"/>
                  <a:pt x="127740" y="115369"/>
                  <a:pt x="130372" y="120193"/>
                </a:cubicBezTo>
                <a:lnTo>
                  <a:pt x="131008" y="121350"/>
                </a:lnTo>
                <a:cubicBezTo>
                  <a:pt x="137052" y="119771"/>
                  <a:pt x="143201" y="118591"/>
                  <a:pt x="149402" y="11782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1" name="Forma libre: forma 300">
            <a:extLst>
              <a:ext uri="{FF2B5EF4-FFF2-40B4-BE49-F238E27FC236}">
                <a16:creationId xmlns:a16="http://schemas.microsoft.com/office/drawing/2014/main" id="{5ECC267B-74AE-D22D-4C04-0D4A5FDF7062}"/>
              </a:ext>
            </a:extLst>
          </p:cNvPr>
          <p:cNvSpPr/>
          <p:nvPr/>
        </p:nvSpPr>
        <p:spPr>
          <a:xfrm>
            <a:off x="5869916" y="4247237"/>
            <a:ext cx="116250" cy="111643"/>
          </a:xfrm>
          <a:custGeom>
            <a:avLst/>
            <a:gdLst>
              <a:gd name="connsiteX0" fmla="*/ 106972 w 116250"/>
              <a:gd name="connsiteY0" fmla="*/ 111510 h 111643"/>
              <a:gd name="connsiteX1" fmla="*/ 106972 w 116250"/>
              <a:gd name="connsiteY1" fmla="*/ 111510 h 111643"/>
              <a:gd name="connsiteX2" fmla="*/ 99916 w 116250"/>
              <a:gd name="connsiteY2" fmla="*/ 110353 h 111643"/>
              <a:gd name="connsiteX3" fmla="*/ 35824 w 116250"/>
              <a:gd name="connsiteY3" fmla="*/ 70267 h 111643"/>
              <a:gd name="connsiteX4" fmla="*/ 423 w 116250"/>
              <a:gd name="connsiteY4" fmla="*/ 46609 h 111643"/>
              <a:gd name="connsiteX5" fmla="*/ 18 w 116250"/>
              <a:gd name="connsiteY5" fmla="*/ 45105 h 111643"/>
              <a:gd name="connsiteX6" fmla="*/ 6555 w 116250"/>
              <a:gd name="connsiteY6" fmla="*/ 35561 h 111643"/>
              <a:gd name="connsiteX7" fmla="*/ 13438 w 116250"/>
              <a:gd name="connsiteY7" fmla="*/ 30702 h 111643"/>
              <a:gd name="connsiteX8" fmla="*/ 27957 w 116250"/>
              <a:gd name="connsiteY8" fmla="*/ 18034 h 111643"/>
              <a:gd name="connsiteX9" fmla="*/ 29345 w 116250"/>
              <a:gd name="connsiteY9" fmla="*/ 13406 h 111643"/>
              <a:gd name="connsiteX10" fmla="*/ 30618 w 116250"/>
              <a:gd name="connsiteY10" fmla="*/ 4788 h 111643"/>
              <a:gd name="connsiteX11" fmla="*/ 30618 w 116250"/>
              <a:gd name="connsiteY11" fmla="*/ 3862 h 111643"/>
              <a:gd name="connsiteX12" fmla="*/ 31370 w 116250"/>
              <a:gd name="connsiteY12" fmla="*/ 3342 h 111643"/>
              <a:gd name="connsiteX13" fmla="*/ 51326 w 116250"/>
              <a:gd name="connsiteY13" fmla="*/ -129 h 111643"/>
              <a:gd name="connsiteX14" fmla="*/ 53871 w 116250"/>
              <a:gd name="connsiteY14" fmla="*/ 1375 h 111643"/>
              <a:gd name="connsiteX15" fmla="*/ 60177 w 116250"/>
              <a:gd name="connsiteY15" fmla="*/ 24513 h 111643"/>
              <a:gd name="connsiteX16" fmla="*/ 62606 w 116250"/>
              <a:gd name="connsiteY16" fmla="*/ 32264 h 111643"/>
              <a:gd name="connsiteX17" fmla="*/ 71283 w 116250"/>
              <a:gd name="connsiteY17" fmla="*/ 33247 h 111643"/>
              <a:gd name="connsiteX18" fmla="*/ 81463 w 116250"/>
              <a:gd name="connsiteY18" fmla="*/ 22604 h 111643"/>
              <a:gd name="connsiteX19" fmla="*/ 84008 w 116250"/>
              <a:gd name="connsiteY19" fmla="*/ 25323 h 111643"/>
              <a:gd name="connsiteX20" fmla="*/ 88752 w 116250"/>
              <a:gd name="connsiteY20" fmla="*/ 28562 h 111643"/>
              <a:gd name="connsiteX21" fmla="*/ 89388 w 116250"/>
              <a:gd name="connsiteY21" fmla="*/ 29198 h 111643"/>
              <a:gd name="connsiteX22" fmla="*/ 89388 w 116250"/>
              <a:gd name="connsiteY22" fmla="*/ 30066 h 111643"/>
              <a:gd name="connsiteX23" fmla="*/ 88810 w 116250"/>
              <a:gd name="connsiteY23" fmla="*/ 36429 h 111643"/>
              <a:gd name="connsiteX24" fmla="*/ 85397 w 116250"/>
              <a:gd name="connsiteY24" fmla="*/ 56847 h 111643"/>
              <a:gd name="connsiteX25" fmla="*/ 84471 w 116250"/>
              <a:gd name="connsiteY25" fmla="*/ 57773 h 111643"/>
              <a:gd name="connsiteX26" fmla="*/ 87711 w 116250"/>
              <a:gd name="connsiteY26" fmla="*/ 59682 h 111643"/>
              <a:gd name="connsiteX27" fmla="*/ 94362 w 116250"/>
              <a:gd name="connsiteY27" fmla="*/ 63500 h 111643"/>
              <a:gd name="connsiteX28" fmla="*/ 99279 w 116250"/>
              <a:gd name="connsiteY28" fmla="*/ 66450 h 111643"/>
              <a:gd name="connsiteX29" fmla="*/ 116054 w 116250"/>
              <a:gd name="connsiteY29" fmla="*/ 85191 h 111643"/>
              <a:gd name="connsiteX30" fmla="*/ 113104 w 116250"/>
              <a:gd name="connsiteY30" fmla="*/ 94909 h 111643"/>
              <a:gd name="connsiteX31" fmla="*/ 107956 w 116250"/>
              <a:gd name="connsiteY31" fmla="*/ 110758 h 111643"/>
              <a:gd name="connsiteX32" fmla="*/ 106972 w 116250"/>
              <a:gd name="connsiteY32" fmla="*/ 111510 h 111643"/>
              <a:gd name="connsiteX33" fmla="*/ 2506 w 116250"/>
              <a:gd name="connsiteY33" fmla="*/ 45279 h 111643"/>
              <a:gd name="connsiteX34" fmla="*/ 37212 w 116250"/>
              <a:gd name="connsiteY34" fmla="*/ 68416 h 111643"/>
              <a:gd name="connsiteX35" fmla="*/ 100841 w 116250"/>
              <a:gd name="connsiteY35" fmla="*/ 108213 h 111643"/>
              <a:gd name="connsiteX36" fmla="*/ 106220 w 116250"/>
              <a:gd name="connsiteY36" fmla="*/ 109139 h 111643"/>
              <a:gd name="connsiteX37" fmla="*/ 111253 w 116250"/>
              <a:gd name="connsiteY37" fmla="*/ 93868 h 111643"/>
              <a:gd name="connsiteX38" fmla="*/ 114087 w 116250"/>
              <a:gd name="connsiteY38" fmla="*/ 84728 h 111643"/>
              <a:gd name="connsiteX39" fmla="*/ 98354 w 116250"/>
              <a:gd name="connsiteY39" fmla="*/ 68243 h 111643"/>
              <a:gd name="connsiteX40" fmla="*/ 93379 w 116250"/>
              <a:gd name="connsiteY40" fmla="*/ 65235 h 111643"/>
              <a:gd name="connsiteX41" fmla="*/ 86901 w 116250"/>
              <a:gd name="connsiteY41" fmla="*/ 61475 h 111643"/>
              <a:gd name="connsiteX42" fmla="*/ 82446 w 116250"/>
              <a:gd name="connsiteY42" fmla="*/ 57773 h 111643"/>
              <a:gd name="connsiteX43" fmla="*/ 84182 w 116250"/>
              <a:gd name="connsiteY43" fmla="*/ 54939 h 111643"/>
              <a:gd name="connsiteX44" fmla="*/ 86843 w 116250"/>
              <a:gd name="connsiteY44" fmla="*/ 36544 h 111643"/>
              <a:gd name="connsiteX45" fmla="*/ 87190 w 116250"/>
              <a:gd name="connsiteY45" fmla="*/ 30066 h 111643"/>
              <a:gd name="connsiteX46" fmla="*/ 82042 w 116250"/>
              <a:gd name="connsiteY46" fmla="*/ 25612 h 111643"/>
              <a:gd name="connsiteX47" fmla="*/ 81694 w 116250"/>
              <a:gd name="connsiteY47" fmla="*/ 24686 h 111643"/>
              <a:gd name="connsiteX48" fmla="*/ 73481 w 116250"/>
              <a:gd name="connsiteY48" fmla="*/ 34288 h 111643"/>
              <a:gd name="connsiteX49" fmla="*/ 68159 w 116250"/>
              <a:gd name="connsiteY49" fmla="*/ 37181 h 111643"/>
              <a:gd name="connsiteX50" fmla="*/ 61102 w 116250"/>
              <a:gd name="connsiteY50" fmla="*/ 33594 h 111643"/>
              <a:gd name="connsiteX51" fmla="*/ 58210 w 116250"/>
              <a:gd name="connsiteY51" fmla="*/ 23992 h 111643"/>
              <a:gd name="connsiteX52" fmla="*/ 51558 w 116250"/>
              <a:gd name="connsiteY52" fmla="*/ 2069 h 111643"/>
              <a:gd name="connsiteX53" fmla="*/ 33163 w 116250"/>
              <a:gd name="connsiteY53" fmla="*/ 5250 h 111643"/>
              <a:gd name="connsiteX54" fmla="*/ 31601 w 116250"/>
              <a:gd name="connsiteY54" fmla="*/ 14101 h 111643"/>
              <a:gd name="connsiteX55" fmla="*/ 30271 w 116250"/>
              <a:gd name="connsiteY55" fmla="*/ 18439 h 111643"/>
              <a:gd name="connsiteX56" fmla="*/ 14827 w 116250"/>
              <a:gd name="connsiteY56" fmla="*/ 32495 h 111643"/>
              <a:gd name="connsiteX57" fmla="*/ 8059 w 116250"/>
              <a:gd name="connsiteY57" fmla="*/ 37296 h 111643"/>
              <a:gd name="connsiteX58" fmla="*/ 2506 w 116250"/>
              <a:gd name="connsiteY58" fmla="*/ 45279 h 11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6250" h="111643">
                <a:moveTo>
                  <a:pt x="106972" y="111510"/>
                </a:moveTo>
                <a:lnTo>
                  <a:pt x="106972" y="111510"/>
                </a:lnTo>
                <a:cubicBezTo>
                  <a:pt x="104572" y="111557"/>
                  <a:pt x="102177" y="111163"/>
                  <a:pt x="99916" y="110353"/>
                </a:cubicBezTo>
                <a:cubicBezTo>
                  <a:pt x="85917" y="105206"/>
                  <a:pt x="56474" y="85885"/>
                  <a:pt x="35824" y="70267"/>
                </a:cubicBezTo>
                <a:cubicBezTo>
                  <a:pt x="25065" y="62169"/>
                  <a:pt x="11992" y="53897"/>
                  <a:pt x="423" y="46609"/>
                </a:cubicBezTo>
                <a:cubicBezTo>
                  <a:pt x="-80" y="46285"/>
                  <a:pt x="-253" y="45637"/>
                  <a:pt x="18" y="45105"/>
                </a:cubicBezTo>
                <a:cubicBezTo>
                  <a:pt x="1627" y="41571"/>
                  <a:pt x="3836" y="38338"/>
                  <a:pt x="6555" y="35561"/>
                </a:cubicBezTo>
                <a:cubicBezTo>
                  <a:pt x="8290" y="34115"/>
                  <a:pt x="10777" y="32495"/>
                  <a:pt x="13438" y="30702"/>
                </a:cubicBezTo>
                <a:cubicBezTo>
                  <a:pt x="19223" y="26769"/>
                  <a:pt x="27205" y="21447"/>
                  <a:pt x="27957" y="18034"/>
                </a:cubicBezTo>
                <a:cubicBezTo>
                  <a:pt x="28333" y="16467"/>
                  <a:pt x="28796" y="14922"/>
                  <a:pt x="29345" y="13406"/>
                </a:cubicBezTo>
                <a:cubicBezTo>
                  <a:pt x="30636" y="10728"/>
                  <a:pt x="31081" y="7720"/>
                  <a:pt x="30618" y="4788"/>
                </a:cubicBezTo>
                <a:cubicBezTo>
                  <a:pt x="30502" y="4493"/>
                  <a:pt x="30502" y="4157"/>
                  <a:pt x="30618" y="3862"/>
                </a:cubicBezTo>
                <a:cubicBezTo>
                  <a:pt x="30774" y="3584"/>
                  <a:pt x="31052" y="3388"/>
                  <a:pt x="31370" y="3342"/>
                </a:cubicBezTo>
                <a:cubicBezTo>
                  <a:pt x="37930" y="1716"/>
                  <a:pt x="44599" y="559"/>
                  <a:pt x="51326" y="-129"/>
                </a:cubicBezTo>
                <a:cubicBezTo>
                  <a:pt x="52362" y="-48"/>
                  <a:pt x="53299" y="507"/>
                  <a:pt x="53871" y="1375"/>
                </a:cubicBezTo>
                <a:cubicBezTo>
                  <a:pt x="58505" y="8166"/>
                  <a:pt x="60726" y="16310"/>
                  <a:pt x="60177" y="24513"/>
                </a:cubicBezTo>
                <a:cubicBezTo>
                  <a:pt x="59830" y="27324"/>
                  <a:pt x="60714" y="30152"/>
                  <a:pt x="62606" y="32264"/>
                </a:cubicBezTo>
                <a:cubicBezTo>
                  <a:pt x="65267" y="35387"/>
                  <a:pt x="69316" y="36024"/>
                  <a:pt x="71283" y="33247"/>
                </a:cubicBezTo>
                <a:cubicBezTo>
                  <a:pt x="75795" y="26769"/>
                  <a:pt x="78860" y="22604"/>
                  <a:pt x="81463" y="22604"/>
                </a:cubicBezTo>
                <a:cubicBezTo>
                  <a:pt x="82215" y="22604"/>
                  <a:pt x="83488" y="22951"/>
                  <a:pt x="84008" y="25323"/>
                </a:cubicBezTo>
                <a:cubicBezTo>
                  <a:pt x="84008" y="25785"/>
                  <a:pt x="84818" y="27000"/>
                  <a:pt x="88752" y="28562"/>
                </a:cubicBezTo>
                <a:cubicBezTo>
                  <a:pt x="89041" y="28677"/>
                  <a:pt x="89272" y="28909"/>
                  <a:pt x="89388" y="29198"/>
                </a:cubicBezTo>
                <a:cubicBezTo>
                  <a:pt x="89498" y="29476"/>
                  <a:pt x="89498" y="29788"/>
                  <a:pt x="89388" y="30066"/>
                </a:cubicBezTo>
                <a:cubicBezTo>
                  <a:pt x="88665" y="32108"/>
                  <a:pt x="88468" y="34294"/>
                  <a:pt x="88810" y="36429"/>
                </a:cubicBezTo>
                <a:cubicBezTo>
                  <a:pt x="90140" y="47419"/>
                  <a:pt x="89099" y="53782"/>
                  <a:pt x="85397" y="56847"/>
                </a:cubicBezTo>
                <a:cubicBezTo>
                  <a:pt x="84587" y="57484"/>
                  <a:pt x="84471" y="57773"/>
                  <a:pt x="84471" y="57773"/>
                </a:cubicBezTo>
                <a:cubicBezTo>
                  <a:pt x="85477" y="58525"/>
                  <a:pt x="86565" y="59161"/>
                  <a:pt x="87711" y="59682"/>
                </a:cubicBezTo>
                <a:cubicBezTo>
                  <a:pt x="89995" y="60839"/>
                  <a:pt x="92211" y="62112"/>
                  <a:pt x="94362" y="63500"/>
                </a:cubicBezTo>
                <a:lnTo>
                  <a:pt x="99279" y="66450"/>
                </a:lnTo>
                <a:cubicBezTo>
                  <a:pt x="107667" y="71366"/>
                  <a:pt x="117153" y="76978"/>
                  <a:pt x="116054" y="85191"/>
                </a:cubicBezTo>
                <a:cubicBezTo>
                  <a:pt x="115551" y="88558"/>
                  <a:pt x="114556" y="91832"/>
                  <a:pt x="113104" y="94909"/>
                </a:cubicBezTo>
                <a:cubicBezTo>
                  <a:pt x="110831" y="99994"/>
                  <a:pt x="109107" y="105309"/>
                  <a:pt x="107956" y="110758"/>
                </a:cubicBezTo>
                <a:cubicBezTo>
                  <a:pt x="107811" y="111187"/>
                  <a:pt x="107424" y="111487"/>
                  <a:pt x="106972" y="111510"/>
                </a:cubicBezTo>
                <a:close/>
                <a:moveTo>
                  <a:pt x="2506" y="45279"/>
                </a:moveTo>
                <a:cubicBezTo>
                  <a:pt x="14075" y="52451"/>
                  <a:pt x="26627" y="60492"/>
                  <a:pt x="37212" y="68416"/>
                </a:cubicBezTo>
                <a:cubicBezTo>
                  <a:pt x="57689" y="83919"/>
                  <a:pt x="86901" y="103123"/>
                  <a:pt x="100841" y="108213"/>
                </a:cubicBezTo>
                <a:cubicBezTo>
                  <a:pt x="102565" y="108844"/>
                  <a:pt x="104387" y="109156"/>
                  <a:pt x="106220" y="109139"/>
                </a:cubicBezTo>
                <a:cubicBezTo>
                  <a:pt x="107348" y="103887"/>
                  <a:pt x="109037" y="98767"/>
                  <a:pt x="111253" y="93868"/>
                </a:cubicBezTo>
                <a:cubicBezTo>
                  <a:pt x="112624" y="90970"/>
                  <a:pt x="113578" y="87893"/>
                  <a:pt x="114087" y="84728"/>
                </a:cubicBezTo>
                <a:cubicBezTo>
                  <a:pt x="114955" y="77961"/>
                  <a:pt x="106105" y="72813"/>
                  <a:pt x="98354" y="68243"/>
                </a:cubicBezTo>
                <a:cubicBezTo>
                  <a:pt x="96618" y="67202"/>
                  <a:pt x="94883" y="66218"/>
                  <a:pt x="93379" y="65235"/>
                </a:cubicBezTo>
                <a:cubicBezTo>
                  <a:pt x="90776" y="63558"/>
                  <a:pt x="88636" y="62401"/>
                  <a:pt x="86901" y="61475"/>
                </a:cubicBezTo>
                <a:cubicBezTo>
                  <a:pt x="84124" y="60029"/>
                  <a:pt x="82620" y="59277"/>
                  <a:pt x="82446" y="57773"/>
                </a:cubicBezTo>
                <a:cubicBezTo>
                  <a:pt x="82273" y="56269"/>
                  <a:pt x="83256" y="55691"/>
                  <a:pt x="84182" y="54939"/>
                </a:cubicBezTo>
                <a:cubicBezTo>
                  <a:pt x="87190" y="52394"/>
                  <a:pt x="88058" y="46551"/>
                  <a:pt x="86843" y="36544"/>
                </a:cubicBezTo>
                <a:cubicBezTo>
                  <a:pt x="86472" y="34387"/>
                  <a:pt x="86594" y="32171"/>
                  <a:pt x="87190" y="30066"/>
                </a:cubicBezTo>
                <a:cubicBezTo>
                  <a:pt x="84066" y="28677"/>
                  <a:pt x="82446" y="27289"/>
                  <a:pt x="82042" y="25612"/>
                </a:cubicBezTo>
                <a:cubicBezTo>
                  <a:pt x="82001" y="25282"/>
                  <a:pt x="81879" y="24964"/>
                  <a:pt x="81694" y="24686"/>
                </a:cubicBezTo>
                <a:cubicBezTo>
                  <a:pt x="80075" y="24686"/>
                  <a:pt x="75910" y="30933"/>
                  <a:pt x="73481" y="34288"/>
                </a:cubicBezTo>
                <a:cubicBezTo>
                  <a:pt x="72295" y="36076"/>
                  <a:pt x="70305" y="37157"/>
                  <a:pt x="68159" y="37181"/>
                </a:cubicBezTo>
                <a:cubicBezTo>
                  <a:pt x="65406" y="37042"/>
                  <a:pt x="62837" y="35735"/>
                  <a:pt x="61102" y="33594"/>
                </a:cubicBezTo>
                <a:cubicBezTo>
                  <a:pt x="58794" y="30962"/>
                  <a:pt x="57741" y="27463"/>
                  <a:pt x="58210" y="23992"/>
                </a:cubicBezTo>
                <a:cubicBezTo>
                  <a:pt x="59367" y="15373"/>
                  <a:pt x="53524" y="2416"/>
                  <a:pt x="51558" y="2069"/>
                </a:cubicBezTo>
                <a:cubicBezTo>
                  <a:pt x="45357" y="2700"/>
                  <a:pt x="39214" y="3758"/>
                  <a:pt x="33163" y="5250"/>
                </a:cubicBezTo>
                <a:cubicBezTo>
                  <a:pt x="33354" y="8281"/>
                  <a:pt x="32822" y="11318"/>
                  <a:pt x="31601" y="14101"/>
                </a:cubicBezTo>
                <a:cubicBezTo>
                  <a:pt x="31063" y="15518"/>
                  <a:pt x="30618" y="16964"/>
                  <a:pt x="30271" y="18439"/>
                </a:cubicBezTo>
                <a:cubicBezTo>
                  <a:pt x="29288" y="22777"/>
                  <a:pt x="21941" y="27694"/>
                  <a:pt x="14827" y="32495"/>
                </a:cubicBezTo>
                <a:cubicBezTo>
                  <a:pt x="12223" y="34231"/>
                  <a:pt x="9794" y="35908"/>
                  <a:pt x="8059" y="37296"/>
                </a:cubicBezTo>
                <a:cubicBezTo>
                  <a:pt x="5751" y="39604"/>
                  <a:pt x="3871" y="42311"/>
                  <a:pt x="2506" y="4527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2" name="Forma libre: forma 301">
            <a:extLst>
              <a:ext uri="{FF2B5EF4-FFF2-40B4-BE49-F238E27FC236}">
                <a16:creationId xmlns:a16="http://schemas.microsoft.com/office/drawing/2014/main" id="{5738D4DE-2440-C670-26AF-C0E4420A563E}"/>
              </a:ext>
            </a:extLst>
          </p:cNvPr>
          <p:cNvSpPr/>
          <p:nvPr/>
        </p:nvSpPr>
        <p:spPr>
          <a:xfrm>
            <a:off x="5822154" y="4205357"/>
            <a:ext cx="81326" cy="88906"/>
          </a:xfrm>
          <a:custGeom>
            <a:avLst/>
            <a:gdLst>
              <a:gd name="connsiteX0" fmla="*/ 48763 w 81326"/>
              <a:gd name="connsiteY0" fmla="*/ 88662 h 88906"/>
              <a:gd name="connsiteX1" fmla="*/ 48185 w 81326"/>
              <a:gd name="connsiteY1" fmla="*/ 88662 h 88906"/>
              <a:gd name="connsiteX2" fmla="*/ 47144 w 81326"/>
              <a:gd name="connsiteY2" fmla="*/ 88026 h 88906"/>
              <a:gd name="connsiteX3" fmla="*/ 26204 w 81326"/>
              <a:gd name="connsiteY3" fmla="*/ 73912 h 88906"/>
              <a:gd name="connsiteX4" fmla="*/ 25394 w 81326"/>
              <a:gd name="connsiteY4" fmla="*/ 73218 h 88906"/>
              <a:gd name="connsiteX5" fmla="*/ 4049 w 81326"/>
              <a:gd name="connsiteY5" fmla="*/ 39031 h 88906"/>
              <a:gd name="connsiteX6" fmla="*/ 116 w 81326"/>
              <a:gd name="connsiteY6" fmla="*/ 29140 h 88906"/>
              <a:gd name="connsiteX7" fmla="*/ 116 w 81326"/>
              <a:gd name="connsiteY7" fmla="*/ 27810 h 88906"/>
              <a:gd name="connsiteX8" fmla="*/ 18453 w 81326"/>
              <a:gd name="connsiteY8" fmla="*/ 8143 h 88906"/>
              <a:gd name="connsiteX9" fmla="*/ 24237 w 81326"/>
              <a:gd name="connsiteY9" fmla="*/ 2647 h 88906"/>
              <a:gd name="connsiteX10" fmla="*/ 30021 w 81326"/>
              <a:gd name="connsiteY10" fmla="*/ 3515 h 88906"/>
              <a:gd name="connsiteX11" fmla="*/ 32972 w 81326"/>
              <a:gd name="connsiteY11" fmla="*/ 4151 h 88906"/>
              <a:gd name="connsiteX12" fmla="*/ 44251 w 81326"/>
              <a:gd name="connsiteY12" fmla="*/ 2011 h 88906"/>
              <a:gd name="connsiteX13" fmla="*/ 53333 w 81326"/>
              <a:gd name="connsiteY13" fmla="*/ -129 h 88906"/>
              <a:gd name="connsiteX14" fmla="*/ 76471 w 81326"/>
              <a:gd name="connsiteY14" fmla="*/ 28214 h 88906"/>
              <a:gd name="connsiteX15" fmla="*/ 79941 w 81326"/>
              <a:gd name="connsiteY15" fmla="*/ 44006 h 88906"/>
              <a:gd name="connsiteX16" fmla="*/ 79536 w 81326"/>
              <a:gd name="connsiteY16" fmla="*/ 56269 h 88906"/>
              <a:gd name="connsiteX17" fmla="*/ 78264 w 81326"/>
              <a:gd name="connsiteY17" fmla="*/ 60550 h 88906"/>
              <a:gd name="connsiteX18" fmla="*/ 62819 w 81326"/>
              <a:gd name="connsiteY18" fmla="*/ 74606 h 88906"/>
              <a:gd name="connsiteX19" fmla="*/ 56051 w 81326"/>
              <a:gd name="connsiteY19" fmla="*/ 79407 h 88906"/>
              <a:gd name="connsiteX20" fmla="*/ 50267 w 81326"/>
              <a:gd name="connsiteY20" fmla="*/ 88257 h 88906"/>
              <a:gd name="connsiteX21" fmla="*/ 49515 w 81326"/>
              <a:gd name="connsiteY21" fmla="*/ 88778 h 88906"/>
              <a:gd name="connsiteX22" fmla="*/ 2488 w 81326"/>
              <a:gd name="connsiteY22" fmla="*/ 28793 h 88906"/>
              <a:gd name="connsiteX23" fmla="*/ 6190 w 81326"/>
              <a:gd name="connsiteY23" fmla="*/ 38222 h 88906"/>
              <a:gd name="connsiteX24" fmla="*/ 26782 w 81326"/>
              <a:gd name="connsiteY24" fmla="*/ 71309 h 88906"/>
              <a:gd name="connsiteX25" fmla="*/ 27592 w 81326"/>
              <a:gd name="connsiteY25" fmla="*/ 72003 h 88906"/>
              <a:gd name="connsiteX26" fmla="*/ 48300 w 81326"/>
              <a:gd name="connsiteY26" fmla="*/ 85943 h 88906"/>
              <a:gd name="connsiteX27" fmla="*/ 54085 w 81326"/>
              <a:gd name="connsiteY27" fmla="*/ 77440 h 88906"/>
              <a:gd name="connsiteX28" fmla="*/ 60968 w 81326"/>
              <a:gd name="connsiteY28" fmla="*/ 72581 h 88906"/>
              <a:gd name="connsiteX29" fmla="*/ 75487 w 81326"/>
              <a:gd name="connsiteY29" fmla="*/ 59913 h 88906"/>
              <a:gd name="connsiteX30" fmla="*/ 76876 w 81326"/>
              <a:gd name="connsiteY30" fmla="*/ 55343 h 88906"/>
              <a:gd name="connsiteX31" fmla="*/ 77454 w 81326"/>
              <a:gd name="connsiteY31" fmla="*/ 45047 h 88906"/>
              <a:gd name="connsiteX32" fmla="*/ 73636 w 81326"/>
              <a:gd name="connsiteY32" fmla="*/ 28041 h 88906"/>
              <a:gd name="connsiteX33" fmla="*/ 52928 w 81326"/>
              <a:gd name="connsiteY33" fmla="*/ 1953 h 88906"/>
              <a:gd name="connsiteX34" fmla="*/ 44598 w 81326"/>
              <a:gd name="connsiteY34" fmla="*/ 3978 h 88906"/>
              <a:gd name="connsiteX35" fmla="*/ 34360 w 81326"/>
              <a:gd name="connsiteY35" fmla="*/ 6350 h 88906"/>
              <a:gd name="connsiteX36" fmla="*/ 32162 w 81326"/>
              <a:gd name="connsiteY36" fmla="*/ 6350 h 88906"/>
              <a:gd name="connsiteX37" fmla="*/ 29154 w 81326"/>
              <a:gd name="connsiteY37" fmla="*/ 5713 h 88906"/>
              <a:gd name="connsiteX38" fmla="*/ 24006 w 81326"/>
              <a:gd name="connsiteY38" fmla="*/ 4903 h 88906"/>
              <a:gd name="connsiteX39" fmla="*/ 20767 w 81326"/>
              <a:gd name="connsiteY39" fmla="*/ 8374 h 88906"/>
              <a:gd name="connsiteX40" fmla="*/ 2545 w 81326"/>
              <a:gd name="connsiteY40" fmla="*/ 28793 h 8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1326" h="88906">
                <a:moveTo>
                  <a:pt x="48763" y="88662"/>
                </a:moveTo>
                <a:cubicBezTo>
                  <a:pt x="48572" y="88714"/>
                  <a:pt x="48376" y="88714"/>
                  <a:pt x="48185" y="88662"/>
                </a:cubicBezTo>
                <a:lnTo>
                  <a:pt x="47144" y="88026"/>
                </a:lnTo>
                <a:cubicBezTo>
                  <a:pt x="39930" y="83676"/>
                  <a:pt x="32943" y="78967"/>
                  <a:pt x="26204" y="73912"/>
                </a:cubicBezTo>
                <a:lnTo>
                  <a:pt x="25394" y="73218"/>
                </a:lnTo>
                <a:cubicBezTo>
                  <a:pt x="16370" y="65813"/>
                  <a:pt x="10412" y="60897"/>
                  <a:pt x="4049" y="39031"/>
                </a:cubicBezTo>
                <a:cubicBezTo>
                  <a:pt x="3008" y="35636"/>
                  <a:pt x="1689" y="32327"/>
                  <a:pt x="116" y="29140"/>
                </a:cubicBezTo>
                <a:cubicBezTo>
                  <a:pt x="-185" y="28747"/>
                  <a:pt x="-185" y="28203"/>
                  <a:pt x="116" y="27810"/>
                </a:cubicBezTo>
                <a:cubicBezTo>
                  <a:pt x="4570" y="24050"/>
                  <a:pt x="18048" y="12654"/>
                  <a:pt x="18453" y="8143"/>
                </a:cubicBezTo>
                <a:cubicBezTo>
                  <a:pt x="18858" y="3631"/>
                  <a:pt x="20593" y="2647"/>
                  <a:pt x="24237" y="2647"/>
                </a:cubicBezTo>
                <a:cubicBezTo>
                  <a:pt x="26192" y="2728"/>
                  <a:pt x="28130" y="3018"/>
                  <a:pt x="30021" y="3515"/>
                </a:cubicBezTo>
                <a:lnTo>
                  <a:pt x="32972" y="4151"/>
                </a:lnTo>
                <a:cubicBezTo>
                  <a:pt x="36847" y="4365"/>
                  <a:pt x="40723" y="3631"/>
                  <a:pt x="44251" y="2011"/>
                </a:cubicBezTo>
                <a:cubicBezTo>
                  <a:pt x="47149" y="825"/>
                  <a:pt x="50209" y="102"/>
                  <a:pt x="53333" y="-129"/>
                </a:cubicBezTo>
                <a:cubicBezTo>
                  <a:pt x="59927" y="-129"/>
                  <a:pt x="76471" y="21505"/>
                  <a:pt x="76471" y="28214"/>
                </a:cubicBezTo>
                <a:cubicBezTo>
                  <a:pt x="76100" y="33704"/>
                  <a:pt x="77309" y="39182"/>
                  <a:pt x="79941" y="44006"/>
                </a:cubicBezTo>
                <a:cubicBezTo>
                  <a:pt x="81775" y="47922"/>
                  <a:pt x="81624" y="52480"/>
                  <a:pt x="79536" y="56269"/>
                </a:cubicBezTo>
                <a:cubicBezTo>
                  <a:pt x="79039" y="57675"/>
                  <a:pt x="78616" y="59103"/>
                  <a:pt x="78264" y="60550"/>
                </a:cubicBezTo>
                <a:cubicBezTo>
                  <a:pt x="77281" y="64888"/>
                  <a:pt x="69934" y="69805"/>
                  <a:pt x="62819" y="74606"/>
                </a:cubicBezTo>
                <a:cubicBezTo>
                  <a:pt x="60216" y="76341"/>
                  <a:pt x="57787" y="78019"/>
                  <a:pt x="56051" y="79407"/>
                </a:cubicBezTo>
                <a:cubicBezTo>
                  <a:pt x="53593" y="81975"/>
                  <a:pt x="51632" y="84977"/>
                  <a:pt x="50267" y="88257"/>
                </a:cubicBezTo>
                <a:cubicBezTo>
                  <a:pt x="50111" y="88540"/>
                  <a:pt x="49833" y="88731"/>
                  <a:pt x="49515" y="88778"/>
                </a:cubicBezTo>
                <a:close/>
                <a:moveTo>
                  <a:pt x="2488" y="28793"/>
                </a:moveTo>
                <a:cubicBezTo>
                  <a:pt x="3969" y="31836"/>
                  <a:pt x="5206" y="34988"/>
                  <a:pt x="6190" y="38222"/>
                </a:cubicBezTo>
                <a:cubicBezTo>
                  <a:pt x="12321" y="59451"/>
                  <a:pt x="17759" y="64136"/>
                  <a:pt x="26782" y="71309"/>
                </a:cubicBezTo>
                <a:lnTo>
                  <a:pt x="27592" y="72003"/>
                </a:lnTo>
                <a:cubicBezTo>
                  <a:pt x="31583" y="75300"/>
                  <a:pt x="39161" y="80217"/>
                  <a:pt x="48300" y="85943"/>
                </a:cubicBezTo>
                <a:cubicBezTo>
                  <a:pt x="49706" y="82785"/>
                  <a:pt x="51667" y="79904"/>
                  <a:pt x="54085" y="77440"/>
                </a:cubicBezTo>
                <a:cubicBezTo>
                  <a:pt x="55820" y="75994"/>
                  <a:pt x="58307" y="74374"/>
                  <a:pt x="60968" y="72581"/>
                </a:cubicBezTo>
                <a:cubicBezTo>
                  <a:pt x="66753" y="68648"/>
                  <a:pt x="74735" y="63326"/>
                  <a:pt x="75487" y="59913"/>
                </a:cubicBezTo>
                <a:cubicBezTo>
                  <a:pt x="75863" y="58363"/>
                  <a:pt x="76326" y="56842"/>
                  <a:pt x="76876" y="55343"/>
                </a:cubicBezTo>
                <a:cubicBezTo>
                  <a:pt x="78148" y="51584"/>
                  <a:pt x="79363" y="48055"/>
                  <a:pt x="77454" y="45047"/>
                </a:cubicBezTo>
                <a:cubicBezTo>
                  <a:pt x="74579" y="39859"/>
                  <a:pt x="73254" y="33959"/>
                  <a:pt x="73636" y="28041"/>
                </a:cubicBezTo>
                <a:cubicBezTo>
                  <a:pt x="73636" y="22604"/>
                  <a:pt x="58250" y="1953"/>
                  <a:pt x="52928" y="1953"/>
                </a:cubicBezTo>
                <a:cubicBezTo>
                  <a:pt x="50065" y="2196"/>
                  <a:pt x="47253" y="2879"/>
                  <a:pt x="44598" y="3978"/>
                </a:cubicBezTo>
                <a:cubicBezTo>
                  <a:pt x="41336" y="5314"/>
                  <a:pt x="37877" y="6112"/>
                  <a:pt x="34360" y="6350"/>
                </a:cubicBezTo>
                <a:cubicBezTo>
                  <a:pt x="33631" y="6407"/>
                  <a:pt x="32891" y="6407"/>
                  <a:pt x="32162" y="6350"/>
                </a:cubicBezTo>
                <a:lnTo>
                  <a:pt x="29154" y="5713"/>
                </a:lnTo>
                <a:cubicBezTo>
                  <a:pt x="27465" y="5285"/>
                  <a:pt x="25741" y="5013"/>
                  <a:pt x="24006" y="4903"/>
                </a:cubicBezTo>
                <a:cubicBezTo>
                  <a:pt x="22155" y="4903"/>
                  <a:pt x="20998" y="5482"/>
                  <a:pt x="20767" y="8374"/>
                </a:cubicBezTo>
                <a:cubicBezTo>
                  <a:pt x="20535" y="12828"/>
                  <a:pt x="11511" y="21158"/>
                  <a:pt x="2545" y="2879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3" name="Forma libre: forma 302">
            <a:extLst>
              <a:ext uri="{FF2B5EF4-FFF2-40B4-BE49-F238E27FC236}">
                <a16:creationId xmlns:a16="http://schemas.microsoft.com/office/drawing/2014/main" id="{FE885FBA-8171-3B8A-3F5D-7FBE8A9ACB5D}"/>
              </a:ext>
            </a:extLst>
          </p:cNvPr>
          <p:cNvSpPr/>
          <p:nvPr/>
        </p:nvSpPr>
        <p:spPr>
          <a:xfrm>
            <a:off x="5719896" y="3699315"/>
            <a:ext cx="231136" cy="187914"/>
          </a:xfrm>
          <a:custGeom>
            <a:avLst/>
            <a:gdLst>
              <a:gd name="connsiteX0" fmla="*/ 108506 w 231136"/>
              <a:gd name="connsiteY0" fmla="*/ 187770 h 187914"/>
              <a:gd name="connsiteX1" fmla="*/ 800 w 231136"/>
              <a:gd name="connsiteY1" fmla="*/ 187770 h 187914"/>
              <a:gd name="connsiteX2" fmla="*/ -10 w 231136"/>
              <a:gd name="connsiteY2" fmla="*/ 187423 h 187914"/>
              <a:gd name="connsiteX3" fmla="*/ -10 w 231136"/>
              <a:gd name="connsiteY3" fmla="*/ 186555 h 187914"/>
              <a:gd name="connsiteX4" fmla="*/ 8147 w 231136"/>
              <a:gd name="connsiteY4" fmla="*/ 160409 h 187914"/>
              <a:gd name="connsiteX5" fmla="*/ 36027 w 231136"/>
              <a:gd name="connsiteY5" fmla="*/ 114134 h 187914"/>
              <a:gd name="connsiteX6" fmla="*/ 56099 w 231136"/>
              <a:gd name="connsiteY6" fmla="*/ 75841 h 187914"/>
              <a:gd name="connsiteX7" fmla="*/ 77849 w 231136"/>
              <a:gd name="connsiteY7" fmla="*/ 43332 h 187914"/>
              <a:gd name="connsiteX8" fmla="*/ 92483 w 231136"/>
              <a:gd name="connsiteY8" fmla="*/ 25459 h 187914"/>
              <a:gd name="connsiteX9" fmla="*/ 107696 w 231136"/>
              <a:gd name="connsiteY9" fmla="*/ -51 h 187914"/>
              <a:gd name="connsiteX10" fmla="*/ 108506 w 231136"/>
              <a:gd name="connsiteY10" fmla="*/ -51 h 187914"/>
              <a:gd name="connsiteX11" fmla="*/ 210081 w 231136"/>
              <a:gd name="connsiteY11" fmla="*/ -51 h 187914"/>
              <a:gd name="connsiteX12" fmla="*/ 229343 w 231136"/>
              <a:gd name="connsiteY12" fmla="*/ 7527 h 187914"/>
              <a:gd name="connsiteX13" fmla="*/ 230673 w 231136"/>
              <a:gd name="connsiteY13" fmla="*/ 10940 h 187914"/>
              <a:gd name="connsiteX14" fmla="*/ 230673 w 231136"/>
              <a:gd name="connsiteY14" fmla="*/ 11518 h 187914"/>
              <a:gd name="connsiteX15" fmla="*/ 229574 w 231136"/>
              <a:gd name="connsiteY15" fmla="*/ 52009 h 187914"/>
              <a:gd name="connsiteX16" fmla="*/ 203949 w 231136"/>
              <a:gd name="connsiteY16" fmla="*/ 52993 h 187914"/>
              <a:gd name="connsiteX17" fmla="*/ 138354 w 231136"/>
              <a:gd name="connsiteY17" fmla="*/ 52241 h 187914"/>
              <a:gd name="connsiteX18" fmla="*/ 138354 w 231136"/>
              <a:gd name="connsiteY18" fmla="*/ 123331 h 187914"/>
              <a:gd name="connsiteX19" fmla="*/ 123430 w 231136"/>
              <a:gd name="connsiteY19" fmla="*/ 134900 h 187914"/>
              <a:gd name="connsiteX20" fmla="*/ 109837 w 231136"/>
              <a:gd name="connsiteY20" fmla="*/ 144155 h 187914"/>
              <a:gd name="connsiteX21" fmla="*/ 109837 w 231136"/>
              <a:gd name="connsiteY21" fmla="*/ 186844 h 187914"/>
              <a:gd name="connsiteX22" fmla="*/ 108506 w 231136"/>
              <a:gd name="connsiteY22" fmla="*/ 187770 h 187914"/>
              <a:gd name="connsiteX23" fmla="*/ 2073 w 231136"/>
              <a:gd name="connsiteY23" fmla="*/ 185514 h 187914"/>
              <a:gd name="connsiteX24" fmla="*/ 107407 w 231136"/>
              <a:gd name="connsiteY24" fmla="*/ 185514 h 187914"/>
              <a:gd name="connsiteX25" fmla="*/ 107407 w 231136"/>
              <a:gd name="connsiteY25" fmla="*/ 143924 h 187914"/>
              <a:gd name="connsiteX26" fmla="*/ 122273 w 231136"/>
              <a:gd name="connsiteY26" fmla="*/ 132644 h 187914"/>
              <a:gd name="connsiteX27" fmla="*/ 135924 w 231136"/>
              <a:gd name="connsiteY27" fmla="*/ 123389 h 187914"/>
              <a:gd name="connsiteX28" fmla="*/ 135924 w 231136"/>
              <a:gd name="connsiteY28" fmla="*/ 50390 h 187914"/>
              <a:gd name="connsiteX29" fmla="*/ 137023 w 231136"/>
              <a:gd name="connsiteY29" fmla="*/ 49233 h 187914"/>
              <a:gd name="connsiteX30" fmla="*/ 137023 w 231136"/>
              <a:gd name="connsiteY30" fmla="*/ 49233 h 187914"/>
              <a:gd name="connsiteX31" fmla="*/ 203776 w 231136"/>
              <a:gd name="connsiteY31" fmla="*/ 50042 h 187914"/>
              <a:gd name="connsiteX32" fmla="*/ 228012 w 231136"/>
              <a:gd name="connsiteY32" fmla="*/ 49464 h 187914"/>
              <a:gd name="connsiteX33" fmla="*/ 228012 w 231136"/>
              <a:gd name="connsiteY33" fmla="*/ 11403 h 187914"/>
              <a:gd name="connsiteX34" fmla="*/ 226624 w 231136"/>
              <a:gd name="connsiteY34" fmla="*/ 7700 h 187914"/>
              <a:gd name="connsiteX35" fmla="*/ 209271 w 231136"/>
              <a:gd name="connsiteY35" fmla="*/ 1916 h 187914"/>
              <a:gd name="connsiteX36" fmla="*/ 108680 w 231136"/>
              <a:gd name="connsiteY36" fmla="*/ 1916 h 187914"/>
              <a:gd name="connsiteX37" fmla="*/ 94334 w 231136"/>
              <a:gd name="connsiteY37" fmla="*/ 26268 h 187914"/>
              <a:gd name="connsiteX38" fmla="*/ 79179 w 231136"/>
              <a:gd name="connsiteY38" fmla="*/ 44952 h 187914"/>
              <a:gd name="connsiteX39" fmla="*/ 58008 w 231136"/>
              <a:gd name="connsiteY39" fmla="*/ 76015 h 187914"/>
              <a:gd name="connsiteX40" fmla="*/ 37647 w 231136"/>
              <a:gd name="connsiteY40" fmla="*/ 115406 h 187914"/>
              <a:gd name="connsiteX41" fmla="*/ 9882 w 231136"/>
              <a:gd name="connsiteY41" fmla="*/ 161682 h 187914"/>
              <a:gd name="connsiteX42" fmla="*/ 2073 w 231136"/>
              <a:gd name="connsiteY42" fmla="*/ 185514 h 1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31136" h="187914">
                <a:moveTo>
                  <a:pt x="108506" y="187770"/>
                </a:moveTo>
                <a:lnTo>
                  <a:pt x="800" y="187770"/>
                </a:lnTo>
                <a:cubicBezTo>
                  <a:pt x="494" y="187781"/>
                  <a:pt x="199" y="187654"/>
                  <a:pt x="-10" y="187423"/>
                </a:cubicBezTo>
                <a:cubicBezTo>
                  <a:pt x="-143" y="187151"/>
                  <a:pt x="-143" y="186827"/>
                  <a:pt x="-10" y="186555"/>
                </a:cubicBezTo>
                <a:cubicBezTo>
                  <a:pt x="1124" y="177421"/>
                  <a:pt x="3889" y="168565"/>
                  <a:pt x="8147" y="160409"/>
                </a:cubicBezTo>
                <a:cubicBezTo>
                  <a:pt x="16279" y="144311"/>
                  <a:pt x="25598" y="128844"/>
                  <a:pt x="36027" y="114134"/>
                </a:cubicBezTo>
                <a:cubicBezTo>
                  <a:pt x="46902" y="98111"/>
                  <a:pt x="55405" y="85212"/>
                  <a:pt x="56099" y="75841"/>
                </a:cubicBezTo>
                <a:cubicBezTo>
                  <a:pt x="56793" y="64619"/>
                  <a:pt x="68015" y="53340"/>
                  <a:pt x="77849" y="43332"/>
                </a:cubicBezTo>
                <a:cubicBezTo>
                  <a:pt x="83714" y="38254"/>
                  <a:pt x="88660" y="32209"/>
                  <a:pt x="92483" y="25459"/>
                </a:cubicBezTo>
                <a:cubicBezTo>
                  <a:pt x="95526" y="15897"/>
                  <a:pt x="100732" y="7168"/>
                  <a:pt x="107696" y="-51"/>
                </a:cubicBezTo>
                <a:cubicBezTo>
                  <a:pt x="107957" y="-155"/>
                  <a:pt x="108246" y="-155"/>
                  <a:pt x="108506" y="-51"/>
                </a:cubicBezTo>
                <a:lnTo>
                  <a:pt x="210081" y="-51"/>
                </a:lnTo>
                <a:cubicBezTo>
                  <a:pt x="226393" y="-51"/>
                  <a:pt x="228012" y="2841"/>
                  <a:pt x="229343" y="7527"/>
                </a:cubicBezTo>
                <a:cubicBezTo>
                  <a:pt x="229621" y="8724"/>
                  <a:pt x="230066" y="9875"/>
                  <a:pt x="230673" y="10940"/>
                </a:cubicBezTo>
                <a:cubicBezTo>
                  <a:pt x="230708" y="11131"/>
                  <a:pt x="230708" y="11327"/>
                  <a:pt x="230673" y="11518"/>
                </a:cubicBezTo>
                <a:cubicBezTo>
                  <a:pt x="231541" y="47786"/>
                  <a:pt x="230673" y="50968"/>
                  <a:pt x="229574" y="52009"/>
                </a:cubicBezTo>
                <a:cubicBezTo>
                  <a:pt x="228475" y="53050"/>
                  <a:pt x="228070" y="52993"/>
                  <a:pt x="203949" y="52993"/>
                </a:cubicBezTo>
                <a:cubicBezTo>
                  <a:pt x="179828" y="52993"/>
                  <a:pt x="145064" y="52356"/>
                  <a:pt x="138354" y="52241"/>
                </a:cubicBezTo>
                <a:lnTo>
                  <a:pt x="138354" y="123331"/>
                </a:lnTo>
                <a:cubicBezTo>
                  <a:pt x="138354" y="127149"/>
                  <a:pt x="131413" y="130620"/>
                  <a:pt x="123430" y="134900"/>
                </a:cubicBezTo>
                <a:cubicBezTo>
                  <a:pt x="117646" y="137792"/>
                  <a:pt x="109837" y="141726"/>
                  <a:pt x="109837" y="144155"/>
                </a:cubicBezTo>
                <a:lnTo>
                  <a:pt x="109837" y="186844"/>
                </a:lnTo>
                <a:cubicBezTo>
                  <a:pt x="109721" y="187463"/>
                  <a:pt x="109125" y="187874"/>
                  <a:pt x="108506" y="187770"/>
                </a:cubicBezTo>
                <a:close/>
                <a:moveTo>
                  <a:pt x="2073" y="185514"/>
                </a:moveTo>
                <a:lnTo>
                  <a:pt x="107407" y="185514"/>
                </a:lnTo>
                <a:lnTo>
                  <a:pt x="107407" y="143924"/>
                </a:lnTo>
                <a:cubicBezTo>
                  <a:pt x="107407" y="140106"/>
                  <a:pt x="114291" y="136635"/>
                  <a:pt x="122273" y="132644"/>
                </a:cubicBezTo>
                <a:cubicBezTo>
                  <a:pt x="128058" y="129752"/>
                  <a:pt x="135924" y="125818"/>
                  <a:pt x="135924" y="123389"/>
                </a:cubicBezTo>
                <a:lnTo>
                  <a:pt x="135924" y="50390"/>
                </a:lnTo>
                <a:cubicBezTo>
                  <a:pt x="135953" y="49782"/>
                  <a:pt x="136422" y="49290"/>
                  <a:pt x="137023" y="49233"/>
                </a:cubicBezTo>
                <a:lnTo>
                  <a:pt x="137023" y="49233"/>
                </a:lnTo>
                <a:cubicBezTo>
                  <a:pt x="137428" y="49233"/>
                  <a:pt x="176936" y="50042"/>
                  <a:pt x="203776" y="50042"/>
                </a:cubicBezTo>
                <a:cubicBezTo>
                  <a:pt x="211857" y="50308"/>
                  <a:pt x="219949" y="50112"/>
                  <a:pt x="228012" y="49464"/>
                </a:cubicBezTo>
                <a:cubicBezTo>
                  <a:pt x="228707" y="36785"/>
                  <a:pt x="228707" y="24082"/>
                  <a:pt x="228012" y="11403"/>
                </a:cubicBezTo>
                <a:cubicBezTo>
                  <a:pt x="227434" y="10217"/>
                  <a:pt x="226971" y="8973"/>
                  <a:pt x="226624" y="7700"/>
                </a:cubicBezTo>
                <a:cubicBezTo>
                  <a:pt x="225641" y="4114"/>
                  <a:pt x="225005" y="1916"/>
                  <a:pt x="209271" y="1916"/>
                </a:cubicBezTo>
                <a:lnTo>
                  <a:pt x="108680" y="1916"/>
                </a:lnTo>
                <a:cubicBezTo>
                  <a:pt x="102103" y="8828"/>
                  <a:pt x="97192" y="17164"/>
                  <a:pt x="94334" y="26268"/>
                </a:cubicBezTo>
                <a:cubicBezTo>
                  <a:pt x="90395" y="33320"/>
                  <a:pt x="85264" y="39642"/>
                  <a:pt x="79179" y="44952"/>
                </a:cubicBezTo>
                <a:cubicBezTo>
                  <a:pt x="69577" y="54612"/>
                  <a:pt x="58702" y="65603"/>
                  <a:pt x="58008" y="76015"/>
                </a:cubicBezTo>
                <a:cubicBezTo>
                  <a:pt x="57314" y="86426"/>
                  <a:pt x="48638" y="99152"/>
                  <a:pt x="37647" y="115406"/>
                </a:cubicBezTo>
                <a:cubicBezTo>
                  <a:pt x="27235" y="130110"/>
                  <a:pt x="17957" y="145578"/>
                  <a:pt x="9882" y="161682"/>
                </a:cubicBezTo>
                <a:cubicBezTo>
                  <a:pt x="6018" y="169155"/>
                  <a:pt x="3380" y="177201"/>
                  <a:pt x="2073" y="18551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4" name="Forma libre: forma 303">
            <a:extLst>
              <a:ext uri="{FF2B5EF4-FFF2-40B4-BE49-F238E27FC236}">
                <a16:creationId xmlns:a16="http://schemas.microsoft.com/office/drawing/2014/main" id="{5194A581-14C3-C1B4-5088-750BE3116BD2}"/>
              </a:ext>
            </a:extLst>
          </p:cNvPr>
          <p:cNvSpPr/>
          <p:nvPr/>
        </p:nvSpPr>
        <p:spPr>
          <a:xfrm>
            <a:off x="5720391" y="3709376"/>
            <a:ext cx="332732" cy="366294"/>
          </a:xfrm>
          <a:custGeom>
            <a:avLst/>
            <a:gdLst>
              <a:gd name="connsiteX0" fmla="*/ 128083 w 332732"/>
              <a:gd name="connsiteY0" fmla="*/ 365587 h 366294"/>
              <a:gd name="connsiteX1" fmla="*/ 127100 w 332732"/>
              <a:gd name="connsiteY1" fmla="*/ 364951 h 366294"/>
              <a:gd name="connsiteX2" fmla="*/ 114837 w 332732"/>
              <a:gd name="connsiteY2" fmla="*/ 352688 h 366294"/>
              <a:gd name="connsiteX3" fmla="*/ 95170 w 332732"/>
              <a:gd name="connsiteY3" fmla="*/ 327757 h 366294"/>
              <a:gd name="connsiteX4" fmla="*/ 86320 w 332732"/>
              <a:gd name="connsiteY4" fmla="*/ 327757 h 366294"/>
              <a:gd name="connsiteX5" fmla="*/ 85452 w 332732"/>
              <a:gd name="connsiteY5" fmla="*/ 327294 h 366294"/>
              <a:gd name="connsiteX6" fmla="*/ 70528 w 332732"/>
              <a:gd name="connsiteY6" fmla="*/ 314163 h 366294"/>
              <a:gd name="connsiteX7" fmla="*/ 64744 w 332732"/>
              <a:gd name="connsiteY7" fmla="*/ 313007 h 366294"/>
              <a:gd name="connsiteX8" fmla="*/ 50630 w 332732"/>
              <a:gd name="connsiteY8" fmla="*/ 316130 h 366294"/>
              <a:gd name="connsiteX9" fmla="*/ 50630 w 332732"/>
              <a:gd name="connsiteY9" fmla="*/ 316130 h 366294"/>
              <a:gd name="connsiteX10" fmla="*/ 36227 w 332732"/>
              <a:gd name="connsiteY10" fmla="*/ 316998 h 366294"/>
              <a:gd name="connsiteX11" fmla="*/ 25294 w 332732"/>
              <a:gd name="connsiteY11" fmla="*/ 316072 h 366294"/>
              <a:gd name="connsiteX12" fmla="*/ 17543 w 332732"/>
              <a:gd name="connsiteY12" fmla="*/ 321857 h 366294"/>
              <a:gd name="connsiteX13" fmla="*/ 10428 w 332732"/>
              <a:gd name="connsiteY13" fmla="*/ 329492 h 366294"/>
              <a:gd name="connsiteX14" fmla="*/ 8982 w 332732"/>
              <a:gd name="connsiteY14" fmla="*/ 329839 h 366294"/>
              <a:gd name="connsiteX15" fmla="*/ 7999 w 332732"/>
              <a:gd name="connsiteY15" fmla="*/ 329550 h 366294"/>
              <a:gd name="connsiteX16" fmla="*/ 7594 w 332732"/>
              <a:gd name="connsiteY16" fmla="*/ 328624 h 366294"/>
              <a:gd name="connsiteX17" fmla="*/ 8056 w 332732"/>
              <a:gd name="connsiteY17" fmla="*/ 324055 h 366294"/>
              <a:gd name="connsiteX18" fmla="*/ 12395 w 332732"/>
              <a:gd name="connsiteY18" fmla="*/ 304388 h 366294"/>
              <a:gd name="connsiteX19" fmla="*/ 21361 w 332732"/>
              <a:gd name="connsiteY19" fmla="*/ 251923 h 366294"/>
              <a:gd name="connsiteX20" fmla="*/ 16965 w 332732"/>
              <a:gd name="connsiteY20" fmla="*/ 223811 h 366294"/>
              <a:gd name="connsiteX21" fmla="*/ 15345 w 332732"/>
              <a:gd name="connsiteY21" fmla="*/ 208019 h 366294"/>
              <a:gd name="connsiteX22" fmla="*/ 11643 w 332732"/>
              <a:gd name="connsiteY22" fmla="*/ 204201 h 366294"/>
              <a:gd name="connsiteX23" fmla="*/ 74 w 332732"/>
              <a:gd name="connsiteY23" fmla="*/ 176321 h 366294"/>
              <a:gd name="connsiteX24" fmla="*/ 1173 w 332732"/>
              <a:gd name="connsiteY24" fmla="*/ 175279 h 366294"/>
              <a:gd name="connsiteX25" fmla="*/ 107780 w 332732"/>
              <a:gd name="connsiteY25" fmla="*/ 175279 h 366294"/>
              <a:gd name="connsiteX26" fmla="*/ 107780 w 332732"/>
              <a:gd name="connsiteY26" fmla="*/ 133689 h 366294"/>
              <a:gd name="connsiteX27" fmla="*/ 122646 w 332732"/>
              <a:gd name="connsiteY27" fmla="*/ 122410 h 366294"/>
              <a:gd name="connsiteX28" fmla="*/ 136297 w 332732"/>
              <a:gd name="connsiteY28" fmla="*/ 113154 h 366294"/>
              <a:gd name="connsiteX29" fmla="*/ 136297 w 332732"/>
              <a:gd name="connsiteY29" fmla="*/ 40329 h 366294"/>
              <a:gd name="connsiteX30" fmla="*/ 137396 w 332732"/>
              <a:gd name="connsiteY30" fmla="*/ 39172 h 366294"/>
              <a:gd name="connsiteX31" fmla="*/ 137396 w 332732"/>
              <a:gd name="connsiteY31" fmla="*/ 39172 h 366294"/>
              <a:gd name="connsiteX32" fmla="*/ 204149 w 332732"/>
              <a:gd name="connsiteY32" fmla="*/ 39982 h 366294"/>
              <a:gd name="connsiteX33" fmla="*/ 228385 w 332732"/>
              <a:gd name="connsiteY33" fmla="*/ 39403 h 366294"/>
              <a:gd name="connsiteX34" fmla="*/ 228385 w 332732"/>
              <a:gd name="connsiteY34" fmla="*/ 1052 h 366294"/>
              <a:gd name="connsiteX35" fmla="*/ 229195 w 332732"/>
              <a:gd name="connsiteY35" fmla="*/ -104 h 366294"/>
              <a:gd name="connsiteX36" fmla="*/ 230526 w 332732"/>
              <a:gd name="connsiteY36" fmla="*/ 416 h 366294"/>
              <a:gd name="connsiteX37" fmla="*/ 235443 w 332732"/>
              <a:gd name="connsiteY37" fmla="*/ 4928 h 366294"/>
              <a:gd name="connsiteX38" fmla="*/ 331927 w 332732"/>
              <a:gd name="connsiteY38" fmla="*/ 67920 h 366294"/>
              <a:gd name="connsiteX39" fmla="*/ 332621 w 332732"/>
              <a:gd name="connsiteY39" fmla="*/ 68962 h 366294"/>
              <a:gd name="connsiteX40" fmla="*/ 331580 w 332732"/>
              <a:gd name="connsiteY40" fmla="*/ 70118 h 366294"/>
              <a:gd name="connsiteX41" fmla="*/ 331522 w 332732"/>
              <a:gd name="connsiteY41" fmla="*/ 70118 h 366294"/>
              <a:gd name="connsiteX42" fmla="*/ 285883 w 332732"/>
              <a:gd name="connsiteY42" fmla="*/ 70118 h 366294"/>
              <a:gd name="connsiteX43" fmla="*/ 311623 w 332732"/>
              <a:gd name="connsiteY43" fmla="*/ 309941 h 366294"/>
              <a:gd name="connsiteX44" fmla="*/ 319895 w 332732"/>
              <a:gd name="connsiteY44" fmla="*/ 318213 h 366294"/>
              <a:gd name="connsiteX45" fmla="*/ 320242 w 332732"/>
              <a:gd name="connsiteY45" fmla="*/ 318965 h 366294"/>
              <a:gd name="connsiteX46" fmla="*/ 315962 w 332732"/>
              <a:gd name="connsiteY46" fmla="*/ 343317 h 366294"/>
              <a:gd name="connsiteX47" fmla="*/ 259969 w 332732"/>
              <a:gd name="connsiteY47" fmla="*/ 344994 h 366294"/>
              <a:gd name="connsiteX48" fmla="*/ 209065 w 332732"/>
              <a:gd name="connsiteY48" fmla="*/ 344994 h 366294"/>
              <a:gd name="connsiteX49" fmla="*/ 191712 w 332732"/>
              <a:gd name="connsiteY49" fmla="*/ 349854 h 366294"/>
              <a:gd name="connsiteX50" fmla="*/ 182631 w 332732"/>
              <a:gd name="connsiteY50" fmla="*/ 348407 h 366294"/>
              <a:gd name="connsiteX51" fmla="*/ 176846 w 332732"/>
              <a:gd name="connsiteY51" fmla="*/ 347308 h 366294"/>
              <a:gd name="connsiteX52" fmla="*/ 174532 w 332732"/>
              <a:gd name="connsiteY52" fmla="*/ 348176 h 366294"/>
              <a:gd name="connsiteX53" fmla="*/ 173375 w 332732"/>
              <a:gd name="connsiteY53" fmla="*/ 350548 h 366294"/>
              <a:gd name="connsiteX54" fmla="*/ 167591 w 332732"/>
              <a:gd name="connsiteY54" fmla="*/ 356332 h 366294"/>
              <a:gd name="connsiteX55" fmla="*/ 158047 w 332732"/>
              <a:gd name="connsiteY55" fmla="*/ 351010 h 366294"/>
              <a:gd name="connsiteX56" fmla="*/ 149428 w 332732"/>
              <a:gd name="connsiteY56" fmla="*/ 346325 h 366294"/>
              <a:gd name="connsiteX57" fmla="*/ 143990 w 332732"/>
              <a:gd name="connsiteY57" fmla="*/ 356274 h 366294"/>
              <a:gd name="connsiteX58" fmla="*/ 128315 w 332732"/>
              <a:gd name="connsiteY58" fmla="*/ 366165 h 366294"/>
              <a:gd name="connsiteX59" fmla="*/ 86898 w 332732"/>
              <a:gd name="connsiteY59" fmla="*/ 325501 h 366294"/>
              <a:gd name="connsiteX60" fmla="*/ 95980 w 332732"/>
              <a:gd name="connsiteY60" fmla="*/ 325501 h 366294"/>
              <a:gd name="connsiteX61" fmla="*/ 97021 w 332732"/>
              <a:gd name="connsiteY61" fmla="*/ 326195 h 366294"/>
              <a:gd name="connsiteX62" fmla="*/ 115531 w 332732"/>
              <a:gd name="connsiteY62" fmla="*/ 350548 h 366294"/>
              <a:gd name="connsiteX63" fmla="*/ 128778 w 332732"/>
              <a:gd name="connsiteY63" fmla="*/ 363331 h 366294"/>
              <a:gd name="connsiteX64" fmla="*/ 141561 w 332732"/>
              <a:gd name="connsiteY64" fmla="*/ 355696 h 366294"/>
              <a:gd name="connsiteX65" fmla="*/ 149254 w 332732"/>
              <a:gd name="connsiteY65" fmla="*/ 343490 h 366294"/>
              <a:gd name="connsiteX66" fmla="*/ 159377 w 332732"/>
              <a:gd name="connsiteY66" fmla="*/ 348754 h 366294"/>
              <a:gd name="connsiteX67" fmla="*/ 167418 w 332732"/>
              <a:gd name="connsiteY67" fmla="*/ 353498 h 366294"/>
              <a:gd name="connsiteX68" fmla="*/ 171004 w 332732"/>
              <a:gd name="connsiteY68" fmla="*/ 349333 h 366294"/>
              <a:gd name="connsiteX69" fmla="*/ 172392 w 332732"/>
              <a:gd name="connsiteY69" fmla="*/ 346498 h 366294"/>
              <a:gd name="connsiteX70" fmla="*/ 176557 w 332732"/>
              <a:gd name="connsiteY70" fmla="*/ 344647 h 366294"/>
              <a:gd name="connsiteX71" fmla="*/ 183151 w 332732"/>
              <a:gd name="connsiteY71" fmla="*/ 345804 h 366294"/>
              <a:gd name="connsiteX72" fmla="*/ 191712 w 332732"/>
              <a:gd name="connsiteY72" fmla="*/ 347193 h 366294"/>
              <a:gd name="connsiteX73" fmla="*/ 208314 w 332732"/>
              <a:gd name="connsiteY73" fmla="*/ 342449 h 366294"/>
              <a:gd name="connsiteX74" fmla="*/ 208834 w 332732"/>
              <a:gd name="connsiteY74" fmla="*/ 342449 h 366294"/>
              <a:gd name="connsiteX75" fmla="*/ 259969 w 332732"/>
              <a:gd name="connsiteY75" fmla="*/ 342449 h 366294"/>
              <a:gd name="connsiteX76" fmla="*/ 314921 w 332732"/>
              <a:gd name="connsiteY76" fmla="*/ 341003 h 366294"/>
              <a:gd name="connsiteX77" fmla="*/ 317986 w 332732"/>
              <a:gd name="connsiteY77" fmla="*/ 319254 h 366294"/>
              <a:gd name="connsiteX78" fmla="*/ 309714 w 332732"/>
              <a:gd name="connsiteY78" fmla="*/ 310982 h 366294"/>
              <a:gd name="connsiteX79" fmla="*/ 309714 w 332732"/>
              <a:gd name="connsiteY79" fmla="*/ 310288 h 366294"/>
              <a:gd name="connsiteX80" fmla="*/ 283974 w 332732"/>
              <a:gd name="connsiteY80" fmla="*/ 68962 h 366294"/>
              <a:gd name="connsiteX81" fmla="*/ 283974 w 332732"/>
              <a:gd name="connsiteY81" fmla="*/ 68094 h 366294"/>
              <a:gd name="connsiteX82" fmla="*/ 284841 w 332732"/>
              <a:gd name="connsiteY82" fmla="*/ 67689 h 366294"/>
              <a:gd name="connsiteX83" fmla="*/ 327068 w 332732"/>
              <a:gd name="connsiteY83" fmla="*/ 67689 h 366294"/>
              <a:gd name="connsiteX84" fmla="*/ 233707 w 332732"/>
              <a:gd name="connsiteY84" fmla="*/ 6721 h 366294"/>
              <a:gd name="connsiteX85" fmla="*/ 230121 w 332732"/>
              <a:gd name="connsiteY85" fmla="*/ 4118 h 366294"/>
              <a:gd name="connsiteX86" fmla="*/ 228906 w 332732"/>
              <a:gd name="connsiteY86" fmla="*/ 41081 h 366294"/>
              <a:gd name="connsiteX87" fmla="*/ 203281 w 332732"/>
              <a:gd name="connsiteY87" fmla="*/ 42064 h 366294"/>
              <a:gd name="connsiteX88" fmla="*/ 137686 w 332732"/>
              <a:gd name="connsiteY88" fmla="*/ 41312 h 366294"/>
              <a:gd name="connsiteX89" fmla="*/ 137686 w 332732"/>
              <a:gd name="connsiteY89" fmla="*/ 113270 h 366294"/>
              <a:gd name="connsiteX90" fmla="*/ 122762 w 332732"/>
              <a:gd name="connsiteY90" fmla="*/ 124839 h 366294"/>
              <a:gd name="connsiteX91" fmla="*/ 109168 w 332732"/>
              <a:gd name="connsiteY91" fmla="*/ 134094 h 366294"/>
              <a:gd name="connsiteX92" fmla="*/ 109168 w 332732"/>
              <a:gd name="connsiteY92" fmla="*/ 176783 h 366294"/>
              <a:gd name="connsiteX93" fmla="*/ 108011 w 332732"/>
              <a:gd name="connsiteY93" fmla="*/ 177940 h 366294"/>
              <a:gd name="connsiteX94" fmla="*/ 1347 w 332732"/>
              <a:gd name="connsiteY94" fmla="*/ 177940 h 366294"/>
              <a:gd name="connsiteX95" fmla="*/ 12915 w 332732"/>
              <a:gd name="connsiteY95" fmla="*/ 202987 h 366294"/>
              <a:gd name="connsiteX96" fmla="*/ 16675 w 332732"/>
              <a:gd name="connsiteY96" fmla="*/ 206920 h 366294"/>
              <a:gd name="connsiteX97" fmla="*/ 18816 w 332732"/>
              <a:gd name="connsiteY97" fmla="*/ 224563 h 366294"/>
              <a:gd name="connsiteX98" fmla="*/ 22807 w 332732"/>
              <a:gd name="connsiteY98" fmla="*/ 251055 h 366294"/>
              <a:gd name="connsiteX99" fmla="*/ 13957 w 332732"/>
              <a:gd name="connsiteY99" fmla="*/ 305950 h 366294"/>
              <a:gd name="connsiteX100" fmla="*/ 9965 w 332732"/>
              <a:gd name="connsiteY100" fmla="*/ 324633 h 366294"/>
              <a:gd name="connsiteX101" fmla="*/ 9965 w 332732"/>
              <a:gd name="connsiteY101" fmla="*/ 327641 h 366294"/>
              <a:gd name="connsiteX102" fmla="*/ 15461 w 332732"/>
              <a:gd name="connsiteY102" fmla="*/ 321278 h 366294"/>
              <a:gd name="connsiteX103" fmla="*/ 23674 w 332732"/>
              <a:gd name="connsiteY103" fmla="*/ 313990 h 366294"/>
              <a:gd name="connsiteX104" fmla="*/ 25641 w 332732"/>
              <a:gd name="connsiteY104" fmla="*/ 313990 h 366294"/>
              <a:gd name="connsiteX105" fmla="*/ 36169 w 332732"/>
              <a:gd name="connsiteY105" fmla="*/ 314857 h 366294"/>
              <a:gd name="connsiteX106" fmla="*/ 50109 w 332732"/>
              <a:gd name="connsiteY106" fmla="*/ 313990 h 366294"/>
              <a:gd name="connsiteX107" fmla="*/ 64975 w 332732"/>
              <a:gd name="connsiteY107" fmla="*/ 310751 h 366294"/>
              <a:gd name="connsiteX108" fmla="*/ 72032 w 332732"/>
              <a:gd name="connsiteY108" fmla="*/ 312139 h 366294"/>
              <a:gd name="connsiteX109" fmla="*/ 86898 w 332732"/>
              <a:gd name="connsiteY109" fmla="*/ 325501 h 36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32732" h="366294">
                <a:moveTo>
                  <a:pt x="128083" y="365587"/>
                </a:moveTo>
                <a:cubicBezTo>
                  <a:pt x="127655" y="365599"/>
                  <a:pt x="127268" y="365344"/>
                  <a:pt x="127100" y="364951"/>
                </a:cubicBezTo>
                <a:cubicBezTo>
                  <a:pt x="124798" y="359398"/>
                  <a:pt x="120390" y="354990"/>
                  <a:pt x="114837" y="352688"/>
                </a:cubicBezTo>
                <a:cubicBezTo>
                  <a:pt x="104020" y="349102"/>
                  <a:pt x="96674" y="331632"/>
                  <a:pt x="95170" y="327757"/>
                </a:cubicBezTo>
                <a:lnTo>
                  <a:pt x="86320" y="327757"/>
                </a:lnTo>
                <a:cubicBezTo>
                  <a:pt x="85973" y="327745"/>
                  <a:pt x="85655" y="327578"/>
                  <a:pt x="85452" y="327294"/>
                </a:cubicBezTo>
                <a:cubicBezTo>
                  <a:pt x="81253" y="322111"/>
                  <a:pt x="76203" y="317669"/>
                  <a:pt x="70528" y="314163"/>
                </a:cubicBezTo>
                <a:cubicBezTo>
                  <a:pt x="68700" y="313382"/>
                  <a:pt x="66734" y="312989"/>
                  <a:pt x="64744" y="313007"/>
                </a:cubicBezTo>
                <a:cubicBezTo>
                  <a:pt x="59891" y="313221"/>
                  <a:pt x="55119" y="314274"/>
                  <a:pt x="50630" y="316130"/>
                </a:cubicBezTo>
                <a:lnTo>
                  <a:pt x="50630" y="316130"/>
                </a:lnTo>
                <a:cubicBezTo>
                  <a:pt x="45846" y="316674"/>
                  <a:pt x="41039" y="316963"/>
                  <a:pt x="36227" y="316998"/>
                </a:cubicBezTo>
                <a:cubicBezTo>
                  <a:pt x="32559" y="317073"/>
                  <a:pt x="28898" y="316761"/>
                  <a:pt x="25294" y="316072"/>
                </a:cubicBezTo>
                <a:cubicBezTo>
                  <a:pt x="20898" y="315262"/>
                  <a:pt x="19510" y="318213"/>
                  <a:pt x="17543" y="321857"/>
                </a:cubicBezTo>
                <a:cubicBezTo>
                  <a:pt x="15576" y="325501"/>
                  <a:pt x="14304" y="328509"/>
                  <a:pt x="10428" y="329492"/>
                </a:cubicBezTo>
                <a:lnTo>
                  <a:pt x="8982" y="329839"/>
                </a:lnTo>
                <a:cubicBezTo>
                  <a:pt x="8623" y="329949"/>
                  <a:pt x="8236" y="329834"/>
                  <a:pt x="7999" y="329550"/>
                </a:cubicBezTo>
                <a:cubicBezTo>
                  <a:pt x="7727" y="329319"/>
                  <a:pt x="7582" y="328977"/>
                  <a:pt x="7594" y="328624"/>
                </a:cubicBezTo>
                <a:cubicBezTo>
                  <a:pt x="7594" y="327063"/>
                  <a:pt x="7941" y="325559"/>
                  <a:pt x="8056" y="324055"/>
                </a:cubicBezTo>
                <a:cubicBezTo>
                  <a:pt x="8126" y="317270"/>
                  <a:pt x="9601" y="310571"/>
                  <a:pt x="12395" y="304388"/>
                </a:cubicBezTo>
                <a:cubicBezTo>
                  <a:pt x="20551" y="291431"/>
                  <a:pt x="32525" y="267425"/>
                  <a:pt x="21361" y="251923"/>
                </a:cubicBezTo>
                <a:cubicBezTo>
                  <a:pt x="15946" y="243611"/>
                  <a:pt x="14344" y="233378"/>
                  <a:pt x="16965" y="223811"/>
                </a:cubicBezTo>
                <a:cubicBezTo>
                  <a:pt x="17948" y="217448"/>
                  <a:pt x="18816" y="212242"/>
                  <a:pt x="15345" y="208019"/>
                </a:cubicBezTo>
                <a:cubicBezTo>
                  <a:pt x="14246" y="206746"/>
                  <a:pt x="12973" y="205532"/>
                  <a:pt x="11643" y="204201"/>
                </a:cubicBezTo>
                <a:cubicBezTo>
                  <a:pt x="3278" y="197492"/>
                  <a:pt x="-1083" y="186981"/>
                  <a:pt x="74" y="176321"/>
                </a:cubicBezTo>
                <a:cubicBezTo>
                  <a:pt x="103" y="175736"/>
                  <a:pt x="589" y="175279"/>
                  <a:pt x="1173" y="175279"/>
                </a:cubicBezTo>
                <a:lnTo>
                  <a:pt x="107780" y="175279"/>
                </a:lnTo>
                <a:lnTo>
                  <a:pt x="107780" y="133689"/>
                </a:lnTo>
                <a:cubicBezTo>
                  <a:pt x="107780" y="129872"/>
                  <a:pt x="114664" y="126401"/>
                  <a:pt x="122646" y="122410"/>
                </a:cubicBezTo>
                <a:cubicBezTo>
                  <a:pt x="128431" y="119518"/>
                  <a:pt x="136297" y="115584"/>
                  <a:pt x="136297" y="113154"/>
                </a:cubicBezTo>
                <a:lnTo>
                  <a:pt x="136297" y="40329"/>
                </a:lnTo>
                <a:cubicBezTo>
                  <a:pt x="136326" y="39721"/>
                  <a:pt x="136795" y="39230"/>
                  <a:pt x="137396" y="39172"/>
                </a:cubicBezTo>
                <a:lnTo>
                  <a:pt x="137396" y="39172"/>
                </a:lnTo>
                <a:cubicBezTo>
                  <a:pt x="137801" y="39172"/>
                  <a:pt x="177309" y="39982"/>
                  <a:pt x="204149" y="39982"/>
                </a:cubicBezTo>
                <a:cubicBezTo>
                  <a:pt x="212230" y="40247"/>
                  <a:pt x="220322" y="40051"/>
                  <a:pt x="228385" y="39403"/>
                </a:cubicBezTo>
                <a:cubicBezTo>
                  <a:pt x="229080" y="26631"/>
                  <a:pt x="229080" y="13824"/>
                  <a:pt x="228385" y="1052"/>
                </a:cubicBezTo>
                <a:cubicBezTo>
                  <a:pt x="228397" y="537"/>
                  <a:pt x="228715" y="81"/>
                  <a:pt x="229195" y="-104"/>
                </a:cubicBezTo>
                <a:cubicBezTo>
                  <a:pt x="229704" y="-203"/>
                  <a:pt x="230219" y="0"/>
                  <a:pt x="230526" y="416"/>
                </a:cubicBezTo>
                <a:cubicBezTo>
                  <a:pt x="231729" y="2337"/>
                  <a:pt x="233424" y="3892"/>
                  <a:pt x="235443" y="4928"/>
                </a:cubicBezTo>
                <a:cubicBezTo>
                  <a:pt x="241227" y="8341"/>
                  <a:pt x="289122" y="39635"/>
                  <a:pt x="331927" y="67920"/>
                </a:cubicBezTo>
                <a:cubicBezTo>
                  <a:pt x="332343" y="68100"/>
                  <a:pt x="332615" y="68510"/>
                  <a:pt x="332621" y="68962"/>
                </a:cubicBezTo>
                <a:cubicBezTo>
                  <a:pt x="332656" y="69569"/>
                  <a:pt x="332187" y="70084"/>
                  <a:pt x="331580" y="70118"/>
                </a:cubicBezTo>
                <a:cubicBezTo>
                  <a:pt x="331562" y="70118"/>
                  <a:pt x="331539" y="70118"/>
                  <a:pt x="331522" y="70118"/>
                </a:cubicBezTo>
                <a:lnTo>
                  <a:pt x="285883" y="70118"/>
                </a:lnTo>
                <a:lnTo>
                  <a:pt x="311623" y="309941"/>
                </a:lnTo>
                <a:lnTo>
                  <a:pt x="319895" y="318213"/>
                </a:lnTo>
                <a:cubicBezTo>
                  <a:pt x="320109" y="318404"/>
                  <a:pt x="320237" y="318675"/>
                  <a:pt x="320242" y="318965"/>
                </a:cubicBezTo>
                <a:cubicBezTo>
                  <a:pt x="320242" y="322551"/>
                  <a:pt x="321225" y="340656"/>
                  <a:pt x="315962" y="343317"/>
                </a:cubicBezTo>
                <a:cubicBezTo>
                  <a:pt x="315036" y="343780"/>
                  <a:pt x="312607" y="344994"/>
                  <a:pt x="259969" y="344994"/>
                </a:cubicBezTo>
                <a:cubicBezTo>
                  <a:pt x="235732" y="344994"/>
                  <a:pt x="211900" y="344994"/>
                  <a:pt x="209065" y="344994"/>
                </a:cubicBezTo>
                <a:cubicBezTo>
                  <a:pt x="203634" y="347684"/>
                  <a:pt x="197751" y="349333"/>
                  <a:pt x="191712" y="349854"/>
                </a:cubicBezTo>
                <a:cubicBezTo>
                  <a:pt x="188641" y="349732"/>
                  <a:pt x="185592" y="349246"/>
                  <a:pt x="182631" y="348407"/>
                </a:cubicBezTo>
                <a:cubicBezTo>
                  <a:pt x="180745" y="347835"/>
                  <a:pt x="178807" y="347470"/>
                  <a:pt x="176846" y="347308"/>
                </a:cubicBezTo>
                <a:cubicBezTo>
                  <a:pt x="175284" y="347308"/>
                  <a:pt x="174764" y="347771"/>
                  <a:pt x="174532" y="348176"/>
                </a:cubicBezTo>
                <a:cubicBezTo>
                  <a:pt x="174081" y="348934"/>
                  <a:pt x="173694" y="349726"/>
                  <a:pt x="173375" y="350548"/>
                </a:cubicBezTo>
                <a:cubicBezTo>
                  <a:pt x="172392" y="353093"/>
                  <a:pt x="171119" y="356332"/>
                  <a:pt x="167591" y="356332"/>
                </a:cubicBezTo>
                <a:cubicBezTo>
                  <a:pt x="163895" y="355707"/>
                  <a:pt x="160523" y="353827"/>
                  <a:pt x="158047" y="351010"/>
                </a:cubicBezTo>
                <a:cubicBezTo>
                  <a:pt x="155785" y="348517"/>
                  <a:pt x="152748" y="346868"/>
                  <a:pt x="149428" y="346325"/>
                </a:cubicBezTo>
                <a:cubicBezTo>
                  <a:pt x="145147" y="346325"/>
                  <a:pt x="143990" y="352572"/>
                  <a:pt x="143990" y="356274"/>
                </a:cubicBezTo>
                <a:cubicBezTo>
                  <a:pt x="143990" y="362059"/>
                  <a:pt x="138206" y="365992"/>
                  <a:pt x="128315" y="366165"/>
                </a:cubicBezTo>
                <a:close/>
                <a:moveTo>
                  <a:pt x="86898" y="325501"/>
                </a:moveTo>
                <a:lnTo>
                  <a:pt x="95980" y="325501"/>
                </a:lnTo>
                <a:cubicBezTo>
                  <a:pt x="96431" y="325507"/>
                  <a:pt x="96842" y="325778"/>
                  <a:pt x="97021" y="326195"/>
                </a:cubicBezTo>
                <a:cubicBezTo>
                  <a:pt x="97021" y="326195"/>
                  <a:pt x="104656" y="346903"/>
                  <a:pt x="115531" y="350548"/>
                </a:cubicBezTo>
                <a:cubicBezTo>
                  <a:pt x="121449" y="352913"/>
                  <a:pt x="126204" y="357500"/>
                  <a:pt x="128778" y="363331"/>
                </a:cubicBezTo>
                <a:cubicBezTo>
                  <a:pt x="133116" y="363331"/>
                  <a:pt x="141561" y="362001"/>
                  <a:pt x="141561" y="355696"/>
                </a:cubicBezTo>
                <a:cubicBezTo>
                  <a:pt x="141561" y="349391"/>
                  <a:pt x="143586" y="343490"/>
                  <a:pt x="149254" y="343490"/>
                </a:cubicBezTo>
                <a:cubicBezTo>
                  <a:pt x="153147" y="343982"/>
                  <a:pt x="156740" y="345845"/>
                  <a:pt x="159377" y="348754"/>
                </a:cubicBezTo>
                <a:cubicBezTo>
                  <a:pt x="161488" y="351149"/>
                  <a:pt x="164300" y="352809"/>
                  <a:pt x="167418" y="353498"/>
                </a:cubicBezTo>
                <a:cubicBezTo>
                  <a:pt x="169153" y="353498"/>
                  <a:pt x="169963" y="351878"/>
                  <a:pt x="171004" y="349333"/>
                </a:cubicBezTo>
                <a:cubicBezTo>
                  <a:pt x="171351" y="348332"/>
                  <a:pt x="171814" y="347384"/>
                  <a:pt x="172392" y="346498"/>
                </a:cubicBezTo>
                <a:cubicBezTo>
                  <a:pt x="173346" y="345174"/>
                  <a:pt x="174937" y="344468"/>
                  <a:pt x="176557" y="344647"/>
                </a:cubicBezTo>
                <a:cubicBezTo>
                  <a:pt x="178796" y="344769"/>
                  <a:pt x="181005" y="345157"/>
                  <a:pt x="183151" y="345804"/>
                </a:cubicBezTo>
                <a:cubicBezTo>
                  <a:pt x="185939" y="346597"/>
                  <a:pt x="188814" y="347065"/>
                  <a:pt x="191712" y="347193"/>
                </a:cubicBezTo>
                <a:cubicBezTo>
                  <a:pt x="197491" y="346643"/>
                  <a:pt x="203119" y="345035"/>
                  <a:pt x="208314" y="342449"/>
                </a:cubicBezTo>
                <a:cubicBezTo>
                  <a:pt x="208314" y="342449"/>
                  <a:pt x="208776" y="342449"/>
                  <a:pt x="208834" y="342449"/>
                </a:cubicBezTo>
                <a:cubicBezTo>
                  <a:pt x="208892" y="342449"/>
                  <a:pt x="234344" y="342449"/>
                  <a:pt x="259969" y="342449"/>
                </a:cubicBezTo>
                <a:cubicBezTo>
                  <a:pt x="306822" y="342449"/>
                  <a:pt x="313995" y="341466"/>
                  <a:pt x="314921" y="341003"/>
                </a:cubicBezTo>
                <a:cubicBezTo>
                  <a:pt x="317813" y="339557"/>
                  <a:pt x="318449" y="327583"/>
                  <a:pt x="317986" y="319254"/>
                </a:cubicBezTo>
                <a:lnTo>
                  <a:pt x="309714" y="310982"/>
                </a:lnTo>
                <a:cubicBezTo>
                  <a:pt x="309628" y="310756"/>
                  <a:pt x="309628" y="310513"/>
                  <a:pt x="309714" y="310288"/>
                </a:cubicBezTo>
                <a:lnTo>
                  <a:pt x="283974" y="68962"/>
                </a:lnTo>
                <a:cubicBezTo>
                  <a:pt x="283841" y="68690"/>
                  <a:pt x="283841" y="68366"/>
                  <a:pt x="283974" y="68094"/>
                </a:cubicBezTo>
                <a:cubicBezTo>
                  <a:pt x="284182" y="67828"/>
                  <a:pt x="284506" y="67677"/>
                  <a:pt x="284841" y="67689"/>
                </a:cubicBezTo>
                <a:lnTo>
                  <a:pt x="327068" y="67689"/>
                </a:lnTo>
                <a:cubicBezTo>
                  <a:pt x="275008" y="33271"/>
                  <a:pt x="238450" y="9440"/>
                  <a:pt x="233707" y="6721"/>
                </a:cubicBezTo>
                <a:cubicBezTo>
                  <a:pt x="232400" y="6021"/>
                  <a:pt x="231191" y="5142"/>
                  <a:pt x="230121" y="4118"/>
                </a:cubicBezTo>
                <a:cubicBezTo>
                  <a:pt x="230873" y="37321"/>
                  <a:pt x="230121" y="40271"/>
                  <a:pt x="228906" y="41081"/>
                </a:cubicBezTo>
                <a:cubicBezTo>
                  <a:pt x="227691" y="41890"/>
                  <a:pt x="227402" y="42064"/>
                  <a:pt x="203281" y="42064"/>
                </a:cubicBezTo>
                <a:cubicBezTo>
                  <a:pt x="179160" y="42064"/>
                  <a:pt x="144395" y="41428"/>
                  <a:pt x="137686" y="41312"/>
                </a:cubicBezTo>
                <a:lnTo>
                  <a:pt x="137686" y="113270"/>
                </a:lnTo>
                <a:cubicBezTo>
                  <a:pt x="137686" y="117088"/>
                  <a:pt x="130744" y="120559"/>
                  <a:pt x="122762" y="124839"/>
                </a:cubicBezTo>
                <a:cubicBezTo>
                  <a:pt x="116977" y="127731"/>
                  <a:pt x="109168" y="131665"/>
                  <a:pt x="109168" y="134094"/>
                </a:cubicBezTo>
                <a:lnTo>
                  <a:pt x="109168" y="176783"/>
                </a:lnTo>
                <a:cubicBezTo>
                  <a:pt x="109168" y="177420"/>
                  <a:pt x="108648" y="177940"/>
                  <a:pt x="108011" y="177940"/>
                </a:cubicBezTo>
                <a:lnTo>
                  <a:pt x="1347" y="177940"/>
                </a:lnTo>
                <a:cubicBezTo>
                  <a:pt x="716" y="187710"/>
                  <a:pt x="5066" y="197133"/>
                  <a:pt x="12915" y="202987"/>
                </a:cubicBezTo>
                <a:cubicBezTo>
                  <a:pt x="14246" y="204317"/>
                  <a:pt x="15519" y="205590"/>
                  <a:pt x="16675" y="206920"/>
                </a:cubicBezTo>
                <a:cubicBezTo>
                  <a:pt x="20840" y="211663"/>
                  <a:pt x="19857" y="217911"/>
                  <a:pt x="18816" y="224563"/>
                </a:cubicBezTo>
                <a:cubicBezTo>
                  <a:pt x="16305" y="233557"/>
                  <a:pt x="17757" y="243200"/>
                  <a:pt x="22807" y="251055"/>
                </a:cubicBezTo>
                <a:cubicBezTo>
                  <a:pt x="31657" y="263318"/>
                  <a:pt x="28591" y="282812"/>
                  <a:pt x="13957" y="305950"/>
                </a:cubicBezTo>
                <a:cubicBezTo>
                  <a:pt x="11417" y="311855"/>
                  <a:pt x="10058" y="318207"/>
                  <a:pt x="9965" y="324633"/>
                </a:cubicBezTo>
                <a:cubicBezTo>
                  <a:pt x="9965" y="325674"/>
                  <a:pt x="9965" y="326658"/>
                  <a:pt x="9965" y="327641"/>
                </a:cubicBezTo>
                <a:cubicBezTo>
                  <a:pt x="12742" y="326889"/>
                  <a:pt x="14072" y="324171"/>
                  <a:pt x="15461" y="321278"/>
                </a:cubicBezTo>
                <a:cubicBezTo>
                  <a:pt x="16849" y="318386"/>
                  <a:pt x="18989" y="313990"/>
                  <a:pt x="23674" y="313990"/>
                </a:cubicBezTo>
                <a:cubicBezTo>
                  <a:pt x="24328" y="313938"/>
                  <a:pt x="24987" y="313938"/>
                  <a:pt x="25641" y="313990"/>
                </a:cubicBezTo>
                <a:cubicBezTo>
                  <a:pt x="29112" y="314626"/>
                  <a:pt x="32640" y="314921"/>
                  <a:pt x="36169" y="314857"/>
                </a:cubicBezTo>
                <a:cubicBezTo>
                  <a:pt x="40825" y="314823"/>
                  <a:pt x="45482" y="314534"/>
                  <a:pt x="50109" y="313990"/>
                </a:cubicBezTo>
                <a:cubicBezTo>
                  <a:pt x="54841" y="312064"/>
                  <a:pt x="59868" y="310965"/>
                  <a:pt x="64975" y="310751"/>
                </a:cubicBezTo>
                <a:cubicBezTo>
                  <a:pt x="67405" y="310676"/>
                  <a:pt x="69817" y="311150"/>
                  <a:pt x="72032" y="312139"/>
                </a:cubicBezTo>
                <a:cubicBezTo>
                  <a:pt x="77718" y="315702"/>
                  <a:pt x="82751" y="320226"/>
                  <a:pt x="86898" y="32550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5" name="Forma libre: forma 304">
            <a:extLst>
              <a:ext uri="{FF2B5EF4-FFF2-40B4-BE49-F238E27FC236}">
                <a16:creationId xmlns:a16="http://schemas.microsoft.com/office/drawing/2014/main" id="{DEB485CE-0723-5680-23BA-D4A569CC8668}"/>
              </a:ext>
            </a:extLst>
          </p:cNvPr>
          <p:cNvSpPr/>
          <p:nvPr/>
        </p:nvSpPr>
        <p:spPr>
          <a:xfrm>
            <a:off x="5847729" y="3777617"/>
            <a:ext cx="458562" cy="426183"/>
          </a:xfrm>
          <a:custGeom>
            <a:avLst/>
            <a:gdLst>
              <a:gd name="connsiteX0" fmla="*/ 145240 w 458562"/>
              <a:gd name="connsiteY0" fmla="*/ 426049 h 426183"/>
              <a:gd name="connsiteX1" fmla="*/ 140554 w 458562"/>
              <a:gd name="connsiteY1" fmla="*/ 423735 h 426183"/>
              <a:gd name="connsiteX2" fmla="*/ 131878 w 458562"/>
              <a:gd name="connsiteY2" fmla="*/ 416909 h 426183"/>
              <a:gd name="connsiteX3" fmla="*/ 128812 w 458562"/>
              <a:gd name="connsiteY3" fmla="*/ 419513 h 426183"/>
              <a:gd name="connsiteX4" fmla="*/ 123027 w 458562"/>
              <a:gd name="connsiteY4" fmla="*/ 424140 h 426183"/>
              <a:gd name="connsiteX5" fmla="*/ 114061 w 458562"/>
              <a:gd name="connsiteY5" fmla="*/ 418356 h 426183"/>
              <a:gd name="connsiteX6" fmla="*/ 111805 w 458562"/>
              <a:gd name="connsiteY6" fmla="*/ 410316 h 426183"/>
              <a:gd name="connsiteX7" fmla="*/ 108566 w 458562"/>
              <a:gd name="connsiteY7" fmla="*/ 403490 h 426183"/>
              <a:gd name="connsiteX8" fmla="*/ 103592 w 458562"/>
              <a:gd name="connsiteY8" fmla="*/ 399383 h 426183"/>
              <a:gd name="connsiteX9" fmla="*/ 108219 w 458562"/>
              <a:gd name="connsiteY9" fmla="*/ 391632 h 426183"/>
              <a:gd name="connsiteX10" fmla="*/ 108219 w 458562"/>
              <a:gd name="connsiteY10" fmla="*/ 391632 h 426183"/>
              <a:gd name="connsiteX11" fmla="*/ 104922 w 458562"/>
              <a:gd name="connsiteY11" fmla="*/ 388797 h 426183"/>
              <a:gd name="connsiteX12" fmla="*/ 97691 w 458562"/>
              <a:gd name="connsiteY12" fmla="*/ 379831 h 426183"/>
              <a:gd name="connsiteX13" fmla="*/ 88032 w 458562"/>
              <a:gd name="connsiteY13" fmla="*/ 360743 h 426183"/>
              <a:gd name="connsiteX14" fmla="*/ 80454 w 458562"/>
              <a:gd name="connsiteY14" fmla="*/ 366527 h 426183"/>
              <a:gd name="connsiteX15" fmla="*/ 68885 w 458562"/>
              <a:gd name="connsiteY15" fmla="*/ 374452 h 426183"/>
              <a:gd name="connsiteX16" fmla="*/ 62291 w 458562"/>
              <a:gd name="connsiteY16" fmla="*/ 372196 h 426183"/>
              <a:gd name="connsiteX17" fmla="*/ 54771 w 458562"/>
              <a:gd name="connsiteY17" fmla="*/ 369593 h 426183"/>
              <a:gd name="connsiteX18" fmla="*/ 51358 w 458562"/>
              <a:gd name="connsiteY18" fmla="*/ 372138 h 426183"/>
              <a:gd name="connsiteX19" fmla="*/ 46962 w 458562"/>
              <a:gd name="connsiteY19" fmla="*/ 375724 h 426183"/>
              <a:gd name="connsiteX20" fmla="*/ 42624 w 458562"/>
              <a:gd name="connsiteY20" fmla="*/ 374452 h 426183"/>
              <a:gd name="connsiteX21" fmla="*/ 38633 w 458562"/>
              <a:gd name="connsiteY21" fmla="*/ 373295 h 426183"/>
              <a:gd name="connsiteX22" fmla="*/ 35914 w 458562"/>
              <a:gd name="connsiteY22" fmla="*/ 374799 h 426183"/>
              <a:gd name="connsiteX23" fmla="*/ 32443 w 458562"/>
              <a:gd name="connsiteY23" fmla="*/ 376997 h 426183"/>
              <a:gd name="connsiteX24" fmla="*/ 25849 w 458562"/>
              <a:gd name="connsiteY24" fmla="*/ 367048 h 426183"/>
              <a:gd name="connsiteX25" fmla="*/ 25849 w 458562"/>
              <a:gd name="connsiteY25" fmla="*/ 345530 h 426183"/>
              <a:gd name="connsiteX26" fmla="*/ 11619 w 458562"/>
              <a:gd name="connsiteY26" fmla="*/ 328177 h 426183"/>
              <a:gd name="connsiteX27" fmla="*/ 7165 w 458562"/>
              <a:gd name="connsiteY27" fmla="*/ 310823 h 426183"/>
              <a:gd name="connsiteX28" fmla="*/ 2364 w 458562"/>
              <a:gd name="connsiteY28" fmla="*/ 303651 h 426183"/>
              <a:gd name="connsiteX29" fmla="*/ 2364 w 458562"/>
              <a:gd name="connsiteY29" fmla="*/ 303304 h 426183"/>
              <a:gd name="connsiteX30" fmla="*/ -7 w 458562"/>
              <a:gd name="connsiteY30" fmla="*/ 297172 h 426183"/>
              <a:gd name="connsiteX31" fmla="*/ 525 w 458562"/>
              <a:gd name="connsiteY31" fmla="*/ 295714 h 426183"/>
              <a:gd name="connsiteX32" fmla="*/ 976 w 458562"/>
              <a:gd name="connsiteY32" fmla="*/ 295610 h 426183"/>
              <a:gd name="connsiteX33" fmla="*/ 14454 w 458562"/>
              <a:gd name="connsiteY33" fmla="*/ 287917 h 426183"/>
              <a:gd name="connsiteX34" fmla="*/ 22147 w 458562"/>
              <a:gd name="connsiteY34" fmla="*/ 275712 h 426183"/>
              <a:gd name="connsiteX35" fmla="*/ 32270 w 458562"/>
              <a:gd name="connsiteY35" fmla="*/ 280975 h 426183"/>
              <a:gd name="connsiteX36" fmla="*/ 40310 w 458562"/>
              <a:gd name="connsiteY36" fmla="*/ 285719 h 426183"/>
              <a:gd name="connsiteX37" fmla="*/ 43896 w 458562"/>
              <a:gd name="connsiteY37" fmla="*/ 281554 h 426183"/>
              <a:gd name="connsiteX38" fmla="*/ 45285 w 458562"/>
              <a:gd name="connsiteY38" fmla="*/ 278720 h 426183"/>
              <a:gd name="connsiteX39" fmla="*/ 49449 w 458562"/>
              <a:gd name="connsiteY39" fmla="*/ 276869 h 426183"/>
              <a:gd name="connsiteX40" fmla="*/ 56044 w 458562"/>
              <a:gd name="connsiteY40" fmla="*/ 278026 h 426183"/>
              <a:gd name="connsiteX41" fmla="*/ 64605 w 458562"/>
              <a:gd name="connsiteY41" fmla="*/ 279414 h 426183"/>
              <a:gd name="connsiteX42" fmla="*/ 81206 w 458562"/>
              <a:gd name="connsiteY42" fmla="*/ 274671 h 426183"/>
              <a:gd name="connsiteX43" fmla="*/ 81726 w 458562"/>
              <a:gd name="connsiteY43" fmla="*/ 274671 h 426183"/>
              <a:gd name="connsiteX44" fmla="*/ 132861 w 458562"/>
              <a:gd name="connsiteY44" fmla="*/ 274671 h 426183"/>
              <a:gd name="connsiteX45" fmla="*/ 187813 w 458562"/>
              <a:gd name="connsiteY45" fmla="*/ 273224 h 426183"/>
              <a:gd name="connsiteX46" fmla="*/ 190879 w 458562"/>
              <a:gd name="connsiteY46" fmla="*/ 251475 h 426183"/>
              <a:gd name="connsiteX47" fmla="*/ 182607 w 458562"/>
              <a:gd name="connsiteY47" fmla="*/ 243203 h 426183"/>
              <a:gd name="connsiteX48" fmla="*/ 182607 w 458562"/>
              <a:gd name="connsiteY48" fmla="*/ 242509 h 426183"/>
              <a:gd name="connsiteX49" fmla="*/ 156866 w 458562"/>
              <a:gd name="connsiteY49" fmla="*/ 1183 h 426183"/>
              <a:gd name="connsiteX50" fmla="*/ 156866 w 458562"/>
              <a:gd name="connsiteY50" fmla="*/ 315 h 426183"/>
              <a:gd name="connsiteX51" fmla="*/ 157734 w 458562"/>
              <a:gd name="connsiteY51" fmla="*/ -90 h 426183"/>
              <a:gd name="connsiteX52" fmla="*/ 203720 w 458562"/>
              <a:gd name="connsiteY52" fmla="*/ -90 h 426183"/>
              <a:gd name="connsiteX53" fmla="*/ 204356 w 458562"/>
              <a:gd name="connsiteY53" fmla="*/ -90 h 426183"/>
              <a:gd name="connsiteX54" fmla="*/ 372973 w 458562"/>
              <a:gd name="connsiteY54" fmla="*/ 113690 h 426183"/>
              <a:gd name="connsiteX55" fmla="*/ 390326 w 458562"/>
              <a:gd name="connsiteY55" fmla="*/ 138389 h 426183"/>
              <a:gd name="connsiteX56" fmla="*/ 420867 w 458562"/>
              <a:gd name="connsiteY56" fmla="*/ 148049 h 426183"/>
              <a:gd name="connsiteX57" fmla="*/ 434866 w 458562"/>
              <a:gd name="connsiteY57" fmla="*/ 176451 h 426183"/>
              <a:gd name="connsiteX58" fmla="*/ 456789 w 458562"/>
              <a:gd name="connsiteY58" fmla="*/ 171765 h 426183"/>
              <a:gd name="connsiteX59" fmla="*/ 457714 w 458562"/>
              <a:gd name="connsiteY59" fmla="*/ 171765 h 426183"/>
              <a:gd name="connsiteX60" fmla="*/ 458177 w 458562"/>
              <a:gd name="connsiteY60" fmla="*/ 172633 h 426183"/>
              <a:gd name="connsiteX61" fmla="*/ 455979 w 458562"/>
              <a:gd name="connsiteY61" fmla="*/ 246211 h 426183"/>
              <a:gd name="connsiteX62" fmla="*/ 451814 w 458562"/>
              <a:gd name="connsiteY62" fmla="*/ 255813 h 426183"/>
              <a:gd name="connsiteX63" fmla="*/ 447187 w 458562"/>
              <a:gd name="connsiteY63" fmla="*/ 266283 h 426183"/>
              <a:gd name="connsiteX64" fmla="*/ 444989 w 458562"/>
              <a:gd name="connsiteY64" fmla="*/ 268944 h 426183"/>
              <a:gd name="connsiteX65" fmla="*/ 429429 w 458562"/>
              <a:gd name="connsiteY65" fmla="*/ 278720 h 426183"/>
              <a:gd name="connsiteX66" fmla="*/ 412769 w 458562"/>
              <a:gd name="connsiteY66" fmla="*/ 280628 h 426183"/>
              <a:gd name="connsiteX67" fmla="*/ 390904 w 458562"/>
              <a:gd name="connsiteY67" fmla="*/ 283058 h 426183"/>
              <a:gd name="connsiteX68" fmla="*/ 386450 w 458562"/>
              <a:gd name="connsiteY68" fmla="*/ 282711 h 426183"/>
              <a:gd name="connsiteX69" fmla="*/ 383847 w 458562"/>
              <a:gd name="connsiteY69" fmla="*/ 282711 h 426183"/>
              <a:gd name="connsiteX70" fmla="*/ 369155 w 458562"/>
              <a:gd name="connsiteY70" fmla="*/ 287975 h 426183"/>
              <a:gd name="connsiteX71" fmla="*/ 365221 w 458562"/>
              <a:gd name="connsiteY71" fmla="*/ 290115 h 426183"/>
              <a:gd name="connsiteX72" fmla="*/ 349083 w 458562"/>
              <a:gd name="connsiteY72" fmla="*/ 291503 h 426183"/>
              <a:gd name="connsiteX73" fmla="*/ 329300 w 458562"/>
              <a:gd name="connsiteY73" fmla="*/ 288264 h 426183"/>
              <a:gd name="connsiteX74" fmla="*/ 326986 w 458562"/>
              <a:gd name="connsiteY74" fmla="*/ 287223 h 426183"/>
              <a:gd name="connsiteX75" fmla="*/ 315707 w 458562"/>
              <a:gd name="connsiteY75" fmla="*/ 293585 h 426183"/>
              <a:gd name="connsiteX76" fmla="*/ 310559 w 458562"/>
              <a:gd name="connsiteY76" fmla="*/ 297288 h 426183"/>
              <a:gd name="connsiteX77" fmla="*/ 294247 w 458562"/>
              <a:gd name="connsiteY77" fmla="*/ 303072 h 426183"/>
              <a:gd name="connsiteX78" fmla="*/ 287594 w 458562"/>
              <a:gd name="connsiteY78" fmla="*/ 305849 h 426183"/>
              <a:gd name="connsiteX79" fmla="*/ 279999 w 458562"/>
              <a:gd name="connsiteY79" fmla="*/ 313172 h 426183"/>
              <a:gd name="connsiteX80" fmla="*/ 279381 w 458562"/>
              <a:gd name="connsiteY80" fmla="*/ 313137 h 426183"/>
              <a:gd name="connsiteX81" fmla="*/ 275678 w 458562"/>
              <a:gd name="connsiteY81" fmla="*/ 312559 h 426183"/>
              <a:gd name="connsiteX82" fmla="*/ 270472 w 458562"/>
              <a:gd name="connsiteY82" fmla="*/ 311633 h 426183"/>
              <a:gd name="connsiteX83" fmla="*/ 264110 w 458562"/>
              <a:gd name="connsiteY83" fmla="*/ 318285 h 426183"/>
              <a:gd name="connsiteX84" fmla="*/ 257053 w 458562"/>
              <a:gd name="connsiteY84" fmla="*/ 325111 h 426183"/>
              <a:gd name="connsiteX85" fmla="*/ 252078 w 458562"/>
              <a:gd name="connsiteY85" fmla="*/ 330895 h 426183"/>
              <a:gd name="connsiteX86" fmla="*/ 246988 w 458562"/>
              <a:gd name="connsiteY86" fmla="*/ 336679 h 426183"/>
              <a:gd name="connsiteX87" fmla="*/ 236055 w 458562"/>
              <a:gd name="connsiteY87" fmla="*/ 332168 h 426183"/>
              <a:gd name="connsiteX88" fmla="*/ 233452 w 458562"/>
              <a:gd name="connsiteY88" fmla="*/ 330664 h 426183"/>
              <a:gd name="connsiteX89" fmla="*/ 232411 w 458562"/>
              <a:gd name="connsiteY89" fmla="*/ 330375 h 426183"/>
              <a:gd name="connsiteX90" fmla="*/ 226222 w 458562"/>
              <a:gd name="connsiteY90" fmla="*/ 349926 h 426183"/>
              <a:gd name="connsiteX91" fmla="*/ 226222 w 458562"/>
              <a:gd name="connsiteY91" fmla="*/ 350562 h 426183"/>
              <a:gd name="connsiteX92" fmla="*/ 217545 w 458562"/>
              <a:gd name="connsiteY92" fmla="*/ 367221 h 426183"/>
              <a:gd name="connsiteX93" fmla="*/ 199555 w 458562"/>
              <a:gd name="connsiteY93" fmla="*/ 377055 h 426183"/>
              <a:gd name="connsiteX94" fmla="*/ 195101 w 458562"/>
              <a:gd name="connsiteY94" fmla="*/ 377575 h 426183"/>
              <a:gd name="connsiteX95" fmla="*/ 196085 w 458562"/>
              <a:gd name="connsiteY95" fmla="*/ 384170 h 426183"/>
              <a:gd name="connsiteX96" fmla="*/ 197299 w 458562"/>
              <a:gd name="connsiteY96" fmla="*/ 394813 h 426183"/>
              <a:gd name="connsiteX97" fmla="*/ 189780 w 458562"/>
              <a:gd name="connsiteY97" fmla="*/ 415695 h 426183"/>
              <a:gd name="connsiteX98" fmla="*/ 188507 w 458562"/>
              <a:gd name="connsiteY98" fmla="*/ 416447 h 426183"/>
              <a:gd name="connsiteX99" fmla="*/ 181624 w 458562"/>
              <a:gd name="connsiteY99" fmla="*/ 417835 h 426183"/>
              <a:gd name="connsiteX100" fmla="*/ 171212 w 458562"/>
              <a:gd name="connsiteY100" fmla="*/ 420380 h 426183"/>
              <a:gd name="connsiteX101" fmla="*/ 170113 w 458562"/>
              <a:gd name="connsiteY101" fmla="*/ 413555 h 426183"/>
              <a:gd name="connsiteX102" fmla="*/ 169592 w 458562"/>
              <a:gd name="connsiteY102" fmla="*/ 411299 h 426183"/>
              <a:gd name="connsiteX103" fmla="*/ 166700 w 458562"/>
              <a:gd name="connsiteY103" fmla="*/ 410316 h 426183"/>
              <a:gd name="connsiteX104" fmla="*/ 158660 w 458562"/>
              <a:gd name="connsiteY104" fmla="*/ 415579 h 426183"/>
              <a:gd name="connsiteX105" fmla="*/ 145240 w 458562"/>
              <a:gd name="connsiteY105" fmla="*/ 426049 h 426183"/>
              <a:gd name="connsiteX106" fmla="*/ 131878 w 458562"/>
              <a:gd name="connsiteY106" fmla="*/ 414480 h 426183"/>
              <a:gd name="connsiteX107" fmla="*/ 142463 w 458562"/>
              <a:gd name="connsiteY107" fmla="*/ 422289 h 426183"/>
              <a:gd name="connsiteX108" fmla="*/ 145240 w 458562"/>
              <a:gd name="connsiteY108" fmla="*/ 423620 h 426183"/>
              <a:gd name="connsiteX109" fmla="*/ 155767 w 458562"/>
              <a:gd name="connsiteY109" fmla="*/ 415348 h 426183"/>
              <a:gd name="connsiteX110" fmla="*/ 166006 w 458562"/>
              <a:gd name="connsiteY110" fmla="*/ 408407 h 426183"/>
              <a:gd name="connsiteX111" fmla="*/ 170575 w 458562"/>
              <a:gd name="connsiteY111" fmla="*/ 410200 h 426183"/>
              <a:gd name="connsiteX112" fmla="*/ 171674 w 458562"/>
              <a:gd name="connsiteY112" fmla="*/ 414191 h 426183"/>
              <a:gd name="connsiteX113" fmla="*/ 172195 w 458562"/>
              <a:gd name="connsiteY113" fmla="*/ 419223 h 426183"/>
              <a:gd name="connsiteX114" fmla="*/ 173063 w 458562"/>
              <a:gd name="connsiteY114" fmla="*/ 419223 h 426183"/>
              <a:gd name="connsiteX115" fmla="*/ 179599 w 458562"/>
              <a:gd name="connsiteY115" fmla="*/ 416042 h 426183"/>
              <a:gd name="connsiteX116" fmla="*/ 187177 w 458562"/>
              <a:gd name="connsiteY116" fmla="*/ 414133 h 426183"/>
              <a:gd name="connsiteX117" fmla="*/ 194581 w 458562"/>
              <a:gd name="connsiteY117" fmla="*/ 393830 h 426183"/>
              <a:gd name="connsiteX118" fmla="*/ 193250 w 458562"/>
              <a:gd name="connsiteY118" fmla="*/ 384922 h 426183"/>
              <a:gd name="connsiteX119" fmla="*/ 193597 w 458562"/>
              <a:gd name="connsiteY119" fmla="*/ 375551 h 426183"/>
              <a:gd name="connsiteX120" fmla="*/ 198746 w 458562"/>
              <a:gd name="connsiteY120" fmla="*/ 374857 h 426183"/>
              <a:gd name="connsiteX121" fmla="*/ 214768 w 458562"/>
              <a:gd name="connsiteY121" fmla="*/ 366527 h 426183"/>
              <a:gd name="connsiteX122" fmla="*/ 223561 w 458562"/>
              <a:gd name="connsiteY122" fmla="*/ 349463 h 426183"/>
              <a:gd name="connsiteX123" fmla="*/ 232006 w 458562"/>
              <a:gd name="connsiteY123" fmla="*/ 328177 h 426183"/>
              <a:gd name="connsiteX124" fmla="*/ 234088 w 458562"/>
              <a:gd name="connsiteY124" fmla="*/ 328755 h 426183"/>
              <a:gd name="connsiteX125" fmla="*/ 236807 w 458562"/>
              <a:gd name="connsiteY125" fmla="*/ 330259 h 426183"/>
              <a:gd name="connsiteX126" fmla="*/ 246583 w 458562"/>
              <a:gd name="connsiteY126" fmla="*/ 334481 h 426183"/>
              <a:gd name="connsiteX127" fmla="*/ 249417 w 458562"/>
              <a:gd name="connsiteY127" fmla="*/ 330433 h 426183"/>
              <a:gd name="connsiteX128" fmla="*/ 255954 w 458562"/>
              <a:gd name="connsiteY128" fmla="*/ 322623 h 426183"/>
              <a:gd name="connsiteX129" fmla="*/ 261738 w 458562"/>
              <a:gd name="connsiteY129" fmla="*/ 317302 h 426183"/>
              <a:gd name="connsiteX130" fmla="*/ 270241 w 458562"/>
              <a:gd name="connsiteY130" fmla="*/ 309030 h 426183"/>
              <a:gd name="connsiteX131" fmla="*/ 276025 w 458562"/>
              <a:gd name="connsiteY131" fmla="*/ 310071 h 426183"/>
              <a:gd name="connsiteX132" fmla="*/ 279091 w 458562"/>
              <a:gd name="connsiteY132" fmla="*/ 310534 h 426183"/>
              <a:gd name="connsiteX133" fmla="*/ 284876 w 458562"/>
              <a:gd name="connsiteY133" fmla="*/ 305502 h 426183"/>
              <a:gd name="connsiteX134" fmla="*/ 293379 w 458562"/>
              <a:gd name="connsiteY134" fmla="*/ 300469 h 426183"/>
              <a:gd name="connsiteX135" fmla="*/ 308823 w 458562"/>
              <a:gd name="connsiteY135" fmla="*/ 294684 h 426183"/>
              <a:gd name="connsiteX136" fmla="*/ 313913 w 458562"/>
              <a:gd name="connsiteY136" fmla="*/ 290983 h 426183"/>
              <a:gd name="connsiteX137" fmla="*/ 326523 w 458562"/>
              <a:gd name="connsiteY137" fmla="*/ 284215 h 426183"/>
              <a:gd name="connsiteX138" fmla="*/ 330399 w 458562"/>
              <a:gd name="connsiteY138" fmla="*/ 285892 h 426183"/>
              <a:gd name="connsiteX139" fmla="*/ 348620 w 458562"/>
              <a:gd name="connsiteY139" fmla="*/ 288495 h 426183"/>
              <a:gd name="connsiteX140" fmla="*/ 363949 w 458562"/>
              <a:gd name="connsiteY140" fmla="*/ 287281 h 426183"/>
              <a:gd name="connsiteX141" fmla="*/ 367535 w 458562"/>
              <a:gd name="connsiteY141" fmla="*/ 285314 h 426183"/>
              <a:gd name="connsiteX142" fmla="*/ 383384 w 458562"/>
              <a:gd name="connsiteY142" fmla="*/ 279529 h 426183"/>
              <a:gd name="connsiteX143" fmla="*/ 386335 w 458562"/>
              <a:gd name="connsiteY143" fmla="*/ 279529 h 426183"/>
              <a:gd name="connsiteX144" fmla="*/ 390442 w 458562"/>
              <a:gd name="connsiteY144" fmla="*/ 279529 h 426183"/>
              <a:gd name="connsiteX145" fmla="*/ 411960 w 458562"/>
              <a:gd name="connsiteY145" fmla="*/ 277158 h 426183"/>
              <a:gd name="connsiteX146" fmla="*/ 428966 w 458562"/>
              <a:gd name="connsiteY146" fmla="*/ 275191 h 426183"/>
              <a:gd name="connsiteX147" fmla="*/ 442733 w 458562"/>
              <a:gd name="connsiteY147" fmla="*/ 266283 h 426183"/>
              <a:gd name="connsiteX148" fmla="*/ 445162 w 458562"/>
              <a:gd name="connsiteY148" fmla="*/ 263391 h 426183"/>
              <a:gd name="connsiteX149" fmla="*/ 449211 w 458562"/>
              <a:gd name="connsiteY149" fmla="*/ 253846 h 426183"/>
              <a:gd name="connsiteX150" fmla="*/ 454186 w 458562"/>
              <a:gd name="connsiteY150" fmla="*/ 243087 h 426183"/>
              <a:gd name="connsiteX151" fmla="*/ 455459 w 458562"/>
              <a:gd name="connsiteY151" fmla="*/ 172749 h 426183"/>
              <a:gd name="connsiteX152" fmla="*/ 433593 w 458562"/>
              <a:gd name="connsiteY152" fmla="*/ 177434 h 426183"/>
              <a:gd name="connsiteX153" fmla="*/ 432610 w 458562"/>
              <a:gd name="connsiteY153" fmla="*/ 177434 h 426183"/>
              <a:gd name="connsiteX154" fmla="*/ 432205 w 458562"/>
              <a:gd name="connsiteY154" fmla="*/ 176567 h 426183"/>
              <a:gd name="connsiteX155" fmla="*/ 419306 w 458562"/>
              <a:gd name="connsiteY155" fmla="*/ 148743 h 426183"/>
              <a:gd name="connsiteX156" fmla="*/ 389053 w 458562"/>
              <a:gd name="connsiteY156" fmla="*/ 139315 h 426183"/>
              <a:gd name="connsiteX157" fmla="*/ 388186 w 458562"/>
              <a:gd name="connsiteY157" fmla="*/ 138736 h 426183"/>
              <a:gd name="connsiteX158" fmla="*/ 370832 w 458562"/>
              <a:gd name="connsiteY158" fmla="*/ 114037 h 426183"/>
              <a:gd name="connsiteX159" fmla="*/ 203084 w 458562"/>
              <a:gd name="connsiteY159" fmla="*/ 720 h 426183"/>
              <a:gd name="connsiteX160" fmla="*/ 158544 w 458562"/>
              <a:gd name="connsiteY160" fmla="*/ 720 h 426183"/>
              <a:gd name="connsiteX161" fmla="*/ 184285 w 458562"/>
              <a:gd name="connsiteY161" fmla="*/ 241699 h 426183"/>
              <a:gd name="connsiteX162" fmla="*/ 192556 w 458562"/>
              <a:gd name="connsiteY162" fmla="*/ 249971 h 426183"/>
              <a:gd name="connsiteX163" fmla="*/ 192903 w 458562"/>
              <a:gd name="connsiteY163" fmla="*/ 250723 h 426183"/>
              <a:gd name="connsiteX164" fmla="*/ 188623 w 458562"/>
              <a:gd name="connsiteY164" fmla="*/ 275076 h 426183"/>
              <a:gd name="connsiteX165" fmla="*/ 132630 w 458562"/>
              <a:gd name="connsiteY165" fmla="*/ 276753 h 426183"/>
              <a:gd name="connsiteX166" fmla="*/ 81726 w 458562"/>
              <a:gd name="connsiteY166" fmla="*/ 276753 h 426183"/>
              <a:gd name="connsiteX167" fmla="*/ 64373 w 458562"/>
              <a:gd name="connsiteY167" fmla="*/ 281612 h 426183"/>
              <a:gd name="connsiteX168" fmla="*/ 55292 w 458562"/>
              <a:gd name="connsiteY168" fmla="*/ 280166 h 426183"/>
              <a:gd name="connsiteX169" fmla="*/ 49507 w 458562"/>
              <a:gd name="connsiteY169" fmla="*/ 279067 h 426183"/>
              <a:gd name="connsiteX170" fmla="*/ 47193 w 458562"/>
              <a:gd name="connsiteY170" fmla="*/ 279934 h 426183"/>
              <a:gd name="connsiteX171" fmla="*/ 46037 w 458562"/>
              <a:gd name="connsiteY171" fmla="*/ 282306 h 426183"/>
              <a:gd name="connsiteX172" fmla="*/ 40252 w 458562"/>
              <a:gd name="connsiteY172" fmla="*/ 288091 h 426183"/>
              <a:gd name="connsiteX173" fmla="*/ 30708 w 458562"/>
              <a:gd name="connsiteY173" fmla="*/ 282769 h 426183"/>
              <a:gd name="connsiteX174" fmla="*/ 22089 w 458562"/>
              <a:gd name="connsiteY174" fmla="*/ 278083 h 426183"/>
              <a:gd name="connsiteX175" fmla="*/ 16652 w 458562"/>
              <a:gd name="connsiteY175" fmla="*/ 288033 h 426183"/>
              <a:gd name="connsiteX176" fmla="*/ 2653 w 458562"/>
              <a:gd name="connsiteY176" fmla="*/ 297866 h 426183"/>
              <a:gd name="connsiteX177" fmla="*/ 4446 w 458562"/>
              <a:gd name="connsiteY177" fmla="*/ 302667 h 426183"/>
              <a:gd name="connsiteX178" fmla="*/ 9363 w 458562"/>
              <a:gd name="connsiteY178" fmla="*/ 309955 h 426183"/>
              <a:gd name="connsiteX179" fmla="*/ 9363 w 458562"/>
              <a:gd name="connsiteY179" fmla="*/ 310650 h 426183"/>
              <a:gd name="connsiteX180" fmla="*/ 13065 w 458562"/>
              <a:gd name="connsiteY180" fmla="*/ 326788 h 426183"/>
              <a:gd name="connsiteX181" fmla="*/ 27931 w 458562"/>
              <a:gd name="connsiteY181" fmla="*/ 345067 h 426183"/>
              <a:gd name="connsiteX182" fmla="*/ 27931 w 458562"/>
              <a:gd name="connsiteY182" fmla="*/ 366990 h 426183"/>
              <a:gd name="connsiteX183" fmla="*/ 32327 w 458562"/>
              <a:gd name="connsiteY183" fmla="*/ 375030 h 426183"/>
              <a:gd name="connsiteX184" fmla="*/ 34005 w 458562"/>
              <a:gd name="connsiteY184" fmla="*/ 373758 h 426183"/>
              <a:gd name="connsiteX185" fmla="*/ 38517 w 458562"/>
              <a:gd name="connsiteY185" fmla="*/ 371328 h 426183"/>
              <a:gd name="connsiteX186" fmla="*/ 43433 w 458562"/>
              <a:gd name="connsiteY186" fmla="*/ 372659 h 426183"/>
              <a:gd name="connsiteX187" fmla="*/ 46846 w 458562"/>
              <a:gd name="connsiteY187" fmla="*/ 373758 h 426183"/>
              <a:gd name="connsiteX188" fmla="*/ 49160 w 458562"/>
              <a:gd name="connsiteY188" fmla="*/ 371560 h 426183"/>
              <a:gd name="connsiteX189" fmla="*/ 54655 w 458562"/>
              <a:gd name="connsiteY189" fmla="*/ 367626 h 426183"/>
              <a:gd name="connsiteX190" fmla="*/ 63159 w 458562"/>
              <a:gd name="connsiteY190" fmla="*/ 370403 h 426183"/>
              <a:gd name="connsiteX191" fmla="*/ 68943 w 458562"/>
              <a:gd name="connsiteY191" fmla="*/ 372485 h 426183"/>
              <a:gd name="connsiteX192" fmla="*/ 79008 w 458562"/>
              <a:gd name="connsiteY192" fmla="*/ 365139 h 426183"/>
              <a:gd name="connsiteX193" fmla="*/ 88610 w 458562"/>
              <a:gd name="connsiteY193" fmla="*/ 358776 h 426183"/>
              <a:gd name="connsiteX194" fmla="*/ 100179 w 458562"/>
              <a:gd name="connsiteY194" fmla="*/ 380063 h 426183"/>
              <a:gd name="connsiteX195" fmla="*/ 106542 w 458562"/>
              <a:gd name="connsiteY195" fmla="*/ 387235 h 426183"/>
              <a:gd name="connsiteX196" fmla="*/ 110822 w 458562"/>
              <a:gd name="connsiteY196" fmla="*/ 392384 h 426183"/>
              <a:gd name="connsiteX197" fmla="*/ 109087 w 458562"/>
              <a:gd name="connsiteY197" fmla="*/ 394061 h 426183"/>
              <a:gd name="connsiteX198" fmla="*/ 105963 w 458562"/>
              <a:gd name="connsiteY198" fmla="*/ 399325 h 426183"/>
              <a:gd name="connsiteX199" fmla="*/ 108705 w 458562"/>
              <a:gd name="connsiteY199" fmla="*/ 401529 h 426183"/>
              <a:gd name="connsiteX200" fmla="*/ 108740 w 458562"/>
              <a:gd name="connsiteY200" fmla="*/ 401523 h 426183"/>
              <a:gd name="connsiteX201" fmla="*/ 114235 w 458562"/>
              <a:gd name="connsiteY201" fmla="*/ 410258 h 426183"/>
              <a:gd name="connsiteX202" fmla="*/ 116144 w 458562"/>
              <a:gd name="connsiteY202" fmla="*/ 417372 h 426183"/>
              <a:gd name="connsiteX203" fmla="*/ 123201 w 458562"/>
              <a:gd name="connsiteY203" fmla="*/ 422463 h 426183"/>
              <a:gd name="connsiteX204" fmla="*/ 127076 w 458562"/>
              <a:gd name="connsiteY204" fmla="*/ 419166 h 426183"/>
              <a:gd name="connsiteX205" fmla="*/ 131878 w 458562"/>
              <a:gd name="connsiteY205" fmla="*/ 414654 h 42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458562" h="426183">
                <a:moveTo>
                  <a:pt x="145240" y="426049"/>
                </a:moveTo>
                <a:cubicBezTo>
                  <a:pt x="143383" y="426130"/>
                  <a:pt x="141618" y="425256"/>
                  <a:pt x="140554" y="423735"/>
                </a:cubicBezTo>
                <a:cubicBezTo>
                  <a:pt x="138298" y="420322"/>
                  <a:pt x="134770" y="416909"/>
                  <a:pt x="131878" y="416909"/>
                </a:cubicBezTo>
                <a:cubicBezTo>
                  <a:pt x="130605" y="416909"/>
                  <a:pt x="129564" y="417777"/>
                  <a:pt x="128812" y="419513"/>
                </a:cubicBezTo>
                <a:cubicBezTo>
                  <a:pt x="128025" y="422104"/>
                  <a:pt x="125729" y="423943"/>
                  <a:pt x="123027" y="424140"/>
                </a:cubicBezTo>
                <a:cubicBezTo>
                  <a:pt x="119325" y="423649"/>
                  <a:pt x="116034" y="421526"/>
                  <a:pt x="114061" y="418356"/>
                </a:cubicBezTo>
                <a:cubicBezTo>
                  <a:pt x="112742" y="415868"/>
                  <a:pt x="111973" y="413127"/>
                  <a:pt x="111805" y="410316"/>
                </a:cubicBezTo>
                <a:cubicBezTo>
                  <a:pt x="111227" y="405688"/>
                  <a:pt x="110706" y="403490"/>
                  <a:pt x="108566" y="403490"/>
                </a:cubicBezTo>
                <a:cubicBezTo>
                  <a:pt x="106091" y="403634"/>
                  <a:pt x="103921" y="401841"/>
                  <a:pt x="103592" y="399383"/>
                </a:cubicBezTo>
                <a:cubicBezTo>
                  <a:pt x="103112" y="396028"/>
                  <a:pt x="105038" y="392800"/>
                  <a:pt x="108219" y="391632"/>
                </a:cubicBezTo>
                <a:lnTo>
                  <a:pt x="108219" y="391632"/>
                </a:lnTo>
                <a:cubicBezTo>
                  <a:pt x="107213" y="390585"/>
                  <a:pt x="106108" y="389636"/>
                  <a:pt x="104922" y="388797"/>
                </a:cubicBezTo>
                <a:cubicBezTo>
                  <a:pt x="101683" y="386310"/>
                  <a:pt x="97691" y="383013"/>
                  <a:pt x="97691" y="379831"/>
                </a:cubicBezTo>
                <a:cubicBezTo>
                  <a:pt x="96512" y="372624"/>
                  <a:pt x="93139" y="365960"/>
                  <a:pt x="88032" y="360743"/>
                </a:cubicBezTo>
                <a:cubicBezTo>
                  <a:pt x="86817" y="360743"/>
                  <a:pt x="83115" y="364098"/>
                  <a:pt x="80454" y="366527"/>
                </a:cubicBezTo>
                <a:cubicBezTo>
                  <a:pt x="76058" y="370577"/>
                  <a:pt x="71893" y="374452"/>
                  <a:pt x="68885" y="374452"/>
                </a:cubicBezTo>
                <a:cubicBezTo>
                  <a:pt x="66560" y="374134"/>
                  <a:pt x="64321" y="373365"/>
                  <a:pt x="62291" y="372196"/>
                </a:cubicBezTo>
                <a:cubicBezTo>
                  <a:pt x="59977" y="370848"/>
                  <a:pt x="57420" y="369963"/>
                  <a:pt x="54771" y="369593"/>
                </a:cubicBezTo>
                <a:cubicBezTo>
                  <a:pt x="53186" y="369564"/>
                  <a:pt x="51781" y="370611"/>
                  <a:pt x="51358" y="372138"/>
                </a:cubicBezTo>
                <a:cubicBezTo>
                  <a:pt x="50849" y="374174"/>
                  <a:pt x="49062" y="375632"/>
                  <a:pt x="46962" y="375724"/>
                </a:cubicBezTo>
                <a:cubicBezTo>
                  <a:pt x="45447" y="375591"/>
                  <a:pt x="43972" y="375158"/>
                  <a:pt x="42624" y="374452"/>
                </a:cubicBezTo>
                <a:cubicBezTo>
                  <a:pt x="41380" y="373816"/>
                  <a:pt x="40026" y="373422"/>
                  <a:pt x="38633" y="373295"/>
                </a:cubicBezTo>
                <a:cubicBezTo>
                  <a:pt x="37522" y="373278"/>
                  <a:pt x="36486" y="373850"/>
                  <a:pt x="35914" y="374799"/>
                </a:cubicBezTo>
                <a:cubicBezTo>
                  <a:pt x="35168" y="376037"/>
                  <a:pt x="33883" y="376852"/>
                  <a:pt x="32443" y="376997"/>
                </a:cubicBezTo>
                <a:cubicBezTo>
                  <a:pt x="28336" y="376997"/>
                  <a:pt x="26254" y="368725"/>
                  <a:pt x="25849" y="367048"/>
                </a:cubicBezTo>
                <a:cubicBezTo>
                  <a:pt x="26237" y="359881"/>
                  <a:pt x="26237" y="352697"/>
                  <a:pt x="25849" y="345530"/>
                </a:cubicBezTo>
                <a:cubicBezTo>
                  <a:pt x="25039" y="341770"/>
                  <a:pt x="15263" y="332052"/>
                  <a:pt x="11619" y="328177"/>
                </a:cubicBezTo>
                <a:cubicBezTo>
                  <a:pt x="6876" y="323375"/>
                  <a:pt x="7107" y="312906"/>
                  <a:pt x="7165" y="310823"/>
                </a:cubicBezTo>
                <a:lnTo>
                  <a:pt x="2364" y="303651"/>
                </a:lnTo>
                <a:cubicBezTo>
                  <a:pt x="2341" y="303535"/>
                  <a:pt x="2341" y="303419"/>
                  <a:pt x="2364" y="303304"/>
                </a:cubicBezTo>
                <a:cubicBezTo>
                  <a:pt x="1734" y="301204"/>
                  <a:pt x="941" y="299150"/>
                  <a:pt x="-7" y="297172"/>
                </a:cubicBezTo>
                <a:cubicBezTo>
                  <a:pt x="-262" y="296622"/>
                  <a:pt x="-25" y="295969"/>
                  <a:pt x="525" y="295714"/>
                </a:cubicBezTo>
                <a:cubicBezTo>
                  <a:pt x="669" y="295645"/>
                  <a:pt x="820" y="295610"/>
                  <a:pt x="976" y="295610"/>
                </a:cubicBezTo>
                <a:cubicBezTo>
                  <a:pt x="5025" y="295610"/>
                  <a:pt x="14454" y="294569"/>
                  <a:pt x="14454" y="287917"/>
                </a:cubicBezTo>
                <a:cubicBezTo>
                  <a:pt x="14454" y="282132"/>
                  <a:pt x="16478" y="275712"/>
                  <a:pt x="22147" y="275712"/>
                </a:cubicBezTo>
                <a:cubicBezTo>
                  <a:pt x="26040" y="276204"/>
                  <a:pt x="29632" y="278066"/>
                  <a:pt x="32270" y="280975"/>
                </a:cubicBezTo>
                <a:cubicBezTo>
                  <a:pt x="34381" y="283370"/>
                  <a:pt x="37192" y="285031"/>
                  <a:pt x="40310" y="285719"/>
                </a:cubicBezTo>
                <a:cubicBezTo>
                  <a:pt x="42045" y="285719"/>
                  <a:pt x="42855" y="284099"/>
                  <a:pt x="43896" y="281554"/>
                </a:cubicBezTo>
                <a:cubicBezTo>
                  <a:pt x="44243" y="280553"/>
                  <a:pt x="44706" y="279605"/>
                  <a:pt x="45285" y="278720"/>
                </a:cubicBezTo>
                <a:cubicBezTo>
                  <a:pt x="46239" y="277395"/>
                  <a:pt x="47830" y="276689"/>
                  <a:pt x="49449" y="276869"/>
                </a:cubicBezTo>
                <a:cubicBezTo>
                  <a:pt x="51688" y="276990"/>
                  <a:pt x="53898" y="277378"/>
                  <a:pt x="56044" y="278026"/>
                </a:cubicBezTo>
                <a:cubicBezTo>
                  <a:pt x="58832" y="278818"/>
                  <a:pt x="61706" y="279286"/>
                  <a:pt x="64605" y="279414"/>
                </a:cubicBezTo>
                <a:cubicBezTo>
                  <a:pt x="70383" y="278864"/>
                  <a:pt x="76011" y="277256"/>
                  <a:pt x="81206" y="274671"/>
                </a:cubicBezTo>
                <a:cubicBezTo>
                  <a:pt x="81206" y="274671"/>
                  <a:pt x="81669" y="274671"/>
                  <a:pt x="81726" y="274671"/>
                </a:cubicBezTo>
                <a:cubicBezTo>
                  <a:pt x="81784" y="274671"/>
                  <a:pt x="107236" y="274671"/>
                  <a:pt x="132861" y="274671"/>
                </a:cubicBezTo>
                <a:cubicBezTo>
                  <a:pt x="179715" y="274671"/>
                  <a:pt x="186888" y="273687"/>
                  <a:pt x="187813" y="273224"/>
                </a:cubicBezTo>
                <a:cubicBezTo>
                  <a:pt x="190705" y="271778"/>
                  <a:pt x="191341" y="259805"/>
                  <a:pt x="190879" y="251475"/>
                </a:cubicBezTo>
                <a:lnTo>
                  <a:pt x="182607" y="243203"/>
                </a:lnTo>
                <a:cubicBezTo>
                  <a:pt x="182520" y="242978"/>
                  <a:pt x="182520" y="242735"/>
                  <a:pt x="182607" y="242509"/>
                </a:cubicBezTo>
                <a:lnTo>
                  <a:pt x="156866" y="1183"/>
                </a:lnTo>
                <a:cubicBezTo>
                  <a:pt x="156733" y="911"/>
                  <a:pt x="156733" y="587"/>
                  <a:pt x="156866" y="315"/>
                </a:cubicBezTo>
                <a:cubicBezTo>
                  <a:pt x="157074" y="49"/>
                  <a:pt x="157398" y="-101"/>
                  <a:pt x="157734" y="-90"/>
                </a:cubicBezTo>
                <a:lnTo>
                  <a:pt x="203720" y="-90"/>
                </a:lnTo>
                <a:cubicBezTo>
                  <a:pt x="203928" y="-142"/>
                  <a:pt x="204148" y="-142"/>
                  <a:pt x="204356" y="-90"/>
                </a:cubicBezTo>
                <a:cubicBezTo>
                  <a:pt x="260292" y="36930"/>
                  <a:pt x="367593" y="108368"/>
                  <a:pt x="372973" y="113690"/>
                </a:cubicBezTo>
                <a:cubicBezTo>
                  <a:pt x="379630" y="121273"/>
                  <a:pt x="385449" y="129556"/>
                  <a:pt x="390326" y="138389"/>
                </a:cubicBezTo>
                <a:cubicBezTo>
                  <a:pt x="400998" y="139772"/>
                  <a:pt x="411341" y="143046"/>
                  <a:pt x="420867" y="148049"/>
                </a:cubicBezTo>
                <a:cubicBezTo>
                  <a:pt x="432899" y="154875"/>
                  <a:pt x="434634" y="171476"/>
                  <a:pt x="434866" y="176451"/>
                </a:cubicBezTo>
                <a:cubicBezTo>
                  <a:pt x="438510" y="175641"/>
                  <a:pt x="448922" y="173385"/>
                  <a:pt x="456789" y="171765"/>
                </a:cubicBezTo>
                <a:cubicBezTo>
                  <a:pt x="457078" y="171621"/>
                  <a:pt x="457425" y="171621"/>
                  <a:pt x="457714" y="171765"/>
                </a:cubicBezTo>
                <a:cubicBezTo>
                  <a:pt x="457998" y="171968"/>
                  <a:pt x="458165" y="172286"/>
                  <a:pt x="458177" y="172633"/>
                </a:cubicBezTo>
                <a:cubicBezTo>
                  <a:pt x="459276" y="243666"/>
                  <a:pt x="456789" y="245575"/>
                  <a:pt x="455979" y="246211"/>
                </a:cubicBezTo>
                <a:cubicBezTo>
                  <a:pt x="453972" y="249109"/>
                  <a:pt x="452555" y="252371"/>
                  <a:pt x="451814" y="255813"/>
                </a:cubicBezTo>
                <a:cubicBezTo>
                  <a:pt x="450924" y="259556"/>
                  <a:pt x="449356" y="263107"/>
                  <a:pt x="447187" y="266283"/>
                </a:cubicBezTo>
                <a:cubicBezTo>
                  <a:pt x="446394" y="267116"/>
                  <a:pt x="445660" y="268007"/>
                  <a:pt x="444989" y="268944"/>
                </a:cubicBezTo>
                <a:cubicBezTo>
                  <a:pt x="441738" y="274572"/>
                  <a:pt x="435913" y="278234"/>
                  <a:pt x="429429" y="278720"/>
                </a:cubicBezTo>
                <a:cubicBezTo>
                  <a:pt x="423841" y="279021"/>
                  <a:pt x="418276" y="279657"/>
                  <a:pt x="412769" y="280628"/>
                </a:cubicBezTo>
                <a:cubicBezTo>
                  <a:pt x="405545" y="281941"/>
                  <a:pt x="398239" y="282751"/>
                  <a:pt x="390904" y="283058"/>
                </a:cubicBezTo>
                <a:cubicBezTo>
                  <a:pt x="389412" y="283081"/>
                  <a:pt x="387919" y="282965"/>
                  <a:pt x="386450" y="282711"/>
                </a:cubicBezTo>
                <a:lnTo>
                  <a:pt x="383847" y="282711"/>
                </a:lnTo>
                <a:cubicBezTo>
                  <a:pt x="378572" y="283133"/>
                  <a:pt x="373499" y="284949"/>
                  <a:pt x="369155" y="287975"/>
                </a:cubicBezTo>
                <a:cubicBezTo>
                  <a:pt x="367900" y="288785"/>
                  <a:pt x="366581" y="289496"/>
                  <a:pt x="365221" y="290115"/>
                </a:cubicBezTo>
                <a:cubicBezTo>
                  <a:pt x="359917" y="291226"/>
                  <a:pt x="354497" y="291694"/>
                  <a:pt x="349083" y="291503"/>
                </a:cubicBezTo>
                <a:cubicBezTo>
                  <a:pt x="342893" y="291503"/>
                  <a:pt x="332134" y="291098"/>
                  <a:pt x="329300" y="288264"/>
                </a:cubicBezTo>
                <a:cubicBezTo>
                  <a:pt x="328699" y="287622"/>
                  <a:pt x="327865" y="287246"/>
                  <a:pt x="326986" y="287223"/>
                </a:cubicBezTo>
                <a:cubicBezTo>
                  <a:pt x="322781" y="288432"/>
                  <a:pt x="318917" y="290607"/>
                  <a:pt x="315707" y="293585"/>
                </a:cubicBezTo>
                <a:lnTo>
                  <a:pt x="310559" y="297288"/>
                </a:lnTo>
                <a:cubicBezTo>
                  <a:pt x="305578" y="300319"/>
                  <a:pt x="300025" y="302285"/>
                  <a:pt x="294247" y="303072"/>
                </a:cubicBezTo>
                <a:cubicBezTo>
                  <a:pt x="290139" y="303882"/>
                  <a:pt x="287594" y="304460"/>
                  <a:pt x="287594" y="305849"/>
                </a:cubicBezTo>
                <a:cubicBezTo>
                  <a:pt x="287519" y="309967"/>
                  <a:pt x="284118" y="313247"/>
                  <a:pt x="279999" y="313172"/>
                </a:cubicBezTo>
                <a:cubicBezTo>
                  <a:pt x="279791" y="313172"/>
                  <a:pt x="279589" y="313160"/>
                  <a:pt x="279381" y="313137"/>
                </a:cubicBezTo>
                <a:cubicBezTo>
                  <a:pt x="278125" y="313137"/>
                  <a:pt x="276876" y="312946"/>
                  <a:pt x="275678" y="312559"/>
                </a:cubicBezTo>
                <a:cubicBezTo>
                  <a:pt x="273989" y="312026"/>
                  <a:pt x="272242" y="311714"/>
                  <a:pt x="270472" y="311633"/>
                </a:cubicBezTo>
                <a:cubicBezTo>
                  <a:pt x="268274" y="311633"/>
                  <a:pt x="265729" y="312443"/>
                  <a:pt x="264110" y="318285"/>
                </a:cubicBezTo>
                <a:cubicBezTo>
                  <a:pt x="263271" y="321733"/>
                  <a:pt x="260523" y="324388"/>
                  <a:pt x="257053" y="325111"/>
                </a:cubicBezTo>
                <a:cubicBezTo>
                  <a:pt x="254392" y="326036"/>
                  <a:pt x="252425" y="326673"/>
                  <a:pt x="252078" y="330895"/>
                </a:cubicBezTo>
                <a:cubicBezTo>
                  <a:pt x="251731" y="335118"/>
                  <a:pt x="249070" y="336679"/>
                  <a:pt x="246988" y="336679"/>
                </a:cubicBezTo>
                <a:cubicBezTo>
                  <a:pt x="243054" y="336009"/>
                  <a:pt x="239317" y="334470"/>
                  <a:pt x="236055" y="332168"/>
                </a:cubicBezTo>
                <a:lnTo>
                  <a:pt x="233452" y="330664"/>
                </a:lnTo>
                <a:cubicBezTo>
                  <a:pt x="233128" y="330502"/>
                  <a:pt x="232775" y="330404"/>
                  <a:pt x="232411" y="330375"/>
                </a:cubicBezTo>
                <a:cubicBezTo>
                  <a:pt x="229056" y="330375"/>
                  <a:pt x="226627" y="341944"/>
                  <a:pt x="226222" y="349926"/>
                </a:cubicBezTo>
                <a:cubicBezTo>
                  <a:pt x="226297" y="350134"/>
                  <a:pt x="226297" y="350354"/>
                  <a:pt x="226222" y="350562"/>
                </a:cubicBezTo>
                <a:cubicBezTo>
                  <a:pt x="222485" y="355635"/>
                  <a:pt x="219558" y="361252"/>
                  <a:pt x="217545" y="367221"/>
                </a:cubicBezTo>
                <a:cubicBezTo>
                  <a:pt x="214364" y="376245"/>
                  <a:pt x="205455" y="376766"/>
                  <a:pt x="199555" y="377055"/>
                </a:cubicBezTo>
                <a:cubicBezTo>
                  <a:pt x="198057" y="377049"/>
                  <a:pt x="196559" y="377223"/>
                  <a:pt x="195101" y="377575"/>
                </a:cubicBezTo>
                <a:cubicBezTo>
                  <a:pt x="194002" y="378038"/>
                  <a:pt x="195101" y="381451"/>
                  <a:pt x="196085" y="384170"/>
                </a:cubicBezTo>
                <a:cubicBezTo>
                  <a:pt x="197739" y="387461"/>
                  <a:pt x="198173" y="391233"/>
                  <a:pt x="197299" y="394813"/>
                </a:cubicBezTo>
                <a:cubicBezTo>
                  <a:pt x="194361" y="401610"/>
                  <a:pt x="191845" y="408586"/>
                  <a:pt x="189780" y="415695"/>
                </a:cubicBezTo>
                <a:cubicBezTo>
                  <a:pt x="189594" y="416221"/>
                  <a:pt x="189057" y="416533"/>
                  <a:pt x="188507" y="416447"/>
                </a:cubicBezTo>
                <a:cubicBezTo>
                  <a:pt x="186118" y="415972"/>
                  <a:pt x="183642" y="416476"/>
                  <a:pt x="181624" y="417835"/>
                </a:cubicBezTo>
                <a:cubicBezTo>
                  <a:pt x="175839" y="421711"/>
                  <a:pt x="172947" y="422347"/>
                  <a:pt x="171212" y="420380"/>
                </a:cubicBezTo>
                <a:cubicBezTo>
                  <a:pt x="169933" y="418350"/>
                  <a:pt x="169540" y="415886"/>
                  <a:pt x="170113" y="413555"/>
                </a:cubicBezTo>
                <a:cubicBezTo>
                  <a:pt x="170275" y="412762"/>
                  <a:pt x="170084" y="411941"/>
                  <a:pt x="169592" y="411299"/>
                </a:cubicBezTo>
                <a:cubicBezTo>
                  <a:pt x="168794" y="410605"/>
                  <a:pt x="167752" y="410252"/>
                  <a:pt x="166700" y="410316"/>
                </a:cubicBezTo>
                <a:cubicBezTo>
                  <a:pt x="163200" y="410275"/>
                  <a:pt x="160019" y="412357"/>
                  <a:pt x="158660" y="415579"/>
                </a:cubicBezTo>
                <a:cubicBezTo>
                  <a:pt x="156808" y="421526"/>
                  <a:pt x="151458" y="425702"/>
                  <a:pt x="145240" y="426049"/>
                </a:cubicBezTo>
                <a:close/>
                <a:moveTo>
                  <a:pt x="131878" y="414480"/>
                </a:moveTo>
                <a:cubicBezTo>
                  <a:pt x="136100" y="414480"/>
                  <a:pt x="140496" y="419397"/>
                  <a:pt x="142463" y="422289"/>
                </a:cubicBezTo>
                <a:cubicBezTo>
                  <a:pt x="143088" y="423191"/>
                  <a:pt x="144146" y="423695"/>
                  <a:pt x="145240" y="423620"/>
                </a:cubicBezTo>
                <a:cubicBezTo>
                  <a:pt x="150041" y="423093"/>
                  <a:pt x="154119" y="419883"/>
                  <a:pt x="155767" y="415348"/>
                </a:cubicBezTo>
                <a:cubicBezTo>
                  <a:pt x="157364" y="411096"/>
                  <a:pt x="161465" y="408314"/>
                  <a:pt x="166006" y="408407"/>
                </a:cubicBezTo>
                <a:cubicBezTo>
                  <a:pt x="167718" y="408297"/>
                  <a:pt x="169395" y="408950"/>
                  <a:pt x="170575" y="410200"/>
                </a:cubicBezTo>
                <a:cubicBezTo>
                  <a:pt x="171524" y="411293"/>
                  <a:pt x="171929" y="412762"/>
                  <a:pt x="171674" y="414191"/>
                </a:cubicBezTo>
                <a:cubicBezTo>
                  <a:pt x="171327" y="417488"/>
                  <a:pt x="171674" y="418761"/>
                  <a:pt x="172195" y="419223"/>
                </a:cubicBezTo>
                <a:cubicBezTo>
                  <a:pt x="172473" y="419333"/>
                  <a:pt x="172785" y="419333"/>
                  <a:pt x="173063" y="419223"/>
                </a:cubicBezTo>
                <a:cubicBezTo>
                  <a:pt x="175480" y="418749"/>
                  <a:pt x="177736" y="417656"/>
                  <a:pt x="179599" y="416042"/>
                </a:cubicBezTo>
                <a:cubicBezTo>
                  <a:pt x="181815" y="414515"/>
                  <a:pt x="184504" y="413838"/>
                  <a:pt x="187177" y="414133"/>
                </a:cubicBezTo>
                <a:cubicBezTo>
                  <a:pt x="189259" y="407232"/>
                  <a:pt x="191735" y="400453"/>
                  <a:pt x="194581" y="393830"/>
                </a:cubicBezTo>
                <a:cubicBezTo>
                  <a:pt x="195564" y="391921"/>
                  <a:pt x="194581" y="388045"/>
                  <a:pt x="193250" y="384922"/>
                </a:cubicBezTo>
                <a:cubicBezTo>
                  <a:pt x="191804" y="380757"/>
                  <a:pt x="190474" y="376766"/>
                  <a:pt x="193597" y="375551"/>
                </a:cubicBezTo>
                <a:cubicBezTo>
                  <a:pt x="195275" y="375083"/>
                  <a:pt x="197004" y="374845"/>
                  <a:pt x="198746" y="374857"/>
                </a:cubicBezTo>
                <a:cubicBezTo>
                  <a:pt x="204530" y="374567"/>
                  <a:pt x="211992" y="374163"/>
                  <a:pt x="214768" y="366527"/>
                </a:cubicBezTo>
                <a:cubicBezTo>
                  <a:pt x="216805" y="360419"/>
                  <a:pt x="219766" y="354663"/>
                  <a:pt x="223561" y="349463"/>
                </a:cubicBezTo>
                <a:cubicBezTo>
                  <a:pt x="223908" y="345183"/>
                  <a:pt x="225528" y="328177"/>
                  <a:pt x="232006" y="328177"/>
                </a:cubicBezTo>
                <a:cubicBezTo>
                  <a:pt x="232741" y="328177"/>
                  <a:pt x="233458" y="328379"/>
                  <a:pt x="234088" y="328755"/>
                </a:cubicBezTo>
                <a:lnTo>
                  <a:pt x="236807" y="330259"/>
                </a:lnTo>
                <a:cubicBezTo>
                  <a:pt x="239734" y="332341"/>
                  <a:pt x="243066" y="333782"/>
                  <a:pt x="246583" y="334481"/>
                </a:cubicBezTo>
                <a:cubicBezTo>
                  <a:pt x="247335" y="334481"/>
                  <a:pt x="249070" y="334481"/>
                  <a:pt x="249417" y="330433"/>
                </a:cubicBezTo>
                <a:cubicBezTo>
                  <a:pt x="249388" y="326580"/>
                  <a:pt x="252159" y="323277"/>
                  <a:pt x="255954" y="322623"/>
                </a:cubicBezTo>
                <a:cubicBezTo>
                  <a:pt x="258776" y="322172"/>
                  <a:pt x="261055" y="320078"/>
                  <a:pt x="261738" y="317302"/>
                </a:cubicBezTo>
                <a:cubicBezTo>
                  <a:pt x="263300" y="311517"/>
                  <a:pt x="265961" y="309030"/>
                  <a:pt x="270241" y="309030"/>
                </a:cubicBezTo>
                <a:cubicBezTo>
                  <a:pt x="272208" y="309117"/>
                  <a:pt x="274151" y="309470"/>
                  <a:pt x="276025" y="310071"/>
                </a:cubicBezTo>
                <a:cubicBezTo>
                  <a:pt x="277020" y="310360"/>
                  <a:pt x="278056" y="310516"/>
                  <a:pt x="279091" y="310534"/>
                </a:cubicBezTo>
                <a:cubicBezTo>
                  <a:pt x="282735" y="310534"/>
                  <a:pt x="284876" y="308567"/>
                  <a:pt x="284876" y="305502"/>
                </a:cubicBezTo>
                <a:cubicBezTo>
                  <a:pt x="284876" y="302436"/>
                  <a:pt x="288635" y="301453"/>
                  <a:pt x="293379" y="300469"/>
                </a:cubicBezTo>
                <a:cubicBezTo>
                  <a:pt x="298880" y="299659"/>
                  <a:pt x="304144" y="297687"/>
                  <a:pt x="308823" y="294684"/>
                </a:cubicBezTo>
                <a:lnTo>
                  <a:pt x="313913" y="290983"/>
                </a:lnTo>
                <a:cubicBezTo>
                  <a:pt x="317431" y="287633"/>
                  <a:pt x="321786" y="285296"/>
                  <a:pt x="326523" y="284215"/>
                </a:cubicBezTo>
                <a:cubicBezTo>
                  <a:pt x="327993" y="284221"/>
                  <a:pt x="329393" y="284828"/>
                  <a:pt x="330399" y="285892"/>
                </a:cubicBezTo>
                <a:cubicBezTo>
                  <a:pt x="336172" y="288229"/>
                  <a:pt x="342425" y="289126"/>
                  <a:pt x="348620" y="288495"/>
                </a:cubicBezTo>
                <a:cubicBezTo>
                  <a:pt x="353757" y="288669"/>
                  <a:pt x="358899" y="288258"/>
                  <a:pt x="363949" y="287281"/>
                </a:cubicBezTo>
                <a:cubicBezTo>
                  <a:pt x="364874" y="286876"/>
                  <a:pt x="366089" y="286124"/>
                  <a:pt x="367535" y="285314"/>
                </a:cubicBezTo>
                <a:cubicBezTo>
                  <a:pt x="372192" y="281976"/>
                  <a:pt x="377670" y="279975"/>
                  <a:pt x="383384" y="279529"/>
                </a:cubicBezTo>
                <a:cubicBezTo>
                  <a:pt x="384368" y="279443"/>
                  <a:pt x="385351" y="279443"/>
                  <a:pt x="386335" y="279529"/>
                </a:cubicBezTo>
                <a:cubicBezTo>
                  <a:pt x="387700" y="279633"/>
                  <a:pt x="389076" y="279633"/>
                  <a:pt x="390442" y="279529"/>
                </a:cubicBezTo>
                <a:cubicBezTo>
                  <a:pt x="397661" y="279211"/>
                  <a:pt x="404845" y="278419"/>
                  <a:pt x="411960" y="277158"/>
                </a:cubicBezTo>
                <a:cubicBezTo>
                  <a:pt x="417582" y="276134"/>
                  <a:pt x="423262" y="275474"/>
                  <a:pt x="428966" y="275191"/>
                </a:cubicBezTo>
                <a:cubicBezTo>
                  <a:pt x="434756" y="274711"/>
                  <a:pt x="439927" y="271368"/>
                  <a:pt x="442733" y="266283"/>
                </a:cubicBezTo>
                <a:cubicBezTo>
                  <a:pt x="443456" y="265254"/>
                  <a:pt x="444271" y="264282"/>
                  <a:pt x="445162" y="263391"/>
                </a:cubicBezTo>
                <a:cubicBezTo>
                  <a:pt x="446979" y="260429"/>
                  <a:pt x="448343" y="257213"/>
                  <a:pt x="449211" y="253846"/>
                </a:cubicBezTo>
                <a:cubicBezTo>
                  <a:pt x="449998" y="249919"/>
                  <a:pt x="451705" y="246234"/>
                  <a:pt x="454186" y="243087"/>
                </a:cubicBezTo>
                <a:cubicBezTo>
                  <a:pt x="455516" y="240889"/>
                  <a:pt x="456095" y="213240"/>
                  <a:pt x="455459" y="172749"/>
                </a:cubicBezTo>
                <a:cubicBezTo>
                  <a:pt x="445972" y="174715"/>
                  <a:pt x="433709" y="177376"/>
                  <a:pt x="433593" y="177434"/>
                </a:cubicBezTo>
                <a:cubicBezTo>
                  <a:pt x="433281" y="177573"/>
                  <a:pt x="432922" y="177573"/>
                  <a:pt x="432610" y="177434"/>
                </a:cubicBezTo>
                <a:cubicBezTo>
                  <a:pt x="432361" y="177214"/>
                  <a:pt x="432217" y="176896"/>
                  <a:pt x="432205" y="176567"/>
                </a:cubicBezTo>
                <a:cubicBezTo>
                  <a:pt x="432205" y="176567"/>
                  <a:pt x="432205" y="156032"/>
                  <a:pt x="419306" y="148743"/>
                </a:cubicBezTo>
                <a:cubicBezTo>
                  <a:pt x="409854" y="143850"/>
                  <a:pt x="399616" y="140657"/>
                  <a:pt x="389053" y="139315"/>
                </a:cubicBezTo>
                <a:cubicBezTo>
                  <a:pt x="388695" y="139263"/>
                  <a:pt x="388371" y="139049"/>
                  <a:pt x="388186" y="138736"/>
                </a:cubicBezTo>
                <a:cubicBezTo>
                  <a:pt x="383286" y="129915"/>
                  <a:pt x="377467" y="121638"/>
                  <a:pt x="370832" y="114037"/>
                </a:cubicBezTo>
                <a:cubicBezTo>
                  <a:pt x="366494" y="109699"/>
                  <a:pt x="283083" y="53763"/>
                  <a:pt x="203084" y="720"/>
                </a:cubicBezTo>
                <a:lnTo>
                  <a:pt x="158544" y="720"/>
                </a:lnTo>
                <a:lnTo>
                  <a:pt x="184285" y="241699"/>
                </a:lnTo>
                <a:lnTo>
                  <a:pt x="192556" y="249971"/>
                </a:lnTo>
                <a:cubicBezTo>
                  <a:pt x="192770" y="250162"/>
                  <a:pt x="192898" y="250434"/>
                  <a:pt x="192903" y="250723"/>
                </a:cubicBezTo>
                <a:cubicBezTo>
                  <a:pt x="192903" y="254309"/>
                  <a:pt x="193887" y="272415"/>
                  <a:pt x="188623" y="275076"/>
                </a:cubicBezTo>
                <a:cubicBezTo>
                  <a:pt x="187697" y="275538"/>
                  <a:pt x="185268" y="276753"/>
                  <a:pt x="132630" y="276753"/>
                </a:cubicBezTo>
                <a:cubicBezTo>
                  <a:pt x="108393" y="276753"/>
                  <a:pt x="84561" y="276753"/>
                  <a:pt x="81726" y="276753"/>
                </a:cubicBezTo>
                <a:cubicBezTo>
                  <a:pt x="76295" y="279443"/>
                  <a:pt x="70412" y="281091"/>
                  <a:pt x="64373" y="281612"/>
                </a:cubicBezTo>
                <a:cubicBezTo>
                  <a:pt x="61302" y="281491"/>
                  <a:pt x="58253" y="281004"/>
                  <a:pt x="55292" y="280166"/>
                </a:cubicBezTo>
                <a:cubicBezTo>
                  <a:pt x="53406" y="279593"/>
                  <a:pt x="51468" y="279229"/>
                  <a:pt x="49507" y="279067"/>
                </a:cubicBezTo>
                <a:cubicBezTo>
                  <a:pt x="47945" y="279067"/>
                  <a:pt x="47425" y="279529"/>
                  <a:pt x="47193" y="279934"/>
                </a:cubicBezTo>
                <a:cubicBezTo>
                  <a:pt x="46742" y="280692"/>
                  <a:pt x="46355" y="281485"/>
                  <a:pt x="46037" y="282306"/>
                </a:cubicBezTo>
                <a:cubicBezTo>
                  <a:pt x="45053" y="284851"/>
                  <a:pt x="43781" y="288091"/>
                  <a:pt x="40252" y="288091"/>
                </a:cubicBezTo>
                <a:cubicBezTo>
                  <a:pt x="36556" y="287466"/>
                  <a:pt x="33184" y="285586"/>
                  <a:pt x="30708" y="282769"/>
                </a:cubicBezTo>
                <a:cubicBezTo>
                  <a:pt x="28446" y="280276"/>
                  <a:pt x="25409" y="278627"/>
                  <a:pt x="22089" y="278083"/>
                </a:cubicBezTo>
                <a:cubicBezTo>
                  <a:pt x="17808" y="278083"/>
                  <a:pt x="16652" y="284330"/>
                  <a:pt x="16652" y="288033"/>
                </a:cubicBezTo>
                <a:cubicBezTo>
                  <a:pt x="16652" y="293817"/>
                  <a:pt x="11446" y="297288"/>
                  <a:pt x="2653" y="297866"/>
                </a:cubicBezTo>
                <a:cubicBezTo>
                  <a:pt x="3347" y="299428"/>
                  <a:pt x="3943" y="301030"/>
                  <a:pt x="4446" y="302667"/>
                </a:cubicBezTo>
                <a:lnTo>
                  <a:pt x="9363" y="309955"/>
                </a:lnTo>
                <a:cubicBezTo>
                  <a:pt x="9415" y="310181"/>
                  <a:pt x="9415" y="310418"/>
                  <a:pt x="9363" y="310650"/>
                </a:cubicBezTo>
                <a:cubicBezTo>
                  <a:pt x="9363" y="310650"/>
                  <a:pt x="8669" y="322218"/>
                  <a:pt x="13065" y="326788"/>
                </a:cubicBezTo>
                <a:cubicBezTo>
                  <a:pt x="20296" y="333961"/>
                  <a:pt x="27122" y="341134"/>
                  <a:pt x="27931" y="345067"/>
                </a:cubicBezTo>
                <a:cubicBezTo>
                  <a:pt x="28365" y="352367"/>
                  <a:pt x="28365" y="359690"/>
                  <a:pt x="27931" y="366990"/>
                </a:cubicBezTo>
                <a:cubicBezTo>
                  <a:pt x="28799" y="370403"/>
                  <a:pt x="30708" y="375030"/>
                  <a:pt x="32327" y="375030"/>
                </a:cubicBezTo>
                <a:cubicBezTo>
                  <a:pt x="32790" y="375030"/>
                  <a:pt x="33369" y="374567"/>
                  <a:pt x="34005" y="373758"/>
                </a:cubicBezTo>
                <a:cubicBezTo>
                  <a:pt x="35000" y="372237"/>
                  <a:pt x="36700" y="371323"/>
                  <a:pt x="38517" y="371328"/>
                </a:cubicBezTo>
                <a:cubicBezTo>
                  <a:pt x="40223" y="371456"/>
                  <a:pt x="41895" y="371907"/>
                  <a:pt x="43433" y="372659"/>
                </a:cubicBezTo>
                <a:cubicBezTo>
                  <a:pt x="44492" y="373237"/>
                  <a:pt x="45649" y="373607"/>
                  <a:pt x="46846" y="373758"/>
                </a:cubicBezTo>
                <a:cubicBezTo>
                  <a:pt x="47598" y="373758"/>
                  <a:pt x="48408" y="373469"/>
                  <a:pt x="49160" y="371560"/>
                </a:cubicBezTo>
                <a:cubicBezTo>
                  <a:pt x="49959" y="369206"/>
                  <a:pt x="52168" y="367620"/>
                  <a:pt x="54655" y="367626"/>
                </a:cubicBezTo>
                <a:cubicBezTo>
                  <a:pt x="57646" y="367973"/>
                  <a:pt x="60538" y="368916"/>
                  <a:pt x="63159" y="370403"/>
                </a:cubicBezTo>
                <a:cubicBezTo>
                  <a:pt x="64940" y="371450"/>
                  <a:pt x="66901" y="372161"/>
                  <a:pt x="68943" y="372485"/>
                </a:cubicBezTo>
                <a:cubicBezTo>
                  <a:pt x="71025" y="372485"/>
                  <a:pt x="75479" y="368378"/>
                  <a:pt x="79008" y="365139"/>
                </a:cubicBezTo>
                <a:cubicBezTo>
                  <a:pt x="83751" y="360743"/>
                  <a:pt x="86643" y="358256"/>
                  <a:pt x="88610" y="358776"/>
                </a:cubicBezTo>
                <a:cubicBezTo>
                  <a:pt x="92717" y="359759"/>
                  <a:pt x="100179" y="374336"/>
                  <a:pt x="100179" y="380063"/>
                </a:cubicBezTo>
                <a:cubicBezTo>
                  <a:pt x="100179" y="382377"/>
                  <a:pt x="103881" y="385211"/>
                  <a:pt x="106542" y="387235"/>
                </a:cubicBezTo>
                <a:cubicBezTo>
                  <a:pt x="109202" y="389260"/>
                  <a:pt x="111111" y="390764"/>
                  <a:pt x="110822" y="392384"/>
                </a:cubicBezTo>
                <a:cubicBezTo>
                  <a:pt x="110614" y="393234"/>
                  <a:pt x="109943" y="393882"/>
                  <a:pt x="109087" y="394061"/>
                </a:cubicBezTo>
                <a:cubicBezTo>
                  <a:pt x="106964" y="394894"/>
                  <a:pt x="105674" y="397063"/>
                  <a:pt x="105963" y="399325"/>
                </a:cubicBezTo>
                <a:cubicBezTo>
                  <a:pt x="106114" y="400690"/>
                  <a:pt x="107340" y="401673"/>
                  <a:pt x="108705" y="401529"/>
                </a:cubicBezTo>
                <a:cubicBezTo>
                  <a:pt x="108717" y="401523"/>
                  <a:pt x="108728" y="401523"/>
                  <a:pt x="108740" y="401523"/>
                </a:cubicBezTo>
                <a:cubicBezTo>
                  <a:pt x="113078" y="401523"/>
                  <a:pt x="113714" y="406208"/>
                  <a:pt x="114235" y="410258"/>
                </a:cubicBezTo>
                <a:cubicBezTo>
                  <a:pt x="114339" y="412739"/>
                  <a:pt x="114993" y="415169"/>
                  <a:pt x="116144" y="417372"/>
                </a:cubicBezTo>
                <a:cubicBezTo>
                  <a:pt x="117625" y="420033"/>
                  <a:pt x="120210" y="421902"/>
                  <a:pt x="123201" y="422463"/>
                </a:cubicBezTo>
                <a:cubicBezTo>
                  <a:pt x="124820" y="422463"/>
                  <a:pt x="126093" y="421364"/>
                  <a:pt x="127076" y="419166"/>
                </a:cubicBezTo>
                <a:cubicBezTo>
                  <a:pt x="127580" y="416805"/>
                  <a:pt x="129494" y="415012"/>
                  <a:pt x="131878" y="41465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6" name="Forma libre: forma 305">
            <a:extLst>
              <a:ext uri="{FF2B5EF4-FFF2-40B4-BE49-F238E27FC236}">
                <a16:creationId xmlns:a16="http://schemas.microsoft.com/office/drawing/2014/main" id="{36258AF3-B649-B56F-224B-DB43A4B30D4E}"/>
              </a:ext>
            </a:extLst>
          </p:cNvPr>
          <p:cNvSpPr/>
          <p:nvPr/>
        </p:nvSpPr>
        <p:spPr>
          <a:xfrm>
            <a:off x="6034781" y="4062424"/>
            <a:ext cx="225509" cy="154791"/>
          </a:xfrm>
          <a:custGeom>
            <a:avLst/>
            <a:gdLst>
              <a:gd name="connsiteX0" fmla="*/ 33269 w 225509"/>
              <a:gd name="connsiteY0" fmla="*/ 154662 h 154791"/>
              <a:gd name="connsiteX1" fmla="*/ 13255 w 225509"/>
              <a:gd name="connsiteY1" fmla="*/ 140490 h 154791"/>
              <a:gd name="connsiteX2" fmla="*/ 761 w 225509"/>
              <a:gd name="connsiteY2" fmla="*/ 132161 h 154791"/>
              <a:gd name="connsiteX3" fmla="*/ -49 w 225509"/>
              <a:gd name="connsiteY3" fmla="*/ 131640 h 154791"/>
              <a:gd name="connsiteX4" fmla="*/ -49 w 225509"/>
              <a:gd name="connsiteY4" fmla="*/ 130715 h 154791"/>
              <a:gd name="connsiteX5" fmla="*/ 7644 w 225509"/>
              <a:gd name="connsiteY5" fmla="*/ 109486 h 154791"/>
              <a:gd name="connsiteX6" fmla="*/ 6314 w 225509"/>
              <a:gd name="connsiteY6" fmla="*/ 100578 h 154791"/>
              <a:gd name="connsiteX7" fmla="*/ 6661 w 225509"/>
              <a:gd name="connsiteY7" fmla="*/ 91207 h 154791"/>
              <a:gd name="connsiteX8" fmla="*/ 11809 w 225509"/>
              <a:gd name="connsiteY8" fmla="*/ 90513 h 154791"/>
              <a:gd name="connsiteX9" fmla="*/ 27832 w 225509"/>
              <a:gd name="connsiteY9" fmla="*/ 82183 h 154791"/>
              <a:gd name="connsiteX10" fmla="*/ 36625 w 225509"/>
              <a:gd name="connsiteY10" fmla="*/ 65120 h 154791"/>
              <a:gd name="connsiteX11" fmla="*/ 45070 w 225509"/>
              <a:gd name="connsiteY11" fmla="*/ 43833 h 154791"/>
              <a:gd name="connsiteX12" fmla="*/ 47152 w 225509"/>
              <a:gd name="connsiteY12" fmla="*/ 44411 h 154791"/>
              <a:gd name="connsiteX13" fmla="*/ 49871 w 225509"/>
              <a:gd name="connsiteY13" fmla="*/ 45915 h 154791"/>
              <a:gd name="connsiteX14" fmla="*/ 59646 w 225509"/>
              <a:gd name="connsiteY14" fmla="*/ 50138 h 154791"/>
              <a:gd name="connsiteX15" fmla="*/ 62481 w 225509"/>
              <a:gd name="connsiteY15" fmla="*/ 46089 h 154791"/>
              <a:gd name="connsiteX16" fmla="*/ 69017 w 225509"/>
              <a:gd name="connsiteY16" fmla="*/ 38280 h 154791"/>
              <a:gd name="connsiteX17" fmla="*/ 74802 w 225509"/>
              <a:gd name="connsiteY17" fmla="*/ 32958 h 154791"/>
              <a:gd name="connsiteX18" fmla="*/ 83305 w 225509"/>
              <a:gd name="connsiteY18" fmla="*/ 24686 h 154791"/>
              <a:gd name="connsiteX19" fmla="*/ 89089 w 225509"/>
              <a:gd name="connsiteY19" fmla="*/ 25728 h 154791"/>
              <a:gd name="connsiteX20" fmla="*/ 92155 w 225509"/>
              <a:gd name="connsiteY20" fmla="*/ 26190 h 154791"/>
              <a:gd name="connsiteX21" fmla="*/ 97939 w 225509"/>
              <a:gd name="connsiteY21" fmla="*/ 21158 h 154791"/>
              <a:gd name="connsiteX22" fmla="*/ 106443 w 225509"/>
              <a:gd name="connsiteY22" fmla="*/ 16125 h 154791"/>
              <a:gd name="connsiteX23" fmla="*/ 121887 w 225509"/>
              <a:gd name="connsiteY23" fmla="*/ 10341 h 154791"/>
              <a:gd name="connsiteX24" fmla="*/ 126977 w 225509"/>
              <a:gd name="connsiteY24" fmla="*/ 6639 h 154791"/>
              <a:gd name="connsiteX25" fmla="*/ 139587 w 225509"/>
              <a:gd name="connsiteY25" fmla="*/ -129 h 154791"/>
              <a:gd name="connsiteX26" fmla="*/ 143463 w 225509"/>
              <a:gd name="connsiteY26" fmla="*/ 1548 h 154791"/>
              <a:gd name="connsiteX27" fmla="*/ 159659 w 225509"/>
              <a:gd name="connsiteY27" fmla="*/ 4151 h 154791"/>
              <a:gd name="connsiteX28" fmla="*/ 160527 w 225509"/>
              <a:gd name="connsiteY28" fmla="*/ 4556 h 154791"/>
              <a:gd name="connsiteX29" fmla="*/ 160527 w 225509"/>
              <a:gd name="connsiteY29" fmla="*/ 5424 h 154791"/>
              <a:gd name="connsiteX30" fmla="*/ 160238 w 225509"/>
              <a:gd name="connsiteY30" fmla="*/ 18960 h 154791"/>
              <a:gd name="connsiteX31" fmla="*/ 164171 w 225509"/>
              <a:gd name="connsiteY31" fmla="*/ 25728 h 154791"/>
              <a:gd name="connsiteX32" fmla="*/ 169377 w 225509"/>
              <a:gd name="connsiteY32" fmla="*/ 34751 h 154791"/>
              <a:gd name="connsiteX33" fmla="*/ 170476 w 225509"/>
              <a:gd name="connsiteY33" fmla="*/ 35561 h 154791"/>
              <a:gd name="connsiteX34" fmla="*/ 182566 w 225509"/>
              <a:gd name="connsiteY34" fmla="*/ 50196 h 154791"/>
              <a:gd name="connsiteX35" fmla="*/ 186268 w 225509"/>
              <a:gd name="connsiteY35" fmla="*/ 59393 h 154791"/>
              <a:gd name="connsiteX36" fmla="*/ 192630 w 225509"/>
              <a:gd name="connsiteY36" fmla="*/ 64310 h 154791"/>
              <a:gd name="connsiteX37" fmla="*/ 197605 w 225509"/>
              <a:gd name="connsiteY37" fmla="*/ 69168 h 154791"/>
              <a:gd name="connsiteX38" fmla="*/ 206050 w 225509"/>
              <a:gd name="connsiteY38" fmla="*/ 67896 h 154791"/>
              <a:gd name="connsiteX39" fmla="*/ 210215 w 225509"/>
              <a:gd name="connsiteY39" fmla="*/ 66855 h 154791"/>
              <a:gd name="connsiteX40" fmla="*/ 212066 w 225509"/>
              <a:gd name="connsiteY40" fmla="*/ 67722 h 154791"/>
              <a:gd name="connsiteX41" fmla="*/ 212703 w 225509"/>
              <a:gd name="connsiteY41" fmla="*/ 74837 h 154791"/>
              <a:gd name="connsiteX42" fmla="*/ 213165 w 225509"/>
              <a:gd name="connsiteY42" fmla="*/ 82415 h 154791"/>
              <a:gd name="connsiteX43" fmla="*/ 224734 w 225509"/>
              <a:gd name="connsiteY43" fmla="*/ 87679 h 154791"/>
              <a:gd name="connsiteX44" fmla="*/ 225081 w 225509"/>
              <a:gd name="connsiteY44" fmla="*/ 88488 h 154791"/>
              <a:gd name="connsiteX45" fmla="*/ 221032 w 225509"/>
              <a:gd name="connsiteY45" fmla="*/ 97107 h 154791"/>
              <a:gd name="connsiteX46" fmla="*/ 217619 w 225509"/>
              <a:gd name="connsiteY46" fmla="*/ 99999 h 154791"/>
              <a:gd name="connsiteX47" fmla="*/ 194077 w 225509"/>
              <a:gd name="connsiteY47" fmla="*/ 105263 h 154791"/>
              <a:gd name="connsiteX48" fmla="*/ 186326 w 225509"/>
              <a:gd name="connsiteY48" fmla="*/ 110411 h 154791"/>
              <a:gd name="connsiteX49" fmla="*/ 179095 w 225509"/>
              <a:gd name="connsiteY49" fmla="*/ 115733 h 154791"/>
              <a:gd name="connsiteX50" fmla="*/ 163361 w 225509"/>
              <a:gd name="connsiteY50" fmla="*/ 114229 h 154791"/>
              <a:gd name="connsiteX51" fmla="*/ 153586 w 225509"/>
              <a:gd name="connsiteY51" fmla="*/ 112552 h 154791"/>
              <a:gd name="connsiteX52" fmla="*/ 146760 w 225509"/>
              <a:gd name="connsiteY52" fmla="*/ 117873 h 154791"/>
              <a:gd name="connsiteX53" fmla="*/ 144099 w 225509"/>
              <a:gd name="connsiteY53" fmla="*/ 120650 h 154791"/>
              <a:gd name="connsiteX54" fmla="*/ 142248 w 225509"/>
              <a:gd name="connsiteY54" fmla="*/ 119262 h 154791"/>
              <a:gd name="connsiteX55" fmla="*/ 98749 w 225509"/>
              <a:gd name="connsiteY55" fmla="*/ 115502 h 154791"/>
              <a:gd name="connsiteX56" fmla="*/ 75612 w 225509"/>
              <a:gd name="connsiteY56" fmla="*/ 117700 h 154791"/>
              <a:gd name="connsiteX57" fmla="*/ 78215 w 225509"/>
              <a:gd name="connsiteY57" fmla="*/ 133434 h 154791"/>
              <a:gd name="connsiteX58" fmla="*/ 80644 w 225509"/>
              <a:gd name="connsiteY58" fmla="*/ 145002 h 154791"/>
              <a:gd name="connsiteX59" fmla="*/ 69827 w 225509"/>
              <a:gd name="connsiteY59" fmla="*/ 148010 h 154791"/>
              <a:gd name="connsiteX60" fmla="*/ 59068 w 225509"/>
              <a:gd name="connsiteY60" fmla="*/ 145350 h 154791"/>
              <a:gd name="connsiteX61" fmla="*/ 39170 w 225509"/>
              <a:gd name="connsiteY61" fmla="*/ 152001 h 154791"/>
              <a:gd name="connsiteX62" fmla="*/ 33269 w 225509"/>
              <a:gd name="connsiteY62" fmla="*/ 154662 h 154791"/>
              <a:gd name="connsiteX63" fmla="*/ 2381 w 225509"/>
              <a:gd name="connsiteY63" fmla="*/ 130426 h 154791"/>
              <a:gd name="connsiteX64" fmla="*/ 15164 w 225509"/>
              <a:gd name="connsiteY64" fmla="*/ 139565 h 154791"/>
              <a:gd name="connsiteX65" fmla="*/ 33269 w 225509"/>
              <a:gd name="connsiteY65" fmla="*/ 152638 h 154791"/>
              <a:gd name="connsiteX66" fmla="*/ 37608 w 225509"/>
              <a:gd name="connsiteY66" fmla="*/ 150671 h 154791"/>
              <a:gd name="connsiteX67" fmla="*/ 59184 w 225509"/>
              <a:gd name="connsiteY67" fmla="*/ 143267 h 154791"/>
              <a:gd name="connsiteX68" fmla="*/ 71562 w 225509"/>
              <a:gd name="connsiteY68" fmla="*/ 146564 h 154791"/>
              <a:gd name="connsiteX69" fmla="*/ 75554 w 225509"/>
              <a:gd name="connsiteY69" fmla="*/ 148878 h 154791"/>
              <a:gd name="connsiteX70" fmla="*/ 78504 w 225509"/>
              <a:gd name="connsiteY70" fmla="*/ 144771 h 154791"/>
              <a:gd name="connsiteX71" fmla="*/ 76132 w 225509"/>
              <a:gd name="connsiteY71" fmla="*/ 134533 h 154791"/>
              <a:gd name="connsiteX72" fmla="*/ 73876 w 225509"/>
              <a:gd name="connsiteY72" fmla="*/ 117179 h 154791"/>
              <a:gd name="connsiteX73" fmla="*/ 98980 w 225509"/>
              <a:gd name="connsiteY73" fmla="*/ 113998 h 154791"/>
              <a:gd name="connsiteX74" fmla="*/ 144331 w 225509"/>
              <a:gd name="connsiteY74" fmla="*/ 118741 h 154791"/>
              <a:gd name="connsiteX75" fmla="*/ 144967 w 225509"/>
              <a:gd name="connsiteY75" fmla="*/ 117584 h 154791"/>
              <a:gd name="connsiteX76" fmla="*/ 154048 w 225509"/>
              <a:gd name="connsiteY76" fmla="*/ 111048 h 154791"/>
              <a:gd name="connsiteX77" fmla="*/ 164055 w 225509"/>
              <a:gd name="connsiteY77" fmla="*/ 112783 h 154791"/>
              <a:gd name="connsiteX78" fmla="*/ 178632 w 225509"/>
              <a:gd name="connsiteY78" fmla="*/ 114345 h 154791"/>
              <a:gd name="connsiteX79" fmla="*/ 184995 w 225509"/>
              <a:gd name="connsiteY79" fmla="*/ 109486 h 154791"/>
              <a:gd name="connsiteX80" fmla="*/ 194308 w 225509"/>
              <a:gd name="connsiteY80" fmla="*/ 103702 h 154791"/>
              <a:gd name="connsiteX81" fmla="*/ 216058 w 225509"/>
              <a:gd name="connsiteY81" fmla="*/ 99305 h 154791"/>
              <a:gd name="connsiteX82" fmla="*/ 220222 w 225509"/>
              <a:gd name="connsiteY82" fmla="*/ 95719 h 154791"/>
              <a:gd name="connsiteX83" fmla="*/ 223288 w 225509"/>
              <a:gd name="connsiteY83" fmla="*/ 89588 h 154791"/>
              <a:gd name="connsiteX84" fmla="*/ 223288 w 225509"/>
              <a:gd name="connsiteY84" fmla="*/ 89588 h 154791"/>
              <a:gd name="connsiteX85" fmla="*/ 213281 w 225509"/>
              <a:gd name="connsiteY85" fmla="*/ 85249 h 154791"/>
              <a:gd name="connsiteX86" fmla="*/ 212008 w 225509"/>
              <a:gd name="connsiteY86" fmla="*/ 84671 h 154791"/>
              <a:gd name="connsiteX87" fmla="*/ 210794 w 225509"/>
              <a:gd name="connsiteY87" fmla="*/ 75416 h 154791"/>
              <a:gd name="connsiteX88" fmla="*/ 210504 w 225509"/>
              <a:gd name="connsiteY88" fmla="*/ 69631 h 154791"/>
              <a:gd name="connsiteX89" fmla="*/ 207091 w 225509"/>
              <a:gd name="connsiteY89" fmla="*/ 70730 h 154791"/>
              <a:gd name="connsiteX90" fmla="*/ 197142 w 225509"/>
              <a:gd name="connsiteY90" fmla="*/ 71945 h 154791"/>
              <a:gd name="connsiteX91" fmla="*/ 191358 w 225509"/>
              <a:gd name="connsiteY91" fmla="*/ 66161 h 154791"/>
              <a:gd name="connsiteX92" fmla="*/ 186788 w 225509"/>
              <a:gd name="connsiteY92" fmla="*/ 62169 h 154791"/>
              <a:gd name="connsiteX93" fmla="*/ 181004 w 225509"/>
              <a:gd name="connsiteY93" fmla="*/ 50601 h 154791"/>
              <a:gd name="connsiteX94" fmla="*/ 169319 w 225509"/>
              <a:gd name="connsiteY94" fmla="*/ 37875 h 154791"/>
              <a:gd name="connsiteX95" fmla="*/ 168220 w 225509"/>
              <a:gd name="connsiteY95" fmla="*/ 37065 h 154791"/>
              <a:gd name="connsiteX96" fmla="*/ 162436 w 225509"/>
              <a:gd name="connsiteY96" fmla="*/ 27116 h 154791"/>
              <a:gd name="connsiteX97" fmla="*/ 159428 w 225509"/>
              <a:gd name="connsiteY97" fmla="*/ 21331 h 154791"/>
              <a:gd name="connsiteX98" fmla="*/ 158560 w 225509"/>
              <a:gd name="connsiteY98" fmla="*/ 6812 h 154791"/>
              <a:gd name="connsiteX99" fmla="*/ 142075 w 225509"/>
              <a:gd name="connsiteY99" fmla="*/ 3631 h 154791"/>
              <a:gd name="connsiteX100" fmla="*/ 139761 w 225509"/>
              <a:gd name="connsiteY100" fmla="*/ 2590 h 154791"/>
              <a:gd name="connsiteX101" fmla="*/ 128481 w 225509"/>
              <a:gd name="connsiteY101" fmla="*/ 8953 h 154791"/>
              <a:gd name="connsiteX102" fmla="*/ 123333 w 225509"/>
              <a:gd name="connsiteY102" fmla="*/ 12655 h 154791"/>
              <a:gd name="connsiteX103" fmla="*/ 107021 w 225509"/>
              <a:gd name="connsiteY103" fmla="*/ 18439 h 154791"/>
              <a:gd name="connsiteX104" fmla="*/ 100369 w 225509"/>
              <a:gd name="connsiteY104" fmla="*/ 21216 h 154791"/>
              <a:gd name="connsiteX105" fmla="*/ 92774 w 225509"/>
              <a:gd name="connsiteY105" fmla="*/ 28539 h 154791"/>
              <a:gd name="connsiteX106" fmla="*/ 92155 w 225509"/>
              <a:gd name="connsiteY106" fmla="*/ 28504 h 154791"/>
              <a:gd name="connsiteX107" fmla="*/ 88453 w 225509"/>
              <a:gd name="connsiteY107" fmla="*/ 27926 h 154791"/>
              <a:gd name="connsiteX108" fmla="*/ 83247 w 225509"/>
              <a:gd name="connsiteY108" fmla="*/ 27000 h 154791"/>
              <a:gd name="connsiteX109" fmla="*/ 76884 w 225509"/>
              <a:gd name="connsiteY109" fmla="*/ 33652 h 154791"/>
              <a:gd name="connsiteX110" fmla="*/ 69827 w 225509"/>
              <a:gd name="connsiteY110" fmla="*/ 40478 h 154791"/>
              <a:gd name="connsiteX111" fmla="*/ 64853 w 225509"/>
              <a:gd name="connsiteY111" fmla="*/ 46262 h 154791"/>
              <a:gd name="connsiteX112" fmla="*/ 59762 w 225509"/>
              <a:gd name="connsiteY112" fmla="*/ 52047 h 154791"/>
              <a:gd name="connsiteX113" fmla="*/ 48830 w 225509"/>
              <a:gd name="connsiteY113" fmla="*/ 47535 h 154791"/>
              <a:gd name="connsiteX114" fmla="*/ 46227 w 225509"/>
              <a:gd name="connsiteY114" fmla="*/ 46031 h 154791"/>
              <a:gd name="connsiteX115" fmla="*/ 45185 w 225509"/>
              <a:gd name="connsiteY115" fmla="*/ 45741 h 154791"/>
              <a:gd name="connsiteX116" fmla="*/ 38996 w 225509"/>
              <a:gd name="connsiteY116" fmla="*/ 65293 h 154791"/>
              <a:gd name="connsiteX117" fmla="*/ 38996 w 225509"/>
              <a:gd name="connsiteY117" fmla="*/ 65929 h 154791"/>
              <a:gd name="connsiteX118" fmla="*/ 30319 w 225509"/>
              <a:gd name="connsiteY118" fmla="*/ 82588 h 154791"/>
              <a:gd name="connsiteX119" fmla="*/ 12330 w 225509"/>
              <a:gd name="connsiteY119" fmla="*/ 92422 h 154791"/>
              <a:gd name="connsiteX120" fmla="*/ 7876 w 225509"/>
              <a:gd name="connsiteY120" fmla="*/ 92943 h 154791"/>
              <a:gd name="connsiteX121" fmla="*/ 8859 w 225509"/>
              <a:gd name="connsiteY121" fmla="*/ 99537 h 154791"/>
              <a:gd name="connsiteX122" fmla="*/ 10074 w 225509"/>
              <a:gd name="connsiteY122" fmla="*/ 110180 h 154791"/>
              <a:gd name="connsiteX123" fmla="*/ 2381 w 225509"/>
              <a:gd name="connsiteY123" fmla="*/ 130426 h 15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25509" h="154791">
                <a:moveTo>
                  <a:pt x="33269" y="154662"/>
                </a:moveTo>
                <a:cubicBezTo>
                  <a:pt x="25229" y="154662"/>
                  <a:pt x="15280" y="143903"/>
                  <a:pt x="13255" y="140490"/>
                </a:cubicBezTo>
                <a:cubicBezTo>
                  <a:pt x="10253" y="136280"/>
                  <a:pt x="5805" y="133312"/>
                  <a:pt x="761" y="132161"/>
                </a:cubicBezTo>
                <a:cubicBezTo>
                  <a:pt x="426" y="132121"/>
                  <a:pt x="125" y="131930"/>
                  <a:pt x="-49" y="131640"/>
                </a:cubicBezTo>
                <a:cubicBezTo>
                  <a:pt x="-130" y="131340"/>
                  <a:pt x="-130" y="131016"/>
                  <a:pt x="-49" y="130715"/>
                </a:cubicBezTo>
                <a:cubicBezTo>
                  <a:pt x="2097" y="123496"/>
                  <a:pt x="4665" y="116404"/>
                  <a:pt x="7644" y="109486"/>
                </a:cubicBezTo>
                <a:cubicBezTo>
                  <a:pt x="8628" y="107577"/>
                  <a:pt x="7644" y="103702"/>
                  <a:pt x="6314" y="100578"/>
                </a:cubicBezTo>
                <a:cubicBezTo>
                  <a:pt x="4868" y="96413"/>
                  <a:pt x="3537" y="92422"/>
                  <a:pt x="6661" y="91207"/>
                </a:cubicBezTo>
                <a:cubicBezTo>
                  <a:pt x="8339" y="90739"/>
                  <a:pt x="10068" y="90502"/>
                  <a:pt x="11809" y="90513"/>
                </a:cubicBezTo>
                <a:cubicBezTo>
                  <a:pt x="17594" y="90224"/>
                  <a:pt x="25056" y="89819"/>
                  <a:pt x="27832" y="82183"/>
                </a:cubicBezTo>
                <a:cubicBezTo>
                  <a:pt x="29868" y="76075"/>
                  <a:pt x="32830" y="70320"/>
                  <a:pt x="36625" y="65120"/>
                </a:cubicBezTo>
                <a:cubicBezTo>
                  <a:pt x="36972" y="60839"/>
                  <a:pt x="38591" y="43833"/>
                  <a:pt x="45070" y="43833"/>
                </a:cubicBezTo>
                <a:cubicBezTo>
                  <a:pt x="45804" y="43833"/>
                  <a:pt x="46522" y="44035"/>
                  <a:pt x="47152" y="44411"/>
                </a:cubicBezTo>
                <a:lnTo>
                  <a:pt x="49871" y="45915"/>
                </a:lnTo>
                <a:cubicBezTo>
                  <a:pt x="52798" y="47997"/>
                  <a:pt x="56124" y="49438"/>
                  <a:pt x="59646" y="50138"/>
                </a:cubicBezTo>
                <a:cubicBezTo>
                  <a:pt x="60398" y="50138"/>
                  <a:pt x="62134" y="50138"/>
                  <a:pt x="62481" y="46089"/>
                </a:cubicBezTo>
                <a:cubicBezTo>
                  <a:pt x="62452" y="42236"/>
                  <a:pt x="65223" y="38933"/>
                  <a:pt x="69017" y="38280"/>
                </a:cubicBezTo>
                <a:cubicBezTo>
                  <a:pt x="71840" y="37828"/>
                  <a:pt x="74119" y="35735"/>
                  <a:pt x="74802" y="32958"/>
                </a:cubicBezTo>
                <a:cubicBezTo>
                  <a:pt x="76364" y="27174"/>
                  <a:pt x="79025" y="24686"/>
                  <a:pt x="83305" y="24686"/>
                </a:cubicBezTo>
                <a:cubicBezTo>
                  <a:pt x="85271" y="24773"/>
                  <a:pt x="87215" y="25126"/>
                  <a:pt x="89089" y="25728"/>
                </a:cubicBezTo>
                <a:cubicBezTo>
                  <a:pt x="90084" y="26017"/>
                  <a:pt x="91120" y="26173"/>
                  <a:pt x="92155" y="26190"/>
                </a:cubicBezTo>
                <a:cubicBezTo>
                  <a:pt x="95799" y="26190"/>
                  <a:pt x="97939" y="24224"/>
                  <a:pt x="97939" y="21158"/>
                </a:cubicBezTo>
                <a:cubicBezTo>
                  <a:pt x="97939" y="18092"/>
                  <a:pt x="101699" y="17108"/>
                  <a:pt x="106443" y="16125"/>
                </a:cubicBezTo>
                <a:cubicBezTo>
                  <a:pt x="111944" y="15315"/>
                  <a:pt x="117207" y="13343"/>
                  <a:pt x="121887" y="10341"/>
                </a:cubicBezTo>
                <a:lnTo>
                  <a:pt x="126977" y="6639"/>
                </a:lnTo>
                <a:cubicBezTo>
                  <a:pt x="130494" y="3290"/>
                  <a:pt x="134850" y="953"/>
                  <a:pt x="139587" y="-129"/>
                </a:cubicBezTo>
                <a:cubicBezTo>
                  <a:pt x="141057" y="-123"/>
                  <a:pt x="142457" y="484"/>
                  <a:pt x="143463" y="1548"/>
                </a:cubicBezTo>
                <a:cubicBezTo>
                  <a:pt x="148576" y="3700"/>
                  <a:pt x="154129" y="4591"/>
                  <a:pt x="159659" y="4151"/>
                </a:cubicBezTo>
                <a:cubicBezTo>
                  <a:pt x="159995" y="4140"/>
                  <a:pt x="160319" y="4290"/>
                  <a:pt x="160527" y="4556"/>
                </a:cubicBezTo>
                <a:cubicBezTo>
                  <a:pt x="160672" y="4828"/>
                  <a:pt x="160672" y="5152"/>
                  <a:pt x="160527" y="5424"/>
                </a:cubicBezTo>
                <a:cubicBezTo>
                  <a:pt x="158850" y="17340"/>
                  <a:pt x="160064" y="18844"/>
                  <a:pt x="160238" y="18960"/>
                </a:cubicBezTo>
                <a:cubicBezTo>
                  <a:pt x="162147" y="20811"/>
                  <a:pt x="163512" y="23153"/>
                  <a:pt x="164171" y="25728"/>
                </a:cubicBezTo>
                <a:cubicBezTo>
                  <a:pt x="165114" y="29129"/>
                  <a:pt x="166901" y="32235"/>
                  <a:pt x="169377" y="34751"/>
                </a:cubicBezTo>
                <a:lnTo>
                  <a:pt x="170476" y="35561"/>
                </a:lnTo>
                <a:cubicBezTo>
                  <a:pt x="175567" y="39379"/>
                  <a:pt x="182566" y="44585"/>
                  <a:pt x="182566" y="50196"/>
                </a:cubicBezTo>
                <a:cubicBezTo>
                  <a:pt x="182566" y="56790"/>
                  <a:pt x="183607" y="59393"/>
                  <a:pt x="186268" y="59393"/>
                </a:cubicBezTo>
                <a:cubicBezTo>
                  <a:pt x="188929" y="59393"/>
                  <a:pt x="190895" y="61880"/>
                  <a:pt x="192630" y="64310"/>
                </a:cubicBezTo>
                <a:cubicBezTo>
                  <a:pt x="193793" y="66369"/>
                  <a:pt x="195523" y="68052"/>
                  <a:pt x="197605" y="69168"/>
                </a:cubicBezTo>
                <a:cubicBezTo>
                  <a:pt x="200486" y="69550"/>
                  <a:pt x="203413" y="69111"/>
                  <a:pt x="206050" y="67896"/>
                </a:cubicBezTo>
                <a:cubicBezTo>
                  <a:pt x="207387" y="67370"/>
                  <a:pt x="208786" y="67022"/>
                  <a:pt x="210215" y="66855"/>
                </a:cubicBezTo>
                <a:cubicBezTo>
                  <a:pt x="210944" y="66803"/>
                  <a:pt x="211644" y="67132"/>
                  <a:pt x="212066" y="67722"/>
                </a:cubicBezTo>
                <a:cubicBezTo>
                  <a:pt x="212760" y="70025"/>
                  <a:pt x="212974" y="72448"/>
                  <a:pt x="212703" y="74837"/>
                </a:cubicBezTo>
                <a:cubicBezTo>
                  <a:pt x="212546" y="77371"/>
                  <a:pt x="212703" y="79916"/>
                  <a:pt x="213165" y="82415"/>
                </a:cubicBezTo>
                <a:cubicBezTo>
                  <a:pt x="217469" y="82941"/>
                  <a:pt x="221512" y="84781"/>
                  <a:pt x="224734" y="87679"/>
                </a:cubicBezTo>
                <a:cubicBezTo>
                  <a:pt x="224971" y="87881"/>
                  <a:pt x="225099" y="88182"/>
                  <a:pt x="225081" y="88488"/>
                </a:cubicBezTo>
                <a:cubicBezTo>
                  <a:pt x="226163" y="91977"/>
                  <a:pt x="224410" y="95713"/>
                  <a:pt x="221032" y="97107"/>
                </a:cubicBezTo>
                <a:cubicBezTo>
                  <a:pt x="219754" y="97888"/>
                  <a:pt x="218602" y="98866"/>
                  <a:pt x="217619" y="99999"/>
                </a:cubicBezTo>
                <a:cubicBezTo>
                  <a:pt x="213397" y="105206"/>
                  <a:pt x="194886" y="105263"/>
                  <a:pt x="194077" y="105263"/>
                </a:cubicBezTo>
                <a:cubicBezTo>
                  <a:pt x="191878" y="105263"/>
                  <a:pt x="189044" y="107866"/>
                  <a:pt x="186326" y="110411"/>
                </a:cubicBezTo>
                <a:cubicBezTo>
                  <a:pt x="184284" y="112638"/>
                  <a:pt x="181831" y="114449"/>
                  <a:pt x="179095" y="115733"/>
                </a:cubicBezTo>
                <a:cubicBezTo>
                  <a:pt x="173802" y="116294"/>
                  <a:pt x="168452" y="115780"/>
                  <a:pt x="163361" y="114229"/>
                </a:cubicBezTo>
                <a:cubicBezTo>
                  <a:pt x="160007" y="113535"/>
                  <a:pt x="156478" y="112841"/>
                  <a:pt x="153586" y="112552"/>
                </a:cubicBezTo>
                <a:cubicBezTo>
                  <a:pt x="149768" y="112205"/>
                  <a:pt x="147801" y="115444"/>
                  <a:pt x="146760" y="117873"/>
                </a:cubicBezTo>
                <a:cubicBezTo>
                  <a:pt x="145719" y="120303"/>
                  <a:pt x="145372" y="120650"/>
                  <a:pt x="144099" y="120650"/>
                </a:cubicBezTo>
                <a:cubicBezTo>
                  <a:pt x="143278" y="120552"/>
                  <a:pt x="142572" y="120019"/>
                  <a:pt x="142248" y="119262"/>
                </a:cubicBezTo>
                <a:cubicBezTo>
                  <a:pt x="140571" y="117584"/>
                  <a:pt x="120152" y="115502"/>
                  <a:pt x="98749" y="115502"/>
                </a:cubicBezTo>
                <a:cubicBezTo>
                  <a:pt x="81801" y="115502"/>
                  <a:pt x="76190" y="116890"/>
                  <a:pt x="75612" y="117700"/>
                </a:cubicBezTo>
                <a:cubicBezTo>
                  <a:pt x="74050" y="120072"/>
                  <a:pt x="76306" y="127475"/>
                  <a:pt x="78215" y="133434"/>
                </a:cubicBezTo>
                <a:cubicBezTo>
                  <a:pt x="79695" y="137118"/>
                  <a:pt x="80517" y="141034"/>
                  <a:pt x="80644" y="145002"/>
                </a:cubicBezTo>
                <a:cubicBezTo>
                  <a:pt x="79603" y="151249"/>
                  <a:pt x="74860" y="152985"/>
                  <a:pt x="69827" y="148010"/>
                </a:cubicBezTo>
                <a:cubicBezTo>
                  <a:pt x="66640" y="145945"/>
                  <a:pt x="62851" y="145008"/>
                  <a:pt x="59068" y="145350"/>
                </a:cubicBezTo>
                <a:cubicBezTo>
                  <a:pt x="51838" y="144996"/>
                  <a:pt x="44734" y="147374"/>
                  <a:pt x="39170" y="152001"/>
                </a:cubicBezTo>
                <a:cubicBezTo>
                  <a:pt x="37689" y="153714"/>
                  <a:pt x="35531" y="154685"/>
                  <a:pt x="33269" y="154662"/>
                </a:cubicBezTo>
                <a:close/>
                <a:moveTo>
                  <a:pt x="2381" y="130426"/>
                </a:moveTo>
                <a:cubicBezTo>
                  <a:pt x="7546" y="131947"/>
                  <a:pt x="12052" y="135169"/>
                  <a:pt x="15164" y="139565"/>
                </a:cubicBezTo>
                <a:cubicBezTo>
                  <a:pt x="17189" y="142920"/>
                  <a:pt x="26733" y="152638"/>
                  <a:pt x="33269" y="152638"/>
                </a:cubicBezTo>
                <a:cubicBezTo>
                  <a:pt x="34930" y="152638"/>
                  <a:pt x="36509" y="151921"/>
                  <a:pt x="37608" y="150671"/>
                </a:cubicBezTo>
                <a:cubicBezTo>
                  <a:pt x="43601" y="145558"/>
                  <a:pt x="51311" y="142909"/>
                  <a:pt x="59184" y="143267"/>
                </a:cubicBezTo>
                <a:cubicBezTo>
                  <a:pt x="63569" y="142874"/>
                  <a:pt x="67953" y="144042"/>
                  <a:pt x="71562" y="146564"/>
                </a:cubicBezTo>
                <a:cubicBezTo>
                  <a:pt x="72517" y="147854"/>
                  <a:pt x="73957" y="148693"/>
                  <a:pt x="75554" y="148878"/>
                </a:cubicBezTo>
                <a:cubicBezTo>
                  <a:pt x="77694" y="148878"/>
                  <a:pt x="78388" y="145754"/>
                  <a:pt x="78504" y="144771"/>
                </a:cubicBezTo>
                <a:cubicBezTo>
                  <a:pt x="78226" y="141260"/>
                  <a:pt x="77428" y="137807"/>
                  <a:pt x="76132" y="134533"/>
                </a:cubicBezTo>
                <a:cubicBezTo>
                  <a:pt x="73934" y="127475"/>
                  <a:pt x="71678" y="120187"/>
                  <a:pt x="73876" y="117179"/>
                </a:cubicBezTo>
                <a:cubicBezTo>
                  <a:pt x="74397" y="116369"/>
                  <a:pt x="75959" y="113998"/>
                  <a:pt x="98980" y="113998"/>
                </a:cubicBezTo>
                <a:cubicBezTo>
                  <a:pt x="107368" y="113998"/>
                  <a:pt x="141554" y="114865"/>
                  <a:pt x="144331" y="118741"/>
                </a:cubicBezTo>
                <a:cubicBezTo>
                  <a:pt x="144585" y="118383"/>
                  <a:pt x="144799" y="117995"/>
                  <a:pt x="144967" y="117584"/>
                </a:cubicBezTo>
                <a:cubicBezTo>
                  <a:pt x="146199" y="113628"/>
                  <a:pt x="149907" y="110961"/>
                  <a:pt x="154048" y="111048"/>
                </a:cubicBezTo>
                <a:cubicBezTo>
                  <a:pt x="157056" y="111337"/>
                  <a:pt x="160643" y="112089"/>
                  <a:pt x="164055" y="112783"/>
                </a:cubicBezTo>
                <a:cubicBezTo>
                  <a:pt x="168787" y="114154"/>
                  <a:pt x="173721" y="114680"/>
                  <a:pt x="178632" y="114345"/>
                </a:cubicBezTo>
                <a:cubicBezTo>
                  <a:pt x="181021" y="113107"/>
                  <a:pt x="183173" y="111464"/>
                  <a:pt x="184995" y="109486"/>
                </a:cubicBezTo>
                <a:cubicBezTo>
                  <a:pt x="188061" y="106652"/>
                  <a:pt x="191184" y="103702"/>
                  <a:pt x="194308" y="103702"/>
                </a:cubicBezTo>
                <a:cubicBezTo>
                  <a:pt x="201365" y="103702"/>
                  <a:pt x="213455" y="102487"/>
                  <a:pt x="216058" y="99305"/>
                </a:cubicBezTo>
                <a:cubicBezTo>
                  <a:pt x="217232" y="97883"/>
                  <a:pt x="218637" y="96668"/>
                  <a:pt x="220222" y="95719"/>
                </a:cubicBezTo>
                <a:cubicBezTo>
                  <a:pt x="222710" y="94042"/>
                  <a:pt x="224214" y="93058"/>
                  <a:pt x="223288" y="89588"/>
                </a:cubicBezTo>
                <a:lnTo>
                  <a:pt x="223288" y="89588"/>
                </a:lnTo>
                <a:cubicBezTo>
                  <a:pt x="220448" y="87193"/>
                  <a:pt x="216971" y="85683"/>
                  <a:pt x="213281" y="85249"/>
                </a:cubicBezTo>
                <a:cubicBezTo>
                  <a:pt x="212795" y="85244"/>
                  <a:pt x="212332" y="85035"/>
                  <a:pt x="212008" y="84671"/>
                </a:cubicBezTo>
                <a:cubicBezTo>
                  <a:pt x="210794" y="83456"/>
                  <a:pt x="210736" y="80390"/>
                  <a:pt x="210794" y="75416"/>
                </a:cubicBezTo>
                <a:cubicBezTo>
                  <a:pt x="210909" y="73484"/>
                  <a:pt x="210811" y="71540"/>
                  <a:pt x="210504" y="69631"/>
                </a:cubicBezTo>
                <a:lnTo>
                  <a:pt x="207091" y="70730"/>
                </a:lnTo>
                <a:cubicBezTo>
                  <a:pt x="203974" y="72136"/>
                  <a:pt x="200503" y="72558"/>
                  <a:pt x="197142" y="71945"/>
                </a:cubicBezTo>
                <a:cubicBezTo>
                  <a:pt x="194678" y="70638"/>
                  <a:pt x="192665" y="68625"/>
                  <a:pt x="191358" y="66161"/>
                </a:cubicBezTo>
                <a:cubicBezTo>
                  <a:pt x="189796" y="64020"/>
                  <a:pt x="188466" y="62169"/>
                  <a:pt x="186788" y="62169"/>
                </a:cubicBezTo>
                <a:cubicBezTo>
                  <a:pt x="181004" y="62169"/>
                  <a:pt x="181004" y="54418"/>
                  <a:pt x="181004" y="50601"/>
                </a:cubicBezTo>
                <a:cubicBezTo>
                  <a:pt x="181004" y="46783"/>
                  <a:pt x="173947" y="40941"/>
                  <a:pt x="169319" y="37875"/>
                </a:cubicBezTo>
                <a:lnTo>
                  <a:pt x="168220" y="37065"/>
                </a:lnTo>
                <a:cubicBezTo>
                  <a:pt x="165461" y="34306"/>
                  <a:pt x="163471" y="30875"/>
                  <a:pt x="162436" y="27116"/>
                </a:cubicBezTo>
                <a:cubicBezTo>
                  <a:pt x="161898" y="24981"/>
                  <a:pt x="160868" y="22997"/>
                  <a:pt x="159428" y="21331"/>
                </a:cubicBezTo>
                <a:cubicBezTo>
                  <a:pt x="158155" y="20579"/>
                  <a:pt x="156998" y="18208"/>
                  <a:pt x="158560" y="6812"/>
                </a:cubicBezTo>
                <a:cubicBezTo>
                  <a:pt x="152776" y="6812"/>
                  <a:pt x="144562" y="6060"/>
                  <a:pt x="142075" y="3631"/>
                </a:cubicBezTo>
                <a:cubicBezTo>
                  <a:pt x="141473" y="2989"/>
                  <a:pt x="140640" y="2613"/>
                  <a:pt x="139761" y="2590"/>
                </a:cubicBezTo>
                <a:cubicBezTo>
                  <a:pt x="135555" y="3799"/>
                  <a:pt x="131692" y="5974"/>
                  <a:pt x="128481" y="8953"/>
                </a:cubicBezTo>
                <a:lnTo>
                  <a:pt x="123333" y="12655"/>
                </a:lnTo>
                <a:cubicBezTo>
                  <a:pt x="118353" y="15686"/>
                  <a:pt x="112800" y="17653"/>
                  <a:pt x="107021" y="18439"/>
                </a:cubicBezTo>
                <a:cubicBezTo>
                  <a:pt x="102914" y="19249"/>
                  <a:pt x="100369" y="19827"/>
                  <a:pt x="100369" y="21216"/>
                </a:cubicBezTo>
                <a:cubicBezTo>
                  <a:pt x="100294" y="25334"/>
                  <a:pt x="96893" y="28614"/>
                  <a:pt x="92774" y="28539"/>
                </a:cubicBezTo>
                <a:cubicBezTo>
                  <a:pt x="92566" y="28539"/>
                  <a:pt x="92363" y="28527"/>
                  <a:pt x="92155" y="28504"/>
                </a:cubicBezTo>
                <a:cubicBezTo>
                  <a:pt x="90900" y="28504"/>
                  <a:pt x="89650" y="28313"/>
                  <a:pt x="88453" y="27926"/>
                </a:cubicBezTo>
                <a:cubicBezTo>
                  <a:pt x="86764" y="27393"/>
                  <a:pt x="85017" y="27081"/>
                  <a:pt x="83247" y="27000"/>
                </a:cubicBezTo>
                <a:cubicBezTo>
                  <a:pt x="81049" y="27000"/>
                  <a:pt x="78504" y="27810"/>
                  <a:pt x="76884" y="33652"/>
                </a:cubicBezTo>
                <a:cubicBezTo>
                  <a:pt x="76045" y="37100"/>
                  <a:pt x="73298" y="39755"/>
                  <a:pt x="69827" y="40478"/>
                </a:cubicBezTo>
                <a:cubicBezTo>
                  <a:pt x="67166" y="41403"/>
                  <a:pt x="65200" y="42039"/>
                  <a:pt x="64853" y="46262"/>
                </a:cubicBezTo>
                <a:cubicBezTo>
                  <a:pt x="64506" y="50485"/>
                  <a:pt x="61845" y="52047"/>
                  <a:pt x="59762" y="52047"/>
                </a:cubicBezTo>
                <a:cubicBezTo>
                  <a:pt x="55829" y="51376"/>
                  <a:pt x="52092" y="49837"/>
                  <a:pt x="48830" y="47535"/>
                </a:cubicBezTo>
                <a:lnTo>
                  <a:pt x="46227" y="46031"/>
                </a:lnTo>
                <a:cubicBezTo>
                  <a:pt x="45903" y="45869"/>
                  <a:pt x="45550" y="45770"/>
                  <a:pt x="45185" y="45741"/>
                </a:cubicBezTo>
                <a:cubicBezTo>
                  <a:pt x="41830" y="45741"/>
                  <a:pt x="39401" y="57310"/>
                  <a:pt x="38996" y="65293"/>
                </a:cubicBezTo>
                <a:cubicBezTo>
                  <a:pt x="39071" y="65501"/>
                  <a:pt x="39071" y="65721"/>
                  <a:pt x="38996" y="65929"/>
                </a:cubicBezTo>
                <a:cubicBezTo>
                  <a:pt x="35259" y="71002"/>
                  <a:pt x="32332" y="76619"/>
                  <a:pt x="30319" y="82588"/>
                </a:cubicBezTo>
                <a:cubicBezTo>
                  <a:pt x="27138" y="91612"/>
                  <a:pt x="18230" y="92133"/>
                  <a:pt x="12330" y="92422"/>
                </a:cubicBezTo>
                <a:cubicBezTo>
                  <a:pt x="10832" y="92416"/>
                  <a:pt x="9334" y="92590"/>
                  <a:pt x="7876" y="92943"/>
                </a:cubicBezTo>
                <a:cubicBezTo>
                  <a:pt x="6777" y="93405"/>
                  <a:pt x="7876" y="96818"/>
                  <a:pt x="8859" y="99537"/>
                </a:cubicBezTo>
                <a:cubicBezTo>
                  <a:pt x="10513" y="102828"/>
                  <a:pt x="10947" y="106599"/>
                  <a:pt x="10074" y="110180"/>
                </a:cubicBezTo>
                <a:cubicBezTo>
                  <a:pt x="7095" y="116763"/>
                  <a:pt x="4527" y="123525"/>
                  <a:pt x="2381" y="13042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7" name="Forma libre: forma 306">
            <a:extLst>
              <a:ext uri="{FF2B5EF4-FFF2-40B4-BE49-F238E27FC236}">
                <a16:creationId xmlns:a16="http://schemas.microsoft.com/office/drawing/2014/main" id="{D615B856-296D-03C9-6A40-48A6A941E207}"/>
              </a:ext>
            </a:extLst>
          </p:cNvPr>
          <p:cNvSpPr/>
          <p:nvPr/>
        </p:nvSpPr>
        <p:spPr>
          <a:xfrm>
            <a:off x="6192705" y="3821232"/>
            <a:ext cx="424132" cy="333085"/>
          </a:xfrm>
          <a:custGeom>
            <a:avLst/>
            <a:gdLst>
              <a:gd name="connsiteX0" fmla="*/ 90584 w 424132"/>
              <a:gd name="connsiteY0" fmla="*/ 332804 h 333085"/>
              <a:gd name="connsiteX1" fmla="*/ 84395 w 424132"/>
              <a:gd name="connsiteY1" fmla="*/ 331300 h 333085"/>
              <a:gd name="connsiteX2" fmla="*/ 79652 w 424132"/>
              <a:gd name="connsiteY2" fmla="*/ 323838 h 333085"/>
              <a:gd name="connsiteX3" fmla="*/ 75660 w 424132"/>
              <a:gd name="connsiteY3" fmla="*/ 318054 h 333085"/>
              <a:gd name="connsiteX4" fmla="*/ 69066 w 424132"/>
              <a:gd name="connsiteY4" fmla="*/ 319789 h 333085"/>
              <a:gd name="connsiteX5" fmla="*/ 67273 w 424132"/>
              <a:gd name="connsiteY5" fmla="*/ 329044 h 333085"/>
              <a:gd name="connsiteX6" fmla="*/ 67273 w 424132"/>
              <a:gd name="connsiteY6" fmla="*/ 329622 h 333085"/>
              <a:gd name="connsiteX7" fmla="*/ 66174 w 424132"/>
              <a:gd name="connsiteY7" fmla="*/ 330721 h 333085"/>
              <a:gd name="connsiteX8" fmla="*/ 66174 w 424132"/>
              <a:gd name="connsiteY8" fmla="*/ 330721 h 333085"/>
              <a:gd name="connsiteX9" fmla="*/ 65364 w 424132"/>
              <a:gd name="connsiteY9" fmla="*/ 330432 h 333085"/>
              <a:gd name="connsiteX10" fmla="*/ 55068 w 424132"/>
              <a:gd name="connsiteY10" fmla="*/ 325805 h 333085"/>
              <a:gd name="connsiteX11" fmla="*/ 53796 w 424132"/>
              <a:gd name="connsiteY11" fmla="*/ 325226 h 333085"/>
              <a:gd name="connsiteX12" fmla="*/ 52581 w 424132"/>
              <a:gd name="connsiteY12" fmla="*/ 315971 h 333085"/>
              <a:gd name="connsiteX13" fmla="*/ 52292 w 424132"/>
              <a:gd name="connsiteY13" fmla="*/ 310187 h 333085"/>
              <a:gd name="connsiteX14" fmla="*/ 48879 w 424132"/>
              <a:gd name="connsiteY14" fmla="*/ 311286 h 333085"/>
              <a:gd name="connsiteX15" fmla="*/ 38929 w 424132"/>
              <a:gd name="connsiteY15" fmla="*/ 312501 h 333085"/>
              <a:gd name="connsiteX16" fmla="*/ 33145 w 424132"/>
              <a:gd name="connsiteY16" fmla="*/ 306716 h 333085"/>
              <a:gd name="connsiteX17" fmla="*/ 28575 w 424132"/>
              <a:gd name="connsiteY17" fmla="*/ 302725 h 333085"/>
              <a:gd name="connsiteX18" fmla="*/ 22791 w 424132"/>
              <a:gd name="connsiteY18" fmla="*/ 291156 h 333085"/>
              <a:gd name="connsiteX19" fmla="*/ 11396 w 424132"/>
              <a:gd name="connsiteY19" fmla="*/ 279067 h 333085"/>
              <a:gd name="connsiteX20" fmla="*/ 10297 w 424132"/>
              <a:gd name="connsiteY20" fmla="*/ 278257 h 333085"/>
              <a:gd name="connsiteX21" fmla="*/ 4512 w 424132"/>
              <a:gd name="connsiteY21" fmla="*/ 268308 h 333085"/>
              <a:gd name="connsiteX22" fmla="*/ 1504 w 424132"/>
              <a:gd name="connsiteY22" fmla="*/ 262523 h 333085"/>
              <a:gd name="connsiteX23" fmla="*/ 810 w 424132"/>
              <a:gd name="connsiteY23" fmla="*/ 246789 h 333085"/>
              <a:gd name="connsiteX24" fmla="*/ 1909 w 424132"/>
              <a:gd name="connsiteY24" fmla="*/ 245806 h 333085"/>
              <a:gd name="connsiteX25" fmla="*/ 4049 w 424132"/>
              <a:gd name="connsiteY25" fmla="*/ 245806 h 333085"/>
              <a:gd name="connsiteX26" fmla="*/ 19262 w 424132"/>
              <a:gd name="connsiteY26" fmla="*/ 244591 h 333085"/>
              <a:gd name="connsiteX27" fmla="*/ 22849 w 424132"/>
              <a:gd name="connsiteY27" fmla="*/ 242625 h 333085"/>
              <a:gd name="connsiteX28" fmla="*/ 38698 w 424132"/>
              <a:gd name="connsiteY28" fmla="*/ 236840 h 333085"/>
              <a:gd name="connsiteX29" fmla="*/ 41648 w 424132"/>
              <a:gd name="connsiteY29" fmla="*/ 236840 h 333085"/>
              <a:gd name="connsiteX30" fmla="*/ 45755 w 424132"/>
              <a:gd name="connsiteY30" fmla="*/ 236840 h 333085"/>
              <a:gd name="connsiteX31" fmla="*/ 67273 w 424132"/>
              <a:gd name="connsiteY31" fmla="*/ 234468 h 333085"/>
              <a:gd name="connsiteX32" fmla="*/ 84279 w 424132"/>
              <a:gd name="connsiteY32" fmla="*/ 232502 h 333085"/>
              <a:gd name="connsiteX33" fmla="*/ 98046 w 424132"/>
              <a:gd name="connsiteY33" fmla="*/ 223594 h 333085"/>
              <a:gd name="connsiteX34" fmla="*/ 100476 w 424132"/>
              <a:gd name="connsiteY34" fmla="*/ 220701 h 333085"/>
              <a:gd name="connsiteX35" fmla="*/ 104525 w 424132"/>
              <a:gd name="connsiteY35" fmla="*/ 211157 h 333085"/>
              <a:gd name="connsiteX36" fmla="*/ 109499 w 424132"/>
              <a:gd name="connsiteY36" fmla="*/ 200398 h 333085"/>
              <a:gd name="connsiteX37" fmla="*/ 110772 w 424132"/>
              <a:gd name="connsiteY37" fmla="*/ 128729 h 333085"/>
              <a:gd name="connsiteX38" fmla="*/ 111582 w 424132"/>
              <a:gd name="connsiteY38" fmla="*/ 127572 h 333085"/>
              <a:gd name="connsiteX39" fmla="*/ 115168 w 424132"/>
              <a:gd name="connsiteY39" fmla="*/ 126820 h 333085"/>
              <a:gd name="connsiteX40" fmla="*/ 157221 w 424132"/>
              <a:gd name="connsiteY40" fmla="*/ 113458 h 333085"/>
              <a:gd name="connsiteX41" fmla="*/ 206967 w 424132"/>
              <a:gd name="connsiteY41" fmla="*/ 72967 h 333085"/>
              <a:gd name="connsiteX42" fmla="*/ 324275 w 424132"/>
              <a:gd name="connsiteY42" fmla="*/ -90 h 333085"/>
              <a:gd name="connsiteX43" fmla="*/ 324854 w 424132"/>
              <a:gd name="connsiteY43" fmla="*/ -90 h 333085"/>
              <a:gd name="connsiteX44" fmla="*/ 365807 w 424132"/>
              <a:gd name="connsiteY44" fmla="*/ 7777 h 333085"/>
              <a:gd name="connsiteX45" fmla="*/ 383161 w 424132"/>
              <a:gd name="connsiteY45" fmla="*/ 24494 h 333085"/>
              <a:gd name="connsiteX46" fmla="*/ 403869 w 424132"/>
              <a:gd name="connsiteY46" fmla="*/ 13272 h 333085"/>
              <a:gd name="connsiteX47" fmla="*/ 404968 w 424132"/>
              <a:gd name="connsiteY47" fmla="*/ 13272 h 333085"/>
              <a:gd name="connsiteX48" fmla="*/ 405547 w 424132"/>
              <a:gd name="connsiteY48" fmla="*/ 14198 h 333085"/>
              <a:gd name="connsiteX49" fmla="*/ 405547 w 424132"/>
              <a:gd name="connsiteY49" fmla="*/ 15701 h 333085"/>
              <a:gd name="connsiteX50" fmla="*/ 407108 w 424132"/>
              <a:gd name="connsiteY50" fmla="*/ 49367 h 333085"/>
              <a:gd name="connsiteX51" fmla="*/ 411562 w 424132"/>
              <a:gd name="connsiteY51" fmla="*/ 57928 h 333085"/>
              <a:gd name="connsiteX52" fmla="*/ 418388 w 424132"/>
              <a:gd name="connsiteY52" fmla="*/ 74471 h 333085"/>
              <a:gd name="connsiteX53" fmla="*/ 421107 w 424132"/>
              <a:gd name="connsiteY53" fmla="*/ 83379 h 333085"/>
              <a:gd name="connsiteX54" fmla="*/ 423189 w 424132"/>
              <a:gd name="connsiteY54" fmla="*/ 95700 h 333085"/>
              <a:gd name="connsiteX55" fmla="*/ 418388 w 424132"/>
              <a:gd name="connsiteY55" fmla="*/ 124622 h 333085"/>
              <a:gd name="connsiteX56" fmla="*/ 414744 w 424132"/>
              <a:gd name="connsiteY56" fmla="*/ 193399 h 333085"/>
              <a:gd name="connsiteX57" fmla="*/ 371534 w 424132"/>
              <a:gd name="connsiteY57" fmla="*/ 247599 h 333085"/>
              <a:gd name="connsiteX58" fmla="*/ 368005 w 424132"/>
              <a:gd name="connsiteY58" fmla="*/ 259168 h 333085"/>
              <a:gd name="connsiteX59" fmla="*/ 365923 w 424132"/>
              <a:gd name="connsiteY59" fmla="*/ 270737 h 333085"/>
              <a:gd name="connsiteX60" fmla="*/ 365923 w 424132"/>
              <a:gd name="connsiteY60" fmla="*/ 279529 h 333085"/>
              <a:gd name="connsiteX61" fmla="*/ 365460 w 424132"/>
              <a:gd name="connsiteY61" fmla="*/ 280455 h 333085"/>
              <a:gd name="connsiteX62" fmla="*/ 364477 w 424132"/>
              <a:gd name="connsiteY62" fmla="*/ 280455 h 333085"/>
              <a:gd name="connsiteX63" fmla="*/ 361238 w 424132"/>
              <a:gd name="connsiteY63" fmla="*/ 280455 h 333085"/>
              <a:gd name="connsiteX64" fmla="*/ 353197 w 424132"/>
              <a:gd name="connsiteY64" fmla="*/ 288090 h 333085"/>
              <a:gd name="connsiteX65" fmla="*/ 341628 w 424132"/>
              <a:gd name="connsiteY65" fmla="*/ 298213 h 333085"/>
              <a:gd name="connsiteX66" fmla="*/ 337290 w 424132"/>
              <a:gd name="connsiteY66" fmla="*/ 298849 h 333085"/>
              <a:gd name="connsiteX67" fmla="*/ 319301 w 424132"/>
              <a:gd name="connsiteY67" fmla="*/ 293065 h 333085"/>
              <a:gd name="connsiteX68" fmla="*/ 318202 w 424132"/>
              <a:gd name="connsiteY68" fmla="*/ 292486 h 333085"/>
              <a:gd name="connsiteX69" fmla="*/ 308310 w 424132"/>
              <a:gd name="connsiteY69" fmla="*/ 291503 h 333085"/>
              <a:gd name="connsiteX70" fmla="*/ 297436 w 424132"/>
              <a:gd name="connsiteY70" fmla="*/ 291503 h 333085"/>
              <a:gd name="connsiteX71" fmla="*/ 283842 w 424132"/>
              <a:gd name="connsiteY71" fmla="*/ 291503 h 333085"/>
              <a:gd name="connsiteX72" fmla="*/ 283148 w 424132"/>
              <a:gd name="connsiteY72" fmla="*/ 291503 h 333085"/>
              <a:gd name="connsiteX73" fmla="*/ 270769 w 424132"/>
              <a:gd name="connsiteY73" fmla="*/ 299081 h 333085"/>
              <a:gd name="connsiteX74" fmla="*/ 264349 w 424132"/>
              <a:gd name="connsiteY74" fmla="*/ 304287 h 333085"/>
              <a:gd name="connsiteX75" fmla="*/ 252780 w 424132"/>
              <a:gd name="connsiteY75" fmla="*/ 306311 h 333085"/>
              <a:gd name="connsiteX76" fmla="*/ 236930 w 424132"/>
              <a:gd name="connsiteY76" fmla="*/ 304402 h 333085"/>
              <a:gd name="connsiteX77" fmla="*/ 228254 w 424132"/>
              <a:gd name="connsiteY77" fmla="*/ 299370 h 333085"/>
              <a:gd name="connsiteX78" fmla="*/ 216280 w 424132"/>
              <a:gd name="connsiteY78" fmla="*/ 293123 h 333085"/>
              <a:gd name="connsiteX79" fmla="*/ 194241 w 424132"/>
              <a:gd name="connsiteY79" fmla="*/ 299428 h 333085"/>
              <a:gd name="connsiteX80" fmla="*/ 190481 w 424132"/>
              <a:gd name="connsiteY80" fmla="*/ 300642 h 333085"/>
              <a:gd name="connsiteX81" fmla="*/ 181284 w 424132"/>
              <a:gd name="connsiteY81" fmla="*/ 290982 h 333085"/>
              <a:gd name="connsiteX82" fmla="*/ 177466 w 424132"/>
              <a:gd name="connsiteY82" fmla="*/ 284677 h 333085"/>
              <a:gd name="connsiteX83" fmla="*/ 167980 w 424132"/>
              <a:gd name="connsiteY83" fmla="*/ 281843 h 333085"/>
              <a:gd name="connsiteX84" fmla="*/ 155775 w 424132"/>
              <a:gd name="connsiteY84" fmla="*/ 278315 h 333085"/>
              <a:gd name="connsiteX85" fmla="*/ 153056 w 424132"/>
              <a:gd name="connsiteY85" fmla="*/ 277042 h 333085"/>
              <a:gd name="connsiteX86" fmla="*/ 147677 w 424132"/>
              <a:gd name="connsiteY86" fmla="*/ 280397 h 333085"/>
              <a:gd name="connsiteX87" fmla="*/ 140215 w 424132"/>
              <a:gd name="connsiteY87" fmla="*/ 284215 h 333085"/>
              <a:gd name="connsiteX88" fmla="*/ 137149 w 424132"/>
              <a:gd name="connsiteY88" fmla="*/ 283752 h 333085"/>
              <a:gd name="connsiteX89" fmla="*/ 123671 w 424132"/>
              <a:gd name="connsiteY89" fmla="*/ 282248 h 333085"/>
              <a:gd name="connsiteX90" fmla="*/ 116036 w 424132"/>
              <a:gd name="connsiteY90" fmla="*/ 283983 h 333085"/>
              <a:gd name="connsiteX91" fmla="*/ 111929 w 424132"/>
              <a:gd name="connsiteY91" fmla="*/ 297230 h 333085"/>
              <a:gd name="connsiteX92" fmla="*/ 109673 w 424132"/>
              <a:gd name="connsiteY92" fmla="*/ 305733 h 333085"/>
              <a:gd name="connsiteX93" fmla="*/ 98104 w 424132"/>
              <a:gd name="connsiteY93" fmla="*/ 324359 h 333085"/>
              <a:gd name="connsiteX94" fmla="*/ 94101 w 424132"/>
              <a:gd name="connsiteY94" fmla="*/ 332601 h 333085"/>
              <a:gd name="connsiteX95" fmla="*/ 90584 w 424132"/>
              <a:gd name="connsiteY95" fmla="*/ 332804 h 333085"/>
              <a:gd name="connsiteX96" fmla="*/ 73231 w 424132"/>
              <a:gd name="connsiteY96" fmla="*/ 315740 h 333085"/>
              <a:gd name="connsiteX97" fmla="*/ 76123 w 424132"/>
              <a:gd name="connsiteY97" fmla="*/ 316202 h 333085"/>
              <a:gd name="connsiteX98" fmla="*/ 81908 w 424132"/>
              <a:gd name="connsiteY98" fmla="*/ 323549 h 333085"/>
              <a:gd name="connsiteX99" fmla="*/ 85320 w 424132"/>
              <a:gd name="connsiteY99" fmla="*/ 329333 h 333085"/>
              <a:gd name="connsiteX100" fmla="*/ 90584 w 424132"/>
              <a:gd name="connsiteY100" fmla="*/ 330664 h 333085"/>
              <a:gd name="connsiteX101" fmla="*/ 95038 w 424132"/>
              <a:gd name="connsiteY101" fmla="*/ 325516 h 333085"/>
              <a:gd name="connsiteX102" fmla="*/ 107475 w 424132"/>
              <a:gd name="connsiteY102" fmla="*/ 305270 h 333085"/>
              <a:gd name="connsiteX103" fmla="*/ 109152 w 424132"/>
              <a:gd name="connsiteY103" fmla="*/ 298097 h 333085"/>
              <a:gd name="connsiteX104" fmla="*/ 114011 w 424132"/>
              <a:gd name="connsiteY104" fmla="*/ 283405 h 333085"/>
              <a:gd name="connsiteX105" fmla="*/ 123093 w 424132"/>
              <a:gd name="connsiteY105" fmla="*/ 281149 h 333085"/>
              <a:gd name="connsiteX106" fmla="*/ 136918 w 424132"/>
              <a:gd name="connsiteY106" fmla="*/ 282653 h 333085"/>
              <a:gd name="connsiteX107" fmla="*/ 139925 w 424132"/>
              <a:gd name="connsiteY107" fmla="*/ 283174 h 333085"/>
              <a:gd name="connsiteX108" fmla="*/ 145710 w 424132"/>
              <a:gd name="connsiteY108" fmla="*/ 279934 h 333085"/>
              <a:gd name="connsiteX109" fmla="*/ 152651 w 424132"/>
              <a:gd name="connsiteY109" fmla="*/ 276001 h 333085"/>
              <a:gd name="connsiteX110" fmla="*/ 156874 w 424132"/>
              <a:gd name="connsiteY110" fmla="*/ 277736 h 333085"/>
              <a:gd name="connsiteX111" fmla="*/ 167691 w 424132"/>
              <a:gd name="connsiteY111" fmla="*/ 280744 h 333085"/>
              <a:gd name="connsiteX112" fmla="*/ 178797 w 424132"/>
              <a:gd name="connsiteY112" fmla="*/ 284330 h 333085"/>
              <a:gd name="connsiteX113" fmla="*/ 182846 w 424132"/>
              <a:gd name="connsiteY113" fmla="*/ 291156 h 333085"/>
              <a:gd name="connsiteX114" fmla="*/ 190077 w 424132"/>
              <a:gd name="connsiteY114" fmla="*/ 299543 h 333085"/>
              <a:gd name="connsiteX115" fmla="*/ 192679 w 424132"/>
              <a:gd name="connsiteY115" fmla="*/ 298676 h 333085"/>
              <a:gd name="connsiteX116" fmla="*/ 215817 w 424132"/>
              <a:gd name="connsiteY116" fmla="*/ 292024 h 333085"/>
              <a:gd name="connsiteX117" fmla="*/ 229064 w 424132"/>
              <a:gd name="connsiteY117" fmla="*/ 298618 h 333085"/>
              <a:gd name="connsiteX118" fmla="*/ 237162 w 424132"/>
              <a:gd name="connsiteY118" fmla="*/ 303419 h 333085"/>
              <a:gd name="connsiteX119" fmla="*/ 252317 w 424132"/>
              <a:gd name="connsiteY119" fmla="*/ 305212 h 333085"/>
              <a:gd name="connsiteX120" fmla="*/ 262902 w 424132"/>
              <a:gd name="connsiteY120" fmla="*/ 303477 h 333085"/>
              <a:gd name="connsiteX121" fmla="*/ 268687 w 424132"/>
              <a:gd name="connsiteY121" fmla="*/ 298618 h 333085"/>
              <a:gd name="connsiteX122" fmla="*/ 283553 w 424132"/>
              <a:gd name="connsiteY122" fmla="*/ 290462 h 333085"/>
              <a:gd name="connsiteX123" fmla="*/ 296799 w 424132"/>
              <a:gd name="connsiteY123" fmla="*/ 290462 h 333085"/>
              <a:gd name="connsiteX124" fmla="*/ 307790 w 424132"/>
              <a:gd name="connsiteY124" fmla="*/ 290462 h 333085"/>
              <a:gd name="connsiteX125" fmla="*/ 318664 w 424132"/>
              <a:gd name="connsiteY125" fmla="*/ 291677 h 333085"/>
              <a:gd name="connsiteX126" fmla="*/ 319821 w 424132"/>
              <a:gd name="connsiteY126" fmla="*/ 292255 h 333085"/>
              <a:gd name="connsiteX127" fmla="*/ 336770 w 424132"/>
              <a:gd name="connsiteY127" fmla="*/ 298040 h 333085"/>
              <a:gd name="connsiteX128" fmla="*/ 340414 w 424132"/>
              <a:gd name="connsiteY128" fmla="*/ 297519 h 333085"/>
              <a:gd name="connsiteX129" fmla="*/ 350652 w 424132"/>
              <a:gd name="connsiteY129" fmla="*/ 288090 h 333085"/>
              <a:gd name="connsiteX130" fmla="*/ 359849 w 424132"/>
              <a:gd name="connsiteY130" fmla="*/ 279761 h 333085"/>
              <a:gd name="connsiteX131" fmla="*/ 362973 w 424132"/>
              <a:gd name="connsiteY131" fmla="*/ 279356 h 333085"/>
              <a:gd name="connsiteX132" fmla="*/ 362973 w 424132"/>
              <a:gd name="connsiteY132" fmla="*/ 271952 h 333085"/>
              <a:gd name="connsiteX133" fmla="*/ 365345 w 424132"/>
              <a:gd name="connsiteY133" fmla="*/ 259052 h 333085"/>
              <a:gd name="connsiteX134" fmla="*/ 368642 w 424132"/>
              <a:gd name="connsiteY134" fmla="*/ 248351 h 333085"/>
              <a:gd name="connsiteX135" fmla="*/ 412661 w 424132"/>
              <a:gd name="connsiteY135" fmla="*/ 192647 h 333085"/>
              <a:gd name="connsiteX136" fmla="*/ 415438 w 424132"/>
              <a:gd name="connsiteY136" fmla="*/ 125721 h 333085"/>
              <a:gd name="connsiteX137" fmla="*/ 420297 w 424132"/>
              <a:gd name="connsiteY137" fmla="*/ 96336 h 333085"/>
              <a:gd name="connsiteX138" fmla="*/ 418562 w 424132"/>
              <a:gd name="connsiteY138" fmla="*/ 85924 h 333085"/>
              <a:gd name="connsiteX139" fmla="*/ 415438 w 424132"/>
              <a:gd name="connsiteY139" fmla="*/ 75570 h 333085"/>
              <a:gd name="connsiteX140" fmla="*/ 409017 w 424132"/>
              <a:gd name="connsiteY140" fmla="*/ 60531 h 333085"/>
              <a:gd name="connsiteX141" fmla="*/ 404158 w 424132"/>
              <a:gd name="connsiteY141" fmla="*/ 50639 h 333085"/>
              <a:gd name="connsiteX142" fmla="*/ 402654 w 424132"/>
              <a:gd name="connsiteY142" fmla="*/ 17379 h 333085"/>
              <a:gd name="connsiteX143" fmla="*/ 382524 w 424132"/>
              <a:gd name="connsiteY143" fmla="*/ 28254 h 333085"/>
              <a:gd name="connsiteX144" fmla="*/ 381020 w 424132"/>
              <a:gd name="connsiteY144" fmla="*/ 27849 h 333085"/>
              <a:gd name="connsiteX145" fmla="*/ 364072 w 424132"/>
              <a:gd name="connsiteY145" fmla="*/ 10958 h 333085"/>
              <a:gd name="connsiteX146" fmla="*/ 324738 w 424132"/>
              <a:gd name="connsiteY146" fmla="*/ 3438 h 333085"/>
              <a:gd name="connsiteX147" fmla="*/ 208066 w 424132"/>
              <a:gd name="connsiteY147" fmla="*/ 75570 h 333085"/>
              <a:gd name="connsiteX148" fmla="*/ 158262 w 424132"/>
              <a:gd name="connsiteY148" fmla="*/ 115772 h 333085"/>
              <a:gd name="connsiteX149" fmla="*/ 157915 w 424132"/>
              <a:gd name="connsiteY149" fmla="*/ 115772 h 333085"/>
              <a:gd name="connsiteX150" fmla="*/ 115515 w 424132"/>
              <a:gd name="connsiteY150" fmla="*/ 129308 h 333085"/>
              <a:gd name="connsiteX151" fmla="*/ 112796 w 424132"/>
              <a:gd name="connsiteY151" fmla="*/ 129828 h 333085"/>
              <a:gd name="connsiteX152" fmla="*/ 110598 w 424132"/>
              <a:gd name="connsiteY152" fmla="*/ 202539 h 333085"/>
              <a:gd name="connsiteX153" fmla="*/ 106434 w 424132"/>
              <a:gd name="connsiteY153" fmla="*/ 212141 h 333085"/>
              <a:gd name="connsiteX154" fmla="*/ 101806 w 424132"/>
              <a:gd name="connsiteY154" fmla="*/ 222610 h 333085"/>
              <a:gd name="connsiteX155" fmla="*/ 99608 w 424132"/>
              <a:gd name="connsiteY155" fmla="*/ 225271 h 333085"/>
              <a:gd name="connsiteX156" fmla="*/ 84048 w 424132"/>
              <a:gd name="connsiteY156" fmla="*/ 235047 h 333085"/>
              <a:gd name="connsiteX157" fmla="*/ 67389 w 424132"/>
              <a:gd name="connsiteY157" fmla="*/ 236956 h 333085"/>
              <a:gd name="connsiteX158" fmla="*/ 45523 w 424132"/>
              <a:gd name="connsiteY158" fmla="*/ 239385 h 333085"/>
              <a:gd name="connsiteX159" fmla="*/ 41070 w 424132"/>
              <a:gd name="connsiteY159" fmla="*/ 239038 h 333085"/>
              <a:gd name="connsiteX160" fmla="*/ 38467 w 424132"/>
              <a:gd name="connsiteY160" fmla="*/ 239038 h 333085"/>
              <a:gd name="connsiteX161" fmla="*/ 23774 w 424132"/>
              <a:gd name="connsiteY161" fmla="*/ 244302 h 333085"/>
              <a:gd name="connsiteX162" fmla="*/ 19841 w 424132"/>
              <a:gd name="connsiteY162" fmla="*/ 246442 h 333085"/>
              <a:gd name="connsiteX163" fmla="*/ 3818 w 424132"/>
              <a:gd name="connsiteY163" fmla="*/ 247830 h 333085"/>
              <a:gd name="connsiteX164" fmla="*/ 2661 w 424132"/>
              <a:gd name="connsiteY164" fmla="*/ 247830 h 333085"/>
              <a:gd name="connsiteX165" fmla="*/ 2661 w 424132"/>
              <a:gd name="connsiteY165" fmla="*/ 260383 h 333085"/>
              <a:gd name="connsiteX166" fmla="*/ 6594 w 424132"/>
              <a:gd name="connsiteY166" fmla="*/ 267151 h 333085"/>
              <a:gd name="connsiteX167" fmla="*/ 11801 w 424132"/>
              <a:gd name="connsiteY167" fmla="*/ 276174 h 333085"/>
              <a:gd name="connsiteX168" fmla="*/ 12900 w 424132"/>
              <a:gd name="connsiteY168" fmla="*/ 276984 h 333085"/>
              <a:gd name="connsiteX169" fmla="*/ 24989 w 424132"/>
              <a:gd name="connsiteY169" fmla="*/ 291619 h 333085"/>
              <a:gd name="connsiteX170" fmla="*/ 28691 w 424132"/>
              <a:gd name="connsiteY170" fmla="*/ 300816 h 333085"/>
              <a:gd name="connsiteX171" fmla="*/ 35054 w 424132"/>
              <a:gd name="connsiteY171" fmla="*/ 305733 h 333085"/>
              <a:gd name="connsiteX172" fmla="*/ 40029 w 424132"/>
              <a:gd name="connsiteY172" fmla="*/ 310592 h 333085"/>
              <a:gd name="connsiteX173" fmla="*/ 48474 w 424132"/>
              <a:gd name="connsiteY173" fmla="*/ 309319 h 333085"/>
              <a:gd name="connsiteX174" fmla="*/ 52639 w 424132"/>
              <a:gd name="connsiteY174" fmla="*/ 308278 h 333085"/>
              <a:gd name="connsiteX175" fmla="*/ 54490 w 424132"/>
              <a:gd name="connsiteY175" fmla="*/ 309146 h 333085"/>
              <a:gd name="connsiteX176" fmla="*/ 55126 w 424132"/>
              <a:gd name="connsiteY176" fmla="*/ 316260 h 333085"/>
              <a:gd name="connsiteX177" fmla="*/ 55589 w 424132"/>
              <a:gd name="connsiteY177" fmla="*/ 323838 h 333085"/>
              <a:gd name="connsiteX178" fmla="*/ 64959 w 424132"/>
              <a:gd name="connsiteY178" fmla="*/ 327309 h 333085"/>
              <a:gd name="connsiteX179" fmla="*/ 67505 w 424132"/>
              <a:gd name="connsiteY179" fmla="*/ 318690 h 333085"/>
              <a:gd name="connsiteX180" fmla="*/ 73404 w 424132"/>
              <a:gd name="connsiteY180" fmla="*/ 315740 h 33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424132" h="333085">
                <a:moveTo>
                  <a:pt x="90584" y="332804"/>
                </a:moveTo>
                <a:cubicBezTo>
                  <a:pt x="88444" y="332717"/>
                  <a:pt x="86339" y="332202"/>
                  <a:pt x="84395" y="331300"/>
                </a:cubicBezTo>
                <a:cubicBezTo>
                  <a:pt x="81433" y="330022"/>
                  <a:pt x="79553" y="327060"/>
                  <a:pt x="79652" y="323838"/>
                </a:cubicBezTo>
                <a:cubicBezTo>
                  <a:pt x="79652" y="321235"/>
                  <a:pt x="79131" y="319384"/>
                  <a:pt x="75660" y="318054"/>
                </a:cubicBezTo>
                <a:cubicBezTo>
                  <a:pt x="73318" y="317139"/>
                  <a:pt x="70651" y="317840"/>
                  <a:pt x="69066" y="319789"/>
                </a:cubicBezTo>
                <a:cubicBezTo>
                  <a:pt x="67244" y="322508"/>
                  <a:pt x="66602" y="325845"/>
                  <a:pt x="67273" y="329044"/>
                </a:cubicBezTo>
                <a:cubicBezTo>
                  <a:pt x="67331" y="329235"/>
                  <a:pt x="67331" y="329431"/>
                  <a:pt x="67273" y="329622"/>
                </a:cubicBezTo>
                <a:cubicBezTo>
                  <a:pt x="67273" y="330230"/>
                  <a:pt x="66782" y="330721"/>
                  <a:pt x="66174" y="330721"/>
                </a:cubicBezTo>
                <a:lnTo>
                  <a:pt x="66174" y="330721"/>
                </a:lnTo>
                <a:cubicBezTo>
                  <a:pt x="65873" y="330739"/>
                  <a:pt x="65584" y="330635"/>
                  <a:pt x="65364" y="330432"/>
                </a:cubicBezTo>
                <a:cubicBezTo>
                  <a:pt x="62478" y="327881"/>
                  <a:pt x="58891" y="326273"/>
                  <a:pt x="55068" y="325805"/>
                </a:cubicBezTo>
                <a:cubicBezTo>
                  <a:pt x="54582" y="325799"/>
                  <a:pt x="54119" y="325591"/>
                  <a:pt x="53796" y="325226"/>
                </a:cubicBezTo>
                <a:cubicBezTo>
                  <a:pt x="52581" y="324012"/>
                  <a:pt x="52523" y="320946"/>
                  <a:pt x="52581" y="315971"/>
                </a:cubicBezTo>
                <a:cubicBezTo>
                  <a:pt x="52696" y="314039"/>
                  <a:pt x="52598" y="312096"/>
                  <a:pt x="52292" y="310187"/>
                </a:cubicBezTo>
                <a:lnTo>
                  <a:pt x="48879" y="311286"/>
                </a:lnTo>
                <a:cubicBezTo>
                  <a:pt x="45761" y="312691"/>
                  <a:pt x="42290" y="313114"/>
                  <a:pt x="38929" y="312501"/>
                </a:cubicBezTo>
                <a:cubicBezTo>
                  <a:pt x="36465" y="311193"/>
                  <a:pt x="34452" y="309180"/>
                  <a:pt x="33145" y="306716"/>
                </a:cubicBezTo>
                <a:cubicBezTo>
                  <a:pt x="31583" y="304576"/>
                  <a:pt x="30253" y="302725"/>
                  <a:pt x="28575" y="302725"/>
                </a:cubicBezTo>
                <a:cubicBezTo>
                  <a:pt x="22791" y="302725"/>
                  <a:pt x="22791" y="294974"/>
                  <a:pt x="22791" y="291156"/>
                </a:cubicBezTo>
                <a:cubicBezTo>
                  <a:pt x="22791" y="287338"/>
                  <a:pt x="16023" y="282132"/>
                  <a:pt x="11396" y="279067"/>
                </a:cubicBezTo>
                <a:lnTo>
                  <a:pt x="10297" y="278257"/>
                </a:lnTo>
                <a:cubicBezTo>
                  <a:pt x="7537" y="275498"/>
                  <a:pt x="5548" y="272067"/>
                  <a:pt x="4512" y="268308"/>
                </a:cubicBezTo>
                <a:cubicBezTo>
                  <a:pt x="3974" y="266173"/>
                  <a:pt x="2945" y="264189"/>
                  <a:pt x="1504" y="262523"/>
                </a:cubicBezTo>
                <a:cubicBezTo>
                  <a:pt x="174" y="261713"/>
                  <a:pt x="-983" y="259226"/>
                  <a:pt x="810" y="246789"/>
                </a:cubicBezTo>
                <a:cubicBezTo>
                  <a:pt x="868" y="246228"/>
                  <a:pt x="1342" y="245800"/>
                  <a:pt x="1909" y="245806"/>
                </a:cubicBezTo>
                <a:lnTo>
                  <a:pt x="4049" y="245806"/>
                </a:lnTo>
                <a:cubicBezTo>
                  <a:pt x="9151" y="245985"/>
                  <a:pt x="14253" y="245575"/>
                  <a:pt x="19262" y="244591"/>
                </a:cubicBezTo>
                <a:cubicBezTo>
                  <a:pt x="20188" y="244186"/>
                  <a:pt x="21403" y="243435"/>
                  <a:pt x="22849" y="242625"/>
                </a:cubicBezTo>
                <a:cubicBezTo>
                  <a:pt x="27505" y="239287"/>
                  <a:pt x="32983" y="237285"/>
                  <a:pt x="38698" y="236840"/>
                </a:cubicBezTo>
                <a:cubicBezTo>
                  <a:pt x="39681" y="236753"/>
                  <a:pt x="40665" y="236753"/>
                  <a:pt x="41648" y="236840"/>
                </a:cubicBezTo>
                <a:cubicBezTo>
                  <a:pt x="43013" y="236944"/>
                  <a:pt x="44390" y="236944"/>
                  <a:pt x="45755" y="236840"/>
                </a:cubicBezTo>
                <a:cubicBezTo>
                  <a:pt x="52974" y="236522"/>
                  <a:pt x="60158" y="235730"/>
                  <a:pt x="67273" y="234468"/>
                </a:cubicBezTo>
                <a:cubicBezTo>
                  <a:pt x="72895" y="233445"/>
                  <a:pt x="78576" y="232785"/>
                  <a:pt x="84279" y="232502"/>
                </a:cubicBezTo>
                <a:cubicBezTo>
                  <a:pt x="90070" y="232022"/>
                  <a:pt x="95241" y="228678"/>
                  <a:pt x="98046" y="223594"/>
                </a:cubicBezTo>
                <a:cubicBezTo>
                  <a:pt x="98769" y="222564"/>
                  <a:pt x="99585" y="221593"/>
                  <a:pt x="100476" y="220701"/>
                </a:cubicBezTo>
                <a:cubicBezTo>
                  <a:pt x="102292" y="217740"/>
                  <a:pt x="103657" y="214524"/>
                  <a:pt x="104525" y="211157"/>
                </a:cubicBezTo>
                <a:cubicBezTo>
                  <a:pt x="105311" y="207230"/>
                  <a:pt x="107018" y="203545"/>
                  <a:pt x="109499" y="200398"/>
                </a:cubicBezTo>
                <a:cubicBezTo>
                  <a:pt x="110888" y="198142"/>
                  <a:pt x="111408" y="169972"/>
                  <a:pt x="110772" y="128729"/>
                </a:cubicBezTo>
                <a:cubicBezTo>
                  <a:pt x="110784" y="128215"/>
                  <a:pt x="111102" y="127757"/>
                  <a:pt x="111582" y="127572"/>
                </a:cubicBezTo>
                <a:lnTo>
                  <a:pt x="115168" y="126820"/>
                </a:lnTo>
                <a:cubicBezTo>
                  <a:pt x="124365" y="124969"/>
                  <a:pt x="154560" y="114384"/>
                  <a:pt x="157221" y="113458"/>
                </a:cubicBezTo>
                <a:lnTo>
                  <a:pt x="206967" y="72967"/>
                </a:lnTo>
                <a:lnTo>
                  <a:pt x="324275" y="-90"/>
                </a:lnTo>
                <a:cubicBezTo>
                  <a:pt x="324466" y="-142"/>
                  <a:pt x="324663" y="-142"/>
                  <a:pt x="324854" y="-90"/>
                </a:cubicBezTo>
                <a:cubicBezTo>
                  <a:pt x="326068" y="-90"/>
                  <a:pt x="354123" y="-90"/>
                  <a:pt x="365807" y="7777"/>
                </a:cubicBezTo>
                <a:cubicBezTo>
                  <a:pt x="372593" y="12208"/>
                  <a:pt x="378481" y="17882"/>
                  <a:pt x="383161" y="24494"/>
                </a:cubicBezTo>
                <a:lnTo>
                  <a:pt x="403869" y="13272"/>
                </a:lnTo>
                <a:cubicBezTo>
                  <a:pt x="404210" y="13075"/>
                  <a:pt x="404627" y="13075"/>
                  <a:pt x="404968" y="13272"/>
                </a:cubicBezTo>
                <a:cubicBezTo>
                  <a:pt x="405321" y="13446"/>
                  <a:pt x="405547" y="13804"/>
                  <a:pt x="405547" y="14198"/>
                </a:cubicBezTo>
                <a:lnTo>
                  <a:pt x="405547" y="15701"/>
                </a:lnTo>
                <a:cubicBezTo>
                  <a:pt x="406241" y="29006"/>
                  <a:pt x="407108" y="45549"/>
                  <a:pt x="407108" y="49367"/>
                </a:cubicBezTo>
                <a:cubicBezTo>
                  <a:pt x="407808" y="52566"/>
                  <a:pt x="409347" y="55522"/>
                  <a:pt x="411562" y="57928"/>
                </a:cubicBezTo>
                <a:cubicBezTo>
                  <a:pt x="415745" y="62446"/>
                  <a:pt x="418162" y="68317"/>
                  <a:pt x="418388" y="74471"/>
                </a:cubicBezTo>
                <a:cubicBezTo>
                  <a:pt x="418070" y="77682"/>
                  <a:pt x="419047" y="80892"/>
                  <a:pt x="421107" y="83379"/>
                </a:cubicBezTo>
                <a:cubicBezTo>
                  <a:pt x="424022" y="86786"/>
                  <a:pt x="424820" y="91524"/>
                  <a:pt x="423189" y="95700"/>
                </a:cubicBezTo>
                <a:cubicBezTo>
                  <a:pt x="420297" y="105082"/>
                  <a:pt x="418683" y="114812"/>
                  <a:pt x="418388" y="124622"/>
                </a:cubicBezTo>
                <a:cubicBezTo>
                  <a:pt x="418388" y="190623"/>
                  <a:pt x="415669" y="192705"/>
                  <a:pt x="414744" y="193399"/>
                </a:cubicBezTo>
                <a:cubicBezTo>
                  <a:pt x="411678" y="195655"/>
                  <a:pt x="373963" y="233312"/>
                  <a:pt x="371534" y="247599"/>
                </a:cubicBezTo>
                <a:cubicBezTo>
                  <a:pt x="371106" y="251648"/>
                  <a:pt x="369909" y="255570"/>
                  <a:pt x="368005" y="259168"/>
                </a:cubicBezTo>
                <a:cubicBezTo>
                  <a:pt x="366224" y="262749"/>
                  <a:pt x="365501" y="266763"/>
                  <a:pt x="365923" y="270737"/>
                </a:cubicBezTo>
                <a:cubicBezTo>
                  <a:pt x="365923" y="273340"/>
                  <a:pt x="365923" y="276521"/>
                  <a:pt x="365923" y="279529"/>
                </a:cubicBezTo>
                <a:cubicBezTo>
                  <a:pt x="365935" y="279894"/>
                  <a:pt x="365761" y="280241"/>
                  <a:pt x="365460" y="280455"/>
                </a:cubicBezTo>
                <a:cubicBezTo>
                  <a:pt x="365148" y="280594"/>
                  <a:pt x="364789" y="280594"/>
                  <a:pt x="364477" y="280455"/>
                </a:cubicBezTo>
                <a:cubicBezTo>
                  <a:pt x="363424" y="280108"/>
                  <a:pt x="362290" y="280108"/>
                  <a:pt x="361238" y="280455"/>
                </a:cubicBezTo>
                <a:cubicBezTo>
                  <a:pt x="358866" y="281149"/>
                  <a:pt x="355974" y="284677"/>
                  <a:pt x="353197" y="288090"/>
                </a:cubicBezTo>
                <a:cubicBezTo>
                  <a:pt x="350276" y="292406"/>
                  <a:pt x="346291" y="295893"/>
                  <a:pt x="341628" y="298213"/>
                </a:cubicBezTo>
                <a:cubicBezTo>
                  <a:pt x="340223" y="298647"/>
                  <a:pt x="338759" y="298861"/>
                  <a:pt x="337290" y="298849"/>
                </a:cubicBezTo>
                <a:cubicBezTo>
                  <a:pt x="330950" y="298213"/>
                  <a:pt x="324825" y="296240"/>
                  <a:pt x="319301" y="293065"/>
                </a:cubicBezTo>
                <a:lnTo>
                  <a:pt x="318202" y="292486"/>
                </a:lnTo>
                <a:cubicBezTo>
                  <a:pt x="314986" y="291607"/>
                  <a:pt x="311636" y="291272"/>
                  <a:pt x="308310" y="291503"/>
                </a:cubicBezTo>
                <a:cubicBezTo>
                  <a:pt x="304897" y="291503"/>
                  <a:pt x="301080" y="291503"/>
                  <a:pt x="297436" y="291503"/>
                </a:cubicBezTo>
                <a:cubicBezTo>
                  <a:pt x="291651" y="291503"/>
                  <a:pt x="286387" y="291850"/>
                  <a:pt x="283842" y="291503"/>
                </a:cubicBezTo>
                <a:lnTo>
                  <a:pt x="283148" y="291503"/>
                </a:lnTo>
                <a:cubicBezTo>
                  <a:pt x="279041" y="291503"/>
                  <a:pt x="274645" y="295552"/>
                  <a:pt x="270769" y="299081"/>
                </a:cubicBezTo>
                <a:cubicBezTo>
                  <a:pt x="268814" y="301036"/>
                  <a:pt x="266662" y="302777"/>
                  <a:pt x="264349" y="304287"/>
                </a:cubicBezTo>
                <a:cubicBezTo>
                  <a:pt x="260693" y="305814"/>
                  <a:pt x="256736" y="306502"/>
                  <a:pt x="252780" y="306311"/>
                </a:cubicBezTo>
                <a:cubicBezTo>
                  <a:pt x="247435" y="306358"/>
                  <a:pt x="242108" y="305715"/>
                  <a:pt x="236930" y="304402"/>
                </a:cubicBezTo>
                <a:cubicBezTo>
                  <a:pt x="233882" y="303014"/>
                  <a:pt x="230972" y="301325"/>
                  <a:pt x="228254" y="299370"/>
                </a:cubicBezTo>
                <a:cubicBezTo>
                  <a:pt x="224690" y="296553"/>
                  <a:pt x="220630" y="294436"/>
                  <a:pt x="216280" y="293123"/>
                </a:cubicBezTo>
                <a:cubicBezTo>
                  <a:pt x="208529" y="293401"/>
                  <a:pt x="200969" y="295564"/>
                  <a:pt x="194241" y="299428"/>
                </a:cubicBezTo>
                <a:cubicBezTo>
                  <a:pt x="193131" y="300186"/>
                  <a:pt x="191824" y="300602"/>
                  <a:pt x="190481" y="300642"/>
                </a:cubicBezTo>
                <a:cubicBezTo>
                  <a:pt x="186143" y="300642"/>
                  <a:pt x="183656" y="295726"/>
                  <a:pt x="181284" y="290982"/>
                </a:cubicBezTo>
                <a:cubicBezTo>
                  <a:pt x="180249" y="288750"/>
                  <a:pt x="178965" y="286632"/>
                  <a:pt x="177466" y="284677"/>
                </a:cubicBezTo>
                <a:cubicBezTo>
                  <a:pt x="175384" y="282190"/>
                  <a:pt x="171682" y="282017"/>
                  <a:pt x="167980" y="281843"/>
                </a:cubicBezTo>
                <a:cubicBezTo>
                  <a:pt x="163630" y="282086"/>
                  <a:pt x="159326" y="280842"/>
                  <a:pt x="155775" y="278315"/>
                </a:cubicBezTo>
                <a:cubicBezTo>
                  <a:pt x="155052" y="277580"/>
                  <a:pt x="154086" y="277129"/>
                  <a:pt x="153056" y="277042"/>
                </a:cubicBezTo>
                <a:cubicBezTo>
                  <a:pt x="151263" y="277042"/>
                  <a:pt x="149470" y="278777"/>
                  <a:pt x="147677" y="280397"/>
                </a:cubicBezTo>
                <a:cubicBezTo>
                  <a:pt x="145884" y="282017"/>
                  <a:pt x="143107" y="284620"/>
                  <a:pt x="140215" y="284215"/>
                </a:cubicBezTo>
                <a:lnTo>
                  <a:pt x="137149" y="283752"/>
                </a:lnTo>
                <a:cubicBezTo>
                  <a:pt x="132701" y="282902"/>
                  <a:pt x="128195" y="282398"/>
                  <a:pt x="123671" y="282248"/>
                </a:cubicBezTo>
                <a:cubicBezTo>
                  <a:pt x="121005" y="282011"/>
                  <a:pt x="118338" y="282618"/>
                  <a:pt x="116036" y="283983"/>
                </a:cubicBezTo>
                <a:cubicBezTo>
                  <a:pt x="113485" y="287940"/>
                  <a:pt x="112062" y="292521"/>
                  <a:pt x="111929" y="297230"/>
                </a:cubicBezTo>
                <a:cubicBezTo>
                  <a:pt x="111292" y="301857"/>
                  <a:pt x="110888" y="304518"/>
                  <a:pt x="109673" y="305733"/>
                </a:cubicBezTo>
                <a:cubicBezTo>
                  <a:pt x="107070" y="308336"/>
                  <a:pt x="98104" y="319268"/>
                  <a:pt x="98104" y="324359"/>
                </a:cubicBezTo>
                <a:cubicBezTo>
                  <a:pt x="99273" y="327742"/>
                  <a:pt x="97485" y="331427"/>
                  <a:pt x="94101" y="332601"/>
                </a:cubicBezTo>
                <a:cubicBezTo>
                  <a:pt x="92968" y="332989"/>
                  <a:pt x="91753" y="333064"/>
                  <a:pt x="90584" y="332804"/>
                </a:cubicBezTo>
                <a:close/>
                <a:moveTo>
                  <a:pt x="73231" y="315740"/>
                </a:moveTo>
                <a:cubicBezTo>
                  <a:pt x="74214" y="315757"/>
                  <a:pt x="75186" y="315913"/>
                  <a:pt x="76123" y="316202"/>
                </a:cubicBezTo>
                <a:cubicBezTo>
                  <a:pt x="79577" y="316932"/>
                  <a:pt x="82012" y="320026"/>
                  <a:pt x="81908" y="323549"/>
                </a:cubicBezTo>
                <a:cubicBezTo>
                  <a:pt x="82197" y="325978"/>
                  <a:pt x="82370" y="327887"/>
                  <a:pt x="85320" y="329333"/>
                </a:cubicBezTo>
                <a:cubicBezTo>
                  <a:pt x="86969" y="330120"/>
                  <a:pt x="88756" y="330571"/>
                  <a:pt x="90584" y="330664"/>
                </a:cubicBezTo>
                <a:cubicBezTo>
                  <a:pt x="94287" y="330664"/>
                  <a:pt x="95038" y="327887"/>
                  <a:pt x="95038" y="325516"/>
                </a:cubicBezTo>
                <a:cubicBezTo>
                  <a:pt x="95038" y="319210"/>
                  <a:pt x="105450" y="307352"/>
                  <a:pt x="107475" y="305270"/>
                </a:cubicBezTo>
                <a:cubicBezTo>
                  <a:pt x="108447" y="302997"/>
                  <a:pt x="109013" y="300567"/>
                  <a:pt x="109152" y="298097"/>
                </a:cubicBezTo>
                <a:cubicBezTo>
                  <a:pt x="109210" y="292816"/>
                  <a:pt x="110905" y="287680"/>
                  <a:pt x="114011" y="283405"/>
                </a:cubicBezTo>
                <a:cubicBezTo>
                  <a:pt x="116701" y="281658"/>
                  <a:pt x="119900" y="280860"/>
                  <a:pt x="123093" y="281149"/>
                </a:cubicBezTo>
                <a:cubicBezTo>
                  <a:pt x="127732" y="281294"/>
                  <a:pt x="132354" y="281791"/>
                  <a:pt x="136918" y="282653"/>
                </a:cubicBezTo>
                <a:lnTo>
                  <a:pt x="139925" y="283174"/>
                </a:lnTo>
                <a:cubicBezTo>
                  <a:pt x="141834" y="283174"/>
                  <a:pt x="143628" y="281728"/>
                  <a:pt x="145710" y="279934"/>
                </a:cubicBezTo>
                <a:cubicBezTo>
                  <a:pt x="147457" y="277811"/>
                  <a:pt x="149933" y="276406"/>
                  <a:pt x="152651" y="276001"/>
                </a:cubicBezTo>
                <a:cubicBezTo>
                  <a:pt x="154219" y="276053"/>
                  <a:pt x="155723" y="276672"/>
                  <a:pt x="156874" y="277736"/>
                </a:cubicBezTo>
                <a:cubicBezTo>
                  <a:pt x="160044" y="279911"/>
                  <a:pt x="163850" y="280970"/>
                  <a:pt x="167691" y="280744"/>
                </a:cubicBezTo>
                <a:cubicBezTo>
                  <a:pt x="171734" y="280322"/>
                  <a:pt x="175766" y="281623"/>
                  <a:pt x="178797" y="284330"/>
                </a:cubicBezTo>
                <a:cubicBezTo>
                  <a:pt x="180411" y="286436"/>
                  <a:pt x="181770" y="288732"/>
                  <a:pt x="182846" y="291156"/>
                </a:cubicBezTo>
                <a:cubicBezTo>
                  <a:pt x="184986" y="295263"/>
                  <a:pt x="187127" y="299543"/>
                  <a:pt x="190077" y="299543"/>
                </a:cubicBezTo>
                <a:cubicBezTo>
                  <a:pt x="191008" y="299503"/>
                  <a:pt x="191910" y="299202"/>
                  <a:pt x="192679" y="298676"/>
                </a:cubicBezTo>
                <a:cubicBezTo>
                  <a:pt x="199719" y="294569"/>
                  <a:pt x="207673" y="292284"/>
                  <a:pt x="215817" y="292024"/>
                </a:cubicBezTo>
                <a:cubicBezTo>
                  <a:pt x="220659" y="293232"/>
                  <a:pt x="225182" y="295483"/>
                  <a:pt x="229064" y="298618"/>
                </a:cubicBezTo>
                <a:cubicBezTo>
                  <a:pt x="231603" y="300475"/>
                  <a:pt x="234316" y="302083"/>
                  <a:pt x="237162" y="303419"/>
                </a:cubicBezTo>
                <a:cubicBezTo>
                  <a:pt x="242119" y="304651"/>
                  <a:pt x="247209" y="305259"/>
                  <a:pt x="252317" y="305212"/>
                </a:cubicBezTo>
                <a:cubicBezTo>
                  <a:pt x="255932" y="305449"/>
                  <a:pt x="259553" y="304854"/>
                  <a:pt x="262902" y="303477"/>
                </a:cubicBezTo>
                <a:cubicBezTo>
                  <a:pt x="264979" y="302048"/>
                  <a:pt x="266917" y="300417"/>
                  <a:pt x="268687" y="298618"/>
                </a:cubicBezTo>
                <a:cubicBezTo>
                  <a:pt x="273141" y="294511"/>
                  <a:pt x="278289" y="289883"/>
                  <a:pt x="283553" y="290462"/>
                </a:cubicBezTo>
                <a:cubicBezTo>
                  <a:pt x="287966" y="290687"/>
                  <a:pt x="292386" y="290687"/>
                  <a:pt x="296799" y="290462"/>
                </a:cubicBezTo>
                <a:cubicBezTo>
                  <a:pt x="300501" y="290462"/>
                  <a:pt x="304377" y="290462"/>
                  <a:pt x="307790" y="290462"/>
                </a:cubicBezTo>
                <a:cubicBezTo>
                  <a:pt x="311457" y="290150"/>
                  <a:pt x="315153" y="290560"/>
                  <a:pt x="318664" y="291677"/>
                </a:cubicBezTo>
                <a:lnTo>
                  <a:pt x="319821" y="292255"/>
                </a:lnTo>
                <a:cubicBezTo>
                  <a:pt x="324998" y="295367"/>
                  <a:pt x="330771" y="297340"/>
                  <a:pt x="336770" y="298040"/>
                </a:cubicBezTo>
                <a:cubicBezTo>
                  <a:pt x="338002" y="298057"/>
                  <a:pt x="339234" y="297878"/>
                  <a:pt x="340414" y="297519"/>
                </a:cubicBezTo>
                <a:cubicBezTo>
                  <a:pt x="344556" y="295275"/>
                  <a:pt x="348072" y="292030"/>
                  <a:pt x="350652" y="288090"/>
                </a:cubicBezTo>
                <a:cubicBezTo>
                  <a:pt x="352943" y="284562"/>
                  <a:pt x="356113" y="281693"/>
                  <a:pt x="359849" y="279761"/>
                </a:cubicBezTo>
                <a:cubicBezTo>
                  <a:pt x="360862" y="279443"/>
                  <a:pt x="361914" y="279304"/>
                  <a:pt x="362973" y="279356"/>
                </a:cubicBezTo>
                <a:cubicBezTo>
                  <a:pt x="362973" y="276695"/>
                  <a:pt x="362973" y="274150"/>
                  <a:pt x="362973" y="271952"/>
                </a:cubicBezTo>
                <a:cubicBezTo>
                  <a:pt x="362475" y="267515"/>
                  <a:pt x="363303" y="263026"/>
                  <a:pt x="365345" y="259052"/>
                </a:cubicBezTo>
                <a:cubicBezTo>
                  <a:pt x="367068" y="255709"/>
                  <a:pt x="368185" y="252088"/>
                  <a:pt x="368642" y="248351"/>
                </a:cubicBezTo>
                <a:cubicBezTo>
                  <a:pt x="371187" y="233196"/>
                  <a:pt x="409480" y="195077"/>
                  <a:pt x="412661" y="192647"/>
                </a:cubicBezTo>
                <a:cubicBezTo>
                  <a:pt x="413934" y="191028"/>
                  <a:pt x="415438" y="172460"/>
                  <a:pt x="415438" y="125721"/>
                </a:cubicBezTo>
                <a:cubicBezTo>
                  <a:pt x="415739" y="115755"/>
                  <a:pt x="417370" y="105869"/>
                  <a:pt x="420297" y="96336"/>
                </a:cubicBezTo>
                <a:cubicBezTo>
                  <a:pt x="421714" y="92814"/>
                  <a:pt x="421049" y="88794"/>
                  <a:pt x="418562" y="85924"/>
                </a:cubicBezTo>
                <a:cubicBezTo>
                  <a:pt x="416201" y="83015"/>
                  <a:pt x="415085" y="79295"/>
                  <a:pt x="415438" y="75570"/>
                </a:cubicBezTo>
                <a:cubicBezTo>
                  <a:pt x="415137" y="69959"/>
                  <a:pt x="412864" y="64632"/>
                  <a:pt x="409017" y="60531"/>
                </a:cubicBezTo>
                <a:cubicBezTo>
                  <a:pt x="406472" y="57772"/>
                  <a:pt x="404789" y="54336"/>
                  <a:pt x="404158" y="50639"/>
                </a:cubicBezTo>
                <a:cubicBezTo>
                  <a:pt x="404158" y="46879"/>
                  <a:pt x="403291" y="30567"/>
                  <a:pt x="402654" y="17379"/>
                </a:cubicBezTo>
                <a:lnTo>
                  <a:pt x="382524" y="28254"/>
                </a:lnTo>
                <a:cubicBezTo>
                  <a:pt x="381992" y="28526"/>
                  <a:pt x="381344" y="28352"/>
                  <a:pt x="381020" y="27849"/>
                </a:cubicBezTo>
                <a:cubicBezTo>
                  <a:pt x="376561" y="21139"/>
                  <a:pt x="370793" y="15395"/>
                  <a:pt x="364072" y="10958"/>
                </a:cubicBezTo>
                <a:cubicBezTo>
                  <a:pt x="353602" y="3959"/>
                  <a:pt x="327919" y="3438"/>
                  <a:pt x="324738" y="3438"/>
                </a:cubicBezTo>
                <a:lnTo>
                  <a:pt x="208066" y="75570"/>
                </a:lnTo>
                <a:lnTo>
                  <a:pt x="158262" y="115772"/>
                </a:lnTo>
                <a:lnTo>
                  <a:pt x="157915" y="115772"/>
                </a:lnTo>
                <a:cubicBezTo>
                  <a:pt x="156585" y="116235"/>
                  <a:pt x="125117" y="127341"/>
                  <a:pt x="115515" y="129308"/>
                </a:cubicBezTo>
                <a:lnTo>
                  <a:pt x="112796" y="129828"/>
                </a:lnTo>
                <a:cubicBezTo>
                  <a:pt x="113895" y="199993"/>
                  <a:pt x="111408" y="201902"/>
                  <a:pt x="110598" y="202539"/>
                </a:cubicBezTo>
                <a:cubicBezTo>
                  <a:pt x="108591" y="205437"/>
                  <a:pt x="107174" y="208699"/>
                  <a:pt x="106434" y="212141"/>
                </a:cubicBezTo>
                <a:cubicBezTo>
                  <a:pt x="105543" y="215883"/>
                  <a:pt x="103975" y="219435"/>
                  <a:pt x="101806" y="222610"/>
                </a:cubicBezTo>
                <a:cubicBezTo>
                  <a:pt x="101014" y="223443"/>
                  <a:pt x="100279" y="224334"/>
                  <a:pt x="99608" y="225271"/>
                </a:cubicBezTo>
                <a:cubicBezTo>
                  <a:pt x="96357" y="230899"/>
                  <a:pt x="90532" y="234561"/>
                  <a:pt x="84048" y="235047"/>
                </a:cubicBezTo>
                <a:cubicBezTo>
                  <a:pt x="78460" y="235348"/>
                  <a:pt x="72895" y="235984"/>
                  <a:pt x="67389" y="236956"/>
                </a:cubicBezTo>
                <a:cubicBezTo>
                  <a:pt x="60164" y="238269"/>
                  <a:pt x="52858" y="239079"/>
                  <a:pt x="45523" y="239385"/>
                </a:cubicBezTo>
                <a:cubicBezTo>
                  <a:pt x="44031" y="239408"/>
                  <a:pt x="42539" y="239293"/>
                  <a:pt x="41070" y="239038"/>
                </a:cubicBezTo>
                <a:lnTo>
                  <a:pt x="38467" y="239038"/>
                </a:lnTo>
                <a:cubicBezTo>
                  <a:pt x="33191" y="239461"/>
                  <a:pt x="28118" y="241277"/>
                  <a:pt x="23774" y="244302"/>
                </a:cubicBezTo>
                <a:cubicBezTo>
                  <a:pt x="22519" y="245112"/>
                  <a:pt x="21200" y="245823"/>
                  <a:pt x="19841" y="246442"/>
                </a:cubicBezTo>
                <a:cubicBezTo>
                  <a:pt x="14577" y="247553"/>
                  <a:pt x="9197" y="248021"/>
                  <a:pt x="3818" y="247830"/>
                </a:cubicBezTo>
                <a:lnTo>
                  <a:pt x="2661" y="247830"/>
                </a:lnTo>
                <a:cubicBezTo>
                  <a:pt x="1157" y="258879"/>
                  <a:pt x="2314" y="260267"/>
                  <a:pt x="2661" y="260383"/>
                </a:cubicBezTo>
                <a:cubicBezTo>
                  <a:pt x="4570" y="262234"/>
                  <a:pt x="5935" y="264577"/>
                  <a:pt x="6594" y="267151"/>
                </a:cubicBezTo>
                <a:cubicBezTo>
                  <a:pt x="7537" y="270552"/>
                  <a:pt x="9325" y="273658"/>
                  <a:pt x="11801" y="276174"/>
                </a:cubicBezTo>
                <a:lnTo>
                  <a:pt x="12900" y="276984"/>
                </a:lnTo>
                <a:cubicBezTo>
                  <a:pt x="17990" y="280802"/>
                  <a:pt x="24989" y="286008"/>
                  <a:pt x="24989" y="291619"/>
                </a:cubicBezTo>
                <a:cubicBezTo>
                  <a:pt x="24989" y="298213"/>
                  <a:pt x="26030" y="300816"/>
                  <a:pt x="28691" y="300816"/>
                </a:cubicBezTo>
                <a:cubicBezTo>
                  <a:pt x="31352" y="300816"/>
                  <a:pt x="33318" y="303303"/>
                  <a:pt x="35054" y="305733"/>
                </a:cubicBezTo>
                <a:cubicBezTo>
                  <a:pt x="36217" y="307792"/>
                  <a:pt x="37946" y="309475"/>
                  <a:pt x="40029" y="310592"/>
                </a:cubicBezTo>
                <a:cubicBezTo>
                  <a:pt x="42909" y="310973"/>
                  <a:pt x="45836" y="310534"/>
                  <a:pt x="48474" y="309319"/>
                </a:cubicBezTo>
                <a:cubicBezTo>
                  <a:pt x="49810" y="308793"/>
                  <a:pt x="51210" y="308446"/>
                  <a:pt x="52639" y="308278"/>
                </a:cubicBezTo>
                <a:cubicBezTo>
                  <a:pt x="53367" y="308226"/>
                  <a:pt x="54067" y="308556"/>
                  <a:pt x="54490" y="309146"/>
                </a:cubicBezTo>
                <a:cubicBezTo>
                  <a:pt x="55184" y="311448"/>
                  <a:pt x="55398" y="313872"/>
                  <a:pt x="55126" y="316260"/>
                </a:cubicBezTo>
                <a:cubicBezTo>
                  <a:pt x="54969" y="318794"/>
                  <a:pt x="55126" y="321339"/>
                  <a:pt x="55589" y="323838"/>
                </a:cubicBezTo>
                <a:cubicBezTo>
                  <a:pt x="58949" y="324214"/>
                  <a:pt x="62165" y="325406"/>
                  <a:pt x="64959" y="327309"/>
                </a:cubicBezTo>
                <a:cubicBezTo>
                  <a:pt x="64780" y="324226"/>
                  <a:pt x="65676" y="321177"/>
                  <a:pt x="67505" y="318690"/>
                </a:cubicBezTo>
                <a:cubicBezTo>
                  <a:pt x="68922" y="316862"/>
                  <a:pt x="71091" y="315780"/>
                  <a:pt x="73404" y="31574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8" name="Forma libre: forma 307">
            <a:extLst>
              <a:ext uri="{FF2B5EF4-FFF2-40B4-BE49-F238E27FC236}">
                <a16:creationId xmlns:a16="http://schemas.microsoft.com/office/drawing/2014/main" id="{85F22E06-2B35-AB4C-637D-341C09CF94E1}"/>
              </a:ext>
            </a:extLst>
          </p:cNvPr>
          <p:cNvSpPr/>
          <p:nvPr/>
        </p:nvSpPr>
        <p:spPr>
          <a:xfrm>
            <a:off x="6555705" y="3821893"/>
            <a:ext cx="274993" cy="455596"/>
          </a:xfrm>
          <a:custGeom>
            <a:avLst/>
            <a:gdLst>
              <a:gd name="connsiteX0" fmla="*/ 59264 w 274993"/>
              <a:gd name="connsiteY0" fmla="*/ 455467 h 455596"/>
              <a:gd name="connsiteX1" fmla="*/ 54752 w 274993"/>
              <a:gd name="connsiteY1" fmla="*/ 454021 h 455596"/>
              <a:gd name="connsiteX2" fmla="*/ 43819 w 274993"/>
              <a:gd name="connsiteY2" fmla="*/ 430883 h 455596"/>
              <a:gd name="connsiteX3" fmla="*/ 30805 w 274993"/>
              <a:gd name="connsiteY3" fmla="*/ 415612 h 455596"/>
              <a:gd name="connsiteX4" fmla="*/ 21550 w 274993"/>
              <a:gd name="connsiteY4" fmla="*/ 407977 h 455596"/>
              <a:gd name="connsiteX5" fmla="*/ 14434 w 274993"/>
              <a:gd name="connsiteY5" fmla="*/ 390161 h 455596"/>
              <a:gd name="connsiteX6" fmla="*/ 14434 w 274993"/>
              <a:gd name="connsiteY6" fmla="*/ 387731 h 455596"/>
              <a:gd name="connsiteX7" fmla="*/ 29301 w 274993"/>
              <a:gd name="connsiteY7" fmla="*/ 382988 h 455596"/>
              <a:gd name="connsiteX8" fmla="*/ 39076 w 274993"/>
              <a:gd name="connsiteY8" fmla="*/ 383393 h 455596"/>
              <a:gd name="connsiteX9" fmla="*/ 42605 w 274993"/>
              <a:gd name="connsiteY9" fmla="*/ 383393 h 455596"/>
              <a:gd name="connsiteX10" fmla="*/ 50472 w 274993"/>
              <a:gd name="connsiteY10" fmla="*/ 381831 h 455596"/>
              <a:gd name="connsiteX11" fmla="*/ 49720 w 274993"/>
              <a:gd name="connsiteY11" fmla="*/ 381253 h 455596"/>
              <a:gd name="connsiteX12" fmla="*/ 38151 w 274993"/>
              <a:gd name="connsiteY12" fmla="*/ 346546 h 455596"/>
              <a:gd name="connsiteX13" fmla="*/ 36242 w 274993"/>
              <a:gd name="connsiteY13" fmla="*/ 331507 h 455596"/>
              <a:gd name="connsiteX14" fmla="*/ 34912 w 274993"/>
              <a:gd name="connsiteY14" fmla="*/ 322194 h 455596"/>
              <a:gd name="connsiteX15" fmla="*/ 26003 w 274993"/>
              <a:gd name="connsiteY15" fmla="*/ 301890 h 455596"/>
              <a:gd name="connsiteX16" fmla="*/ 19062 w 274993"/>
              <a:gd name="connsiteY16" fmla="*/ 297610 h 455596"/>
              <a:gd name="connsiteX17" fmla="*/ 9055 w 274993"/>
              <a:gd name="connsiteY17" fmla="*/ 290322 h 455596"/>
              <a:gd name="connsiteX18" fmla="*/ 6163 w 274993"/>
              <a:gd name="connsiteY18" fmla="*/ 285983 h 455596"/>
              <a:gd name="connsiteX19" fmla="*/ 3560 w 274993"/>
              <a:gd name="connsiteY19" fmla="*/ 283033 h 455596"/>
              <a:gd name="connsiteX20" fmla="*/ 783 w 274993"/>
              <a:gd name="connsiteY20" fmla="*/ 280488 h 455596"/>
              <a:gd name="connsiteX21" fmla="*/ 31 w 274993"/>
              <a:gd name="connsiteY21" fmla="*/ 279389 h 455596"/>
              <a:gd name="connsiteX22" fmla="*/ 31 w 274993"/>
              <a:gd name="connsiteY22" fmla="*/ 270654 h 455596"/>
              <a:gd name="connsiteX23" fmla="*/ 2403 w 274993"/>
              <a:gd name="connsiteY23" fmla="*/ 257755 h 455596"/>
              <a:gd name="connsiteX24" fmla="*/ 5700 w 274993"/>
              <a:gd name="connsiteY24" fmla="*/ 247054 h 455596"/>
              <a:gd name="connsiteX25" fmla="*/ 49720 w 274993"/>
              <a:gd name="connsiteY25" fmla="*/ 191350 h 455596"/>
              <a:gd name="connsiteX26" fmla="*/ 52496 w 274993"/>
              <a:gd name="connsiteY26" fmla="*/ 124424 h 455596"/>
              <a:gd name="connsiteX27" fmla="*/ 57355 w 274993"/>
              <a:gd name="connsiteY27" fmla="*/ 95039 h 455596"/>
              <a:gd name="connsiteX28" fmla="*/ 55620 w 274993"/>
              <a:gd name="connsiteY28" fmla="*/ 84627 h 455596"/>
              <a:gd name="connsiteX29" fmla="*/ 52496 w 274993"/>
              <a:gd name="connsiteY29" fmla="*/ 74273 h 455596"/>
              <a:gd name="connsiteX30" fmla="*/ 46075 w 274993"/>
              <a:gd name="connsiteY30" fmla="*/ 59234 h 455596"/>
              <a:gd name="connsiteX31" fmla="*/ 41216 w 274993"/>
              <a:gd name="connsiteY31" fmla="*/ 49342 h 455596"/>
              <a:gd name="connsiteX32" fmla="*/ 39655 w 274993"/>
              <a:gd name="connsiteY32" fmla="*/ 15792 h 455596"/>
              <a:gd name="connsiteX33" fmla="*/ 39655 w 274993"/>
              <a:gd name="connsiteY33" fmla="*/ 14289 h 455596"/>
              <a:gd name="connsiteX34" fmla="*/ 40233 w 274993"/>
              <a:gd name="connsiteY34" fmla="*/ 13247 h 455596"/>
              <a:gd name="connsiteX35" fmla="*/ 64643 w 274993"/>
              <a:gd name="connsiteY35" fmla="*/ 1 h 455596"/>
              <a:gd name="connsiteX36" fmla="*/ 65742 w 274993"/>
              <a:gd name="connsiteY36" fmla="*/ 1 h 455596"/>
              <a:gd name="connsiteX37" fmla="*/ 273982 w 274993"/>
              <a:gd name="connsiteY37" fmla="*/ 112161 h 455596"/>
              <a:gd name="connsiteX38" fmla="*/ 274560 w 274993"/>
              <a:gd name="connsiteY38" fmla="*/ 113144 h 455596"/>
              <a:gd name="connsiteX39" fmla="*/ 274560 w 274993"/>
              <a:gd name="connsiteY39" fmla="*/ 187995 h 455596"/>
              <a:gd name="connsiteX40" fmla="*/ 270453 w 274993"/>
              <a:gd name="connsiteY40" fmla="*/ 217669 h 455596"/>
              <a:gd name="connsiteX41" fmla="*/ 268718 w 274993"/>
              <a:gd name="connsiteY41" fmla="*/ 218190 h 455596"/>
              <a:gd name="connsiteX42" fmla="*/ 247663 w 274993"/>
              <a:gd name="connsiteY42" fmla="*/ 231725 h 455596"/>
              <a:gd name="connsiteX43" fmla="*/ 236615 w 274993"/>
              <a:gd name="connsiteY43" fmla="*/ 249715 h 455596"/>
              <a:gd name="connsiteX44" fmla="*/ 232970 w 274993"/>
              <a:gd name="connsiteY44" fmla="*/ 258160 h 455596"/>
              <a:gd name="connsiteX45" fmla="*/ 224641 w 274993"/>
              <a:gd name="connsiteY45" fmla="*/ 269729 h 455596"/>
              <a:gd name="connsiteX46" fmla="*/ 221575 w 274993"/>
              <a:gd name="connsiteY46" fmla="*/ 270481 h 455596"/>
              <a:gd name="connsiteX47" fmla="*/ 223195 w 274993"/>
              <a:gd name="connsiteY47" fmla="*/ 276265 h 455596"/>
              <a:gd name="connsiteX48" fmla="*/ 223715 w 274993"/>
              <a:gd name="connsiteY48" fmla="*/ 289570 h 455596"/>
              <a:gd name="connsiteX49" fmla="*/ 220302 w 274993"/>
              <a:gd name="connsiteY49" fmla="*/ 299519 h 455596"/>
              <a:gd name="connsiteX50" fmla="*/ 226087 w 274993"/>
              <a:gd name="connsiteY50" fmla="*/ 302758 h 455596"/>
              <a:gd name="connsiteX51" fmla="*/ 231004 w 274993"/>
              <a:gd name="connsiteY51" fmla="*/ 304609 h 455596"/>
              <a:gd name="connsiteX52" fmla="*/ 232623 w 274993"/>
              <a:gd name="connsiteY52" fmla="*/ 317219 h 455596"/>
              <a:gd name="connsiteX53" fmla="*/ 232276 w 274993"/>
              <a:gd name="connsiteY53" fmla="*/ 324103 h 455596"/>
              <a:gd name="connsiteX54" fmla="*/ 245118 w 274993"/>
              <a:gd name="connsiteY54" fmla="*/ 339952 h 455596"/>
              <a:gd name="connsiteX55" fmla="*/ 245696 w 274993"/>
              <a:gd name="connsiteY55" fmla="*/ 341282 h 455596"/>
              <a:gd name="connsiteX56" fmla="*/ 242457 w 274993"/>
              <a:gd name="connsiteY56" fmla="*/ 352504 h 455596"/>
              <a:gd name="connsiteX57" fmla="*/ 242977 w 274993"/>
              <a:gd name="connsiteY57" fmla="*/ 353082 h 455596"/>
              <a:gd name="connsiteX58" fmla="*/ 242977 w 274993"/>
              <a:gd name="connsiteY58" fmla="*/ 354297 h 455596"/>
              <a:gd name="connsiteX59" fmla="*/ 241994 w 274993"/>
              <a:gd name="connsiteY59" fmla="*/ 354934 h 455596"/>
              <a:gd name="connsiteX60" fmla="*/ 241994 w 274993"/>
              <a:gd name="connsiteY60" fmla="*/ 354934 h 455596"/>
              <a:gd name="connsiteX61" fmla="*/ 236730 w 274993"/>
              <a:gd name="connsiteY61" fmla="*/ 353719 h 455596"/>
              <a:gd name="connsiteX62" fmla="*/ 233607 w 274993"/>
              <a:gd name="connsiteY62" fmla="*/ 353025 h 455596"/>
              <a:gd name="connsiteX63" fmla="*/ 215501 w 274993"/>
              <a:gd name="connsiteY63" fmla="*/ 362396 h 455596"/>
              <a:gd name="connsiteX64" fmla="*/ 212320 w 274993"/>
              <a:gd name="connsiteY64" fmla="*/ 369279 h 455596"/>
              <a:gd name="connsiteX65" fmla="*/ 209891 w 274993"/>
              <a:gd name="connsiteY65" fmla="*/ 375064 h 455596"/>
              <a:gd name="connsiteX66" fmla="*/ 206131 w 274993"/>
              <a:gd name="connsiteY66" fmla="*/ 378592 h 455596"/>
              <a:gd name="connsiteX67" fmla="*/ 182993 w 274993"/>
              <a:gd name="connsiteY67" fmla="*/ 402424 h 455596"/>
              <a:gd name="connsiteX68" fmla="*/ 160723 w 274993"/>
              <a:gd name="connsiteY68" fmla="*/ 409654 h 455596"/>
              <a:gd name="connsiteX69" fmla="*/ 152682 w 274993"/>
              <a:gd name="connsiteY69" fmla="*/ 409654 h 455596"/>
              <a:gd name="connsiteX70" fmla="*/ 144700 w 274993"/>
              <a:gd name="connsiteY70" fmla="*/ 411447 h 455596"/>
              <a:gd name="connsiteX71" fmla="*/ 143717 w 274993"/>
              <a:gd name="connsiteY71" fmla="*/ 417926 h 455596"/>
              <a:gd name="connsiteX72" fmla="*/ 143254 w 274993"/>
              <a:gd name="connsiteY72" fmla="*/ 425909 h 455596"/>
              <a:gd name="connsiteX73" fmla="*/ 123645 w 274993"/>
              <a:gd name="connsiteY73" fmla="*/ 436668 h 455596"/>
              <a:gd name="connsiteX74" fmla="*/ 118844 w 274993"/>
              <a:gd name="connsiteY74" fmla="*/ 438981 h 455596"/>
              <a:gd name="connsiteX75" fmla="*/ 109473 w 274993"/>
              <a:gd name="connsiteY75" fmla="*/ 440890 h 455596"/>
              <a:gd name="connsiteX76" fmla="*/ 89343 w 274993"/>
              <a:gd name="connsiteY76" fmla="*/ 447542 h 455596"/>
              <a:gd name="connsiteX77" fmla="*/ 84889 w 274993"/>
              <a:gd name="connsiteY77" fmla="*/ 449972 h 455596"/>
              <a:gd name="connsiteX78" fmla="*/ 79104 w 274993"/>
              <a:gd name="connsiteY78" fmla="*/ 447600 h 455596"/>
              <a:gd name="connsiteX79" fmla="*/ 74477 w 274993"/>
              <a:gd name="connsiteY79" fmla="*/ 445518 h 455596"/>
              <a:gd name="connsiteX80" fmla="*/ 71585 w 274993"/>
              <a:gd name="connsiteY80" fmla="*/ 447484 h 455596"/>
              <a:gd name="connsiteX81" fmla="*/ 59264 w 274993"/>
              <a:gd name="connsiteY81" fmla="*/ 455467 h 455596"/>
              <a:gd name="connsiteX82" fmla="*/ 29590 w 274993"/>
              <a:gd name="connsiteY82" fmla="*/ 385186 h 455596"/>
              <a:gd name="connsiteX83" fmla="*/ 16980 w 274993"/>
              <a:gd name="connsiteY83" fmla="*/ 387674 h 455596"/>
              <a:gd name="connsiteX84" fmla="*/ 16633 w 274993"/>
              <a:gd name="connsiteY84" fmla="*/ 390508 h 455596"/>
              <a:gd name="connsiteX85" fmla="*/ 23053 w 274993"/>
              <a:gd name="connsiteY85" fmla="*/ 406241 h 455596"/>
              <a:gd name="connsiteX86" fmla="*/ 32193 w 274993"/>
              <a:gd name="connsiteY86" fmla="*/ 413761 h 455596"/>
              <a:gd name="connsiteX87" fmla="*/ 46018 w 274993"/>
              <a:gd name="connsiteY87" fmla="*/ 430189 h 455596"/>
              <a:gd name="connsiteX88" fmla="*/ 56082 w 274993"/>
              <a:gd name="connsiteY88" fmla="*/ 452228 h 455596"/>
              <a:gd name="connsiteX89" fmla="*/ 59264 w 274993"/>
              <a:gd name="connsiteY89" fmla="*/ 453211 h 455596"/>
              <a:gd name="connsiteX90" fmla="*/ 69849 w 274993"/>
              <a:gd name="connsiteY90" fmla="*/ 446038 h 455596"/>
              <a:gd name="connsiteX91" fmla="*/ 74593 w 274993"/>
              <a:gd name="connsiteY91" fmla="*/ 443088 h 455596"/>
              <a:gd name="connsiteX92" fmla="*/ 80377 w 274993"/>
              <a:gd name="connsiteY92" fmla="*/ 445518 h 455596"/>
              <a:gd name="connsiteX93" fmla="*/ 84947 w 274993"/>
              <a:gd name="connsiteY93" fmla="*/ 447542 h 455596"/>
              <a:gd name="connsiteX94" fmla="*/ 87608 w 274993"/>
              <a:gd name="connsiteY94" fmla="*/ 445980 h 455596"/>
              <a:gd name="connsiteX95" fmla="*/ 109241 w 274993"/>
              <a:gd name="connsiteY95" fmla="*/ 438461 h 455596"/>
              <a:gd name="connsiteX96" fmla="*/ 117918 w 274993"/>
              <a:gd name="connsiteY96" fmla="*/ 436783 h 455596"/>
              <a:gd name="connsiteX97" fmla="*/ 122719 w 274993"/>
              <a:gd name="connsiteY97" fmla="*/ 434412 h 455596"/>
              <a:gd name="connsiteX98" fmla="*/ 141866 w 274993"/>
              <a:gd name="connsiteY98" fmla="*/ 424000 h 455596"/>
              <a:gd name="connsiteX99" fmla="*/ 141866 w 274993"/>
              <a:gd name="connsiteY99" fmla="*/ 418620 h 455596"/>
              <a:gd name="connsiteX100" fmla="*/ 143832 w 274993"/>
              <a:gd name="connsiteY100" fmla="*/ 409307 h 455596"/>
              <a:gd name="connsiteX101" fmla="*/ 153724 w 274993"/>
              <a:gd name="connsiteY101" fmla="*/ 407803 h 455596"/>
              <a:gd name="connsiteX102" fmla="*/ 157541 w 274993"/>
              <a:gd name="connsiteY102" fmla="*/ 407803 h 455596"/>
              <a:gd name="connsiteX103" fmla="*/ 182241 w 274993"/>
              <a:gd name="connsiteY103" fmla="*/ 401498 h 455596"/>
              <a:gd name="connsiteX104" fmla="*/ 205379 w 274993"/>
              <a:gd name="connsiteY104" fmla="*/ 377435 h 455596"/>
              <a:gd name="connsiteX105" fmla="*/ 209081 w 274993"/>
              <a:gd name="connsiteY105" fmla="*/ 373907 h 455596"/>
              <a:gd name="connsiteX106" fmla="*/ 210932 w 274993"/>
              <a:gd name="connsiteY106" fmla="*/ 369279 h 455596"/>
              <a:gd name="connsiteX107" fmla="*/ 214691 w 274993"/>
              <a:gd name="connsiteY107" fmla="*/ 360950 h 455596"/>
              <a:gd name="connsiteX108" fmla="*/ 234416 w 274993"/>
              <a:gd name="connsiteY108" fmla="*/ 350942 h 455596"/>
              <a:gd name="connsiteX109" fmla="*/ 238639 w 274993"/>
              <a:gd name="connsiteY109" fmla="*/ 351926 h 455596"/>
              <a:gd name="connsiteX110" fmla="*/ 240895 w 274993"/>
              <a:gd name="connsiteY110" fmla="*/ 352678 h 455596"/>
              <a:gd name="connsiteX111" fmla="*/ 240895 w 274993"/>
              <a:gd name="connsiteY111" fmla="*/ 352678 h 455596"/>
              <a:gd name="connsiteX112" fmla="*/ 244018 w 274993"/>
              <a:gd name="connsiteY112" fmla="*/ 341745 h 455596"/>
              <a:gd name="connsiteX113" fmla="*/ 230772 w 274993"/>
              <a:gd name="connsiteY113" fmla="*/ 324392 h 455596"/>
              <a:gd name="connsiteX114" fmla="*/ 231119 w 274993"/>
              <a:gd name="connsiteY114" fmla="*/ 317335 h 455596"/>
              <a:gd name="connsiteX115" fmla="*/ 230136 w 274993"/>
              <a:gd name="connsiteY115" fmla="*/ 306402 h 455596"/>
              <a:gd name="connsiteX116" fmla="*/ 226839 w 274993"/>
              <a:gd name="connsiteY116" fmla="*/ 305303 h 455596"/>
              <a:gd name="connsiteX117" fmla="*/ 218741 w 274993"/>
              <a:gd name="connsiteY117" fmla="*/ 300676 h 455596"/>
              <a:gd name="connsiteX118" fmla="*/ 222674 w 274993"/>
              <a:gd name="connsiteY118" fmla="*/ 288239 h 455596"/>
              <a:gd name="connsiteX119" fmla="*/ 221633 w 274993"/>
              <a:gd name="connsiteY119" fmla="*/ 277480 h 455596"/>
              <a:gd name="connsiteX120" fmla="*/ 220245 w 274993"/>
              <a:gd name="connsiteY120" fmla="*/ 269498 h 455596"/>
              <a:gd name="connsiteX121" fmla="*/ 225161 w 274993"/>
              <a:gd name="connsiteY121" fmla="*/ 267705 h 455596"/>
              <a:gd name="connsiteX122" fmla="*/ 231293 w 274993"/>
              <a:gd name="connsiteY122" fmla="*/ 257986 h 455596"/>
              <a:gd name="connsiteX123" fmla="*/ 236672 w 274993"/>
              <a:gd name="connsiteY123" fmla="*/ 247517 h 455596"/>
              <a:gd name="connsiteX124" fmla="*/ 245927 w 274993"/>
              <a:gd name="connsiteY124" fmla="*/ 231725 h 455596"/>
              <a:gd name="connsiteX125" fmla="*/ 268544 w 274993"/>
              <a:gd name="connsiteY125" fmla="*/ 216049 h 455596"/>
              <a:gd name="connsiteX126" fmla="*/ 270222 w 274993"/>
              <a:gd name="connsiteY126" fmla="*/ 215529 h 455596"/>
              <a:gd name="connsiteX127" fmla="*/ 272883 w 274993"/>
              <a:gd name="connsiteY127" fmla="*/ 188053 h 455596"/>
              <a:gd name="connsiteX128" fmla="*/ 272883 w 274993"/>
              <a:gd name="connsiteY128" fmla="*/ 113781 h 455596"/>
              <a:gd name="connsiteX129" fmla="*/ 65511 w 274993"/>
              <a:gd name="connsiteY129" fmla="*/ 2199 h 455596"/>
              <a:gd name="connsiteX130" fmla="*/ 42373 w 274993"/>
              <a:gd name="connsiteY130" fmla="*/ 14809 h 455596"/>
              <a:gd name="connsiteX131" fmla="*/ 42373 w 274993"/>
              <a:gd name="connsiteY131" fmla="*/ 15619 h 455596"/>
              <a:gd name="connsiteX132" fmla="*/ 43935 w 274993"/>
              <a:gd name="connsiteY132" fmla="*/ 49284 h 455596"/>
              <a:gd name="connsiteX133" fmla="*/ 48389 w 274993"/>
              <a:gd name="connsiteY133" fmla="*/ 57845 h 455596"/>
              <a:gd name="connsiteX134" fmla="*/ 55215 w 274993"/>
              <a:gd name="connsiteY134" fmla="*/ 74389 h 455596"/>
              <a:gd name="connsiteX135" fmla="*/ 57933 w 274993"/>
              <a:gd name="connsiteY135" fmla="*/ 83297 h 455596"/>
              <a:gd name="connsiteX136" fmla="*/ 60016 w 274993"/>
              <a:gd name="connsiteY136" fmla="*/ 95618 h 455596"/>
              <a:gd name="connsiteX137" fmla="*/ 55215 w 274993"/>
              <a:gd name="connsiteY137" fmla="*/ 124540 h 455596"/>
              <a:gd name="connsiteX138" fmla="*/ 51571 w 274993"/>
              <a:gd name="connsiteY138" fmla="*/ 193317 h 455596"/>
              <a:gd name="connsiteX139" fmla="*/ 8361 w 274993"/>
              <a:gd name="connsiteY139" fmla="*/ 247517 h 455596"/>
              <a:gd name="connsiteX140" fmla="*/ 4832 w 274993"/>
              <a:gd name="connsiteY140" fmla="*/ 259085 h 455596"/>
              <a:gd name="connsiteX141" fmla="*/ 2750 w 274993"/>
              <a:gd name="connsiteY141" fmla="*/ 270654 h 455596"/>
              <a:gd name="connsiteX142" fmla="*/ 2750 w 274993"/>
              <a:gd name="connsiteY142" fmla="*/ 278695 h 455596"/>
              <a:gd name="connsiteX143" fmla="*/ 5758 w 274993"/>
              <a:gd name="connsiteY143" fmla="*/ 281645 h 455596"/>
              <a:gd name="connsiteX144" fmla="*/ 8130 w 274993"/>
              <a:gd name="connsiteY144" fmla="*/ 284364 h 455596"/>
              <a:gd name="connsiteX145" fmla="*/ 11427 w 274993"/>
              <a:gd name="connsiteY145" fmla="*/ 289280 h 455596"/>
              <a:gd name="connsiteX146" fmla="*/ 19467 w 274993"/>
              <a:gd name="connsiteY146" fmla="*/ 295065 h 455596"/>
              <a:gd name="connsiteX147" fmla="*/ 28086 w 274993"/>
              <a:gd name="connsiteY147" fmla="*/ 300097 h 455596"/>
              <a:gd name="connsiteX148" fmla="*/ 37572 w 274993"/>
              <a:gd name="connsiteY148" fmla="*/ 322136 h 455596"/>
              <a:gd name="connsiteX149" fmla="*/ 38787 w 274993"/>
              <a:gd name="connsiteY149" fmla="*/ 330581 h 455596"/>
              <a:gd name="connsiteX150" fmla="*/ 40754 w 274993"/>
              <a:gd name="connsiteY150" fmla="*/ 346373 h 455596"/>
              <a:gd name="connsiteX151" fmla="*/ 51571 w 274993"/>
              <a:gd name="connsiteY151" fmla="*/ 379228 h 455596"/>
              <a:gd name="connsiteX152" fmla="*/ 53364 w 274993"/>
              <a:gd name="connsiteY152" fmla="*/ 382352 h 455596"/>
              <a:gd name="connsiteX153" fmla="*/ 43299 w 274993"/>
              <a:gd name="connsiteY153" fmla="*/ 385533 h 455596"/>
              <a:gd name="connsiteX154" fmla="*/ 39539 w 274993"/>
              <a:gd name="connsiteY154" fmla="*/ 385533 h 455596"/>
              <a:gd name="connsiteX155" fmla="*/ 29590 w 274993"/>
              <a:gd name="connsiteY155" fmla="*/ 385186 h 45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274993" h="455596">
                <a:moveTo>
                  <a:pt x="59264" y="455467"/>
                </a:moveTo>
                <a:cubicBezTo>
                  <a:pt x="57644" y="455490"/>
                  <a:pt x="56059" y="454981"/>
                  <a:pt x="54752" y="454021"/>
                </a:cubicBezTo>
                <a:cubicBezTo>
                  <a:pt x="50356" y="450724"/>
                  <a:pt x="45671" y="436668"/>
                  <a:pt x="43819" y="430883"/>
                </a:cubicBezTo>
                <a:cubicBezTo>
                  <a:pt x="41303" y="424486"/>
                  <a:pt x="36722" y="419112"/>
                  <a:pt x="30805" y="415612"/>
                </a:cubicBezTo>
                <a:cubicBezTo>
                  <a:pt x="28028" y="413472"/>
                  <a:pt x="25020" y="411043"/>
                  <a:pt x="21550" y="407977"/>
                </a:cubicBezTo>
                <a:cubicBezTo>
                  <a:pt x="12641" y="399763"/>
                  <a:pt x="13682" y="394210"/>
                  <a:pt x="14434" y="390161"/>
                </a:cubicBezTo>
                <a:cubicBezTo>
                  <a:pt x="14504" y="389351"/>
                  <a:pt x="14504" y="388541"/>
                  <a:pt x="14434" y="387731"/>
                </a:cubicBezTo>
                <a:cubicBezTo>
                  <a:pt x="14434" y="384550"/>
                  <a:pt x="19294" y="382988"/>
                  <a:pt x="29301" y="382988"/>
                </a:cubicBezTo>
                <a:cubicBezTo>
                  <a:pt x="33118" y="382988"/>
                  <a:pt x="36705" y="382988"/>
                  <a:pt x="39076" y="383393"/>
                </a:cubicBezTo>
                <a:lnTo>
                  <a:pt x="42605" y="383393"/>
                </a:lnTo>
                <a:cubicBezTo>
                  <a:pt x="47927" y="383393"/>
                  <a:pt x="50182" y="382294"/>
                  <a:pt x="50472" y="381831"/>
                </a:cubicBezTo>
                <a:cubicBezTo>
                  <a:pt x="50240" y="381617"/>
                  <a:pt x="49986" y="381421"/>
                  <a:pt x="49720" y="381253"/>
                </a:cubicBezTo>
                <a:cubicBezTo>
                  <a:pt x="44976" y="378476"/>
                  <a:pt x="36994" y="359388"/>
                  <a:pt x="38151" y="346546"/>
                </a:cubicBezTo>
                <a:cubicBezTo>
                  <a:pt x="38486" y="341456"/>
                  <a:pt x="37838" y="336354"/>
                  <a:pt x="36242" y="331507"/>
                </a:cubicBezTo>
                <a:cubicBezTo>
                  <a:pt x="35154" y="328528"/>
                  <a:pt x="34703" y="325358"/>
                  <a:pt x="34912" y="322194"/>
                </a:cubicBezTo>
                <a:cubicBezTo>
                  <a:pt x="34240" y="314634"/>
                  <a:pt x="31111" y="307501"/>
                  <a:pt x="26003" y="301890"/>
                </a:cubicBezTo>
                <a:cubicBezTo>
                  <a:pt x="24355" y="299594"/>
                  <a:pt x="21856" y="298055"/>
                  <a:pt x="19062" y="297610"/>
                </a:cubicBezTo>
                <a:cubicBezTo>
                  <a:pt x="14504" y="297587"/>
                  <a:pt x="10472" y="294654"/>
                  <a:pt x="9055" y="290322"/>
                </a:cubicBezTo>
                <a:cubicBezTo>
                  <a:pt x="8309" y="288742"/>
                  <a:pt x="7337" y="287279"/>
                  <a:pt x="6163" y="285983"/>
                </a:cubicBezTo>
                <a:cubicBezTo>
                  <a:pt x="5237" y="285052"/>
                  <a:pt x="4370" y="284069"/>
                  <a:pt x="3560" y="283033"/>
                </a:cubicBezTo>
                <a:cubicBezTo>
                  <a:pt x="2872" y="281957"/>
                  <a:pt x="1917" y="281084"/>
                  <a:pt x="783" y="280488"/>
                </a:cubicBezTo>
                <a:cubicBezTo>
                  <a:pt x="326" y="280320"/>
                  <a:pt x="26" y="279875"/>
                  <a:pt x="31" y="279389"/>
                </a:cubicBezTo>
                <a:cubicBezTo>
                  <a:pt x="31" y="276265"/>
                  <a:pt x="31" y="273257"/>
                  <a:pt x="31" y="270654"/>
                </a:cubicBezTo>
                <a:cubicBezTo>
                  <a:pt x="-466" y="266212"/>
                  <a:pt x="361" y="261729"/>
                  <a:pt x="2403" y="257755"/>
                </a:cubicBezTo>
                <a:cubicBezTo>
                  <a:pt x="4127" y="254412"/>
                  <a:pt x="5243" y="250791"/>
                  <a:pt x="5700" y="247054"/>
                </a:cubicBezTo>
                <a:cubicBezTo>
                  <a:pt x="8245" y="231899"/>
                  <a:pt x="46538" y="193779"/>
                  <a:pt x="49720" y="191350"/>
                </a:cubicBezTo>
                <a:cubicBezTo>
                  <a:pt x="50992" y="189730"/>
                  <a:pt x="52496" y="171162"/>
                  <a:pt x="52496" y="124424"/>
                </a:cubicBezTo>
                <a:cubicBezTo>
                  <a:pt x="52797" y="114457"/>
                  <a:pt x="54428" y="104572"/>
                  <a:pt x="57355" y="95039"/>
                </a:cubicBezTo>
                <a:cubicBezTo>
                  <a:pt x="58778" y="91516"/>
                  <a:pt x="58107" y="87496"/>
                  <a:pt x="55620" y="84627"/>
                </a:cubicBezTo>
                <a:cubicBezTo>
                  <a:pt x="53260" y="81718"/>
                  <a:pt x="52143" y="77998"/>
                  <a:pt x="52496" y="74273"/>
                </a:cubicBezTo>
                <a:cubicBezTo>
                  <a:pt x="52195" y="68662"/>
                  <a:pt x="49922" y="63335"/>
                  <a:pt x="46075" y="59234"/>
                </a:cubicBezTo>
                <a:cubicBezTo>
                  <a:pt x="43530" y="56474"/>
                  <a:pt x="41847" y="53038"/>
                  <a:pt x="41216" y="49342"/>
                </a:cubicBezTo>
                <a:cubicBezTo>
                  <a:pt x="41216" y="45582"/>
                  <a:pt x="40349" y="29039"/>
                  <a:pt x="39655" y="15792"/>
                </a:cubicBezTo>
                <a:lnTo>
                  <a:pt x="39655" y="14289"/>
                </a:lnTo>
                <a:cubicBezTo>
                  <a:pt x="39643" y="13860"/>
                  <a:pt x="39863" y="13462"/>
                  <a:pt x="40233" y="13247"/>
                </a:cubicBezTo>
                <a:lnTo>
                  <a:pt x="64643" y="1"/>
                </a:lnTo>
                <a:cubicBezTo>
                  <a:pt x="64990" y="-172"/>
                  <a:pt x="65395" y="-172"/>
                  <a:pt x="65742" y="1"/>
                </a:cubicBezTo>
                <a:lnTo>
                  <a:pt x="273982" y="112161"/>
                </a:lnTo>
                <a:cubicBezTo>
                  <a:pt x="274329" y="112346"/>
                  <a:pt x="274560" y="112734"/>
                  <a:pt x="274560" y="113144"/>
                </a:cubicBezTo>
                <a:lnTo>
                  <a:pt x="274560" y="187995"/>
                </a:lnTo>
                <a:cubicBezTo>
                  <a:pt x="274965" y="194416"/>
                  <a:pt x="275891" y="215818"/>
                  <a:pt x="270453" y="217669"/>
                </a:cubicBezTo>
                <a:lnTo>
                  <a:pt x="268718" y="218190"/>
                </a:lnTo>
                <a:cubicBezTo>
                  <a:pt x="262934" y="220041"/>
                  <a:pt x="247663" y="224900"/>
                  <a:pt x="247663" y="231725"/>
                </a:cubicBezTo>
                <a:cubicBezTo>
                  <a:pt x="247663" y="239534"/>
                  <a:pt x="246332" y="247748"/>
                  <a:pt x="236615" y="249715"/>
                </a:cubicBezTo>
                <a:cubicBezTo>
                  <a:pt x="233838" y="250293"/>
                  <a:pt x="233375" y="253301"/>
                  <a:pt x="232970" y="258160"/>
                </a:cubicBezTo>
                <a:cubicBezTo>
                  <a:pt x="232565" y="263019"/>
                  <a:pt x="232045" y="269729"/>
                  <a:pt x="224641" y="269729"/>
                </a:cubicBezTo>
                <a:cubicBezTo>
                  <a:pt x="223021" y="269729"/>
                  <a:pt x="221922" y="270018"/>
                  <a:pt x="221575" y="270481"/>
                </a:cubicBezTo>
                <a:cubicBezTo>
                  <a:pt x="221228" y="270944"/>
                  <a:pt x="222154" y="274009"/>
                  <a:pt x="223195" y="276265"/>
                </a:cubicBezTo>
                <a:cubicBezTo>
                  <a:pt x="225104" y="280488"/>
                  <a:pt x="227475" y="285810"/>
                  <a:pt x="223715" y="289570"/>
                </a:cubicBezTo>
                <a:cubicBezTo>
                  <a:pt x="220765" y="291941"/>
                  <a:pt x="219435" y="295822"/>
                  <a:pt x="220302" y="299519"/>
                </a:cubicBezTo>
                <a:cubicBezTo>
                  <a:pt x="221344" y="301705"/>
                  <a:pt x="223658" y="303001"/>
                  <a:pt x="226087" y="302758"/>
                </a:cubicBezTo>
                <a:cubicBezTo>
                  <a:pt x="227938" y="302637"/>
                  <a:pt x="229731" y="303314"/>
                  <a:pt x="231004" y="304609"/>
                </a:cubicBezTo>
                <a:cubicBezTo>
                  <a:pt x="233375" y="307154"/>
                  <a:pt x="233028" y="311840"/>
                  <a:pt x="232623" y="317219"/>
                </a:cubicBezTo>
                <a:cubicBezTo>
                  <a:pt x="232623" y="319475"/>
                  <a:pt x="232276" y="321789"/>
                  <a:pt x="232276" y="324103"/>
                </a:cubicBezTo>
                <a:cubicBezTo>
                  <a:pt x="232276" y="333416"/>
                  <a:pt x="245002" y="339894"/>
                  <a:pt x="245118" y="339952"/>
                </a:cubicBezTo>
                <a:cubicBezTo>
                  <a:pt x="245580" y="340207"/>
                  <a:pt x="245812" y="340756"/>
                  <a:pt x="245696" y="341282"/>
                </a:cubicBezTo>
                <a:lnTo>
                  <a:pt x="242457" y="352504"/>
                </a:lnTo>
                <a:lnTo>
                  <a:pt x="242977" y="353082"/>
                </a:lnTo>
                <a:cubicBezTo>
                  <a:pt x="243266" y="353447"/>
                  <a:pt x="243266" y="353933"/>
                  <a:pt x="242977" y="354297"/>
                </a:cubicBezTo>
                <a:cubicBezTo>
                  <a:pt x="242804" y="354691"/>
                  <a:pt x="242399" y="354945"/>
                  <a:pt x="241994" y="354934"/>
                </a:cubicBezTo>
                <a:lnTo>
                  <a:pt x="241994" y="354934"/>
                </a:lnTo>
                <a:cubicBezTo>
                  <a:pt x="240143" y="354934"/>
                  <a:pt x="238350" y="354517"/>
                  <a:pt x="236730" y="353719"/>
                </a:cubicBezTo>
                <a:cubicBezTo>
                  <a:pt x="235747" y="353222"/>
                  <a:pt x="234706" y="352979"/>
                  <a:pt x="233607" y="353025"/>
                </a:cubicBezTo>
                <a:cubicBezTo>
                  <a:pt x="226723" y="354072"/>
                  <a:pt x="220360" y="357363"/>
                  <a:pt x="215501" y="362396"/>
                </a:cubicBezTo>
                <a:cubicBezTo>
                  <a:pt x="213535" y="364154"/>
                  <a:pt x="212378" y="366647"/>
                  <a:pt x="212320" y="369279"/>
                </a:cubicBezTo>
                <a:cubicBezTo>
                  <a:pt x="212262" y="371442"/>
                  <a:pt x="211395" y="373507"/>
                  <a:pt x="209891" y="375064"/>
                </a:cubicBezTo>
                <a:lnTo>
                  <a:pt x="206131" y="378592"/>
                </a:lnTo>
                <a:cubicBezTo>
                  <a:pt x="197859" y="385967"/>
                  <a:pt x="190108" y="393932"/>
                  <a:pt x="182993" y="402424"/>
                </a:cubicBezTo>
                <a:cubicBezTo>
                  <a:pt x="178018" y="408729"/>
                  <a:pt x="169342" y="409654"/>
                  <a:pt x="160723" y="409654"/>
                </a:cubicBezTo>
                <a:lnTo>
                  <a:pt x="152682" y="409654"/>
                </a:lnTo>
                <a:cubicBezTo>
                  <a:pt x="149929" y="409718"/>
                  <a:pt x="147216" y="410325"/>
                  <a:pt x="144700" y="411447"/>
                </a:cubicBezTo>
                <a:cubicBezTo>
                  <a:pt x="141808" y="413067"/>
                  <a:pt x="142386" y="414803"/>
                  <a:pt x="143717" y="417926"/>
                </a:cubicBezTo>
                <a:cubicBezTo>
                  <a:pt x="145047" y="421049"/>
                  <a:pt x="146146" y="423710"/>
                  <a:pt x="143254" y="425909"/>
                </a:cubicBezTo>
                <a:cubicBezTo>
                  <a:pt x="137047" y="430068"/>
                  <a:pt x="130488" y="433666"/>
                  <a:pt x="123645" y="436668"/>
                </a:cubicBezTo>
                <a:lnTo>
                  <a:pt x="118844" y="438981"/>
                </a:lnTo>
                <a:cubicBezTo>
                  <a:pt x="115818" y="440028"/>
                  <a:pt x="112666" y="440670"/>
                  <a:pt x="109473" y="440890"/>
                </a:cubicBezTo>
                <a:cubicBezTo>
                  <a:pt x="102416" y="441816"/>
                  <a:pt x="92756" y="443088"/>
                  <a:pt x="89343" y="447542"/>
                </a:cubicBezTo>
                <a:cubicBezTo>
                  <a:pt x="88313" y="448994"/>
                  <a:pt x="86671" y="449891"/>
                  <a:pt x="84889" y="449972"/>
                </a:cubicBezTo>
                <a:cubicBezTo>
                  <a:pt x="82778" y="449729"/>
                  <a:pt x="80776" y="448908"/>
                  <a:pt x="79104" y="447600"/>
                </a:cubicBezTo>
                <a:cubicBezTo>
                  <a:pt x="77762" y="446524"/>
                  <a:pt x="76172" y="445807"/>
                  <a:pt x="74477" y="445518"/>
                </a:cubicBezTo>
                <a:cubicBezTo>
                  <a:pt x="73783" y="445518"/>
                  <a:pt x="72800" y="445518"/>
                  <a:pt x="71585" y="447484"/>
                </a:cubicBezTo>
                <a:cubicBezTo>
                  <a:pt x="68970" y="451939"/>
                  <a:pt x="64400" y="454900"/>
                  <a:pt x="59264" y="455467"/>
                </a:cubicBezTo>
                <a:close/>
                <a:moveTo>
                  <a:pt x="29590" y="385186"/>
                </a:moveTo>
                <a:cubicBezTo>
                  <a:pt x="19641" y="385186"/>
                  <a:pt x="16980" y="386806"/>
                  <a:pt x="16980" y="387674"/>
                </a:cubicBezTo>
                <a:cubicBezTo>
                  <a:pt x="16945" y="388628"/>
                  <a:pt x="16829" y="389577"/>
                  <a:pt x="16633" y="390508"/>
                </a:cubicBezTo>
                <a:cubicBezTo>
                  <a:pt x="15938" y="394210"/>
                  <a:pt x="15129" y="398895"/>
                  <a:pt x="23053" y="406241"/>
                </a:cubicBezTo>
                <a:cubicBezTo>
                  <a:pt x="26293" y="409249"/>
                  <a:pt x="29416" y="411621"/>
                  <a:pt x="32193" y="413761"/>
                </a:cubicBezTo>
                <a:cubicBezTo>
                  <a:pt x="38510" y="417533"/>
                  <a:pt x="43380" y="423317"/>
                  <a:pt x="46018" y="430189"/>
                </a:cubicBezTo>
                <a:cubicBezTo>
                  <a:pt x="47793" y="438160"/>
                  <a:pt x="51224" y="445668"/>
                  <a:pt x="56082" y="452228"/>
                </a:cubicBezTo>
                <a:cubicBezTo>
                  <a:pt x="57008" y="452887"/>
                  <a:pt x="58125" y="453234"/>
                  <a:pt x="59264" y="453211"/>
                </a:cubicBezTo>
                <a:cubicBezTo>
                  <a:pt x="63724" y="452610"/>
                  <a:pt x="67640" y="449954"/>
                  <a:pt x="69849" y="446038"/>
                </a:cubicBezTo>
                <a:cubicBezTo>
                  <a:pt x="70821" y="444309"/>
                  <a:pt x="72609" y="443192"/>
                  <a:pt x="74593" y="443088"/>
                </a:cubicBezTo>
                <a:cubicBezTo>
                  <a:pt x="76710" y="443349"/>
                  <a:pt x="78711" y="444193"/>
                  <a:pt x="80377" y="445518"/>
                </a:cubicBezTo>
                <a:cubicBezTo>
                  <a:pt x="81713" y="446553"/>
                  <a:pt x="83281" y="447247"/>
                  <a:pt x="84947" y="447542"/>
                </a:cubicBezTo>
                <a:cubicBezTo>
                  <a:pt x="86040" y="447502"/>
                  <a:pt x="87041" y="446918"/>
                  <a:pt x="87608" y="445980"/>
                </a:cubicBezTo>
                <a:cubicBezTo>
                  <a:pt x="91599" y="440832"/>
                  <a:pt x="101375" y="439502"/>
                  <a:pt x="109241" y="438461"/>
                </a:cubicBezTo>
                <a:cubicBezTo>
                  <a:pt x="112191" y="438258"/>
                  <a:pt x="115107" y="437697"/>
                  <a:pt x="117918" y="436783"/>
                </a:cubicBezTo>
                <a:lnTo>
                  <a:pt x="122719" y="434412"/>
                </a:lnTo>
                <a:cubicBezTo>
                  <a:pt x="129400" y="431519"/>
                  <a:pt x="135809" y="428037"/>
                  <a:pt x="141866" y="424000"/>
                </a:cubicBezTo>
                <a:cubicBezTo>
                  <a:pt x="143312" y="422785"/>
                  <a:pt x="142907" y="421454"/>
                  <a:pt x="141866" y="418620"/>
                </a:cubicBezTo>
                <a:cubicBezTo>
                  <a:pt x="140824" y="415786"/>
                  <a:pt x="139031" y="412026"/>
                  <a:pt x="143832" y="409307"/>
                </a:cubicBezTo>
                <a:cubicBezTo>
                  <a:pt x="146973" y="408063"/>
                  <a:pt x="150357" y="407549"/>
                  <a:pt x="153724" y="407803"/>
                </a:cubicBezTo>
                <a:lnTo>
                  <a:pt x="157541" y="407803"/>
                </a:lnTo>
                <a:cubicBezTo>
                  <a:pt x="166739" y="407803"/>
                  <a:pt x="177093" y="407803"/>
                  <a:pt x="182241" y="401498"/>
                </a:cubicBezTo>
                <a:cubicBezTo>
                  <a:pt x="189413" y="392955"/>
                  <a:pt x="197107" y="384914"/>
                  <a:pt x="205379" y="377435"/>
                </a:cubicBezTo>
                <a:lnTo>
                  <a:pt x="209081" y="373907"/>
                </a:lnTo>
                <a:cubicBezTo>
                  <a:pt x="210296" y="372680"/>
                  <a:pt x="210990" y="371008"/>
                  <a:pt x="210932" y="369279"/>
                </a:cubicBezTo>
                <a:cubicBezTo>
                  <a:pt x="211047" y="366109"/>
                  <a:pt x="212378" y="363113"/>
                  <a:pt x="214691" y="360950"/>
                </a:cubicBezTo>
                <a:cubicBezTo>
                  <a:pt x="219955" y="355506"/>
                  <a:pt x="226897" y="351983"/>
                  <a:pt x="234416" y="350942"/>
                </a:cubicBezTo>
                <a:cubicBezTo>
                  <a:pt x="235863" y="350908"/>
                  <a:pt x="237309" y="351249"/>
                  <a:pt x="238639" y="351926"/>
                </a:cubicBezTo>
                <a:cubicBezTo>
                  <a:pt x="239333" y="352307"/>
                  <a:pt x="240085" y="352562"/>
                  <a:pt x="240895" y="352678"/>
                </a:cubicBezTo>
                <a:lnTo>
                  <a:pt x="240895" y="352678"/>
                </a:lnTo>
                <a:lnTo>
                  <a:pt x="244018" y="341745"/>
                </a:lnTo>
                <a:cubicBezTo>
                  <a:pt x="240953" y="340067"/>
                  <a:pt x="230772" y="333647"/>
                  <a:pt x="230772" y="324392"/>
                </a:cubicBezTo>
                <a:cubicBezTo>
                  <a:pt x="230772" y="322020"/>
                  <a:pt x="230772" y="319649"/>
                  <a:pt x="231119" y="317335"/>
                </a:cubicBezTo>
                <a:cubicBezTo>
                  <a:pt x="231466" y="312649"/>
                  <a:pt x="231813" y="308253"/>
                  <a:pt x="230136" y="306402"/>
                </a:cubicBezTo>
                <a:cubicBezTo>
                  <a:pt x="229268" y="305587"/>
                  <a:pt x="228053" y="305188"/>
                  <a:pt x="226839" y="305303"/>
                </a:cubicBezTo>
                <a:cubicBezTo>
                  <a:pt x="223426" y="305627"/>
                  <a:pt x="220187" y="303776"/>
                  <a:pt x="218741" y="300676"/>
                </a:cubicBezTo>
                <a:cubicBezTo>
                  <a:pt x="217352" y="296118"/>
                  <a:pt x="218914" y="291178"/>
                  <a:pt x="222674" y="288239"/>
                </a:cubicBezTo>
                <a:cubicBezTo>
                  <a:pt x="225277" y="285578"/>
                  <a:pt x="223426" y="281472"/>
                  <a:pt x="221633" y="277480"/>
                </a:cubicBezTo>
                <a:cubicBezTo>
                  <a:pt x="219840" y="273489"/>
                  <a:pt x="218972" y="271696"/>
                  <a:pt x="220245" y="269498"/>
                </a:cubicBezTo>
                <a:cubicBezTo>
                  <a:pt x="221517" y="267300"/>
                  <a:pt x="222616" y="267705"/>
                  <a:pt x="225161" y="267705"/>
                </a:cubicBezTo>
                <a:cubicBezTo>
                  <a:pt x="230136" y="267705"/>
                  <a:pt x="230946" y="264002"/>
                  <a:pt x="231293" y="257986"/>
                </a:cubicBezTo>
                <a:cubicBezTo>
                  <a:pt x="231640" y="253475"/>
                  <a:pt x="232045" y="248442"/>
                  <a:pt x="236672" y="247517"/>
                </a:cubicBezTo>
                <a:cubicBezTo>
                  <a:pt x="243266" y="246186"/>
                  <a:pt x="245927" y="241732"/>
                  <a:pt x="245927" y="231725"/>
                </a:cubicBezTo>
                <a:cubicBezTo>
                  <a:pt x="245927" y="223280"/>
                  <a:pt x="261198" y="218421"/>
                  <a:pt x="268544" y="216049"/>
                </a:cubicBezTo>
                <a:lnTo>
                  <a:pt x="270222" y="215529"/>
                </a:lnTo>
                <a:cubicBezTo>
                  <a:pt x="272883" y="214661"/>
                  <a:pt x="273635" y="200605"/>
                  <a:pt x="272883" y="188053"/>
                </a:cubicBezTo>
                <a:lnTo>
                  <a:pt x="272883" y="113781"/>
                </a:lnTo>
                <a:lnTo>
                  <a:pt x="65511" y="2199"/>
                </a:lnTo>
                <a:lnTo>
                  <a:pt x="42373" y="14809"/>
                </a:lnTo>
                <a:lnTo>
                  <a:pt x="42373" y="15619"/>
                </a:lnTo>
                <a:cubicBezTo>
                  <a:pt x="43067" y="28865"/>
                  <a:pt x="43935" y="45467"/>
                  <a:pt x="43935" y="49284"/>
                </a:cubicBezTo>
                <a:cubicBezTo>
                  <a:pt x="44635" y="52483"/>
                  <a:pt x="46174" y="55439"/>
                  <a:pt x="48389" y="57845"/>
                </a:cubicBezTo>
                <a:cubicBezTo>
                  <a:pt x="52571" y="62363"/>
                  <a:pt x="54989" y="68234"/>
                  <a:pt x="55215" y="74389"/>
                </a:cubicBezTo>
                <a:cubicBezTo>
                  <a:pt x="54897" y="77599"/>
                  <a:pt x="55874" y="80810"/>
                  <a:pt x="57933" y="83297"/>
                </a:cubicBezTo>
                <a:cubicBezTo>
                  <a:pt x="60849" y="86704"/>
                  <a:pt x="61647" y="91441"/>
                  <a:pt x="60016" y="95618"/>
                </a:cubicBezTo>
                <a:cubicBezTo>
                  <a:pt x="57124" y="105000"/>
                  <a:pt x="55510" y="114729"/>
                  <a:pt x="55215" y="124540"/>
                </a:cubicBezTo>
                <a:cubicBezTo>
                  <a:pt x="55215" y="190540"/>
                  <a:pt x="52496" y="192622"/>
                  <a:pt x="51571" y="193317"/>
                </a:cubicBezTo>
                <a:cubicBezTo>
                  <a:pt x="48505" y="195573"/>
                  <a:pt x="10790" y="233229"/>
                  <a:pt x="8361" y="247517"/>
                </a:cubicBezTo>
                <a:cubicBezTo>
                  <a:pt x="7933" y="251560"/>
                  <a:pt x="6735" y="255488"/>
                  <a:pt x="4832" y="259085"/>
                </a:cubicBezTo>
                <a:cubicBezTo>
                  <a:pt x="3051" y="262666"/>
                  <a:pt x="2328" y="266681"/>
                  <a:pt x="2750" y="270654"/>
                </a:cubicBezTo>
                <a:cubicBezTo>
                  <a:pt x="2750" y="273084"/>
                  <a:pt x="2750" y="275803"/>
                  <a:pt x="2750" y="278695"/>
                </a:cubicBezTo>
                <a:cubicBezTo>
                  <a:pt x="3918" y="279493"/>
                  <a:pt x="4937" y="280494"/>
                  <a:pt x="5758" y="281645"/>
                </a:cubicBezTo>
                <a:cubicBezTo>
                  <a:pt x="6493" y="282599"/>
                  <a:pt x="7285" y="283508"/>
                  <a:pt x="8130" y="284364"/>
                </a:cubicBezTo>
                <a:cubicBezTo>
                  <a:pt x="9472" y="285827"/>
                  <a:pt x="10582" y="287487"/>
                  <a:pt x="11427" y="289280"/>
                </a:cubicBezTo>
                <a:cubicBezTo>
                  <a:pt x="13220" y="292520"/>
                  <a:pt x="14724" y="295065"/>
                  <a:pt x="19467" y="295065"/>
                </a:cubicBezTo>
                <a:cubicBezTo>
                  <a:pt x="22914" y="295464"/>
                  <a:pt x="26044" y="297292"/>
                  <a:pt x="28086" y="300097"/>
                </a:cubicBezTo>
                <a:cubicBezTo>
                  <a:pt x="33622" y="306177"/>
                  <a:pt x="36959" y="313934"/>
                  <a:pt x="37572" y="322136"/>
                </a:cubicBezTo>
                <a:cubicBezTo>
                  <a:pt x="37370" y="325005"/>
                  <a:pt x="37787" y="327886"/>
                  <a:pt x="38787" y="330581"/>
                </a:cubicBezTo>
                <a:cubicBezTo>
                  <a:pt x="40459" y="335672"/>
                  <a:pt x="41124" y="341034"/>
                  <a:pt x="40754" y="346373"/>
                </a:cubicBezTo>
                <a:cubicBezTo>
                  <a:pt x="39944" y="359446"/>
                  <a:pt x="48216" y="377204"/>
                  <a:pt x="51571" y="379228"/>
                </a:cubicBezTo>
                <a:cubicBezTo>
                  <a:pt x="53537" y="380443"/>
                  <a:pt x="53537" y="381658"/>
                  <a:pt x="53364" y="382352"/>
                </a:cubicBezTo>
                <a:cubicBezTo>
                  <a:pt x="52554" y="385244"/>
                  <a:pt x="46075" y="385533"/>
                  <a:pt x="43299" y="385533"/>
                </a:cubicBezTo>
                <a:lnTo>
                  <a:pt x="39539" y="385533"/>
                </a:lnTo>
                <a:cubicBezTo>
                  <a:pt x="36878" y="385418"/>
                  <a:pt x="33350" y="385186"/>
                  <a:pt x="29590" y="38518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09" name="Forma libre: forma 308">
            <a:extLst>
              <a:ext uri="{FF2B5EF4-FFF2-40B4-BE49-F238E27FC236}">
                <a16:creationId xmlns:a16="http://schemas.microsoft.com/office/drawing/2014/main" id="{67ECCC79-1AC9-3C09-3D5A-99F463F73F0E}"/>
              </a:ext>
            </a:extLst>
          </p:cNvPr>
          <p:cNvSpPr/>
          <p:nvPr/>
        </p:nvSpPr>
        <p:spPr>
          <a:xfrm>
            <a:off x="6850007" y="3570911"/>
            <a:ext cx="294764" cy="299932"/>
          </a:xfrm>
          <a:custGeom>
            <a:avLst/>
            <a:gdLst>
              <a:gd name="connsiteX0" fmla="*/ 244086 w 294764"/>
              <a:gd name="connsiteY0" fmla="*/ 299804 h 299932"/>
              <a:gd name="connsiteX1" fmla="*/ 229046 w 294764"/>
              <a:gd name="connsiteY1" fmla="*/ 291705 h 299932"/>
              <a:gd name="connsiteX2" fmla="*/ 193992 w 294764"/>
              <a:gd name="connsiteY2" fmla="*/ 291705 h 299932"/>
              <a:gd name="connsiteX3" fmla="*/ 193182 w 294764"/>
              <a:gd name="connsiteY3" fmla="*/ 291358 h 299932"/>
              <a:gd name="connsiteX4" fmla="*/ 183754 w 294764"/>
              <a:gd name="connsiteY4" fmla="*/ 286095 h 299932"/>
              <a:gd name="connsiteX5" fmla="*/ 181729 w 294764"/>
              <a:gd name="connsiteY5" fmla="*/ 286673 h 299932"/>
              <a:gd name="connsiteX6" fmla="*/ 172011 w 294764"/>
              <a:gd name="connsiteY6" fmla="*/ 293094 h 299932"/>
              <a:gd name="connsiteX7" fmla="*/ 171375 w 294764"/>
              <a:gd name="connsiteY7" fmla="*/ 293094 h 299932"/>
              <a:gd name="connsiteX8" fmla="*/ 4784 w 294764"/>
              <a:gd name="connsiteY8" fmla="*/ 293094 h 299932"/>
              <a:gd name="connsiteX9" fmla="*/ 3684 w 294764"/>
              <a:gd name="connsiteY9" fmla="*/ 292116 h 299932"/>
              <a:gd name="connsiteX10" fmla="*/ 3684 w 294764"/>
              <a:gd name="connsiteY10" fmla="*/ 291995 h 299932"/>
              <a:gd name="connsiteX11" fmla="*/ 3684 w 294764"/>
              <a:gd name="connsiteY11" fmla="*/ 81789 h 299932"/>
              <a:gd name="connsiteX12" fmla="*/ 1486 w 294764"/>
              <a:gd name="connsiteY12" fmla="*/ 63915 h 299932"/>
              <a:gd name="connsiteX13" fmla="*/ 3916 w 294764"/>
              <a:gd name="connsiteY13" fmla="*/ 40777 h 299932"/>
              <a:gd name="connsiteX14" fmla="*/ 5998 w 294764"/>
              <a:gd name="connsiteY14" fmla="*/ 28109 h 299932"/>
              <a:gd name="connsiteX15" fmla="*/ 7097 w 294764"/>
              <a:gd name="connsiteY15" fmla="*/ 7401 h 299932"/>
              <a:gd name="connsiteX16" fmla="*/ 9353 w 294764"/>
              <a:gd name="connsiteY16" fmla="*/ 1327 h 299932"/>
              <a:gd name="connsiteX17" fmla="*/ 9353 w 294764"/>
              <a:gd name="connsiteY17" fmla="*/ 575 h 299932"/>
              <a:gd name="connsiteX18" fmla="*/ 10279 w 294764"/>
              <a:gd name="connsiteY18" fmla="*/ -119 h 299932"/>
              <a:gd name="connsiteX19" fmla="*/ 11320 w 294764"/>
              <a:gd name="connsiteY19" fmla="*/ 286 h 299932"/>
              <a:gd name="connsiteX20" fmla="*/ 51811 w 294764"/>
              <a:gd name="connsiteY20" fmla="*/ 9714 h 299932"/>
              <a:gd name="connsiteX21" fmla="*/ 98549 w 294764"/>
              <a:gd name="connsiteY21" fmla="*/ 22498 h 299932"/>
              <a:gd name="connsiteX22" fmla="*/ 102193 w 294764"/>
              <a:gd name="connsiteY22" fmla="*/ 24002 h 299932"/>
              <a:gd name="connsiteX23" fmla="*/ 117753 w 294764"/>
              <a:gd name="connsiteY23" fmla="*/ 27241 h 299932"/>
              <a:gd name="connsiteX24" fmla="*/ 131520 w 294764"/>
              <a:gd name="connsiteY24" fmla="*/ 21457 h 299932"/>
              <a:gd name="connsiteX25" fmla="*/ 176003 w 294764"/>
              <a:gd name="connsiteY25" fmla="*/ 9483 h 299932"/>
              <a:gd name="connsiteX26" fmla="*/ 189943 w 294764"/>
              <a:gd name="connsiteY26" fmla="*/ 11797 h 299932"/>
              <a:gd name="connsiteX27" fmla="*/ 215394 w 294764"/>
              <a:gd name="connsiteY27" fmla="*/ 20011 h 299932"/>
              <a:gd name="connsiteX28" fmla="*/ 223493 w 294764"/>
              <a:gd name="connsiteY28" fmla="*/ 18970 h 299932"/>
              <a:gd name="connsiteX29" fmla="*/ 230203 w 294764"/>
              <a:gd name="connsiteY29" fmla="*/ 18160 h 299932"/>
              <a:gd name="connsiteX30" fmla="*/ 243622 w 294764"/>
              <a:gd name="connsiteY30" fmla="*/ 20184 h 299932"/>
              <a:gd name="connsiteX31" fmla="*/ 252067 w 294764"/>
              <a:gd name="connsiteY31" fmla="*/ 20879 h 299932"/>
              <a:gd name="connsiteX32" fmla="*/ 254960 w 294764"/>
              <a:gd name="connsiteY32" fmla="*/ 16830 h 299932"/>
              <a:gd name="connsiteX33" fmla="*/ 256001 w 294764"/>
              <a:gd name="connsiteY33" fmla="*/ 16309 h 299932"/>
              <a:gd name="connsiteX34" fmla="*/ 256927 w 294764"/>
              <a:gd name="connsiteY34" fmla="*/ 17003 h 299932"/>
              <a:gd name="connsiteX35" fmla="*/ 276536 w 294764"/>
              <a:gd name="connsiteY35" fmla="*/ 65071 h 299932"/>
              <a:gd name="connsiteX36" fmla="*/ 276536 w 294764"/>
              <a:gd name="connsiteY36" fmla="*/ 65881 h 299932"/>
              <a:gd name="connsiteX37" fmla="*/ 272603 w 294764"/>
              <a:gd name="connsiteY37" fmla="*/ 76872 h 299932"/>
              <a:gd name="connsiteX38" fmla="*/ 271562 w 294764"/>
              <a:gd name="connsiteY38" fmla="*/ 84045 h 299932"/>
              <a:gd name="connsiteX39" fmla="*/ 270404 w 294764"/>
              <a:gd name="connsiteY39" fmla="*/ 85062 h 299932"/>
              <a:gd name="connsiteX40" fmla="*/ 269479 w 294764"/>
              <a:gd name="connsiteY40" fmla="*/ 84450 h 299932"/>
              <a:gd name="connsiteX41" fmla="*/ 266702 w 294764"/>
              <a:gd name="connsiteY41" fmla="*/ 94630 h 299932"/>
              <a:gd name="connsiteX42" fmla="*/ 253225 w 294764"/>
              <a:gd name="connsiteY42" fmla="*/ 122569 h 299932"/>
              <a:gd name="connsiteX43" fmla="*/ 224707 w 294764"/>
              <a:gd name="connsiteY43" fmla="*/ 85954 h 299932"/>
              <a:gd name="connsiteX44" fmla="*/ 221526 w 294764"/>
              <a:gd name="connsiteY44" fmla="*/ 78549 h 299932"/>
              <a:gd name="connsiteX45" fmla="*/ 207759 w 294764"/>
              <a:gd name="connsiteY45" fmla="*/ 51420 h 299932"/>
              <a:gd name="connsiteX46" fmla="*/ 221005 w 294764"/>
              <a:gd name="connsiteY46" fmla="*/ 99778 h 299932"/>
              <a:gd name="connsiteX47" fmla="*/ 231765 w 294764"/>
              <a:gd name="connsiteY47" fmla="*/ 113372 h 299932"/>
              <a:gd name="connsiteX48" fmla="*/ 239805 w 294764"/>
              <a:gd name="connsiteY48" fmla="*/ 130725 h 299932"/>
              <a:gd name="connsiteX49" fmla="*/ 246168 w 294764"/>
              <a:gd name="connsiteY49" fmla="*/ 145012 h 299932"/>
              <a:gd name="connsiteX50" fmla="*/ 252762 w 294764"/>
              <a:gd name="connsiteY50" fmla="*/ 158432 h 299932"/>
              <a:gd name="connsiteX51" fmla="*/ 265372 w 294764"/>
              <a:gd name="connsiteY51" fmla="*/ 183074 h 299932"/>
              <a:gd name="connsiteX52" fmla="*/ 281800 w 294764"/>
              <a:gd name="connsiteY52" fmla="*/ 213905 h 299932"/>
              <a:gd name="connsiteX53" fmla="*/ 289898 w 294764"/>
              <a:gd name="connsiteY53" fmla="*/ 229639 h 299932"/>
              <a:gd name="connsiteX54" fmla="*/ 294352 w 294764"/>
              <a:gd name="connsiteY54" fmla="*/ 244736 h 299932"/>
              <a:gd name="connsiteX55" fmla="*/ 294352 w 294764"/>
              <a:gd name="connsiteY55" fmla="*/ 255379 h 299932"/>
              <a:gd name="connsiteX56" fmla="*/ 294352 w 294764"/>
              <a:gd name="connsiteY56" fmla="*/ 256247 h 299932"/>
              <a:gd name="connsiteX57" fmla="*/ 294352 w 294764"/>
              <a:gd name="connsiteY57" fmla="*/ 256594 h 299932"/>
              <a:gd name="connsiteX58" fmla="*/ 293832 w 294764"/>
              <a:gd name="connsiteY58" fmla="*/ 257288 h 299932"/>
              <a:gd name="connsiteX59" fmla="*/ 292558 w 294764"/>
              <a:gd name="connsiteY59" fmla="*/ 259024 h 299932"/>
              <a:gd name="connsiteX60" fmla="*/ 282552 w 294764"/>
              <a:gd name="connsiteY60" fmla="*/ 267584 h 299932"/>
              <a:gd name="connsiteX61" fmla="*/ 278329 w 294764"/>
              <a:gd name="connsiteY61" fmla="*/ 267584 h 299932"/>
              <a:gd name="connsiteX62" fmla="*/ 272950 w 294764"/>
              <a:gd name="connsiteY62" fmla="*/ 274873 h 299932"/>
              <a:gd name="connsiteX63" fmla="*/ 260571 w 294764"/>
              <a:gd name="connsiteY63" fmla="*/ 287020 h 299932"/>
              <a:gd name="connsiteX64" fmla="*/ 251200 w 294764"/>
              <a:gd name="connsiteY64" fmla="*/ 293903 h 299932"/>
              <a:gd name="connsiteX65" fmla="*/ 244086 w 294764"/>
              <a:gd name="connsiteY65" fmla="*/ 299804 h 299932"/>
              <a:gd name="connsiteX66" fmla="*/ 194455 w 294764"/>
              <a:gd name="connsiteY66" fmla="*/ 289450 h 299932"/>
              <a:gd name="connsiteX67" fmla="*/ 229567 w 294764"/>
              <a:gd name="connsiteY67" fmla="*/ 289450 h 299932"/>
              <a:gd name="connsiteX68" fmla="*/ 230434 w 294764"/>
              <a:gd name="connsiteY68" fmla="*/ 289855 h 299932"/>
              <a:gd name="connsiteX69" fmla="*/ 244086 w 294764"/>
              <a:gd name="connsiteY69" fmla="*/ 297548 h 299932"/>
              <a:gd name="connsiteX70" fmla="*/ 248829 w 294764"/>
              <a:gd name="connsiteY70" fmla="*/ 292920 h 299932"/>
              <a:gd name="connsiteX71" fmla="*/ 260397 w 294764"/>
              <a:gd name="connsiteY71" fmla="*/ 284591 h 299932"/>
              <a:gd name="connsiteX72" fmla="*/ 270636 w 294764"/>
              <a:gd name="connsiteY72" fmla="*/ 273947 h 299932"/>
              <a:gd name="connsiteX73" fmla="*/ 278155 w 294764"/>
              <a:gd name="connsiteY73" fmla="*/ 265155 h 299932"/>
              <a:gd name="connsiteX74" fmla="*/ 282379 w 294764"/>
              <a:gd name="connsiteY74" fmla="*/ 265155 h 299932"/>
              <a:gd name="connsiteX75" fmla="*/ 290592 w 294764"/>
              <a:gd name="connsiteY75" fmla="*/ 257520 h 299932"/>
              <a:gd name="connsiteX76" fmla="*/ 291749 w 294764"/>
              <a:gd name="connsiteY76" fmla="*/ 255842 h 299932"/>
              <a:gd name="connsiteX77" fmla="*/ 292386 w 294764"/>
              <a:gd name="connsiteY77" fmla="*/ 255032 h 299932"/>
              <a:gd name="connsiteX78" fmla="*/ 292386 w 294764"/>
              <a:gd name="connsiteY78" fmla="*/ 244215 h 299932"/>
              <a:gd name="connsiteX79" fmla="*/ 288394 w 294764"/>
              <a:gd name="connsiteY79" fmla="*/ 230796 h 299932"/>
              <a:gd name="connsiteX80" fmla="*/ 279891 w 294764"/>
              <a:gd name="connsiteY80" fmla="*/ 214425 h 299932"/>
              <a:gd name="connsiteX81" fmla="*/ 263752 w 294764"/>
              <a:gd name="connsiteY81" fmla="*/ 184057 h 299932"/>
              <a:gd name="connsiteX82" fmla="*/ 250795 w 294764"/>
              <a:gd name="connsiteY82" fmla="*/ 158432 h 299932"/>
              <a:gd name="connsiteX83" fmla="*/ 244664 w 294764"/>
              <a:gd name="connsiteY83" fmla="*/ 146169 h 299932"/>
              <a:gd name="connsiteX84" fmla="*/ 237896 w 294764"/>
              <a:gd name="connsiteY84" fmla="*/ 130436 h 299932"/>
              <a:gd name="connsiteX85" fmla="*/ 230376 w 294764"/>
              <a:gd name="connsiteY85" fmla="*/ 114644 h 299932"/>
              <a:gd name="connsiteX86" fmla="*/ 219444 w 294764"/>
              <a:gd name="connsiteY86" fmla="*/ 100877 h 299932"/>
              <a:gd name="connsiteX87" fmla="*/ 205908 w 294764"/>
              <a:gd name="connsiteY87" fmla="*/ 50957 h 299932"/>
              <a:gd name="connsiteX88" fmla="*/ 207528 w 294764"/>
              <a:gd name="connsiteY88" fmla="*/ 49049 h 299932"/>
              <a:gd name="connsiteX89" fmla="*/ 208106 w 294764"/>
              <a:gd name="connsiteY89" fmla="*/ 49049 h 299932"/>
              <a:gd name="connsiteX90" fmla="*/ 223897 w 294764"/>
              <a:gd name="connsiteY90" fmla="*/ 77566 h 299932"/>
              <a:gd name="connsiteX91" fmla="*/ 227079 w 294764"/>
              <a:gd name="connsiteY91" fmla="*/ 84912 h 299932"/>
              <a:gd name="connsiteX92" fmla="*/ 253514 w 294764"/>
              <a:gd name="connsiteY92" fmla="*/ 120197 h 299932"/>
              <a:gd name="connsiteX93" fmla="*/ 265082 w 294764"/>
              <a:gd name="connsiteY93" fmla="*/ 93994 h 299932"/>
              <a:gd name="connsiteX94" fmla="*/ 270058 w 294764"/>
              <a:gd name="connsiteY94" fmla="*/ 81384 h 299932"/>
              <a:gd name="connsiteX95" fmla="*/ 270058 w 294764"/>
              <a:gd name="connsiteY95" fmla="*/ 81384 h 299932"/>
              <a:gd name="connsiteX96" fmla="*/ 270810 w 294764"/>
              <a:gd name="connsiteY96" fmla="*/ 76178 h 299932"/>
              <a:gd name="connsiteX97" fmla="*/ 274685 w 294764"/>
              <a:gd name="connsiteY97" fmla="*/ 65419 h 299932"/>
              <a:gd name="connsiteX98" fmla="*/ 256059 w 294764"/>
              <a:gd name="connsiteY98" fmla="*/ 19722 h 299932"/>
              <a:gd name="connsiteX99" fmla="*/ 254035 w 294764"/>
              <a:gd name="connsiteY99" fmla="*/ 22382 h 299932"/>
              <a:gd name="connsiteX100" fmla="*/ 243507 w 294764"/>
              <a:gd name="connsiteY100" fmla="*/ 22382 h 299932"/>
              <a:gd name="connsiteX101" fmla="*/ 230607 w 294764"/>
              <a:gd name="connsiteY101" fmla="*/ 20416 h 299932"/>
              <a:gd name="connsiteX102" fmla="*/ 224418 w 294764"/>
              <a:gd name="connsiteY102" fmla="*/ 21168 h 299932"/>
              <a:gd name="connsiteX103" fmla="*/ 215800 w 294764"/>
              <a:gd name="connsiteY103" fmla="*/ 22267 h 299932"/>
              <a:gd name="connsiteX104" fmla="*/ 189307 w 294764"/>
              <a:gd name="connsiteY104" fmla="*/ 13822 h 299932"/>
              <a:gd name="connsiteX105" fmla="*/ 176407 w 294764"/>
              <a:gd name="connsiteY105" fmla="*/ 11739 h 299932"/>
              <a:gd name="connsiteX106" fmla="*/ 133776 w 294764"/>
              <a:gd name="connsiteY106" fmla="*/ 22729 h 299932"/>
              <a:gd name="connsiteX107" fmla="*/ 118159 w 294764"/>
              <a:gd name="connsiteY107" fmla="*/ 29440 h 299932"/>
              <a:gd name="connsiteX108" fmla="*/ 101730 w 294764"/>
              <a:gd name="connsiteY108" fmla="*/ 26027 h 299932"/>
              <a:gd name="connsiteX109" fmla="*/ 98144 w 294764"/>
              <a:gd name="connsiteY109" fmla="*/ 24523 h 299932"/>
              <a:gd name="connsiteX110" fmla="*/ 51869 w 294764"/>
              <a:gd name="connsiteY110" fmla="*/ 11913 h 299932"/>
              <a:gd name="connsiteX111" fmla="*/ 11378 w 294764"/>
              <a:gd name="connsiteY111" fmla="*/ 2947 h 299932"/>
              <a:gd name="connsiteX112" fmla="*/ 9527 w 294764"/>
              <a:gd name="connsiteY112" fmla="*/ 8153 h 299932"/>
              <a:gd name="connsiteX113" fmla="*/ 8485 w 294764"/>
              <a:gd name="connsiteY113" fmla="*/ 27588 h 299932"/>
              <a:gd name="connsiteX114" fmla="*/ 5940 w 294764"/>
              <a:gd name="connsiteY114" fmla="*/ 42165 h 299932"/>
              <a:gd name="connsiteX115" fmla="*/ 4032 w 294764"/>
              <a:gd name="connsiteY115" fmla="*/ 63567 h 299932"/>
              <a:gd name="connsiteX116" fmla="*/ 6230 w 294764"/>
              <a:gd name="connsiteY116" fmla="*/ 81904 h 299932"/>
              <a:gd name="connsiteX117" fmla="*/ 6230 w 294764"/>
              <a:gd name="connsiteY117" fmla="*/ 291127 h 299932"/>
              <a:gd name="connsiteX118" fmla="*/ 171317 w 294764"/>
              <a:gd name="connsiteY118" fmla="*/ 291127 h 299932"/>
              <a:gd name="connsiteX119" fmla="*/ 180804 w 294764"/>
              <a:gd name="connsiteY119" fmla="*/ 284880 h 299932"/>
              <a:gd name="connsiteX120" fmla="*/ 184043 w 294764"/>
              <a:gd name="connsiteY120" fmla="*/ 283954 h 299932"/>
              <a:gd name="connsiteX121" fmla="*/ 194455 w 294764"/>
              <a:gd name="connsiteY121" fmla="*/ 289450 h 29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294764" h="299932">
                <a:moveTo>
                  <a:pt x="244086" y="299804"/>
                </a:moveTo>
                <a:cubicBezTo>
                  <a:pt x="238185" y="299196"/>
                  <a:pt x="232806" y="296287"/>
                  <a:pt x="229046" y="291705"/>
                </a:cubicBezTo>
                <a:lnTo>
                  <a:pt x="193992" y="291705"/>
                </a:lnTo>
                <a:cubicBezTo>
                  <a:pt x="193703" y="291700"/>
                  <a:pt x="193414" y="291578"/>
                  <a:pt x="193182" y="291358"/>
                </a:cubicBezTo>
                <a:cubicBezTo>
                  <a:pt x="190637" y="288674"/>
                  <a:pt x="187340" y="286841"/>
                  <a:pt x="183754" y="286095"/>
                </a:cubicBezTo>
                <a:cubicBezTo>
                  <a:pt x="183060" y="286066"/>
                  <a:pt x="182308" y="286268"/>
                  <a:pt x="181729" y="286673"/>
                </a:cubicBezTo>
                <a:lnTo>
                  <a:pt x="172011" y="293094"/>
                </a:lnTo>
                <a:cubicBezTo>
                  <a:pt x="171780" y="293151"/>
                  <a:pt x="171607" y="293151"/>
                  <a:pt x="171375" y="293094"/>
                </a:cubicBezTo>
                <a:lnTo>
                  <a:pt x="4784" y="293094"/>
                </a:lnTo>
                <a:cubicBezTo>
                  <a:pt x="4205" y="293129"/>
                  <a:pt x="3742" y="292689"/>
                  <a:pt x="3684" y="292116"/>
                </a:cubicBezTo>
                <a:cubicBezTo>
                  <a:pt x="3684" y="292076"/>
                  <a:pt x="3684" y="292035"/>
                  <a:pt x="3684" y="291995"/>
                </a:cubicBezTo>
                <a:lnTo>
                  <a:pt x="3684" y="81789"/>
                </a:lnTo>
                <a:cubicBezTo>
                  <a:pt x="3569" y="75773"/>
                  <a:pt x="2817" y="69780"/>
                  <a:pt x="1486" y="63915"/>
                </a:cubicBezTo>
                <a:cubicBezTo>
                  <a:pt x="-307" y="54660"/>
                  <a:pt x="-1753" y="47371"/>
                  <a:pt x="3916" y="40777"/>
                </a:cubicBezTo>
                <a:cubicBezTo>
                  <a:pt x="6981" y="37289"/>
                  <a:pt x="7733" y="32384"/>
                  <a:pt x="5998" y="28109"/>
                </a:cubicBezTo>
                <a:cubicBezTo>
                  <a:pt x="4147" y="21266"/>
                  <a:pt x="4552" y="14013"/>
                  <a:pt x="7097" y="7401"/>
                </a:cubicBezTo>
                <a:cubicBezTo>
                  <a:pt x="7791" y="5434"/>
                  <a:pt x="8543" y="3410"/>
                  <a:pt x="9353" y="1327"/>
                </a:cubicBezTo>
                <a:lnTo>
                  <a:pt x="9353" y="575"/>
                </a:lnTo>
                <a:cubicBezTo>
                  <a:pt x="9527" y="211"/>
                  <a:pt x="9873" y="-50"/>
                  <a:pt x="10279" y="-119"/>
                </a:cubicBezTo>
                <a:cubicBezTo>
                  <a:pt x="10683" y="-171"/>
                  <a:pt x="11089" y="-21"/>
                  <a:pt x="11320" y="286"/>
                </a:cubicBezTo>
                <a:cubicBezTo>
                  <a:pt x="13460" y="3120"/>
                  <a:pt x="22194" y="7054"/>
                  <a:pt x="51811" y="9714"/>
                </a:cubicBezTo>
                <a:cubicBezTo>
                  <a:pt x="67949" y="11444"/>
                  <a:pt x="83741" y="15759"/>
                  <a:pt x="98549" y="22498"/>
                </a:cubicBezTo>
                <a:lnTo>
                  <a:pt x="102193" y="24002"/>
                </a:lnTo>
                <a:cubicBezTo>
                  <a:pt x="107110" y="26027"/>
                  <a:pt x="112432" y="27126"/>
                  <a:pt x="117753" y="27241"/>
                </a:cubicBezTo>
                <a:cubicBezTo>
                  <a:pt x="123017" y="27693"/>
                  <a:pt x="128165" y="25529"/>
                  <a:pt x="131520" y="21457"/>
                </a:cubicBezTo>
                <a:cubicBezTo>
                  <a:pt x="135859" y="15152"/>
                  <a:pt x="160038" y="9483"/>
                  <a:pt x="176003" y="9483"/>
                </a:cubicBezTo>
                <a:cubicBezTo>
                  <a:pt x="180746" y="9240"/>
                  <a:pt x="185547" y="10027"/>
                  <a:pt x="189943" y="11797"/>
                </a:cubicBezTo>
                <a:cubicBezTo>
                  <a:pt x="197637" y="16529"/>
                  <a:pt x="206371" y="19346"/>
                  <a:pt x="215394" y="20011"/>
                </a:cubicBezTo>
                <a:cubicBezTo>
                  <a:pt x="218113" y="20005"/>
                  <a:pt x="220832" y="19652"/>
                  <a:pt x="223493" y="18970"/>
                </a:cubicBezTo>
                <a:cubicBezTo>
                  <a:pt x="225691" y="18426"/>
                  <a:pt x="227947" y="18154"/>
                  <a:pt x="230203" y="18160"/>
                </a:cubicBezTo>
                <a:cubicBezTo>
                  <a:pt x="234714" y="18328"/>
                  <a:pt x="239226" y="19010"/>
                  <a:pt x="243622" y="20184"/>
                </a:cubicBezTo>
                <a:cubicBezTo>
                  <a:pt x="247729" y="21168"/>
                  <a:pt x="251142" y="21804"/>
                  <a:pt x="252067" y="20879"/>
                </a:cubicBezTo>
                <a:cubicBezTo>
                  <a:pt x="253109" y="19606"/>
                  <a:pt x="254093" y="18252"/>
                  <a:pt x="254960" y="16830"/>
                </a:cubicBezTo>
                <a:cubicBezTo>
                  <a:pt x="255133" y="16430"/>
                  <a:pt x="255597" y="16216"/>
                  <a:pt x="256001" y="16309"/>
                </a:cubicBezTo>
                <a:cubicBezTo>
                  <a:pt x="256406" y="16332"/>
                  <a:pt x="256811" y="16604"/>
                  <a:pt x="256927" y="17003"/>
                </a:cubicBezTo>
                <a:lnTo>
                  <a:pt x="276536" y="65071"/>
                </a:lnTo>
                <a:cubicBezTo>
                  <a:pt x="276651" y="65326"/>
                  <a:pt x="276651" y="65627"/>
                  <a:pt x="276536" y="65881"/>
                </a:cubicBezTo>
                <a:lnTo>
                  <a:pt x="272603" y="76872"/>
                </a:lnTo>
                <a:lnTo>
                  <a:pt x="271562" y="84045"/>
                </a:lnTo>
                <a:cubicBezTo>
                  <a:pt x="271504" y="84652"/>
                  <a:pt x="270983" y="85103"/>
                  <a:pt x="270404" y="85062"/>
                </a:cubicBezTo>
                <a:cubicBezTo>
                  <a:pt x="270000" y="85034"/>
                  <a:pt x="269652" y="84802"/>
                  <a:pt x="269479" y="84450"/>
                </a:cubicBezTo>
                <a:cubicBezTo>
                  <a:pt x="268727" y="86301"/>
                  <a:pt x="267686" y="90696"/>
                  <a:pt x="266702" y="94630"/>
                </a:cubicBezTo>
                <a:cubicBezTo>
                  <a:pt x="263810" y="107066"/>
                  <a:pt x="260108" y="122569"/>
                  <a:pt x="253225" y="122569"/>
                </a:cubicBezTo>
                <a:cubicBezTo>
                  <a:pt x="241656" y="122569"/>
                  <a:pt x="226443" y="89713"/>
                  <a:pt x="224707" y="85954"/>
                </a:cubicBezTo>
                <a:cubicBezTo>
                  <a:pt x="223897" y="84160"/>
                  <a:pt x="222799" y="81557"/>
                  <a:pt x="221526" y="78549"/>
                </a:cubicBezTo>
                <a:cubicBezTo>
                  <a:pt x="218229" y="70625"/>
                  <a:pt x="210362" y="52057"/>
                  <a:pt x="207759" y="51420"/>
                </a:cubicBezTo>
                <a:cubicBezTo>
                  <a:pt x="205908" y="53387"/>
                  <a:pt x="208511" y="82078"/>
                  <a:pt x="221005" y="99778"/>
                </a:cubicBezTo>
                <a:cubicBezTo>
                  <a:pt x="224361" y="104498"/>
                  <a:pt x="227947" y="109039"/>
                  <a:pt x="231765" y="113372"/>
                </a:cubicBezTo>
                <a:cubicBezTo>
                  <a:pt x="237144" y="119561"/>
                  <a:pt x="240094" y="122974"/>
                  <a:pt x="239805" y="130725"/>
                </a:cubicBezTo>
                <a:cubicBezTo>
                  <a:pt x="240210" y="136081"/>
                  <a:pt x="242466" y="141131"/>
                  <a:pt x="246168" y="145012"/>
                </a:cubicBezTo>
                <a:cubicBezTo>
                  <a:pt x="249638" y="148755"/>
                  <a:pt x="251894" y="153417"/>
                  <a:pt x="252762" y="158432"/>
                </a:cubicBezTo>
                <a:cubicBezTo>
                  <a:pt x="253109" y="163465"/>
                  <a:pt x="259067" y="173009"/>
                  <a:pt x="265372" y="183074"/>
                </a:cubicBezTo>
                <a:cubicBezTo>
                  <a:pt x="271966" y="192711"/>
                  <a:pt x="277461" y="203053"/>
                  <a:pt x="281800" y="213905"/>
                </a:cubicBezTo>
                <a:cubicBezTo>
                  <a:pt x="283477" y="219603"/>
                  <a:pt x="286254" y="224942"/>
                  <a:pt x="289898" y="229639"/>
                </a:cubicBezTo>
                <a:cubicBezTo>
                  <a:pt x="293716" y="233670"/>
                  <a:pt x="295394" y="239281"/>
                  <a:pt x="294352" y="244736"/>
                </a:cubicBezTo>
                <a:cubicBezTo>
                  <a:pt x="293774" y="248259"/>
                  <a:pt x="293774" y="251857"/>
                  <a:pt x="294352" y="255379"/>
                </a:cubicBezTo>
                <a:cubicBezTo>
                  <a:pt x="294468" y="255657"/>
                  <a:pt x="294468" y="255969"/>
                  <a:pt x="294352" y="256247"/>
                </a:cubicBezTo>
                <a:lnTo>
                  <a:pt x="294352" y="256594"/>
                </a:lnTo>
                <a:cubicBezTo>
                  <a:pt x="294178" y="256814"/>
                  <a:pt x="294005" y="257045"/>
                  <a:pt x="293832" y="257288"/>
                </a:cubicBezTo>
                <a:lnTo>
                  <a:pt x="292558" y="259024"/>
                </a:lnTo>
                <a:cubicBezTo>
                  <a:pt x="287295" y="266427"/>
                  <a:pt x="286485" y="267584"/>
                  <a:pt x="282552" y="267584"/>
                </a:cubicBezTo>
                <a:lnTo>
                  <a:pt x="278329" y="267584"/>
                </a:lnTo>
                <a:cubicBezTo>
                  <a:pt x="275668" y="267584"/>
                  <a:pt x="274569" y="270361"/>
                  <a:pt x="272950" y="274873"/>
                </a:cubicBezTo>
                <a:cubicBezTo>
                  <a:pt x="271330" y="279385"/>
                  <a:pt x="268554" y="287020"/>
                  <a:pt x="260571" y="287020"/>
                </a:cubicBezTo>
                <a:cubicBezTo>
                  <a:pt x="256175" y="286627"/>
                  <a:pt x="252125" y="289577"/>
                  <a:pt x="251200" y="293903"/>
                </a:cubicBezTo>
                <a:cubicBezTo>
                  <a:pt x="249523" y="296564"/>
                  <a:pt x="248424" y="299804"/>
                  <a:pt x="244086" y="299804"/>
                </a:cubicBezTo>
                <a:close/>
                <a:moveTo>
                  <a:pt x="194455" y="289450"/>
                </a:moveTo>
                <a:lnTo>
                  <a:pt x="229567" y="289450"/>
                </a:lnTo>
                <a:cubicBezTo>
                  <a:pt x="229913" y="289461"/>
                  <a:pt x="230203" y="289606"/>
                  <a:pt x="230434" y="289855"/>
                </a:cubicBezTo>
                <a:cubicBezTo>
                  <a:pt x="233847" y="294077"/>
                  <a:pt x="238706" y="296831"/>
                  <a:pt x="244086" y="297548"/>
                </a:cubicBezTo>
                <a:cubicBezTo>
                  <a:pt x="246804" y="297548"/>
                  <a:pt x="247614" y="295928"/>
                  <a:pt x="248829" y="292920"/>
                </a:cubicBezTo>
                <a:cubicBezTo>
                  <a:pt x="250101" y="287668"/>
                  <a:pt x="255018" y="284128"/>
                  <a:pt x="260397" y="284591"/>
                </a:cubicBezTo>
                <a:cubicBezTo>
                  <a:pt x="266818" y="284591"/>
                  <a:pt x="268727" y="279153"/>
                  <a:pt x="270636" y="273947"/>
                </a:cubicBezTo>
                <a:cubicBezTo>
                  <a:pt x="272545" y="268741"/>
                  <a:pt x="273817" y="265155"/>
                  <a:pt x="278155" y="265155"/>
                </a:cubicBezTo>
                <a:lnTo>
                  <a:pt x="282379" y="265155"/>
                </a:lnTo>
                <a:cubicBezTo>
                  <a:pt x="285039" y="265155"/>
                  <a:pt x="285386" y="264866"/>
                  <a:pt x="290592" y="257520"/>
                </a:cubicBezTo>
                <a:lnTo>
                  <a:pt x="291749" y="255842"/>
                </a:lnTo>
                <a:lnTo>
                  <a:pt x="292386" y="255032"/>
                </a:lnTo>
                <a:cubicBezTo>
                  <a:pt x="291807" y="251452"/>
                  <a:pt x="291807" y="247796"/>
                  <a:pt x="292386" y="244215"/>
                </a:cubicBezTo>
                <a:cubicBezTo>
                  <a:pt x="293368" y="239356"/>
                  <a:pt x="291864" y="234341"/>
                  <a:pt x="288394" y="230796"/>
                </a:cubicBezTo>
                <a:cubicBezTo>
                  <a:pt x="284577" y="225913"/>
                  <a:pt x="281684" y="220360"/>
                  <a:pt x="279891" y="214425"/>
                </a:cubicBezTo>
                <a:cubicBezTo>
                  <a:pt x="275668" y="203718"/>
                  <a:pt x="270289" y="193532"/>
                  <a:pt x="263752" y="184057"/>
                </a:cubicBezTo>
                <a:cubicBezTo>
                  <a:pt x="257043" y="173298"/>
                  <a:pt x="251200" y="163985"/>
                  <a:pt x="250795" y="158432"/>
                </a:cubicBezTo>
                <a:cubicBezTo>
                  <a:pt x="249985" y="153845"/>
                  <a:pt x="247845" y="149588"/>
                  <a:pt x="244664" y="146169"/>
                </a:cubicBezTo>
                <a:cubicBezTo>
                  <a:pt x="240557" y="141912"/>
                  <a:pt x="238185" y="136324"/>
                  <a:pt x="237896" y="130436"/>
                </a:cubicBezTo>
                <a:cubicBezTo>
                  <a:pt x="237896" y="123552"/>
                  <a:pt x="235698" y="120718"/>
                  <a:pt x="230376" y="114644"/>
                </a:cubicBezTo>
                <a:cubicBezTo>
                  <a:pt x="226501" y="110254"/>
                  <a:pt x="222857" y="105661"/>
                  <a:pt x="219444" y="100877"/>
                </a:cubicBezTo>
                <a:cubicBezTo>
                  <a:pt x="207875" y="84160"/>
                  <a:pt x="203883" y="57263"/>
                  <a:pt x="205908" y="50957"/>
                </a:cubicBezTo>
                <a:cubicBezTo>
                  <a:pt x="206082" y="50090"/>
                  <a:pt x="206718" y="49373"/>
                  <a:pt x="207528" y="49049"/>
                </a:cubicBezTo>
                <a:lnTo>
                  <a:pt x="208106" y="49049"/>
                </a:lnTo>
                <a:cubicBezTo>
                  <a:pt x="211346" y="49049"/>
                  <a:pt x="215800" y="58246"/>
                  <a:pt x="223897" y="77566"/>
                </a:cubicBezTo>
                <a:cubicBezTo>
                  <a:pt x="225170" y="80516"/>
                  <a:pt x="226211" y="83350"/>
                  <a:pt x="227079" y="84912"/>
                </a:cubicBezTo>
                <a:cubicBezTo>
                  <a:pt x="232863" y="97117"/>
                  <a:pt x="245300" y="120197"/>
                  <a:pt x="253514" y="120197"/>
                </a:cubicBezTo>
                <a:cubicBezTo>
                  <a:pt x="258662" y="120197"/>
                  <a:pt x="262480" y="103827"/>
                  <a:pt x="265082" y="93994"/>
                </a:cubicBezTo>
                <a:cubicBezTo>
                  <a:pt x="267686" y="84160"/>
                  <a:pt x="268148" y="81384"/>
                  <a:pt x="270058" y="81384"/>
                </a:cubicBezTo>
                <a:lnTo>
                  <a:pt x="270058" y="81384"/>
                </a:lnTo>
                <a:lnTo>
                  <a:pt x="270810" y="76178"/>
                </a:lnTo>
                <a:lnTo>
                  <a:pt x="274685" y="65419"/>
                </a:lnTo>
                <a:lnTo>
                  <a:pt x="256059" y="19722"/>
                </a:lnTo>
                <a:cubicBezTo>
                  <a:pt x="255481" y="20659"/>
                  <a:pt x="254787" y="21550"/>
                  <a:pt x="254035" y="22382"/>
                </a:cubicBezTo>
                <a:cubicBezTo>
                  <a:pt x="252357" y="24060"/>
                  <a:pt x="248597" y="23481"/>
                  <a:pt x="243507" y="22382"/>
                </a:cubicBezTo>
                <a:cubicBezTo>
                  <a:pt x="239284" y="21220"/>
                  <a:pt x="234946" y="20560"/>
                  <a:pt x="230607" y="20416"/>
                </a:cubicBezTo>
                <a:cubicBezTo>
                  <a:pt x="228525" y="20393"/>
                  <a:pt x="226443" y="20641"/>
                  <a:pt x="224418" y="21168"/>
                </a:cubicBezTo>
                <a:cubicBezTo>
                  <a:pt x="221584" y="21903"/>
                  <a:pt x="218692" y="22273"/>
                  <a:pt x="215800" y="22267"/>
                </a:cubicBezTo>
                <a:cubicBezTo>
                  <a:pt x="206429" y="21619"/>
                  <a:pt x="197347" y="18721"/>
                  <a:pt x="189307" y="13822"/>
                </a:cubicBezTo>
                <a:cubicBezTo>
                  <a:pt x="185200" y="12225"/>
                  <a:pt x="180804" y="11514"/>
                  <a:pt x="176407" y="11739"/>
                </a:cubicBezTo>
                <a:cubicBezTo>
                  <a:pt x="159690" y="11739"/>
                  <a:pt x="137420" y="17524"/>
                  <a:pt x="133776" y="22729"/>
                </a:cubicBezTo>
                <a:cubicBezTo>
                  <a:pt x="130016" y="27455"/>
                  <a:pt x="124174" y="29978"/>
                  <a:pt x="118159" y="29440"/>
                </a:cubicBezTo>
                <a:cubicBezTo>
                  <a:pt x="112547" y="29318"/>
                  <a:pt x="106936" y="28161"/>
                  <a:pt x="101730" y="26027"/>
                </a:cubicBezTo>
                <a:lnTo>
                  <a:pt x="98144" y="24523"/>
                </a:lnTo>
                <a:cubicBezTo>
                  <a:pt x="83510" y="17859"/>
                  <a:pt x="67891" y="13602"/>
                  <a:pt x="51869" y="11913"/>
                </a:cubicBezTo>
                <a:cubicBezTo>
                  <a:pt x="29541" y="9888"/>
                  <a:pt x="16179" y="6996"/>
                  <a:pt x="11378" y="2947"/>
                </a:cubicBezTo>
                <a:lnTo>
                  <a:pt x="9527" y="8153"/>
                </a:lnTo>
                <a:cubicBezTo>
                  <a:pt x="7097" y="14348"/>
                  <a:pt x="6692" y="21168"/>
                  <a:pt x="8485" y="27588"/>
                </a:cubicBezTo>
                <a:cubicBezTo>
                  <a:pt x="10453" y="32540"/>
                  <a:pt x="9469" y="38162"/>
                  <a:pt x="5940" y="42165"/>
                </a:cubicBezTo>
                <a:cubicBezTo>
                  <a:pt x="966" y="47950"/>
                  <a:pt x="2238" y="54602"/>
                  <a:pt x="4032" y="63567"/>
                </a:cubicBezTo>
                <a:cubicBezTo>
                  <a:pt x="5362" y="69595"/>
                  <a:pt x="6056" y="75738"/>
                  <a:pt x="6230" y="81904"/>
                </a:cubicBezTo>
                <a:lnTo>
                  <a:pt x="6230" y="291127"/>
                </a:lnTo>
                <a:lnTo>
                  <a:pt x="171317" y="291127"/>
                </a:lnTo>
                <a:lnTo>
                  <a:pt x="180804" y="284880"/>
                </a:lnTo>
                <a:cubicBezTo>
                  <a:pt x="181787" y="284255"/>
                  <a:pt x="182886" y="283937"/>
                  <a:pt x="184043" y="283954"/>
                </a:cubicBezTo>
                <a:cubicBezTo>
                  <a:pt x="188034" y="284637"/>
                  <a:pt x="191678" y="286563"/>
                  <a:pt x="194455" y="28945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0" name="Forma libre: forma 309">
            <a:extLst>
              <a:ext uri="{FF2B5EF4-FFF2-40B4-BE49-F238E27FC236}">
                <a16:creationId xmlns:a16="http://schemas.microsoft.com/office/drawing/2014/main" id="{AA92E8BC-8898-7BD0-0E82-7299AD5BB05A}"/>
              </a:ext>
            </a:extLst>
          </p:cNvPr>
          <p:cNvSpPr/>
          <p:nvPr/>
        </p:nvSpPr>
        <p:spPr>
          <a:xfrm>
            <a:off x="6430172" y="4416431"/>
            <a:ext cx="151234" cy="173359"/>
          </a:xfrm>
          <a:custGeom>
            <a:avLst/>
            <a:gdLst>
              <a:gd name="connsiteX0" fmla="*/ 61993 w 151234"/>
              <a:gd name="connsiteY0" fmla="*/ 173230 h 173359"/>
              <a:gd name="connsiteX1" fmla="*/ 61241 w 151234"/>
              <a:gd name="connsiteY1" fmla="*/ 172941 h 173359"/>
              <a:gd name="connsiteX2" fmla="*/ 44929 w 151234"/>
              <a:gd name="connsiteY2" fmla="*/ 153737 h 173359"/>
              <a:gd name="connsiteX3" fmla="*/ 34170 w 151234"/>
              <a:gd name="connsiteY3" fmla="*/ 139276 h 173359"/>
              <a:gd name="connsiteX4" fmla="*/ 14041 w 151234"/>
              <a:gd name="connsiteY4" fmla="*/ 113477 h 173359"/>
              <a:gd name="connsiteX5" fmla="*/ 7793 w 151234"/>
              <a:gd name="connsiteY5" fmla="*/ 104049 h 173359"/>
              <a:gd name="connsiteX6" fmla="*/ -73 w 151234"/>
              <a:gd name="connsiteY6" fmla="*/ 90455 h 173359"/>
              <a:gd name="connsiteX7" fmla="*/ 1141 w 151234"/>
              <a:gd name="connsiteY7" fmla="*/ 88257 h 173359"/>
              <a:gd name="connsiteX8" fmla="*/ 11611 w 151234"/>
              <a:gd name="connsiteY8" fmla="*/ 71887 h 173359"/>
              <a:gd name="connsiteX9" fmla="*/ 21329 w 151234"/>
              <a:gd name="connsiteY9" fmla="*/ 63905 h 173359"/>
              <a:gd name="connsiteX10" fmla="*/ 26651 w 151234"/>
              <a:gd name="connsiteY10" fmla="*/ 61533 h 173359"/>
              <a:gd name="connsiteX11" fmla="*/ 26651 w 151234"/>
              <a:gd name="connsiteY11" fmla="*/ 60897 h 173359"/>
              <a:gd name="connsiteX12" fmla="*/ 20866 w 151234"/>
              <a:gd name="connsiteY12" fmla="*/ 55112 h 173359"/>
              <a:gd name="connsiteX13" fmla="*/ 15082 w 151234"/>
              <a:gd name="connsiteY13" fmla="*/ 48576 h 173359"/>
              <a:gd name="connsiteX14" fmla="*/ 16123 w 151234"/>
              <a:gd name="connsiteY14" fmla="*/ 46146 h 173359"/>
              <a:gd name="connsiteX15" fmla="*/ 20577 w 151234"/>
              <a:gd name="connsiteY15" fmla="*/ 40362 h 173359"/>
              <a:gd name="connsiteX16" fmla="*/ 21387 w 151234"/>
              <a:gd name="connsiteY16" fmla="*/ 39841 h 173359"/>
              <a:gd name="connsiteX17" fmla="*/ 34170 w 151234"/>
              <a:gd name="connsiteY17" fmla="*/ 38164 h 173359"/>
              <a:gd name="connsiteX18" fmla="*/ 70323 w 151234"/>
              <a:gd name="connsiteY18" fmla="*/ 36544 h 173359"/>
              <a:gd name="connsiteX19" fmla="*/ 71306 w 151234"/>
              <a:gd name="connsiteY19" fmla="*/ 2474 h 173359"/>
              <a:gd name="connsiteX20" fmla="*/ 72174 w 151234"/>
              <a:gd name="connsiteY20" fmla="*/ 1317 h 173359"/>
              <a:gd name="connsiteX21" fmla="*/ 77207 w 151234"/>
              <a:gd name="connsiteY21" fmla="*/ -129 h 173359"/>
              <a:gd name="connsiteX22" fmla="*/ 77554 w 151234"/>
              <a:gd name="connsiteY22" fmla="*/ -129 h 173359"/>
              <a:gd name="connsiteX23" fmla="*/ 118045 w 151234"/>
              <a:gd name="connsiteY23" fmla="*/ 1548 h 173359"/>
              <a:gd name="connsiteX24" fmla="*/ 118855 w 151234"/>
              <a:gd name="connsiteY24" fmla="*/ 1953 h 173359"/>
              <a:gd name="connsiteX25" fmla="*/ 118855 w 151234"/>
              <a:gd name="connsiteY25" fmla="*/ 2821 h 173359"/>
              <a:gd name="connsiteX26" fmla="*/ 115962 w 151234"/>
              <a:gd name="connsiteY26" fmla="*/ 30818 h 173359"/>
              <a:gd name="connsiteX27" fmla="*/ 115962 w 151234"/>
              <a:gd name="connsiteY27" fmla="*/ 31454 h 173359"/>
              <a:gd name="connsiteX28" fmla="*/ 116888 w 151234"/>
              <a:gd name="connsiteY28" fmla="*/ 31454 h 173359"/>
              <a:gd name="connsiteX29" fmla="*/ 123366 w 151234"/>
              <a:gd name="connsiteY29" fmla="*/ 29950 h 173359"/>
              <a:gd name="connsiteX30" fmla="*/ 134935 w 151234"/>
              <a:gd name="connsiteY30" fmla="*/ 27578 h 173359"/>
              <a:gd name="connsiteX31" fmla="*/ 142108 w 151234"/>
              <a:gd name="connsiteY31" fmla="*/ 29776 h 173359"/>
              <a:gd name="connsiteX32" fmla="*/ 147892 w 151234"/>
              <a:gd name="connsiteY32" fmla="*/ 41924 h 173359"/>
              <a:gd name="connsiteX33" fmla="*/ 138521 w 151234"/>
              <a:gd name="connsiteY33" fmla="*/ 53493 h 173359"/>
              <a:gd name="connsiteX34" fmla="*/ 134068 w 151234"/>
              <a:gd name="connsiteY34" fmla="*/ 59277 h 173359"/>
              <a:gd name="connsiteX35" fmla="*/ 143670 w 151234"/>
              <a:gd name="connsiteY35" fmla="*/ 73160 h 173359"/>
              <a:gd name="connsiteX36" fmla="*/ 151074 w 151234"/>
              <a:gd name="connsiteY36" fmla="*/ 97049 h 173359"/>
              <a:gd name="connsiteX37" fmla="*/ 151074 w 151234"/>
              <a:gd name="connsiteY37" fmla="*/ 102834 h 173359"/>
              <a:gd name="connsiteX38" fmla="*/ 141761 w 151234"/>
              <a:gd name="connsiteY38" fmla="*/ 135978 h 173359"/>
              <a:gd name="connsiteX39" fmla="*/ 138811 w 151234"/>
              <a:gd name="connsiteY39" fmla="*/ 136325 h 173359"/>
              <a:gd name="connsiteX40" fmla="*/ 130018 w 151234"/>
              <a:gd name="connsiteY40" fmla="*/ 134128 h 173359"/>
              <a:gd name="connsiteX41" fmla="*/ 121573 w 151234"/>
              <a:gd name="connsiteY41" fmla="*/ 132624 h 173359"/>
              <a:gd name="connsiteX42" fmla="*/ 120416 w 151234"/>
              <a:gd name="connsiteY42" fmla="*/ 132624 h 173359"/>
              <a:gd name="connsiteX43" fmla="*/ 112434 w 151234"/>
              <a:gd name="connsiteY43" fmla="*/ 123715 h 173359"/>
              <a:gd name="connsiteX44" fmla="*/ 106071 w 151234"/>
              <a:gd name="connsiteY44" fmla="*/ 115675 h 173359"/>
              <a:gd name="connsiteX45" fmla="*/ 102080 w 151234"/>
              <a:gd name="connsiteY45" fmla="*/ 121749 h 173359"/>
              <a:gd name="connsiteX46" fmla="*/ 94271 w 151234"/>
              <a:gd name="connsiteY46" fmla="*/ 130831 h 173359"/>
              <a:gd name="connsiteX47" fmla="*/ 91668 w 151234"/>
              <a:gd name="connsiteY47" fmla="*/ 130831 h 173359"/>
              <a:gd name="connsiteX48" fmla="*/ 78190 w 151234"/>
              <a:gd name="connsiteY48" fmla="*/ 133607 h 173359"/>
              <a:gd name="connsiteX49" fmla="*/ 78190 w 151234"/>
              <a:gd name="connsiteY49" fmla="*/ 141127 h 173359"/>
              <a:gd name="connsiteX50" fmla="*/ 79925 w 151234"/>
              <a:gd name="connsiteY50" fmla="*/ 145523 h 173359"/>
              <a:gd name="connsiteX51" fmla="*/ 82586 w 151234"/>
              <a:gd name="connsiteY51" fmla="*/ 161604 h 173359"/>
              <a:gd name="connsiteX52" fmla="*/ 73794 w 151234"/>
              <a:gd name="connsiteY52" fmla="*/ 164611 h 173359"/>
              <a:gd name="connsiteX53" fmla="*/ 61704 w 151234"/>
              <a:gd name="connsiteY53" fmla="*/ 171900 h 173359"/>
              <a:gd name="connsiteX54" fmla="*/ 60952 w 151234"/>
              <a:gd name="connsiteY54" fmla="*/ 172421 h 173359"/>
              <a:gd name="connsiteX55" fmla="*/ 22486 w 151234"/>
              <a:gd name="connsiteY55" fmla="*/ 42039 h 173359"/>
              <a:gd name="connsiteX56" fmla="*/ 17974 w 151234"/>
              <a:gd name="connsiteY56" fmla="*/ 47824 h 173359"/>
              <a:gd name="connsiteX57" fmla="*/ 17627 w 151234"/>
              <a:gd name="connsiteY57" fmla="*/ 48518 h 173359"/>
              <a:gd name="connsiteX58" fmla="*/ 22312 w 151234"/>
              <a:gd name="connsiteY58" fmla="*/ 53435 h 173359"/>
              <a:gd name="connsiteX59" fmla="*/ 28733 w 151234"/>
              <a:gd name="connsiteY59" fmla="*/ 60318 h 173359"/>
              <a:gd name="connsiteX60" fmla="*/ 28733 w 151234"/>
              <a:gd name="connsiteY60" fmla="*/ 62806 h 173359"/>
              <a:gd name="connsiteX61" fmla="*/ 22081 w 151234"/>
              <a:gd name="connsiteY61" fmla="*/ 66334 h 173359"/>
              <a:gd name="connsiteX62" fmla="*/ 13925 w 151234"/>
              <a:gd name="connsiteY62" fmla="*/ 72118 h 173359"/>
              <a:gd name="connsiteX63" fmla="*/ 2356 w 151234"/>
              <a:gd name="connsiteY63" fmla="*/ 90455 h 173359"/>
              <a:gd name="connsiteX64" fmla="*/ 1951 w 151234"/>
              <a:gd name="connsiteY64" fmla="*/ 91092 h 173359"/>
              <a:gd name="connsiteX65" fmla="*/ 9355 w 151234"/>
              <a:gd name="connsiteY65" fmla="*/ 103007 h 173359"/>
              <a:gd name="connsiteX66" fmla="*/ 16123 w 151234"/>
              <a:gd name="connsiteY66" fmla="*/ 113651 h 173359"/>
              <a:gd name="connsiteX67" fmla="*/ 35559 w 151234"/>
              <a:gd name="connsiteY67" fmla="*/ 138003 h 173359"/>
              <a:gd name="connsiteX68" fmla="*/ 46723 w 151234"/>
              <a:gd name="connsiteY68" fmla="*/ 153043 h 173359"/>
              <a:gd name="connsiteX69" fmla="*/ 61589 w 151234"/>
              <a:gd name="connsiteY69" fmla="*/ 170801 h 173359"/>
              <a:gd name="connsiteX70" fmla="*/ 74835 w 151234"/>
              <a:gd name="connsiteY70" fmla="*/ 163512 h 173359"/>
              <a:gd name="connsiteX71" fmla="*/ 81776 w 151234"/>
              <a:gd name="connsiteY71" fmla="*/ 161488 h 173359"/>
              <a:gd name="connsiteX72" fmla="*/ 78826 w 151234"/>
              <a:gd name="connsiteY72" fmla="*/ 147547 h 173359"/>
              <a:gd name="connsiteX73" fmla="*/ 77091 w 151234"/>
              <a:gd name="connsiteY73" fmla="*/ 143094 h 173359"/>
              <a:gd name="connsiteX74" fmla="*/ 77091 w 151234"/>
              <a:gd name="connsiteY74" fmla="*/ 133491 h 173359"/>
              <a:gd name="connsiteX75" fmla="*/ 92478 w 151234"/>
              <a:gd name="connsiteY75" fmla="*/ 129732 h 173359"/>
              <a:gd name="connsiteX76" fmla="*/ 95023 w 151234"/>
              <a:gd name="connsiteY76" fmla="*/ 129732 h 173359"/>
              <a:gd name="connsiteX77" fmla="*/ 100807 w 151234"/>
              <a:gd name="connsiteY77" fmla="*/ 122327 h 173359"/>
              <a:gd name="connsiteX78" fmla="*/ 106997 w 151234"/>
              <a:gd name="connsiteY78" fmla="*/ 114576 h 173359"/>
              <a:gd name="connsiteX79" fmla="*/ 115442 w 151234"/>
              <a:gd name="connsiteY79" fmla="*/ 123889 h 173359"/>
              <a:gd name="connsiteX80" fmla="*/ 121226 w 151234"/>
              <a:gd name="connsiteY80" fmla="*/ 131525 h 173359"/>
              <a:gd name="connsiteX81" fmla="*/ 121805 w 151234"/>
              <a:gd name="connsiteY81" fmla="*/ 131525 h 173359"/>
              <a:gd name="connsiteX82" fmla="*/ 124292 w 151234"/>
              <a:gd name="connsiteY82" fmla="*/ 131236 h 173359"/>
              <a:gd name="connsiteX83" fmla="*/ 131638 w 151234"/>
              <a:gd name="connsiteY83" fmla="*/ 133144 h 173359"/>
              <a:gd name="connsiteX84" fmla="*/ 142108 w 151234"/>
              <a:gd name="connsiteY84" fmla="*/ 134879 h 173359"/>
              <a:gd name="connsiteX85" fmla="*/ 149628 w 151234"/>
              <a:gd name="connsiteY85" fmla="*/ 103933 h 173359"/>
              <a:gd name="connsiteX86" fmla="*/ 149628 w 151234"/>
              <a:gd name="connsiteY86" fmla="*/ 98148 h 173359"/>
              <a:gd name="connsiteX87" fmla="*/ 143323 w 151234"/>
              <a:gd name="connsiteY87" fmla="*/ 76283 h 173359"/>
              <a:gd name="connsiteX88" fmla="*/ 132621 w 151234"/>
              <a:gd name="connsiteY88" fmla="*/ 60318 h 173359"/>
              <a:gd name="connsiteX89" fmla="*/ 138406 w 151234"/>
              <a:gd name="connsiteY89" fmla="*/ 52278 h 173359"/>
              <a:gd name="connsiteX90" fmla="*/ 146504 w 151234"/>
              <a:gd name="connsiteY90" fmla="*/ 42386 h 173359"/>
              <a:gd name="connsiteX91" fmla="*/ 141587 w 151234"/>
              <a:gd name="connsiteY91" fmla="*/ 32206 h 173359"/>
              <a:gd name="connsiteX92" fmla="*/ 135803 w 151234"/>
              <a:gd name="connsiteY92" fmla="*/ 30528 h 173359"/>
              <a:gd name="connsiteX93" fmla="*/ 124581 w 151234"/>
              <a:gd name="connsiteY93" fmla="*/ 32842 h 173359"/>
              <a:gd name="connsiteX94" fmla="*/ 115094 w 151234"/>
              <a:gd name="connsiteY94" fmla="*/ 33710 h 173359"/>
              <a:gd name="connsiteX95" fmla="*/ 114053 w 151234"/>
              <a:gd name="connsiteY95" fmla="*/ 30933 h 173359"/>
              <a:gd name="connsiteX96" fmla="*/ 116830 w 151234"/>
              <a:gd name="connsiteY96" fmla="*/ 3920 h 173359"/>
              <a:gd name="connsiteX97" fmla="*/ 77612 w 151234"/>
              <a:gd name="connsiteY97" fmla="*/ 2242 h 173359"/>
              <a:gd name="connsiteX98" fmla="*/ 73620 w 151234"/>
              <a:gd name="connsiteY98" fmla="*/ 3399 h 173359"/>
              <a:gd name="connsiteX99" fmla="*/ 72463 w 151234"/>
              <a:gd name="connsiteY99" fmla="*/ 38106 h 173359"/>
              <a:gd name="connsiteX100" fmla="*/ 71422 w 151234"/>
              <a:gd name="connsiteY100" fmla="*/ 39089 h 173359"/>
              <a:gd name="connsiteX101" fmla="*/ 34170 w 151234"/>
              <a:gd name="connsiteY101" fmla="*/ 40767 h 173359"/>
              <a:gd name="connsiteX102" fmla="*/ 22312 w 151234"/>
              <a:gd name="connsiteY102" fmla="*/ 42039 h 17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1234" h="173359">
                <a:moveTo>
                  <a:pt x="61993" y="173230"/>
                </a:moveTo>
                <a:cubicBezTo>
                  <a:pt x="61716" y="173225"/>
                  <a:pt x="61450" y="173120"/>
                  <a:pt x="61241" y="172941"/>
                </a:cubicBezTo>
                <a:cubicBezTo>
                  <a:pt x="54335" y="167949"/>
                  <a:pt x="48736" y="161361"/>
                  <a:pt x="44929" y="153737"/>
                </a:cubicBezTo>
                <a:cubicBezTo>
                  <a:pt x="42251" y="148299"/>
                  <a:pt x="38607" y="143400"/>
                  <a:pt x="34170" y="139276"/>
                </a:cubicBezTo>
                <a:cubicBezTo>
                  <a:pt x="18957" y="124467"/>
                  <a:pt x="14503" y="119320"/>
                  <a:pt x="14041" y="113477"/>
                </a:cubicBezTo>
                <a:cubicBezTo>
                  <a:pt x="12531" y="109989"/>
                  <a:pt x="10414" y="106802"/>
                  <a:pt x="7793" y="104049"/>
                </a:cubicBezTo>
                <a:cubicBezTo>
                  <a:pt x="3513" y="98785"/>
                  <a:pt x="-536" y="93752"/>
                  <a:pt x="-73" y="90455"/>
                </a:cubicBezTo>
                <a:cubicBezTo>
                  <a:pt x="8" y="89588"/>
                  <a:pt x="447" y="88789"/>
                  <a:pt x="1141" y="88257"/>
                </a:cubicBezTo>
                <a:cubicBezTo>
                  <a:pt x="8372" y="82820"/>
                  <a:pt x="11900" y="77325"/>
                  <a:pt x="11611" y="71887"/>
                </a:cubicBezTo>
                <a:cubicBezTo>
                  <a:pt x="11322" y="66450"/>
                  <a:pt x="16875" y="65235"/>
                  <a:pt x="21329" y="63905"/>
                </a:cubicBezTo>
                <a:cubicBezTo>
                  <a:pt x="23643" y="63268"/>
                  <a:pt x="26188" y="62459"/>
                  <a:pt x="26651" y="61533"/>
                </a:cubicBezTo>
                <a:cubicBezTo>
                  <a:pt x="26651" y="61533"/>
                  <a:pt x="26651" y="61533"/>
                  <a:pt x="26651" y="60897"/>
                </a:cubicBezTo>
                <a:cubicBezTo>
                  <a:pt x="25176" y="58560"/>
                  <a:pt x="23203" y="56587"/>
                  <a:pt x="20866" y="55112"/>
                </a:cubicBezTo>
                <a:cubicBezTo>
                  <a:pt x="17974" y="52799"/>
                  <a:pt x="15487" y="50774"/>
                  <a:pt x="15082" y="48576"/>
                </a:cubicBezTo>
                <a:cubicBezTo>
                  <a:pt x="15053" y="47650"/>
                  <a:pt x="15435" y="46760"/>
                  <a:pt x="16123" y="46146"/>
                </a:cubicBezTo>
                <a:cubicBezTo>
                  <a:pt x="17824" y="44394"/>
                  <a:pt x="19316" y="42450"/>
                  <a:pt x="20577" y="40362"/>
                </a:cubicBezTo>
                <a:cubicBezTo>
                  <a:pt x="20750" y="40073"/>
                  <a:pt x="21051" y="39882"/>
                  <a:pt x="21387" y="39841"/>
                </a:cubicBezTo>
                <a:cubicBezTo>
                  <a:pt x="28733" y="38685"/>
                  <a:pt x="32956" y="38164"/>
                  <a:pt x="34170" y="38164"/>
                </a:cubicBezTo>
                <a:cubicBezTo>
                  <a:pt x="39955" y="38164"/>
                  <a:pt x="65175" y="36834"/>
                  <a:pt x="70323" y="36544"/>
                </a:cubicBezTo>
                <a:cubicBezTo>
                  <a:pt x="71677" y="25241"/>
                  <a:pt x="72006" y="13835"/>
                  <a:pt x="71306" y="2474"/>
                </a:cubicBezTo>
                <a:cubicBezTo>
                  <a:pt x="71312" y="1942"/>
                  <a:pt x="71659" y="1468"/>
                  <a:pt x="72174" y="1317"/>
                </a:cubicBezTo>
                <a:lnTo>
                  <a:pt x="77207" y="-129"/>
                </a:lnTo>
                <a:lnTo>
                  <a:pt x="77554" y="-129"/>
                </a:lnTo>
                <a:cubicBezTo>
                  <a:pt x="77554" y="-129"/>
                  <a:pt x="98782" y="912"/>
                  <a:pt x="118045" y="1548"/>
                </a:cubicBezTo>
                <a:cubicBezTo>
                  <a:pt x="118357" y="1572"/>
                  <a:pt x="118646" y="1716"/>
                  <a:pt x="118855" y="1953"/>
                </a:cubicBezTo>
                <a:cubicBezTo>
                  <a:pt x="118988" y="2225"/>
                  <a:pt x="118988" y="2549"/>
                  <a:pt x="118855" y="2821"/>
                </a:cubicBezTo>
                <a:cubicBezTo>
                  <a:pt x="117755" y="11845"/>
                  <a:pt x="115962" y="27000"/>
                  <a:pt x="115962" y="30818"/>
                </a:cubicBezTo>
                <a:cubicBezTo>
                  <a:pt x="115962" y="30818"/>
                  <a:pt x="115962" y="31338"/>
                  <a:pt x="115962" y="31454"/>
                </a:cubicBezTo>
                <a:cubicBezTo>
                  <a:pt x="115962" y="31570"/>
                  <a:pt x="115962" y="31454"/>
                  <a:pt x="116888" y="31454"/>
                </a:cubicBezTo>
                <a:cubicBezTo>
                  <a:pt x="119097" y="31217"/>
                  <a:pt x="121278" y="30713"/>
                  <a:pt x="123366" y="29950"/>
                </a:cubicBezTo>
                <a:cubicBezTo>
                  <a:pt x="127097" y="28643"/>
                  <a:pt x="130990" y="27844"/>
                  <a:pt x="134935" y="27578"/>
                </a:cubicBezTo>
                <a:cubicBezTo>
                  <a:pt x="137509" y="27440"/>
                  <a:pt x="140054" y="28215"/>
                  <a:pt x="142108" y="29776"/>
                </a:cubicBezTo>
                <a:cubicBezTo>
                  <a:pt x="146035" y="32530"/>
                  <a:pt x="148234" y="37140"/>
                  <a:pt x="147892" y="41924"/>
                </a:cubicBezTo>
                <a:cubicBezTo>
                  <a:pt x="146926" y="47118"/>
                  <a:pt x="143398" y="51468"/>
                  <a:pt x="138521" y="53493"/>
                </a:cubicBezTo>
                <a:cubicBezTo>
                  <a:pt x="136069" y="54430"/>
                  <a:pt x="134351" y="56668"/>
                  <a:pt x="134068" y="59277"/>
                </a:cubicBezTo>
                <a:cubicBezTo>
                  <a:pt x="134843" y="65183"/>
                  <a:pt x="138417" y="70354"/>
                  <a:pt x="143670" y="73160"/>
                </a:cubicBezTo>
                <a:cubicBezTo>
                  <a:pt x="151421" y="77787"/>
                  <a:pt x="151247" y="86290"/>
                  <a:pt x="151074" y="97049"/>
                </a:cubicBezTo>
                <a:cubicBezTo>
                  <a:pt x="151074" y="98900"/>
                  <a:pt x="151074" y="100809"/>
                  <a:pt x="151074" y="102834"/>
                </a:cubicBezTo>
                <a:cubicBezTo>
                  <a:pt x="151074" y="116774"/>
                  <a:pt x="151074" y="134128"/>
                  <a:pt x="141761" y="135978"/>
                </a:cubicBezTo>
                <a:cubicBezTo>
                  <a:pt x="140795" y="136210"/>
                  <a:pt x="139806" y="136325"/>
                  <a:pt x="138811" y="136325"/>
                </a:cubicBezTo>
                <a:cubicBezTo>
                  <a:pt x="135762" y="136181"/>
                  <a:pt x="132778" y="135435"/>
                  <a:pt x="130018" y="134128"/>
                </a:cubicBezTo>
                <a:cubicBezTo>
                  <a:pt x="127421" y="132785"/>
                  <a:pt x="124477" y="132265"/>
                  <a:pt x="121573" y="132624"/>
                </a:cubicBezTo>
                <a:cubicBezTo>
                  <a:pt x="121191" y="132676"/>
                  <a:pt x="120798" y="132676"/>
                  <a:pt x="120416" y="132624"/>
                </a:cubicBezTo>
                <a:cubicBezTo>
                  <a:pt x="116714" y="132624"/>
                  <a:pt x="114632" y="128112"/>
                  <a:pt x="112434" y="123715"/>
                </a:cubicBezTo>
                <a:cubicBezTo>
                  <a:pt x="110236" y="119320"/>
                  <a:pt x="108616" y="115675"/>
                  <a:pt x="106071" y="115675"/>
                </a:cubicBezTo>
                <a:cubicBezTo>
                  <a:pt x="103526" y="115675"/>
                  <a:pt x="103121" y="117989"/>
                  <a:pt x="102080" y="121749"/>
                </a:cubicBezTo>
                <a:cubicBezTo>
                  <a:pt x="101038" y="125509"/>
                  <a:pt x="99592" y="130831"/>
                  <a:pt x="94271" y="130831"/>
                </a:cubicBezTo>
                <a:lnTo>
                  <a:pt x="91668" y="130831"/>
                </a:lnTo>
                <a:cubicBezTo>
                  <a:pt x="86635" y="130831"/>
                  <a:pt x="80099" y="130831"/>
                  <a:pt x="78190" y="133607"/>
                </a:cubicBezTo>
                <a:cubicBezTo>
                  <a:pt x="76993" y="135973"/>
                  <a:pt x="76993" y="138761"/>
                  <a:pt x="78190" y="141127"/>
                </a:cubicBezTo>
                <a:cubicBezTo>
                  <a:pt x="78768" y="142689"/>
                  <a:pt x="79347" y="144135"/>
                  <a:pt x="79925" y="145523"/>
                </a:cubicBezTo>
                <a:cubicBezTo>
                  <a:pt x="82817" y="152927"/>
                  <a:pt x="84900" y="158249"/>
                  <a:pt x="82586" y="161604"/>
                </a:cubicBezTo>
                <a:cubicBezTo>
                  <a:pt x="81198" y="163686"/>
                  <a:pt x="78421" y="164611"/>
                  <a:pt x="73794" y="164611"/>
                </a:cubicBezTo>
                <a:cubicBezTo>
                  <a:pt x="68744" y="164681"/>
                  <a:pt x="64122" y="167469"/>
                  <a:pt x="61704" y="171900"/>
                </a:cubicBezTo>
                <a:cubicBezTo>
                  <a:pt x="61537" y="172172"/>
                  <a:pt x="61265" y="172357"/>
                  <a:pt x="60952" y="172421"/>
                </a:cubicBezTo>
                <a:close/>
                <a:moveTo>
                  <a:pt x="22486" y="42039"/>
                </a:moveTo>
                <a:cubicBezTo>
                  <a:pt x="21184" y="44116"/>
                  <a:pt x="19669" y="46054"/>
                  <a:pt x="17974" y="47824"/>
                </a:cubicBezTo>
                <a:cubicBezTo>
                  <a:pt x="17766" y="47997"/>
                  <a:pt x="17644" y="48246"/>
                  <a:pt x="17627" y="48518"/>
                </a:cubicBezTo>
                <a:cubicBezTo>
                  <a:pt x="17627" y="49733"/>
                  <a:pt x="20172" y="51700"/>
                  <a:pt x="22312" y="53435"/>
                </a:cubicBezTo>
                <a:cubicBezTo>
                  <a:pt x="24973" y="55182"/>
                  <a:pt x="27177" y="57542"/>
                  <a:pt x="28733" y="60318"/>
                </a:cubicBezTo>
                <a:cubicBezTo>
                  <a:pt x="29097" y="61105"/>
                  <a:pt x="29097" y="62019"/>
                  <a:pt x="28733" y="62806"/>
                </a:cubicBezTo>
                <a:cubicBezTo>
                  <a:pt x="27865" y="64599"/>
                  <a:pt x="25147" y="65351"/>
                  <a:pt x="22081" y="66334"/>
                </a:cubicBezTo>
                <a:cubicBezTo>
                  <a:pt x="17164" y="67722"/>
                  <a:pt x="13751" y="68995"/>
                  <a:pt x="13925" y="72118"/>
                </a:cubicBezTo>
                <a:cubicBezTo>
                  <a:pt x="14272" y="78308"/>
                  <a:pt x="10454" y="84497"/>
                  <a:pt x="2356" y="90455"/>
                </a:cubicBezTo>
                <a:cubicBezTo>
                  <a:pt x="2125" y="90588"/>
                  <a:pt x="1974" y="90825"/>
                  <a:pt x="1951" y="91092"/>
                </a:cubicBezTo>
                <a:cubicBezTo>
                  <a:pt x="1951" y="93463"/>
                  <a:pt x="5942" y="98727"/>
                  <a:pt x="9355" y="103007"/>
                </a:cubicBezTo>
                <a:cubicBezTo>
                  <a:pt x="12375" y="106004"/>
                  <a:pt x="14689" y="109642"/>
                  <a:pt x="16123" y="113651"/>
                </a:cubicBezTo>
                <a:cubicBezTo>
                  <a:pt x="16470" y="118394"/>
                  <a:pt x="20114" y="122963"/>
                  <a:pt x="35559" y="138003"/>
                </a:cubicBezTo>
                <a:cubicBezTo>
                  <a:pt x="40175" y="142289"/>
                  <a:pt x="43958" y="147386"/>
                  <a:pt x="46723" y="153043"/>
                </a:cubicBezTo>
                <a:cubicBezTo>
                  <a:pt x="50228" y="160042"/>
                  <a:pt x="55318" y="166121"/>
                  <a:pt x="61589" y="170801"/>
                </a:cubicBezTo>
                <a:cubicBezTo>
                  <a:pt x="64463" y="166260"/>
                  <a:pt x="69461" y="163512"/>
                  <a:pt x="74835" y="163512"/>
                </a:cubicBezTo>
                <a:cubicBezTo>
                  <a:pt x="78595" y="163512"/>
                  <a:pt x="80619" y="162876"/>
                  <a:pt x="81776" y="161488"/>
                </a:cubicBezTo>
                <a:cubicBezTo>
                  <a:pt x="83396" y="159116"/>
                  <a:pt x="81371" y="154026"/>
                  <a:pt x="78826" y="147547"/>
                </a:cubicBezTo>
                <a:cubicBezTo>
                  <a:pt x="78306" y="146159"/>
                  <a:pt x="77669" y="144655"/>
                  <a:pt x="77091" y="143094"/>
                </a:cubicBezTo>
                <a:cubicBezTo>
                  <a:pt x="75454" y="140103"/>
                  <a:pt x="75454" y="136482"/>
                  <a:pt x="77091" y="133491"/>
                </a:cubicBezTo>
                <a:cubicBezTo>
                  <a:pt x="79810" y="129500"/>
                  <a:pt x="86635" y="129616"/>
                  <a:pt x="92478" y="129732"/>
                </a:cubicBezTo>
                <a:lnTo>
                  <a:pt x="95023" y="129732"/>
                </a:lnTo>
                <a:cubicBezTo>
                  <a:pt x="98377" y="129732"/>
                  <a:pt x="99419" y="126839"/>
                  <a:pt x="100807" y="122327"/>
                </a:cubicBezTo>
                <a:cubicBezTo>
                  <a:pt x="102195" y="117816"/>
                  <a:pt x="102947" y="114576"/>
                  <a:pt x="106997" y="114576"/>
                </a:cubicBezTo>
                <a:cubicBezTo>
                  <a:pt x="111045" y="114576"/>
                  <a:pt x="113243" y="119320"/>
                  <a:pt x="115442" y="123889"/>
                </a:cubicBezTo>
                <a:cubicBezTo>
                  <a:pt x="117640" y="128459"/>
                  <a:pt x="119086" y="131525"/>
                  <a:pt x="121226" y="131525"/>
                </a:cubicBezTo>
                <a:lnTo>
                  <a:pt x="121805" y="131525"/>
                </a:lnTo>
                <a:cubicBezTo>
                  <a:pt x="122620" y="131345"/>
                  <a:pt x="123453" y="131247"/>
                  <a:pt x="124292" y="131236"/>
                </a:cubicBezTo>
                <a:cubicBezTo>
                  <a:pt x="126843" y="131386"/>
                  <a:pt x="129336" y="132034"/>
                  <a:pt x="131638" y="133144"/>
                </a:cubicBezTo>
                <a:cubicBezTo>
                  <a:pt x="134883" y="134741"/>
                  <a:pt x="138521" y="135348"/>
                  <a:pt x="142108" y="134879"/>
                </a:cubicBezTo>
                <a:cubicBezTo>
                  <a:pt x="149628" y="133376"/>
                  <a:pt x="149628" y="116369"/>
                  <a:pt x="149628" y="103933"/>
                </a:cubicBezTo>
                <a:cubicBezTo>
                  <a:pt x="149628" y="101908"/>
                  <a:pt x="149628" y="99942"/>
                  <a:pt x="149628" y="98148"/>
                </a:cubicBezTo>
                <a:cubicBezTo>
                  <a:pt x="149628" y="87736"/>
                  <a:pt x="149975" y="80217"/>
                  <a:pt x="143323" y="76283"/>
                </a:cubicBezTo>
                <a:cubicBezTo>
                  <a:pt x="137359" y="73033"/>
                  <a:pt x="133362" y="67069"/>
                  <a:pt x="132621" y="60318"/>
                </a:cubicBezTo>
                <a:cubicBezTo>
                  <a:pt x="132835" y="56743"/>
                  <a:pt x="135085" y="53614"/>
                  <a:pt x="138406" y="52278"/>
                </a:cubicBezTo>
                <a:cubicBezTo>
                  <a:pt x="142628" y="50595"/>
                  <a:pt x="145688" y="46858"/>
                  <a:pt x="146504" y="42386"/>
                </a:cubicBezTo>
                <a:cubicBezTo>
                  <a:pt x="146747" y="38366"/>
                  <a:pt x="144884" y="34514"/>
                  <a:pt x="141587" y="32206"/>
                </a:cubicBezTo>
                <a:cubicBezTo>
                  <a:pt x="139904" y="31014"/>
                  <a:pt x="137868" y="30424"/>
                  <a:pt x="135803" y="30528"/>
                </a:cubicBezTo>
                <a:cubicBezTo>
                  <a:pt x="131974" y="30766"/>
                  <a:pt x="128196" y="31547"/>
                  <a:pt x="124581" y="32842"/>
                </a:cubicBezTo>
                <a:cubicBezTo>
                  <a:pt x="120127" y="34173"/>
                  <a:pt x="116714" y="35040"/>
                  <a:pt x="115094" y="33710"/>
                </a:cubicBezTo>
                <a:cubicBezTo>
                  <a:pt x="114273" y="33039"/>
                  <a:pt x="113874" y="31981"/>
                  <a:pt x="114053" y="30933"/>
                </a:cubicBezTo>
                <a:cubicBezTo>
                  <a:pt x="114053" y="27405"/>
                  <a:pt x="115384" y="15778"/>
                  <a:pt x="116830" y="3920"/>
                </a:cubicBezTo>
                <a:cubicBezTo>
                  <a:pt x="98782" y="3284"/>
                  <a:pt x="79752" y="2358"/>
                  <a:pt x="77612" y="2242"/>
                </a:cubicBezTo>
                <a:lnTo>
                  <a:pt x="73620" y="3399"/>
                </a:lnTo>
                <a:cubicBezTo>
                  <a:pt x="74297" y="14980"/>
                  <a:pt x="73909" y="26595"/>
                  <a:pt x="72463" y="38106"/>
                </a:cubicBezTo>
                <a:cubicBezTo>
                  <a:pt x="72388" y="38632"/>
                  <a:pt x="71954" y="39043"/>
                  <a:pt x="71422" y="39089"/>
                </a:cubicBezTo>
                <a:cubicBezTo>
                  <a:pt x="70149" y="39089"/>
                  <a:pt x="40880" y="40767"/>
                  <a:pt x="34170" y="40767"/>
                </a:cubicBezTo>
                <a:cubicBezTo>
                  <a:pt x="33071" y="40478"/>
                  <a:pt x="29022" y="40998"/>
                  <a:pt x="22312" y="4203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1" name="Forma libre: forma 310">
            <a:extLst>
              <a:ext uri="{FF2B5EF4-FFF2-40B4-BE49-F238E27FC236}">
                <a16:creationId xmlns:a16="http://schemas.microsoft.com/office/drawing/2014/main" id="{32E66F0D-44F8-DA8A-71F6-FC774007AA48}"/>
              </a:ext>
            </a:extLst>
          </p:cNvPr>
          <p:cNvSpPr/>
          <p:nvPr/>
        </p:nvSpPr>
        <p:spPr>
          <a:xfrm>
            <a:off x="6444458" y="4417853"/>
            <a:ext cx="59634" cy="40862"/>
          </a:xfrm>
          <a:custGeom>
            <a:avLst/>
            <a:gdLst>
              <a:gd name="connsiteX0" fmla="*/ 7217 w 59634"/>
              <a:gd name="connsiteY0" fmla="*/ 40734 h 40862"/>
              <a:gd name="connsiteX1" fmla="*/ 6233 w 59634"/>
              <a:gd name="connsiteY1" fmla="*/ 40213 h 40862"/>
              <a:gd name="connsiteX2" fmla="*/ 6233 w 59634"/>
              <a:gd name="connsiteY2" fmla="*/ 38941 h 40862"/>
              <a:gd name="connsiteX3" fmla="*/ 7853 w 59634"/>
              <a:gd name="connsiteY3" fmla="*/ 34255 h 40862"/>
              <a:gd name="connsiteX4" fmla="*/ 6118 w 59634"/>
              <a:gd name="connsiteY4" fmla="*/ 33561 h 40862"/>
              <a:gd name="connsiteX5" fmla="*/ -72 w 59634"/>
              <a:gd name="connsiteY5" fmla="*/ 28760 h 40862"/>
              <a:gd name="connsiteX6" fmla="*/ 7043 w 59634"/>
              <a:gd name="connsiteY6" fmla="*/ 20430 h 40862"/>
              <a:gd name="connsiteX7" fmla="*/ 14158 w 59634"/>
              <a:gd name="connsiteY7" fmla="*/ 13721 h 40862"/>
              <a:gd name="connsiteX8" fmla="*/ 12943 w 59634"/>
              <a:gd name="connsiteY8" fmla="*/ 4407 h 40862"/>
              <a:gd name="connsiteX9" fmla="*/ 12596 w 59634"/>
              <a:gd name="connsiteY9" fmla="*/ 3598 h 40862"/>
              <a:gd name="connsiteX10" fmla="*/ 12596 w 59634"/>
              <a:gd name="connsiteY10" fmla="*/ 2441 h 40862"/>
              <a:gd name="connsiteX11" fmla="*/ 13522 w 59634"/>
              <a:gd name="connsiteY11" fmla="*/ 1805 h 40862"/>
              <a:gd name="connsiteX12" fmla="*/ 51178 w 59634"/>
              <a:gd name="connsiteY12" fmla="*/ 1805 h 40862"/>
              <a:gd name="connsiteX13" fmla="*/ 57772 w 59634"/>
              <a:gd name="connsiteY13" fmla="*/ -46 h 40862"/>
              <a:gd name="connsiteX14" fmla="*/ 58698 w 59634"/>
              <a:gd name="connsiteY14" fmla="*/ -46 h 40862"/>
              <a:gd name="connsiteX15" fmla="*/ 59161 w 59634"/>
              <a:gd name="connsiteY15" fmla="*/ 821 h 40862"/>
              <a:gd name="connsiteX16" fmla="*/ 58062 w 59634"/>
              <a:gd name="connsiteY16" fmla="*/ 36222 h 40862"/>
              <a:gd name="connsiteX17" fmla="*/ 57020 w 59634"/>
              <a:gd name="connsiteY17" fmla="*/ 37205 h 40862"/>
              <a:gd name="connsiteX18" fmla="*/ 19769 w 59634"/>
              <a:gd name="connsiteY18" fmla="*/ 38883 h 40862"/>
              <a:gd name="connsiteX19" fmla="*/ 7332 w 59634"/>
              <a:gd name="connsiteY19" fmla="*/ 40503 h 40862"/>
              <a:gd name="connsiteX20" fmla="*/ 15430 w 59634"/>
              <a:gd name="connsiteY20" fmla="*/ 4060 h 40862"/>
              <a:gd name="connsiteX21" fmla="*/ 16298 w 59634"/>
              <a:gd name="connsiteY21" fmla="*/ 14473 h 40862"/>
              <a:gd name="connsiteX22" fmla="*/ 7737 w 59634"/>
              <a:gd name="connsiteY22" fmla="*/ 22571 h 40862"/>
              <a:gd name="connsiteX23" fmla="*/ 1953 w 59634"/>
              <a:gd name="connsiteY23" fmla="*/ 28355 h 40862"/>
              <a:gd name="connsiteX24" fmla="*/ 6002 w 59634"/>
              <a:gd name="connsiteY24" fmla="*/ 31247 h 40862"/>
              <a:gd name="connsiteX25" fmla="*/ 9646 w 59634"/>
              <a:gd name="connsiteY25" fmla="*/ 33156 h 40862"/>
              <a:gd name="connsiteX26" fmla="*/ 9126 w 59634"/>
              <a:gd name="connsiteY26" fmla="*/ 38015 h 40862"/>
              <a:gd name="connsiteX27" fmla="*/ 19595 w 59634"/>
              <a:gd name="connsiteY27" fmla="*/ 36685 h 40862"/>
              <a:gd name="connsiteX28" fmla="*/ 55748 w 59634"/>
              <a:gd name="connsiteY28" fmla="*/ 35065 h 40862"/>
              <a:gd name="connsiteX29" fmla="*/ 56847 w 59634"/>
              <a:gd name="connsiteY29" fmla="*/ 2383 h 40862"/>
              <a:gd name="connsiteX30" fmla="*/ 51468 w 59634"/>
              <a:gd name="connsiteY30" fmla="*/ 3945 h 40862"/>
              <a:gd name="connsiteX31" fmla="*/ 15199 w 59634"/>
              <a:gd name="connsiteY31" fmla="*/ 3945 h 4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9634" h="40862">
                <a:moveTo>
                  <a:pt x="7217" y="40734"/>
                </a:moveTo>
                <a:cubicBezTo>
                  <a:pt x="6823" y="40722"/>
                  <a:pt x="6465" y="40525"/>
                  <a:pt x="6233" y="40213"/>
                </a:cubicBezTo>
                <a:cubicBezTo>
                  <a:pt x="6008" y="39820"/>
                  <a:pt x="6008" y="39334"/>
                  <a:pt x="6233" y="38941"/>
                </a:cubicBezTo>
                <a:cubicBezTo>
                  <a:pt x="8316" y="35759"/>
                  <a:pt x="8026" y="34544"/>
                  <a:pt x="7853" y="34255"/>
                </a:cubicBezTo>
                <a:cubicBezTo>
                  <a:pt x="7679" y="33966"/>
                  <a:pt x="6754" y="33619"/>
                  <a:pt x="6118" y="33561"/>
                </a:cubicBezTo>
                <a:cubicBezTo>
                  <a:pt x="3121" y="33816"/>
                  <a:pt x="432" y="31727"/>
                  <a:pt x="-72" y="28760"/>
                </a:cubicBezTo>
                <a:cubicBezTo>
                  <a:pt x="-419" y="25926"/>
                  <a:pt x="1606" y="22281"/>
                  <a:pt x="7043" y="20430"/>
                </a:cubicBezTo>
                <a:cubicBezTo>
                  <a:pt x="10352" y="19464"/>
                  <a:pt x="13001" y="16965"/>
                  <a:pt x="14158" y="13721"/>
                </a:cubicBezTo>
                <a:cubicBezTo>
                  <a:pt x="15245" y="10597"/>
                  <a:pt x="14794" y="7144"/>
                  <a:pt x="12943" y="4407"/>
                </a:cubicBezTo>
                <a:cubicBezTo>
                  <a:pt x="12787" y="4159"/>
                  <a:pt x="12671" y="3881"/>
                  <a:pt x="12596" y="3598"/>
                </a:cubicBezTo>
                <a:cubicBezTo>
                  <a:pt x="12388" y="3239"/>
                  <a:pt x="12388" y="2800"/>
                  <a:pt x="12596" y="2441"/>
                </a:cubicBezTo>
                <a:cubicBezTo>
                  <a:pt x="12764" y="2077"/>
                  <a:pt x="13117" y="1834"/>
                  <a:pt x="13522" y="1805"/>
                </a:cubicBezTo>
                <a:lnTo>
                  <a:pt x="51178" y="1805"/>
                </a:lnTo>
                <a:lnTo>
                  <a:pt x="57772" y="-46"/>
                </a:lnTo>
                <a:cubicBezTo>
                  <a:pt x="58073" y="-157"/>
                  <a:pt x="58397" y="-157"/>
                  <a:pt x="58698" y="-46"/>
                </a:cubicBezTo>
                <a:cubicBezTo>
                  <a:pt x="58981" y="156"/>
                  <a:pt x="59149" y="474"/>
                  <a:pt x="59161" y="821"/>
                </a:cubicBezTo>
                <a:cubicBezTo>
                  <a:pt x="59890" y="12633"/>
                  <a:pt x="59525" y="24480"/>
                  <a:pt x="58062" y="36222"/>
                </a:cubicBezTo>
                <a:cubicBezTo>
                  <a:pt x="57981" y="36748"/>
                  <a:pt x="57553" y="37159"/>
                  <a:pt x="57020" y="37205"/>
                </a:cubicBezTo>
                <a:cubicBezTo>
                  <a:pt x="55748" y="37205"/>
                  <a:pt x="26479" y="38883"/>
                  <a:pt x="19769" y="38883"/>
                </a:cubicBezTo>
                <a:cubicBezTo>
                  <a:pt x="18496" y="38883"/>
                  <a:pt x="14331" y="39403"/>
                  <a:pt x="7332" y="40503"/>
                </a:cubicBezTo>
                <a:close/>
                <a:moveTo>
                  <a:pt x="15430" y="4060"/>
                </a:moveTo>
                <a:cubicBezTo>
                  <a:pt x="17148" y="7259"/>
                  <a:pt x="17461" y="11031"/>
                  <a:pt x="16298" y="14473"/>
                </a:cubicBezTo>
                <a:cubicBezTo>
                  <a:pt x="14916" y="18394"/>
                  <a:pt x="11729" y="21408"/>
                  <a:pt x="7737" y="22571"/>
                </a:cubicBezTo>
                <a:cubicBezTo>
                  <a:pt x="3572" y="24017"/>
                  <a:pt x="1953" y="26562"/>
                  <a:pt x="1953" y="28355"/>
                </a:cubicBezTo>
                <a:cubicBezTo>
                  <a:pt x="1953" y="30148"/>
                  <a:pt x="3746" y="31074"/>
                  <a:pt x="6002" y="31247"/>
                </a:cubicBezTo>
                <a:cubicBezTo>
                  <a:pt x="7488" y="31103"/>
                  <a:pt x="8917" y="31855"/>
                  <a:pt x="9646" y="33156"/>
                </a:cubicBezTo>
                <a:cubicBezTo>
                  <a:pt x="10254" y="34764"/>
                  <a:pt x="10057" y="36569"/>
                  <a:pt x="9126" y="38015"/>
                </a:cubicBezTo>
                <a:cubicBezTo>
                  <a:pt x="12590" y="37385"/>
                  <a:pt x="16084" y="36939"/>
                  <a:pt x="19595" y="36685"/>
                </a:cubicBezTo>
                <a:cubicBezTo>
                  <a:pt x="25380" y="36685"/>
                  <a:pt x="50600" y="35354"/>
                  <a:pt x="55748" y="35065"/>
                </a:cubicBezTo>
                <a:cubicBezTo>
                  <a:pt x="57038" y="24219"/>
                  <a:pt x="57408" y="13287"/>
                  <a:pt x="56847" y="2383"/>
                </a:cubicBezTo>
                <a:lnTo>
                  <a:pt x="51468" y="3945"/>
                </a:lnTo>
                <a:lnTo>
                  <a:pt x="15199" y="3945"/>
                </a:ln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2" name="Forma libre: forma 311">
            <a:extLst>
              <a:ext uri="{FF2B5EF4-FFF2-40B4-BE49-F238E27FC236}">
                <a16:creationId xmlns:a16="http://schemas.microsoft.com/office/drawing/2014/main" id="{9D0F6300-9912-DBA9-EEF3-2A58832AE7C5}"/>
              </a:ext>
            </a:extLst>
          </p:cNvPr>
          <p:cNvSpPr/>
          <p:nvPr/>
        </p:nvSpPr>
        <p:spPr>
          <a:xfrm>
            <a:off x="6491221" y="4377984"/>
            <a:ext cx="193800" cy="243042"/>
          </a:xfrm>
          <a:custGeom>
            <a:avLst/>
            <a:gdLst>
              <a:gd name="connsiteX0" fmla="*/ 27032 w 193800"/>
              <a:gd name="connsiteY0" fmla="*/ 242914 h 243042"/>
              <a:gd name="connsiteX1" fmla="*/ 27032 w 193800"/>
              <a:gd name="connsiteY1" fmla="*/ 242914 h 243042"/>
              <a:gd name="connsiteX2" fmla="*/ 26280 w 193800"/>
              <a:gd name="connsiteY2" fmla="*/ 242336 h 243042"/>
              <a:gd name="connsiteX3" fmla="*/ 3143 w 193800"/>
              <a:gd name="connsiteY3" fmla="*/ 213934 h 243042"/>
              <a:gd name="connsiteX4" fmla="*/ 366 w 193800"/>
              <a:gd name="connsiteY4" fmla="*/ 211620 h 243042"/>
              <a:gd name="connsiteX5" fmla="*/ 19 w 193800"/>
              <a:gd name="connsiteY5" fmla="*/ 210116 h 243042"/>
              <a:gd name="connsiteX6" fmla="*/ 14017 w 193800"/>
              <a:gd name="connsiteY6" fmla="*/ 201787 h 243042"/>
              <a:gd name="connsiteX7" fmla="*/ 20959 w 193800"/>
              <a:gd name="connsiteY7" fmla="*/ 199762 h 243042"/>
              <a:gd name="connsiteX8" fmla="*/ 18009 w 193800"/>
              <a:gd name="connsiteY8" fmla="*/ 185822 h 243042"/>
              <a:gd name="connsiteX9" fmla="*/ 16273 w 193800"/>
              <a:gd name="connsiteY9" fmla="*/ 181367 h 243042"/>
              <a:gd name="connsiteX10" fmla="*/ 16273 w 193800"/>
              <a:gd name="connsiteY10" fmla="*/ 171765 h 243042"/>
              <a:gd name="connsiteX11" fmla="*/ 31660 w 193800"/>
              <a:gd name="connsiteY11" fmla="*/ 168005 h 243042"/>
              <a:gd name="connsiteX12" fmla="*/ 34205 w 193800"/>
              <a:gd name="connsiteY12" fmla="*/ 168005 h 243042"/>
              <a:gd name="connsiteX13" fmla="*/ 39989 w 193800"/>
              <a:gd name="connsiteY13" fmla="*/ 160602 h 243042"/>
              <a:gd name="connsiteX14" fmla="*/ 46179 w 193800"/>
              <a:gd name="connsiteY14" fmla="*/ 152850 h 243042"/>
              <a:gd name="connsiteX15" fmla="*/ 54624 w 193800"/>
              <a:gd name="connsiteY15" fmla="*/ 162163 h 243042"/>
              <a:gd name="connsiteX16" fmla="*/ 60409 w 193800"/>
              <a:gd name="connsiteY16" fmla="*/ 169799 h 243042"/>
              <a:gd name="connsiteX17" fmla="*/ 60987 w 193800"/>
              <a:gd name="connsiteY17" fmla="*/ 169799 h 243042"/>
              <a:gd name="connsiteX18" fmla="*/ 63474 w 193800"/>
              <a:gd name="connsiteY18" fmla="*/ 169509 h 243042"/>
              <a:gd name="connsiteX19" fmla="*/ 70821 w 193800"/>
              <a:gd name="connsiteY19" fmla="*/ 171418 h 243042"/>
              <a:gd name="connsiteX20" fmla="*/ 81290 w 193800"/>
              <a:gd name="connsiteY20" fmla="*/ 173154 h 243042"/>
              <a:gd name="connsiteX21" fmla="*/ 88810 w 193800"/>
              <a:gd name="connsiteY21" fmla="*/ 142207 h 243042"/>
              <a:gd name="connsiteX22" fmla="*/ 88810 w 193800"/>
              <a:gd name="connsiteY22" fmla="*/ 136423 h 243042"/>
              <a:gd name="connsiteX23" fmla="*/ 82505 w 193800"/>
              <a:gd name="connsiteY23" fmla="*/ 114557 h 243042"/>
              <a:gd name="connsiteX24" fmla="*/ 71804 w 193800"/>
              <a:gd name="connsiteY24" fmla="*/ 98592 h 243042"/>
              <a:gd name="connsiteX25" fmla="*/ 77588 w 193800"/>
              <a:gd name="connsiteY25" fmla="*/ 90552 h 243042"/>
              <a:gd name="connsiteX26" fmla="*/ 85687 w 193800"/>
              <a:gd name="connsiteY26" fmla="*/ 80661 h 243042"/>
              <a:gd name="connsiteX27" fmla="*/ 80770 w 193800"/>
              <a:gd name="connsiteY27" fmla="*/ 70480 h 243042"/>
              <a:gd name="connsiteX28" fmla="*/ 74985 w 193800"/>
              <a:gd name="connsiteY28" fmla="*/ 68803 h 243042"/>
              <a:gd name="connsiteX29" fmla="*/ 63763 w 193800"/>
              <a:gd name="connsiteY29" fmla="*/ 71116 h 243042"/>
              <a:gd name="connsiteX30" fmla="*/ 56649 w 193800"/>
              <a:gd name="connsiteY30" fmla="*/ 72678 h 243042"/>
              <a:gd name="connsiteX31" fmla="*/ 53062 w 193800"/>
              <a:gd name="connsiteY31" fmla="*/ 70544 h 243042"/>
              <a:gd name="connsiteX32" fmla="*/ 53004 w 193800"/>
              <a:gd name="connsiteY32" fmla="*/ 69381 h 243042"/>
              <a:gd name="connsiteX33" fmla="*/ 55897 w 193800"/>
              <a:gd name="connsiteY33" fmla="*/ 41153 h 243042"/>
              <a:gd name="connsiteX34" fmla="*/ 57054 w 193800"/>
              <a:gd name="connsiteY34" fmla="*/ 40112 h 243042"/>
              <a:gd name="connsiteX35" fmla="*/ 57054 w 193800"/>
              <a:gd name="connsiteY35" fmla="*/ 40112 h 243042"/>
              <a:gd name="connsiteX36" fmla="*/ 88636 w 193800"/>
              <a:gd name="connsiteY36" fmla="*/ 40112 h 243042"/>
              <a:gd name="connsiteX37" fmla="*/ 90372 w 193800"/>
              <a:gd name="connsiteY37" fmla="*/ 40112 h 243042"/>
              <a:gd name="connsiteX38" fmla="*/ 126698 w 193800"/>
              <a:gd name="connsiteY38" fmla="*/ 53127 h 243042"/>
              <a:gd name="connsiteX39" fmla="*/ 135143 w 193800"/>
              <a:gd name="connsiteY39" fmla="*/ 27213 h 243042"/>
              <a:gd name="connsiteX40" fmla="*/ 140002 w 193800"/>
              <a:gd name="connsiteY40" fmla="*/ 7835 h 243042"/>
              <a:gd name="connsiteX41" fmla="*/ 140870 w 193800"/>
              <a:gd name="connsiteY41" fmla="*/ 6562 h 243042"/>
              <a:gd name="connsiteX42" fmla="*/ 156025 w 193800"/>
              <a:gd name="connsiteY42" fmla="*/ 3207 h 243042"/>
              <a:gd name="connsiteX43" fmla="*/ 167594 w 193800"/>
              <a:gd name="connsiteY43" fmla="*/ -90 h 243042"/>
              <a:gd name="connsiteX44" fmla="*/ 168057 w 193800"/>
              <a:gd name="connsiteY44" fmla="*/ -90 h 243042"/>
              <a:gd name="connsiteX45" fmla="*/ 191194 w 193800"/>
              <a:gd name="connsiteY45" fmla="*/ 3207 h 243042"/>
              <a:gd name="connsiteX46" fmla="*/ 191831 w 193800"/>
              <a:gd name="connsiteY46" fmla="*/ 3207 h 243042"/>
              <a:gd name="connsiteX47" fmla="*/ 192930 w 193800"/>
              <a:gd name="connsiteY47" fmla="*/ 4017 h 243042"/>
              <a:gd name="connsiteX48" fmla="*/ 188707 w 193800"/>
              <a:gd name="connsiteY48" fmla="*/ 32939 h 243042"/>
              <a:gd name="connsiteX49" fmla="*/ 185757 w 193800"/>
              <a:gd name="connsiteY49" fmla="*/ 37451 h 243042"/>
              <a:gd name="connsiteX50" fmla="*/ 178758 w 193800"/>
              <a:gd name="connsiteY50" fmla="*/ 61051 h 243042"/>
              <a:gd name="connsiteX51" fmla="*/ 167652 w 193800"/>
              <a:gd name="connsiteY51" fmla="*/ 93329 h 243042"/>
              <a:gd name="connsiteX52" fmla="*/ 158454 w 193800"/>
              <a:gd name="connsiteY52" fmla="*/ 118549 h 243042"/>
              <a:gd name="connsiteX53" fmla="*/ 144167 w 193800"/>
              <a:gd name="connsiteY53" fmla="*/ 138158 h 243042"/>
              <a:gd name="connsiteX54" fmla="*/ 134854 w 193800"/>
              <a:gd name="connsiteY54" fmla="*/ 148917 h 243042"/>
              <a:gd name="connsiteX55" fmla="*/ 134218 w 193800"/>
              <a:gd name="connsiteY55" fmla="*/ 163436 h 243042"/>
              <a:gd name="connsiteX56" fmla="*/ 133176 w 193800"/>
              <a:gd name="connsiteY56" fmla="*/ 194498 h 243042"/>
              <a:gd name="connsiteX57" fmla="*/ 127045 w 193800"/>
              <a:gd name="connsiteY57" fmla="*/ 206067 h 243042"/>
              <a:gd name="connsiteX58" fmla="*/ 122996 w 193800"/>
              <a:gd name="connsiteY58" fmla="*/ 214455 h 243042"/>
              <a:gd name="connsiteX59" fmla="*/ 114724 w 193800"/>
              <a:gd name="connsiteY59" fmla="*/ 226660 h 243042"/>
              <a:gd name="connsiteX60" fmla="*/ 105816 w 193800"/>
              <a:gd name="connsiteY60" fmla="*/ 230477 h 243042"/>
              <a:gd name="connsiteX61" fmla="*/ 95404 w 193800"/>
              <a:gd name="connsiteY61" fmla="*/ 238055 h 243042"/>
              <a:gd name="connsiteX62" fmla="*/ 92049 w 193800"/>
              <a:gd name="connsiteY62" fmla="*/ 231403 h 243042"/>
              <a:gd name="connsiteX63" fmla="*/ 84703 w 193800"/>
              <a:gd name="connsiteY63" fmla="*/ 225214 h 243042"/>
              <a:gd name="connsiteX64" fmla="*/ 71920 w 193800"/>
              <a:gd name="connsiteY64" fmla="*/ 230535 h 243042"/>
              <a:gd name="connsiteX65" fmla="*/ 63243 w 193800"/>
              <a:gd name="connsiteY65" fmla="*/ 234468 h 243042"/>
              <a:gd name="connsiteX66" fmla="*/ 55839 w 193800"/>
              <a:gd name="connsiteY66" fmla="*/ 231229 h 243042"/>
              <a:gd name="connsiteX67" fmla="*/ 52310 w 193800"/>
              <a:gd name="connsiteY67" fmla="*/ 229031 h 243042"/>
              <a:gd name="connsiteX68" fmla="*/ 52310 w 193800"/>
              <a:gd name="connsiteY68" fmla="*/ 229031 h 243042"/>
              <a:gd name="connsiteX69" fmla="*/ 27784 w 193800"/>
              <a:gd name="connsiteY69" fmla="*/ 242451 h 243042"/>
              <a:gd name="connsiteX70" fmla="*/ 27032 w 193800"/>
              <a:gd name="connsiteY70" fmla="*/ 242914 h 243042"/>
              <a:gd name="connsiteX71" fmla="*/ 2275 w 193800"/>
              <a:gd name="connsiteY71" fmla="*/ 210521 h 243042"/>
              <a:gd name="connsiteX72" fmla="*/ 4300 w 193800"/>
              <a:gd name="connsiteY72" fmla="*/ 212083 h 243042"/>
              <a:gd name="connsiteX73" fmla="*/ 27437 w 193800"/>
              <a:gd name="connsiteY73" fmla="*/ 240137 h 243042"/>
              <a:gd name="connsiteX74" fmla="*/ 51963 w 193800"/>
              <a:gd name="connsiteY74" fmla="*/ 227065 h 243042"/>
              <a:gd name="connsiteX75" fmla="*/ 52946 w 193800"/>
              <a:gd name="connsiteY75" fmla="*/ 227065 h 243042"/>
              <a:gd name="connsiteX76" fmla="*/ 57111 w 193800"/>
              <a:gd name="connsiteY76" fmla="*/ 229610 h 243042"/>
              <a:gd name="connsiteX77" fmla="*/ 62896 w 193800"/>
              <a:gd name="connsiteY77" fmla="*/ 232386 h 243042"/>
              <a:gd name="connsiteX78" fmla="*/ 70126 w 193800"/>
              <a:gd name="connsiteY78" fmla="*/ 228974 h 243042"/>
              <a:gd name="connsiteX79" fmla="*/ 84356 w 193800"/>
              <a:gd name="connsiteY79" fmla="*/ 223189 h 243042"/>
              <a:gd name="connsiteX80" fmla="*/ 93889 w 193800"/>
              <a:gd name="connsiteY80" fmla="*/ 230523 h 243042"/>
              <a:gd name="connsiteX81" fmla="*/ 93958 w 193800"/>
              <a:gd name="connsiteY81" fmla="*/ 231634 h 243042"/>
              <a:gd name="connsiteX82" fmla="*/ 95057 w 193800"/>
              <a:gd name="connsiteY82" fmla="*/ 236030 h 243042"/>
              <a:gd name="connsiteX83" fmla="*/ 103849 w 193800"/>
              <a:gd name="connsiteY83" fmla="*/ 229089 h 243042"/>
              <a:gd name="connsiteX84" fmla="*/ 114088 w 193800"/>
              <a:gd name="connsiteY84" fmla="*/ 224635 h 243042"/>
              <a:gd name="connsiteX85" fmla="*/ 120393 w 193800"/>
              <a:gd name="connsiteY85" fmla="*/ 214686 h 243042"/>
              <a:gd name="connsiteX86" fmla="*/ 126178 w 193800"/>
              <a:gd name="connsiteY86" fmla="*/ 204158 h 243042"/>
              <a:gd name="connsiteX87" fmla="*/ 130516 w 193800"/>
              <a:gd name="connsiteY87" fmla="*/ 194440 h 243042"/>
              <a:gd name="connsiteX88" fmla="*/ 131615 w 193800"/>
              <a:gd name="connsiteY88" fmla="*/ 163262 h 243042"/>
              <a:gd name="connsiteX89" fmla="*/ 132251 w 193800"/>
              <a:gd name="connsiteY89" fmla="*/ 148859 h 243042"/>
              <a:gd name="connsiteX90" fmla="*/ 142432 w 193800"/>
              <a:gd name="connsiteY90" fmla="*/ 136365 h 243042"/>
              <a:gd name="connsiteX91" fmla="*/ 155852 w 193800"/>
              <a:gd name="connsiteY91" fmla="*/ 118491 h 243042"/>
              <a:gd name="connsiteX92" fmla="*/ 165280 w 193800"/>
              <a:gd name="connsiteY92" fmla="*/ 92287 h 243042"/>
              <a:gd name="connsiteX93" fmla="*/ 176155 w 193800"/>
              <a:gd name="connsiteY93" fmla="*/ 60993 h 243042"/>
              <a:gd name="connsiteX94" fmla="*/ 183559 w 193800"/>
              <a:gd name="connsiteY94" fmla="*/ 36178 h 243042"/>
              <a:gd name="connsiteX95" fmla="*/ 186451 w 193800"/>
              <a:gd name="connsiteY95" fmla="*/ 31724 h 243042"/>
              <a:gd name="connsiteX96" fmla="*/ 190500 w 193800"/>
              <a:gd name="connsiteY96" fmla="*/ 5232 h 243042"/>
              <a:gd name="connsiteX97" fmla="*/ 167941 w 193800"/>
              <a:gd name="connsiteY97" fmla="*/ 1992 h 243042"/>
              <a:gd name="connsiteX98" fmla="*/ 156372 w 193800"/>
              <a:gd name="connsiteY98" fmla="*/ 5289 h 243042"/>
              <a:gd name="connsiteX99" fmla="*/ 142142 w 193800"/>
              <a:gd name="connsiteY99" fmla="*/ 8471 h 243042"/>
              <a:gd name="connsiteX100" fmla="*/ 136763 w 193800"/>
              <a:gd name="connsiteY100" fmla="*/ 28485 h 243042"/>
              <a:gd name="connsiteX101" fmla="*/ 128549 w 193800"/>
              <a:gd name="connsiteY101" fmla="*/ 54804 h 243042"/>
              <a:gd name="connsiteX102" fmla="*/ 127971 w 193800"/>
              <a:gd name="connsiteY102" fmla="*/ 55730 h 243042"/>
              <a:gd name="connsiteX103" fmla="*/ 126930 w 193800"/>
              <a:gd name="connsiteY103" fmla="*/ 55730 h 243042"/>
              <a:gd name="connsiteX104" fmla="*/ 90198 w 193800"/>
              <a:gd name="connsiteY104" fmla="*/ 42252 h 243042"/>
              <a:gd name="connsiteX105" fmla="*/ 88926 w 193800"/>
              <a:gd name="connsiteY105" fmla="*/ 42252 h 243042"/>
              <a:gd name="connsiteX106" fmla="*/ 57863 w 193800"/>
              <a:gd name="connsiteY106" fmla="*/ 42252 h 243042"/>
              <a:gd name="connsiteX107" fmla="*/ 55087 w 193800"/>
              <a:gd name="connsiteY107" fmla="*/ 69207 h 243042"/>
              <a:gd name="connsiteX108" fmla="*/ 56186 w 193800"/>
              <a:gd name="connsiteY108" fmla="*/ 70017 h 243042"/>
              <a:gd name="connsiteX109" fmla="*/ 62664 w 193800"/>
              <a:gd name="connsiteY109" fmla="*/ 68513 h 243042"/>
              <a:gd name="connsiteX110" fmla="*/ 74233 w 193800"/>
              <a:gd name="connsiteY110" fmla="*/ 66142 h 243042"/>
              <a:gd name="connsiteX111" fmla="*/ 81406 w 193800"/>
              <a:gd name="connsiteY111" fmla="*/ 68340 h 243042"/>
              <a:gd name="connsiteX112" fmla="*/ 87190 w 193800"/>
              <a:gd name="connsiteY112" fmla="*/ 80487 h 243042"/>
              <a:gd name="connsiteX113" fmla="*/ 77819 w 193800"/>
              <a:gd name="connsiteY113" fmla="*/ 92056 h 243042"/>
              <a:gd name="connsiteX114" fmla="*/ 73366 w 193800"/>
              <a:gd name="connsiteY114" fmla="*/ 97840 h 243042"/>
              <a:gd name="connsiteX115" fmla="*/ 82968 w 193800"/>
              <a:gd name="connsiteY115" fmla="*/ 111723 h 243042"/>
              <a:gd name="connsiteX116" fmla="*/ 90372 w 193800"/>
              <a:gd name="connsiteY116" fmla="*/ 135613 h 243042"/>
              <a:gd name="connsiteX117" fmla="*/ 90372 w 193800"/>
              <a:gd name="connsiteY117" fmla="*/ 141397 h 243042"/>
              <a:gd name="connsiteX118" fmla="*/ 81059 w 193800"/>
              <a:gd name="connsiteY118" fmla="*/ 174542 h 243042"/>
              <a:gd name="connsiteX119" fmla="*/ 78109 w 193800"/>
              <a:gd name="connsiteY119" fmla="*/ 174889 h 243042"/>
              <a:gd name="connsiteX120" fmla="*/ 69316 w 193800"/>
              <a:gd name="connsiteY120" fmla="*/ 172691 h 243042"/>
              <a:gd name="connsiteX121" fmla="*/ 60871 w 193800"/>
              <a:gd name="connsiteY121" fmla="*/ 171187 h 243042"/>
              <a:gd name="connsiteX122" fmla="*/ 59714 w 193800"/>
              <a:gd name="connsiteY122" fmla="*/ 171187 h 243042"/>
              <a:gd name="connsiteX123" fmla="*/ 51732 w 193800"/>
              <a:gd name="connsiteY123" fmla="*/ 162279 h 243042"/>
              <a:gd name="connsiteX124" fmla="*/ 45369 w 193800"/>
              <a:gd name="connsiteY124" fmla="*/ 154238 h 243042"/>
              <a:gd name="connsiteX125" fmla="*/ 41378 w 193800"/>
              <a:gd name="connsiteY125" fmla="*/ 160312 h 243042"/>
              <a:gd name="connsiteX126" fmla="*/ 33569 w 193800"/>
              <a:gd name="connsiteY126" fmla="*/ 169394 h 243042"/>
              <a:gd name="connsiteX127" fmla="*/ 30966 w 193800"/>
              <a:gd name="connsiteY127" fmla="*/ 169394 h 243042"/>
              <a:gd name="connsiteX128" fmla="*/ 17488 w 193800"/>
              <a:gd name="connsiteY128" fmla="*/ 172170 h 243042"/>
              <a:gd name="connsiteX129" fmla="*/ 17488 w 193800"/>
              <a:gd name="connsiteY129" fmla="*/ 179690 h 243042"/>
              <a:gd name="connsiteX130" fmla="*/ 19223 w 193800"/>
              <a:gd name="connsiteY130" fmla="*/ 184086 h 243042"/>
              <a:gd name="connsiteX131" fmla="*/ 21884 w 193800"/>
              <a:gd name="connsiteY131" fmla="*/ 200167 h 243042"/>
              <a:gd name="connsiteX132" fmla="*/ 13092 w 193800"/>
              <a:gd name="connsiteY132" fmla="*/ 203175 h 243042"/>
              <a:gd name="connsiteX133" fmla="*/ 2275 w 193800"/>
              <a:gd name="connsiteY133" fmla="*/ 210347 h 24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93800" h="243042">
                <a:moveTo>
                  <a:pt x="27032" y="242914"/>
                </a:moveTo>
                <a:lnTo>
                  <a:pt x="27032" y="242914"/>
                </a:lnTo>
                <a:cubicBezTo>
                  <a:pt x="26714" y="242827"/>
                  <a:pt x="26448" y="242619"/>
                  <a:pt x="26280" y="242336"/>
                </a:cubicBezTo>
                <a:cubicBezTo>
                  <a:pt x="20930" y="231171"/>
                  <a:pt x="12999" y="221436"/>
                  <a:pt x="3143" y="213934"/>
                </a:cubicBezTo>
                <a:lnTo>
                  <a:pt x="366" y="211620"/>
                </a:lnTo>
                <a:cubicBezTo>
                  <a:pt x="-97" y="211267"/>
                  <a:pt x="-241" y="210637"/>
                  <a:pt x="19" y="210116"/>
                </a:cubicBezTo>
                <a:cubicBezTo>
                  <a:pt x="2842" y="205014"/>
                  <a:pt x="8192" y="201833"/>
                  <a:pt x="14017" y="201787"/>
                </a:cubicBezTo>
                <a:cubicBezTo>
                  <a:pt x="17777" y="201787"/>
                  <a:pt x="19802" y="201150"/>
                  <a:pt x="20959" y="199762"/>
                </a:cubicBezTo>
                <a:cubicBezTo>
                  <a:pt x="22578" y="197390"/>
                  <a:pt x="20554" y="192300"/>
                  <a:pt x="18009" y="185822"/>
                </a:cubicBezTo>
                <a:cubicBezTo>
                  <a:pt x="17488" y="184433"/>
                  <a:pt x="16852" y="182929"/>
                  <a:pt x="16273" y="181367"/>
                </a:cubicBezTo>
                <a:cubicBezTo>
                  <a:pt x="14636" y="178377"/>
                  <a:pt x="14636" y="174756"/>
                  <a:pt x="16273" y="171765"/>
                </a:cubicBezTo>
                <a:cubicBezTo>
                  <a:pt x="18992" y="167774"/>
                  <a:pt x="25817" y="167890"/>
                  <a:pt x="31660" y="168005"/>
                </a:cubicBezTo>
                <a:lnTo>
                  <a:pt x="34205" y="168005"/>
                </a:lnTo>
                <a:cubicBezTo>
                  <a:pt x="37560" y="168005"/>
                  <a:pt x="38601" y="165113"/>
                  <a:pt x="39989" y="160602"/>
                </a:cubicBezTo>
                <a:cubicBezTo>
                  <a:pt x="41378" y="156090"/>
                  <a:pt x="42130" y="152850"/>
                  <a:pt x="46179" y="152850"/>
                </a:cubicBezTo>
                <a:cubicBezTo>
                  <a:pt x="50228" y="152850"/>
                  <a:pt x="52426" y="157594"/>
                  <a:pt x="54624" y="162163"/>
                </a:cubicBezTo>
                <a:cubicBezTo>
                  <a:pt x="56822" y="166733"/>
                  <a:pt x="58268" y="169799"/>
                  <a:pt x="60409" y="169799"/>
                </a:cubicBezTo>
                <a:lnTo>
                  <a:pt x="60987" y="169799"/>
                </a:lnTo>
                <a:cubicBezTo>
                  <a:pt x="61802" y="169614"/>
                  <a:pt x="62635" y="169515"/>
                  <a:pt x="63474" y="169509"/>
                </a:cubicBezTo>
                <a:cubicBezTo>
                  <a:pt x="66025" y="169660"/>
                  <a:pt x="68518" y="170308"/>
                  <a:pt x="70821" y="171418"/>
                </a:cubicBezTo>
                <a:cubicBezTo>
                  <a:pt x="74065" y="173015"/>
                  <a:pt x="77704" y="173622"/>
                  <a:pt x="81290" y="173154"/>
                </a:cubicBezTo>
                <a:cubicBezTo>
                  <a:pt x="88810" y="171650"/>
                  <a:pt x="88810" y="154643"/>
                  <a:pt x="88810" y="142207"/>
                </a:cubicBezTo>
                <a:cubicBezTo>
                  <a:pt x="88810" y="140182"/>
                  <a:pt x="88810" y="138216"/>
                  <a:pt x="88810" y="136423"/>
                </a:cubicBezTo>
                <a:cubicBezTo>
                  <a:pt x="88810" y="126010"/>
                  <a:pt x="89157" y="118491"/>
                  <a:pt x="82505" y="114557"/>
                </a:cubicBezTo>
                <a:cubicBezTo>
                  <a:pt x="76541" y="111306"/>
                  <a:pt x="72544" y="105343"/>
                  <a:pt x="71804" y="98592"/>
                </a:cubicBezTo>
                <a:cubicBezTo>
                  <a:pt x="72012" y="95018"/>
                  <a:pt x="74268" y="91888"/>
                  <a:pt x="77588" y="90552"/>
                </a:cubicBezTo>
                <a:cubicBezTo>
                  <a:pt x="81811" y="88869"/>
                  <a:pt x="84871" y="85132"/>
                  <a:pt x="85687" y="80661"/>
                </a:cubicBezTo>
                <a:cubicBezTo>
                  <a:pt x="85929" y="76640"/>
                  <a:pt x="84067" y="72788"/>
                  <a:pt x="80770" y="70480"/>
                </a:cubicBezTo>
                <a:cubicBezTo>
                  <a:pt x="79086" y="69288"/>
                  <a:pt x="77044" y="68699"/>
                  <a:pt x="74985" y="68803"/>
                </a:cubicBezTo>
                <a:cubicBezTo>
                  <a:pt x="71156" y="69040"/>
                  <a:pt x="67379" y="69821"/>
                  <a:pt x="63763" y="71116"/>
                </a:cubicBezTo>
                <a:cubicBezTo>
                  <a:pt x="61467" y="71938"/>
                  <a:pt x="59078" y="72464"/>
                  <a:pt x="56649" y="72678"/>
                </a:cubicBezTo>
                <a:cubicBezTo>
                  <a:pt x="55069" y="73077"/>
                  <a:pt x="53467" y="72123"/>
                  <a:pt x="53062" y="70544"/>
                </a:cubicBezTo>
                <a:cubicBezTo>
                  <a:pt x="52964" y="70168"/>
                  <a:pt x="52946" y="69769"/>
                  <a:pt x="53004" y="69381"/>
                </a:cubicBezTo>
                <a:cubicBezTo>
                  <a:pt x="53004" y="65737"/>
                  <a:pt x="54450" y="53416"/>
                  <a:pt x="55897" y="41153"/>
                </a:cubicBezTo>
                <a:cubicBezTo>
                  <a:pt x="55954" y="40557"/>
                  <a:pt x="56458" y="40106"/>
                  <a:pt x="57054" y="40112"/>
                </a:cubicBezTo>
                <a:lnTo>
                  <a:pt x="57054" y="40112"/>
                </a:lnTo>
                <a:cubicBezTo>
                  <a:pt x="67570" y="40771"/>
                  <a:pt x="78120" y="40771"/>
                  <a:pt x="88636" y="40112"/>
                </a:cubicBezTo>
                <a:cubicBezTo>
                  <a:pt x="89215" y="40048"/>
                  <a:pt x="89793" y="40048"/>
                  <a:pt x="90372" y="40112"/>
                </a:cubicBezTo>
                <a:cubicBezTo>
                  <a:pt x="99280" y="40112"/>
                  <a:pt x="120856" y="50292"/>
                  <a:pt x="126698" y="53127"/>
                </a:cubicBezTo>
                <a:cubicBezTo>
                  <a:pt x="127473" y="43953"/>
                  <a:pt x="130365" y="35085"/>
                  <a:pt x="135143" y="27213"/>
                </a:cubicBezTo>
                <a:cubicBezTo>
                  <a:pt x="139048" y="21550"/>
                  <a:pt x="140771" y="14666"/>
                  <a:pt x="140002" y="7835"/>
                </a:cubicBezTo>
                <a:cubicBezTo>
                  <a:pt x="139927" y="7250"/>
                  <a:pt x="140297" y="6707"/>
                  <a:pt x="140870" y="6562"/>
                </a:cubicBezTo>
                <a:lnTo>
                  <a:pt x="156025" y="3207"/>
                </a:lnTo>
                <a:lnTo>
                  <a:pt x="167594" y="-90"/>
                </a:lnTo>
                <a:cubicBezTo>
                  <a:pt x="167744" y="-142"/>
                  <a:pt x="167906" y="-142"/>
                  <a:pt x="168057" y="-90"/>
                </a:cubicBezTo>
                <a:lnTo>
                  <a:pt x="191194" y="3207"/>
                </a:lnTo>
                <a:lnTo>
                  <a:pt x="191831" y="3207"/>
                </a:lnTo>
                <a:cubicBezTo>
                  <a:pt x="192345" y="3166"/>
                  <a:pt x="192814" y="3514"/>
                  <a:pt x="192930" y="4017"/>
                </a:cubicBezTo>
                <a:cubicBezTo>
                  <a:pt x="194757" y="13862"/>
                  <a:pt x="193271" y="24031"/>
                  <a:pt x="188707" y="32939"/>
                </a:cubicBezTo>
                <a:cubicBezTo>
                  <a:pt x="187724" y="34617"/>
                  <a:pt x="186740" y="36063"/>
                  <a:pt x="185757" y="37451"/>
                </a:cubicBezTo>
                <a:cubicBezTo>
                  <a:pt x="180620" y="44196"/>
                  <a:pt x="178127" y="52595"/>
                  <a:pt x="178758" y="61051"/>
                </a:cubicBezTo>
                <a:cubicBezTo>
                  <a:pt x="178758" y="70249"/>
                  <a:pt x="172973" y="81991"/>
                  <a:pt x="167652" y="93329"/>
                </a:cubicBezTo>
                <a:cubicBezTo>
                  <a:pt x="162909" y="103162"/>
                  <a:pt x="158454" y="112417"/>
                  <a:pt x="158454" y="118549"/>
                </a:cubicBezTo>
                <a:cubicBezTo>
                  <a:pt x="158454" y="126589"/>
                  <a:pt x="150877" y="132721"/>
                  <a:pt x="144167" y="138158"/>
                </a:cubicBezTo>
                <a:cubicBezTo>
                  <a:pt x="139366" y="142033"/>
                  <a:pt x="134854" y="145736"/>
                  <a:pt x="134854" y="148917"/>
                </a:cubicBezTo>
                <a:cubicBezTo>
                  <a:pt x="134854" y="152098"/>
                  <a:pt x="134854" y="157478"/>
                  <a:pt x="134218" y="163436"/>
                </a:cubicBezTo>
                <a:cubicBezTo>
                  <a:pt x="133755" y="172344"/>
                  <a:pt x="133176" y="183392"/>
                  <a:pt x="133176" y="194498"/>
                </a:cubicBezTo>
                <a:cubicBezTo>
                  <a:pt x="133176" y="204100"/>
                  <a:pt x="130516" y="205546"/>
                  <a:pt x="127045" y="206067"/>
                </a:cubicBezTo>
                <a:cubicBezTo>
                  <a:pt x="124789" y="206645"/>
                  <a:pt x="122996" y="207108"/>
                  <a:pt x="122996" y="214455"/>
                </a:cubicBezTo>
                <a:cubicBezTo>
                  <a:pt x="122996" y="224866"/>
                  <a:pt x="119872" y="226023"/>
                  <a:pt x="114724" y="226660"/>
                </a:cubicBezTo>
                <a:cubicBezTo>
                  <a:pt x="111381" y="226764"/>
                  <a:pt x="108199" y="228123"/>
                  <a:pt x="105816" y="230477"/>
                </a:cubicBezTo>
                <a:cubicBezTo>
                  <a:pt x="100032" y="236262"/>
                  <a:pt x="97429" y="238055"/>
                  <a:pt x="95404" y="238055"/>
                </a:cubicBezTo>
                <a:cubicBezTo>
                  <a:pt x="92049" y="238055"/>
                  <a:pt x="92049" y="233196"/>
                  <a:pt x="92049" y="231403"/>
                </a:cubicBezTo>
                <a:cubicBezTo>
                  <a:pt x="92049" y="226833"/>
                  <a:pt x="88232" y="225214"/>
                  <a:pt x="84703" y="225214"/>
                </a:cubicBezTo>
                <a:cubicBezTo>
                  <a:pt x="79966" y="225503"/>
                  <a:pt x="75460" y="227377"/>
                  <a:pt x="71920" y="230535"/>
                </a:cubicBezTo>
                <a:cubicBezTo>
                  <a:pt x="69577" y="232826"/>
                  <a:pt x="66505" y="234220"/>
                  <a:pt x="63243" y="234468"/>
                </a:cubicBezTo>
                <a:cubicBezTo>
                  <a:pt x="60478" y="234255"/>
                  <a:pt x="57875" y="233109"/>
                  <a:pt x="55839" y="231229"/>
                </a:cubicBezTo>
                <a:cubicBezTo>
                  <a:pt x="54780" y="230327"/>
                  <a:pt x="53589" y="229586"/>
                  <a:pt x="52310" y="229031"/>
                </a:cubicBezTo>
                <a:lnTo>
                  <a:pt x="52310" y="229031"/>
                </a:lnTo>
                <a:cubicBezTo>
                  <a:pt x="49129" y="229031"/>
                  <a:pt x="39874" y="234179"/>
                  <a:pt x="27784" y="242451"/>
                </a:cubicBezTo>
                <a:cubicBezTo>
                  <a:pt x="27593" y="242688"/>
                  <a:pt x="27327" y="242850"/>
                  <a:pt x="27032" y="242914"/>
                </a:cubicBezTo>
                <a:close/>
                <a:moveTo>
                  <a:pt x="2275" y="210521"/>
                </a:moveTo>
                <a:cubicBezTo>
                  <a:pt x="2911" y="211042"/>
                  <a:pt x="3548" y="211562"/>
                  <a:pt x="4300" y="212083"/>
                </a:cubicBezTo>
                <a:cubicBezTo>
                  <a:pt x="14052" y="219545"/>
                  <a:pt x="21971" y="229141"/>
                  <a:pt x="27437" y="240137"/>
                </a:cubicBezTo>
                <a:cubicBezTo>
                  <a:pt x="35130" y="234931"/>
                  <a:pt x="47509" y="227065"/>
                  <a:pt x="51963" y="227065"/>
                </a:cubicBezTo>
                <a:lnTo>
                  <a:pt x="52946" y="227065"/>
                </a:lnTo>
                <a:cubicBezTo>
                  <a:pt x="54462" y="227689"/>
                  <a:pt x="55868" y="228545"/>
                  <a:pt x="57111" y="229610"/>
                </a:cubicBezTo>
                <a:cubicBezTo>
                  <a:pt x="58685" y="231137"/>
                  <a:pt x="60715" y="232114"/>
                  <a:pt x="62896" y="232386"/>
                </a:cubicBezTo>
                <a:cubicBezTo>
                  <a:pt x="65638" y="232143"/>
                  <a:pt x="68200" y="230934"/>
                  <a:pt x="70126" y="228974"/>
                </a:cubicBezTo>
                <a:cubicBezTo>
                  <a:pt x="74071" y="225480"/>
                  <a:pt x="79092" y="223438"/>
                  <a:pt x="84356" y="223189"/>
                </a:cubicBezTo>
                <a:cubicBezTo>
                  <a:pt x="89012" y="222582"/>
                  <a:pt x="93281" y="225867"/>
                  <a:pt x="93889" y="230523"/>
                </a:cubicBezTo>
                <a:cubicBezTo>
                  <a:pt x="93935" y="230888"/>
                  <a:pt x="93958" y="231264"/>
                  <a:pt x="93958" y="231634"/>
                </a:cubicBezTo>
                <a:cubicBezTo>
                  <a:pt x="93958" y="234353"/>
                  <a:pt x="94363" y="236030"/>
                  <a:pt x="95057" y="236030"/>
                </a:cubicBezTo>
                <a:cubicBezTo>
                  <a:pt x="96966" y="236030"/>
                  <a:pt x="101941" y="230998"/>
                  <a:pt x="103849" y="229089"/>
                </a:cubicBezTo>
                <a:cubicBezTo>
                  <a:pt x="106586" y="226376"/>
                  <a:pt x="110235" y="224786"/>
                  <a:pt x="114088" y="224635"/>
                </a:cubicBezTo>
                <a:cubicBezTo>
                  <a:pt x="118137" y="224114"/>
                  <a:pt x="120393" y="223825"/>
                  <a:pt x="120393" y="214686"/>
                </a:cubicBezTo>
                <a:cubicBezTo>
                  <a:pt x="120393" y="205546"/>
                  <a:pt x="122880" y="204968"/>
                  <a:pt x="126178" y="204158"/>
                </a:cubicBezTo>
                <a:cubicBezTo>
                  <a:pt x="128491" y="203580"/>
                  <a:pt x="130516" y="203059"/>
                  <a:pt x="130516" y="194440"/>
                </a:cubicBezTo>
                <a:cubicBezTo>
                  <a:pt x="130516" y="183276"/>
                  <a:pt x="131152" y="172170"/>
                  <a:pt x="131615" y="163262"/>
                </a:cubicBezTo>
                <a:cubicBezTo>
                  <a:pt x="131962" y="157478"/>
                  <a:pt x="132251" y="152214"/>
                  <a:pt x="132251" y="148859"/>
                </a:cubicBezTo>
                <a:cubicBezTo>
                  <a:pt x="132251" y="144579"/>
                  <a:pt x="136936" y="140761"/>
                  <a:pt x="142432" y="136365"/>
                </a:cubicBezTo>
                <a:cubicBezTo>
                  <a:pt x="147927" y="131969"/>
                  <a:pt x="155852" y="125490"/>
                  <a:pt x="155852" y="118491"/>
                </a:cubicBezTo>
                <a:cubicBezTo>
                  <a:pt x="155852" y="111492"/>
                  <a:pt x="160421" y="102352"/>
                  <a:pt x="165280" y="92287"/>
                </a:cubicBezTo>
                <a:cubicBezTo>
                  <a:pt x="170602" y="81181"/>
                  <a:pt x="176155" y="69670"/>
                  <a:pt x="176155" y="60993"/>
                </a:cubicBezTo>
                <a:cubicBezTo>
                  <a:pt x="175490" y="52091"/>
                  <a:pt x="178127" y="43259"/>
                  <a:pt x="183559" y="36178"/>
                </a:cubicBezTo>
                <a:cubicBezTo>
                  <a:pt x="184484" y="34790"/>
                  <a:pt x="185468" y="33344"/>
                  <a:pt x="186451" y="31724"/>
                </a:cubicBezTo>
                <a:cubicBezTo>
                  <a:pt x="190558" y="23539"/>
                  <a:pt x="191975" y="14267"/>
                  <a:pt x="190500" y="5232"/>
                </a:cubicBezTo>
                <a:lnTo>
                  <a:pt x="167941" y="1992"/>
                </a:lnTo>
                <a:lnTo>
                  <a:pt x="156372" y="5289"/>
                </a:lnTo>
                <a:lnTo>
                  <a:pt x="142142" y="8471"/>
                </a:lnTo>
                <a:cubicBezTo>
                  <a:pt x="142842" y="15574"/>
                  <a:pt x="140933" y="22689"/>
                  <a:pt x="136763" y="28485"/>
                </a:cubicBezTo>
                <a:cubicBezTo>
                  <a:pt x="130284" y="36583"/>
                  <a:pt x="128607" y="54631"/>
                  <a:pt x="128549" y="54804"/>
                </a:cubicBezTo>
                <a:cubicBezTo>
                  <a:pt x="128549" y="55197"/>
                  <a:pt x="128323" y="55556"/>
                  <a:pt x="127971" y="55730"/>
                </a:cubicBezTo>
                <a:cubicBezTo>
                  <a:pt x="127647" y="55903"/>
                  <a:pt x="127253" y="55903"/>
                  <a:pt x="126930" y="55730"/>
                </a:cubicBezTo>
                <a:cubicBezTo>
                  <a:pt x="126930" y="55730"/>
                  <a:pt x="99801" y="42252"/>
                  <a:pt x="90198" y="42252"/>
                </a:cubicBezTo>
                <a:lnTo>
                  <a:pt x="88926" y="42252"/>
                </a:lnTo>
                <a:cubicBezTo>
                  <a:pt x="78583" y="42975"/>
                  <a:pt x="68206" y="42975"/>
                  <a:pt x="57863" y="42252"/>
                </a:cubicBezTo>
                <a:cubicBezTo>
                  <a:pt x="56764" y="51391"/>
                  <a:pt x="55087" y="65390"/>
                  <a:pt x="55087" y="69207"/>
                </a:cubicBezTo>
                <a:cubicBezTo>
                  <a:pt x="55087" y="69728"/>
                  <a:pt x="55087" y="70017"/>
                  <a:pt x="56186" y="70017"/>
                </a:cubicBezTo>
                <a:cubicBezTo>
                  <a:pt x="58395" y="69780"/>
                  <a:pt x="60576" y="69277"/>
                  <a:pt x="62664" y="68513"/>
                </a:cubicBezTo>
                <a:cubicBezTo>
                  <a:pt x="66395" y="67206"/>
                  <a:pt x="70288" y="66408"/>
                  <a:pt x="74233" y="66142"/>
                </a:cubicBezTo>
                <a:cubicBezTo>
                  <a:pt x="76807" y="66003"/>
                  <a:pt x="79352" y="66778"/>
                  <a:pt x="81406" y="68340"/>
                </a:cubicBezTo>
                <a:cubicBezTo>
                  <a:pt x="85333" y="71093"/>
                  <a:pt x="87532" y="75703"/>
                  <a:pt x="87190" y="80487"/>
                </a:cubicBezTo>
                <a:cubicBezTo>
                  <a:pt x="86224" y="85681"/>
                  <a:pt x="82696" y="90031"/>
                  <a:pt x="77819" y="92056"/>
                </a:cubicBezTo>
                <a:cubicBezTo>
                  <a:pt x="75367" y="92993"/>
                  <a:pt x="73649" y="95232"/>
                  <a:pt x="73366" y="97840"/>
                </a:cubicBezTo>
                <a:cubicBezTo>
                  <a:pt x="74141" y="103746"/>
                  <a:pt x="77715" y="108918"/>
                  <a:pt x="82968" y="111723"/>
                </a:cubicBezTo>
                <a:cubicBezTo>
                  <a:pt x="90719" y="116351"/>
                  <a:pt x="90545" y="124854"/>
                  <a:pt x="90372" y="135613"/>
                </a:cubicBezTo>
                <a:cubicBezTo>
                  <a:pt x="90372" y="137464"/>
                  <a:pt x="90372" y="139372"/>
                  <a:pt x="90372" y="141397"/>
                </a:cubicBezTo>
                <a:cubicBezTo>
                  <a:pt x="90372" y="155338"/>
                  <a:pt x="90372" y="172691"/>
                  <a:pt x="81059" y="174542"/>
                </a:cubicBezTo>
                <a:cubicBezTo>
                  <a:pt x="80093" y="174773"/>
                  <a:pt x="79104" y="174889"/>
                  <a:pt x="78109" y="174889"/>
                </a:cubicBezTo>
                <a:cubicBezTo>
                  <a:pt x="75060" y="174745"/>
                  <a:pt x="72076" y="173998"/>
                  <a:pt x="69316" y="172691"/>
                </a:cubicBezTo>
                <a:cubicBezTo>
                  <a:pt x="66719" y="171349"/>
                  <a:pt x="63775" y="170828"/>
                  <a:pt x="60871" y="171187"/>
                </a:cubicBezTo>
                <a:cubicBezTo>
                  <a:pt x="60489" y="171239"/>
                  <a:pt x="60096" y="171239"/>
                  <a:pt x="59714" y="171187"/>
                </a:cubicBezTo>
                <a:cubicBezTo>
                  <a:pt x="56012" y="171187"/>
                  <a:pt x="53930" y="166675"/>
                  <a:pt x="51732" y="162279"/>
                </a:cubicBezTo>
                <a:cubicBezTo>
                  <a:pt x="49534" y="157883"/>
                  <a:pt x="47914" y="154238"/>
                  <a:pt x="45369" y="154238"/>
                </a:cubicBezTo>
                <a:cubicBezTo>
                  <a:pt x="42824" y="154238"/>
                  <a:pt x="42419" y="156552"/>
                  <a:pt x="41378" y="160312"/>
                </a:cubicBezTo>
                <a:cubicBezTo>
                  <a:pt x="40336" y="164072"/>
                  <a:pt x="38890" y="169394"/>
                  <a:pt x="33569" y="169394"/>
                </a:cubicBezTo>
                <a:lnTo>
                  <a:pt x="30966" y="169394"/>
                </a:lnTo>
                <a:cubicBezTo>
                  <a:pt x="25933" y="169394"/>
                  <a:pt x="19397" y="169394"/>
                  <a:pt x="17488" y="172170"/>
                </a:cubicBezTo>
                <a:cubicBezTo>
                  <a:pt x="16291" y="174536"/>
                  <a:pt x="16291" y="177324"/>
                  <a:pt x="17488" y="179690"/>
                </a:cubicBezTo>
                <a:cubicBezTo>
                  <a:pt x="18067" y="181252"/>
                  <a:pt x="18645" y="182698"/>
                  <a:pt x="19223" y="184086"/>
                </a:cubicBezTo>
                <a:cubicBezTo>
                  <a:pt x="22115" y="191490"/>
                  <a:pt x="24198" y="196812"/>
                  <a:pt x="21884" y="200167"/>
                </a:cubicBezTo>
                <a:cubicBezTo>
                  <a:pt x="20496" y="202249"/>
                  <a:pt x="17719" y="203175"/>
                  <a:pt x="13092" y="203175"/>
                </a:cubicBezTo>
                <a:cubicBezTo>
                  <a:pt x="8510" y="203597"/>
                  <a:pt x="4450" y="206293"/>
                  <a:pt x="2275" y="21034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3" name="Forma libre: forma 312">
            <a:extLst>
              <a:ext uri="{FF2B5EF4-FFF2-40B4-BE49-F238E27FC236}">
                <a16:creationId xmlns:a16="http://schemas.microsoft.com/office/drawing/2014/main" id="{E9462524-7565-74F8-A4D3-727A26D8BEEA}"/>
              </a:ext>
            </a:extLst>
          </p:cNvPr>
          <p:cNvSpPr/>
          <p:nvPr/>
        </p:nvSpPr>
        <p:spPr>
          <a:xfrm>
            <a:off x="6774055" y="3825748"/>
            <a:ext cx="448952" cy="557530"/>
          </a:xfrm>
          <a:custGeom>
            <a:avLst/>
            <a:gdLst>
              <a:gd name="connsiteX0" fmla="*/ 274341 w 448952"/>
              <a:gd name="connsiteY0" fmla="*/ 557351 h 557530"/>
              <a:gd name="connsiteX1" fmla="*/ 267747 w 448952"/>
              <a:gd name="connsiteY1" fmla="*/ 554285 h 557530"/>
              <a:gd name="connsiteX2" fmla="*/ 259013 w 448952"/>
              <a:gd name="connsiteY2" fmla="*/ 550526 h 557530"/>
              <a:gd name="connsiteX3" fmla="*/ 239057 w 448952"/>
              <a:gd name="connsiteY3" fmla="*/ 556310 h 557530"/>
              <a:gd name="connsiteX4" fmla="*/ 237899 w 448952"/>
              <a:gd name="connsiteY4" fmla="*/ 556310 h 557530"/>
              <a:gd name="connsiteX5" fmla="*/ 206490 w 448952"/>
              <a:gd name="connsiteY5" fmla="*/ 529817 h 557530"/>
              <a:gd name="connsiteX6" fmla="*/ 203771 w 448952"/>
              <a:gd name="connsiteY6" fmla="*/ 529065 h 557530"/>
              <a:gd name="connsiteX7" fmla="*/ 194284 w 448952"/>
              <a:gd name="connsiteY7" fmla="*/ 533172 h 557530"/>
              <a:gd name="connsiteX8" fmla="*/ 192781 w 448952"/>
              <a:gd name="connsiteY8" fmla="*/ 533172 h 557530"/>
              <a:gd name="connsiteX9" fmla="*/ 184393 w 448952"/>
              <a:gd name="connsiteY9" fmla="*/ 529181 h 557530"/>
              <a:gd name="connsiteX10" fmla="*/ 179187 w 448952"/>
              <a:gd name="connsiteY10" fmla="*/ 531495 h 557530"/>
              <a:gd name="connsiteX11" fmla="*/ 171032 w 448952"/>
              <a:gd name="connsiteY11" fmla="*/ 534792 h 557530"/>
              <a:gd name="connsiteX12" fmla="*/ 160909 w 448952"/>
              <a:gd name="connsiteY12" fmla="*/ 531610 h 557530"/>
              <a:gd name="connsiteX13" fmla="*/ 148646 w 448952"/>
              <a:gd name="connsiteY13" fmla="*/ 517554 h 557530"/>
              <a:gd name="connsiteX14" fmla="*/ 142110 w 448952"/>
              <a:gd name="connsiteY14" fmla="*/ 511018 h 557530"/>
              <a:gd name="connsiteX15" fmla="*/ 141588 w 448952"/>
              <a:gd name="connsiteY15" fmla="*/ 510440 h 557530"/>
              <a:gd name="connsiteX16" fmla="*/ 135457 w 448952"/>
              <a:gd name="connsiteY16" fmla="*/ 495169 h 557530"/>
              <a:gd name="connsiteX17" fmla="*/ 116658 w 448952"/>
              <a:gd name="connsiteY17" fmla="*/ 480823 h 557530"/>
              <a:gd name="connsiteX18" fmla="*/ 106940 w 448952"/>
              <a:gd name="connsiteY18" fmla="*/ 463180 h 557530"/>
              <a:gd name="connsiteX19" fmla="*/ 97569 w 448952"/>
              <a:gd name="connsiteY19" fmla="*/ 456239 h 557530"/>
              <a:gd name="connsiteX20" fmla="*/ 89702 w 448952"/>
              <a:gd name="connsiteY20" fmla="*/ 447100 h 557530"/>
              <a:gd name="connsiteX21" fmla="*/ 83918 w 448952"/>
              <a:gd name="connsiteY21" fmla="*/ 437845 h 557530"/>
              <a:gd name="connsiteX22" fmla="*/ 78133 w 448952"/>
              <a:gd name="connsiteY22" fmla="*/ 430961 h 557530"/>
              <a:gd name="connsiteX23" fmla="*/ 57078 w 448952"/>
              <a:gd name="connsiteY23" fmla="*/ 421301 h 557530"/>
              <a:gd name="connsiteX24" fmla="*/ 56037 w 448952"/>
              <a:gd name="connsiteY24" fmla="*/ 420607 h 557530"/>
              <a:gd name="connsiteX25" fmla="*/ 52913 w 448952"/>
              <a:gd name="connsiteY25" fmla="*/ 412798 h 557530"/>
              <a:gd name="connsiteX26" fmla="*/ 41749 w 448952"/>
              <a:gd name="connsiteY26" fmla="*/ 411179 h 557530"/>
              <a:gd name="connsiteX27" fmla="*/ 41229 w 448952"/>
              <a:gd name="connsiteY27" fmla="*/ 411179 h 557530"/>
              <a:gd name="connsiteX28" fmla="*/ 38626 w 448952"/>
              <a:gd name="connsiteY28" fmla="*/ 405799 h 557530"/>
              <a:gd name="connsiteX29" fmla="*/ 44815 w 448952"/>
              <a:gd name="connsiteY29" fmla="*/ 399089 h 557530"/>
              <a:gd name="connsiteX30" fmla="*/ 48286 w 448952"/>
              <a:gd name="connsiteY30" fmla="*/ 395445 h 557530"/>
              <a:gd name="connsiteX31" fmla="*/ 44468 w 448952"/>
              <a:gd name="connsiteY31" fmla="*/ 381099 h 557530"/>
              <a:gd name="connsiteX32" fmla="*/ 42559 w 448952"/>
              <a:gd name="connsiteY32" fmla="*/ 376935 h 557530"/>
              <a:gd name="connsiteX33" fmla="*/ 22545 w 448952"/>
              <a:gd name="connsiteY33" fmla="*/ 350326 h 557530"/>
              <a:gd name="connsiteX34" fmla="*/ 22545 w 448952"/>
              <a:gd name="connsiteY34" fmla="*/ 349285 h 557530"/>
              <a:gd name="connsiteX35" fmla="*/ 25669 w 448952"/>
              <a:gd name="connsiteY35" fmla="*/ 338353 h 557530"/>
              <a:gd name="connsiteX36" fmla="*/ 12422 w 448952"/>
              <a:gd name="connsiteY36" fmla="*/ 320999 h 557530"/>
              <a:gd name="connsiteX37" fmla="*/ 12769 w 448952"/>
              <a:gd name="connsiteY37" fmla="*/ 313942 h 557530"/>
              <a:gd name="connsiteX38" fmla="*/ 11786 w 448952"/>
              <a:gd name="connsiteY38" fmla="*/ 303010 h 557530"/>
              <a:gd name="connsiteX39" fmla="*/ 8489 w 448952"/>
              <a:gd name="connsiteY39" fmla="*/ 301911 h 557530"/>
              <a:gd name="connsiteX40" fmla="*/ 391 w 448952"/>
              <a:gd name="connsiteY40" fmla="*/ 297283 h 557530"/>
              <a:gd name="connsiteX41" fmla="*/ 4324 w 448952"/>
              <a:gd name="connsiteY41" fmla="*/ 284847 h 557530"/>
              <a:gd name="connsiteX42" fmla="*/ 3283 w 448952"/>
              <a:gd name="connsiteY42" fmla="*/ 274087 h 557530"/>
              <a:gd name="connsiteX43" fmla="*/ 1895 w 448952"/>
              <a:gd name="connsiteY43" fmla="*/ 266105 h 557530"/>
              <a:gd name="connsiteX44" fmla="*/ 6811 w 448952"/>
              <a:gd name="connsiteY44" fmla="*/ 264312 h 557530"/>
              <a:gd name="connsiteX45" fmla="*/ 12943 w 448952"/>
              <a:gd name="connsiteY45" fmla="*/ 254594 h 557530"/>
              <a:gd name="connsiteX46" fmla="*/ 18323 w 448952"/>
              <a:gd name="connsiteY46" fmla="*/ 244124 h 557530"/>
              <a:gd name="connsiteX47" fmla="*/ 27578 w 448952"/>
              <a:gd name="connsiteY47" fmla="*/ 228333 h 557530"/>
              <a:gd name="connsiteX48" fmla="*/ 50195 w 448952"/>
              <a:gd name="connsiteY48" fmla="*/ 212657 h 557530"/>
              <a:gd name="connsiteX49" fmla="*/ 51872 w 448952"/>
              <a:gd name="connsiteY49" fmla="*/ 212136 h 557530"/>
              <a:gd name="connsiteX50" fmla="*/ 54533 w 448952"/>
              <a:gd name="connsiteY50" fmla="*/ 184660 h 557530"/>
              <a:gd name="connsiteX51" fmla="*/ 54533 w 448952"/>
              <a:gd name="connsiteY51" fmla="*/ 94770 h 557530"/>
              <a:gd name="connsiteX52" fmla="*/ 55516 w 448952"/>
              <a:gd name="connsiteY52" fmla="*/ 93671 h 557530"/>
              <a:gd name="connsiteX53" fmla="*/ 55632 w 448952"/>
              <a:gd name="connsiteY53" fmla="*/ 93671 h 557530"/>
              <a:gd name="connsiteX54" fmla="*/ 79811 w 448952"/>
              <a:gd name="connsiteY54" fmla="*/ 93671 h 557530"/>
              <a:gd name="connsiteX55" fmla="*/ 79811 w 448952"/>
              <a:gd name="connsiteY55" fmla="*/ 37389 h 557530"/>
              <a:gd name="connsiteX56" fmla="*/ 80852 w 448952"/>
              <a:gd name="connsiteY56" fmla="*/ 36232 h 557530"/>
              <a:gd name="connsiteX57" fmla="*/ 80910 w 448952"/>
              <a:gd name="connsiteY57" fmla="*/ 36232 h 557530"/>
              <a:gd name="connsiteX58" fmla="*/ 247154 w 448952"/>
              <a:gd name="connsiteY58" fmla="*/ 36232 h 557530"/>
              <a:gd name="connsiteX59" fmla="*/ 256641 w 448952"/>
              <a:gd name="connsiteY59" fmla="*/ 29984 h 557530"/>
              <a:gd name="connsiteX60" fmla="*/ 259880 w 448952"/>
              <a:gd name="connsiteY60" fmla="*/ 29059 h 557530"/>
              <a:gd name="connsiteX61" fmla="*/ 270581 w 448952"/>
              <a:gd name="connsiteY61" fmla="*/ 34844 h 557530"/>
              <a:gd name="connsiteX62" fmla="*/ 305693 w 448952"/>
              <a:gd name="connsiteY62" fmla="*/ 34844 h 557530"/>
              <a:gd name="connsiteX63" fmla="*/ 306560 w 448952"/>
              <a:gd name="connsiteY63" fmla="*/ 35249 h 557530"/>
              <a:gd name="connsiteX64" fmla="*/ 320212 w 448952"/>
              <a:gd name="connsiteY64" fmla="*/ 42942 h 557530"/>
              <a:gd name="connsiteX65" fmla="*/ 324955 w 448952"/>
              <a:gd name="connsiteY65" fmla="*/ 38314 h 557530"/>
              <a:gd name="connsiteX66" fmla="*/ 336524 w 448952"/>
              <a:gd name="connsiteY66" fmla="*/ 29984 h 557530"/>
              <a:gd name="connsiteX67" fmla="*/ 346763 w 448952"/>
              <a:gd name="connsiteY67" fmla="*/ 19341 h 557530"/>
              <a:gd name="connsiteX68" fmla="*/ 354282 w 448952"/>
              <a:gd name="connsiteY68" fmla="*/ 10549 h 557530"/>
              <a:gd name="connsiteX69" fmla="*/ 358504 w 448952"/>
              <a:gd name="connsiteY69" fmla="*/ 10549 h 557530"/>
              <a:gd name="connsiteX70" fmla="*/ 366719 w 448952"/>
              <a:gd name="connsiteY70" fmla="*/ 2913 h 557530"/>
              <a:gd name="connsiteX71" fmla="*/ 367875 w 448952"/>
              <a:gd name="connsiteY71" fmla="*/ 1236 h 557530"/>
              <a:gd name="connsiteX72" fmla="*/ 368627 w 448952"/>
              <a:gd name="connsiteY72" fmla="*/ 311 h 557530"/>
              <a:gd name="connsiteX73" fmla="*/ 368627 w 448952"/>
              <a:gd name="connsiteY73" fmla="*/ 311 h 557530"/>
              <a:gd name="connsiteX74" fmla="*/ 369785 w 448952"/>
              <a:gd name="connsiteY74" fmla="*/ -94 h 557530"/>
              <a:gd name="connsiteX75" fmla="*/ 370594 w 448952"/>
              <a:gd name="connsiteY75" fmla="*/ 831 h 557530"/>
              <a:gd name="connsiteX76" fmla="*/ 385286 w 448952"/>
              <a:gd name="connsiteY76" fmla="*/ 20498 h 557530"/>
              <a:gd name="connsiteX77" fmla="*/ 409697 w 448952"/>
              <a:gd name="connsiteY77" fmla="*/ 49710 h 557530"/>
              <a:gd name="connsiteX78" fmla="*/ 411143 w 448952"/>
              <a:gd name="connsiteY78" fmla="*/ 57518 h 557530"/>
              <a:gd name="connsiteX79" fmla="*/ 415770 w 448952"/>
              <a:gd name="connsiteY79" fmla="*/ 95002 h 557530"/>
              <a:gd name="connsiteX80" fmla="*/ 431273 w 448952"/>
              <a:gd name="connsiteY80" fmla="*/ 136823 h 557530"/>
              <a:gd name="connsiteX81" fmla="*/ 448626 w 448952"/>
              <a:gd name="connsiteY81" fmla="*/ 152788 h 557530"/>
              <a:gd name="connsiteX82" fmla="*/ 448626 w 448952"/>
              <a:gd name="connsiteY82" fmla="*/ 154118 h 557530"/>
              <a:gd name="connsiteX83" fmla="*/ 426819 w 448952"/>
              <a:gd name="connsiteY83" fmla="*/ 175347 h 557530"/>
              <a:gd name="connsiteX84" fmla="*/ 422365 w 448952"/>
              <a:gd name="connsiteY84" fmla="*/ 178586 h 557530"/>
              <a:gd name="connsiteX85" fmla="*/ 415539 w 448952"/>
              <a:gd name="connsiteY85" fmla="*/ 183099 h 557530"/>
              <a:gd name="connsiteX86" fmla="*/ 407441 w 448952"/>
              <a:gd name="connsiteY86" fmla="*/ 192758 h 557530"/>
              <a:gd name="connsiteX87" fmla="*/ 397087 w 448952"/>
              <a:gd name="connsiteY87" fmla="*/ 220755 h 557530"/>
              <a:gd name="connsiteX88" fmla="*/ 394541 w 448952"/>
              <a:gd name="connsiteY88" fmla="*/ 250487 h 557530"/>
              <a:gd name="connsiteX89" fmla="*/ 395641 w 448952"/>
              <a:gd name="connsiteY89" fmla="*/ 257023 h 557530"/>
              <a:gd name="connsiteX90" fmla="*/ 389452 w 448952"/>
              <a:gd name="connsiteY90" fmla="*/ 278947 h 557530"/>
              <a:gd name="connsiteX91" fmla="*/ 385460 w 448952"/>
              <a:gd name="connsiteY91" fmla="*/ 289243 h 557530"/>
              <a:gd name="connsiteX92" fmla="*/ 372561 w 448952"/>
              <a:gd name="connsiteY92" fmla="*/ 303935 h 557530"/>
              <a:gd name="connsiteX93" fmla="*/ 364231 w 448952"/>
              <a:gd name="connsiteY93" fmla="*/ 313306 h 557530"/>
              <a:gd name="connsiteX94" fmla="*/ 356480 w 448952"/>
              <a:gd name="connsiteY94" fmla="*/ 323834 h 557530"/>
              <a:gd name="connsiteX95" fmla="*/ 352604 w 448952"/>
              <a:gd name="connsiteY95" fmla="*/ 337196 h 557530"/>
              <a:gd name="connsiteX96" fmla="*/ 347919 w 448952"/>
              <a:gd name="connsiteY96" fmla="*/ 350963 h 557530"/>
              <a:gd name="connsiteX97" fmla="*/ 340978 w 448952"/>
              <a:gd name="connsiteY97" fmla="*/ 355069 h 557530"/>
              <a:gd name="connsiteX98" fmla="*/ 335194 w 448952"/>
              <a:gd name="connsiteY98" fmla="*/ 359177 h 557530"/>
              <a:gd name="connsiteX99" fmla="*/ 336177 w 448952"/>
              <a:gd name="connsiteY99" fmla="*/ 361086 h 557530"/>
              <a:gd name="connsiteX100" fmla="*/ 333458 w 448952"/>
              <a:gd name="connsiteY100" fmla="*/ 374158 h 557530"/>
              <a:gd name="connsiteX101" fmla="*/ 328078 w 448952"/>
              <a:gd name="connsiteY101" fmla="*/ 387173 h 557530"/>
              <a:gd name="connsiteX102" fmla="*/ 324377 w 448952"/>
              <a:gd name="connsiteY102" fmla="*/ 418409 h 557530"/>
              <a:gd name="connsiteX103" fmla="*/ 321369 w 448952"/>
              <a:gd name="connsiteY103" fmla="*/ 419103 h 557530"/>
              <a:gd name="connsiteX104" fmla="*/ 317609 w 448952"/>
              <a:gd name="connsiteY104" fmla="*/ 419103 h 557530"/>
              <a:gd name="connsiteX105" fmla="*/ 311824 w 448952"/>
              <a:gd name="connsiteY105" fmla="*/ 419103 h 557530"/>
              <a:gd name="connsiteX106" fmla="*/ 302570 w 448952"/>
              <a:gd name="connsiteY106" fmla="*/ 423037 h 557530"/>
              <a:gd name="connsiteX107" fmla="*/ 298809 w 448952"/>
              <a:gd name="connsiteY107" fmla="*/ 431713 h 557530"/>
              <a:gd name="connsiteX108" fmla="*/ 297421 w 448952"/>
              <a:gd name="connsiteY108" fmla="*/ 437787 h 557530"/>
              <a:gd name="connsiteX109" fmla="*/ 308296 w 448952"/>
              <a:gd name="connsiteY109" fmla="*/ 443051 h 557530"/>
              <a:gd name="connsiteX110" fmla="*/ 322815 w 448952"/>
              <a:gd name="connsiteY110" fmla="*/ 451322 h 557530"/>
              <a:gd name="connsiteX111" fmla="*/ 331954 w 448952"/>
              <a:gd name="connsiteY111" fmla="*/ 462486 h 557530"/>
              <a:gd name="connsiteX112" fmla="*/ 346473 w 448952"/>
              <a:gd name="connsiteY112" fmla="*/ 481807 h 557530"/>
              <a:gd name="connsiteX113" fmla="*/ 370710 w 448952"/>
              <a:gd name="connsiteY113" fmla="*/ 501358 h 557530"/>
              <a:gd name="connsiteX114" fmla="*/ 373487 w 448952"/>
              <a:gd name="connsiteY114" fmla="*/ 502515 h 557530"/>
              <a:gd name="connsiteX115" fmla="*/ 373139 w 448952"/>
              <a:gd name="connsiteY115" fmla="*/ 515529 h 557530"/>
              <a:gd name="connsiteX116" fmla="*/ 371346 w 448952"/>
              <a:gd name="connsiteY116" fmla="*/ 526578 h 557530"/>
              <a:gd name="connsiteX117" fmla="*/ 370073 w 448952"/>
              <a:gd name="connsiteY117" fmla="*/ 527573 h 557530"/>
              <a:gd name="connsiteX118" fmla="*/ 369785 w 448952"/>
              <a:gd name="connsiteY118" fmla="*/ 527503 h 557530"/>
              <a:gd name="connsiteX119" fmla="*/ 362612 w 448952"/>
              <a:gd name="connsiteY119" fmla="*/ 523050 h 557530"/>
              <a:gd name="connsiteX120" fmla="*/ 347283 w 448952"/>
              <a:gd name="connsiteY120" fmla="*/ 521546 h 557530"/>
              <a:gd name="connsiteX121" fmla="*/ 326343 w 448952"/>
              <a:gd name="connsiteY121" fmla="*/ 535313 h 557530"/>
              <a:gd name="connsiteX122" fmla="*/ 322526 w 448952"/>
              <a:gd name="connsiteY122" fmla="*/ 540345 h 557530"/>
              <a:gd name="connsiteX123" fmla="*/ 319287 w 448952"/>
              <a:gd name="connsiteY123" fmla="*/ 542832 h 557530"/>
              <a:gd name="connsiteX124" fmla="*/ 313502 w 448952"/>
              <a:gd name="connsiteY124" fmla="*/ 548617 h 557530"/>
              <a:gd name="connsiteX125" fmla="*/ 304941 w 448952"/>
              <a:gd name="connsiteY125" fmla="*/ 552724 h 557530"/>
              <a:gd name="connsiteX126" fmla="*/ 294934 w 448952"/>
              <a:gd name="connsiteY126" fmla="*/ 550699 h 557530"/>
              <a:gd name="connsiteX127" fmla="*/ 292273 w 448952"/>
              <a:gd name="connsiteY127" fmla="*/ 550179 h 557530"/>
              <a:gd name="connsiteX128" fmla="*/ 276366 w 448952"/>
              <a:gd name="connsiteY128" fmla="*/ 556946 h 557530"/>
              <a:gd name="connsiteX129" fmla="*/ 274341 w 448952"/>
              <a:gd name="connsiteY129" fmla="*/ 557351 h 557530"/>
              <a:gd name="connsiteX130" fmla="*/ 259417 w 448952"/>
              <a:gd name="connsiteY130" fmla="*/ 548270 h 557530"/>
              <a:gd name="connsiteX131" fmla="*/ 268962 w 448952"/>
              <a:gd name="connsiteY131" fmla="*/ 552434 h 557530"/>
              <a:gd name="connsiteX132" fmla="*/ 274341 w 448952"/>
              <a:gd name="connsiteY132" fmla="*/ 555095 h 557530"/>
              <a:gd name="connsiteX133" fmla="*/ 274920 w 448952"/>
              <a:gd name="connsiteY133" fmla="*/ 555095 h 557530"/>
              <a:gd name="connsiteX134" fmla="*/ 292678 w 448952"/>
              <a:gd name="connsiteY134" fmla="*/ 547344 h 557530"/>
              <a:gd name="connsiteX135" fmla="*/ 296322 w 448952"/>
              <a:gd name="connsiteY135" fmla="*/ 548096 h 557530"/>
              <a:gd name="connsiteX136" fmla="*/ 305346 w 448952"/>
              <a:gd name="connsiteY136" fmla="*/ 549889 h 557530"/>
              <a:gd name="connsiteX137" fmla="*/ 311651 w 448952"/>
              <a:gd name="connsiteY137" fmla="*/ 547749 h 557530"/>
              <a:gd name="connsiteX138" fmla="*/ 318187 w 448952"/>
              <a:gd name="connsiteY138" fmla="*/ 540576 h 557530"/>
              <a:gd name="connsiteX139" fmla="*/ 321311 w 448952"/>
              <a:gd name="connsiteY139" fmla="*/ 538147 h 557530"/>
              <a:gd name="connsiteX140" fmla="*/ 324377 w 448952"/>
              <a:gd name="connsiteY140" fmla="*/ 534329 h 557530"/>
              <a:gd name="connsiteX141" fmla="*/ 347109 w 448952"/>
              <a:gd name="connsiteY141" fmla="*/ 518885 h 557530"/>
              <a:gd name="connsiteX142" fmla="*/ 355439 w 448952"/>
              <a:gd name="connsiteY142" fmla="*/ 517959 h 557530"/>
              <a:gd name="connsiteX143" fmla="*/ 364578 w 448952"/>
              <a:gd name="connsiteY143" fmla="*/ 521141 h 557530"/>
              <a:gd name="connsiteX144" fmla="*/ 369553 w 448952"/>
              <a:gd name="connsiteY144" fmla="*/ 524322 h 557530"/>
              <a:gd name="connsiteX145" fmla="*/ 371173 w 448952"/>
              <a:gd name="connsiteY145" fmla="*/ 514662 h 557530"/>
              <a:gd name="connsiteX146" fmla="*/ 371983 w 448952"/>
              <a:gd name="connsiteY146" fmla="*/ 503498 h 557530"/>
              <a:gd name="connsiteX147" fmla="*/ 370941 w 448952"/>
              <a:gd name="connsiteY147" fmla="*/ 503151 h 557530"/>
              <a:gd name="connsiteX148" fmla="*/ 344565 w 448952"/>
              <a:gd name="connsiteY148" fmla="*/ 482096 h 557530"/>
              <a:gd name="connsiteX149" fmla="*/ 330566 w 448952"/>
              <a:gd name="connsiteY149" fmla="*/ 463643 h 557530"/>
              <a:gd name="connsiteX150" fmla="*/ 320964 w 448952"/>
              <a:gd name="connsiteY150" fmla="*/ 451727 h 557530"/>
              <a:gd name="connsiteX151" fmla="*/ 308007 w 448952"/>
              <a:gd name="connsiteY151" fmla="*/ 444728 h 557530"/>
              <a:gd name="connsiteX152" fmla="*/ 295628 w 448952"/>
              <a:gd name="connsiteY152" fmla="*/ 438307 h 557530"/>
              <a:gd name="connsiteX153" fmla="*/ 297363 w 448952"/>
              <a:gd name="connsiteY153" fmla="*/ 429747 h 557530"/>
              <a:gd name="connsiteX154" fmla="*/ 300602 w 448952"/>
              <a:gd name="connsiteY154" fmla="*/ 422574 h 557530"/>
              <a:gd name="connsiteX155" fmla="*/ 312171 w 448952"/>
              <a:gd name="connsiteY155" fmla="*/ 416443 h 557530"/>
              <a:gd name="connsiteX156" fmla="*/ 317956 w 448952"/>
              <a:gd name="connsiteY156" fmla="*/ 416443 h 557530"/>
              <a:gd name="connsiteX157" fmla="*/ 321542 w 448952"/>
              <a:gd name="connsiteY157" fmla="*/ 416443 h 557530"/>
              <a:gd name="connsiteX158" fmla="*/ 323104 w 448952"/>
              <a:gd name="connsiteY158" fmla="*/ 416443 h 557530"/>
              <a:gd name="connsiteX159" fmla="*/ 325996 w 448952"/>
              <a:gd name="connsiteY159" fmla="*/ 386884 h 557530"/>
              <a:gd name="connsiteX160" fmla="*/ 331780 w 448952"/>
              <a:gd name="connsiteY160" fmla="*/ 372654 h 557530"/>
              <a:gd name="connsiteX161" fmla="*/ 334846 w 448952"/>
              <a:gd name="connsiteY161" fmla="*/ 362358 h 557530"/>
              <a:gd name="connsiteX162" fmla="*/ 333169 w 448952"/>
              <a:gd name="connsiteY162" fmla="*/ 358540 h 557530"/>
              <a:gd name="connsiteX163" fmla="*/ 340168 w 448952"/>
              <a:gd name="connsiteY163" fmla="*/ 352756 h 557530"/>
              <a:gd name="connsiteX164" fmla="*/ 346820 w 448952"/>
              <a:gd name="connsiteY164" fmla="*/ 348880 h 557530"/>
              <a:gd name="connsiteX165" fmla="*/ 350580 w 448952"/>
              <a:gd name="connsiteY165" fmla="*/ 336733 h 557530"/>
              <a:gd name="connsiteX166" fmla="*/ 355150 w 448952"/>
              <a:gd name="connsiteY166" fmla="*/ 321925 h 557530"/>
              <a:gd name="connsiteX167" fmla="*/ 362554 w 448952"/>
              <a:gd name="connsiteY167" fmla="*/ 311802 h 557530"/>
              <a:gd name="connsiteX168" fmla="*/ 372793 w 448952"/>
              <a:gd name="connsiteY168" fmla="*/ 301390 h 557530"/>
              <a:gd name="connsiteX169" fmla="*/ 383436 w 448952"/>
              <a:gd name="connsiteY169" fmla="*/ 288953 h 557530"/>
              <a:gd name="connsiteX170" fmla="*/ 387658 w 448952"/>
              <a:gd name="connsiteY170" fmla="*/ 277385 h 557530"/>
              <a:gd name="connsiteX171" fmla="*/ 393443 w 448952"/>
              <a:gd name="connsiteY171" fmla="*/ 256792 h 557530"/>
              <a:gd name="connsiteX172" fmla="*/ 392286 w 448952"/>
              <a:gd name="connsiteY172" fmla="*/ 250429 h 557530"/>
              <a:gd name="connsiteX173" fmla="*/ 395351 w 448952"/>
              <a:gd name="connsiteY173" fmla="*/ 218788 h 557530"/>
              <a:gd name="connsiteX174" fmla="*/ 405243 w 448952"/>
              <a:gd name="connsiteY174" fmla="*/ 192701 h 557530"/>
              <a:gd name="connsiteX175" fmla="*/ 414440 w 448952"/>
              <a:gd name="connsiteY175" fmla="*/ 180611 h 557530"/>
              <a:gd name="connsiteX176" fmla="*/ 420745 w 448952"/>
              <a:gd name="connsiteY176" fmla="*/ 176504 h 557530"/>
              <a:gd name="connsiteX177" fmla="*/ 425547 w 448952"/>
              <a:gd name="connsiteY177" fmla="*/ 172918 h 557530"/>
              <a:gd name="connsiteX178" fmla="*/ 446255 w 448952"/>
              <a:gd name="connsiteY178" fmla="*/ 153077 h 557530"/>
              <a:gd name="connsiteX179" fmla="*/ 430174 w 448952"/>
              <a:gd name="connsiteY179" fmla="*/ 138327 h 557530"/>
              <a:gd name="connsiteX180" fmla="*/ 413399 w 448952"/>
              <a:gd name="connsiteY180" fmla="*/ 94481 h 557530"/>
              <a:gd name="connsiteX181" fmla="*/ 408829 w 448952"/>
              <a:gd name="connsiteY181" fmla="*/ 57461 h 557530"/>
              <a:gd name="connsiteX182" fmla="*/ 407325 w 448952"/>
              <a:gd name="connsiteY182" fmla="*/ 49420 h 557530"/>
              <a:gd name="connsiteX183" fmla="*/ 384188 w 448952"/>
              <a:gd name="connsiteY183" fmla="*/ 21944 h 557530"/>
              <a:gd name="connsiteX184" fmla="*/ 368859 w 448952"/>
              <a:gd name="connsiteY184" fmla="*/ 3087 h 557530"/>
              <a:gd name="connsiteX185" fmla="*/ 368223 w 448952"/>
              <a:gd name="connsiteY185" fmla="*/ 3955 h 557530"/>
              <a:gd name="connsiteX186" fmla="*/ 358216 w 448952"/>
              <a:gd name="connsiteY186" fmla="*/ 12516 h 557530"/>
              <a:gd name="connsiteX187" fmla="*/ 353993 w 448952"/>
              <a:gd name="connsiteY187" fmla="*/ 12516 h 557530"/>
              <a:gd name="connsiteX188" fmla="*/ 348613 w 448952"/>
              <a:gd name="connsiteY188" fmla="*/ 19804 h 557530"/>
              <a:gd name="connsiteX189" fmla="*/ 336235 w 448952"/>
              <a:gd name="connsiteY189" fmla="*/ 31951 h 557530"/>
              <a:gd name="connsiteX190" fmla="*/ 326864 w 448952"/>
              <a:gd name="connsiteY190" fmla="*/ 38835 h 557530"/>
              <a:gd name="connsiteX191" fmla="*/ 320039 w 448952"/>
              <a:gd name="connsiteY191" fmla="*/ 44619 h 557530"/>
              <a:gd name="connsiteX192" fmla="*/ 304999 w 448952"/>
              <a:gd name="connsiteY192" fmla="*/ 36521 h 557530"/>
              <a:gd name="connsiteX193" fmla="*/ 269945 w 448952"/>
              <a:gd name="connsiteY193" fmla="*/ 36521 h 557530"/>
              <a:gd name="connsiteX194" fmla="*/ 269135 w 448952"/>
              <a:gd name="connsiteY194" fmla="*/ 36174 h 557530"/>
              <a:gd name="connsiteX195" fmla="*/ 259707 w 448952"/>
              <a:gd name="connsiteY195" fmla="*/ 30910 h 557530"/>
              <a:gd name="connsiteX196" fmla="*/ 257682 w 448952"/>
              <a:gd name="connsiteY196" fmla="*/ 31488 h 557530"/>
              <a:gd name="connsiteX197" fmla="*/ 247964 w 448952"/>
              <a:gd name="connsiteY197" fmla="*/ 37909 h 557530"/>
              <a:gd name="connsiteX198" fmla="*/ 247328 w 448952"/>
              <a:gd name="connsiteY198" fmla="*/ 37909 h 557530"/>
              <a:gd name="connsiteX199" fmla="*/ 81893 w 448952"/>
              <a:gd name="connsiteY199" fmla="*/ 37909 h 557530"/>
              <a:gd name="connsiteX200" fmla="*/ 81893 w 448952"/>
              <a:gd name="connsiteY200" fmla="*/ 94250 h 557530"/>
              <a:gd name="connsiteX201" fmla="*/ 80736 w 448952"/>
              <a:gd name="connsiteY201" fmla="*/ 95407 h 557530"/>
              <a:gd name="connsiteX202" fmla="*/ 56558 w 448952"/>
              <a:gd name="connsiteY202" fmla="*/ 95407 h 557530"/>
              <a:gd name="connsiteX203" fmla="*/ 56558 w 448952"/>
              <a:gd name="connsiteY203" fmla="*/ 183561 h 557530"/>
              <a:gd name="connsiteX204" fmla="*/ 52451 w 448952"/>
              <a:gd name="connsiteY204" fmla="*/ 213236 h 557530"/>
              <a:gd name="connsiteX205" fmla="*/ 50715 w 448952"/>
              <a:gd name="connsiteY205" fmla="*/ 213756 h 557530"/>
              <a:gd name="connsiteX206" fmla="*/ 29660 w 448952"/>
              <a:gd name="connsiteY206" fmla="*/ 227292 h 557530"/>
              <a:gd name="connsiteX207" fmla="*/ 18612 w 448952"/>
              <a:gd name="connsiteY207" fmla="*/ 245281 h 557530"/>
              <a:gd name="connsiteX208" fmla="*/ 14968 w 448952"/>
              <a:gd name="connsiteY208" fmla="*/ 253727 h 557530"/>
              <a:gd name="connsiteX209" fmla="*/ 6638 w 448952"/>
              <a:gd name="connsiteY209" fmla="*/ 265295 h 557530"/>
              <a:gd name="connsiteX210" fmla="*/ 3572 w 448952"/>
              <a:gd name="connsiteY210" fmla="*/ 266047 h 557530"/>
              <a:gd name="connsiteX211" fmla="*/ 5192 w 448952"/>
              <a:gd name="connsiteY211" fmla="*/ 271832 h 557530"/>
              <a:gd name="connsiteX212" fmla="*/ 5712 w 448952"/>
              <a:gd name="connsiteY212" fmla="*/ 285136 h 557530"/>
              <a:gd name="connsiteX213" fmla="*/ 2300 w 448952"/>
              <a:gd name="connsiteY213" fmla="*/ 295085 h 557530"/>
              <a:gd name="connsiteX214" fmla="*/ 8084 w 448952"/>
              <a:gd name="connsiteY214" fmla="*/ 298324 h 557530"/>
              <a:gd name="connsiteX215" fmla="*/ 13001 w 448952"/>
              <a:gd name="connsiteY215" fmla="*/ 300175 h 557530"/>
              <a:gd name="connsiteX216" fmla="*/ 14620 w 448952"/>
              <a:gd name="connsiteY216" fmla="*/ 312785 h 557530"/>
              <a:gd name="connsiteX217" fmla="*/ 14273 w 448952"/>
              <a:gd name="connsiteY217" fmla="*/ 319669 h 557530"/>
              <a:gd name="connsiteX218" fmla="*/ 27115 w 448952"/>
              <a:gd name="connsiteY218" fmla="*/ 335518 h 557530"/>
              <a:gd name="connsiteX219" fmla="*/ 27693 w 448952"/>
              <a:gd name="connsiteY219" fmla="*/ 336849 h 557530"/>
              <a:gd name="connsiteX220" fmla="*/ 24454 w 448952"/>
              <a:gd name="connsiteY220" fmla="*/ 348071 h 557530"/>
              <a:gd name="connsiteX221" fmla="*/ 44526 w 448952"/>
              <a:gd name="connsiteY221" fmla="*/ 374910 h 557530"/>
              <a:gd name="connsiteX222" fmla="*/ 46319 w 448952"/>
              <a:gd name="connsiteY222" fmla="*/ 378844 h 557530"/>
              <a:gd name="connsiteX223" fmla="*/ 50252 w 448952"/>
              <a:gd name="connsiteY223" fmla="*/ 394866 h 557530"/>
              <a:gd name="connsiteX224" fmla="*/ 45625 w 448952"/>
              <a:gd name="connsiteY224" fmla="*/ 399841 h 557530"/>
              <a:gd name="connsiteX225" fmla="*/ 40708 w 448952"/>
              <a:gd name="connsiteY225" fmla="*/ 404758 h 557530"/>
              <a:gd name="connsiteX226" fmla="*/ 42212 w 448952"/>
              <a:gd name="connsiteY226" fmla="*/ 407881 h 557530"/>
              <a:gd name="connsiteX227" fmla="*/ 53781 w 448952"/>
              <a:gd name="connsiteY227" fmla="*/ 409559 h 557530"/>
              <a:gd name="connsiteX228" fmla="*/ 54649 w 448952"/>
              <a:gd name="connsiteY228" fmla="*/ 410253 h 557530"/>
              <a:gd name="connsiteX229" fmla="*/ 57715 w 448952"/>
              <a:gd name="connsiteY229" fmla="*/ 417946 h 557530"/>
              <a:gd name="connsiteX230" fmla="*/ 79753 w 448952"/>
              <a:gd name="connsiteY230" fmla="*/ 428416 h 557530"/>
              <a:gd name="connsiteX231" fmla="*/ 85538 w 448952"/>
              <a:gd name="connsiteY231" fmla="*/ 435184 h 557530"/>
              <a:gd name="connsiteX232" fmla="*/ 91669 w 448952"/>
              <a:gd name="connsiteY232" fmla="*/ 446001 h 557530"/>
              <a:gd name="connsiteX233" fmla="*/ 98553 w 448952"/>
              <a:gd name="connsiteY233" fmla="*/ 453289 h 557530"/>
              <a:gd name="connsiteX234" fmla="*/ 108097 w 448952"/>
              <a:gd name="connsiteY234" fmla="*/ 460346 h 557530"/>
              <a:gd name="connsiteX235" fmla="*/ 118624 w 448952"/>
              <a:gd name="connsiteY235" fmla="*/ 479724 h 557530"/>
              <a:gd name="connsiteX236" fmla="*/ 136498 w 448952"/>
              <a:gd name="connsiteY236" fmla="*/ 492161 h 557530"/>
              <a:gd name="connsiteX237" fmla="*/ 137077 w 448952"/>
              <a:gd name="connsiteY237" fmla="*/ 492797 h 557530"/>
              <a:gd name="connsiteX238" fmla="*/ 143208 w 448952"/>
              <a:gd name="connsiteY238" fmla="*/ 508126 h 557530"/>
              <a:gd name="connsiteX239" fmla="*/ 150497 w 448952"/>
              <a:gd name="connsiteY239" fmla="*/ 515645 h 557530"/>
              <a:gd name="connsiteX240" fmla="*/ 162066 w 448952"/>
              <a:gd name="connsiteY240" fmla="*/ 528602 h 557530"/>
              <a:gd name="connsiteX241" fmla="*/ 170974 w 448952"/>
              <a:gd name="connsiteY241" fmla="*/ 531437 h 557530"/>
              <a:gd name="connsiteX242" fmla="*/ 177568 w 448952"/>
              <a:gd name="connsiteY242" fmla="*/ 528776 h 557530"/>
              <a:gd name="connsiteX243" fmla="*/ 184335 w 448952"/>
              <a:gd name="connsiteY243" fmla="*/ 525826 h 557530"/>
              <a:gd name="connsiteX244" fmla="*/ 193590 w 448952"/>
              <a:gd name="connsiteY244" fmla="*/ 529817 h 557530"/>
              <a:gd name="connsiteX245" fmla="*/ 203713 w 448952"/>
              <a:gd name="connsiteY245" fmla="*/ 525826 h 557530"/>
              <a:gd name="connsiteX246" fmla="*/ 207647 w 448952"/>
              <a:gd name="connsiteY246" fmla="*/ 526983 h 557530"/>
              <a:gd name="connsiteX247" fmla="*/ 238883 w 448952"/>
              <a:gd name="connsiteY247" fmla="*/ 553244 h 557530"/>
              <a:gd name="connsiteX248" fmla="*/ 258723 w 448952"/>
              <a:gd name="connsiteY248" fmla="*/ 547460 h 55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448952" h="557530">
                <a:moveTo>
                  <a:pt x="274341" y="557351"/>
                </a:moveTo>
                <a:cubicBezTo>
                  <a:pt x="271912" y="556900"/>
                  <a:pt x="269656" y="555847"/>
                  <a:pt x="267747" y="554285"/>
                </a:cubicBezTo>
                <a:cubicBezTo>
                  <a:pt x="265260" y="552261"/>
                  <a:pt x="262194" y="550959"/>
                  <a:pt x="259013" y="550526"/>
                </a:cubicBezTo>
                <a:cubicBezTo>
                  <a:pt x="252187" y="551856"/>
                  <a:pt x="245535" y="553788"/>
                  <a:pt x="239057" y="556310"/>
                </a:cubicBezTo>
                <a:cubicBezTo>
                  <a:pt x="238709" y="556541"/>
                  <a:pt x="238247" y="556541"/>
                  <a:pt x="237899" y="556310"/>
                </a:cubicBezTo>
                <a:cubicBezTo>
                  <a:pt x="225058" y="544741"/>
                  <a:pt x="209961" y="532131"/>
                  <a:pt x="206490" y="529817"/>
                </a:cubicBezTo>
                <a:cubicBezTo>
                  <a:pt x="205680" y="529320"/>
                  <a:pt x="204755" y="529060"/>
                  <a:pt x="203771" y="529065"/>
                </a:cubicBezTo>
                <a:cubicBezTo>
                  <a:pt x="200301" y="529551"/>
                  <a:pt x="197004" y="530968"/>
                  <a:pt x="194284" y="533172"/>
                </a:cubicBezTo>
                <a:cubicBezTo>
                  <a:pt x="193880" y="533542"/>
                  <a:pt x="193186" y="533542"/>
                  <a:pt x="192781" y="533172"/>
                </a:cubicBezTo>
                <a:cubicBezTo>
                  <a:pt x="190525" y="530945"/>
                  <a:pt x="187575" y="529539"/>
                  <a:pt x="184393" y="529181"/>
                </a:cubicBezTo>
                <a:cubicBezTo>
                  <a:pt x="182427" y="529227"/>
                  <a:pt x="180518" y="530060"/>
                  <a:pt x="179187" y="531495"/>
                </a:cubicBezTo>
                <a:cubicBezTo>
                  <a:pt x="177047" y="533670"/>
                  <a:pt x="174097" y="534861"/>
                  <a:pt x="171032" y="534792"/>
                </a:cubicBezTo>
                <a:cubicBezTo>
                  <a:pt x="167445" y="534665"/>
                  <a:pt x="163916" y="533560"/>
                  <a:pt x="160909" y="531610"/>
                </a:cubicBezTo>
                <a:cubicBezTo>
                  <a:pt x="155529" y="528226"/>
                  <a:pt x="151249" y="523339"/>
                  <a:pt x="148646" y="517554"/>
                </a:cubicBezTo>
                <a:cubicBezTo>
                  <a:pt x="147373" y="514639"/>
                  <a:pt x="145002" y="512308"/>
                  <a:pt x="142110" y="511018"/>
                </a:cubicBezTo>
                <a:cubicBezTo>
                  <a:pt x="141878" y="510885"/>
                  <a:pt x="141704" y="510682"/>
                  <a:pt x="141588" y="510440"/>
                </a:cubicBezTo>
                <a:lnTo>
                  <a:pt x="135457" y="495169"/>
                </a:lnTo>
                <a:cubicBezTo>
                  <a:pt x="131466" y="493317"/>
                  <a:pt x="116658" y="486087"/>
                  <a:pt x="116658" y="480823"/>
                </a:cubicBezTo>
                <a:cubicBezTo>
                  <a:pt x="116658" y="475559"/>
                  <a:pt x="116658" y="471221"/>
                  <a:pt x="106940" y="463180"/>
                </a:cubicBezTo>
                <a:cubicBezTo>
                  <a:pt x="103932" y="460693"/>
                  <a:pt x="100809" y="458374"/>
                  <a:pt x="97569" y="456239"/>
                </a:cubicBezTo>
                <a:cubicBezTo>
                  <a:pt x="92826" y="453058"/>
                  <a:pt x="89702" y="450918"/>
                  <a:pt x="89702" y="447100"/>
                </a:cubicBezTo>
                <a:cubicBezTo>
                  <a:pt x="89702" y="443282"/>
                  <a:pt x="88198" y="442241"/>
                  <a:pt x="83918" y="437845"/>
                </a:cubicBezTo>
                <a:cubicBezTo>
                  <a:pt x="82356" y="436051"/>
                  <a:pt x="80332" y="433853"/>
                  <a:pt x="78133" y="430961"/>
                </a:cubicBezTo>
                <a:cubicBezTo>
                  <a:pt x="72696" y="425067"/>
                  <a:pt x="65118" y="421585"/>
                  <a:pt x="57078" y="421301"/>
                </a:cubicBezTo>
                <a:cubicBezTo>
                  <a:pt x="56615" y="421296"/>
                  <a:pt x="56211" y="421024"/>
                  <a:pt x="56037" y="420607"/>
                </a:cubicBezTo>
                <a:lnTo>
                  <a:pt x="52913" y="412798"/>
                </a:lnTo>
                <a:lnTo>
                  <a:pt x="41749" y="411179"/>
                </a:lnTo>
                <a:cubicBezTo>
                  <a:pt x="41576" y="411202"/>
                  <a:pt x="41402" y="411202"/>
                  <a:pt x="41229" y="411179"/>
                </a:cubicBezTo>
                <a:cubicBezTo>
                  <a:pt x="39551" y="409888"/>
                  <a:pt x="38626" y="407899"/>
                  <a:pt x="38626" y="405799"/>
                </a:cubicBezTo>
                <a:cubicBezTo>
                  <a:pt x="38626" y="403312"/>
                  <a:pt x="40940" y="401056"/>
                  <a:pt x="44815" y="399089"/>
                </a:cubicBezTo>
                <a:cubicBezTo>
                  <a:pt x="46435" y="398389"/>
                  <a:pt x="47649" y="397076"/>
                  <a:pt x="48286" y="395445"/>
                </a:cubicBezTo>
                <a:cubicBezTo>
                  <a:pt x="48691" y="390372"/>
                  <a:pt x="47302" y="385311"/>
                  <a:pt x="44468" y="381099"/>
                </a:cubicBezTo>
                <a:cubicBezTo>
                  <a:pt x="43716" y="379757"/>
                  <a:pt x="43080" y="378364"/>
                  <a:pt x="42559" y="376935"/>
                </a:cubicBezTo>
                <a:cubicBezTo>
                  <a:pt x="36601" y="367541"/>
                  <a:pt x="29949" y="358638"/>
                  <a:pt x="22545" y="350326"/>
                </a:cubicBezTo>
                <a:cubicBezTo>
                  <a:pt x="22371" y="350002"/>
                  <a:pt x="22371" y="349615"/>
                  <a:pt x="22545" y="349285"/>
                </a:cubicBezTo>
                <a:lnTo>
                  <a:pt x="25669" y="338353"/>
                </a:lnTo>
                <a:cubicBezTo>
                  <a:pt x="22603" y="336675"/>
                  <a:pt x="12422" y="330254"/>
                  <a:pt x="12422" y="320999"/>
                </a:cubicBezTo>
                <a:cubicBezTo>
                  <a:pt x="12422" y="318628"/>
                  <a:pt x="12422" y="316256"/>
                  <a:pt x="12769" y="313942"/>
                </a:cubicBezTo>
                <a:cubicBezTo>
                  <a:pt x="13116" y="309257"/>
                  <a:pt x="13464" y="304861"/>
                  <a:pt x="11786" y="303010"/>
                </a:cubicBezTo>
                <a:cubicBezTo>
                  <a:pt x="10918" y="302194"/>
                  <a:pt x="9704" y="301795"/>
                  <a:pt x="8489" y="301911"/>
                </a:cubicBezTo>
                <a:cubicBezTo>
                  <a:pt x="5076" y="302235"/>
                  <a:pt x="1837" y="300384"/>
                  <a:pt x="391" y="297283"/>
                </a:cubicBezTo>
                <a:cubicBezTo>
                  <a:pt x="-998" y="292725"/>
                  <a:pt x="564" y="287785"/>
                  <a:pt x="4324" y="284847"/>
                </a:cubicBezTo>
                <a:cubicBezTo>
                  <a:pt x="6927" y="282186"/>
                  <a:pt x="5076" y="278079"/>
                  <a:pt x="3283" y="274087"/>
                </a:cubicBezTo>
                <a:cubicBezTo>
                  <a:pt x="1490" y="270096"/>
                  <a:pt x="622" y="268303"/>
                  <a:pt x="1895" y="266105"/>
                </a:cubicBezTo>
                <a:cubicBezTo>
                  <a:pt x="3167" y="263907"/>
                  <a:pt x="4266" y="264312"/>
                  <a:pt x="6811" y="264312"/>
                </a:cubicBezTo>
                <a:cubicBezTo>
                  <a:pt x="11786" y="264312"/>
                  <a:pt x="12596" y="260610"/>
                  <a:pt x="12943" y="254594"/>
                </a:cubicBezTo>
                <a:cubicBezTo>
                  <a:pt x="13290" y="250082"/>
                  <a:pt x="13695" y="245050"/>
                  <a:pt x="18323" y="244124"/>
                </a:cubicBezTo>
                <a:cubicBezTo>
                  <a:pt x="24917" y="242794"/>
                  <a:pt x="27578" y="238340"/>
                  <a:pt x="27578" y="228333"/>
                </a:cubicBezTo>
                <a:cubicBezTo>
                  <a:pt x="27578" y="219887"/>
                  <a:pt x="42849" y="215029"/>
                  <a:pt x="50195" y="212657"/>
                </a:cubicBezTo>
                <a:lnTo>
                  <a:pt x="51872" y="212136"/>
                </a:lnTo>
                <a:cubicBezTo>
                  <a:pt x="54533" y="211269"/>
                  <a:pt x="55285" y="197213"/>
                  <a:pt x="54533" y="184660"/>
                </a:cubicBezTo>
                <a:lnTo>
                  <a:pt x="54533" y="94770"/>
                </a:lnTo>
                <a:cubicBezTo>
                  <a:pt x="54475" y="94198"/>
                  <a:pt x="54938" y="93706"/>
                  <a:pt x="55516" y="93671"/>
                </a:cubicBezTo>
                <a:cubicBezTo>
                  <a:pt x="55574" y="93671"/>
                  <a:pt x="55574" y="93671"/>
                  <a:pt x="55632" y="93671"/>
                </a:cubicBezTo>
                <a:lnTo>
                  <a:pt x="79811" y="93671"/>
                </a:lnTo>
                <a:lnTo>
                  <a:pt x="79811" y="37389"/>
                </a:lnTo>
                <a:cubicBezTo>
                  <a:pt x="79753" y="36781"/>
                  <a:pt x="80216" y="36267"/>
                  <a:pt x="80852" y="36232"/>
                </a:cubicBezTo>
                <a:cubicBezTo>
                  <a:pt x="80852" y="36232"/>
                  <a:pt x="80910" y="36232"/>
                  <a:pt x="80910" y="36232"/>
                </a:cubicBezTo>
                <a:lnTo>
                  <a:pt x="247154" y="36232"/>
                </a:lnTo>
                <a:lnTo>
                  <a:pt x="256641" y="29984"/>
                </a:lnTo>
                <a:cubicBezTo>
                  <a:pt x="257624" y="29360"/>
                  <a:pt x="258723" y="29042"/>
                  <a:pt x="259880" y="29059"/>
                </a:cubicBezTo>
                <a:cubicBezTo>
                  <a:pt x="263987" y="29765"/>
                  <a:pt x="267747" y="31795"/>
                  <a:pt x="270581" y="34844"/>
                </a:cubicBezTo>
                <a:lnTo>
                  <a:pt x="305693" y="34844"/>
                </a:lnTo>
                <a:cubicBezTo>
                  <a:pt x="306040" y="34855"/>
                  <a:pt x="306329" y="35000"/>
                  <a:pt x="306560" y="35249"/>
                </a:cubicBezTo>
                <a:cubicBezTo>
                  <a:pt x="309973" y="39471"/>
                  <a:pt x="314832" y="42224"/>
                  <a:pt x="320212" y="42942"/>
                </a:cubicBezTo>
                <a:cubicBezTo>
                  <a:pt x="322931" y="42942"/>
                  <a:pt x="323740" y="41322"/>
                  <a:pt x="324955" y="38314"/>
                </a:cubicBezTo>
                <a:cubicBezTo>
                  <a:pt x="326228" y="33062"/>
                  <a:pt x="331144" y="29522"/>
                  <a:pt x="336524" y="29984"/>
                </a:cubicBezTo>
                <a:cubicBezTo>
                  <a:pt x="342945" y="29984"/>
                  <a:pt x="344853" y="24547"/>
                  <a:pt x="346763" y="19341"/>
                </a:cubicBezTo>
                <a:cubicBezTo>
                  <a:pt x="348671" y="14135"/>
                  <a:pt x="349944" y="10549"/>
                  <a:pt x="354282" y="10549"/>
                </a:cubicBezTo>
                <a:lnTo>
                  <a:pt x="358504" y="10549"/>
                </a:lnTo>
                <a:cubicBezTo>
                  <a:pt x="361166" y="10549"/>
                  <a:pt x="361512" y="10260"/>
                  <a:pt x="366719" y="2913"/>
                </a:cubicBezTo>
                <a:lnTo>
                  <a:pt x="367875" y="1236"/>
                </a:lnTo>
                <a:lnTo>
                  <a:pt x="368627" y="311"/>
                </a:lnTo>
                <a:lnTo>
                  <a:pt x="368627" y="311"/>
                </a:lnTo>
                <a:cubicBezTo>
                  <a:pt x="368917" y="-48"/>
                  <a:pt x="369379" y="-204"/>
                  <a:pt x="369785" y="-94"/>
                </a:cubicBezTo>
                <a:cubicBezTo>
                  <a:pt x="370189" y="21"/>
                  <a:pt x="370537" y="386"/>
                  <a:pt x="370594" y="831"/>
                </a:cubicBezTo>
                <a:cubicBezTo>
                  <a:pt x="372156" y="9323"/>
                  <a:pt x="377593" y="16600"/>
                  <a:pt x="385286" y="20498"/>
                </a:cubicBezTo>
                <a:cubicBezTo>
                  <a:pt x="397723" y="27324"/>
                  <a:pt x="408772" y="42074"/>
                  <a:pt x="409697" y="49710"/>
                </a:cubicBezTo>
                <a:cubicBezTo>
                  <a:pt x="409697" y="51561"/>
                  <a:pt x="410449" y="54164"/>
                  <a:pt x="411143" y="57518"/>
                </a:cubicBezTo>
                <a:cubicBezTo>
                  <a:pt x="414036" y="69810"/>
                  <a:pt x="415597" y="82374"/>
                  <a:pt x="415770" y="95002"/>
                </a:cubicBezTo>
                <a:cubicBezTo>
                  <a:pt x="415770" y="115768"/>
                  <a:pt x="421960" y="132543"/>
                  <a:pt x="431273" y="136823"/>
                </a:cubicBezTo>
                <a:cubicBezTo>
                  <a:pt x="438040" y="140994"/>
                  <a:pt x="443883" y="146414"/>
                  <a:pt x="448626" y="152788"/>
                </a:cubicBezTo>
                <a:cubicBezTo>
                  <a:pt x="448915" y="153181"/>
                  <a:pt x="448915" y="153725"/>
                  <a:pt x="448626" y="154118"/>
                </a:cubicBezTo>
                <a:cubicBezTo>
                  <a:pt x="443073" y="162755"/>
                  <a:pt x="435611" y="170014"/>
                  <a:pt x="426819" y="175347"/>
                </a:cubicBezTo>
                <a:cubicBezTo>
                  <a:pt x="425257" y="176296"/>
                  <a:pt x="423753" y="177384"/>
                  <a:pt x="422365" y="178586"/>
                </a:cubicBezTo>
                <a:cubicBezTo>
                  <a:pt x="420282" y="180391"/>
                  <a:pt x="418026" y="181907"/>
                  <a:pt x="415539" y="183099"/>
                </a:cubicBezTo>
                <a:cubicBezTo>
                  <a:pt x="409754" y="186107"/>
                  <a:pt x="406516" y="188305"/>
                  <a:pt x="407441" y="192758"/>
                </a:cubicBezTo>
                <a:cubicBezTo>
                  <a:pt x="409176" y="201435"/>
                  <a:pt x="405995" y="210112"/>
                  <a:pt x="397087" y="220755"/>
                </a:cubicBezTo>
                <a:cubicBezTo>
                  <a:pt x="390435" y="228680"/>
                  <a:pt x="392633" y="240307"/>
                  <a:pt x="394541" y="250487"/>
                </a:cubicBezTo>
                <a:cubicBezTo>
                  <a:pt x="394947" y="252743"/>
                  <a:pt x="395351" y="254941"/>
                  <a:pt x="395641" y="257023"/>
                </a:cubicBezTo>
                <a:cubicBezTo>
                  <a:pt x="395699" y="264775"/>
                  <a:pt x="393558" y="272381"/>
                  <a:pt x="389452" y="278947"/>
                </a:cubicBezTo>
                <a:cubicBezTo>
                  <a:pt x="387485" y="282111"/>
                  <a:pt x="386154" y="285598"/>
                  <a:pt x="385460" y="289243"/>
                </a:cubicBezTo>
                <a:cubicBezTo>
                  <a:pt x="385229" y="296583"/>
                  <a:pt x="379791" y="302726"/>
                  <a:pt x="372561" y="303935"/>
                </a:cubicBezTo>
                <a:cubicBezTo>
                  <a:pt x="370189" y="303935"/>
                  <a:pt x="367181" y="308679"/>
                  <a:pt x="364231" y="313306"/>
                </a:cubicBezTo>
                <a:cubicBezTo>
                  <a:pt x="362033" y="317077"/>
                  <a:pt x="359430" y="320606"/>
                  <a:pt x="356480" y="323834"/>
                </a:cubicBezTo>
                <a:cubicBezTo>
                  <a:pt x="353704" y="327727"/>
                  <a:pt x="352373" y="332435"/>
                  <a:pt x="352604" y="337196"/>
                </a:cubicBezTo>
                <a:cubicBezTo>
                  <a:pt x="352142" y="342575"/>
                  <a:pt x="351737" y="348128"/>
                  <a:pt x="347919" y="350963"/>
                </a:cubicBezTo>
                <a:cubicBezTo>
                  <a:pt x="345721" y="352524"/>
                  <a:pt x="343407" y="353895"/>
                  <a:pt x="340978" y="355069"/>
                </a:cubicBezTo>
                <a:cubicBezTo>
                  <a:pt x="338201" y="356458"/>
                  <a:pt x="335194" y="357904"/>
                  <a:pt x="335194" y="359177"/>
                </a:cubicBezTo>
                <a:cubicBezTo>
                  <a:pt x="335251" y="359929"/>
                  <a:pt x="335598" y="360623"/>
                  <a:pt x="336177" y="361086"/>
                </a:cubicBezTo>
                <a:cubicBezTo>
                  <a:pt x="339532" y="364440"/>
                  <a:pt x="336582" y="369126"/>
                  <a:pt x="333458" y="374158"/>
                </a:cubicBezTo>
                <a:cubicBezTo>
                  <a:pt x="330566" y="377959"/>
                  <a:pt x="328715" y="382441"/>
                  <a:pt x="328078" y="387173"/>
                </a:cubicBezTo>
                <a:cubicBezTo>
                  <a:pt x="328078" y="395560"/>
                  <a:pt x="326690" y="416095"/>
                  <a:pt x="324377" y="418409"/>
                </a:cubicBezTo>
                <a:cubicBezTo>
                  <a:pt x="323914" y="418930"/>
                  <a:pt x="323046" y="419103"/>
                  <a:pt x="321369" y="419103"/>
                </a:cubicBezTo>
                <a:lnTo>
                  <a:pt x="317609" y="419103"/>
                </a:lnTo>
                <a:cubicBezTo>
                  <a:pt x="315873" y="419103"/>
                  <a:pt x="313907" y="419103"/>
                  <a:pt x="311824" y="419103"/>
                </a:cubicBezTo>
                <a:cubicBezTo>
                  <a:pt x="303552" y="419103"/>
                  <a:pt x="302570" y="421359"/>
                  <a:pt x="302570" y="423037"/>
                </a:cubicBezTo>
                <a:cubicBezTo>
                  <a:pt x="302570" y="426322"/>
                  <a:pt x="301181" y="429458"/>
                  <a:pt x="298809" y="431713"/>
                </a:cubicBezTo>
                <a:cubicBezTo>
                  <a:pt x="296958" y="433796"/>
                  <a:pt x="295975" y="434895"/>
                  <a:pt x="297421" y="437787"/>
                </a:cubicBezTo>
                <a:cubicBezTo>
                  <a:pt x="298867" y="440679"/>
                  <a:pt x="303206" y="441720"/>
                  <a:pt x="308296" y="443051"/>
                </a:cubicBezTo>
                <a:cubicBezTo>
                  <a:pt x="314427" y="444670"/>
                  <a:pt x="320790" y="446348"/>
                  <a:pt x="322815" y="451322"/>
                </a:cubicBezTo>
                <a:cubicBezTo>
                  <a:pt x="325128" y="455586"/>
                  <a:pt x="328252" y="459369"/>
                  <a:pt x="331954" y="462486"/>
                </a:cubicBezTo>
                <a:cubicBezTo>
                  <a:pt x="338086" y="467820"/>
                  <a:pt x="343061" y="474408"/>
                  <a:pt x="346473" y="481807"/>
                </a:cubicBezTo>
                <a:cubicBezTo>
                  <a:pt x="350349" y="492282"/>
                  <a:pt x="359662" y="499796"/>
                  <a:pt x="370710" y="501358"/>
                </a:cubicBezTo>
                <a:cubicBezTo>
                  <a:pt x="371751" y="501277"/>
                  <a:pt x="372793" y="501705"/>
                  <a:pt x="373487" y="502515"/>
                </a:cubicBezTo>
                <a:cubicBezTo>
                  <a:pt x="375164" y="504481"/>
                  <a:pt x="374412" y="508646"/>
                  <a:pt x="373139" y="515529"/>
                </a:cubicBezTo>
                <a:cubicBezTo>
                  <a:pt x="372561" y="518769"/>
                  <a:pt x="371925" y="522355"/>
                  <a:pt x="371346" y="526578"/>
                </a:cubicBezTo>
                <a:cubicBezTo>
                  <a:pt x="371289" y="527214"/>
                  <a:pt x="370652" y="527654"/>
                  <a:pt x="370073" y="527573"/>
                </a:cubicBezTo>
                <a:cubicBezTo>
                  <a:pt x="369958" y="527561"/>
                  <a:pt x="369842" y="527538"/>
                  <a:pt x="369785" y="527503"/>
                </a:cubicBezTo>
                <a:cubicBezTo>
                  <a:pt x="367123" y="526537"/>
                  <a:pt x="364636" y="525022"/>
                  <a:pt x="362612" y="523050"/>
                </a:cubicBezTo>
                <a:cubicBezTo>
                  <a:pt x="360472" y="520446"/>
                  <a:pt x="355496" y="519984"/>
                  <a:pt x="347283" y="521546"/>
                </a:cubicBezTo>
                <a:cubicBezTo>
                  <a:pt x="341499" y="522760"/>
                  <a:pt x="327442" y="531032"/>
                  <a:pt x="326343" y="535313"/>
                </a:cubicBezTo>
                <a:cubicBezTo>
                  <a:pt x="325591" y="537337"/>
                  <a:pt x="324261" y="539089"/>
                  <a:pt x="322526" y="540345"/>
                </a:cubicBezTo>
                <a:cubicBezTo>
                  <a:pt x="321485" y="541212"/>
                  <a:pt x="320385" y="542022"/>
                  <a:pt x="319287" y="542832"/>
                </a:cubicBezTo>
                <a:cubicBezTo>
                  <a:pt x="316625" y="544799"/>
                  <a:pt x="313907" y="546823"/>
                  <a:pt x="313502" y="548617"/>
                </a:cubicBezTo>
                <a:cubicBezTo>
                  <a:pt x="313097" y="551220"/>
                  <a:pt x="310031" y="552724"/>
                  <a:pt x="304941" y="552724"/>
                </a:cubicBezTo>
                <a:cubicBezTo>
                  <a:pt x="301528" y="552764"/>
                  <a:pt x="298115" y="552070"/>
                  <a:pt x="294934" y="550699"/>
                </a:cubicBezTo>
                <a:cubicBezTo>
                  <a:pt x="294124" y="550317"/>
                  <a:pt x="293199" y="550138"/>
                  <a:pt x="292273" y="550179"/>
                </a:cubicBezTo>
                <a:cubicBezTo>
                  <a:pt x="286373" y="550566"/>
                  <a:pt x="280762" y="552955"/>
                  <a:pt x="276366" y="556946"/>
                </a:cubicBezTo>
                <a:cubicBezTo>
                  <a:pt x="275788" y="557340"/>
                  <a:pt x="275036" y="557490"/>
                  <a:pt x="274341" y="557351"/>
                </a:cubicBezTo>
                <a:close/>
                <a:moveTo>
                  <a:pt x="259417" y="548270"/>
                </a:moveTo>
                <a:cubicBezTo>
                  <a:pt x="262888" y="548784"/>
                  <a:pt x="266185" y="550219"/>
                  <a:pt x="268962" y="552434"/>
                </a:cubicBezTo>
                <a:cubicBezTo>
                  <a:pt x="270581" y="553672"/>
                  <a:pt x="272374" y="554580"/>
                  <a:pt x="274341" y="555095"/>
                </a:cubicBezTo>
                <a:cubicBezTo>
                  <a:pt x="274514" y="555199"/>
                  <a:pt x="274746" y="555199"/>
                  <a:pt x="274920" y="555095"/>
                </a:cubicBezTo>
                <a:cubicBezTo>
                  <a:pt x="279721" y="550473"/>
                  <a:pt x="286026" y="547726"/>
                  <a:pt x="292678" y="547344"/>
                </a:cubicBezTo>
                <a:cubicBezTo>
                  <a:pt x="293951" y="547315"/>
                  <a:pt x="295165" y="547575"/>
                  <a:pt x="296322" y="548096"/>
                </a:cubicBezTo>
                <a:cubicBezTo>
                  <a:pt x="299156" y="549293"/>
                  <a:pt x="302222" y="549901"/>
                  <a:pt x="305346" y="549889"/>
                </a:cubicBezTo>
                <a:cubicBezTo>
                  <a:pt x="308932" y="549889"/>
                  <a:pt x="311477" y="549022"/>
                  <a:pt x="311651" y="547749"/>
                </a:cubicBezTo>
                <a:cubicBezTo>
                  <a:pt x="311998" y="545146"/>
                  <a:pt x="315005" y="542890"/>
                  <a:pt x="318187" y="540576"/>
                </a:cubicBezTo>
                <a:lnTo>
                  <a:pt x="321311" y="538147"/>
                </a:lnTo>
                <a:cubicBezTo>
                  <a:pt x="322699" y="537198"/>
                  <a:pt x="323740" y="535874"/>
                  <a:pt x="324377" y="534329"/>
                </a:cubicBezTo>
                <a:cubicBezTo>
                  <a:pt x="325765" y="528544"/>
                  <a:pt x="340978" y="520099"/>
                  <a:pt x="347109" y="518885"/>
                </a:cubicBezTo>
                <a:cubicBezTo>
                  <a:pt x="349828" y="518306"/>
                  <a:pt x="352662" y="517999"/>
                  <a:pt x="355439" y="517959"/>
                </a:cubicBezTo>
                <a:cubicBezTo>
                  <a:pt x="358794" y="517635"/>
                  <a:pt x="362149" y="518798"/>
                  <a:pt x="364578" y="521141"/>
                </a:cubicBezTo>
                <a:cubicBezTo>
                  <a:pt x="366025" y="522523"/>
                  <a:pt x="367702" y="523611"/>
                  <a:pt x="369553" y="524322"/>
                </a:cubicBezTo>
                <a:cubicBezTo>
                  <a:pt x="370073" y="520736"/>
                  <a:pt x="370652" y="517554"/>
                  <a:pt x="371173" y="514662"/>
                </a:cubicBezTo>
                <a:cubicBezTo>
                  <a:pt x="372156" y="508878"/>
                  <a:pt x="372966" y="504655"/>
                  <a:pt x="371983" y="503498"/>
                </a:cubicBezTo>
                <a:cubicBezTo>
                  <a:pt x="371983" y="503498"/>
                  <a:pt x="371983" y="503151"/>
                  <a:pt x="370941" y="503151"/>
                </a:cubicBezTo>
                <a:cubicBezTo>
                  <a:pt x="358968" y="501520"/>
                  <a:pt x="348787" y="493433"/>
                  <a:pt x="344565" y="482096"/>
                </a:cubicBezTo>
                <a:cubicBezTo>
                  <a:pt x="341267" y="475021"/>
                  <a:pt x="336466" y="468734"/>
                  <a:pt x="330566" y="463643"/>
                </a:cubicBezTo>
                <a:cubicBezTo>
                  <a:pt x="326632" y="460341"/>
                  <a:pt x="323335" y="456291"/>
                  <a:pt x="320964" y="451727"/>
                </a:cubicBezTo>
                <a:cubicBezTo>
                  <a:pt x="319344" y="447736"/>
                  <a:pt x="313559" y="445943"/>
                  <a:pt x="308007" y="444728"/>
                </a:cubicBezTo>
                <a:cubicBezTo>
                  <a:pt x="302454" y="443514"/>
                  <a:pt x="297421" y="441952"/>
                  <a:pt x="295628" y="438307"/>
                </a:cubicBezTo>
                <a:cubicBezTo>
                  <a:pt x="293951" y="435427"/>
                  <a:pt x="294703" y="431754"/>
                  <a:pt x="297363" y="429747"/>
                </a:cubicBezTo>
                <a:cubicBezTo>
                  <a:pt x="299388" y="427913"/>
                  <a:pt x="300602" y="425316"/>
                  <a:pt x="300602" y="422574"/>
                </a:cubicBezTo>
                <a:cubicBezTo>
                  <a:pt x="300602" y="416443"/>
                  <a:pt x="309221" y="416443"/>
                  <a:pt x="312171" y="416443"/>
                </a:cubicBezTo>
                <a:cubicBezTo>
                  <a:pt x="314138" y="416443"/>
                  <a:pt x="316163" y="416443"/>
                  <a:pt x="317956" y="416443"/>
                </a:cubicBezTo>
                <a:lnTo>
                  <a:pt x="321542" y="416443"/>
                </a:lnTo>
                <a:cubicBezTo>
                  <a:pt x="322063" y="416506"/>
                  <a:pt x="322583" y="416506"/>
                  <a:pt x="323104" y="416443"/>
                </a:cubicBezTo>
                <a:cubicBezTo>
                  <a:pt x="325128" y="406724"/>
                  <a:pt x="326112" y="396810"/>
                  <a:pt x="325996" y="386884"/>
                </a:cubicBezTo>
                <a:cubicBezTo>
                  <a:pt x="326632" y="381713"/>
                  <a:pt x="328599" y="376796"/>
                  <a:pt x="331780" y="372654"/>
                </a:cubicBezTo>
                <a:cubicBezTo>
                  <a:pt x="334962" y="367564"/>
                  <a:pt x="336755" y="364325"/>
                  <a:pt x="334846" y="362358"/>
                </a:cubicBezTo>
                <a:cubicBezTo>
                  <a:pt x="333690" y="361450"/>
                  <a:pt x="333054" y="360015"/>
                  <a:pt x="333169" y="358540"/>
                </a:cubicBezTo>
                <a:cubicBezTo>
                  <a:pt x="333574" y="356169"/>
                  <a:pt x="336466" y="354665"/>
                  <a:pt x="340168" y="352756"/>
                </a:cubicBezTo>
                <a:cubicBezTo>
                  <a:pt x="342482" y="351651"/>
                  <a:pt x="344738" y="350355"/>
                  <a:pt x="346820" y="348880"/>
                </a:cubicBezTo>
                <a:cubicBezTo>
                  <a:pt x="349770" y="346624"/>
                  <a:pt x="350175" y="341823"/>
                  <a:pt x="350580" y="336733"/>
                </a:cubicBezTo>
                <a:cubicBezTo>
                  <a:pt x="350291" y="331411"/>
                  <a:pt x="351910" y="326165"/>
                  <a:pt x="355150" y="321925"/>
                </a:cubicBezTo>
                <a:cubicBezTo>
                  <a:pt x="357984" y="318824"/>
                  <a:pt x="360472" y="315429"/>
                  <a:pt x="362554" y="311802"/>
                </a:cubicBezTo>
                <a:cubicBezTo>
                  <a:pt x="366140" y="306018"/>
                  <a:pt x="369206" y="301390"/>
                  <a:pt x="372793" y="301390"/>
                </a:cubicBezTo>
                <a:cubicBezTo>
                  <a:pt x="378750" y="300141"/>
                  <a:pt x="383146" y="295033"/>
                  <a:pt x="383436" y="288953"/>
                </a:cubicBezTo>
                <a:cubicBezTo>
                  <a:pt x="384072" y="284852"/>
                  <a:pt x="385460" y="280919"/>
                  <a:pt x="387658" y="277385"/>
                </a:cubicBezTo>
                <a:cubicBezTo>
                  <a:pt x="391476" y="271207"/>
                  <a:pt x="393501" y="264069"/>
                  <a:pt x="393443" y="256792"/>
                </a:cubicBezTo>
                <a:cubicBezTo>
                  <a:pt x="393443" y="254768"/>
                  <a:pt x="392691" y="252627"/>
                  <a:pt x="392286" y="250429"/>
                </a:cubicBezTo>
                <a:cubicBezTo>
                  <a:pt x="390319" y="239670"/>
                  <a:pt x="388006" y="227292"/>
                  <a:pt x="395351" y="218788"/>
                </a:cubicBezTo>
                <a:cubicBezTo>
                  <a:pt x="403739" y="208666"/>
                  <a:pt x="406920" y="200625"/>
                  <a:pt x="405243" y="192701"/>
                </a:cubicBezTo>
                <a:cubicBezTo>
                  <a:pt x="403913" y="186222"/>
                  <a:pt x="409524" y="183214"/>
                  <a:pt x="414440" y="180611"/>
                </a:cubicBezTo>
                <a:cubicBezTo>
                  <a:pt x="416696" y="179524"/>
                  <a:pt x="418836" y="178141"/>
                  <a:pt x="420745" y="176504"/>
                </a:cubicBezTo>
                <a:cubicBezTo>
                  <a:pt x="422249" y="175191"/>
                  <a:pt x="423869" y="173988"/>
                  <a:pt x="425547" y="172918"/>
                </a:cubicBezTo>
                <a:cubicBezTo>
                  <a:pt x="433818" y="167891"/>
                  <a:pt x="440875" y="161123"/>
                  <a:pt x="446255" y="153077"/>
                </a:cubicBezTo>
                <a:cubicBezTo>
                  <a:pt x="441858" y="147206"/>
                  <a:pt x="436421" y="142203"/>
                  <a:pt x="430174" y="138327"/>
                </a:cubicBezTo>
                <a:cubicBezTo>
                  <a:pt x="419993" y="133642"/>
                  <a:pt x="413399" y="116462"/>
                  <a:pt x="413399" y="94481"/>
                </a:cubicBezTo>
                <a:cubicBezTo>
                  <a:pt x="413168" y="82016"/>
                  <a:pt x="411664" y="69602"/>
                  <a:pt x="408829" y="57461"/>
                </a:cubicBezTo>
                <a:cubicBezTo>
                  <a:pt x="408135" y="54048"/>
                  <a:pt x="407556" y="51676"/>
                  <a:pt x="407325" y="49420"/>
                </a:cubicBezTo>
                <a:cubicBezTo>
                  <a:pt x="406573" y="43115"/>
                  <a:pt x="396509" y="28828"/>
                  <a:pt x="384188" y="21944"/>
                </a:cubicBezTo>
                <a:cubicBezTo>
                  <a:pt x="376610" y="18126"/>
                  <a:pt x="371057" y="11272"/>
                  <a:pt x="368859" y="3087"/>
                </a:cubicBezTo>
                <a:lnTo>
                  <a:pt x="368223" y="3955"/>
                </a:lnTo>
                <a:cubicBezTo>
                  <a:pt x="362959" y="11359"/>
                  <a:pt x="362149" y="12516"/>
                  <a:pt x="358216" y="12516"/>
                </a:cubicBezTo>
                <a:lnTo>
                  <a:pt x="353993" y="12516"/>
                </a:lnTo>
                <a:cubicBezTo>
                  <a:pt x="351332" y="12516"/>
                  <a:pt x="350233" y="15292"/>
                  <a:pt x="348613" y="19804"/>
                </a:cubicBezTo>
                <a:cubicBezTo>
                  <a:pt x="346994" y="24316"/>
                  <a:pt x="344217" y="31951"/>
                  <a:pt x="336235" y="31951"/>
                </a:cubicBezTo>
                <a:cubicBezTo>
                  <a:pt x="331838" y="31558"/>
                  <a:pt x="327790" y="34508"/>
                  <a:pt x="326864" y="38835"/>
                </a:cubicBezTo>
                <a:cubicBezTo>
                  <a:pt x="325707" y="41669"/>
                  <a:pt x="324377" y="44619"/>
                  <a:pt x="320039" y="44619"/>
                </a:cubicBezTo>
                <a:cubicBezTo>
                  <a:pt x="314138" y="44012"/>
                  <a:pt x="308759" y="41102"/>
                  <a:pt x="304999" y="36521"/>
                </a:cubicBezTo>
                <a:lnTo>
                  <a:pt x="269945" y="36521"/>
                </a:lnTo>
                <a:cubicBezTo>
                  <a:pt x="269656" y="36515"/>
                  <a:pt x="269367" y="36394"/>
                  <a:pt x="269135" y="36174"/>
                </a:cubicBezTo>
                <a:cubicBezTo>
                  <a:pt x="266590" y="33490"/>
                  <a:pt x="263293" y="31656"/>
                  <a:pt x="259707" y="30910"/>
                </a:cubicBezTo>
                <a:cubicBezTo>
                  <a:pt x="259013" y="30881"/>
                  <a:pt x="258261" y="31084"/>
                  <a:pt x="257682" y="31488"/>
                </a:cubicBezTo>
                <a:lnTo>
                  <a:pt x="247964" y="37909"/>
                </a:lnTo>
                <a:cubicBezTo>
                  <a:pt x="247733" y="37967"/>
                  <a:pt x="247560" y="37967"/>
                  <a:pt x="247328" y="37909"/>
                </a:cubicBezTo>
                <a:lnTo>
                  <a:pt x="81893" y="37909"/>
                </a:lnTo>
                <a:lnTo>
                  <a:pt x="81893" y="94250"/>
                </a:lnTo>
                <a:cubicBezTo>
                  <a:pt x="81893" y="94886"/>
                  <a:pt x="81373" y="95407"/>
                  <a:pt x="80736" y="95407"/>
                </a:cubicBezTo>
                <a:lnTo>
                  <a:pt x="56558" y="95407"/>
                </a:lnTo>
                <a:lnTo>
                  <a:pt x="56558" y="183561"/>
                </a:lnTo>
                <a:cubicBezTo>
                  <a:pt x="56963" y="189982"/>
                  <a:pt x="57888" y="211384"/>
                  <a:pt x="52451" y="213236"/>
                </a:cubicBezTo>
                <a:lnTo>
                  <a:pt x="50715" y="213756"/>
                </a:lnTo>
                <a:cubicBezTo>
                  <a:pt x="44931" y="215607"/>
                  <a:pt x="29660" y="220466"/>
                  <a:pt x="29660" y="227292"/>
                </a:cubicBezTo>
                <a:cubicBezTo>
                  <a:pt x="29660" y="235100"/>
                  <a:pt x="28330" y="243314"/>
                  <a:pt x="18612" y="245281"/>
                </a:cubicBezTo>
                <a:cubicBezTo>
                  <a:pt x="15835" y="245859"/>
                  <a:pt x="15372" y="248867"/>
                  <a:pt x="14968" y="253727"/>
                </a:cubicBezTo>
                <a:cubicBezTo>
                  <a:pt x="14563" y="258585"/>
                  <a:pt x="14042" y="265295"/>
                  <a:pt x="6638" y="265295"/>
                </a:cubicBezTo>
                <a:cubicBezTo>
                  <a:pt x="5018" y="265295"/>
                  <a:pt x="3919" y="265585"/>
                  <a:pt x="3572" y="266047"/>
                </a:cubicBezTo>
                <a:cubicBezTo>
                  <a:pt x="3225" y="266510"/>
                  <a:pt x="4151" y="269576"/>
                  <a:pt x="5192" y="271832"/>
                </a:cubicBezTo>
                <a:cubicBezTo>
                  <a:pt x="7101" y="276054"/>
                  <a:pt x="9472" y="281376"/>
                  <a:pt x="5712" y="285136"/>
                </a:cubicBezTo>
                <a:cubicBezTo>
                  <a:pt x="2762" y="287507"/>
                  <a:pt x="1432" y="291389"/>
                  <a:pt x="2300" y="295085"/>
                </a:cubicBezTo>
                <a:cubicBezTo>
                  <a:pt x="3341" y="297271"/>
                  <a:pt x="5655" y="298567"/>
                  <a:pt x="8084" y="298324"/>
                </a:cubicBezTo>
                <a:cubicBezTo>
                  <a:pt x="9935" y="298203"/>
                  <a:pt x="11728" y="298880"/>
                  <a:pt x="13001" y="300175"/>
                </a:cubicBezTo>
                <a:cubicBezTo>
                  <a:pt x="15372" y="302720"/>
                  <a:pt x="15025" y="307406"/>
                  <a:pt x="14620" y="312785"/>
                </a:cubicBezTo>
                <a:cubicBezTo>
                  <a:pt x="14620" y="315041"/>
                  <a:pt x="14273" y="317355"/>
                  <a:pt x="14273" y="319669"/>
                </a:cubicBezTo>
                <a:cubicBezTo>
                  <a:pt x="14273" y="328982"/>
                  <a:pt x="26999" y="335461"/>
                  <a:pt x="27115" y="335518"/>
                </a:cubicBezTo>
                <a:cubicBezTo>
                  <a:pt x="27578" y="335773"/>
                  <a:pt x="27809" y="336322"/>
                  <a:pt x="27693" y="336849"/>
                </a:cubicBezTo>
                <a:lnTo>
                  <a:pt x="24454" y="348071"/>
                </a:lnTo>
                <a:cubicBezTo>
                  <a:pt x="31858" y="356446"/>
                  <a:pt x="38568" y="365424"/>
                  <a:pt x="44526" y="374910"/>
                </a:cubicBezTo>
                <a:cubicBezTo>
                  <a:pt x="45047" y="376264"/>
                  <a:pt x="45625" y="377577"/>
                  <a:pt x="46319" y="378844"/>
                </a:cubicBezTo>
                <a:cubicBezTo>
                  <a:pt x="49500" y="383540"/>
                  <a:pt x="50889" y="389227"/>
                  <a:pt x="50252" y="394866"/>
                </a:cubicBezTo>
                <a:cubicBezTo>
                  <a:pt x="49443" y="397088"/>
                  <a:pt x="47765" y="398887"/>
                  <a:pt x="45625" y="399841"/>
                </a:cubicBezTo>
                <a:cubicBezTo>
                  <a:pt x="42559" y="401403"/>
                  <a:pt x="40824" y="403080"/>
                  <a:pt x="40708" y="404758"/>
                </a:cubicBezTo>
                <a:cubicBezTo>
                  <a:pt x="40708" y="405972"/>
                  <a:pt x="41287" y="407118"/>
                  <a:pt x="42212" y="407881"/>
                </a:cubicBezTo>
                <a:lnTo>
                  <a:pt x="53781" y="409559"/>
                </a:lnTo>
                <a:cubicBezTo>
                  <a:pt x="54186" y="409605"/>
                  <a:pt x="54533" y="409871"/>
                  <a:pt x="54649" y="410253"/>
                </a:cubicBezTo>
                <a:lnTo>
                  <a:pt x="57715" y="417946"/>
                </a:lnTo>
                <a:cubicBezTo>
                  <a:pt x="66160" y="418374"/>
                  <a:pt x="74084" y="422140"/>
                  <a:pt x="79753" y="428416"/>
                </a:cubicBezTo>
                <a:cubicBezTo>
                  <a:pt x="82125" y="431251"/>
                  <a:pt x="84092" y="433448"/>
                  <a:pt x="85538" y="435184"/>
                </a:cubicBezTo>
                <a:cubicBezTo>
                  <a:pt x="89760" y="439869"/>
                  <a:pt x="91669" y="441952"/>
                  <a:pt x="91669" y="446001"/>
                </a:cubicBezTo>
                <a:cubicBezTo>
                  <a:pt x="91669" y="448546"/>
                  <a:pt x="93809" y="450050"/>
                  <a:pt x="98553" y="453289"/>
                </a:cubicBezTo>
                <a:cubicBezTo>
                  <a:pt x="101907" y="455435"/>
                  <a:pt x="105089" y="457795"/>
                  <a:pt x="108097" y="460346"/>
                </a:cubicBezTo>
                <a:cubicBezTo>
                  <a:pt x="118624" y="469081"/>
                  <a:pt x="118624" y="474460"/>
                  <a:pt x="118624" y="479724"/>
                </a:cubicBezTo>
                <a:cubicBezTo>
                  <a:pt x="118624" y="482674"/>
                  <a:pt x="129095" y="488805"/>
                  <a:pt x="136498" y="492161"/>
                </a:cubicBezTo>
                <a:cubicBezTo>
                  <a:pt x="136788" y="492299"/>
                  <a:pt x="136961" y="492525"/>
                  <a:pt x="137077" y="492797"/>
                </a:cubicBezTo>
                <a:lnTo>
                  <a:pt x="143208" y="508126"/>
                </a:lnTo>
                <a:cubicBezTo>
                  <a:pt x="146448" y="509664"/>
                  <a:pt x="149051" y="512336"/>
                  <a:pt x="150497" y="515645"/>
                </a:cubicBezTo>
                <a:cubicBezTo>
                  <a:pt x="152984" y="521019"/>
                  <a:pt x="156975" y="525537"/>
                  <a:pt x="162066" y="528602"/>
                </a:cubicBezTo>
                <a:cubicBezTo>
                  <a:pt x="164726" y="530297"/>
                  <a:pt x="167792" y="531275"/>
                  <a:pt x="170974" y="531437"/>
                </a:cubicBezTo>
                <a:cubicBezTo>
                  <a:pt x="173461" y="531495"/>
                  <a:pt x="175832" y="530535"/>
                  <a:pt x="177568" y="528776"/>
                </a:cubicBezTo>
                <a:cubicBezTo>
                  <a:pt x="179303" y="526902"/>
                  <a:pt x="181791" y="525838"/>
                  <a:pt x="184335" y="525826"/>
                </a:cubicBezTo>
                <a:cubicBezTo>
                  <a:pt x="187806" y="526086"/>
                  <a:pt x="191046" y="527492"/>
                  <a:pt x="193590" y="529817"/>
                </a:cubicBezTo>
                <a:cubicBezTo>
                  <a:pt x="196540" y="527579"/>
                  <a:pt x="200012" y="526196"/>
                  <a:pt x="203713" y="525826"/>
                </a:cubicBezTo>
                <a:cubicBezTo>
                  <a:pt x="205101" y="525803"/>
                  <a:pt x="206490" y="526208"/>
                  <a:pt x="207647" y="526983"/>
                </a:cubicBezTo>
                <a:cubicBezTo>
                  <a:pt x="211175" y="529239"/>
                  <a:pt x="226042" y="541502"/>
                  <a:pt x="238883" y="553244"/>
                </a:cubicBezTo>
                <a:cubicBezTo>
                  <a:pt x="245304" y="550705"/>
                  <a:pt x="251956" y="548767"/>
                  <a:pt x="258723" y="54746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4" name="Forma libre: forma 313">
            <a:extLst>
              <a:ext uri="{FF2B5EF4-FFF2-40B4-BE49-F238E27FC236}">
                <a16:creationId xmlns:a16="http://schemas.microsoft.com/office/drawing/2014/main" id="{21932EEC-AC37-E580-948F-CAE28040C14C}"/>
              </a:ext>
            </a:extLst>
          </p:cNvPr>
          <p:cNvSpPr/>
          <p:nvPr/>
        </p:nvSpPr>
        <p:spPr>
          <a:xfrm>
            <a:off x="7308824" y="4128100"/>
            <a:ext cx="49758" cy="54055"/>
          </a:xfrm>
          <a:custGeom>
            <a:avLst/>
            <a:gdLst>
              <a:gd name="connsiteX0" fmla="*/ 31743 w 49758"/>
              <a:gd name="connsiteY0" fmla="*/ 53875 h 54055"/>
              <a:gd name="connsiteX1" fmla="*/ 30991 w 49758"/>
              <a:gd name="connsiteY1" fmla="*/ 53875 h 54055"/>
              <a:gd name="connsiteX2" fmla="*/ 22488 w 49758"/>
              <a:gd name="connsiteY2" fmla="*/ 48437 h 54055"/>
              <a:gd name="connsiteX3" fmla="*/ 19538 w 49758"/>
              <a:gd name="connsiteY3" fmla="*/ 49478 h 54055"/>
              <a:gd name="connsiteX4" fmla="*/ 8837 w 49758"/>
              <a:gd name="connsiteY4" fmla="*/ 52718 h 54055"/>
              <a:gd name="connsiteX5" fmla="*/ 2532 w 49758"/>
              <a:gd name="connsiteY5" fmla="*/ 49941 h 54055"/>
              <a:gd name="connsiteX6" fmla="*/ 3573 w 49758"/>
              <a:gd name="connsiteY6" fmla="*/ 25704 h 54055"/>
              <a:gd name="connsiteX7" fmla="*/ 16703 w 49758"/>
              <a:gd name="connsiteY7" fmla="*/ 6847 h 54055"/>
              <a:gd name="connsiteX8" fmla="*/ 17803 w 49758"/>
              <a:gd name="connsiteY8" fmla="*/ 6327 h 54055"/>
              <a:gd name="connsiteX9" fmla="*/ 20233 w 49758"/>
              <a:gd name="connsiteY9" fmla="*/ 6327 h 54055"/>
              <a:gd name="connsiteX10" fmla="*/ 26017 w 49758"/>
              <a:gd name="connsiteY10" fmla="*/ 6789 h 54055"/>
              <a:gd name="connsiteX11" fmla="*/ 29892 w 49758"/>
              <a:gd name="connsiteY11" fmla="*/ 5517 h 54055"/>
              <a:gd name="connsiteX12" fmla="*/ 37643 w 49758"/>
              <a:gd name="connsiteY12" fmla="*/ 79 h 54055"/>
              <a:gd name="connsiteX13" fmla="*/ 38974 w 49758"/>
              <a:gd name="connsiteY13" fmla="*/ 79 h 54055"/>
              <a:gd name="connsiteX14" fmla="*/ 42560 w 49758"/>
              <a:gd name="connsiteY14" fmla="*/ 3377 h 54055"/>
              <a:gd name="connsiteX15" fmla="*/ 49443 w 49758"/>
              <a:gd name="connsiteY15" fmla="*/ 17259 h 54055"/>
              <a:gd name="connsiteX16" fmla="*/ 44469 w 49758"/>
              <a:gd name="connsiteY16" fmla="*/ 21424 h 54055"/>
              <a:gd name="connsiteX17" fmla="*/ 29198 w 49758"/>
              <a:gd name="connsiteY17" fmla="*/ 31373 h 54055"/>
              <a:gd name="connsiteX18" fmla="*/ 29198 w 49758"/>
              <a:gd name="connsiteY18" fmla="*/ 32010 h 54055"/>
              <a:gd name="connsiteX19" fmla="*/ 33420 w 49758"/>
              <a:gd name="connsiteY19" fmla="*/ 33803 h 54055"/>
              <a:gd name="connsiteX20" fmla="*/ 43601 w 49758"/>
              <a:gd name="connsiteY20" fmla="*/ 38083 h 54055"/>
              <a:gd name="connsiteX21" fmla="*/ 44179 w 49758"/>
              <a:gd name="connsiteY21" fmla="*/ 38893 h 54055"/>
              <a:gd name="connsiteX22" fmla="*/ 44179 w 49758"/>
              <a:gd name="connsiteY22" fmla="*/ 39876 h 54055"/>
              <a:gd name="connsiteX23" fmla="*/ 33016 w 49758"/>
              <a:gd name="connsiteY23" fmla="*/ 53238 h 54055"/>
              <a:gd name="connsiteX24" fmla="*/ 32206 w 49758"/>
              <a:gd name="connsiteY24" fmla="*/ 53701 h 54055"/>
              <a:gd name="connsiteX25" fmla="*/ 22488 w 49758"/>
              <a:gd name="connsiteY25" fmla="*/ 45892 h 54055"/>
              <a:gd name="connsiteX26" fmla="*/ 31570 w 49758"/>
              <a:gd name="connsiteY26" fmla="*/ 51040 h 54055"/>
              <a:gd name="connsiteX27" fmla="*/ 41230 w 49758"/>
              <a:gd name="connsiteY27" fmla="*/ 39471 h 54055"/>
              <a:gd name="connsiteX28" fmla="*/ 32726 w 49758"/>
              <a:gd name="connsiteY28" fmla="*/ 36058 h 54055"/>
              <a:gd name="connsiteX29" fmla="*/ 27578 w 49758"/>
              <a:gd name="connsiteY29" fmla="*/ 33745 h 54055"/>
              <a:gd name="connsiteX30" fmla="*/ 27000 w 49758"/>
              <a:gd name="connsiteY30" fmla="*/ 30853 h 54055"/>
              <a:gd name="connsiteX31" fmla="*/ 43949 w 49758"/>
              <a:gd name="connsiteY31" fmla="*/ 19284 h 54055"/>
              <a:gd name="connsiteX32" fmla="*/ 47245 w 49758"/>
              <a:gd name="connsiteY32" fmla="*/ 16739 h 54055"/>
              <a:gd name="connsiteX33" fmla="*/ 40998 w 49758"/>
              <a:gd name="connsiteY33" fmla="*/ 5170 h 54055"/>
              <a:gd name="connsiteX34" fmla="*/ 37990 w 49758"/>
              <a:gd name="connsiteY34" fmla="*/ 2393 h 54055"/>
              <a:gd name="connsiteX35" fmla="*/ 31628 w 49758"/>
              <a:gd name="connsiteY35" fmla="*/ 6789 h 54055"/>
              <a:gd name="connsiteX36" fmla="*/ 25843 w 49758"/>
              <a:gd name="connsiteY36" fmla="*/ 8987 h 54055"/>
              <a:gd name="connsiteX37" fmla="*/ 20059 w 49758"/>
              <a:gd name="connsiteY37" fmla="*/ 8467 h 54055"/>
              <a:gd name="connsiteX38" fmla="*/ 18381 w 49758"/>
              <a:gd name="connsiteY38" fmla="*/ 8467 h 54055"/>
              <a:gd name="connsiteX39" fmla="*/ 5366 w 49758"/>
              <a:gd name="connsiteY39" fmla="*/ 26977 h 54055"/>
              <a:gd name="connsiteX40" fmla="*/ 4672 w 49758"/>
              <a:gd name="connsiteY40" fmla="*/ 48726 h 54055"/>
              <a:gd name="connsiteX41" fmla="*/ 8952 w 49758"/>
              <a:gd name="connsiteY41" fmla="*/ 50288 h 54055"/>
              <a:gd name="connsiteX42" fmla="*/ 18381 w 49758"/>
              <a:gd name="connsiteY42" fmla="*/ 47454 h 54055"/>
              <a:gd name="connsiteX43" fmla="*/ 22488 w 49758"/>
              <a:gd name="connsiteY43" fmla="*/ 45892 h 5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758" h="54055">
                <a:moveTo>
                  <a:pt x="31743" y="53875"/>
                </a:moveTo>
                <a:cubicBezTo>
                  <a:pt x="31512" y="53944"/>
                  <a:pt x="31222" y="53944"/>
                  <a:pt x="30991" y="53875"/>
                </a:cubicBezTo>
                <a:cubicBezTo>
                  <a:pt x="27405" y="50519"/>
                  <a:pt x="24744" y="48437"/>
                  <a:pt x="22488" y="48437"/>
                </a:cubicBezTo>
                <a:cubicBezTo>
                  <a:pt x="21447" y="48472"/>
                  <a:pt x="20406" y="48836"/>
                  <a:pt x="19538" y="49478"/>
                </a:cubicBezTo>
                <a:cubicBezTo>
                  <a:pt x="16357" y="51509"/>
                  <a:pt x="12655" y="52631"/>
                  <a:pt x="8837" y="52718"/>
                </a:cubicBezTo>
                <a:cubicBezTo>
                  <a:pt x="6350" y="53065"/>
                  <a:pt x="3920" y="51989"/>
                  <a:pt x="2532" y="49941"/>
                </a:cubicBezTo>
                <a:cubicBezTo>
                  <a:pt x="623" y="46181"/>
                  <a:pt x="-2790" y="32877"/>
                  <a:pt x="3573" y="25704"/>
                </a:cubicBezTo>
                <a:cubicBezTo>
                  <a:pt x="8374" y="19723"/>
                  <a:pt x="12770" y="13424"/>
                  <a:pt x="16703" y="6847"/>
                </a:cubicBezTo>
                <a:cubicBezTo>
                  <a:pt x="16935" y="6500"/>
                  <a:pt x="17398" y="6303"/>
                  <a:pt x="17803" y="6327"/>
                </a:cubicBezTo>
                <a:lnTo>
                  <a:pt x="20233" y="6327"/>
                </a:lnTo>
                <a:cubicBezTo>
                  <a:pt x="22431" y="6327"/>
                  <a:pt x="24339" y="6789"/>
                  <a:pt x="26017" y="6789"/>
                </a:cubicBezTo>
                <a:cubicBezTo>
                  <a:pt x="27694" y="6789"/>
                  <a:pt x="29198" y="6442"/>
                  <a:pt x="29892" y="5517"/>
                </a:cubicBezTo>
                <a:cubicBezTo>
                  <a:pt x="32148" y="3290"/>
                  <a:pt x="34751" y="1456"/>
                  <a:pt x="37643" y="79"/>
                </a:cubicBezTo>
                <a:cubicBezTo>
                  <a:pt x="38048" y="-198"/>
                  <a:pt x="38569" y="-198"/>
                  <a:pt x="38974" y="79"/>
                </a:cubicBezTo>
                <a:lnTo>
                  <a:pt x="42560" y="3377"/>
                </a:lnTo>
                <a:cubicBezTo>
                  <a:pt x="46667" y="6963"/>
                  <a:pt x="50601" y="12805"/>
                  <a:pt x="49443" y="17259"/>
                </a:cubicBezTo>
                <a:cubicBezTo>
                  <a:pt x="48807" y="19532"/>
                  <a:pt x="46841" y="21181"/>
                  <a:pt x="44469" y="21424"/>
                </a:cubicBezTo>
                <a:cubicBezTo>
                  <a:pt x="38338" y="22818"/>
                  <a:pt x="32958" y="26341"/>
                  <a:pt x="29198" y="31373"/>
                </a:cubicBezTo>
                <a:cubicBezTo>
                  <a:pt x="29198" y="31836"/>
                  <a:pt x="29198" y="31952"/>
                  <a:pt x="29198" y="32010"/>
                </a:cubicBezTo>
                <a:cubicBezTo>
                  <a:pt x="30470" y="32836"/>
                  <a:pt x="31916" y="33444"/>
                  <a:pt x="33420" y="33803"/>
                </a:cubicBezTo>
                <a:cubicBezTo>
                  <a:pt x="36949" y="34867"/>
                  <a:pt x="40362" y="36301"/>
                  <a:pt x="43601" y="38083"/>
                </a:cubicBezTo>
                <a:cubicBezTo>
                  <a:pt x="43891" y="38251"/>
                  <a:pt x="44122" y="38552"/>
                  <a:pt x="44179" y="38893"/>
                </a:cubicBezTo>
                <a:cubicBezTo>
                  <a:pt x="44295" y="39205"/>
                  <a:pt x="44295" y="39564"/>
                  <a:pt x="44179" y="39876"/>
                </a:cubicBezTo>
                <a:cubicBezTo>
                  <a:pt x="40073" y="44001"/>
                  <a:pt x="36371" y="48472"/>
                  <a:pt x="33016" y="53238"/>
                </a:cubicBezTo>
                <a:cubicBezTo>
                  <a:pt x="32784" y="53464"/>
                  <a:pt x="32495" y="53626"/>
                  <a:pt x="32206" y="53701"/>
                </a:cubicBezTo>
                <a:close/>
                <a:moveTo>
                  <a:pt x="22488" y="45892"/>
                </a:moveTo>
                <a:cubicBezTo>
                  <a:pt x="26017" y="46447"/>
                  <a:pt x="29256" y="48281"/>
                  <a:pt x="31570" y="51040"/>
                </a:cubicBezTo>
                <a:cubicBezTo>
                  <a:pt x="34520" y="46985"/>
                  <a:pt x="37759" y="43121"/>
                  <a:pt x="41230" y="39471"/>
                </a:cubicBezTo>
                <a:cubicBezTo>
                  <a:pt x="38511" y="38083"/>
                  <a:pt x="35677" y="36938"/>
                  <a:pt x="32726" y="36058"/>
                </a:cubicBezTo>
                <a:cubicBezTo>
                  <a:pt x="30876" y="35636"/>
                  <a:pt x="29140" y="34850"/>
                  <a:pt x="27578" y="33745"/>
                </a:cubicBezTo>
                <a:cubicBezTo>
                  <a:pt x="26884" y="32958"/>
                  <a:pt x="26653" y="31848"/>
                  <a:pt x="27000" y="30853"/>
                </a:cubicBezTo>
                <a:cubicBezTo>
                  <a:pt x="28157" y="26919"/>
                  <a:pt x="37181" y="20788"/>
                  <a:pt x="43949" y="19284"/>
                </a:cubicBezTo>
                <a:cubicBezTo>
                  <a:pt x="45799" y="18879"/>
                  <a:pt x="46899" y="18069"/>
                  <a:pt x="47245" y="16739"/>
                </a:cubicBezTo>
                <a:cubicBezTo>
                  <a:pt x="47997" y="13846"/>
                  <a:pt x="45279" y="8872"/>
                  <a:pt x="40998" y="5170"/>
                </a:cubicBezTo>
                <a:lnTo>
                  <a:pt x="37990" y="2393"/>
                </a:lnTo>
                <a:cubicBezTo>
                  <a:pt x="35677" y="3539"/>
                  <a:pt x="33536" y="5019"/>
                  <a:pt x="31628" y="6789"/>
                </a:cubicBezTo>
                <a:cubicBezTo>
                  <a:pt x="30182" y="8438"/>
                  <a:pt x="28041" y="9259"/>
                  <a:pt x="25843" y="8987"/>
                </a:cubicBezTo>
                <a:cubicBezTo>
                  <a:pt x="23934" y="8924"/>
                  <a:pt x="21967" y="8750"/>
                  <a:pt x="20059" y="8467"/>
                </a:cubicBezTo>
                <a:lnTo>
                  <a:pt x="18381" y="8467"/>
                </a:lnTo>
                <a:cubicBezTo>
                  <a:pt x="14448" y="14928"/>
                  <a:pt x="10110" y="21111"/>
                  <a:pt x="5366" y="26977"/>
                </a:cubicBezTo>
                <a:cubicBezTo>
                  <a:pt x="-418" y="33398"/>
                  <a:pt x="3168" y="45776"/>
                  <a:pt x="4672" y="48726"/>
                </a:cubicBezTo>
                <a:cubicBezTo>
                  <a:pt x="5135" y="49710"/>
                  <a:pt x="6754" y="50288"/>
                  <a:pt x="8952" y="50288"/>
                </a:cubicBezTo>
                <a:cubicBezTo>
                  <a:pt x="12308" y="50230"/>
                  <a:pt x="15547" y="49247"/>
                  <a:pt x="18381" y="47454"/>
                </a:cubicBezTo>
                <a:cubicBezTo>
                  <a:pt x="19538" y="46528"/>
                  <a:pt x="20985" y="45984"/>
                  <a:pt x="22488" y="4589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5" name="Forma libre: forma 314">
            <a:extLst>
              <a:ext uri="{FF2B5EF4-FFF2-40B4-BE49-F238E27FC236}">
                <a16:creationId xmlns:a16="http://schemas.microsoft.com/office/drawing/2014/main" id="{C729FC17-0624-1665-8D0C-452CC6A1726E}"/>
              </a:ext>
            </a:extLst>
          </p:cNvPr>
          <p:cNvSpPr/>
          <p:nvPr/>
        </p:nvSpPr>
        <p:spPr>
          <a:xfrm>
            <a:off x="7164852" y="3977796"/>
            <a:ext cx="183575" cy="159538"/>
          </a:xfrm>
          <a:custGeom>
            <a:avLst/>
            <a:gdLst>
              <a:gd name="connsiteX0" fmla="*/ 169931 w 183575"/>
              <a:gd name="connsiteY0" fmla="*/ 159349 h 159538"/>
              <a:gd name="connsiteX1" fmla="*/ 164146 w 183575"/>
              <a:gd name="connsiteY1" fmla="*/ 158829 h 159538"/>
              <a:gd name="connsiteX2" fmla="*/ 161717 w 183575"/>
              <a:gd name="connsiteY2" fmla="*/ 158829 h 159538"/>
              <a:gd name="connsiteX3" fmla="*/ 160849 w 183575"/>
              <a:gd name="connsiteY3" fmla="*/ 158135 h 159538"/>
              <a:gd name="connsiteX4" fmla="*/ 160849 w 183575"/>
              <a:gd name="connsiteY4" fmla="*/ 157267 h 159538"/>
              <a:gd name="connsiteX5" fmla="*/ 104220 w 183575"/>
              <a:gd name="connsiteY5" fmla="*/ 102026 h 159538"/>
              <a:gd name="connsiteX6" fmla="*/ 92246 w 183575"/>
              <a:gd name="connsiteY6" fmla="*/ 102026 h 159538"/>
              <a:gd name="connsiteX7" fmla="*/ 82701 w 183575"/>
              <a:gd name="connsiteY7" fmla="*/ 102431 h 159538"/>
              <a:gd name="connsiteX8" fmla="*/ 76917 w 183575"/>
              <a:gd name="connsiteY8" fmla="*/ 101736 h 159538"/>
              <a:gd name="connsiteX9" fmla="*/ 74314 w 183575"/>
              <a:gd name="connsiteY9" fmla="*/ 100406 h 159538"/>
              <a:gd name="connsiteX10" fmla="*/ 72116 w 183575"/>
              <a:gd name="connsiteY10" fmla="*/ 99539 h 159538"/>
              <a:gd name="connsiteX11" fmla="*/ 65926 w 183575"/>
              <a:gd name="connsiteY11" fmla="*/ 101736 h 159538"/>
              <a:gd name="connsiteX12" fmla="*/ 60142 w 183575"/>
              <a:gd name="connsiteY12" fmla="*/ 103182 h 159538"/>
              <a:gd name="connsiteX13" fmla="*/ 50424 w 183575"/>
              <a:gd name="connsiteY13" fmla="*/ 97398 h 159538"/>
              <a:gd name="connsiteX14" fmla="*/ 47474 w 183575"/>
              <a:gd name="connsiteY14" fmla="*/ 94564 h 159538"/>
              <a:gd name="connsiteX15" fmla="*/ 36484 w 183575"/>
              <a:gd name="connsiteY15" fmla="*/ 97398 h 159538"/>
              <a:gd name="connsiteX16" fmla="*/ 29831 w 183575"/>
              <a:gd name="connsiteY16" fmla="*/ 108389 h 159538"/>
              <a:gd name="connsiteX17" fmla="*/ 26072 w 183575"/>
              <a:gd name="connsiteY17" fmla="*/ 106364 h 159538"/>
              <a:gd name="connsiteX18" fmla="*/ 16064 w 183575"/>
              <a:gd name="connsiteY18" fmla="*/ 105034 h 159538"/>
              <a:gd name="connsiteX19" fmla="*/ 4149 w 183575"/>
              <a:gd name="connsiteY19" fmla="*/ 105554 h 159538"/>
              <a:gd name="connsiteX20" fmla="*/ 2934 w 183575"/>
              <a:gd name="connsiteY20" fmla="*/ 104571 h 159538"/>
              <a:gd name="connsiteX21" fmla="*/ 1835 w 183575"/>
              <a:gd name="connsiteY21" fmla="*/ 98324 h 159538"/>
              <a:gd name="connsiteX22" fmla="*/ 4901 w 183575"/>
              <a:gd name="connsiteY22" fmla="*/ 66741 h 159538"/>
              <a:gd name="connsiteX23" fmla="*/ 14792 w 183575"/>
              <a:gd name="connsiteY23" fmla="*/ 40653 h 159538"/>
              <a:gd name="connsiteX24" fmla="*/ 23989 w 183575"/>
              <a:gd name="connsiteY24" fmla="*/ 28564 h 159538"/>
              <a:gd name="connsiteX25" fmla="*/ 30295 w 183575"/>
              <a:gd name="connsiteY25" fmla="*/ 24456 h 159538"/>
              <a:gd name="connsiteX26" fmla="*/ 35095 w 183575"/>
              <a:gd name="connsiteY26" fmla="*/ 20870 h 159538"/>
              <a:gd name="connsiteX27" fmla="*/ 56267 w 183575"/>
              <a:gd name="connsiteY27" fmla="*/ 336 h 159538"/>
              <a:gd name="connsiteX28" fmla="*/ 57771 w 183575"/>
              <a:gd name="connsiteY28" fmla="*/ 75 h 159538"/>
              <a:gd name="connsiteX29" fmla="*/ 58059 w 183575"/>
              <a:gd name="connsiteY29" fmla="*/ 336 h 159538"/>
              <a:gd name="connsiteX30" fmla="*/ 73620 w 183575"/>
              <a:gd name="connsiteY30" fmla="*/ 31398 h 159538"/>
              <a:gd name="connsiteX31" fmla="*/ 92882 w 183575"/>
              <a:gd name="connsiteY31" fmla="*/ 70269 h 159538"/>
              <a:gd name="connsiteX32" fmla="*/ 100054 w 183575"/>
              <a:gd name="connsiteY32" fmla="*/ 78136 h 159538"/>
              <a:gd name="connsiteX33" fmla="*/ 110061 w 183575"/>
              <a:gd name="connsiteY33" fmla="*/ 87622 h 159538"/>
              <a:gd name="connsiteX34" fmla="*/ 154197 w 183575"/>
              <a:gd name="connsiteY34" fmla="*/ 117991 h 159538"/>
              <a:gd name="connsiteX35" fmla="*/ 183119 w 183575"/>
              <a:gd name="connsiteY35" fmla="*/ 150499 h 159538"/>
              <a:gd name="connsiteX36" fmla="*/ 183466 w 183575"/>
              <a:gd name="connsiteY36" fmla="*/ 151425 h 159538"/>
              <a:gd name="connsiteX37" fmla="*/ 182888 w 183575"/>
              <a:gd name="connsiteY37" fmla="*/ 152293 h 159538"/>
              <a:gd name="connsiteX38" fmla="*/ 175830 w 183575"/>
              <a:gd name="connsiteY38" fmla="*/ 157093 h 159538"/>
              <a:gd name="connsiteX39" fmla="*/ 169931 w 183575"/>
              <a:gd name="connsiteY39" fmla="*/ 159349 h 159538"/>
              <a:gd name="connsiteX40" fmla="*/ 163047 w 183575"/>
              <a:gd name="connsiteY40" fmla="*/ 156457 h 159538"/>
              <a:gd name="connsiteX41" fmla="*/ 164204 w 183575"/>
              <a:gd name="connsiteY41" fmla="*/ 156457 h 159538"/>
              <a:gd name="connsiteX42" fmla="*/ 169989 w 183575"/>
              <a:gd name="connsiteY42" fmla="*/ 156920 h 159538"/>
              <a:gd name="connsiteX43" fmla="*/ 173864 w 183575"/>
              <a:gd name="connsiteY43" fmla="*/ 155647 h 159538"/>
              <a:gd name="connsiteX44" fmla="*/ 180284 w 183575"/>
              <a:gd name="connsiteY44" fmla="*/ 150962 h 159538"/>
              <a:gd name="connsiteX45" fmla="*/ 152172 w 183575"/>
              <a:gd name="connsiteY45" fmla="*/ 119263 h 159538"/>
              <a:gd name="connsiteX46" fmla="*/ 109830 w 183575"/>
              <a:gd name="connsiteY46" fmla="*/ 89763 h 159538"/>
              <a:gd name="connsiteX47" fmla="*/ 97856 w 183575"/>
              <a:gd name="connsiteY47" fmla="*/ 79062 h 159538"/>
              <a:gd name="connsiteX48" fmla="*/ 92072 w 183575"/>
              <a:gd name="connsiteY48" fmla="*/ 72410 h 159538"/>
              <a:gd name="connsiteX49" fmla="*/ 70901 w 183575"/>
              <a:gd name="connsiteY49" fmla="*/ 31340 h 159538"/>
              <a:gd name="connsiteX50" fmla="*/ 56845 w 183575"/>
              <a:gd name="connsiteY50" fmla="*/ 2881 h 159538"/>
              <a:gd name="connsiteX51" fmla="*/ 35905 w 183575"/>
              <a:gd name="connsiteY51" fmla="*/ 22779 h 159538"/>
              <a:gd name="connsiteX52" fmla="*/ 31451 w 183575"/>
              <a:gd name="connsiteY52" fmla="*/ 26018 h 159538"/>
              <a:gd name="connsiteX53" fmla="*/ 24626 w 183575"/>
              <a:gd name="connsiteY53" fmla="*/ 30530 h 159538"/>
              <a:gd name="connsiteX54" fmla="*/ 16528 w 183575"/>
              <a:gd name="connsiteY54" fmla="*/ 40190 h 159538"/>
              <a:gd name="connsiteX55" fmla="*/ 6173 w 183575"/>
              <a:gd name="connsiteY55" fmla="*/ 68187 h 159538"/>
              <a:gd name="connsiteX56" fmla="*/ 3628 w 183575"/>
              <a:gd name="connsiteY56" fmla="*/ 97861 h 159538"/>
              <a:gd name="connsiteX57" fmla="*/ 4553 w 183575"/>
              <a:gd name="connsiteY57" fmla="*/ 103182 h 159538"/>
              <a:gd name="connsiteX58" fmla="*/ 15602 w 183575"/>
              <a:gd name="connsiteY58" fmla="*/ 102778 h 159538"/>
              <a:gd name="connsiteX59" fmla="*/ 27171 w 183575"/>
              <a:gd name="connsiteY59" fmla="*/ 104802 h 159538"/>
              <a:gd name="connsiteX60" fmla="*/ 29311 w 183575"/>
              <a:gd name="connsiteY60" fmla="*/ 106133 h 159538"/>
              <a:gd name="connsiteX61" fmla="*/ 33765 w 183575"/>
              <a:gd name="connsiteY61" fmla="*/ 96762 h 159538"/>
              <a:gd name="connsiteX62" fmla="*/ 48400 w 183575"/>
              <a:gd name="connsiteY62" fmla="*/ 92828 h 159538"/>
              <a:gd name="connsiteX63" fmla="*/ 51523 w 183575"/>
              <a:gd name="connsiteY63" fmla="*/ 95779 h 159538"/>
              <a:gd name="connsiteX64" fmla="*/ 59621 w 183575"/>
              <a:gd name="connsiteY64" fmla="*/ 100695 h 159538"/>
              <a:gd name="connsiteX65" fmla="*/ 64191 w 183575"/>
              <a:gd name="connsiteY65" fmla="*/ 99481 h 159538"/>
              <a:gd name="connsiteX66" fmla="*/ 74776 w 183575"/>
              <a:gd name="connsiteY66" fmla="*/ 98266 h 159538"/>
              <a:gd name="connsiteX67" fmla="*/ 77032 w 183575"/>
              <a:gd name="connsiteY67" fmla="*/ 99423 h 159538"/>
              <a:gd name="connsiteX68" fmla="*/ 82181 w 183575"/>
              <a:gd name="connsiteY68" fmla="*/ 99943 h 159538"/>
              <a:gd name="connsiteX69" fmla="*/ 91609 w 183575"/>
              <a:gd name="connsiteY69" fmla="*/ 99596 h 159538"/>
              <a:gd name="connsiteX70" fmla="*/ 103988 w 183575"/>
              <a:gd name="connsiteY70" fmla="*/ 99596 h 159538"/>
              <a:gd name="connsiteX71" fmla="*/ 162584 w 183575"/>
              <a:gd name="connsiteY71" fmla="*/ 156168 h 15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3575" h="159538">
                <a:moveTo>
                  <a:pt x="169931" y="159349"/>
                </a:moveTo>
                <a:cubicBezTo>
                  <a:pt x="168021" y="159286"/>
                  <a:pt x="166055" y="159112"/>
                  <a:pt x="164146" y="158829"/>
                </a:cubicBezTo>
                <a:lnTo>
                  <a:pt x="161717" y="158829"/>
                </a:lnTo>
                <a:cubicBezTo>
                  <a:pt x="161312" y="158759"/>
                  <a:pt x="161022" y="158499"/>
                  <a:pt x="160849" y="158135"/>
                </a:cubicBezTo>
                <a:cubicBezTo>
                  <a:pt x="160733" y="157863"/>
                  <a:pt x="160733" y="157539"/>
                  <a:pt x="160849" y="157267"/>
                </a:cubicBezTo>
                <a:cubicBezTo>
                  <a:pt x="140835" y="135923"/>
                  <a:pt x="108211" y="102546"/>
                  <a:pt x="104220" y="102026"/>
                </a:cubicBezTo>
                <a:cubicBezTo>
                  <a:pt x="100228" y="101748"/>
                  <a:pt x="96237" y="101748"/>
                  <a:pt x="92246" y="102026"/>
                </a:cubicBezTo>
                <a:cubicBezTo>
                  <a:pt x="88949" y="102026"/>
                  <a:pt x="85535" y="102431"/>
                  <a:pt x="82701" y="102431"/>
                </a:cubicBezTo>
                <a:cubicBezTo>
                  <a:pt x="80735" y="102546"/>
                  <a:pt x="78768" y="102315"/>
                  <a:pt x="76917" y="101736"/>
                </a:cubicBezTo>
                <a:cubicBezTo>
                  <a:pt x="75992" y="101378"/>
                  <a:pt x="75124" y="100932"/>
                  <a:pt x="74314" y="100406"/>
                </a:cubicBezTo>
                <a:cubicBezTo>
                  <a:pt x="73736" y="99862"/>
                  <a:pt x="72926" y="99556"/>
                  <a:pt x="72116" y="99539"/>
                </a:cubicBezTo>
                <a:cubicBezTo>
                  <a:pt x="69918" y="99862"/>
                  <a:pt x="67835" y="100609"/>
                  <a:pt x="65926" y="101736"/>
                </a:cubicBezTo>
                <a:cubicBezTo>
                  <a:pt x="64133" y="102691"/>
                  <a:pt x="62167" y="103188"/>
                  <a:pt x="60142" y="103182"/>
                </a:cubicBezTo>
                <a:cubicBezTo>
                  <a:pt x="56267" y="102685"/>
                  <a:pt x="52738" y="100591"/>
                  <a:pt x="50424" y="97398"/>
                </a:cubicBezTo>
                <a:cubicBezTo>
                  <a:pt x="49499" y="96397"/>
                  <a:pt x="48516" y="95449"/>
                  <a:pt x="47474" y="94564"/>
                </a:cubicBezTo>
                <a:cubicBezTo>
                  <a:pt x="42094" y="90110"/>
                  <a:pt x="38450" y="90804"/>
                  <a:pt x="36484" y="97398"/>
                </a:cubicBezTo>
                <a:cubicBezTo>
                  <a:pt x="34517" y="103992"/>
                  <a:pt x="32955" y="108389"/>
                  <a:pt x="29831" y="108389"/>
                </a:cubicBezTo>
                <a:cubicBezTo>
                  <a:pt x="28385" y="108221"/>
                  <a:pt x="26997" y="107492"/>
                  <a:pt x="26072" y="106364"/>
                </a:cubicBezTo>
                <a:cubicBezTo>
                  <a:pt x="25667" y="105959"/>
                  <a:pt x="23874" y="105034"/>
                  <a:pt x="16064" y="105034"/>
                </a:cubicBezTo>
                <a:cubicBezTo>
                  <a:pt x="12825" y="105034"/>
                  <a:pt x="8777" y="105034"/>
                  <a:pt x="4149" y="105554"/>
                </a:cubicBezTo>
                <a:cubicBezTo>
                  <a:pt x="3570" y="105589"/>
                  <a:pt x="3049" y="105167"/>
                  <a:pt x="2934" y="104571"/>
                </a:cubicBezTo>
                <a:cubicBezTo>
                  <a:pt x="2934" y="102546"/>
                  <a:pt x="2240" y="100464"/>
                  <a:pt x="1835" y="98324"/>
                </a:cubicBezTo>
                <a:cubicBezTo>
                  <a:pt x="-132" y="87622"/>
                  <a:pt x="-2388" y="75186"/>
                  <a:pt x="4901" y="66741"/>
                </a:cubicBezTo>
                <a:cubicBezTo>
                  <a:pt x="13288" y="56618"/>
                  <a:pt x="16470" y="48577"/>
                  <a:pt x="14792" y="40653"/>
                </a:cubicBezTo>
                <a:cubicBezTo>
                  <a:pt x="13462" y="34174"/>
                  <a:pt x="19072" y="31167"/>
                  <a:pt x="23989" y="28564"/>
                </a:cubicBezTo>
                <a:cubicBezTo>
                  <a:pt x="26245" y="27476"/>
                  <a:pt x="28385" y="26094"/>
                  <a:pt x="30295" y="24456"/>
                </a:cubicBezTo>
                <a:cubicBezTo>
                  <a:pt x="31799" y="23143"/>
                  <a:pt x="33418" y="21940"/>
                  <a:pt x="35095" y="20870"/>
                </a:cubicBezTo>
                <a:cubicBezTo>
                  <a:pt x="43598" y="15711"/>
                  <a:pt x="50829" y="8688"/>
                  <a:pt x="56267" y="336"/>
                </a:cubicBezTo>
                <a:cubicBezTo>
                  <a:pt x="56613" y="-162"/>
                  <a:pt x="57307" y="-278"/>
                  <a:pt x="57771" y="75"/>
                </a:cubicBezTo>
                <a:cubicBezTo>
                  <a:pt x="57886" y="145"/>
                  <a:pt x="58001" y="237"/>
                  <a:pt x="58059" y="336"/>
                </a:cubicBezTo>
                <a:cubicBezTo>
                  <a:pt x="62687" y="6120"/>
                  <a:pt x="73330" y="20292"/>
                  <a:pt x="73620" y="31398"/>
                </a:cubicBezTo>
                <a:cubicBezTo>
                  <a:pt x="74082" y="47247"/>
                  <a:pt x="88023" y="69691"/>
                  <a:pt x="92882" y="70269"/>
                </a:cubicBezTo>
                <a:cubicBezTo>
                  <a:pt x="96063" y="70732"/>
                  <a:pt x="97972" y="74318"/>
                  <a:pt x="100054" y="78136"/>
                </a:cubicBezTo>
                <a:cubicBezTo>
                  <a:pt x="102137" y="81954"/>
                  <a:pt x="105260" y="87622"/>
                  <a:pt x="110061" y="87622"/>
                </a:cubicBezTo>
                <a:cubicBezTo>
                  <a:pt x="120069" y="87622"/>
                  <a:pt x="138463" y="98035"/>
                  <a:pt x="154197" y="117991"/>
                </a:cubicBezTo>
                <a:cubicBezTo>
                  <a:pt x="163105" y="129479"/>
                  <a:pt x="172765" y="140342"/>
                  <a:pt x="183119" y="150499"/>
                </a:cubicBezTo>
                <a:cubicBezTo>
                  <a:pt x="183350" y="150754"/>
                  <a:pt x="183466" y="151083"/>
                  <a:pt x="183466" y="151425"/>
                </a:cubicBezTo>
                <a:cubicBezTo>
                  <a:pt x="183408" y="151783"/>
                  <a:pt x="183177" y="152102"/>
                  <a:pt x="182888" y="152293"/>
                </a:cubicBezTo>
                <a:cubicBezTo>
                  <a:pt x="180284" y="153536"/>
                  <a:pt x="177913" y="155156"/>
                  <a:pt x="175830" y="157093"/>
                </a:cubicBezTo>
                <a:cubicBezTo>
                  <a:pt x="174384" y="158800"/>
                  <a:pt x="172129" y="159650"/>
                  <a:pt x="169931" y="159349"/>
                </a:cubicBezTo>
                <a:close/>
                <a:moveTo>
                  <a:pt x="163047" y="156457"/>
                </a:moveTo>
                <a:lnTo>
                  <a:pt x="164204" y="156457"/>
                </a:lnTo>
                <a:cubicBezTo>
                  <a:pt x="166402" y="156457"/>
                  <a:pt x="168311" y="156920"/>
                  <a:pt x="169989" y="156920"/>
                </a:cubicBezTo>
                <a:cubicBezTo>
                  <a:pt x="171666" y="156920"/>
                  <a:pt x="173170" y="156573"/>
                  <a:pt x="173864" y="155647"/>
                </a:cubicBezTo>
                <a:cubicBezTo>
                  <a:pt x="175715" y="153744"/>
                  <a:pt x="177913" y="152165"/>
                  <a:pt x="180284" y="150962"/>
                </a:cubicBezTo>
                <a:cubicBezTo>
                  <a:pt x="170219" y="141007"/>
                  <a:pt x="160849" y="130422"/>
                  <a:pt x="152172" y="119263"/>
                </a:cubicBezTo>
                <a:cubicBezTo>
                  <a:pt x="137075" y="100117"/>
                  <a:pt x="119085" y="89763"/>
                  <a:pt x="109830" y="89763"/>
                </a:cubicBezTo>
                <a:cubicBezTo>
                  <a:pt x="103641" y="89763"/>
                  <a:pt x="100460" y="83978"/>
                  <a:pt x="97856" y="79062"/>
                </a:cubicBezTo>
                <a:cubicBezTo>
                  <a:pt x="96063" y="75764"/>
                  <a:pt x="94386" y="72699"/>
                  <a:pt x="92072" y="72410"/>
                </a:cubicBezTo>
                <a:cubicBezTo>
                  <a:pt x="85189" y="71542"/>
                  <a:pt x="71364" y="46842"/>
                  <a:pt x="70901" y="31340"/>
                </a:cubicBezTo>
                <a:cubicBezTo>
                  <a:pt x="70901" y="24399"/>
                  <a:pt x="65521" y="13987"/>
                  <a:pt x="56845" y="2881"/>
                </a:cubicBezTo>
                <a:cubicBezTo>
                  <a:pt x="51350" y="10915"/>
                  <a:pt x="44234" y="17700"/>
                  <a:pt x="35905" y="22779"/>
                </a:cubicBezTo>
                <a:cubicBezTo>
                  <a:pt x="34343" y="23728"/>
                  <a:pt x="32839" y="24815"/>
                  <a:pt x="31451" y="26018"/>
                </a:cubicBezTo>
                <a:cubicBezTo>
                  <a:pt x="29369" y="27823"/>
                  <a:pt x="27113" y="29339"/>
                  <a:pt x="24626" y="30530"/>
                </a:cubicBezTo>
                <a:cubicBezTo>
                  <a:pt x="18841" y="33538"/>
                  <a:pt x="15602" y="35736"/>
                  <a:pt x="16528" y="40190"/>
                </a:cubicBezTo>
                <a:cubicBezTo>
                  <a:pt x="18262" y="48867"/>
                  <a:pt x="15081" y="57544"/>
                  <a:pt x="6173" y="68187"/>
                </a:cubicBezTo>
                <a:cubicBezTo>
                  <a:pt x="-421" y="76111"/>
                  <a:pt x="1719" y="87680"/>
                  <a:pt x="3628" y="97861"/>
                </a:cubicBezTo>
                <a:cubicBezTo>
                  <a:pt x="3975" y="99712"/>
                  <a:pt x="4265" y="101505"/>
                  <a:pt x="4553" y="103182"/>
                </a:cubicBezTo>
                <a:cubicBezTo>
                  <a:pt x="8834" y="103182"/>
                  <a:pt x="12536" y="102778"/>
                  <a:pt x="15602" y="102778"/>
                </a:cubicBezTo>
                <a:cubicBezTo>
                  <a:pt x="24105" y="102778"/>
                  <a:pt x="26303" y="103877"/>
                  <a:pt x="27171" y="104802"/>
                </a:cubicBezTo>
                <a:cubicBezTo>
                  <a:pt x="28038" y="105728"/>
                  <a:pt x="28906" y="106133"/>
                  <a:pt x="29311" y="106133"/>
                </a:cubicBezTo>
                <a:cubicBezTo>
                  <a:pt x="30989" y="106133"/>
                  <a:pt x="32724" y="100348"/>
                  <a:pt x="33765" y="96762"/>
                </a:cubicBezTo>
                <a:cubicBezTo>
                  <a:pt x="36195" y="88664"/>
                  <a:pt x="41574" y="87102"/>
                  <a:pt x="48400" y="92828"/>
                </a:cubicBezTo>
                <a:cubicBezTo>
                  <a:pt x="49499" y="93754"/>
                  <a:pt x="50540" y="94795"/>
                  <a:pt x="51523" y="95779"/>
                </a:cubicBezTo>
                <a:cubicBezTo>
                  <a:pt x="53432" y="98451"/>
                  <a:pt x="56382" y="100227"/>
                  <a:pt x="59621" y="100695"/>
                </a:cubicBezTo>
                <a:cubicBezTo>
                  <a:pt x="61241" y="100637"/>
                  <a:pt x="62803" y="100227"/>
                  <a:pt x="64191" y="99481"/>
                </a:cubicBezTo>
                <a:cubicBezTo>
                  <a:pt x="70843" y="96184"/>
                  <a:pt x="72752" y="96936"/>
                  <a:pt x="74776" y="98266"/>
                </a:cubicBezTo>
                <a:cubicBezTo>
                  <a:pt x="75471" y="98746"/>
                  <a:pt x="76223" y="99134"/>
                  <a:pt x="77032" y="99423"/>
                </a:cubicBezTo>
                <a:cubicBezTo>
                  <a:pt x="78710" y="99868"/>
                  <a:pt x="80445" y="100042"/>
                  <a:pt x="82181" y="99943"/>
                </a:cubicBezTo>
                <a:cubicBezTo>
                  <a:pt x="84957" y="99943"/>
                  <a:pt x="88312" y="99943"/>
                  <a:pt x="91609" y="99596"/>
                </a:cubicBezTo>
                <a:cubicBezTo>
                  <a:pt x="95716" y="99266"/>
                  <a:pt x="99881" y="99266"/>
                  <a:pt x="103988" y="99596"/>
                </a:cubicBezTo>
                <a:cubicBezTo>
                  <a:pt x="109773" y="100464"/>
                  <a:pt x="153908" y="146855"/>
                  <a:pt x="162584" y="15616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6" name="Forma libre: forma 315">
            <a:extLst>
              <a:ext uri="{FF2B5EF4-FFF2-40B4-BE49-F238E27FC236}">
                <a16:creationId xmlns:a16="http://schemas.microsoft.com/office/drawing/2014/main" id="{D3439506-6EF2-4E1B-CEDF-BAC71BBA51F7}"/>
              </a:ext>
            </a:extLst>
          </p:cNvPr>
          <p:cNvSpPr/>
          <p:nvPr/>
        </p:nvSpPr>
        <p:spPr>
          <a:xfrm>
            <a:off x="7068843" y="4067043"/>
            <a:ext cx="407586" cy="318788"/>
          </a:xfrm>
          <a:custGeom>
            <a:avLst/>
            <a:gdLst>
              <a:gd name="connsiteX0" fmla="*/ 176570 w 407586"/>
              <a:gd name="connsiteY0" fmla="*/ 318660 h 318788"/>
              <a:gd name="connsiteX1" fmla="*/ 176570 w 407586"/>
              <a:gd name="connsiteY1" fmla="*/ 318660 h 318788"/>
              <a:gd name="connsiteX2" fmla="*/ 174893 w 407586"/>
              <a:gd name="connsiteY2" fmla="*/ 318139 h 318788"/>
              <a:gd name="connsiteX3" fmla="*/ 143946 w 407586"/>
              <a:gd name="connsiteY3" fmla="*/ 312875 h 318788"/>
              <a:gd name="connsiteX4" fmla="*/ 111727 w 407586"/>
              <a:gd name="connsiteY4" fmla="*/ 294423 h 318788"/>
              <a:gd name="connsiteX5" fmla="*/ 94374 w 407586"/>
              <a:gd name="connsiteY5" fmla="*/ 290605 h 318788"/>
              <a:gd name="connsiteX6" fmla="*/ 84135 w 407586"/>
              <a:gd name="connsiteY6" fmla="*/ 289101 h 318788"/>
              <a:gd name="connsiteX7" fmla="*/ 78351 w 407586"/>
              <a:gd name="connsiteY7" fmla="*/ 286672 h 318788"/>
              <a:gd name="connsiteX8" fmla="*/ 75169 w 407586"/>
              <a:gd name="connsiteY8" fmla="*/ 285457 h 318788"/>
              <a:gd name="connsiteX9" fmla="*/ 74533 w 407586"/>
              <a:gd name="connsiteY9" fmla="*/ 284242 h 318788"/>
              <a:gd name="connsiteX10" fmla="*/ 76326 w 407586"/>
              <a:gd name="connsiteY10" fmla="*/ 273079 h 318788"/>
              <a:gd name="connsiteX11" fmla="*/ 77136 w 407586"/>
              <a:gd name="connsiteY11" fmla="*/ 261915 h 318788"/>
              <a:gd name="connsiteX12" fmla="*/ 76095 w 407586"/>
              <a:gd name="connsiteY12" fmla="*/ 261567 h 318788"/>
              <a:gd name="connsiteX13" fmla="*/ 49718 w 407586"/>
              <a:gd name="connsiteY13" fmla="*/ 240512 h 318788"/>
              <a:gd name="connsiteX14" fmla="*/ 35720 w 407586"/>
              <a:gd name="connsiteY14" fmla="*/ 222060 h 318788"/>
              <a:gd name="connsiteX15" fmla="*/ 26117 w 407586"/>
              <a:gd name="connsiteY15" fmla="*/ 210144 h 318788"/>
              <a:gd name="connsiteX16" fmla="*/ 13160 w 407586"/>
              <a:gd name="connsiteY16" fmla="*/ 203145 h 318788"/>
              <a:gd name="connsiteX17" fmla="*/ 782 w 407586"/>
              <a:gd name="connsiteY17" fmla="*/ 196724 h 318788"/>
              <a:gd name="connsiteX18" fmla="*/ 2517 w 407586"/>
              <a:gd name="connsiteY18" fmla="*/ 188163 h 318788"/>
              <a:gd name="connsiteX19" fmla="*/ 5756 w 407586"/>
              <a:gd name="connsiteY19" fmla="*/ 180990 h 318788"/>
              <a:gd name="connsiteX20" fmla="*/ 17325 w 407586"/>
              <a:gd name="connsiteY20" fmla="*/ 174859 h 318788"/>
              <a:gd name="connsiteX21" fmla="*/ 23109 w 407586"/>
              <a:gd name="connsiteY21" fmla="*/ 174859 h 318788"/>
              <a:gd name="connsiteX22" fmla="*/ 26696 w 407586"/>
              <a:gd name="connsiteY22" fmla="*/ 174859 h 318788"/>
              <a:gd name="connsiteX23" fmla="*/ 28258 w 407586"/>
              <a:gd name="connsiteY23" fmla="*/ 174859 h 318788"/>
              <a:gd name="connsiteX24" fmla="*/ 31150 w 407586"/>
              <a:gd name="connsiteY24" fmla="*/ 145300 h 318788"/>
              <a:gd name="connsiteX25" fmla="*/ 36934 w 407586"/>
              <a:gd name="connsiteY25" fmla="*/ 131071 h 318788"/>
              <a:gd name="connsiteX26" fmla="*/ 40000 w 407586"/>
              <a:gd name="connsiteY26" fmla="*/ 120774 h 318788"/>
              <a:gd name="connsiteX27" fmla="*/ 38322 w 407586"/>
              <a:gd name="connsiteY27" fmla="*/ 116956 h 318788"/>
              <a:gd name="connsiteX28" fmla="*/ 45322 w 407586"/>
              <a:gd name="connsiteY28" fmla="*/ 111172 h 318788"/>
              <a:gd name="connsiteX29" fmla="*/ 51974 w 407586"/>
              <a:gd name="connsiteY29" fmla="*/ 107297 h 318788"/>
              <a:gd name="connsiteX30" fmla="*/ 55734 w 407586"/>
              <a:gd name="connsiteY30" fmla="*/ 95149 h 318788"/>
              <a:gd name="connsiteX31" fmla="*/ 60304 w 407586"/>
              <a:gd name="connsiteY31" fmla="*/ 80341 h 318788"/>
              <a:gd name="connsiteX32" fmla="*/ 67708 w 407586"/>
              <a:gd name="connsiteY32" fmla="*/ 70219 h 318788"/>
              <a:gd name="connsiteX33" fmla="*/ 77946 w 407586"/>
              <a:gd name="connsiteY33" fmla="*/ 59807 h 318788"/>
              <a:gd name="connsiteX34" fmla="*/ 88589 w 407586"/>
              <a:gd name="connsiteY34" fmla="*/ 47370 h 318788"/>
              <a:gd name="connsiteX35" fmla="*/ 92812 w 407586"/>
              <a:gd name="connsiteY35" fmla="*/ 35801 h 318788"/>
              <a:gd name="connsiteX36" fmla="*/ 98596 w 407586"/>
              <a:gd name="connsiteY36" fmla="*/ 15209 h 318788"/>
              <a:gd name="connsiteX37" fmla="*/ 98596 w 407586"/>
              <a:gd name="connsiteY37" fmla="*/ 15209 h 318788"/>
              <a:gd name="connsiteX38" fmla="*/ 98596 w 407586"/>
              <a:gd name="connsiteY38" fmla="*/ 14862 h 318788"/>
              <a:gd name="connsiteX39" fmla="*/ 99638 w 407586"/>
              <a:gd name="connsiteY39" fmla="*/ 13762 h 318788"/>
              <a:gd name="connsiteX40" fmla="*/ 111727 w 407586"/>
              <a:gd name="connsiteY40" fmla="*/ 13242 h 318788"/>
              <a:gd name="connsiteX41" fmla="*/ 123296 w 407586"/>
              <a:gd name="connsiteY41" fmla="*/ 15266 h 318788"/>
              <a:gd name="connsiteX42" fmla="*/ 125436 w 407586"/>
              <a:gd name="connsiteY42" fmla="*/ 16597 h 318788"/>
              <a:gd name="connsiteX43" fmla="*/ 129890 w 407586"/>
              <a:gd name="connsiteY43" fmla="*/ 7226 h 318788"/>
              <a:gd name="connsiteX44" fmla="*/ 144525 w 407586"/>
              <a:gd name="connsiteY44" fmla="*/ 3293 h 318788"/>
              <a:gd name="connsiteX45" fmla="*/ 147648 w 407586"/>
              <a:gd name="connsiteY45" fmla="*/ 6243 h 318788"/>
              <a:gd name="connsiteX46" fmla="*/ 155747 w 407586"/>
              <a:gd name="connsiteY46" fmla="*/ 11159 h 318788"/>
              <a:gd name="connsiteX47" fmla="*/ 160317 w 407586"/>
              <a:gd name="connsiteY47" fmla="*/ 9945 h 318788"/>
              <a:gd name="connsiteX48" fmla="*/ 170902 w 407586"/>
              <a:gd name="connsiteY48" fmla="*/ 8730 h 318788"/>
              <a:gd name="connsiteX49" fmla="*/ 173158 w 407586"/>
              <a:gd name="connsiteY49" fmla="*/ 9887 h 318788"/>
              <a:gd name="connsiteX50" fmla="*/ 178306 w 407586"/>
              <a:gd name="connsiteY50" fmla="*/ 10407 h 318788"/>
              <a:gd name="connsiteX51" fmla="*/ 187735 w 407586"/>
              <a:gd name="connsiteY51" fmla="*/ 10060 h 318788"/>
              <a:gd name="connsiteX52" fmla="*/ 200113 w 407586"/>
              <a:gd name="connsiteY52" fmla="*/ 10060 h 318788"/>
              <a:gd name="connsiteX53" fmla="*/ 258710 w 407586"/>
              <a:gd name="connsiteY53" fmla="*/ 66632 h 318788"/>
              <a:gd name="connsiteX54" fmla="*/ 258710 w 407586"/>
              <a:gd name="connsiteY54" fmla="*/ 67963 h 318788"/>
              <a:gd name="connsiteX55" fmla="*/ 244943 w 407586"/>
              <a:gd name="connsiteY55" fmla="*/ 87687 h 318788"/>
              <a:gd name="connsiteX56" fmla="*/ 244249 w 407586"/>
              <a:gd name="connsiteY56" fmla="*/ 109437 h 318788"/>
              <a:gd name="connsiteX57" fmla="*/ 248529 w 407586"/>
              <a:gd name="connsiteY57" fmla="*/ 110999 h 318788"/>
              <a:gd name="connsiteX58" fmla="*/ 257958 w 407586"/>
              <a:gd name="connsiteY58" fmla="*/ 108164 h 318788"/>
              <a:gd name="connsiteX59" fmla="*/ 272245 w 407586"/>
              <a:gd name="connsiteY59" fmla="*/ 112734 h 318788"/>
              <a:gd name="connsiteX60" fmla="*/ 272245 w 407586"/>
              <a:gd name="connsiteY60" fmla="*/ 114238 h 318788"/>
              <a:gd name="connsiteX61" fmla="*/ 268196 w 407586"/>
              <a:gd name="connsiteY61" fmla="*/ 123262 h 318788"/>
              <a:gd name="connsiteX62" fmla="*/ 284682 w 407586"/>
              <a:gd name="connsiteY62" fmla="*/ 147556 h 318788"/>
              <a:gd name="connsiteX63" fmla="*/ 292664 w 407586"/>
              <a:gd name="connsiteY63" fmla="*/ 155134 h 318788"/>
              <a:gd name="connsiteX64" fmla="*/ 302555 w 407586"/>
              <a:gd name="connsiteY64" fmla="*/ 163811 h 318788"/>
              <a:gd name="connsiteX65" fmla="*/ 357855 w 407586"/>
              <a:gd name="connsiteY65" fmla="*/ 183246 h 318788"/>
              <a:gd name="connsiteX66" fmla="*/ 394990 w 407586"/>
              <a:gd name="connsiteY66" fmla="*/ 191692 h 318788"/>
              <a:gd name="connsiteX67" fmla="*/ 407311 w 407586"/>
              <a:gd name="connsiteY67" fmla="*/ 195625 h 318788"/>
              <a:gd name="connsiteX68" fmla="*/ 405345 w 407586"/>
              <a:gd name="connsiteY68" fmla="*/ 199732 h 318788"/>
              <a:gd name="connsiteX69" fmla="*/ 332808 w 407586"/>
              <a:gd name="connsiteY69" fmla="*/ 272327 h 318788"/>
              <a:gd name="connsiteX70" fmla="*/ 318173 w 407586"/>
              <a:gd name="connsiteY70" fmla="*/ 278631 h 318788"/>
              <a:gd name="connsiteX71" fmla="*/ 312389 w 407586"/>
              <a:gd name="connsiteY71" fmla="*/ 278631 h 318788"/>
              <a:gd name="connsiteX72" fmla="*/ 301803 w 407586"/>
              <a:gd name="connsiteY72" fmla="*/ 278284 h 318788"/>
              <a:gd name="connsiteX73" fmla="*/ 275137 w 407586"/>
              <a:gd name="connsiteY73" fmla="*/ 291531 h 318788"/>
              <a:gd name="connsiteX74" fmla="*/ 266287 w 407586"/>
              <a:gd name="connsiteY74" fmla="*/ 297315 h 318788"/>
              <a:gd name="connsiteX75" fmla="*/ 265940 w 407586"/>
              <a:gd name="connsiteY75" fmla="*/ 297315 h 318788"/>
              <a:gd name="connsiteX76" fmla="*/ 244191 w 407586"/>
              <a:gd name="connsiteY76" fmla="*/ 300728 h 318788"/>
              <a:gd name="connsiteX77" fmla="*/ 230886 w 407586"/>
              <a:gd name="connsiteY77" fmla="*/ 304488 h 318788"/>
              <a:gd name="connsiteX78" fmla="*/ 226953 w 407586"/>
              <a:gd name="connsiteY78" fmla="*/ 305355 h 318788"/>
              <a:gd name="connsiteX79" fmla="*/ 215963 w 407586"/>
              <a:gd name="connsiteY79" fmla="*/ 298414 h 318788"/>
              <a:gd name="connsiteX80" fmla="*/ 212839 w 407586"/>
              <a:gd name="connsiteY80" fmla="*/ 297257 h 318788"/>
              <a:gd name="connsiteX81" fmla="*/ 193924 w 407586"/>
              <a:gd name="connsiteY81" fmla="*/ 303794 h 318788"/>
              <a:gd name="connsiteX82" fmla="*/ 183223 w 407586"/>
              <a:gd name="connsiteY82" fmla="*/ 313396 h 318788"/>
              <a:gd name="connsiteX83" fmla="*/ 176570 w 407586"/>
              <a:gd name="connsiteY83" fmla="*/ 318660 h 318788"/>
              <a:gd name="connsiteX84" fmla="*/ 76963 w 407586"/>
              <a:gd name="connsiteY84" fmla="*/ 283664 h 318788"/>
              <a:gd name="connsiteX85" fmla="*/ 79219 w 407586"/>
              <a:gd name="connsiteY85" fmla="*/ 284532 h 318788"/>
              <a:gd name="connsiteX86" fmla="*/ 85003 w 407586"/>
              <a:gd name="connsiteY86" fmla="*/ 287135 h 318788"/>
              <a:gd name="connsiteX87" fmla="*/ 94258 w 407586"/>
              <a:gd name="connsiteY87" fmla="*/ 288349 h 318788"/>
              <a:gd name="connsiteX88" fmla="*/ 113115 w 407586"/>
              <a:gd name="connsiteY88" fmla="*/ 292745 h 318788"/>
              <a:gd name="connsiteX89" fmla="*/ 143773 w 407586"/>
              <a:gd name="connsiteY89" fmla="*/ 310619 h 318788"/>
              <a:gd name="connsiteX90" fmla="*/ 175934 w 407586"/>
              <a:gd name="connsiteY90" fmla="*/ 316404 h 318788"/>
              <a:gd name="connsiteX91" fmla="*/ 176397 w 407586"/>
              <a:gd name="connsiteY91" fmla="*/ 316404 h 318788"/>
              <a:gd name="connsiteX92" fmla="*/ 176397 w 407586"/>
              <a:gd name="connsiteY92" fmla="*/ 316404 h 318788"/>
              <a:gd name="connsiteX93" fmla="*/ 181661 w 407586"/>
              <a:gd name="connsiteY93" fmla="*/ 311718 h 318788"/>
              <a:gd name="connsiteX94" fmla="*/ 192941 w 407586"/>
              <a:gd name="connsiteY94" fmla="*/ 301654 h 318788"/>
              <a:gd name="connsiteX95" fmla="*/ 212955 w 407586"/>
              <a:gd name="connsiteY95" fmla="*/ 294828 h 318788"/>
              <a:gd name="connsiteX96" fmla="*/ 218161 w 407586"/>
              <a:gd name="connsiteY96" fmla="*/ 297373 h 318788"/>
              <a:gd name="connsiteX97" fmla="*/ 227068 w 407586"/>
              <a:gd name="connsiteY97" fmla="*/ 303157 h 318788"/>
              <a:gd name="connsiteX98" fmla="*/ 229961 w 407586"/>
              <a:gd name="connsiteY98" fmla="*/ 302521 h 318788"/>
              <a:gd name="connsiteX99" fmla="*/ 243843 w 407586"/>
              <a:gd name="connsiteY99" fmla="*/ 298588 h 318788"/>
              <a:gd name="connsiteX100" fmla="*/ 266345 w 407586"/>
              <a:gd name="connsiteY100" fmla="*/ 295117 h 318788"/>
              <a:gd name="connsiteX101" fmla="*/ 266345 w 407586"/>
              <a:gd name="connsiteY101" fmla="*/ 295117 h 318788"/>
              <a:gd name="connsiteX102" fmla="*/ 273807 w 407586"/>
              <a:gd name="connsiteY102" fmla="*/ 290085 h 318788"/>
              <a:gd name="connsiteX103" fmla="*/ 301919 w 407586"/>
              <a:gd name="connsiteY103" fmla="*/ 276318 h 318788"/>
              <a:gd name="connsiteX104" fmla="*/ 312620 w 407586"/>
              <a:gd name="connsiteY104" fmla="*/ 276665 h 318788"/>
              <a:gd name="connsiteX105" fmla="*/ 331362 w 407586"/>
              <a:gd name="connsiteY105" fmla="*/ 271227 h 318788"/>
              <a:gd name="connsiteX106" fmla="*/ 404188 w 407586"/>
              <a:gd name="connsiteY106" fmla="*/ 198401 h 318788"/>
              <a:gd name="connsiteX107" fmla="*/ 405461 w 407586"/>
              <a:gd name="connsiteY107" fmla="*/ 196782 h 318788"/>
              <a:gd name="connsiteX108" fmla="*/ 395222 w 407586"/>
              <a:gd name="connsiteY108" fmla="*/ 194410 h 318788"/>
              <a:gd name="connsiteX109" fmla="*/ 357218 w 407586"/>
              <a:gd name="connsiteY109" fmla="*/ 185791 h 318788"/>
              <a:gd name="connsiteX110" fmla="*/ 302266 w 407586"/>
              <a:gd name="connsiteY110" fmla="*/ 166472 h 318788"/>
              <a:gd name="connsiteX111" fmla="*/ 291218 w 407586"/>
              <a:gd name="connsiteY111" fmla="*/ 157100 h 318788"/>
              <a:gd name="connsiteX112" fmla="*/ 283872 w 407586"/>
              <a:gd name="connsiteY112" fmla="*/ 150044 h 318788"/>
              <a:gd name="connsiteX113" fmla="*/ 266519 w 407586"/>
              <a:gd name="connsiteY113" fmla="*/ 124650 h 318788"/>
              <a:gd name="connsiteX114" fmla="*/ 270279 w 407586"/>
              <a:gd name="connsiteY114" fmla="*/ 114180 h 318788"/>
              <a:gd name="connsiteX115" fmla="*/ 262469 w 407586"/>
              <a:gd name="connsiteY115" fmla="*/ 109437 h 318788"/>
              <a:gd name="connsiteX116" fmla="*/ 259520 w 407586"/>
              <a:gd name="connsiteY116" fmla="*/ 110478 h 318788"/>
              <a:gd name="connsiteX117" fmla="*/ 248818 w 407586"/>
              <a:gd name="connsiteY117" fmla="*/ 113717 h 318788"/>
              <a:gd name="connsiteX118" fmla="*/ 242513 w 407586"/>
              <a:gd name="connsiteY118" fmla="*/ 110941 h 318788"/>
              <a:gd name="connsiteX119" fmla="*/ 243555 w 407586"/>
              <a:gd name="connsiteY119" fmla="*/ 86704 h 318788"/>
              <a:gd name="connsiteX120" fmla="*/ 256627 w 407586"/>
              <a:gd name="connsiteY120" fmla="*/ 68020 h 318788"/>
              <a:gd name="connsiteX121" fmla="*/ 199940 w 407586"/>
              <a:gd name="connsiteY121" fmla="*/ 12779 h 318788"/>
              <a:gd name="connsiteX122" fmla="*/ 187966 w 407586"/>
              <a:gd name="connsiteY122" fmla="*/ 12779 h 318788"/>
              <a:gd name="connsiteX123" fmla="*/ 178422 w 407586"/>
              <a:gd name="connsiteY123" fmla="*/ 13184 h 318788"/>
              <a:gd name="connsiteX124" fmla="*/ 172637 w 407586"/>
              <a:gd name="connsiteY124" fmla="*/ 12490 h 318788"/>
              <a:gd name="connsiteX125" fmla="*/ 170034 w 407586"/>
              <a:gd name="connsiteY125" fmla="*/ 11159 h 318788"/>
              <a:gd name="connsiteX126" fmla="*/ 167836 w 407586"/>
              <a:gd name="connsiteY126" fmla="*/ 10292 h 318788"/>
              <a:gd name="connsiteX127" fmla="*/ 161647 w 407586"/>
              <a:gd name="connsiteY127" fmla="*/ 12490 h 318788"/>
              <a:gd name="connsiteX128" fmla="*/ 155862 w 407586"/>
              <a:gd name="connsiteY128" fmla="*/ 13936 h 318788"/>
              <a:gd name="connsiteX129" fmla="*/ 146144 w 407586"/>
              <a:gd name="connsiteY129" fmla="*/ 8151 h 318788"/>
              <a:gd name="connsiteX130" fmla="*/ 143194 w 407586"/>
              <a:gd name="connsiteY130" fmla="*/ 5317 h 318788"/>
              <a:gd name="connsiteX131" fmla="*/ 132204 w 407586"/>
              <a:gd name="connsiteY131" fmla="*/ 8151 h 318788"/>
              <a:gd name="connsiteX132" fmla="*/ 125552 w 407586"/>
              <a:gd name="connsiteY132" fmla="*/ 19142 h 318788"/>
              <a:gd name="connsiteX133" fmla="*/ 121792 w 407586"/>
              <a:gd name="connsiteY133" fmla="*/ 17118 h 318788"/>
              <a:gd name="connsiteX134" fmla="*/ 111785 w 407586"/>
              <a:gd name="connsiteY134" fmla="*/ 15787 h 318788"/>
              <a:gd name="connsiteX135" fmla="*/ 101026 w 407586"/>
              <a:gd name="connsiteY135" fmla="*/ 16192 h 318788"/>
              <a:gd name="connsiteX136" fmla="*/ 94721 w 407586"/>
              <a:gd name="connsiteY136" fmla="*/ 37131 h 318788"/>
              <a:gd name="connsiteX137" fmla="*/ 90730 w 407586"/>
              <a:gd name="connsiteY137" fmla="*/ 47428 h 318788"/>
              <a:gd name="connsiteX138" fmla="*/ 77831 w 407586"/>
              <a:gd name="connsiteY138" fmla="*/ 62120 h 318788"/>
              <a:gd name="connsiteX139" fmla="*/ 69501 w 407586"/>
              <a:gd name="connsiteY139" fmla="*/ 71491 h 318788"/>
              <a:gd name="connsiteX140" fmla="*/ 61750 w 407586"/>
              <a:gd name="connsiteY140" fmla="*/ 82019 h 318788"/>
              <a:gd name="connsiteX141" fmla="*/ 57874 w 407586"/>
              <a:gd name="connsiteY141" fmla="*/ 95381 h 318788"/>
              <a:gd name="connsiteX142" fmla="*/ 53189 w 407586"/>
              <a:gd name="connsiteY142" fmla="*/ 109148 h 318788"/>
              <a:gd name="connsiteX143" fmla="*/ 46247 w 407586"/>
              <a:gd name="connsiteY143" fmla="*/ 113255 h 318788"/>
              <a:gd name="connsiteX144" fmla="*/ 40463 w 407586"/>
              <a:gd name="connsiteY144" fmla="*/ 117361 h 318788"/>
              <a:gd name="connsiteX145" fmla="*/ 41446 w 407586"/>
              <a:gd name="connsiteY145" fmla="*/ 119270 h 318788"/>
              <a:gd name="connsiteX146" fmla="*/ 38728 w 407586"/>
              <a:gd name="connsiteY146" fmla="*/ 132343 h 318788"/>
              <a:gd name="connsiteX147" fmla="*/ 33348 w 407586"/>
              <a:gd name="connsiteY147" fmla="*/ 145358 h 318788"/>
              <a:gd name="connsiteX148" fmla="*/ 29646 w 407586"/>
              <a:gd name="connsiteY148" fmla="*/ 176594 h 318788"/>
              <a:gd name="connsiteX149" fmla="*/ 26638 w 407586"/>
              <a:gd name="connsiteY149" fmla="*/ 177288 h 318788"/>
              <a:gd name="connsiteX150" fmla="*/ 22878 w 407586"/>
              <a:gd name="connsiteY150" fmla="*/ 177288 h 318788"/>
              <a:gd name="connsiteX151" fmla="*/ 17094 w 407586"/>
              <a:gd name="connsiteY151" fmla="*/ 177288 h 318788"/>
              <a:gd name="connsiteX152" fmla="*/ 7839 w 407586"/>
              <a:gd name="connsiteY152" fmla="*/ 181222 h 318788"/>
              <a:gd name="connsiteX153" fmla="*/ 4079 w 407586"/>
              <a:gd name="connsiteY153" fmla="*/ 189898 h 318788"/>
              <a:gd name="connsiteX154" fmla="*/ 2691 w 407586"/>
              <a:gd name="connsiteY154" fmla="*/ 195972 h 318788"/>
              <a:gd name="connsiteX155" fmla="*/ 13566 w 407586"/>
              <a:gd name="connsiteY155" fmla="*/ 201236 h 318788"/>
              <a:gd name="connsiteX156" fmla="*/ 28085 w 407586"/>
              <a:gd name="connsiteY156" fmla="*/ 209507 h 318788"/>
              <a:gd name="connsiteX157" fmla="*/ 37224 w 407586"/>
              <a:gd name="connsiteY157" fmla="*/ 220672 h 318788"/>
              <a:gd name="connsiteX158" fmla="*/ 51743 w 407586"/>
              <a:gd name="connsiteY158" fmla="*/ 239991 h 318788"/>
              <a:gd name="connsiteX159" fmla="*/ 75979 w 407586"/>
              <a:gd name="connsiteY159" fmla="*/ 259543 h 318788"/>
              <a:gd name="connsiteX160" fmla="*/ 78756 w 407586"/>
              <a:gd name="connsiteY160" fmla="*/ 260700 h 318788"/>
              <a:gd name="connsiteX161" fmla="*/ 78409 w 407586"/>
              <a:gd name="connsiteY161" fmla="*/ 273715 h 318788"/>
              <a:gd name="connsiteX162" fmla="*/ 76963 w 407586"/>
              <a:gd name="connsiteY162" fmla="*/ 283664 h 31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07586" h="318788">
                <a:moveTo>
                  <a:pt x="176570" y="318660"/>
                </a:moveTo>
                <a:lnTo>
                  <a:pt x="176570" y="318660"/>
                </a:lnTo>
                <a:cubicBezTo>
                  <a:pt x="175992" y="318660"/>
                  <a:pt x="175414" y="318475"/>
                  <a:pt x="174893" y="318139"/>
                </a:cubicBezTo>
                <a:cubicBezTo>
                  <a:pt x="164828" y="315096"/>
                  <a:pt x="154416" y="313332"/>
                  <a:pt x="143946" y="312875"/>
                </a:cubicBezTo>
                <a:cubicBezTo>
                  <a:pt x="137410" y="312875"/>
                  <a:pt x="117512" y="299629"/>
                  <a:pt x="111727" y="294423"/>
                </a:cubicBezTo>
                <a:cubicBezTo>
                  <a:pt x="108372" y="291357"/>
                  <a:pt x="100563" y="290952"/>
                  <a:pt x="94374" y="290605"/>
                </a:cubicBezTo>
                <a:cubicBezTo>
                  <a:pt x="90903" y="290750"/>
                  <a:pt x="87433" y="290241"/>
                  <a:pt x="84135" y="289101"/>
                </a:cubicBezTo>
                <a:cubicBezTo>
                  <a:pt x="82285" y="288147"/>
                  <a:pt x="80317" y="287337"/>
                  <a:pt x="78351" y="286672"/>
                </a:cubicBezTo>
                <a:lnTo>
                  <a:pt x="75169" y="285457"/>
                </a:lnTo>
                <a:cubicBezTo>
                  <a:pt x="74707" y="285249"/>
                  <a:pt x="74418" y="284746"/>
                  <a:pt x="74533" y="284242"/>
                </a:cubicBezTo>
                <a:cubicBezTo>
                  <a:pt x="75054" y="279962"/>
                  <a:pt x="75748" y="276318"/>
                  <a:pt x="76326" y="273079"/>
                </a:cubicBezTo>
                <a:cubicBezTo>
                  <a:pt x="77310" y="267294"/>
                  <a:pt x="78119" y="263071"/>
                  <a:pt x="77136" y="261915"/>
                </a:cubicBezTo>
                <a:cubicBezTo>
                  <a:pt x="77136" y="261915"/>
                  <a:pt x="77136" y="261567"/>
                  <a:pt x="76095" y="261567"/>
                </a:cubicBezTo>
                <a:cubicBezTo>
                  <a:pt x="64121" y="259936"/>
                  <a:pt x="53941" y="251849"/>
                  <a:pt x="49718" y="240512"/>
                </a:cubicBezTo>
                <a:cubicBezTo>
                  <a:pt x="46421" y="233438"/>
                  <a:pt x="41620" y="227150"/>
                  <a:pt x="35720" y="222060"/>
                </a:cubicBezTo>
                <a:cubicBezTo>
                  <a:pt x="31786" y="218757"/>
                  <a:pt x="28489" y="214708"/>
                  <a:pt x="26117" y="210144"/>
                </a:cubicBezTo>
                <a:cubicBezTo>
                  <a:pt x="24498" y="206153"/>
                  <a:pt x="18714" y="204359"/>
                  <a:pt x="13160" y="203145"/>
                </a:cubicBezTo>
                <a:cubicBezTo>
                  <a:pt x="7607" y="201930"/>
                  <a:pt x="2575" y="200368"/>
                  <a:pt x="782" y="196724"/>
                </a:cubicBezTo>
                <a:cubicBezTo>
                  <a:pt x="-895" y="193843"/>
                  <a:pt x="-143" y="190170"/>
                  <a:pt x="2517" y="188163"/>
                </a:cubicBezTo>
                <a:cubicBezTo>
                  <a:pt x="4542" y="186329"/>
                  <a:pt x="5756" y="183732"/>
                  <a:pt x="5756" y="180990"/>
                </a:cubicBezTo>
                <a:cubicBezTo>
                  <a:pt x="5756" y="174859"/>
                  <a:pt x="14375" y="174859"/>
                  <a:pt x="17325" y="174859"/>
                </a:cubicBezTo>
                <a:cubicBezTo>
                  <a:pt x="19292" y="174859"/>
                  <a:pt x="21317" y="174859"/>
                  <a:pt x="23109" y="174859"/>
                </a:cubicBezTo>
                <a:lnTo>
                  <a:pt x="26696" y="174859"/>
                </a:lnTo>
                <a:cubicBezTo>
                  <a:pt x="27217" y="174923"/>
                  <a:pt x="27737" y="174923"/>
                  <a:pt x="28258" y="174859"/>
                </a:cubicBezTo>
                <a:cubicBezTo>
                  <a:pt x="30283" y="165141"/>
                  <a:pt x="31266" y="155226"/>
                  <a:pt x="31150" y="145300"/>
                </a:cubicBezTo>
                <a:cubicBezTo>
                  <a:pt x="31786" y="140129"/>
                  <a:pt x="33753" y="135212"/>
                  <a:pt x="36934" y="131071"/>
                </a:cubicBezTo>
                <a:cubicBezTo>
                  <a:pt x="40116" y="125981"/>
                  <a:pt x="41909" y="122741"/>
                  <a:pt x="40000" y="120774"/>
                </a:cubicBezTo>
                <a:cubicBezTo>
                  <a:pt x="38844" y="119866"/>
                  <a:pt x="38207" y="118432"/>
                  <a:pt x="38322" y="116956"/>
                </a:cubicBezTo>
                <a:cubicBezTo>
                  <a:pt x="38728" y="114585"/>
                  <a:pt x="41620" y="113081"/>
                  <a:pt x="45322" y="111172"/>
                </a:cubicBezTo>
                <a:cubicBezTo>
                  <a:pt x="47636" y="110067"/>
                  <a:pt x="49891" y="108772"/>
                  <a:pt x="51974" y="107297"/>
                </a:cubicBezTo>
                <a:cubicBezTo>
                  <a:pt x="54924" y="105041"/>
                  <a:pt x="55329" y="100240"/>
                  <a:pt x="55734" y="95149"/>
                </a:cubicBezTo>
                <a:cubicBezTo>
                  <a:pt x="55445" y="89828"/>
                  <a:pt x="57065" y="84581"/>
                  <a:pt x="60304" y="80341"/>
                </a:cubicBezTo>
                <a:cubicBezTo>
                  <a:pt x="63138" y="77241"/>
                  <a:pt x="65625" y="73845"/>
                  <a:pt x="67708" y="70219"/>
                </a:cubicBezTo>
                <a:cubicBezTo>
                  <a:pt x="71294" y="64434"/>
                  <a:pt x="74360" y="59807"/>
                  <a:pt x="77946" y="59807"/>
                </a:cubicBezTo>
                <a:cubicBezTo>
                  <a:pt x="83904" y="58557"/>
                  <a:pt x="88300" y="53450"/>
                  <a:pt x="88589" y="47370"/>
                </a:cubicBezTo>
                <a:cubicBezTo>
                  <a:pt x="89226" y="43269"/>
                  <a:pt x="90614" y="39336"/>
                  <a:pt x="92812" y="35801"/>
                </a:cubicBezTo>
                <a:cubicBezTo>
                  <a:pt x="96630" y="29623"/>
                  <a:pt x="98654" y="22485"/>
                  <a:pt x="98596" y="15209"/>
                </a:cubicBezTo>
                <a:lnTo>
                  <a:pt x="98596" y="15209"/>
                </a:lnTo>
                <a:cubicBezTo>
                  <a:pt x="98596" y="15093"/>
                  <a:pt x="98596" y="14977"/>
                  <a:pt x="98596" y="14862"/>
                </a:cubicBezTo>
                <a:cubicBezTo>
                  <a:pt x="98596" y="14277"/>
                  <a:pt x="99059" y="13791"/>
                  <a:pt x="99638" y="13762"/>
                </a:cubicBezTo>
                <a:cubicBezTo>
                  <a:pt x="104381" y="13415"/>
                  <a:pt x="108430" y="13242"/>
                  <a:pt x="111727" y="13242"/>
                </a:cubicBezTo>
                <a:cubicBezTo>
                  <a:pt x="120230" y="13242"/>
                  <a:pt x="122428" y="14341"/>
                  <a:pt x="123296" y="15266"/>
                </a:cubicBezTo>
                <a:cubicBezTo>
                  <a:pt x="124164" y="16192"/>
                  <a:pt x="125032" y="16597"/>
                  <a:pt x="125436" y="16597"/>
                </a:cubicBezTo>
                <a:cubicBezTo>
                  <a:pt x="127114" y="16597"/>
                  <a:pt x="128849" y="10812"/>
                  <a:pt x="129890" y="7226"/>
                </a:cubicBezTo>
                <a:cubicBezTo>
                  <a:pt x="132319" y="-872"/>
                  <a:pt x="137699" y="-2434"/>
                  <a:pt x="144525" y="3293"/>
                </a:cubicBezTo>
                <a:cubicBezTo>
                  <a:pt x="145624" y="4218"/>
                  <a:pt x="146665" y="5259"/>
                  <a:pt x="147648" y="6243"/>
                </a:cubicBezTo>
                <a:cubicBezTo>
                  <a:pt x="149558" y="8915"/>
                  <a:pt x="152508" y="10691"/>
                  <a:pt x="155747" y="11159"/>
                </a:cubicBezTo>
                <a:cubicBezTo>
                  <a:pt x="157366" y="11102"/>
                  <a:pt x="158928" y="10691"/>
                  <a:pt x="160317" y="9945"/>
                </a:cubicBezTo>
                <a:cubicBezTo>
                  <a:pt x="166969" y="6648"/>
                  <a:pt x="168877" y="7400"/>
                  <a:pt x="170902" y="8730"/>
                </a:cubicBezTo>
                <a:cubicBezTo>
                  <a:pt x="171596" y="9210"/>
                  <a:pt x="172348" y="9597"/>
                  <a:pt x="173158" y="9887"/>
                </a:cubicBezTo>
                <a:cubicBezTo>
                  <a:pt x="174835" y="10332"/>
                  <a:pt x="176570" y="10506"/>
                  <a:pt x="178306" y="10407"/>
                </a:cubicBezTo>
                <a:cubicBezTo>
                  <a:pt x="181082" y="10407"/>
                  <a:pt x="184437" y="10407"/>
                  <a:pt x="187735" y="10060"/>
                </a:cubicBezTo>
                <a:cubicBezTo>
                  <a:pt x="191841" y="9731"/>
                  <a:pt x="196006" y="9731"/>
                  <a:pt x="200113" y="10060"/>
                </a:cubicBezTo>
                <a:cubicBezTo>
                  <a:pt x="205898" y="10928"/>
                  <a:pt x="250033" y="57319"/>
                  <a:pt x="258710" y="66632"/>
                </a:cubicBezTo>
                <a:cubicBezTo>
                  <a:pt x="258998" y="67031"/>
                  <a:pt x="258998" y="67564"/>
                  <a:pt x="258710" y="67963"/>
                </a:cubicBezTo>
                <a:cubicBezTo>
                  <a:pt x="254602" y="74846"/>
                  <a:pt x="249975" y="81434"/>
                  <a:pt x="244943" y="87687"/>
                </a:cubicBezTo>
                <a:cubicBezTo>
                  <a:pt x="239158" y="94108"/>
                  <a:pt x="242745" y="106487"/>
                  <a:pt x="244249" y="109437"/>
                </a:cubicBezTo>
                <a:cubicBezTo>
                  <a:pt x="244711" y="110420"/>
                  <a:pt x="246331" y="110999"/>
                  <a:pt x="248529" y="110999"/>
                </a:cubicBezTo>
                <a:cubicBezTo>
                  <a:pt x="251884" y="110941"/>
                  <a:pt x="255123" y="109958"/>
                  <a:pt x="257958" y="108164"/>
                </a:cubicBezTo>
                <a:cubicBezTo>
                  <a:pt x="262585" y="105041"/>
                  <a:pt x="266287" y="107181"/>
                  <a:pt x="272245" y="112734"/>
                </a:cubicBezTo>
                <a:cubicBezTo>
                  <a:pt x="272592" y="113168"/>
                  <a:pt x="272592" y="113804"/>
                  <a:pt x="272245" y="114238"/>
                </a:cubicBezTo>
                <a:cubicBezTo>
                  <a:pt x="267675" y="120774"/>
                  <a:pt x="268023" y="122799"/>
                  <a:pt x="268196" y="123262"/>
                </a:cubicBezTo>
                <a:cubicBezTo>
                  <a:pt x="270915" y="129451"/>
                  <a:pt x="280459" y="145474"/>
                  <a:pt x="284682" y="147556"/>
                </a:cubicBezTo>
                <a:cubicBezTo>
                  <a:pt x="287690" y="149656"/>
                  <a:pt x="290408" y="152213"/>
                  <a:pt x="292664" y="155134"/>
                </a:cubicBezTo>
                <a:cubicBezTo>
                  <a:pt x="296019" y="158894"/>
                  <a:pt x="299837" y="163232"/>
                  <a:pt x="302555" y="163811"/>
                </a:cubicBezTo>
                <a:cubicBezTo>
                  <a:pt x="308340" y="165083"/>
                  <a:pt x="338940" y="175379"/>
                  <a:pt x="357855" y="183246"/>
                </a:cubicBezTo>
                <a:cubicBezTo>
                  <a:pt x="369539" y="188562"/>
                  <a:pt x="382149" y="191437"/>
                  <a:pt x="394990" y="191692"/>
                </a:cubicBezTo>
                <a:cubicBezTo>
                  <a:pt x="396090" y="191692"/>
                  <a:pt x="406039" y="191692"/>
                  <a:pt x="407311" y="195625"/>
                </a:cubicBezTo>
                <a:cubicBezTo>
                  <a:pt x="407774" y="196955"/>
                  <a:pt x="407311" y="198343"/>
                  <a:pt x="405345" y="199732"/>
                </a:cubicBezTo>
                <a:cubicBezTo>
                  <a:pt x="399965" y="203955"/>
                  <a:pt x="340270" y="264286"/>
                  <a:pt x="332808" y="272327"/>
                </a:cubicBezTo>
                <a:cubicBezTo>
                  <a:pt x="329222" y="276676"/>
                  <a:pt x="323785" y="279025"/>
                  <a:pt x="318173" y="278631"/>
                </a:cubicBezTo>
                <a:lnTo>
                  <a:pt x="312389" y="278631"/>
                </a:lnTo>
                <a:cubicBezTo>
                  <a:pt x="309381" y="278631"/>
                  <a:pt x="305968" y="278284"/>
                  <a:pt x="301803" y="278284"/>
                </a:cubicBezTo>
                <a:cubicBezTo>
                  <a:pt x="290987" y="278284"/>
                  <a:pt x="281790" y="285978"/>
                  <a:pt x="275137" y="291531"/>
                </a:cubicBezTo>
                <a:cubicBezTo>
                  <a:pt x="271261" y="294770"/>
                  <a:pt x="268485" y="297315"/>
                  <a:pt x="266287" y="297315"/>
                </a:cubicBezTo>
                <a:lnTo>
                  <a:pt x="265940" y="297315"/>
                </a:lnTo>
                <a:cubicBezTo>
                  <a:pt x="258594" y="297651"/>
                  <a:pt x="251305" y="298796"/>
                  <a:pt x="244191" y="300728"/>
                </a:cubicBezTo>
                <a:cubicBezTo>
                  <a:pt x="239621" y="301538"/>
                  <a:pt x="235167" y="302793"/>
                  <a:pt x="230886" y="304488"/>
                </a:cubicBezTo>
                <a:cubicBezTo>
                  <a:pt x="229672" y="305066"/>
                  <a:pt x="228341" y="305367"/>
                  <a:pt x="226953" y="305355"/>
                </a:cubicBezTo>
                <a:cubicBezTo>
                  <a:pt x="222325" y="305217"/>
                  <a:pt x="218103" y="302556"/>
                  <a:pt x="215963" y="298414"/>
                </a:cubicBezTo>
                <a:cubicBezTo>
                  <a:pt x="215557" y="297489"/>
                  <a:pt x="214053" y="297257"/>
                  <a:pt x="212839" y="297257"/>
                </a:cubicBezTo>
                <a:cubicBezTo>
                  <a:pt x="206129" y="298067"/>
                  <a:pt x="199708" y="300294"/>
                  <a:pt x="193924" y="303794"/>
                </a:cubicBezTo>
                <a:cubicBezTo>
                  <a:pt x="189875" y="306397"/>
                  <a:pt x="186231" y="309636"/>
                  <a:pt x="183223" y="313396"/>
                </a:cubicBezTo>
                <a:cubicBezTo>
                  <a:pt x="180735" y="316693"/>
                  <a:pt x="178711" y="318660"/>
                  <a:pt x="176570" y="318660"/>
                </a:cubicBezTo>
                <a:close/>
                <a:moveTo>
                  <a:pt x="76963" y="283664"/>
                </a:moveTo>
                <a:lnTo>
                  <a:pt x="79219" y="284532"/>
                </a:lnTo>
                <a:cubicBezTo>
                  <a:pt x="81185" y="285266"/>
                  <a:pt x="83152" y="286140"/>
                  <a:pt x="85003" y="287135"/>
                </a:cubicBezTo>
                <a:cubicBezTo>
                  <a:pt x="88011" y="288031"/>
                  <a:pt x="91134" y="288442"/>
                  <a:pt x="94258" y="288349"/>
                </a:cubicBezTo>
                <a:cubicBezTo>
                  <a:pt x="101257" y="288754"/>
                  <a:pt x="109124" y="289159"/>
                  <a:pt x="113115" y="292745"/>
                </a:cubicBezTo>
                <a:cubicBezTo>
                  <a:pt x="119304" y="298530"/>
                  <a:pt x="138335" y="310619"/>
                  <a:pt x="143773" y="310619"/>
                </a:cubicBezTo>
                <a:cubicBezTo>
                  <a:pt x="149210" y="310619"/>
                  <a:pt x="171885" y="313570"/>
                  <a:pt x="175934" y="316404"/>
                </a:cubicBezTo>
                <a:lnTo>
                  <a:pt x="176397" y="316404"/>
                </a:lnTo>
                <a:lnTo>
                  <a:pt x="176397" y="316404"/>
                </a:lnTo>
                <a:cubicBezTo>
                  <a:pt x="177554" y="316404"/>
                  <a:pt x="179578" y="314148"/>
                  <a:pt x="181661" y="311718"/>
                </a:cubicBezTo>
                <a:cubicBezTo>
                  <a:pt x="184842" y="307767"/>
                  <a:pt x="188660" y="304366"/>
                  <a:pt x="192941" y="301654"/>
                </a:cubicBezTo>
                <a:cubicBezTo>
                  <a:pt x="199014" y="297917"/>
                  <a:pt x="205840" y="295586"/>
                  <a:pt x="212955" y="294828"/>
                </a:cubicBezTo>
                <a:cubicBezTo>
                  <a:pt x="216367" y="294828"/>
                  <a:pt x="217698" y="296216"/>
                  <a:pt x="218161" y="297373"/>
                </a:cubicBezTo>
                <a:cubicBezTo>
                  <a:pt x="219838" y="300786"/>
                  <a:pt x="223251" y="303001"/>
                  <a:pt x="227068" y="303157"/>
                </a:cubicBezTo>
                <a:cubicBezTo>
                  <a:pt x="228052" y="303157"/>
                  <a:pt x="229036" y="302943"/>
                  <a:pt x="229961" y="302521"/>
                </a:cubicBezTo>
                <a:cubicBezTo>
                  <a:pt x="234473" y="300809"/>
                  <a:pt x="239100" y="299490"/>
                  <a:pt x="243843" y="298588"/>
                </a:cubicBezTo>
                <a:cubicBezTo>
                  <a:pt x="251190" y="296685"/>
                  <a:pt x="258768" y="295522"/>
                  <a:pt x="266345" y="295117"/>
                </a:cubicBezTo>
                <a:lnTo>
                  <a:pt x="266345" y="295117"/>
                </a:lnTo>
                <a:cubicBezTo>
                  <a:pt x="267791" y="295117"/>
                  <a:pt x="270683" y="292687"/>
                  <a:pt x="273807" y="290085"/>
                </a:cubicBezTo>
                <a:cubicBezTo>
                  <a:pt x="280343" y="284300"/>
                  <a:pt x="290292" y="276318"/>
                  <a:pt x="301919" y="276318"/>
                </a:cubicBezTo>
                <a:cubicBezTo>
                  <a:pt x="306142" y="276318"/>
                  <a:pt x="309612" y="276318"/>
                  <a:pt x="312620" y="276665"/>
                </a:cubicBezTo>
                <a:cubicBezTo>
                  <a:pt x="321529" y="277127"/>
                  <a:pt x="325519" y="277590"/>
                  <a:pt x="331362" y="271227"/>
                </a:cubicBezTo>
                <a:cubicBezTo>
                  <a:pt x="339865" y="262088"/>
                  <a:pt x="398750" y="202682"/>
                  <a:pt x="404188" y="198401"/>
                </a:cubicBezTo>
                <a:cubicBezTo>
                  <a:pt x="405229" y="197649"/>
                  <a:pt x="405519" y="197071"/>
                  <a:pt x="405461" y="196782"/>
                </a:cubicBezTo>
                <a:cubicBezTo>
                  <a:pt x="405403" y="196492"/>
                  <a:pt x="400601" y="194410"/>
                  <a:pt x="395222" y="194410"/>
                </a:cubicBezTo>
                <a:cubicBezTo>
                  <a:pt x="382091" y="194156"/>
                  <a:pt x="369192" y="191223"/>
                  <a:pt x="357218" y="185791"/>
                </a:cubicBezTo>
                <a:cubicBezTo>
                  <a:pt x="337262" y="177693"/>
                  <a:pt x="307356" y="167628"/>
                  <a:pt x="302266" y="166472"/>
                </a:cubicBezTo>
                <a:cubicBezTo>
                  <a:pt x="298853" y="165720"/>
                  <a:pt x="294977" y="161323"/>
                  <a:pt x="291218" y="157100"/>
                </a:cubicBezTo>
                <a:cubicBezTo>
                  <a:pt x="289136" y="154417"/>
                  <a:pt x="286648" y="152039"/>
                  <a:pt x="283872" y="150044"/>
                </a:cubicBezTo>
                <a:cubicBezTo>
                  <a:pt x="278087" y="147325"/>
                  <a:pt x="268311" y="129046"/>
                  <a:pt x="266519" y="124650"/>
                </a:cubicBezTo>
                <a:cubicBezTo>
                  <a:pt x="265940" y="123377"/>
                  <a:pt x="265767" y="120890"/>
                  <a:pt x="270279" y="114180"/>
                </a:cubicBezTo>
                <a:cubicBezTo>
                  <a:pt x="267039" y="111230"/>
                  <a:pt x="264494" y="109437"/>
                  <a:pt x="262469" y="109437"/>
                </a:cubicBezTo>
                <a:cubicBezTo>
                  <a:pt x="261428" y="109472"/>
                  <a:pt x="260387" y="109836"/>
                  <a:pt x="259520" y="110478"/>
                </a:cubicBezTo>
                <a:cubicBezTo>
                  <a:pt x="256338" y="112508"/>
                  <a:pt x="252636" y="113631"/>
                  <a:pt x="248818" y="113717"/>
                </a:cubicBezTo>
                <a:cubicBezTo>
                  <a:pt x="246331" y="114064"/>
                  <a:pt x="243901" y="112989"/>
                  <a:pt x="242513" y="110941"/>
                </a:cubicBezTo>
                <a:cubicBezTo>
                  <a:pt x="240604" y="107181"/>
                  <a:pt x="237191" y="93877"/>
                  <a:pt x="243555" y="86704"/>
                </a:cubicBezTo>
                <a:cubicBezTo>
                  <a:pt x="248297" y="80764"/>
                  <a:pt x="252694" y="74522"/>
                  <a:pt x="256627" y="68020"/>
                </a:cubicBezTo>
                <a:cubicBezTo>
                  <a:pt x="236555" y="46676"/>
                  <a:pt x="203931" y="13300"/>
                  <a:pt x="199940" y="12779"/>
                </a:cubicBezTo>
                <a:cubicBezTo>
                  <a:pt x="195948" y="12501"/>
                  <a:pt x="191957" y="12501"/>
                  <a:pt x="187966" y="12779"/>
                </a:cubicBezTo>
                <a:cubicBezTo>
                  <a:pt x="184669" y="12779"/>
                  <a:pt x="181256" y="13184"/>
                  <a:pt x="178422" y="13184"/>
                </a:cubicBezTo>
                <a:cubicBezTo>
                  <a:pt x="176455" y="13300"/>
                  <a:pt x="174488" y="13068"/>
                  <a:pt x="172637" y="12490"/>
                </a:cubicBezTo>
                <a:cubicBezTo>
                  <a:pt x="171712" y="12131"/>
                  <a:pt x="170844" y="11686"/>
                  <a:pt x="170034" y="11159"/>
                </a:cubicBezTo>
                <a:cubicBezTo>
                  <a:pt x="169456" y="10616"/>
                  <a:pt x="168646" y="10309"/>
                  <a:pt x="167836" y="10292"/>
                </a:cubicBezTo>
                <a:cubicBezTo>
                  <a:pt x="165638" y="10616"/>
                  <a:pt x="163555" y="11362"/>
                  <a:pt x="161647" y="12490"/>
                </a:cubicBezTo>
                <a:cubicBezTo>
                  <a:pt x="159853" y="13444"/>
                  <a:pt x="157887" y="13942"/>
                  <a:pt x="155862" y="13936"/>
                </a:cubicBezTo>
                <a:cubicBezTo>
                  <a:pt x="151987" y="13438"/>
                  <a:pt x="148458" y="11344"/>
                  <a:pt x="146144" y="8151"/>
                </a:cubicBezTo>
                <a:cubicBezTo>
                  <a:pt x="145219" y="7151"/>
                  <a:pt x="144236" y="6202"/>
                  <a:pt x="143194" y="5317"/>
                </a:cubicBezTo>
                <a:cubicBezTo>
                  <a:pt x="137815" y="863"/>
                  <a:pt x="134171" y="1557"/>
                  <a:pt x="132204" y="8151"/>
                </a:cubicBezTo>
                <a:cubicBezTo>
                  <a:pt x="130237" y="14746"/>
                  <a:pt x="128675" y="19142"/>
                  <a:pt x="125552" y="19142"/>
                </a:cubicBezTo>
                <a:cubicBezTo>
                  <a:pt x="124106" y="18974"/>
                  <a:pt x="122718" y="18246"/>
                  <a:pt x="121792" y="17118"/>
                </a:cubicBezTo>
                <a:cubicBezTo>
                  <a:pt x="121792" y="17118"/>
                  <a:pt x="119826" y="15787"/>
                  <a:pt x="111785" y="15787"/>
                </a:cubicBezTo>
                <a:cubicBezTo>
                  <a:pt x="108835" y="15787"/>
                  <a:pt x="105191" y="15787"/>
                  <a:pt x="101026" y="16192"/>
                </a:cubicBezTo>
                <a:cubicBezTo>
                  <a:pt x="100737" y="23596"/>
                  <a:pt x="98596" y="30815"/>
                  <a:pt x="94721" y="37131"/>
                </a:cubicBezTo>
                <a:cubicBezTo>
                  <a:pt x="92754" y="40296"/>
                  <a:pt x="91424" y="43784"/>
                  <a:pt x="90730" y="47428"/>
                </a:cubicBezTo>
                <a:cubicBezTo>
                  <a:pt x="90498" y="54768"/>
                  <a:pt x="85061" y="60911"/>
                  <a:pt x="77831" y="62120"/>
                </a:cubicBezTo>
                <a:cubicBezTo>
                  <a:pt x="75459" y="62120"/>
                  <a:pt x="72451" y="66863"/>
                  <a:pt x="69501" y="71491"/>
                </a:cubicBezTo>
                <a:cubicBezTo>
                  <a:pt x="67302" y="75263"/>
                  <a:pt x="64700" y="78791"/>
                  <a:pt x="61750" y="82019"/>
                </a:cubicBezTo>
                <a:cubicBezTo>
                  <a:pt x="58973" y="85912"/>
                  <a:pt x="57643" y="90620"/>
                  <a:pt x="57874" y="95381"/>
                </a:cubicBezTo>
                <a:cubicBezTo>
                  <a:pt x="57411" y="100760"/>
                  <a:pt x="57007" y="106313"/>
                  <a:pt x="53189" y="109148"/>
                </a:cubicBezTo>
                <a:cubicBezTo>
                  <a:pt x="50991" y="110710"/>
                  <a:pt x="48677" y="112080"/>
                  <a:pt x="46247" y="113255"/>
                </a:cubicBezTo>
                <a:cubicBezTo>
                  <a:pt x="43471" y="114643"/>
                  <a:pt x="40463" y="116089"/>
                  <a:pt x="40463" y="117361"/>
                </a:cubicBezTo>
                <a:cubicBezTo>
                  <a:pt x="40521" y="118113"/>
                  <a:pt x="40868" y="118808"/>
                  <a:pt x="41446" y="119270"/>
                </a:cubicBezTo>
                <a:cubicBezTo>
                  <a:pt x="44801" y="122625"/>
                  <a:pt x="41852" y="127311"/>
                  <a:pt x="38728" y="132343"/>
                </a:cubicBezTo>
                <a:cubicBezTo>
                  <a:pt x="35835" y="136144"/>
                  <a:pt x="33984" y="140627"/>
                  <a:pt x="33348" y="145358"/>
                </a:cubicBezTo>
                <a:cubicBezTo>
                  <a:pt x="33348" y="153746"/>
                  <a:pt x="31960" y="174280"/>
                  <a:pt x="29646" y="176594"/>
                </a:cubicBezTo>
                <a:cubicBezTo>
                  <a:pt x="29183" y="177115"/>
                  <a:pt x="28315" y="177288"/>
                  <a:pt x="26638" y="177288"/>
                </a:cubicBezTo>
                <a:lnTo>
                  <a:pt x="22878" y="177288"/>
                </a:lnTo>
                <a:cubicBezTo>
                  <a:pt x="21143" y="177288"/>
                  <a:pt x="19176" y="177288"/>
                  <a:pt x="17094" y="177288"/>
                </a:cubicBezTo>
                <a:cubicBezTo>
                  <a:pt x="8822" y="177288"/>
                  <a:pt x="7839" y="179544"/>
                  <a:pt x="7839" y="181222"/>
                </a:cubicBezTo>
                <a:cubicBezTo>
                  <a:pt x="7839" y="184507"/>
                  <a:pt x="6451" y="187642"/>
                  <a:pt x="4079" y="189898"/>
                </a:cubicBezTo>
                <a:cubicBezTo>
                  <a:pt x="2228" y="191981"/>
                  <a:pt x="1245" y="193080"/>
                  <a:pt x="2691" y="195972"/>
                </a:cubicBezTo>
                <a:cubicBezTo>
                  <a:pt x="4137" y="198864"/>
                  <a:pt x="8475" y="199905"/>
                  <a:pt x="13566" y="201236"/>
                </a:cubicBezTo>
                <a:cubicBezTo>
                  <a:pt x="19697" y="202855"/>
                  <a:pt x="26059" y="204533"/>
                  <a:pt x="28085" y="209507"/>
                </a:cubicBezTo>
                <a:cubicBezTo>
                  <a:pt x="30398" y="213770"/>
                  <a:pt x="33522" y="217554"/>
                  <a:pt x="37224" y="220672"/>
                </a:cubicBezTo>
                <a:cubicBezTo>
                  <a:pt x="43355" y="226005"/>
                  <a:pt x="48330" y="232593"/>
                  <a:pt x="51743" y="239991"/>
                </a:cubicBezTo>
                <a:cubicBezTo>
                  <a:pt x="55618" y="250467"/>
                  <a:pt x="64931" y="257981"/>
                  <a:pt x="75979" y="259543"/>
                </a:cubicBezTo>
                <a:cubicBezTo>
                  <a:pt x="77021" y="259462"/>
                  <a:pt x="78061" y="259890"/>
                  <a:pt x="78756" y="260700"/>
                </a:cubicBezTo>
                <a:cubicBezTo>
                  <a:pt x="80433" y="262666"/>
                  <a:pt x="79681" y="266831"/>
                  <a:pt x="78409" y="273715"/>
                </a:cubicBezTo>
                <a:cubicBezTo>
                  <a:pt x="78061" y="276491"/>
                  <a:pt x="77483" y="279846"/>
                  <a:pt x="76963" y="28366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7" name="Forma libre: forma 316">
            <a:extLst>
              <a:ext uri="{FF2B5EF4-FFF2-40B4-BE49-F238E27FC236}">
                <a16:creationId xmlns:a16="http://schemas.microsoft.com/office/drawing/2014/main" id="{C63FC2F2-28E5-CB4F-5E41-991B002D52BA}"/>
              </a:ext>
            </a:extLst>
          </p:cNvPr>
          <p:cNvSpPr/>
          <p:nvPr/>
        </p:nvSpPr>
        <p:spPr>
          <a:xfrm>
            <a:off x="7130963" y="3481089"/>
            <a:ext cx="39507" cy="52464"/>
          </a:xfrm>
          <a:custGeom>
            <a:avLst/>
            <a:gdLst>
              <a:gd name="connsiteX0" fmla="*/ 13917 w 39507"/>
              <a:gd name="connsiteY0" fmla="*/ 52336 h 52464"/>
              <a:gd name="connsiteX1" fmla="*/ 13455 w 39507"/>
              <a:gd name="connsiteY1" fmla="*/ 52336 h 52464"/>
              <a:gd name="connsiteX2" fmla="*/ 614 w 39507"/>
              <a:gd name="connsiteY2" fmla="*/ 46551 h 52464"/>
              <a:gd name="connsiteX3" fmla="*/ -23 w 39507"/>
              <a:gd name="connsiteY3" fmla="*/ 45915 h 52464"/>
              <a:gd name="connsiteX4" fmla="*/ -23 w 39507"/>
              <a:gd name="connsiteY4" fmla="*/ 45047 h 52464"/>
              <a:gd name="connsiteX5" fmla="*/ 9926 w 39507"/>
              <a:gd name="connsiteY5" fmla="*/ 26711 h 52464"/>
              <a:gd name="connsiteX6" fmla="*/ 20165 w 39507"/>
              <a:gd name="connsiteY6" fmla="*/ 4614 h 52464"/>
              <a:gd name="connsiteX7" fmla="*/ 20165 w 39507"/>
              <a:gd name="connsiteY7" fmla="*/ 854 h 52464"/>
              <a:gd name="connsiteX8" fmla="*/ 21264 w 39507"/>
              <a:gd name="connsiteY8" fmla="*/ -129 h 52464"/>
              <a:gd name="connsiteX9" fmla="*/ 22941 w 39507"/>
              <a:gd name="connsiteY9" fmla="*/ -129 h 52464"/>
              <a:gd name="connsiteX10" fmla="*/ 38559 w 39507"/>
              <a:gd name="connsiteY10" fmla="*/ 8143 h 52464"/>
              <a:gd name="connsiteX11" fmla="*/ 35320 w 39507"/>
              <a:gd name="connsiteY11" fmla="*/ 23182 h 52464"/>
              <a:gd name="connsiteX12" fmla="*/ 14611 w 39507"/>
              <a:gd name="connsiteY12" fmla="*/ 51642 h 52464"/>
              <a:gd name="connsiteX13" fmla="*/ 13917 w 39507"/>
              <a:gd name="connsiteY13" fmla="*/ 52336 h 52464"/>
              <a:gd name="connsiteX14" fmla="*/ 2348 w 39507"/>
              <a:gd name="connsiteY14" fmla="*/ 45105 h 52464"/>
              <a:gd name="connsiteX15" fmla="*/ 13165 w 39507"/>
              <a:gd name="connsiteY15" fmla="*/ 49791 h 52464"/>
              <a:gd name="connsiteX16" fmla="*/ 33874 w 39507"/>
              <a:gd name="connsiteY16" fmla="*/ 21621 h 52464"/>
              <a:gd name="connsiteX17" fmla="*/ 36535 w 39507"/>
              <a:gd name="connsiteY17" fmla="*/ 9068 h 52464"/>
              <a:gd name="connsiteX18" fmla="*/ 22999 w 39507"/>
              <a:gd name="connsiteY18" fmla="*/ 2243 h 52464"/>
              <a:gd name="connsiteX19" fmla="*/ 22363 w 39507"/>
              <a:gd name="connsiteY19" fmla="*/ 2243 h 52464"/>
              <a:gd name="connsiteX20" fmla="*/ 22363 w 39507"/>
              <a:gd name="connsiteY20" fmla="*/ 4788 h 52464"/>
              <a:gd name="connsiteX21" fmla="*/ 11835 w 39507"/>
              <a:gd name="connsiteY21" fmla="*/ 27926 h 52464"/>
              <a:gd name="connsiteX22" fmla="*/ 2580 w 39507"/>
              <a:gd name="connsiteY22" fmla="*/ 45105 h 5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507" h="52464">
                <a:moveTo>
                  <a:pt x="13917" y="52336"/>
                </a:moveTo>
                <a:lnTo>
                  <a:pt x="13455" y="52336"/>
                </a:lnTo>
                <a:lnTo>
                  <a:pt x="614" y="46551"/>
                </a:lnTo>
                <a:cubicBezTo>
                  <a:pt x="324" y="46436"/>
                  <a:pt x="92" y="46204"/>
                  <a:pt x="-23" y="45915"/>
                </a:cubicBezTo>
                <a:cubicBezTo>
                  <a:pt x="-138" y="45643"/>
                  <a:pt x="-138" y="45319"/>
                  <a:pt x="-23" y="45047"/>
                </a:cubicBezTo>
                <a:cubicBezTo>
                  <a:pt x="2754" y="39263"/>
                  <a:pt x="6398" y="32727"/>
                  <a:pt x="9926" y="26711"/>
                </a:cubicBezTo>
                <a:cubicBezTo>
                  <a:pt x="15190" y="17745"/>
                  <a:pt x="20165" y="9358"/>
                  <a:pt x="20165" y="4614"/>
                </a:cubicBezTo>
                <a:cubicBezTo>
                  <a:pt x="20107" y="3365"/>
                  <a:pt x="20107" y="2104"/>
                  <a:pt x="20165" y="854"/>
                </a:cubicBezTo>
                <a:cubicBezTo>
                  <a:pt x="20280" y="316"/>
                  <a:pt x="20743" y="-88"/>
                  <a:pt x="21264" y="-129"/>
                </a:cubicBezTo>
                <a:lnTo>
                  <a:pt x="22941" y="-129"/>
                </a:lnTo>
                <a:cubicBezTo>
                  <a:pt x="33295" y="-129"/>
                  <a:pt x="37171" y="4383"/>
                  <a:pt x="38559" y="8143"/>
                </a:cubicBezTo>
                <a:cubicBezTo>
                  <a:pt x="40410" y="13366"/>
                  <a:pt x="39137" y="19174"/>
                  <a:pt x="35320" y="23182"/>
                </a:cubicBezTo>
                <a:cubicBezTo>
                  <a:pt x="27280" y="31790"/>
                  <a:pt x="20338" y="41345"/>
                  <a:pt x="14611" y="51642"/>
                </a:cubicBezTo>
                <a:cubicBezTo>
                  <a:pt x="14496" y="51954"/>
                  <a:pt x="14207" y="52209"/>
                  <a:pt x="13917" y="52336"/>
                </a:cubicBezTo>
                <a:close/>
                <a:moveTo>
                  <a:pt x="2348" y="45105"/>
                </a:moveTo>
                <a:lnTo>
                  <a:pt x="13165" y="49791"/>
                </a:lnTo>
                <a:cubicBezTo>
                  <a:pt x="18892" y="39593"/>
                  <a:pt x="25834" y="30135"/>
                  <a:pt x="33874" y="21621"/>
                </a:cubicBezTo>
                <a:cubicBezTo>
                  <a:pt x="36939" y="18219"/>
                  <a:pt x="37981" y="13424"/>
                  <a:pt x="36535" y="9068"/>
                </a:cubicBezTo>
                <a:cubicBezTo>
                  <a:pt x="34857" y="4614"/>
                  <a:pt x="30172" y="2243"/>
                  <a:pt x="22999" y="2243"/>
                </a:cubicBezTo>
                <a:lnTo>
                  <a:pt x="22363" y="2243"/>
                </a:lnTo>
                <a:cubicBezTo>
                  <a:pt x="22305" y="3093"/>
                  <a:pt x="22305" y="3937"/>
                  <a:pt x="22363" y="4788"/>
                </a:cubicBezTo>
                <a:cubicBezTo>
                  <a:pt x="22363" y="10110"/>
                  <a:pt x="17446" y="18381"/>
                  <a:pt x="11835" y="27926"/>
                </a:cubicBezTo>
                <a:cubicBezTo>
                  <a:pt x="8654" y="33652"/>
                  <a:pt x="5241" y="39494"/>
                  <a:pt x="2580" y="4510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8" name="Forma libre: forma 317">
            <a:extLst>
              <a:ext uri="{FF2B5EF4-FFF2-40B4-BE49-F238E27FC236}">
                <a16:creationId xmlns:a16="http://schemas.microsoft.com/office/drawing/2014/main" id="{5EBD9547-BAD7-563D-B80B-2DE88D1FF9C2}"/>
              </a:ext>
            </a:extLst>
          </p:cNvPr>
          <p:cNvSpPr/>
          <p:nvPr/>
        </p:nvSpPr>
        <p:spPr>
          <a:xfrm>
            <a:off x="7143760" y="3404749"/>
            <a:ext cx="190275" cy="151942"/>
          </a:xfrm>
          <a:custGeom>
            <a:avLst/>
            <a:gdLst>
              <a:gd name="connsiteX0" fmla="*/ 29463 w 190275"/>
              <a:gd name="connsiteY0" fmla="*/ 151813 h 151942"/>
              <a:gd name="connsiteX1" fmla="*/ 28943 w 190275"/>
              <a:gd name="connsiteY1" fmla="*/ 151813 h 151942"/>
              <a:gd name="connsiteX2" fmla="*/ 4185 w 190275"/>
              <a:gd name="connsiteY2" fmla="*/ 138914 h 151942"/>
              <a:gd name="connsiteX3" fmla="*/ 3549 w 190275"/>
              <a:gd name="connsiteY3" fmla="*/ 138162 h 151942"/>
              <a:gd name="connsiteX4" fmla="*/ 1525 w 190275"/>
              <a:gd name="connsiteY4" fmla="*/ 129023 h 151942"/>
              <a:gd name="connsiteX5" fmla="*/ 657 w 190275"/>
              <a:gd name="connsiteY5" fmla="*/ 128676 h 151942"/>
              <a:gd name="connsiteX6" fmla="*/ 21 w 190275"/>
              <a:gd name="connsiteY6" fmla="*/ 127982 h 151942"/>
              <a:gd name="connsiteX7" fmla="*/ 21 w 190275"/>
              <a:gd name="connsiteY7" fmla="*/ 127056 h 151942"/>
              <a:gd name="connsiteX8" fmla="*/ 21192 w 190275"/>
              <a:gd name="connsiteY8" fmla="*/ 98134 h 151942"/>
              <a:gd name="connsiteX9" fmla="*/ 23853 w 190275"/>
              <a:gd name="connsiteY9" fmla="*/ 85582 h 151942"/>
              <a:gd name="connsiteX10" fmla="*/ 8755 w 190275"/>
              <a:gd name="connsiteY10" fmla="*/ 78814 h 151942"/>
              <a:gd name="connsiteX11" fmla="*/ 7830 w 190275"/>
              <a:gd name="connsiteY11" fmla="*/ 78467 h 151942"/>
              <a:gd name="connsiteX12" fmla="*/ 7830 w 190275"/>
              <a:gd name="connsiteY12" fmla="*/ 77541 h 151942"/>
              <a:gd name="connsiteX13" fmla="*/ 9970 w 190275"/>
              <a:gd name="connsiteY13" fmla="*/ 69443 h 151942"/>
              <a:gd name="connsiteX14" fmla="*/ 9970 w 190275"/>
              <a:gd name="connsiteY14" fmla="*/ 58221 h 151942"/>
              <a:gd name="connsiteX15" fmla="*/ 9449 w 190275"/>
              <a:gd name="connsiteY15" fmla="*/ 45611 h 151942"/>
              <a:gd name="connsiteX16" fmla="*/ 10028 w 190275"/>
              <a:gd name="connsiteY16" fmla="*/ 43471 h 151942"/>
              <a:gd name="connsiteX17" fmla="*/ 10953 w 190275"/>
              <a:gd name="connsiteY17" fmla="*/ 42603 h 151942"/>
              <a:gd name="connsiteX18" fmla="*/ 25819 w 190275"/>
              <a:gd name="connsiteY18" fmla="*/ 27217 h 151942"/>
              <a:gd name="connsiteX19" fmla="*/ 26166 w 190275"/>
              <a:gd name="connsiteY19" fmla="*/ 24556 h 151942"/>
              <a:gd name="connsiteX20" fmla="*/ 34149 w 190275"/>
              <a:gd name="connsiteY20" fmla="*/ 15590 h 151942"/>
              <a:gd name="connsiteX21" fmla="*/ 38718 w 190275"/>
              <a:gd name="connsiteY21" fmla="*/ 17441 h 151942"/>
              <a:gd name="connsiteX22" fmla="*/ 62377 w 190275"/>
              <a:gd name="connsiteY22" fmla="*/ 17441 h 151942"/>
              <a:gd name="connsiteX23" fmla="*/ 69550 w 190275"/>
              <a:gd name="connsiteY23" fmla="*/ 13855 h 151942"/>
              <a:gd name="connsiteX24" fmla="*/ 76028 w 190275"/>
              <a:gd name="connsiteY24" fmla="*/ 11368 h 151942"/>
              <a:gd name="connsiteX25" fmla="*/ 81003 w 190275"/>
              <a:gd name="connsiteY25" fmla="*/ 14549 h 151942"/>
              <a:gd name="connsiteX26" fmla="*/ 87597 w 190275"/>
              <a:gd name="connsiteY26" fmla="*/ 16805 h 151942"/>
              <a:gd name="connsiteX27" fmla="*/ 95522 w 190275"/>
              <a:gd name="connsiteY27" fmla="*/ 16226 h 151942"/>
              <a:gd name="connsiteX28" fmla="*/ 111371 w 190275"/>
              <a:gd name="connsiteY28" fmla="*/ 15185 h 151942"/>
              <a:gd name="connsiteX29" fmla="*/ 129418 w 190275"/>
              <a:gd name="connsiteY29" fmla="*/ 9401 h 151942"/>
              <a:gd name="connsiteX30" fmla="*/ 148160 w 190275"/>
              <a:gd name="connsiteY30" fmla="*/ 4195 h 151942"/>
              <a:gd name="connsiteX31" fmla="*/ 177892 w 190275"/>
              <a:gd name="connsiteY31" fmla="*/ -86 h 151942"/>
              <a:gd name="connsiteX32" fmla="*/ 178586 w 190275"/>
              <a:gd name="connsiteY32" fmla="*/ -86 h 151942"/>
              <a:gd name="connsiteX33" fmla="*/ 189345 w 190275"/>
              <a:gd name="connsiteY33" fmla="*/ 3154 h 151942"/>
              <a:gd name="connsiteX34" fmla="*/ 190155 w 190275"/>
              <a:gd name="connsiteY34" fmla="*/ 4021 h 151942"/>
              <a:gd name="connsiteX35" fmla="*/ 189692 w 190275"/>
              <a:gd name="connsiteY35" fmla="*/ 5120 h 151942"/>
              <a:gd name="connsiteX36" fmla="*/ 173554 w 190275"/>
              <a:gd name="connsiteY36" fmla="*/ 16978 h 151942"/>
              <a:gd name="connsiteX37" fmla="*/ 173206 w 190275"/>
              <a:gd name="connsiteY37" fmla="*/ 16978 h 151942"/>
              <a:gd name="connsiteX38" fmla="*/ 156663 w 190275"/>
              <a:gd name="connsiteY38" fmla="*/ 29241 h 151942"/>
              <a:gd name="connsiteX39" fmla="*/ 158167 w 190275"/>
              <a:gd name="connsiteY39" fmla="*/ 40810 h 151942"/>
              <a:gd name="connsiteX40" fmla="*/ 158629 w 190275"/>
              <a:gd name="connsiteY40" fmla="*/ 51974 h 151942"/>
              <a:gd name="connsiteX41" fmla="*/ 156663 w 190275"/>
              <a:gd name="connsiteY41" fmla="*/ 72567 h 151942"/>
              <a:gd name="connsiteX42" fmla="*/ 150068 w 190275"/>
              <a:gd name="connsiteY42" fmla="*/ 89631 h 151942"/>
              <a:gd name="connsiteX43" fmla="*/ 149664 w 190275"/>
              <a:gd name="connsiteY43" fmla="*/ 89978 h 151942"/>
              <a:gd name="connsiteX44" fmla="*/ 55493 w 190275"/>
              <a:gd name="connsiteY44" fmla="*/ 137584 h 151942"/>
              <a:gd name="connsiteX45" fmla="*/ 30099 w 190275"/>
              <a:gd name="connsiteY45" fmla="*/ 151409 h 151942"/>
              <a:gd name="connsiteX46" fmla="*/ 29463 w 190275"/>
              <a:gd name="connsiteY46" fmla="*/ 151813 h 151942"/>
              <a:gd name="connsiteX47" fmla="*/ 5689 w 190275"/>
              <a:gd name="connsiteY47" fmla="*/ 136947 h 151942"/>
              <a:gd name="connsiteX48" fmla="*/ 29405 w 190275"/>
              <a:gd name="connsiteY48" fmla="*/ 149326 h 151942"/>
              <a:gd name="connsiteX49" fmla="*/ 55204 w 190275"/>
              <a:gd name="connsiteY49" fmla="*/ 135501 h 151942"/>
              <a:gd name="connsiteX50" fmla="*/ 148391 w 190275"/>
              <a:gd name="connsiteY50" fmla="*/ 88300 h 151942"/>
              <a:gd name="connsiteX51" fmla="*/ 154581 w 190275"/>
              <a:gd name="connsiteY51" fmla="*/ 73261 h 151942"/>
              <a:gd name="connsiteX52" fmla="*/ 156952 w 190275"/>
              <a:gd name="connsiteY52" fmla="*/ 50759 h 151942"/>
              <a:gd name="connsiteX53" fmla="*/ 156085 w 190275"/>
              <a:gd name="connsiteY53" fmla="*/ 41794 h 151942"/>
              <a:gd name="connsiteX54" fmla="*/ 154581 w 190275"/>
              <a:gd name="connsiteY54" fmla="*/ 28374 h 151942"/>
              <a:gd name="connsiteX55" fmla="*/ 172396 w 190275"/>
              <a:gd name="connsiteY55" fmla="*/ 14838 h 151942"/>
              <a:gd name="connsiteX56" fmla="*/ 186569 w 190275"/>
              <a:gd name="connsiteY56" fmla="*/ 4426 h 151942"/>
              <a:gd name="connsiteX57" fmla="*/ 178354 w 190275"/>
              <a:gd name="connsiteY57" fmla="*/ 1939 h 151942"/>
              <a:gd name="connsiteX58" fmla="*/ 148044 w 190275"/>
              <a:gd name="connsiteY58" fmla="*/ 6219 h 151942"/>
              <a:gd name="connsiteX59" fmla="*/ 130691 w 190275"/>
              <a:gd name="connsiteY59" fmla="*/ 11136 h 151942"/>
              <a:gd name="connsiteX60" fmla="*/ 111545 w 190275"/>
              <a:gd name="connsiteY60" fmla="*/ 16921 h 151942"/>
              <a:gd name="connsiteX61" fmla="*/ 95926 w 190275"/>
              <a:gd name="connsiteY61" fmla="*/ 17904 h 151942"/>
              <a:gd name="connsiteX62" fmla="*/ 87770 w 190275"/>
              <a:gd name="connsiteY62" fmla="*/ 18540 h 151942"/>
              <a:gd name="connsiteX63" fmla="*/ 79383 w 190275"/>
              <a:gd name="connsiteY63" fmla="*/ 15417 h 151942"/>
              <a:gd name="connsiteX64" fmla="*/ 76201 w 190275"/>
              <a:gd name="connsiteY64" fmla="*/ 13045 h 151942"/>
              <a:gd name="connsiteX65" fmla="*/ 70764 w 190275"/>
              <a:gd name="connsiteY65" fmla="*/ 15359 h 151942"/>
              <a:gd name="connsiteX66" fmla="*/ 63476 w 190275"/>
              <a:gd name="connsiteY66" fmla="*/ 19003 h 151942"/>
              <a:gd name="connsiteX67" fmla="*/ 37504 w 190275"/>
              <a:gd name="connsiteY67" fmla="*/ 19003 h 151942"/>
              <a:gd name="connsiteX68" fmla="*/ 34322 w 190275"/>
              <a:gd name="connsiteY68" fmla="*/ 17673 h 151942"/>
              <a:gd name="connsiteX69" fmla="*/ 28538 w 190275"/>
              <a:gd name="connsiteY69" fmla="*/ 24787 h 151942"/>
              <a:gd name="connsiteX70" fmla="*/ 28538 w 190275"/>
              <a:gd name="connsiteY70" fmla="*/ 27275 h 151942"/>
              <a:gd name="connsiteX71" fmla="*/ 12515 w 190275"/>
              <a:gd name="connsiteY71" fmla="*/ 44628 h 151942"/>
              <a:gd name="connsiteX72" fmla="*/ 12110 w 190275"/>
              <a:gd name="connsiteY72" fmla="*/ 46074 h 151942"/>
              <a:gd name="connsiteX73" fmla="*/ 12110 w 190275"/>
              <a:gd name="connsiteY73" fmla="*/ 56660 h 151942"/>
              <a:gd name="connsiteX74" fmla="*/ 12110 w 190275"/>
              <a:gd name="connsiteY74" fmla="*/ 70022 h 151942"/>
              <a:gd name="connsiteX75" fmla="*/ 10317 w 190275"/>
              <a:gd name="connsiteY75" fmla="*/ 76384 h 151942"/>
              <a:gd name="connsiteX76" fmla="*/ 10317 w 190275"/>
              <a:gd name="connsiteY76" fmla="*/ 76384 h 151942"/>
              <a:gd name="connsiteX77" fmla="*/ 25935 w 190275"/>
              <a:gd name="connsiteY77" fmla="*/ 84656 h 151942"/>
              <a:gd name="connsiteX78" fmla="*/ 22695 w 190275"/>
              <a:gd name="connsiteY78" fmla="*/ 99696 h 151942"/>
              <a:gd name="connsiteX79" fmla="*/ 2623 w 190275"/>
              <a:gd name="connsiteY79" fmla="*/ 127056 h 151942"/>
              <a:gd name="connsiteX80" fmla="*/ 2623 w 190275"/>
              <a:gd name="connsiteY80" fmla="*/ 127056 h 151942"/>
              <a:gd name="connsiteX81" fmla="*/ 3318 w 190275"/>
              <a:gd name="connsiteY81" fmla="*/ 127866 h 15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0275" h="151942">
                <a:moveTo>
                  <a:pt x="29463" y="151813"/>
                </a:moveTo>
                <a:lnTo>
                  <a:pt x="28943" y="151813"/>
                </a:lnTo>
                <a:lnTo>
                  <a:pt x="4185" y="138914"/>
                </a:lnTo>
                <a:cubicBezTo>
                  <a:pt x="3896" y="138752"/>
                  <a:pt x="3665" y="138486"/>
                  <a:pt x="3549" y="138162"/>
                </a:cubicBezTo>
                <a:lnTo>
                  <a:pt x="1525" y="129023"/>
                </a:lnTo>
                <a:lnTo>
                  <a:pt x="657" y="128676"/>
                </a:lnTo>
                <a:cubicBezTo>
                  <a:pt x="367" y="128537"/>
                  <a:pt x="137" y="128288"/>
                  <a:pt x="21" y="127982"/>
                </a:cubicBezTo>
                <a:cubicBezTo>
                  <a:pt x="-153" y="127692"/>
                  <a:pt x="-153" y="127345"/>
                  <a:pt x="21" y="127056"/>
                </a:cubicBezTo>
                <a:cubicBezTo>
                  <a:pt x="5863" y="116575"/>
                  <a:pt x="12978" y="106863"/>
                  <a:pt x="21192" y="98134"/>
                </a:cubicBezTo>
                <a:cubicBezTo>
                  <a:pt x="24257" y="94733"/>
                  <a:pt x="25299" y="89937"/>
                  <a:pt x="23853" y="85582"/>
                </a:cubicBezTo>
                <a:cubicBezTo>
                  <a:pt x="22059" y="80839"/>
                  <a:pt x="16680" y="78409"/>
                  <a:pt x="8755" y="78814"/>
                </a:cubicBezTo>
                <a:cubicBezTo>
                  <a:pt x="8408" y="78808"/>
                  <a:pt x="8119" y="78681"/>
                  <a:pt x="7830" y="78467"/>
                </a:cubicBezTo>
                <a:cubicBezTo>
                  <a:pt x="7714" y="78172"/>
                  <a:pt x="7714" y="77836"/>
                  <a:pt x="7830" y="77541"/>
                </a:cubicBezTo>
                <a:cubicBezTo>
                  <a:pt x="8350" y="74788"/>
                  <a:pt x="9044" y="72081"/>
                  <a:pt x="9970" y="69443"/>
                </a:cubicBezTo>
                <a:cubicBezTo>
                  <a:pt x="11532" y="64700"/>
                  <a:pt x="12688" y="61229"/>
                  <a:pt x="9970" y="58221"/>
                </a:cubicBezTo>
                <a:cubicBezTo>
                  <a:pt x="7830" y="54328"/>
                  <a:pt x="7656" y="49666"/>
                  <a:pt x="9449" y="45611"/>
                </a:cubicBezTo>
                <a:cubicBezTo>
                  <a:pt x="9449" y="44917"/>
                  <a:pt x="9854" y="44165"/>
                  <a:pt x="10028" y="43471"/>
                </a:cubicBezTo>
                <a:cubicBezTo>
                  <a:pt x="10086" y="43008"/>
                  <a:pt x="10490" y="42650"/>
                  <a:pt x="10953" y="42603"/>
                </a:cubicBezTo>
                <a:cubicBezTo>
                  <a:pt x="24373" y="40752"/>
                  <a:pt x="25183" y="32944"/>
                  <a:pt x="25819" y="27217"/>
                </a:cubicBezTo>
                <a:cubicBezTo>
                  <a:pt x="25819" y="26234"/>
                  <a:pt x="25819" y="25308"/>
                  <a:pt x="26166" y="24556"/>
                </a:cubicBezTo>
                <a:cubicBezTo>
                  <a:pt x="27034" y="20218"/>
                  <a:pt x="29926" y="15590"/>
                  <a:pt x="34149" y="15590"/>
                </a:cubicBezTo>
                <a:cubicBezTo>
                  <a:pt x="35826" y="15654"/>
                  <a:pt x="37446" y="16307"/>
                  <a:pt x="38718" y="17441"/>
                </a:cubicBezTo>
                <a:cubicBezTo>
                  <a:pt x="44503" y="22069"/>
                  <a:pt x="52139" y="21953"/>
                  <a:pt x="62377" y="17441"/>
                </a:cubicBezTo>
                <a:cubicBezTo>
                  <a:pt x="65384" y="16053"/>
                  <a:pt x="67698" y="14838"/>
                  <a:pt x="69550" y="13855"/>
                </a:cubicBezTo>
                <a:cubicBezTo>
                  <a:pt x="71516" y="12542"/>
                  <a:pt x="73714" y="11691"/>
                  <a:pt x="76028" y="11368"/>
                </a:cubicBezTo>
                <a:cubicBezTo>
                  <a:pt x="78111" y="11564"/>
                  <a:pt x="79961" y="12750"/>
                  <a:pt x="81003" y="14549"/>
                </a:cubicBezTo>
                <a:cubicBezTo>
                  <a:pt x="82680" y="16336"/>
                  <a:pt x="85167" y="17181"/>
                  <a:pt x="87597" y="16805"/>
                </a:cubicBezTo>
                <a:cubicBezTo>
                  <a:pt x="89795" y="16805"/>
                  <a:pt x="92456" y="16516"/>
                  <a:pt x="95522" y="16226"/>
                </a:cubicBezTo>
                <a:cubicBezTo>
                  <a:pt x="100785" y="15584"/>
                  <a:pt x="106049" y="15237"/>
                  <a:pt x="111371" y="15185"/>
                </a:cubicBezTo>
                <a:cubicBezTo>
                  <a:pt x="117850" y="15052"/>
                  <a:pt x="124096" y="13039"/>
                  <a:pt x="129418" y="9401"/>
                </a:cubicBezTo>
                <a:cubicBezTo>
                  <a:pt x="134913" y="5664"/>
                  <a:pt x="141508" y="3830"/>
                  <a:pt x="148160" y="4195"/>
                </a:cubicBezTo>
                <a:cubicBezTo>
                  <a:pt x="158225" y="4675"/>
                  <a:pt x="168347" y="3217"/>
                  <a:pt x="177892" y="-86"/>
                </a:cubicBezTo>
                <a:cubicBezTo>
                  <a:pt x="178123" y="-143"/>
                  <a:pt x="178354" y="-143"/>
                  <a:pt x="178586" y="-86"/>
                </a:cubicBezTo>
                <a:lnTo>
                  <a:pt x="189345" y="3154"/>
                </a:lnTo>
                <a:cubicBezTo>
                  <a:pt x="189750" y="3281"/>
                  <a:pt x="190039" y="3611"/>
                  <a:pt x="190155" y="4021"/>
                </a:cubicBezTo>
                <a:cubicBezTo>
                  <a:pt x="190213" y="4449"/>
                  <a:pt x="190039" y="4877"/>
                  <a:pt x="189692" y="5120"/>
                </a:cubicBezTo>
                <a:lnTo>
                  <a:pt x="173554" y="16978"/>
                </a:lnTo>
                <a:cubicBezTo>
                  <a:pt x="173438" y="17019"/>
                  <a:pt x="173322" y="17019"/>
                  <a:pt x="173206" y="16978"/>
                </a:cubicBezTo>
                <a:cubicBezTo>
                  <a:pt x="173206" y="16978"/>
                  <a:pt x="159671" y="21201"/>
                  <a:pt x="156663" y="29241"/>
                </a:cubicBezTo>
                <a:cubicBezTo>
                  <a:pt x="155795" y="33152"/>
                  <a:pt x="156316" y="37253"/>
                  <a:pt x="158167" y="40810"/>
                </a:cubicBezTo>
                <a:cubicBezTo>
                  <a:pt x="159729" y="44917"/>
                  <a:pt x="161175" y="48793"/>
                  <a:pt x="158629" y="51974"/>
                </a:cubicBezTo>
                <a:cubicBezTo>
                  <a:pt x="154870" y="56717"/>
                  <a:pt x="155506" y="67708"/>
                  <a:pt x="156663" y="72567"/>
                </a:cubicBezTo>
                <a:cubicBezTo>
                  <a:pt x="157820" y="77426"/>
                  <a:pt x="150878" y="88358"/>
                  <a:pt x="150068" y="89631"/>
                </a:cubicBezTo>
                <a:cubicBezTo>
                  <a:pt x="149953" y="89787"/>
                  <a:pt x="149838" y="89909"/>
                  <a:pt x="149664" y="89978"/>
                </a:cubicBezTo>
                <a:cubicBezTo>
                  <a:pt x="146135" y="91887"/>
                  <a:pt x="62897" y="136253"/>
                  <a:pt x="55493" y="137584"/>
                </a:cubicBezTo>
                <a:cubicBezTo>
                  <a:pt x="48089" y="138914"/>
                  <a:pt x="30273" y="151293"/>
                  <a:pt x="30099" y="151409"/>
                </a:cubicBezTo>
                <a:cubicBezTo>
                  <a:pt x="29926" y="151594"/>
                  <a:pt x="29695" y="151732"/>
                  <a:pt x="29463" y="151813"/>
                </a:cubicBezTo>
                <a:close/>
                <a:moveTo>
                  <a:pt x="5689" y="136947"/>
                </a:moveTo>
                <a:lnTo>
                  <a:pt x="29405" y="149326"/>
                </a:lnTo>
                <a:cubicBezTo>
                  <a:pt x="32645" y="147128"/>
                  <a:pt x="48147" y="136542"/>
                  <a:pt x="55204" y="135501"/>
                </a:cubicBezTo>
                <a:cubicBezTo>
                  <a:pt x="60988" y="134692"/>
                  <a:pt x="124270" y="101315"/>
                  <a:pt x="148391" y="88300"/>
                </a:cubicBezTo>
                <a:cubicBezTo>
                  <a:pt x="151630" y="83858"/>
                  <a:pt x="153771" y="78698"/>
                  <a:pt x="154581" y="73261"/>
                </a:cubicBezTo>
                <a:cubicBezTo>
                  <a:pt x="153424" y="68575"/>
                  <a:pt x="152382" y="56370"/>
                  <a:pt x="156952" y="50759"/>
                </a:cubicBezTo>
                <a:cubicBezTo>
                  <a:pt x="158687" y="48561"/>
                  <a:pt x="157473" y="45380"/>
                  <a:pt x="156085" y="41794"/>
                </a:cubicBezTo>
                <a:cubicBezTo>
                  <a:pt x="153944" y="37652"/>
                  <a:pt x="153424" y="32880"/>
                  <a:pt x="154581" y="28374"/>
                </a:cubicBezTo>
                <a:cubicBezTo>
                  <a:pt x="157820" y="19813"/>
                  <a:pt x="170603" y="15417"/>
                  <a:pt x="172396" y="14838"/>
                </a:cubicBezTo>
                <a:lnTo>
                  <a:pt x="186569" y="4426"/>
                </a:lnTo>
                <a:lnTo>
                  <a:pt x="178354" y="1939"/>
                </a:lnTo>
                <a:cubicBezTo>
                  <a:pt x="168637" y="5305"/>
                  <a:pt x="158341" y="6757"/>
                  <a:pt x="148044" y="6219"/>
                </a:cubicBezTo>
                <a:cubicBezTo>
                  <a:pt x="141855" y="5936"/>
                  <a:pt x="135781" y="7660"/>
                  <a:pt x="130691" y="11136"/>
                </a:cubicBezTo>
                <a:cubicBezTo>
                  <a:pt x="125022" y="14902"/>
                  <a:pt x="118370" y="16915"/>
                  <a:pt x="111545" y="16921"/>
                </a:cubicBezTo>
                <a:cubicBezTo>
                  <a:pt x="106339" y="16984"/>
                  <a:pt x="101132" y="17314"/>
                  <a:pt x="95926" y="17904"/>
                </a:cubicBezTo>
                <a:cubicBezTo>
                  <a:pt x="93208" y="18257"/>
                  <a:pt x="90489" y="18471"/>
                  <a:pt x="87770" y="18540"/>
                </a:cubicBezTo>
                <a:cubicBezTo>
                  <a:pt x="84647" y="18887"/>
                  <a:pt x="81523" y="17725"/>
                  <a:pt x="79383" y="15417"/>
                </a:cubicBezTo>
                <a:cubicBezTo>
                  <a:pt x="77821" y="13450"/>
                  <a:pt x="77011" y="13045"/>
                  <a:pt x="76201" y="13045"/>
                </a:cubicBezTo>
                <a:cubicBezTo>
                  <a:pt x="74235" y="13461"/>
                  <a:pt x="72384" y="14248"/>
                  <a:pt x="70764" y="15359"/>
                </a:cubicBezTo>
                <a:cubicBezTo>
                  <a:pt x="68913" y="16342"/>
                  <a:pt x="66542" y="17615"/>
                  <a:pt x="63476" y="19003"/>
                </a:cubicBezTo>
                <a:cubicBezTo>
                  <a:pt x="52254" y="24035"/>
                  <a:pt x="43982" y="24035"/>
                  <a:pt x="37504" y="19003"/>
                </a:cubicBezTo>
                <a:cubicBezTo>
                  <a:pt x="36636" y="18211"/>
                  <a:pt x="35479" y="17742"/>
                  <a:pt x="34322" y="17673"/>
                </a:cubicBezTo>
                <a:cubicBezTo>
                  <a:pt x="31488" y="17673"/>
                  <a:pt x="29232" y="21259"/>
                  <a:pt x="28538" y="24787"/>
                </a:cubicBezTo>
                <a:cubicBezTo>
                  <a:pt x="28480" y="25615"/>
                  <a:pt x="28480" y="26448"/>
                  <a:pt x="28538" y="27275"/>
                </a:cubicBezTo>
                <a:cubicBezTo>
                  <a:pt x="28885" y="36478"/>
                  <a:pt x="21712" y="44223"/>
                  <a:pt x="12515" y="44628"/>
                </a:cubicBezTo>
                <a:lnTo>
                  <a:pt x="12110" y="46074"/>
                </a:lnTo>
                <a:cubicBezTo>
                  <a:pt x="11069" y="50181"/>
                  <a:pt x="10086" y="54057"/>
                  <a:pt x="12110" y="56660"/>
                </a:cubicBezTo>
                <a:cubicBezTo>
                  <a:pt x="15350" y="60651"/>
                  <a:pt x="13846" y="65221"/>
                  <a:pt x="12110" y="70022"/>
                </a:cubicBezTo>
                <a:cubicBezTo>
                  <a:pt x="11416" y="72110"/>
                  <a:pt x="10780" y="74233"/>
                  <a:pt x="10317" y="76384"/>
                </a:cubicBezTo>
                <a:lnTo>
                  <a:pt x="10317" y="76384"/>
                </a:lnTo>
                <a:cubicBezTo>
                  <a:pt x="20671" y="76384"/>
                  <a:pt x="24547" y="80896"/>
                  <a:pt x="25935" y="84656"/>
                </a:cubicBezTo>
                <a:cubicBezTo>
                  <a:pt x="27786" y="89880"/>
                  <a:pt x="26513" y="95687"/>
                  <a:pt x="22695" y="99696"/>
                </a:cubicBezTo>
                <a:cubicBezTo>
                  <a:pt x="14944" y="107991"/>
                  <a:pt x="8234" y="117170"/>
                  <a:pt x="2623" y="127056"/>
                </a:cubicBezTo>
                <a:lnTo>
                  <a:pt x="2623" y="127056"/>
                </a:lnTo>
                <a:cubicBezTo>
                  <a:pt x="2971" y="127189"/>
                  <a:pt x="3260" y="127496"/>
                  <a:pt x="3318" y="12786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19" name="Forma libre: forma 318">
            <a:extLst>
              <a:ext uri="{FF2B5EF4-FFF2-40B4-BE49-F238E27FC236}">
                <a16:creationId xmlns:a16="http://schemas.microsoft.com/office/drawing/2014/main" id="{9A6EDC22-8C08-C5EB-EF2F-0F8802C883EF}"/>
              </a:ext>
            </a:extLst>
          </p:cNvPr>
          <p:cNvSpPr/>
          <p:nvPr/>
        </p:nvSpPr>
        <p:spPr>
          <a:xfrm>
            <a:off x="9607524" y="3370881"/>
            <a:ext cx="98325" cy="129238"/>
          </a:xfrm>
          <a:custGeom>
            <a:avLst/>
            <a:gdLst>
              <a:gd name="connsiteX0" fmla="*/ 11587 w 98325"/>
              <a:gd name="connsiteY0" fmla="*/ 129110 h 129238"/>
              <a:gd name="connsiteX1" fmla="*/ 5282 w 98325"/>
              <a:gd name="connsiteY1" fmla="*/ 127374 h 129238"/>
              <a:gd name="connsiteX2" fmla="*/ 4299 w 98325"/>
              <a:gd name="connsiteY2" fmla="*/ 120317 h 129238"/>
              <a:gd name="connsiteX3" fmla="*/ 1349 w 98325"/>
              <a:gd name="connsiteY3" fmla="*/ 109327 h 129238"/>
              <a:gd name="connsiteX4" fmla="*/ 4993 w 98325"/>
              <a:gd name="connsiteY4" fmla="*/ 95502 h 129238"/>
              <a:gd name="connsiteX5" fmla="*/ 10083 w 98325"/>
              <a:gd name="connsiteY5" fmla="*/ 76066 h 129238"/>
              <a:gd name="connsiteX6" fmla="*/ 5225 w 98325"/>
              <a:gd name="connsiteY6" fmla="*/ 52292 h 129238"/>
              <a:gd name="connsiteX7" fmla="*/ 12513 w 98325"/>
              <a:gd name="connsiteY7" fmla="*/ 49285 h 129238"/>
              <a:gd name="connsiteX8" fmla="*/ 14133 w 98325"/>
              <a:gd name="connsiteY8" fmla="*/ 49285 h 129238"/>
              <a:gd name="connsiteX9" fmla="*/ 18645 w 98325"/>
              <a:gd name="connsiteY9" fmla="*/ 45363 h 129238"/>
              <a:gd name="connsiteX10" fmla="*/ 18645 w 98325"/>
              <a:gd name="connsiteY10" fmla="*/ 45062 h 129238"/>
              <a:gd name="connsiteX11" fmla="*/ 13901 w 98325"/>
              <a:gd name="connsiteY11" fmla="*/ 39630 h 129238"/>
              <a:gd name="connsiteX12" fmla="*/ 13785 w 98325"/>
              <a:gd name="connsiteY12" fmla="*/ 39625 h 129238"/>
              <a:gd name="connsiteX13" fmla="*/ 6613 w 98325"/>
              <a:gd name="connsiteY13" fmla="*/ 30427 h 129238"/>
              <a:gd name="connsiteX14" fmla="*/ 4415 w 98325"/>
              <a:gd name="connsiteY14" fmla="*/ 24643 h 129238"/>
              <a:gd name="connsiteX15" fmla="*/ 4415 w 98325"/>
              <a:gd name="connsiteY15" fmla="*/ 23197 h 129238"/>
              <a:gd name="connsiteX16" fmla="*/ 13554 w 98325"/>
              <a:gd name="connsiteY16" fmla="*/ 16487 h 129238"/>
              <a:gd name="connsiteX17" fmla="*/ 20438 w 98325"/>
              <a:gd name="connsiteY17" fmla="*/ 11165 h 129238"/>
              <a:gd name="connsiteX18" fmla="*/ 46005 w 98325"/>
              <a:gd name="connsiteY18" fmla="*/ 5381 h 129238"/>
              <a:gd name="connsiteX19" fmla="*/ 59772 w 98325"/>
              <a:gd name="connsiteY19" fmla="*/ 175 h 129238"/>
              <a:gd name="connsiteX20" fmla="*/ 61334 w 98325"/>
              <a:gd name="connsiteY20" fmla="*/ 175 h 129238"/>
              <a:gd name="connsiteX21" fmla="*/ 89851 w 98325"/>
              <a:gd name="connsiteY21" fmla="*/ 46855 h 129238"/>
              <a:gd name="connsiteX22" fmla="*/ 96908 w 98325"/>
              <a:gd name="connsiteY22" fmla="*/ 85784 h 129238"/>
              <a:gd name="connsiteX23" fmla="*/ 97255 w 98325"/>
              <a:gd name="connsiteY23" fmla="*/ 93767 h 129238"/>
              <a:gd name="connsiteX24" fmla="*/ 84414 w 98325"/>
              <a:gd name="connsiteY24" fmla="*/ 99204 h 129238"/>
              <a:gd name="connsiteX25" fmla="*/ 83372 w 98325"/>
              <a:gd name="connsiteY25" fmla="*/ 98915 h 129238"/>
              <a:gd name="connsiteX26" fmla="*/ 77588 w 98325"/>
              <a:gd name="connsiteY26" fmla="*/ 97874 h 129238"/>
              <a:gd name="connsiteX27" fmla="*/ 58846 w 98325"/>
              <a:gd name="connsiteY27" fmla="*/ 110195 h 129238"/>
              <a:gd name="connsiteX28" fmla="*/ 11587 w 98325"/>
              <a:gd name="connsiteY28" fmla="*/ 129110 h 129238"/>
              <a:gd name="connsiteX29" fmla="*/ 10604 w 98325"/>
              <a:gd name="connsiteY29" fmla="*/ 51309 h 129238"/>
              <a:gd name="connsiteX30" fmla="*/ 7191 w 98325"/>
              <a:gd name="connsiteY30" fmla="*/ 53334 h 129238"/>
              <a:gd name="connsiteX31" fmla="*/ 11993 w 98325"/>
              <a:gd name="connsiteY31" fmla="*/ 74794 h 129238"/>
              <a:gd name="connsiteX32" fmla="*/ 6844 w 98325"/>
              <a:gd name="connsiteY32" fmla="*/ 96775 h 129238"/>
              <a:gd name="connsiteX33" fmla="*/ 2969 w 98325"/>
              <a:gd name="connsiteY33" fmla="*/ 107765 h 129238"/>
              <a:gd name="connsiteX34" fmla="*/ 6555 w 98325"/>
              <a:gd name="connsiteY34" fmla="*/ 120491 h 129238"/>
              <a:gd name="connsiteX35" fmla="*/ 7134 w 98325"/>
              <a:gd name="connsiteY35" fmla="*/ 126275 h 129238"/>
              <a:gd name="connsiteX36" fmla="*/ 11587 w 98325"/>
              <a:gd name="connsiteY36" fmla="*/ 127085 h 129238"/>
              <a:gd name="connsiteX37" fmla="*/ 57458 w 98325"/>
              <a:gd name="connsiteY37" fmla="*/ 109211 h 129238"/>
              <a:gd name="connsiteX38" fmla="*/ 77819 w 98325"/>
              <a:gd name="connsiteY38" fmla="*/ 96196 h 129238"/>
              <a:gd name="connsiteX39" fmla="*/ 84182 w 98325"/>
              <a:gd name="connsiteY39" fmla="*/ 97295 h 129238"/>
              <a:gd name="connsiteX40" fmla="*/ 85224 w 98325"/>
              <a:gd name="connsiteY40" fmla="*/ 97584 h 129238"/>
              <a:gd name="connsiteX41" fmla="*/ 95461 w 98325"/>
              <a:gd name="connsiteY41" fmla="*/ 93304 h 129238"/>
              <a:gd name="connsiteX42" fmla="*/ 95461 w 98325"/>
              <a:gd name="connsiteY42" fmla="*/ 87520 h 129238"/>
              <a:gd name="connsiteX43" fmla="*/ 88000 w 98325"/>
              <a:gd name="connsiteY43" fmla="*/ 47029 h 129238"/>
              <a:gd name="connsiteX44" fmla="*/ 60755 w 98325"/>
              <a:gd name="connsiteY44" fmla="*/ 2720 h 129238"/>
              <a:gd name="connsiteX45" fmla="*/ 46410 w 98325"/>
              <a:gd name="connsiteY45" fmla="*/ 7752 h 129238"/>
              <a:gd name="connsiteX46" fmla="*/ 22462 w 98325"/>
              <a:gd name="connsiteY46" fmla="*/ 12843 h 129238"/>
              <a:gd name="connsiteX47" fmla="*/ 15231 w 98325"/>
              <a:gd name="connsiteY47" fmla="*/ 18338 h 129238"/>
              <a:gd name="connsiteX48" fmla="*/ 7018 w 98325"/>
              <a:gd name="connsiteY48" fmla="*/ 24411 h 129238"/>
              <a:gd name="connsiteX49" fmla="*/ 8927 w 98325"/>
              <a:gd name="connsiteY49" fmla="*/ 30196 h 129238"/>
              <a:gd name="connsiteX50" fmla="*/ 14133 w 98325"/>
              <a:gd name="connsiteY50" fmla="*/ 37716 h 129238"/>
              <a:gd name="connsiteX51" fmla="*/ 21074 w 98325"/>
              <a:gd name="connsiteY51" fmla="*/ 45525 h 129238"/>
              <a:gd name="connsiteX52" fmla="*/ 14364 w 98325"/>
              <a:gd name="connsiteY52" fmla="*/ 51888 h 129238"/>
              <a:gd name="connsiteX53" fmla="*/ 14306 w 98325"/>
              <a:gd name="connsiteY53" fmla="*/ 51888 h 129238"/>
              <a:gd name="connsiteX54" fmla="*/ 12223 w 98325"/>
              <a:gd name="connsiteY54" fmla="*/ 51888 h 12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98325" h="129238">
                <a:moveTo>
                  <a:pt x="11587" y="129110"/>
                </a:moveTo>
                <a:cubicBezTo>
                  <a:pt x="8175" y="129110"/>
                  <a:pt x="6092" y="128531"/>
                  <a:pt x="5282" y="127374"/>
                </a:cubicBezTo>
                <a:cubicBezTo>
                  <a:pt x="4126" y="125217"/>
                  <a:pt x="3778" y="122712"/>
                  <a:pt x="4299" y="120317"/>
                </a:cubicBezTo>
                <a:cubicBezTo>
                  <a:pt x="5167" y="116390"/>
                  <a:pt x="4068" y="112283"/>
                  <a:pt x="1349" y="109327"/>
                </a:cubicBezTo>
                <a:cubicBezTo>
                  <a:pt x="-2180" y="105798"/>
                  <a:pt x="1349" y="100766"/>
                  <a:pt x="4993" y="95502"/>
                </a:cubicBezTo>
                <a:cubicBezTo>
                  <a:pt x="9274" y="89313"/>
                  <a:pt x="14133" y="82314"/>
                  <a:pt x="10083" y="76066"/>
                </a:cubicBezTo>
                <a:cubicBezTo>
                  <a:pt x="4299" y="67390"/>
                  <a:pt x="2448" y="57383"/>
                  <a:pt x="5225" y="52292"/>
                </a:cubicBezTo>
                <a:cubicBezTo>
                  <a:pt x="6497" y="49533"/>
                  <a:pt x="9679" y="48220"/>
                  <a:pt x="12513" y="49285"/>
                </a:cubicBezTo>
                <a:lnTo>
                  <a:pt x="14133" y="49285"/>
                </a:lnTo>
                <a:cubicBezTo>
                  <a:pt x="16447" y="49447"/>
                  <a:pt x="18471" y="47688"/>
                  <a:pt x="18645" y="45363"/>
                </a:cubicBezTo>
                <a:cubicBezTo>
                  <a:pt x="18645" y="45264"/>
                  <a:pt x="18645" y="45160"/>
                  <a:pt x="18645" y="45062"/>
                </a:cubicBezTo>
                <a:cubicBezTo>
                  <a:pt x="18818" y="42256"/>
                  <a:pt x="16735" y="39827"/>
                  <a:pt x="13901" y="39630"/>
                </a:cubicBezTo>
                <a:cubicBezTo>
                  <a:pt x="13901" y="39630"/>
                  <a:pt x="13843" y="39625"/>
                  <a:pt x="13785" y="39625"/>
                </a:cubicBezTo>
                <a:cubicBezTo>
                  <a:pt x="9042" y="39220"/>
                  <a:pt x="8001" y="34766"/>
                  <a:pt x="6613" y="30427"/>
                </a:cubicBezTo>
                <a:cubicBezTo>
                  <a:pt x="6092" y="28426"/>
                  <a:pt x="5340" y="26482"/>
                  <a:pt x="4415" y="24643"/>
                </a:cubicBezTo>
                <a:cubicBezTo>
                  <a:pt x="4068" y="24221"/>
                  <a:pt x="4068" y="23619"/>
                  <a:pt x="4415" y="23197"/>
                </a:cubicBezTo>
                <a:cubicBezTo>
                  <a:pt x="7481" y="20767"/>
                  <a:pt x="10662" y="18511"/>
                  <a:pt x="13554" y="16487"/>
                </a:cubicBezTo>
                <a:cubicBezTo>
                  <a:pt x="15983" y="14861"/>
                  <a:pt x="18240" y="13086"/>
                  <a:pt x="20438" y="11165"/>
                </a:cubicBezTo>
                <a:cubicBezTo>
                  <a:pt x="24256" y="7405"/>
                  <a:pt x="32874" y="5381"/>
                  <a:pt x="46005" y="5381"/>
                </a:cubicBezTo>
                <a:cubicBezTo>
                  <a:pt x="51095" y="5485"/>
                  <a:pt x="56012" y="3622"/>
                  <a:pt x="59772" y="175"/>
                </a:cubicBezTo>
                <a:cubicBezTo>
                  <a:pt x="60235" y="-230"/>
                  <a:pt x="60871" y="-230"/>
                  <a:pt x="61334" y="175"/>
                </a:cubicBezTo>
                <a:cubicBezTo>
                  <a:pt x="72324" y="12206"/>
                  <a:pt x="90661" y="34303"/>
                  <a:pt x="89851" y="46855"/>
                </a:cubicBezTo>
                <a:cubicBezTo>
                  <a:pt x="88463" y="60240"/>
                  <a:pt x="90892" y="73741"/>
                  <a:pt x="96908" y="85784"/>
                </a:cubicBezTo>
                <a:cubicBezTo>
                  <a:pt x="98527" y="88167"/>
                  <a:pt x="98643" y="91251"/>
                  <a:pt x="97255" y="93767"/>
                </a:cubicBezTo>
                <a:cubicBezTo>
                  <a:pt x="94652" y="98244"/>
                  <a:pt x="89446" y="100465"/>
                  <a:pt x="84414" y="99204"/>
                </a:cubicBezTo>
                <a:lnTo>
                  <a:pt x="83372" y="98915"/>
                </a:lnTo>
                <a:cubicBezTo>
                  <a:pt x="81522" y="98308"/>
                  <a:pt x="79554" y="97960"/>
                  <a:pt x="77588" y="97874"/>
                </a:cubicBezTo>
                <a:cubicBezTo>
                  <a:pt x="73539" y="97874"/>
                  <a:pt x="68853" y="99956"/>
                  <a:pt x="58846" y="110195"/>
                </a:cubicBezTo>
                <a:cubicBezTo>
                  <a:pt x="47451" y="122515"/>
                  <a:pt x="23619" y="129110"/>
                  <a:pt x="11587" y="129110"/>
                </a:cubicBezTo>
                <a:close/>
                <a:moveTo>
                  <a:pt x="10604" y="51309"/>
                </a:moveTo>
                <a:cubicBezTo>
                  <a:pt x="9158" y="51251"/>
                  <a:pt x="7828" y="52044"/>
                  <a:pt x="7191" y="53334"/>
                </a:cubicBezTo>
                <a:cubicBezTo>
                  <a:pt x="5167" y="57093"/>
                  <a:pt x="6382" y="66175"/>
                  <a:pt x="11993" y="74794"/>
                </a:cubicBezTo>
                <a:cubicBezTo>
                  <a:pt x="16851" y="82372"/>
                  <a:pt x="11298" y="90354"/>
                  <a:pt x="6844" y="96775"/>
                </a:cubicBezTo>
                <a:cubicBezTo>
                  <a:pt x="3026" y="102212"/>
                  <a:pt x="1060" y="105683"/>
                  <a:pt x="2969" y="107765"/>
                </a:cubicBezTo>
                <a:cubicBezTo>
                  <a:pt x="6150" y="111184"/>
                  <a:pt x="7481" y="115921"/>
                  <a:pt x="6555" y="120491"/>
                </a:cubicBezTo>
                <a:cubicBezTo>
                  <a:pt x="6092" y="122429"/>
                  <a:pt x="6266" y="124471"/>
                  <a:pt x="7134" y="126275"/>
                </a:cubicBezTo>
                <a:cubicBezTo>
                  <a:pt x="7134" y="126275"/>
                  <a:pt x="8348" y="127085"/>
                  <a:pt x="11587" y="127085"/>
                </a:cubicBezTo>
                <a:cubicBezTo>
                  <a:pt x="23156" y="127085"/>
                  <a:pt x="46294" y="120722"/>
                  <a:pt x="57458" y="109211"/>
                </a:cubicBezTo>
                <a:cubicBezTo>
                  <a:pt x="68622" y="97700"/>
                  <a:pt x="73249" y="96196"/>
                  <a:pt x="77819" y="96196"/>
                </a:cubicBezTo>
                <a:cubicBezTo>
                  <a:pt x="79960" y="96277"/>
                  <a:pt x="82100" y="96647"/>
                  <a:pt x="84182" y="97295"/>
                </a:cubicBezTo>
                <a:lnTo>
                  <a:pt x="85224" y="97584"/>
                </a:lnTo>
                <a:cubicBezTo>
                  <a:pt x="89215" y="98568"/>
                  <a:pt x="93379" y="96833"/>
                  <a:pt x="95461" y="93304"/>
                </a:cubicBezTo>
                <a:cubicBezTo>
                  <a:pt x="96561" y="91540"/>
                  <a:pt x="96561" y="89284"/>
                  <a:pt x="95461" y="87520"/>
                </a:cubicBezTo>
                <a:cubicBezTo>
                  <a:pt x="89157" y="75019"/>
                  <a:pt x="86554" y="60963"/>
                  <a:pt x="88000" y="47029"/>
                </a:cubicBezTo>
                <a:cubicBezTo>
                  <a:pt x="88578" y="38583"/>
                  <a:pt x="78629" y="22445"/>
                  <a:pt x="60755" y="2720"/>
                </a:cubicBezTo>
                <a:cubicBezTo>
                  <a:pt x="56764" y="6075"/>
                  <a:pt x="51616" y="7862"/>
                  <a:pt x="46410" y="7752"/>
                </a:cubicBezTo>
                <a:cubicBezTo>
                  <a:pt x="34089" y="7752"/>
                  <a:pt x="25760" y="9545"/>
                  <a:pt x="22462" y="12843"/>
                </a:cubicBezTo>
                <a:cubicBezTo>
                  <a:pt x="20149" y="14827"/>
                  <a:pt x="17777" y="16660"/>
                  <a:pt x="15231" y="18338"/>
                </a:cubicBezTo>
                <a:cubicBezTo>
                  <a:pt x="12629" y="20189"/>
                  <a:pt x="9447" y="22271"/>
                  <a:pt x="7018" y="24411"/>
                </a:cubicBezTo>
                <a:cubicBezTo>
                  <a:pt x="7828" y="26280"/>
                  <a:pt x="8464" y="28218"/>
                  <a:pt x="8927" y="30196"/>
                </a:cubicBezTo>
                <a:cubicBezTo>
                  <a:pt x="10199" y="34708"/>
                  <a:pt x="11183" y="37426"/>
                  <a:pt x="14133" y="37716"/>
                </a:cubicBezTo>
                <a:cubicBezTo>
                  <a:pt x="18182" y="37965"/>
                  <a:pt x="21305" y="41452"/>
                  <a:pt x="21074" y="45525"/>
                </a:cubicBezTo>
                <a:cubicBezTo>
                  <a:pt x="20958" y="49134"/>
                  <a:pt x="17951" y="51986"/>
                  <a:pt x="14364" y="51888"/>
                </a:cubicBezTo>
                <a:cubicBezTo>
                  <a:pt x="14364" y="51888"/>
                  <a:pt x="14306" y="51888"/>
                  <a:pt x="14306" y="51888"/>
                </a:cubicBezTo>
                <a:cubicBezTo>
                  <a:pt x="13612" y="51969"/>
                  <a:pt x="12918" y="51969"/>
                  <a:pt x="12223" y="5188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0" name="Forma libre: forma 319">
            <a:extLst>
              <a:ext uri="{FF2B5EF4-FFF2-40B4-BE49-F238E27FC236}">
                <a16:creationId xmlns:a16="http://schemas.microsoft.com/office/drawing/2014/main" id="{AAC320FC-229A-5143-734B-E02304EE0EB3}"/>
              </a:ext>
            </a:extLst>
          </p:cNvPr>
          <p:cNvSpPr/>
          <p:nvPr/>
        </p:nvSpPr>
        <p:spPr>
          <a:xfrm>
            <a:off x="8581997" y="3743991"/>
            <a:ext cx="116719" cy="155147"/>
          </a:xfrm>
          <a:custGeom>
            <a:avLst/>
            <a:gdLst>
              <a:gd name="connsiteX0" fmla="*/ 97839 w 116719"/>
              <a:gd name="connsiteY0" fmla="*/ 155009 h 155147"/>
              <a:gd name="connsiteX1" fmla="*/ 97839 w 116719"/>
              <a:gd name="connsiteY1" fmla="*/ 155009 h 155147"/>
              <a:gd name="connsiteX2" fmla="*/ 96972 w 116719"/>
              <a:gd name="connsiteY2" fmla="*/ 154373 h 155147"/>
              <a:gd name="connsiteX3" fmla="*/ 92634 w 116719"/>
              <a:gd name="connsiteY3" fmla="*/ 140086 h 155147"/>
              <a:gd name="connsiteX4" fmla="*/ 78693 w 116719"/>
              <a:gd name="connsiteY4" fmla="*/ 103933 h 155147"/>
              <a:gd name="connsiteX5" fmla="*/ 76321 w 116719"/>
              <a:gd name="connsiteY5" fmla="*/ 103412 h 155147"/>
              <a:gd name="connsiteX6" fmla="*/ 63769 w 116719"/>
              <a:gd name="connsiteY6" fmla="*/ 116369 h 155147"/>
              <a:gd name="connsiteX7" fmla="*/ 40632 w 116719"/>
              <a:gd name="connsiteY7" fmla="*/ 127938 h 155147"/>
              <a:gd name="connsiteX8" fmla="*/ 30914 w 116719"/>
              <a:gd name="connsiteY8" fmla="*/ 130310 h 155147"/>
              <a:gd name="connsiteX9" fmla="*/ 22584 w 116719"/>
              <a:gd name="connsiteY9" fmla="*/ 132913 h 155147"/>
              <a:gd name="connsiteX10" fmla="*/ 21659 w 116719"/>
              <a:gd name="connsiteY10" fmla="*/ 132913 h 155147"/>
              <a:gd name="connsiteX11" fmla="*/ 21253 w 116719"/>
              <a:gd name="connsiteY11" fmla="*/ 132045 h 155147"/>
              <a:gd name="connsiteX12" fmla="*/ 11710 w 116719"/>
              <a:gd name="connsiteY12" fmla="*/ 82472 h 155147"/>
              <a:gd name="connsiteX13" fmla="*/ 5115 w 116719"/>
              <a:gd name="connsiteY13" fmla="*/ 40940 h 155147"/>
              <a:gd name="connsiteX14" fmla="*/ 12346 w 116719"/>
              <a:gd name="connsiteY14" fmla="*/ 35156 h 155147"/>
              <a:gd name="connsiteX15" fmla="*/ 19865 w 116719"/>
              <a:gd name="connsiteY15" fmla="*/ 29371 h 155147"/>
              <a:gd name="connsiteX16" fmla="*/ 11015 w 116719"/>
              <a:gd name="connsiteY16" fmla="*/ 21447 h 155147"/>
              <a:gd name="connsiteX17" fmla="*/ 25 w 116719"/>
              <a:gd name="connsiteY17" fmla="*/ 12944 h 155147"/>
              <a:gd name="connsiteX18" fmla="*/ 1991 w 116719"/>
              <a:gd name="connsiteY18" fmla="*/ 6118 h 155147"/>
              <a:gd name="connsiteX19" fmla="*/ 10321 w 116719"/>
              <a:gd name="connsiteY19" fmla="*/ -129 h 155147"/>
              <a:gd name="connsiteX20" fmla="*/ 15585 w 116719"/>
              <a:gd name="connsiteY20" fmla="*/ 2069 h 155147"/>
              <a:gd name="connsiteX21" fmla="*/ 25823 w 116719"/>
              <a:gd name="connsiteY21" fmla="*/ 5655 h 155147"/>
              <a:gd name="connsiteX22" fmla="*/ 44912 w 116719"/>
              <a:gd name="connsiteY22" fmla="*/ 21505 h 155147"/>
              <a:gd name="connsiteX23" fmla="*/ 57117 w 116719"/>
              <a:gd name="connsiteY23" fmla="*/ 33479 h 155147"/>
              <a:gd name="connsiteX24" fmla="*/ 88006 w 116719"/>
              <a:gd name="connsiteY24" fmla="*/ 31859 h 155147"/>
              <a:gd name="connsiteX25" fmla="*/ 108772 w 116719"/>
              <a:gd name="connsiteY25" fmla="*/ 39494 h 155147"/>
              <a:gd name="connsiteX26" fmla="*/ 86386 w 116719"/>
              <a:gd name="connsiteY26" fmla="*/ 68416 h 155147"/>
              <a:gd name="connsiteX27" fmla="*/ 80081 w 116719"/>
              <a:gd name="connsiteY27" fmla="*/ 79233 h 155147"/>
              <a:gd name="connsiteX28" fmla="*/ 84998 w 116719"/>
              <a:gd name="connsiteY28" fmla="*/ 95545 h 155147"/>
              <a:gd name="connsiteX29" fmla="*/ 85634 w 116719"/>
              <a:gd name="connsiteY29" fmla="*/ 95545 h 155147"/>
              <a:gd name="connsiteX30" fmla="*/ 96278 w 116719"/>
              <a:gd name="connsiteY30" fmla="*/ 83514 h 155147"/>
              <a:gd name="connsiteX31" fmla="*/ 104376 w 116719"/>
              <a:gd name="connsiteY31" fmla="*/ 74259 h 155147"/>
              <a:gd name="connsiteX32" fmla="*/ 112821 w 116719"/>
              <a:gd name="connsiteY32" fmla="*/ 105668 h 155147"/>
              <a:gd name="connsiteX33" fmla="*/ 116523 w 116719"/>
              <a:gd name="connsiteY33" fmla="*/ 127880 h 155147"/>
              <a:gd name="connsiteX34" fmla="*/ 116523 w 116719"/>
              <a:gd name="connsiteY34" fmla="*/ 128806 h 155147"/>
              <a:gd name="connsiteX35" fmla="*/ 108888 w 116719"/>
              <a:gd name="connsiteY35" fmla="*/ 146159 h 155147"/>
              <a:gd name="connsiteX36" fmla="*/ 108425 w 116719"/>
              <a:gd name="connsiteY36" fmla="*/ 146796 h 155147"/>
              <a:gd name="connsiteX37" fmla="*/ 98823 w 116719"/>
              <a:gd name="connsiteY37" fmla="*/ 154662 h 155147"/>
              <a:gd name="connsiteX38" fmla="*/ 97839 w 116719"/>
              <a:gd name="connsiteY38" fmla="*/ 155009 h 155147"/>
              <a:gd name="connsiteX39" fmla="*/ 76148 w 116719"/>
              <a:gd name="connsiteY39" fmla="*/ 101156 h 155147"/>
              <a:gd name="connsiteX40" fmla="*/ 79503 w 116719"/>
              <a:gd name="connsiteY40" fmla="*/ 101908 h 155147"/>
              <a:gd name="connsiteX41" fmla="*/ 94716 w 116719"/>
              <a:gd name="connsiteY41" fmla="*/ 140028 h 155147"/>
              <a:gd name="connsiteX42" fmla="*/ 98187 w 116719"/>
              <a:gd name="connsiteY42" fmla="*/ 152001 h 155147"/>
              <a:gd name="connsiteX43" fmla="*/ 106632 w 116719"/>
              <a:gd name="connsiteY43" fmla="*/ 145176 h 155147"/>
              <a:gd name="connsiteX44" fmla="*/ 114267 w 116719"/>
              <a:gd name="connsiteY44" fmla="*/ 127823 h 155147"/>
              <a:gd name="connsiteX45" fmla="*/ 110681 w 116719"/>
              <a:gd name="connsiteY45" fmla="*/ 106073 h 155147"/>
              <a:gd name="connsiteX46" fmla="*/ 104260 w 116719"/>
              <a:gd name="connsiteY46" fmla="*/ 76515 h 155147"/>
              <a:gd name="connsiteX47" fmla="*/ 98476 w 116719"/>
              <a:gd name="connsiteY47" fmla="*/ 84671 h 155147"/>
              <a:gd name="connsiteX48" fmla="*/ 85866 w 116719"/>
              <a:gd name="connsiteY48" fmla="*/ 97859 h 155147"/>
              <a:gd name="connsiteX49" fmla="*/ 84766 w 116719"/>
              <a:gd name="connsiteY49" fmla="*/ 97859 h 155147"/>
              <a:gd name="connsiteX50" fmla="*/ 78057 w 116719"/>
              <a:gd name="connsiteY50" fmla="*/ 79118 h 155147"/>
              <a:gd name="connsiteX51" fmla="*/ 86618 w 116719"/>
              <a:gd name="connsiteY51" fmla="*/ 66218 h 155147"/>
              <a:gd name="connsiteX52" fmla="*/ 106747 w 116719"/>
              <a:gd name="connsiteY52" fmla="*/ 39436 h 155147"/>
              <a:gd name="connsiteX53" fmla="*/ 88238 w 116719"/>
              <a:gd name="connsiteY53" fmla="*/ 34057 h 155147"/>
              <a:gd name="connsiteX54" fmla="*/ 57233 w 116719"/>
              <a:gd name="connsiteY54" fmla="*/ 35677 h 155147"/>
              <a:gd name="connsiteX55" fmla="*/ 56770 w 116719"/>
              <a:gd name="connsiteY55" fmla="*/ 35677 h 155147"/>
              <a:gd name="connsiteX56" fmla="*/ 42887 w 116719"/>
              <a:gd name="connsiteY56" fmla="*/ 21505 h 155147"/>
              <a:gd name="connsiteX57" fmla="*/ 26055 w 116719"/>
              <a:gd name="connsiteY57" fmla="*/ 7911 h 155147"/>
              <a:gd name="connsiteX58" fmla="*/ 14486 w 116719"/>
              <a:gd name="connsiteY58" fmla="*/ 3978 h 155147"/>
              <a:gd name="connsiteX59" fmla="*/ 10494 w 116719"/>
              <a:gd name="connsiteY59" fmla="*/ 2069 h 155147"/>
              <a:gd name="connsiteX60" fmla="*/ 4016 w 116719"/>
              <a:gd name="connsiteY60" fmla="*/ 7449 h 155147"/>
              <a:gd name="connsiteX61" fmla="*/ 2396 w 116719"/>
              <a:gd name="connsiteY61" fmla="*/ 12365 h 155147"/>
              <a:gd name="connsiteX62" fmla="*/ 12114 w 116719"/>
              <a:gd name="connsiteY62" fmla="*/ 19364 h 155147"/>
              <a:gd name="connsiteX63" fmla="*/ 22121 w 116719"/>
              <a:gd name="connsiteY63" fmla="*/ 30066 h 155147"/>
              <a:gd name="connsiteX64" fmla="*/ 12982 w 116719"/>
              <a:gd name="connsiteY64" fmla="*/ 37181 h 155147"/>
              <a:gd name="connsiteX65" fmla="*/ 7198 w 116719"/>
              <a:gd name="connsiteY65" fmla="*/ 41403 h 155147"/>
              <a:gd name="connsiteX66" fmla="*/ 13676 w 116719"/>
              <a:gd name="connsiteY66" fmla="*/ 81894 h 155147"/>
              <a:gd name="connsiteX67" fmla="*/ 23336 w 116719"/>
              <a:gd name="connsiteY67" fmla="*/ 130946 h 155147"/>
              <a:gd name="connsiteX68" fmla="*/ 29930 w 116719"/>
              <a:gd name="connsiteY68" fmla="*/ 128748 h 155147"/>
              <a:gd name="connsiteX69" fmla="*/ 40516 w 116719"/>
              <a:gd name="connsiteY69" fmla="*/ 126203 h 155147"/>
              <a:gd name="connsiteX70" fmla="*/ 61166 w 116719"/>
              <a:gd name="connsiteY70" fmla="*/ 116717 h 155147"/>
              <a:gd name="connsiteX71" fmla="*/ 76148 w 116719"/>
              <a:gd name="connsiteY71" fmla="*/ 101156 h 15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6719" h="155147">
                <a:moveTo>
                  <a:pt x="97839" y="155009"/>
                </a:moveTo>
                <a:lnTo>
                  <a:pt x="97839" y="155009"/>
                </a:lnTo>
                <a:cubicBezTo>
                  <a:pt x="97435" y="154963"/>
                  <a:pt x="97145" y="154720"/>
                  <a:pt x="96972" y="154373"/>
                </a:cubicBezTo>
                <a:cubicBezTo>
                  <a:pt x="94658" y="149919"/>
                  <a:pt x="93154" y="145077"/>
                  <a:pt x="92634" y="140086"/>
                </a:cubicBezTo>
                <a:cubicBezTo>
                  <a:pt x="92228" y="128517"/>
                  <a:pt x="83725" y="106478"/>
                  <a:pt x="78693" y="103933"/>
                </a:cubicBezTo>
                <a:cubicBezTo>
                  <a:pt x="77941" y="103574"/>
                  <a:pt x="77131" y="103401"/>
                  <a:pt x="76321" y="103412"/>
                </a:cubicBezTo>
                <a:cubicBezTo>
                  <a:pt x="69669" y="104332"/>
                  <a:pt x="64464" y="109677"/>
                  <a:pt x="63769" y="116369"/>
                </a:cubicBezTo>
                <a:cubicBezTo>
                  <a:pt x="62786" y="127938"/>
                  <a:pt x="46416" y="127938"/>
                  <a:pt x="40632" y="127938"/>
                </a:cubicBezTo>
                <a:cubicBezTo>
                  <a:pt x="37276" y="128036"/>
                  <a:pt x="33980" y="128846"/>
                  <a:pt x="30914" y="130310"/>
                </a:cubicBezTo>
                <a:cubicBezTo>
                  <a:pt x="28253" y="131449"/>
                  <a:pt x="25419" y="132323"/>
                  <a:pt x="22584" y="132913"/>
                </a:cubicBezTo>
                <a:cubicBezTo>
                  <a:pt x="22295" y="133081"/>
                  <a:pt x="21947" y="133081"/>
                  <a:pt x="21659" y="132913"/>
                </a:cubicBezTo>
                <a:cubicBezTo>
                  <a:pt x="21369" y="132716"/>
                  <a:pt x="21253" y="132386"/>
                  <a:pt x="21253" y="132045"/>
                </a:cubicBezTo>
                <a:cubicBezTo>
                  <a:pt x="20733" y="115114"/>
                  <a:pt x="17551" y="98380"/>
                  <a:pt x="11710" y="82472"/>
                </a:cubicBezTo>
                <a:cubicBezTo>
                  <a:pt x="6503" y="69267"/>
                  <a:pt x="4305" y="55101"/>
                  <a:pt x="5115" y="40940"/>
                </a:cubicBezTo>
                <a:cubicBezTo>
                  <a:pt x="6040" y="36255"/>
                  <a:pt x="9396" y="35619"/>
                  <a:pt x="12346" y="35156"/>
                </a:cubicBezTo>
                <a:cubicBezTo>
                  <a:pt x="15874" y="35087"/>
                  <a:pt x="18882" y="32744"/>
                  <a:pt x="19865" y="29371"/>
                </a:cubicBezTo>
                <a:cubicBezTo>
                  <a:pt x="20907" y="26190"/>
                  <a:pt x="17031" y="24166"/>
                  <a:pt x="11015" y="21447"/>
                </a:cubicBezTo>
                <a:cubicBezTo>
                  <a:pt x="6098" y="19191"/>
                  <a:pt x="1066" y="16935"/>
                  <a:pt x="25" y="12944"/>
                </a:cubicBezTo>
                <a:cubicBezTo>
                  <a:pt x="-438" y="10486"/>
                  <a:pt x="314" y="7963"/>
                  <a:pt x="1991" y="6118"/>
                </a:cubicBezTo>
                <a:cubicBezTo>
                  <a:pt x="5288" y="1722"/>
                  <a:pt x="7776" y="-129"/>
                  <a:pt x="10321" y="-129"/>
                </a:cubicBezTo>
                <a:cubicBezTo>
                  <a:pt x="12288" y="44"/>
                  <a:pt x="14081" y="814"/>
                  <a:pt x="15585" y="2069"/>
                </a:cubicBezTo>
                <a:cubicBezTo>
                  <a:pt x="18477" y="4371"/>
                  <a:pt x="22121" y="5638"/>
                  <a:pt x="25823" y="5655"/>
                </a:cubicBezTo>
                <a:cubicBezTo>
                  <a:pt x="37970" y="5655"/>
                  <a:pt x="44912" y="11440"/>
                  <a:pt x="44912" y="21505"/>
                </a:cubicBezTo>
                <a:cubicBezTo>
                  <a:pt x="44912" y="28272"/>
                  <a:pt x="55440" y="32784"/>
                  <a:pt x="57117" y="33479"/>
                </a:cubicBezTo>
                <a:cubicBezTo>
                  <a:pt x="58794" y="34173"/>
                  <a:pt x="78867" y="31859"/>
                  <a:pt x="88006" y="31859"/>
                </a:cubicBezTo>
                <a:cubicBezTo>
                  <a:pt x="98187" y="31859"/>
                  <a:pt x="108772" y="31859"/>
                  <a:pt x="108772" y="39494"/>
                </a:cubicBezTo>
                <a:cubicBezTo>
                  <a:pt x="108772" y="47130"/>
                  <a:pt x="96856" y="68416"/>
                  <a:pt x="86386" y="68416"/>
                </a:cubicBezTo>
                <a:cubicBezTo>
                  <a:pt x="82511" y="68416"/>
                  <a:pt x="80602" y="74201"/>
                  <a:pt x="80081" y="79233"/>
                </a:cubicBezTo>
                <a:cubicBezTo>
                  <a:pt x="79329" y="87274"/>
                  <a:pt x="81585" y="94909"/>
                  <a:pt x="84998" y="95545"/>
                </a:cubicBezTo>
                <a:lnTo>
                  <a:pt x="85634" y="95545"/>
                </a:lnTo>
                <a:cubicBezTo>
                  <a:pt x="89336" y="95545"/>
                  <a:pt x="93154" y="88893"/>
                  <a:pt x="96278" y="83514"/>
                </a:cubicBezTo>
                <a:cubicBezTo>
                  <a:pt x="99401" y="78134"/>
                  <a:pt x="101657" y="74259"/>
                  <a:pt x="104376" y="74259"/>
                </a:cubicBezTo>
                <a:cubicBezTo>
                  <a:pt x="107095" y="74259"/>
                  <a:pt x="109061" y="81894"/>
                  <a:pt x="112821" y="105668"/>
                </a:cubicBezTo>
                <a:cubicBezTo>
                  <a:pt x="113920" y="112494"/>
                  <a:pt x="115135" y="120187"/>
                  <a:pt x="116523" y="127880"/>
                </a:cubicBezTo>
                <a:cubicBezTo>
                  <a:pt x="116639" y="128175"/>
                  <a:pt x="116639" y="128511"/>
                  <a:pt x="116523" y="128806"/>
                </a:cubicBezTo>
                <a:cubicBezTo>
                  <a:pt x="113110" y="134156"/>
                  <a:pt x="110507" y="140010"/>
                  <a:pt x="108888" y="146159"/>
                </a:cubicBezTo>
                <a:cubicBezTo>
                  <a:pt x="108830" y="146431"/>
                  <a:pt x="108656" y="146668"/>
                  <a:pt x="108425" y="146796"/>
                </a:cubicBezTo>
                <a:cubicBezTo>
                  <a:pt x="105012" y="149167"/>
                  <a:pt x="101831" y="151799"/>
                  <a:pt x="98823" y="154662"/>
                </a:cubicBezTo>
                <a:cubicBezTo>
                  <a:pt x="98591" y="154928"/>
                  <a:pt x="98187" y="155056"/>
                  <a:pt x="97839" y="155009"/>
                </a:cubicBezTo>
                <a:close/>
                <a:moveTo>
                  <a:pt x="76148" y="101156"/>
                </a:moveTo>
                <a:cubicBezTo>
                  <a:pt x="77305" y="101133"/>
                  <a:pt x="78461" y="101388"/>
                  <a:pt x="79503" y="101908"/>
                </a:cubicBezTo>
                <a:cubicBezTo>
                  <a:pt x="85750" y="105032"/>
                  <a:pt x="94311" y="128227"/>
                  <a:pt x="94716" y="140028"/>
                </a:cubicBezTo>
                <a:cubicBezTo>
                  <a:pt x="95121" y="144198"/>
                  <a:pt x="96335" y="148253"/>
                  <a:pt x="98187" y="152001"/>
                </a:cubicBezTo>
                <a:cubicBezTo>
                  <a:pt x="100847" y="149543"/>
                  <a:pt x="103681" y="147264"/>
                  <a:pt x="106632" y="145176"/>
                </a:cubicBezTo>
                <a:cubicBezTo>
                  <a:pt x="108251" y="139033"/>
                  <a:pt x="110854" y="133179"/>
                  <a:pt x="114267" y="127823"/>
                </a:cubicBezTo>
                <a:cubicBezTo>
                  <a:pt x="112937" y="120303"/>
                  <a:pt x="111722" y="112725"/>
                  <a:pt x="110681" y="106073"/>
                </a:cubicBezTo>
                <a:cubicBezTo>
                  <a:pt x="108541" y="92769"/>
                  <a:pt x="106169" y="77672"/>
                  <a:pt x="104260" y="76515"/>
                </a:cubicBezTo>
                <a:cubicBezTo>
                  <a:pt x="102987" y="76515"/>
                  <a:pt x="100385" y="81084"/>
                  <a:pt x="98476" y="84671"/>
                </a:cubicBezTo>
                <a:cubicBezTo>
                  <a:pt x="94889" y="90860"/>
                  <a:pt x="90840" y="97859"/>
                  <a:pt x="85866" y="97859"/>
                </a:cubicBezTo>
                <a:lnTo>
                  <a:pt x="84766" y="97859"/>
                </a:lnTo>
                <a:cubicBezTo>
                  <a:pt x="79561" y="96818"/>
                  <a:pt x="77247" y="87505"/>
                  <a:pt x="78057" y="79118"/>
                </a:cubicBezTo>
                <a:cubicBezTo>
                  <a:pt x="78867" y="70730"/>
                  <a:pt x="82106" y="66218"/>
                  <a:pt x="86618" y="66218"/>
                </a:cubicBezTo>
                <a:cubicBezTo>
                  <a:pt x="95584" y="66218"/>
                  <a:pt x="106747" y="45626"/>
                  <a:pt x="106747" y="39436"/>
                </a:cubicBezTo>
                <a:cubicBezTo>
                  <a:pt x="106747" y="33247"/>
                  <a:pt x="97319" y="34057"/>
                  <a:pt x="88238" y="34057"/>
                </a:cubicBezTo>
                <a:cubicBezTo>
                  <a:pt x="79156" y="34057"/>
                  <a:pt x="57464" y="35677"/>
                  <a:pt x="57233" y="35677"/>
                </a:cubicBezTo>
                <a:cubicBezTo>
                  <a:pt x="57059" y="35735"/>
                  <a:pt x="56944" y="35735"/>
                  <a:pt x="56770" y="35677"/>
                </a:cubicBezTo>
                <a:cubicBezTo>
                  <a:pt x="56192" y="35677"/>
                  <a:pt x="42887" y="30413"/>
                  <a:pt x="42887" y="21505"/>
                </a:cubicBezTo>
                <a:cubicBezTo>
                  <a:pt x="42887" y="15315"/>
                  <a:pt x="39995" y="7911"/>
                  <a:pt x="26055" y="7911"/>
                </a:cubicBezTo>
                <a:cubicBezTo>
                  <a:pt x="21890" y="7876"/>
                  <a:pt x="17841" y="6500"/>
                  <a:pt x="14486" y="3978"/>
                </a:cubicBezTo>
                <a:cubicBezTo>
                  <a:pt x="13329" y="2989"/>
                  <a:pt x="11998" y="2329"/>
                  <a:pt x="10494" y="2069"/>
                </a:cubicBezTo>
                <a:cubicBezTo>
                  <a:pt x="8817" y="2069"/>
                  <a:pt x="6734" y="3804"/>
                  <a:pt x="4016" y="7449"/>
                </a:cubicBezTo>
                <a:cubicBezTo>
                  <a:pt x="2743" y="8739"/>
                  <a:pt x="2107" y="10561"/>
                  <a:pt x="2396" y="12365"/>
                </a:cubicBezTo>
                <a:cubicBezTo>
                  <a:pt x="3148" y="15315"/>
                  <a:pt x="7718" y="17398"/>
                  <a:pt x="12114" y="19364"/>
                </a:cubicBezTo>
                <a:cubicBezTo>
                  <a:pt x="17899" y="22025"/>
                  <a:pt x="23683" y="24744"/>
                  <a:pt x="22121" y="30066"/>
                </a:cubicBezTo>
                <a:cubicBezTo>
                  <a:pt x="20907" y="34126"/>
                  <a:pt x="17205" y="36972"/>
                  <a:pt x="12982" y="37181"/>
                </a:cubicBezTo>
                <a:cubicBezTo>
                  <a:pt x="10032" y="37817"/>
                  <a:pt x="8123" y="38164"/>
                  <a:pt x="7198" y="41403"/>
                </a:cubicBezTo>
                <a:cubicBezTo>
                  <a:pt x="6388" y="55211"/>
                  <a:pt x="8586" y="69030"/>
                  <a:pt x="13676" y="81894"/>
                </a:cubicBezTo>
                <a:cubicBezTo>
                  <a:pt x="19461" y="97634"/>
                  <a:pt x="22699" y="114189"/>
                  <a:pt x="23336" y="130946"/>
                </a:cubicBezTo>
                <a:cubicBezTo>
                  <a:pt x="25592" y="130379"/>
                  <a:pt x="27790" y="129645"/>
                  <a:pt x="29930" y="128748"/>
                </a:cubicBezTo>
                <a:cubicBezTo>
                  <a:pt x="33228" y="127157"/>
                  <a:pt x="36872" y="126290"/>
                  <a:pt x="40516" y="126203"/>
                </a:cubicBezTo>
                <a:cubicBezTo>
                  <a:pt x="53878" y="126203"/>
                  <a:pt x="60646" y="123137"/>
                  <a:pt x="61166" y="116717"/>
                </a:cubicBezTo>
                <a:cubicBezTo>
                  <a:pt x="61686" y="108578"/>
                  <a:pt x="68050" y="102013"/>
                  <a:pt x="76148" y="10115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1" name="Forma libre: forma 320">
            <a:extLst>
              <a:ext uri="{FF2B5EF4-FFF2-40B4-BE49-F238E27FC236}">
                <a16:creationId xmlns:a16="http://schemas.microsoft.com/office/drawing/2014/main" id="{2647A5EB-6269-4149-6D16-C862F4A840D4}"/>
              </a:ext>
            </a:extLst>
          </p:cNvPr>
          <p:cNvSpPr/>
          <p:nvPr/>
        </p:nvSpPr>
        <p:spPr>
          <a:xfrm>
            <a:off x="8050397" y="3462709"/>
            <a:ext cx="761148" cy="802231"/>
          </a:xfrm>
          <a:custGeom>
            <a:avLst/>
            <a:gdLst>
              <a:gd name="connsiteX0" fmla="*/ 246914 w 761148"/>
              <a:gd name="connsiteY0" fmla="*/ 802099 h 802231"/>
              <a:gd name="connsiteX1" fmla="*/ 246914 w 761148"/>
              <a:gd name="connsiteY1" fmla="*/ 802099 h 802231"/>
              <a:gd name="connsiteX2" fmla="*/ 242113 w 761148"/>
              <a:gd name="connsiteY2" fmla="*/ 800711 h 802231"/>
              <a:gd name="connsiteX3" fmla="*/ 214985 w 761148"/>
              <a:gd name="connsiteY3" fmla="*/ 751312 h 802231"/>
              <a:gd name="connsiteX4" fmla="*/ 189302 w 761148"/>
              <a:gd name="connsiteY4" fmla="*/ 694624 h 802231"/>
              <a:gd name="connsiteX5" fmla="*/ 177328 w 761148"/>
              <a:gd name="connsiteY5" fmla="*/ 663446 h 802231"/>
              <a:gd name="connsiteX6" fmla="*/ 162578 w 761148"/>
              <a:gd name="connsiteY6" fmla="*/ 623823 h 802231"/>
              <a:gd name="connsiteX7" fmla="*/ 137010 w 761148"/>
              <a:gd name="connsiteY7" fmla="*/ 550361 h 802231"/>
              <a:gd name="connsiteX8" fmla="*/ 130011 w 761148"/>
              <a:gd name="connsiteY8" fmla="*/ 523058 h 802231"/>
              <a:gd name="connsiteX9" fmla="*/ 124516 w 761148"/>
              <a:gd name="connsiteY9" fmla="*/ 501077 h 802231"/>
              <a:gd name="connsiteX10" fmla="*/ 121797 w 761148"/>
              <a:gd name="connsiteY10" fmla="*/ 486501 h 802231"/>
              <a:gd name="connsiteX11" fmla="*/ 119310 w 761148"/>
              <a:gd name="connsiteY11" fmla="*/ 454570 h 802231"/>
              <a:gd name="connsiteX12" fmla="*/ 119657 w 761148"/>
              <a:gd name="connsiteY12" fmla="*/ 430739 h 802231"/>
              <a:gd name="connsiteX13" fmla="*/ 115492 w 761148"/>
              <a:gd name="connsiteY13" fmla="*/ 414311 h 802231"/>
              <a:gd name="connsiteX14" fmla="*/ 113063 w 761148"/>
              <a:gd name="connsiteY14" fmla="*/ 402742 h 802231"/>
              <a:gd name="connsiteX15" fmla="*/ 104560 w 761148"/>
              <a:gd name="connsiteY15" fmla="*/ 410667 h 802231"/>
              <a:gd name="connsiteX16" fmla="*/ 105601 w 761148"/>
              <a:gd name="connsiteY16" fmla="*/ 414831 h 802231"/>
              <a:gd name="connsiteX17" fmla="*/ 107279 w 761148"/>
              <a:gd name="connsiteY17" fmla="*/ 419633 h 802231"/>
              <a:gd name="connsiteX18" fmla="*/ 76563 w 761148"/>
              <a:gd name="connsiteY18" fmla="*/ 445258 h 802231"/>
              <a:gd name="connsiteX19" fmla="*/ 74075 w 761148"/>
              <a:gd name="connsiteY19" fmla="*/ 445258 h 802231"/>
              <a:gd name="connsiteX20" fmla="*/ 23809 w 761148"/>
              <a:gd name="connsiteY20" fmla="*/ 407428 h 802231"/>
              <a:gd name="connsiteX21" fmla="*/ 17099 w 761148"/>
              <a:gd name="connsiteY21" fmla="*/ 396437 h 802231"/>
              <a:gd name="connsiteX22" fmla="*/ 29420 w 761148"/>
              <a:gd name="connsiteY22" fmla="*/ 393082 h 802231"/>
              <a:gd name="connsiteX23" fmla="*/ 55045 w 761148"/>
              <a:gd name="connsiteY23" fmla="*/ 383711 h 802231"/>
              <a:gd name="connsiteX24" fmla="*/ 53079 w 761148"/>
              <a:gd name="connsiteY24" fmla="*/ 380472 h 802231"/>
              <a:gd name="connsiteX25" fmla="*/ 47294 w 761148"/>
              <a:gd name="connsiteY25" fmla="*/ 381976 h 802231"/>
              <a:gd name="connsiteX26" fmla="*/ 33990 w 761148"/>
              <a:gd name="connsiteY26" fmla="*/ 384695 h 802231"/>
              <a:gd name="connsiteX27" fmla="*/ 25834 w 761148"/>
              <a:gd name="connsiteY27" fmla="*/ 383191 h 802231"/>
              <a:gd name="connsiteX28" fmla="*/ 7960 w 761148"/>
              <a:gd name="connsiteY28" fmla="*/ 368209 h 802231"/>
              <a:gd name="connsiteX29" fmla="*/ 382 w 761148"/>
              <a:gd name="connsiteY29" fmla="*/ 359879 h 802231"/>
              <a:gd name="connsiteX30" fmla="*/ -23 w 761148"/>
              <a:gd name="connsiteY30" fmla="*/ 359127 h 802231"/>
              <a:gd name="connsiteX31" fmla="*/ -23 w 761148"/>
              <a:gd name="connsiteY31" fmla="*/ 358260 h 802231"/>
              <a:gd name="connsiteX32" fmla="*/ 1713 w 761148"/>
              <a:gd name="connsiteY32" fmla="*/ 356235 h 802231"/>
              <a:gd name="connsiteX33" fmla="*/ 5762 w 761148"/>
              <a:gd name="connsiteY33" fmla="*/ 350104 h 802231"/>
              <a:gd name="connsiteX34" fmla="*/ 22305 w 761148"/>
              <a:gd name="connsiteY34" fmla="*/ 338072 h 802231"/>
              <a:gd name="connsiteX35" fmla="*/ 27569 w 761148"/>
              <a:gd name="connsiteY35" fmla="*/ 338651 h 802231"/>
              <a:gd name="connsiteX36" fmla="*/ 35956 w 761148"/>
              <a:gd name="connsiteY36" fmla="*/ 339518 h 802231"/>
              <a:gd name="connsiteX37" fmla="*/ 43939 w 761148"/>
              <a:gd name="connsiteY37" fmla="*/ 338188 h 802231"/>
              <a:gd name="connsiteX38" fmla="*/ 49723 w 761148"/>
              <a:gd name="connsiteY38" fmla="*/ 337089 h 802231"/>
              <a:gd name="connsiteX39" fmla="*/ 53657 w 761148"/>
              <a:gd name="connsiteY39" fmla="*/ 337552 h 802231"/>
              <a:gd name="connsiteX40" fmla="*/ 61350 w 761148"/>
              <a:gd name="connsiteY40" fmla="*/ 338535 h 802231"/>
              <a:gd name="connsiteX41" fmla="*/ 72919 w 761148"/>
              <a:gd name="connsiteY41" fmla="*/ 332750 h 802231"/>
              <a:gd name="connsiteX42" fmla="*/ 63374 w 761148"/>
              <a:gd name="connsiteY42" fmla="*/ 309613 h 802231"/>
              <a:gd name="connsiteX43" fmla="*/ 51169 w 761148"/>
              <a:gd name="connsiteY43" fmla="*/ 280691 h 802231"/>
              <a:gd name="connsiteX44" fmla="*/ 42609 w 761148"/>
              <a:gd name="connsiteY44" fmla="*/ 270741 h 802231"/>
              <a:gd name="connsiteX45" fmla="*/ 33874 w 761148"/>
              <a:gd name="connsiteY45" fmla="*/ 261371 h 802231"/>
              <a:gd name="connsiteX46" fmla="*/ 52384 w 761148"/>
              <a:gd name="connsiteY46" fmla="*/ 236844 h 802231"/>
              <a:gd name="connsiteX47" fmla="*/ 54756 w 761148"/>
              <a:gd name="connsiteY47" fmla="*/ 234704 h 802231"/>
              <a:gd name="connsiteX48" fmla="*/ 64474 w 761148"/>
              <a:gd name="connsiteY48" fmla="*/ 236035 h 802231"/>
              <a:gd name="connsiteX49" fmla="*/ 72514 w 761148"/>
              <a:gd name="connsiteY49" fmla="*/ 238464 h 802231"/>
              <a:gd name="connsiteX50" fmla="*/ 75001 w 761148"/>
              <a:gd name="connsiteY50" fmla="*/ 237134 h 802231"/>
              <a:gd name="connsiteX51" fmla="*/ 82463 w 761148"/>
              <a:gd name="connsiteY51" fmla="*/ 233027 h 802231"/>
              <a:gd name="connsiteX52" fmla="*/ 91198 w 761148"/>
              <a:gd name="connsiteY52" fmla="*/ 234589 h 802231"/>
              <a:gd name="connsiteX53" fmla="*/ 94553 w 761148"/>
              <a:gd name="connsiteY53" fmla="*/ 235456 h 802231"/>
              <a:gd name="connsiteX54" fmla="*/ 108320 w 761148"/>
              <a:gd name="connsiteY54" fmla="*/ 215963 h 802231"/>
              <a:gd name="connsiteX55" fmla="*/ 124805 w 761148"/>
              <a:gd name="connsiteY55" fmla="*/ 203816 h 802231"/>
              <a:gd name="connsiteX56" fmla="*/ 131284 w 761148"/>
              <a:gd name="connsiteY56" fmla="*/ 201212 h 802231"/>
              <a:gd name="connsiteX57" fmla="*/ 138225 w 761148"/>
              <a:gd name="connsiteY57" fmla="*/ 182991 h 802231"/>
              <a:gd name="connsiteX58" fmla="*/ 141870 w 761148"/>
              <a:gd name="connsiteY58" fmla="*/ 172406 h 802231"/>
              <a:gd name="connsiteX59" fmla="*/ 148348 w 761148"/>
              <a:gd name="connsiteY59" fmla="*/ 169051 h 802231"/>
              <a:gd name="connsiteX60" fmla="*/ 157950 w 761148"/>
              <a:gd name="connsiteY60" fmla="*/ 159969 h 802231"/>
              <a:gd name="connsiteX61" fmla="*/ 169924 w 761148"/>
              <a:gd name="connsiteY61" fmla="*/ 143918 h 802231"/>
              <a:gd name="connsiteX62" fmla="*/ 171832 w 761148"/>
              <a:gd name="connsiteY62" fmla="*/ 143773 h 802231"/>
              <a:gd name="connsiteX63" fmla="*/ 175882 w 761148"/>
              <a:gd name="connsiteY63" fmla="*/ 131568 h 802231"/>
              <a:gd name="connsiteX64" fmla="*/ 176229 w 761148"/>
              <a:gd name="connsiteY64" fmla="*/ 124280 h 802231"/>
              <a:gd name="connsiteX65" fmla="*/ 191095 w 761148"/>
              <a:gd name="connsiteY65" fmla="*/ 102819 h 802231"/>
              <a:gd name="connsiteX66" fmla="*/ 193235 w 761148"/>
              <a:gd name="connsiteY66" fmla="*/ 100679 h 802231"/>
              <a:gd name="connsiteX67" fmla="*/ 180914 w 761148"/>
              <a:gd name="connsiteY67" fmla="*/ 92928 h 802231"/>
              <a:gd name="connsiteX68" fmla="*/ 178658 w 761148"/>
              <a:gd name="connsiteY68" fmla="*/ 92928 h 802231"/>
              <a:gd name="connsiteX69" fmla="*/ 177386 w 761148"/>
              <a:gd name="connsiteY69" fmla="*/ 92928 h 802231"/>
              <a:gd name="connsiteX70" fmla="*/ 161189 w 761148"/>
              <a:gd name="connsiteY70" fmla="*/ 66030 h 802231"/>
              <a:gd name="connsiteX71" fmla="*/ 161189 w 761148"/>
              <a:gd name="connsiteY71" fmla="*/ 65683 h 802231"/>
              <a:gd name="connsiteX72" fmla="*/ 157429 w 761148"/>
              <a:gd name="connsiteY72" fmla="*/ 40810 h 802231"/>
              <a:gd name="connsiteX73" fmla="*/ 155405 w 761148"/>
              <a:gd name="connsiteY73" fmla="*/ 34621 h 802231"/>
              <a:gd name="connsiteX74" fmla="*/ 172064 w 761148"/>
              <a:gd name="connsiteY74" fmla="*/ 23630 h 802231"/>
              <a:gd name="connsiteX75" fmla="*/ 190516 w 761148"/>
              <a:gd name="connsiteY75" fmla="*/ 28142 h 802231"/>
              <a:gd name="connsiteX76" fmla="*/ 207869 w 761148"/>
              <a:gd name="connsiteY76" fmla="*/ 32481 h 802231"/>
              <a:gd name="connsiteX77" fmla="*/ 212266 w 761148"/>
              <a:gd name="connsiteY77" fmla="*/ 31382 h 802231"/>
              <a:gd name="connsiteX78" fmla="*/ 232222 w 761148"/>
              <a:gd name="connsiteY78" fmla="*/ 23052 h 802231"/>
              <a:gd name="connsiteX79" fmla="*/ 239337 w 761148"/>
              <a:gd name="connsiteY79" fmla="*/ 20507 h 802231"/>
              <a:gd name="connsiteX80" fmla="*/ 249633 w 761148"/>
              <a:gd name="connsiteY80" fmla="*/ 1708 h 802231"/>
              <a:gd name="connsiteX81" fmla="*/ 250558 w 761148"/>
              <a:gd name="connsiteY81" fmla="*/ 1013 h 802231"/>
              <a:gd name="connsiteX82" fmla="*/ 261318 w 761148"/>
              <a:gd name="connsiteY82" fmla="*/ -86 h 802231"/>
              <a:gd name="connsiteX83" fmla="*/ 262012 w 761148"/>
              <a:gd name="connsiteY83" fmla="*/ -86 h 802231"/>
              <a:gd name="connsiteX84" fmla="*/ 273581 w 761148"/>
              <a:gd name="connsiteY84" fmla="*/ 13508 h 802231"/>
              <a:gd name="connsiteX85" fmla="*/ 289199 w 761148"/>
              <a:gd name="connsiteY85" fmla="*/ 30861 h 802231"/>
              <a:gd name="connsiteX86" fmla="*/ 291801 w 761148"/>
              <a:gd name="connsiteY86" fmla="*/ 51801 h 802231"/>
              <a:gd name="connsiteX87" fmla="*/ 290819 w 761148"/>
              <a:gd name="connsiteY87" fmla="*/ 57585 h 802231"/>
              <a:gd name="connsiteX88" fmla="*/ 297702 w 761148"/>
              <a:gd name="connsiteY88" fmla="*/ 69154 h 802231"/>
              <a:gd name="connsiteX89" fmla="*/ 305800 w 761148"/>
              <a:gd name="connsiteY89" fmla="*/ 80723 h 802231"/>
              <a:gd name="connsiteX90" fmla="*/ 305800 w 761148"/>
              <a:gd name="connsiteY90" fmla="*/ 89573 h 802231"/>
              <a:gd name="connsiteX91" fmla="*/ 295677 w 761148"/>
              <a:gd name="connsiteY91" fmla="*/ 94721 h 802231"/>
              <a:gd name="connsiteX92" fmla="*/ 287637 w 761148"/>
              <a:gd name="connsiteY92" fmla="*/ 91887 h 802231"/>
              <a:gd name="connsiteX93" fmla="*/ 284513 w 761148"/>
              <a:gd name="connsiteY93" fmla="*/ 90383 h 802231"/>
              <a:gd name="connsiteX94" fmla="*/ 281968 w 761148"/>
              <a:gd name="connsiteY94" fmla="*/ 92407 h 802231"/>
              <a:gd name="connsiteX95" fmla="*/ 282778 w 761148"/>
              <a:gd name="connsiteY95" fmla="*/ 102183 h 802231"/>
              <a:gd name="connsiteX96" fmla="*/ 286133 w 761148"/>
              <a:gd name="connsiteY96" fmla="*/ 112306 h 802231"/>
              <a:gd name="connsiteX97" fmla="*/ 291917 w 761148"/>
              <a:gd name="connsiteY97" fmla="*/ 123296 h 802231"/>
              <a:gd name="connsiteX98" fmla="*/ 302734 w 761148"/>
              <a:gd name="connsiteY98" fmla="*/ 131336 h 802231"/>
              <a:gd name="connsiteX99" fmla="*/ 314303 w 761148"/>
              <a:gd name="connsiteY99" fmla="*/ 139493 h 802231"/>
              <a:gd name="connsiteX100" fmla="*/ 331310 w 761148"/>
              <a:gd name="connsiteY100" fmla="*/ 153838 h 802231"/>
              <a:gd name="connsiteX101" fmla="*/ 343457 w 761148"/>
              <a:gd name="connsiteY101" fmla="*/ 166506 h 802231"/>
              <a:gd name="connsiteX102" fmla="*/ 337672 w 761148"/>
              <a:gd name="connsiteY102" fmla="*/ 174257 h 802231"/>
              <a:gd name="connsiteX103" fmla="*/ 330558 w 761148"/>
              <a:gd name="connsiteY103" fmla="*/ 183743 h 802231"/>
              <a:gd name="connsiteX104" fmla="*/ 328244 w 761148"/>
              <a:gd name="connsiteY104" fmla="*/ 195312 h 802231"/>
              <a:gd name="connsiteX105" fmla="*/ 326277 w 761148"/>
              <a:gd name="connsiteY105" fmla="*/ 204336 h 802231"/>
              <a:gd name="connsiteX106" fmla="*/ 332929 w 761148"/>
              <a:gd name="connsiteY106" fmla="*/ 209831 h 802231"/>
              <a:gd name="connsiteX107" fmla="*/ 340044 w 761148"/>
              <a:gd name="connsiteY107" fmla="*/ 214459 h 802231"/>
              <a:gd name="connsiteX108" fmla="*/ 350340 w 761148"/>
              <a:gd name="connsiteY108" fmla="*/ 219202 h 802231"/>
              <a:gd name="connsiteX109" fmla="*/ 361909 w 761148"/>
              <a:gd name="connsiteY109" fmla="*/ 225623 h 802231"/>
              <a:gd name="connsiteX110" fmla="*/ 381460 w 761148"/>
              <a:gd name="connsiteY110" fmla="*/ 235630 h 802231"/>
              <a:gd name="connsiteX111" fmla="*/ 403152 w 761148"/>
              <a:gd name="connsiteY111" fmla="*/ 247604 h 802231"/>
              <a:gd name="connsiteX112" fmla="*/ 404656 w 761148"/>
              <a:gd name="connsiteY112" fmla="*/ 248703 h 802231"/>
              <a:gd name="connsiteX113" fmla="*/ 407259 w 761148"/>
              <a:gd name="connsiteY113" fmla="*/ 249339 h 802231"/>
              <a:gd name="connsiteX114" fmla="*/ 420158 w 761148"/>
              <a:gd name="connsiteY114" fmla="*/ 246447 h 802231"/>
              <a:gd name="connsiteX115" fmla="*/ 429876 w 761148"/>
              <a:gd name="connsiteY115" fmla="*/ 244191 h 802231"/>
              <a:gd name="connsiteX116" fmla="*/ 446072 w 761148"/>
              <a:gd name="connsiteY116" fmla="*/ 260214 h 802231"/>
              <a:gd name="connsiteX117" fmla="*/ 463021 w 761148"/>
              <a:gd name="connsiteY117" fmla="*/ 266924 h 802231"/>
              <a:gd name="connsiteX118" fmla="*/ 481241 w 761148"/>
              <a:gd name="connsiteY118" fmla="*/ 273634 h 802231"/>
              <a:gd name="connsiteX119" fmla="*/ 495240 w 761148"/>
              <a:gd name="connsiteY119" fmla="*/ 276063 h 802231"/>
              <a:gd name="connsiteX120" fmla="*/ 527228 w 761148"/>
              <a:gd name="connsiteY120" fmla="*/ 269353 h 802231"/>
              <a:gd name="connsiteX121" fmla="*/ 529079 w 761148"/>
              <a:gd name="connsiteY121" fmla="*/ 252000 h 802231"/>
              <a:gd name="connsiteX122" fmla="*/ 527980 w 761148"/>
              <a:gd name="connsiteY122" fmla="*/ 242282 h 802231"/>
              <a:gd name="connsiteX123" fmla="*/ 533765 w 761148"/>
              <a:gd name="connsiteY123" fmla="*/ 232854 h 802231"/>
              <a:gd name="connsiteX124" fmla="*/ 538971 w 761148"/>
              <a:gd name="connsiteY124" fmla="*/ 228689 h 802231"/>
              <a:gd name="connsiteX125" fmla="*/ 542614 w 761148"/>
              <a:gd name="connsiteY125" fmla="*/ 226375 h 802231"/>
              <a:gd name="connsiteX126" fmla="*/ 546722 w 761148"/>
              <a:gd name="connsiteY126" fmla="*/ 228804 h 802231"/>
              <a:gd name="connsiteX127" fmla="*/ 549556 w 761148"/>
              <a:gd name="connsiteY127" fmla="*/ 243612 h 802231"/>
              <a:gd name="connsiteX128" fmla="*/ 552969 w 761148"/>
              <a:gd name="connsiteY128" fmla="*/ 258131 h 802231"/>
              <a:gd name="connsiteX129" fmla="*/ 556844 w 761148"/>
              <a:gd name="connsiteY129" fmla="*/ 260561 h 802231"/>
              <a:gd name="connsiteX130" fmla="*/ 563728 w 761148"/>
              <a:gd name="connsiteY130" fmla="*/ 262470 h 802231"/>
              <a:gd name="connsiteX131" fmla="*/ 572346 w 761148"/>
              <a:gd name="connsiteY131" fmla="*/ 265246 h 802231"/>
              <a:gd name="connsiteX132" fmla="*/ 575181 w 761148"/>
              <a:gd name="connsiteY132" fmla="*/ 264899 h 802231"/>
              <a:gd name="connsiteX133" fmla="*/ 578652 w 761148"/>
              <a:gd name="connsiteY133" fmla="*/ 264494 h 802231"/>
              <a:gd name="connsiteX134" fmla="*/ 586461 w 761148"/>
              <a:gd name="connsiteY134" fmla="*/ 266114 h 802231"/>
              <a:gd name="connsiteX135" fmla="*/ 595484 w 761148"/>
              <a:gd name="connsiteY135" fmla="*/ 267849 h 802231"/>
              <a:gd name="connsiteX136" fmla="*/ 601268 w 761148"/>
              <a:gd name="connsiteY136" fmla="*/ 267097 h 802231"/>
              <a:gd name="connsiteX137" fmla="*/ 608326 w 761148"/>
              <a:gd name="connsiteY137" fmla="*/ 266172 h 802231"/>
              <a:gd name="connsiteX138" fmla="*/ 616019 w 761148"/>
              <a:gd name="connsiteY138" fmla="*/ 266808 h 802231"/>
              <a:gd name="connsiteX139" fmla="*/ 621456 w 761148"/>
              <a:gd name="connsiteY139" fmla="*/ 267328 h 802231"/>
              <a:gd name="connsiteX140" fmla="*/ 627240 w 761148"/>
              <a:gd name="connsiteY140" fmla="*/ 264378 h 802231"/>
              <a:gd name="connsiteX141" fmla="*/ 624002 w 761148"/>
              <a:gd name="connsiteY141" fmla="*/ 241703 h 802231"/>
              <a:gd name="connsiteX142" fmla="*/ 624464 w 761148"/>
              <a:gd name="connsiteY142" fmla="*/ 240223 h 802231"/>
              <a:gd name="connsiteX143" fmla="*/ 624522 w 761148"/>
              <a:gd name="connsiteY143" fmla="*/ 240199 h 802231"/>
              <a:gd name="connsiteX144" fmla="*/ 639041 w 761148"/>
              <a:gd name="connsiteY144" fmla="*/ 234415 h 802231"/>
              <a:gd name="connsiteX145" fmla="*/ 646503 w 761148"/>
              <a:gd name="connsiteY145" fmla="*/ 227937 h 802231"/>
              <a:gd name="connsiteX146" fmla="*/ 651188 w 761148"/>
              <a:gd name="connsiteY146" fmla="*/ 222904 h 802231"/>
              <a:gd name="connsiteX147" fmla="*/ 655122 w 761148"/>
              <a:gd name="connsiteY147" fmla="*/ 217120 h 802231"/>
              <a:gd name="connsiteX148" fmla="*/ 662988 w 761148"/>
              <a:gd name="connsiteY148" fmla="*/ 211914 h 802231"/>
              <a:gd name="connsiteX149" fmla="*/ 671897 w 761148"/>
              <a:gd name="connsiteY149" fmla="*/ 207113 h 802231"/>
              <a:gd name="connsiteX150" fmla="*/ 685953 w 761148"/>
              <a:gd name="connsiteY150" fmla="*/ 196990 h 802231"/>
              <a:gd name="connsiteX151" fmla="*/ 696827 w 761148"/>
              <a:gd name="connsiteY151" fmla="*/ 194213 h 802231"/>
              <a:gd name="connsiteX152" fmla="*/ 707644 w 761148"/>
              <a:gd name="connsiteY152" fmla="*/ 195949 h 802231"/>
              <a:gd name="connsiteX153" fmla="*/ 718114 w 761148"/>
              <a:gd name="connsiteY153" fmla="*/ 195949 h 802231"/>
              <a:gd name="connsiteX154" fmla="*/ 729683 w 761148"/>
              <a:gd name="connsiteY154" fmla="*/ 190164 h 802231"/>
              <a:gd name="connsiteX155" fmla="*/ 733964 w 761148"/>
              <a:gd name="connsiteY155" fmla="*/ 193716 h 802231"/>
              <a:gd name="connsiteX156" fmla="*/ 733964 w 761148"/>
              <a:gd name="connsiteY156" fmla="*/ 194445 h 802231"/>
              <a:gd name="connsiteX157" fmla="*/ 738996 w 761148"/>
              <a:gd name="connsiteY157" fmla="*/ 203411 h 802231"/>
              <a:gd name="connsiteX158" fmla="*/ 744780 w 761148"/>
              <a:gd name="connsiteY158" fmla="*/ 212376 h 802231"/>
              <a:gd name="connsiteX159" fmla="*/ 760051 w 761148"/>
              <a:gd name="connsiteY159" fmla="*/ 220243 h 802231"/>
              <a:gd name="connsiteX160" fmla="*/ 761034 w 761148"/>
              <a:gd name="connsiteY160" fmla="*/ 221470 h 802231"/>
              <a:gd name="connsiteX161" fmla="*/ 760976 w 761148"/>
              <a:gd name="connsiteY161" fmla="*/ 221632 h 802231"/>
              <a:gd name="connsiteX162" fmla="*/ 753920 w 761148"/>
              <a:gd name="connsiteY162" fmla="*/ 235341 h 802231"/>
              <a:gd name="connsiteX163" fmla="*/ 751721 w 761148"/>
              <a:gd name="connsiteY163" fmla="*/ 238059 h 802231"/>
              <a:gd name="connsiteX164" fmla="*/ 756523 w 761148"/>
              <a:gd name="connsiteY164" fmla="*/ 252000 h 802231"/>
              <a:gd name="connsiteX165" fmla="*/ 757853 w 761148"/>
              <a:gd name="connsiteY165" fmla="*/ 257784 h 802231"/>
              <a:gd name="connsiteX166" fmla="*/ 754267 w 761148"/>
              <a:gd name="connsiteY166" fmla="*/ 259520 h 802231"/>
              <a:gd name="connsiteX167" fmla="*/ 742698 w 761148"/>
              <a:gd name="connsiteY167" fmla="*/ 252983 h 802231"/>
              <a:gd name="connsiteX168" fmla="*/ 740905 w 761148"/>
              <a:gd name="connsiteY168" fmla="*/ 252000 h 802231"/>
              <a:gd name="connsiteX169" fmla="*/ 721816 w 761148"/>
              <a:gd name="connsiteY169" fmla="*/ 263164 h 802231"/>
              <a:gd name="connsiteX170" fmla="*/ 715511 w 761148"/>
              <a:gd name="connsiteY170" fmla="*/ 267733 h 802231"/>
              <a:gd name="connsiteX171" fmla="*/ 703942 w 761148"/>
              <a:gd name="connsiteY171" fmla="*/ 283872 h 802231"/>
              <a:gd name="connsiteX172" fmla="*/ 699719 w 761148"/>
              <a:gd name="connsiteY172" fmla="*/ 300705 h 802231"/>
              <a:gd name="connsiteX173" fmla="*/ 696423 w 761148"/>
              <a:gd name="connsiteY173" fmla="*/ 317017 h 802231"/>
              <a:gd name="connsiteX174" fmla="*/ 690638 w 761148"/>
              <a:gd name="connsiteY174" fmla="*/ 338998 h 802231"/>
              <a:gd name="connsiteX175" fmla="*/ 686762 w 761148"/>
              <a:gd name="connsiteY175" fmla="*/ 350567 h 802231"/>
              <a:gd name="connsiteX176" fmla="*/ 686300 w 761148"/>
              <a:gd name="connsiteY176" fmla="*/ 352823 h 802231"/>
              <a:gd name="connsiteX177" fmla="*/ 682250 w 761148"/>
              <a:gd name="connsiteY177" fmla="*/ 354095 h 802231"/>
              <a:gd name="connsiteX178" fmla="*/ 669467 w 761148"/>
              <a:gd name="connsiteY178" fmla="*/ 351955 h 802231"/>
              <a:gd name="connsiteX179" fmla="*/ 664087 w 761148"/>
              <a:gd name="connsiteY179" fmla="*/ 350856 h 802231"/>
              <a:gd name="connsiteX180" fmla="*/ 662988 w 761148"/>
              <a:gd name="connsiteY180" fmla="*/ 360053 h 802231"/>
              <a:gd name="connsiteX181" fmla="*/ 659634 w 761148"/>
              <a:gd name="connsiteY181" fmla="*/ 377406 h 802231"/>
              <a:gd name="connsiteX182" fmla="*/ 657030 w 761148"/>
              <a:gd name="connsiteY182" fmla="*/ 391289 h 802231"/>
              <a:gd name="connsiteX183" fmla="*/ 651246 w 761148"/>
              <a:gd name="connsiteY183" fmla="*/ 407023 h 802231"/>
              <a:gd name="connsiteX184" fmla="*/ 648123 w 761148"/>
              <a:gd name="connsiteY184" fmla="*/ 409221 h 802231"/>
              <a:gd name="connsiteX185" fmla="*/ 646966 w 761148"/>
              <a:gd name="connsiteY185" fmla="*/ 409568 h 802231"/>
              <a:gd name="connsiteX186" fmla="*/ 646156 w 761148"/>
              <a:gd name="connsiteY186" fmla="*/ 408700 h 802231"/>
              <a:gd name="connsiteX187" fmla="*/ 642453 w 761148"/>
              <a:gd name="connsiteY187" fmla="*/ 386430 h 802231"/>
              <a:gd name="connsiteX188" fmla="*/ 636033 w 761148"/>
              <a:gd name="connsiteY188" fmla="*/ 356871 h 802231"/>
              <a:gd name="connsiteX189" fmla="*/ 630248 w 761148"/>
              <a:gd name="connsiteY189" fmla="*/ 365028 h 802231"/>
              <a:gd name="connsiteX190" fmla="*/ 617639 w 761148"/>
              <a:gd name="connsiteY190" fmla="*/ 378216 h 802231"/>
              <a:gd name="connsiteX191" fmla="*/ 616539 w 761148"/>
              <a:gd name="connsiteY191" fmla="*/ 378216 h 802231"/>
              <a:gd name="connsiteX192" fmla="*/ 609830 w 761148"/>
              <a:gd name="connsiteY192" fmla="*/ 359474 h 802231"/>
              <a:gd name="connsiteX193" fmla="*/ 618391 w 761148"/>
              <a:gd name="connsiteY193" fmla="*/ 346575 h 802231"/>
              <a:gd name="connsiteX194" fmla="*/ 638520 w 761148"/>
              <a:gd name="connsiteY194" fmla="*/ 319793 h 802231"/>
              <a:gd name="connsiteX195" fmla="*/ 620010 w 761148"/>
              <a:gd name="connsiteY195" fmla="*/ 314414 h 802231"/>
              <a:gd name="connsiteX196" fmla="*/ 589005 w 761148"/>
              <a:gd name="connsiteY196" fmla="*/ 316033 h 802231"/>
              <a:gd name="connsiteX197" fmla="*/ 588543 w 761148"/>
              <a:gd name="connsiteY197" fmla="*/ 316033 h 802231"/>
              <a:gd name="connsiteX198" fmla="*/ 574660 w 761148"/>
              <a:gd name="connsiteY198" fmla="*/ 301862 h 802231"/>
              <a:gd name="connsiteX199" fmla="*/ 557827 w 761148"/>
              <a:gd name="connsiteY199" fmla="*/ 288268 h 802231"/>
              <a:gd name="connsiteX200" fmla="*/ 546258 w 761148"/>
              <a:gd name="connsiteY200" fmla="*/ 284335 h 802231"/>
              <a:gd name="connsiteX201" fmla="*/ 542268 w 761148"/>
              <a:gd name="connsiteY201" fmla="*/ 282426 h 802231"/>
              <a:gd name="connsiteX202" fmla="*/ 535789 w 761148"/>
              <a:gd name="connsiteY202" fmla="*/ 287806 h 802231"/>
              <a:gd name="connsiteX203" fmla="*/ 534169 w 761148"/>
              <a:gd name="connsiteY203" fmla="*/ 292722 h 802231"/>
              <a:gd name="connsiteX204" fmla="*/ 543887 w 761148"/>
              <a:gd name="connsiteY204" fmla="*/ 299721 h 802231"/>
              <a:gd name="connsiteX205" fmla="*/ 553894 w 761148"/>
              <a:gd name="connsiteY205" fmla="*/ 310423 h 802231"/>
              <a:gd name="connsiteX206" fmla="*/ 544755 w 761148"/>
              <a:gd name="connsiteY206" fmla="*/ 317537 h 802231"/>
              <a:gd name="connsiteX207" fmla="*/ 538971 w 761148"/>
              <a:gd name="connsiteY207" fmla="*/ 321760 h 802231"/>
              <a:gd name="connsiteX208" fmla="*/ 545449 w 761148"/>
              <a:gd name="connsiteY208" fmla="*/ 362251 h 802231"/>
              <a:gd name="connsiteX209" fmla="*/ 555109 w 761148"/>
              <a:gd name="connsiteY209" fmla="*/ 412691 h 802231"/>
              <a:gd name="connsiteX210" fmla="*/ 554241 w 761148"/>
              <a:gd name="connsiteY210" fmla="*/ 413790 h 802231"/>
              <a:gd name="connsiteX211" fmla="*/ 554241 w 761148"/>
              <a:gd name="connsiteY211" fmla="*/ 413790 h 802231"/>
              <a:gd name="connsiteX212" fmla="*/ 547242 w 761148"/>
              <a:gd name="connsiteY212" fmla="*/ 414484 h 802231"/>
              <a:gd name="connsiteX213" fmla="*/ 499463 w 761148"/>
              <a:gd name="connsiteY213" fmla="*/ 430102 h 802231"/>
              <a:gd name="connsiteX214" fmla="*/ 498768 w 761148"/>
              <a:gd name="connsiteY214" fmla="*/ 438952 h 802231"/>
              <a:gd name="connsiteX215" fmla="*/ 490728 w 761148"/>
              <a:gd name="connsiteY215" fmla="*/ 458967 h 802231"/>
              <a:gd name="connsiteX216" fmla="*/ 471755 w 761148"/>
              <a:gd name="connsiteY216" fmla="*/ 471056 h 802231"/>
              <a:gd name="connsiteX217" fmla="*/ 449312 w 761148"/>
              <a:gd name="connsiteY217" fmla="*/ 487426 h 802231"/>
              <a:gd name="connsiteX218" fmla="*/ 405003 w 761148"/>
              <a:gd name="connsiteY218" fmla="*/ 532140 h 802231"/>
              <a:gd name="connsiteX219" fmla="*/ 393145 w 761148"/>
              <a:gd name="connsiteY219" fmla="*/ 540816 h 802231"/>
              <a:gd name="connsiteX220" fmla="*/ 363586 w 761148"/>
              <a:gd name="connsiteY220" fmla="*/ 565053 h 802231"/>
              <a:gd name="connsiteX221" fmla="*/ 335764 w 761148"/>
              <a:gd name="connsiteY221" fmla="*/ 584142 h 802231"/>
              <a:gd name="connsiteX222" fmla="*/ 329400 w 761148"/>
              <a:gd name="connsiteY222" fmla="*/ 595364 h 802231"/>
              <a:gd name="connsiteX223" fmla="*/ 326566 w 761148"/>
              <a:gd name="connsiteY223" fmla="*/ 606007 h 802231"/>
              <a:gd name="connsiteX224" fmla="*/ 324542 w 761148"/>
              <a:gd name="connsiteY224" fmla="*/ 639441 h 802231"/>
              <a:gd name="connsiteX225" fmla="*/ 320377 w 761148"/>
              <a:gd name="connsiteY225" fmla="*/ 685022 h 802231"/>
              <a:gd name="connsiteX226" fmla="*/ 312510 w 761148"/>
              <a:gd name="connsiteY226" fmla="*/ 719093 h 802231"/>
              <a:gd name="connsiteX227" fmla="*/ 304296 w 761148"/>
              <a:gd name="connsiteY227" fmla="*/ 739511 h 802231"/>
              <a:gd name="connsiteX228" fmla="*/ 294752 w 761148"/>
              <a:gd name="connsiteY228" fmla="*/ 757154 h 802231"/>
              <a:gd name="connsiteX229" fmla="*/ 282431 w 761148"/>
              <a:gd name="connsiteY229" fmla="*/ 770053 h 802231"/>
              <a:gd name="connsiteX230" fmla="*/ 269243 w 761148"/>
              <a:gd name="connsiteY230" fmla="*/ 782837 h 802231"/>
              <a:gd name="connsiteX231" fmla="*/ 246914 w 761148"/>
              <a:gd name="connsiteY231" fmla="*/ 802099 h 802231"/>
              <a:gd name="connsiteX232" fmla="*/ 112137 w 761148"/>
              <a:gd name="connsiteY232" fmla="*/ 400428 h 802231"/>
              <a:gd name="connsiteX233" fmla="*/ 113988 w 761148"/>
              <a:gd name="connsiteY233" fmla="*/ 400833 h 802231"/>
              <a:gd name="connsiteX234" fmla="*/ 117748 w 761148"/>
              <a:gd name="connsiteY234" fmla="*/ 414426 h 802231"/>
              <a:gd name="connsiteX235" fmla="*/ 121103 w 761148"/>
              <a:gd name="connsiteY235" fmla="*/ 429235 h 802231"/>
              <a:gd name="connsiteX236" fmla="*/ 121450 w 761148"/>
              <a:gd name="connsiteY236" fmla="*/ 455554 h 802231"/>
              <a:gd name="connsiteX237" fmla="*/ 123995 w 761148"/>
              <a:gd name="connsiteY237" fmla="*/ 486269 h 802231"/>
              <a:gd name="connsiteX238" fmla="*/ 126714 w 761148"/>
              <a:gd name="connsiteY238" fmla="*/ 501077 h 802231"/>
              <a:gd name="connsiteX239" fmla="*/ 132151 w 761148"/>
              <a:gd name="connsiteY239" fmla="*/ 522595 h 802231"/>
              <a:gd name="connsiteX240" fmla="*/ 139266 w 761148"/>
              <a:gd name="connsiteY240" fmla="*/ 550303 h 802231"/>
              <a:gd name="connsiteX241" fmla="*/ 164602 w 761148"/>
              <a:gd name="connsiteY241" fmla="*/ 623013 h 802231"/>
              <a:gd name="connsiteX242" fmla="*/ 179468 w 761148"/>
              <a:gd name="connsiteY242" fmla="*/ 663041 h 802231"/>
              <a:gd name="connsiteX243" fmla="*/ 191037 w 761148"/>
              <a:gd name="connsiteY243" fmla="*/ 693525 h 802231"/>
              <a:gd name="connsiteX244" fmla="*/ 217125 w 761148"/>
              <a:gd name="connsiteY244" fmla="*/ 751369 h 802231"/>
              <a:gd name="connsiteX245" fmla="*/ 243328 w 761148"/>
              <a:gd name="connsiteY245" fmla="*/ 798918 h 802231"/>
              <a:gd name="connsiteX246" fmla="*/ 246857 w 761148"/>
              <a:gd name="connsiteY246" fmla="*/ 799901 h 802231"/>
              <a:gd name="connsiteX247" fmla="*/ 267045 w 761148"/>
              <a:gd name="connsiteY247" fmla="*/ 782548 h 802231"/>
              <a:gd name="connsiteX248" fmla="*/ 281158 w 761148"/>
              <a:gd name="connsiteY248" fmla="*/ 768607 h 802231"/>
              <a:gd name="connsiteX249" fmla="*/ 292727 w 761148"/>
              <a:gd name="connsiteY249" fmla="*/ 757038 h 802231"/>
              <a:gd name="connsiteX250" fmla="*/ 304296 w 761148"/>
              <a:gd name="connsiteY250" fmla="*/ 737487 h 802231"/>
              <a:gd name="connsiteX251" fmla="*/ 310601 w 761148"/>
              <a:gd name="connsiteY251" fmla="*/ 719266 h 802231"/>
              <a:gd name="connsiteX252" fmla="*/ 318931 w 761148"/>
              <a:gd name="connsiteY252" fmla="*/ 683807 h 802231"/>
              <a:gd name="connsiteX253" fmla="*/ 322806 w 761148"/>
              <a:gd name="connsiteY253" fmla="*/ 640540 h 802231"/>
              <a:gd name="connsiteX254" fmla="*/ 324831 w 761148"/>
              <a:gd name="connsiteY254" fmla="*/ 605313 h 802231"/>
              <a:gd name="connsiteX255" fmla="*/ 327492 w 761148"/>
              <a:gd name="connsiteY255" fmla="*/ 595132 h 802231"/>
              <a:gd name="connsiteX256" fmla="*/ 335879 w 761148"/>
              <a:gd name="connsiteY256" fmla="*/ 582059 h 802231"/>
              <a:gd name="connsiteX257" fmla="*/ 362082 w 761148"/>
              <a:gd name="connsiteY257" fmla="*/ 563896 h 802231"/>
              <a:gd name="connsiteX258" fmla="*/ 392162 w 761148"/>
              <a:gd name="connsiteY258" fmla="*/ 539139 h 802231"/>
              <a:gd name="connsiteX259" fmla="*/ 403731 w 761148"/>
              <a:gd name="connsiteY259" fmla="*/ 530578 h 802231"/>
              <a:gd name="connsiteX260" fmla="*/ 447519 w 761148"/>
              <a:gd name="connsiteY260" fmla="*/ 486443 h 802231"/>
              <a:gd name="connsiteX261" fmla="*/ 470656 w 761148"/>
              <a:gd name="connsiteY261" fmla="*/ 469089 h 802231"/>
              <a:gd name="connsiteX262" fmla="*/ 489051 w 761148"/>
              <a:gd name="connsiteY262" fmla="*/ 457521 h 802231"/>
              <a:gd name="connsiteX263" fmla="*/ 496455 w 761148"/>
              <a:gd name="connsiteY263" fmla="*/ 438952 h 802231"/>
              <a:gd name="connsiteX264" fmla="*/ 497207 w 761148"/>
              <a:gd name="connsiteY264" fmla="*/ 429871 h 802231"/>
              <a:gd name="connsiteX265" fmla="*/ 547184 w 761148"/>
              <a:gd name="connsiteY265" fmla="*/ 412518 h 802231"/>
              <a:gd name="connsiteX266" fmla="*/ 552969 w 761148"/>
              <a:gd name="connsiteY266" fmla="*/ 412055 h 802231"/>
              <a:gd name="connsiteX267" fmla="*/ 543482 w 761148"/>
              <a:gd name="connsiteY267" fmla="*/ 363408 h 802231"/>
              <a:gd name="connsiteX268" fmla="*/ 536888 w 761148"/>
              <a:gd name="connsiteY268" fmla="*/ 321876 h 802231"/>
              <a:gd name="connsiteX269" fmla="*/ 544118 w 761148"/>
              <a:gd name="connsiteY269" fmla="*/ 316091 h 802231"/>
              <a:gd name="connsiteX270" fmla="*/ 551638 w 761148"/>
              <a:gd name="connsiteY270" fmla="*/ 310307 h 802231"/>
              <a:gd name="connsiteX271" fmla="*/ 542788 w 761148"/>
              <a:gd name="connsiteY271" fmla="*/ 302382 h 802231"/>
              <a:gd name="connsiteX272" fmla="*/ 531797 w 761148"/>
              <a:gd name="connsiteY272" fmla="*/ 293879 h 802231"/>
              <a:gd name="connsiteX273" fmla="*/ 533765 w 761148"/>
              <a:gd name="connsiteY273" fmla="*/ 287054 h 802231"/>
              <a:gd name="connsiteX274" fmla="*/ 542094 w 761148"/>
              <a:gd name="connsiteY274" fmla="*/ 280806 h 802231"/>
              <a:gd name="connsiteX275" fmla="*/ 547358 w 761148"/>
              <a:gd name="connsiteY275" fmla="*/ 283004 h 802231"/>
              <a:gd name="connsiteX276" fmla="*/ 557596 w 761148"/>
              <a:gd name="connsiteY276" fmla="*/ 286591 h 802231"/>
              <a:gd name="connsiteX277" fmla="*/ 576685 w 761148"/>
              <a:gd name="connsiteY277" fmla="*/ 302440 h 802231"/>
              <a:gd name="connsiteX278" fmla="*/ 588890 w 761148"/>
              <a:gd name="connsiteY278" fmla="*/ 314414 h 802231"/>
              <a:gd name="connsiteX279" fmla="*/ 619779 w 761148"/>
              <a:gd name="connsiteY279" fmla="*/ 312794 h 802231"/>
              <a:gd name="connsiteX280" fmla="*/ 640545 w 761148"/>
              <a:gd name="connsiteY280" fmla="*/ 320430 h 802231"/>
              <a:gd name="connsiteX281" fmla="*/ 618159 w 761148"/>
              <a:gd name="connsiteY281" fmla="*/ 349352 h 802231"/>
              <a:gd name="connsiteX282" fmla="*/ 611854 w 761148"/>
              <a:gd name="connsiteY282" fmla="*/ 360169 h 802231"/>
              <a:gd name="connsiteX283" fmla="*/ 616771 w 761148"/>
              <a:gd name="connsiteY283" fmla="*/ 376481 h 802231"/>
              <a:gd name="connsiteX284" fmla="*/ 617407 w 761148"/>
              <a:gd name="connsiteY284" fmla="*/ 376481 h 802231"/>
              <a:gd name="connsiteX285" fmla="*/ 628050 w 761148"/>
              <a:gd name="connsiteY285" fmla="*/ 364449 h 802231"/>
              <a:gd name="connsiteX286" fmla="*/ 636149 w 761148"/>
              <a:gd name="connsiteY286" fmla="*/ 355194 h 802231"/>
              <a:gd name="connsiteX287" fmla="*/ 644594 w 761148"/>
              <a:gd name="connsiteY287" fmla="*/ 386603 h 802231"/>
              <a:gd name="connsiteX288" fmla="*/ 647949 w 761148"/>
              <a:gd name="connsiteY288" fmla="*/ 406676 h 802231"/>
              <a:gd name="connsiteX289" fmla="*/ 651188 w 761148"/>
              <a:gd name="connsiteY289" fmla="*/ 405287 h 802231"/>
              <a:gd name="connsiteX290" fmla="*/ 654832 w 761148"/>
              <a:gd name="connsiteY290" fmla="*/ 391636 h 802231"/>
              <a:gd name="connsiteX291" fmla="*/ 657840 w 761148"/>
              <a:gd name="connsiteY291" fmla="*/ 376654 h 802231"/>
              <a:gd name="connsiteX292" fmla="*/ 660790 w 761148"/>
              <a:gd name="connsiteY292" fmla="*/ 360516 h 802231"/>
              <a:gd name="connsiteX293" fmla="*/ 664145 w 761148"/>
              <a:gd name="connsiteY293" fmla="*/ 349236 h 802231"/>
              <a:gd name="connsiteX294" fmla="*/ 669930 w 761148"/>
              <a:gd name="connsiteY294" fmla="*/ 350393 h 802231"/>
              <a:gd name="connsiteX295" fmla="*/ 682192 w 761148"/>
              <a:gd name="connsiteY295" fmla="*/ 352475 h 802231"/>
              <a:gd name="connsiteX296" fmla="*/ 684506 w 761148"/>
              <a:gd name="connsiteY296" fmla="*/ 352013 h 802231"/>
              <a:gd name="connsiteX297" fmla="*/ 684506 w 761148"/>
              <a:gd name="connsiteY297" fmla="*/ 351666 h 802231"/>
              <a:gd name="connsiteX298" fmla="*/ 688498 w 761148"/>
              <a:gd name="connsiteY298" fmla="*/ 338766 h 802231"/>
              <a:gd name="connsiteX299" fmla="*/ 694282 w 761148"/>
              <a:gd name="connsiteY299" fmla="*/ 318231 h 802231"/>
              <a:gd name="connsiteX300" fmla="*/ 697695 w 761148"/>
              <a:gd name="connsiteY300" fmla="*/ 300589 h 802231"/>
              <a:gd name="connsiteX301" fmla="*/ 701802 w 761148"/>
              <a:gd name="connsiteY301" fmla="*/ 284566 h 802231"/>
              <a:gd name="connsiteX302" fmla="*/ 714528 w 761148"/>
              <a:gd name="connsiteY302" fmla="*/ 266576 h 802231"/>
              <a:gd name="connsiteX303" fmla="*/ 720312 w 761148"/>
              <a:gd name="connsiteY303" fmla="*/ 262123 h 802231"/>
              <a:gd name="connsiteX304" fmla="*/ 740905 w 761148"/>
              <a:gd name="connsiteY304" fmla="*/ 250554 h 802231"/>
              <a:gd name="connsiteX305" fmla="*/ 744780 w 761148"/>
              <a:gd name="connsiteY305" fmla="*/ 252983 h 802231"/>
              <a:gd name="connsiteX306" fmla="*/ 754267 w 761148"/>
              <a:gd name="connsiteY306" fmla="*/ 258016 h 802231"/>
              <a:gd name="connsiteX307" fmla="*/ 755887 w 761148"/>
              <a:gd name="connsiteY307" fmla="*/ 257553 h 802231"/>
              <a:gd name="connsiteX308" fmla="*/ 754614 w 761148"/>
              <a:gd name="connsiteY308" fmla="*/ 254024 h 802231"/>
              <a:gd name="connsiteX309" fmla="*/ 749755 w 761148"/>
              <a:gd name="connsiteY309" fmla="*/ 238464 h 802231"/>
              <a:gd name="connsiteX310" fmla="*/ 753052 w 761148"/>
              <a:gd name="connsiteY310" fmla="*/ 234300 h 802231"/>
              <a:gd name="connsiteX311" fmla="*/ 758836 w 761148"/>
              <a:gd name="connsiteY311" fmla="*/ 223251 h 802231"/>
              <a:gd name="connsiteX312" fmla="*/ 742929 w 761148"/>
              <a:gd name="connsiteY312" fmla="*/ 214054 h 802231"/>
              <a:gd name="connsiteX313" fmla="*/ 737608 w 761148"/>
              <a:gd name="connsiteY313" fmla="*/ 205782 h 802231"/>
              <a:gd name="connsiteX314" fmla="*/ 732112 w 761148"/>
              <a:gd name="connsiteY314" fmla="*/ 195428 h 802231"/>
              <a:gd name="connsiteX315" fmla="*/ 730088 w 761148"/>
              <a:gd name="connsiteY315" fmla="*/ 193404 h 802231"/>
              <a:gd name="connsiteX316" fmla="*/ 719907 w 761148"/>
              <a:gd name="connsiteY316" fmla="*/ 198436 h 802231"/>
              <a:gd name="connsiteX317" fmla="*/ 714759 w 761148"/>
              <a:gd name="connsiteY317" fmla="*/ 200113 h 802231"/>
              <a:gd name="connsiteX318" fmla="*/ 707413 w 761148"/>
              <a:gd name="connsiteY318" fmla="*/ 198841 h 802231"/>
              <a:gd name="connsiteX319" fmla="*/ 697175 w 761148"/>
              <a:gd name="connsiteY319" fmla="*/ 197163 h 802231"/>
              <a:gd name="connsiteX320" fmla="*/ 687341 w 761148"/>
              <a:gd name="connsiteY320" fmla="*/ 199651 h 802231"/>
              <a:gd name="connsiteX321" fmla="*/ 673747 w 761148"/>
              <a:gd name="connsiteY321" fmla="*/ 209484 h 802231"/>
              <a:gd name="connsiteX322" fmla="*/ 662931 w 761148"/>
              <a:gd name="connsiteY322" fmla="*/ 214864 h 802231"/>
              <a:gd name="connsiteX323" fmla="*/ 657494 w 761148"/>
              <a:gd name="connsiteY323" fmla="*/ 218855 h 802231"/>
              <a:gd name="connsiteX324" fmla="*/ 653097 w 761148"/>
              <a:gd name="connsiteY324" fmla="*/ 225333 h 802231"/>
              <a:gd name="connsiteX325" fmla="*/ 648527 w 761148"/>
              <a:gd name="connsiteY325" fmla="*/ 230250 h 802231"/>
              <a:gd name="connsiteX326" fmla="*/ 639388 w 761148"/>
              <a:gd name="connsiteY326" fmla="*/ 237481 h 802231"/>
              <a:gd name="connsiteX327" fmla="*/ 626836 w 761148"/>
              <a:gd name="connsiteY327" fmla="*/ 242282 h 802231"/>
              <a:gd name="connsiteX328" fmla="*/ 629554 w 761148"/>
              <a:gd name="connsiteY328" fmla="*/ 266056 h 802231"/>
              <a:gd name="connsiteX329" fmla="*/ 621572 w 761148"/>
              <a:gd name="connsiteY329" fmla="*/ 270105 h 802231"/>
              <a:gd name="connsiteX330" fmla="*/ 615787 w 761148"/>
              <a:gd name="connsiteY330" fmla="*/ 269642 h 802231"/>
              <a:gd name="connsiteX331" fmla="*/ 601905 w 761148"/>
              <a:gd name="connsiteY331" fmla="*/ 269642 h 802231"/>
              <a:gd name="connsiteX332" fmla="*/ 595716 w 761148"/>
              <a:gd name="connsiteY332" fmla="*/ 270510 h 802231"/>
              <a:gd name="connsiteX333" fmla="*/ 586055 w 761148"/>
              <a:gd name="connsiteY333" fmla="*/ 268659 h 802231"/>
              <a:gd name="connsiteX334" fmla="*/ 575933 w 761148"/>
              <a:gd name="connsiteY334" fmla="*/ 267502 h 802231"/>
              <a:gd name="connsiteX335" fmla="*/ 572578 w 761148"/>
              <a:gd name="connsiteY335" fmla="*/ 267965 h 802231"/>
              <a:gd name="connsiteX336" fmla="*/ 562918 w 761148"/>
              <a:gd name="connsiteY336" fmla="*/ 264899 h 802231"/>
              <a:gd name="connsiteX337" fmla="*/ 557654 w 761148"/>
              <a:gd name="connsiteY337" fmla="*/ 263164 h 802231"/>
              <a:gd name="connsiteX338" fmla="*/ 551407 w 761148"/>
              <a:gd name="connsiteY338" fmla="*/ 259925 h 802231"/>
              <a:gd name="connsiteX339" fmla="*/ 547647 w 761148"/>
              <a:gd name="connsiteY339" fmla="*/ 243439 h 802231"/>
              <a:gd name="connsiteX340" fmla="*/ 545160 w 761148"/>
              <a:gd name="connsiteY340" fmla="*/ 230597 h 802231"/>
              <a:gd name="connsiteX341" fmla="*/ 541053 w 761148"/>
              <a:gd name="connsiteY341" fmla="*/ 230597 h 802231"/>
              <a:gd name="connsiteX342" fmla="*/ 534979 w 761148"/>
              <a:gd name="connsiteY342" fmla="*/ 235514 h 802231"/>
              <a:gd name="connsiteX343" fmla="*/ 530467 w 761148"/>
              <a:gd name="connsiteY343" fmla="*/ 242918 h 802231"/>
              <a:gd name="connsiteX344" fmla="*/ 531509 w 761148"/>
              <a:gd name="connsiteY344" fmla="*/ 252231 h 802231"/>
              <a:gd name="connsiteX345" fmla="*/ 529021 w 761148"/>
              <a:gd name="connsiteY345" fmla="*/ 271783 h 802231"/>
              <a:gd name="connsiteX346" fmla="*/ 495240 w 761148"/>
              <a:gd name="connsiteY346" fmla="*/ 278955 h 802231"/>
              <a:gd name="connsiteX347" fmla="*/ 479795 w 761148"/>
              <a:gd name="connsiteY347" fmla="*/ 275947 h 802231"/>
              <a:gd name="connsiteX348" fmla="*/ 462442 w 761148"/>
              <a:gd name="connsiteY348" fmla="*/ 269700 h 802231"/>
              <a:gd name="connsiteX349" fmla="*/ 443874 w 761148"/>
              <a:gd name="connsiteY349" fmla="*/ 261313 h 802231"/>
              <a:gd name="connsiteX350" fmla="*/ 429876 w 761148"/>
              <a:gd name="connsiteY350" fmla="*/ 247141 h 802231"/>
              <a:gd name="connsiteX351" fmla="*/ 420794 w 761148"/>
              <a:gd name="connsiteY351" fmla="*/ 249281 h 802231"/>
              <a:gd name="connsiteX352" fmla="*/ 407259 w 761148"/>
              <a:gd name="connsiteY352" fmla="*/ 252231 h 802231"/>
              <a:gd name="connsiteX353" fmla="*/ 403268 w 761148"/>
              <a:gd name="connsiteY353" fmla="*/ 251190 h 802231"/>
              <a:gd name="connsiteX354" fmla="*/ 401821 w 761148"/>
              <a:gd name="connsiteY354" fmla="*/ 250033 h 802231"/>
              <a:gd name="connsiteX355" fmla="*/ 381171 w 761148"/>
              <a:gd name="connsiteY355" fmla="*/ 238464 h 802231"/>
              <a:gd name="connsiteX356" fmla="*/ 359711 w 761148"/>
              <a:gd name="connsiteY356" fmla="*/ 226895 h 802231"/>
              <a:gd name="connsiteX357" fmla="*/ 349704 w 761148"/>
              <a:gd name="connsiteY357" fmla="*/ 222036 h 802231"/>
              <a:gd name="connsiteX358" fmla="*/ 338135 w 761148"/>
              <a:gd name="connsiteY358" fmla="*/ 216252 h 802231"/>
              <a:gd name="connsiteX359" fmla="*/ 331830 w 761148"/>
              <a:gd name="connsiteY359" fmla="*/ 212318 h 802231"/>
              <a:gd name="connsiteX360" fmla="*/ 323905 w 761148"/>
              <a:gd name="connsiteY360" fmla="*/ 204799 h 802231"/>
              <a:gd name="connsiteX361" fmla="*/ 325930 w 761148"/>
              <a:gd name="connsiteY361" fmla="*/ 195139 h 802231"/>
              <a:gd name="connsiteX362" fmla="*/ 328186 w 761148"/>
              <a:gd name="connsiteY362" fmla="*/ 184322 h 802231"/>
              <a:gd name="connsiteX363" fmla="*/ 336052 w 761148"/>
              <a:gd name="connsiteY363" fmla="*/ 173158 h 802231"/>
              <a:gd name="connsiteX364" fmla="*/ 341143 w 761148"/>
              <a:gd name="connsiteY364" fmla="*/ 167374 h 802231"/>
              <a:gd name="connsiteX365" fmla="*/ 329574 w 761148"/>
              <a:gd name="connsiteY365" fmla="*/ 156441 h 802231"/>
              <a:gd name="connsiteX366" fmla="*/ 329169 w 761148"/>
              <a:gd name="connsiteY366" fmla="*/ 156036 h 802231"/>
              <a:gd name="connsiteX367" fmla="*/ 314014 w 761148"/>
              <a:gd name="connsiteY367" fmla="*/ 142616 h 802231"/>
              <a:gd name="connsiteX368" fmla="*/ 300652 w 761148"/>
              <a:gd name="connsiteY368" fmla="*/ 133708 h 802231"/>
              <a:gd name="connsiteX369" fmla="*/ 291165 w 761148"/>
              <a:gd name="connsiteY369" fmla="*/ 126420 h 802231"/>
              <a:gd name="connsiteX370" fmla="*/ 283646 w 761148"/>
              <a:gd name="connsiteY370" fmla="*/ 113578 h 802231"/>
              <a:gd name="connsiteX371" fmla="*/ 280754 w 761148"/>
              <a:gd name="connsiteY371" fmla="*/ 104439 h 802231"/>
              <a:gd name="connsiteX372" fmla="*/ 279654 w 761148"/>
              <a:gd name="connsiteY372" fmla="*/ 92292 h 802231"/>
              <a:gd name="connsiteX373" fmla="*/ 288851 w 761148"/>
              <a:gd name="connsiteY373" fmla="*/ 91019 h 802231"/>
              <a:gd name="connsiteX374" fmla="*/ 295388 w 761148"/>
              <a:gd name="connsiteY374" fmla="*/ 93333 h 802231"/>
              <a:gd name="connsiteX375" fmla="*/ 303602 w 761148"/>
              <a:gd name="connsiteY375" fmla="*/ 89284 h 802231"/>
              <a:gd name="connsiteX376" fmla="*/ 303602 w 761148"/>
              <a:gd name="connsiteY376" fmla="*/ 82690 h 802231"/>
              <a:gd name="connsiteX377" fmla="*/ 295677 w 761148"/>
              <a:gd name="connsiteY377" fmla="*/ 71410 h 802231"/>
              <a:gd name="connsiteX378" fmla="*/ 288331 w 761148"/>
              <a:gd name="connsiteY378" fmla="*/ 58453 h 802231"/>
              <a:gd name="connsiteX379" fmla="*/ 289372 w 761148"/>
              <a:gd name="connsiteY379" fmla="*/ 52032 h 802231"/>
              <a:gd name="connsiteX380" fmla="*/ 287868 w 761148"/>
              <a:gd name="connsiteY380" fmla="*/ 33522 h 802231"/>
              <a:gd name="connsiteX381" fmla="*/ 271151 w 761148"/>
              <a:gd name="connsiteY381" fmla="*/ 14549 h 802231"/>
              <a:gd name="connsiteX382" fmla="*/ 261144 w 761148"/>
              <a:gd name="connsiteY382" fmla="*/ 2402 h 802231"/>
              <a:gd name="connsiteX383" fmla="*/ 251484 w 761148"/>
              <a:gd name="connsiteY383" fmla="*/ 3385 h 802231"/>
              <a:gd name="connsiteX384" fmla="*/ 240378 w 761148"/>
              <a:gd name="connsiteY384" fmla="*/ 22763 h 802231"/>
              <a:gd name="connsiteX385" fmla="*/ 232858 w 761148"/>
              <a:gd name="connsiteY385" fmla="*/ 25424 h 802231"/>
              <a:gd name="connsiteX386" fmla="*/ 213597 w 761148"/>
              <a:gd name="connsiteY386" fmla="*/ 33464 h 802231"/>
              <a:gd name="connsiteX387" fmla="*/ 207812 w 761148"/>
              <a:gd name="connsiteY387" fmla="*/ 34968 h 802231"/>
              <a:gd name="connsiteX388" fmla="*/ 189649 w 761148"/>
              <a:gd name="connsiteY388" fmla="*/ 30514 h 802231"/>
              <a:gd name="connsiteX389" fmla="*/ 171890 w 761148"/>
              <a:gd name="connsiteY389" fmla="*/ 26118 h 802231"/>
              <a:gd name="connsiteX390" fmla="*/ 157429 w 761148"/>
              <a:gd name="connsiteY390" fmla="*/ 35489 h 802231"/>
              <a:gd name="connsiteX391" fmla="*/ 158413 w 761148"/>
              <a:gd name="connsiteY391" fmla="*/ 39133 h 802231"/>
              <a:gd name="connsiteX392" fmla="*/ 163272 w 761148"/>
              <a:gd name="connsiteY392" fmla="*/ 65857 h 802231"/>
              <a:gd name="connsiteX393" fmla="*/ 178080 w 761148"/>
              <a:gd name="connsiteY393" fmla="*/ 90788 h 802231"/>
              <a:gd name="connsiteX394" fmla="*/ 180799 w 761148"/>
              <a:gd name="connsiteY394" fmla="*/ 90499 h 802231"/>
              <a:gd name="connsiteX395" fmla="*/ 195375 w 761148"/>
              <a:gd name="connsiteY395" fmla="*/ 100216 h 802231"/>
              <a:gd name="connsiteX396" fmla="*/ 191558 w 761148"/>
              <a:gd name="connsiteY396" fmla="*/ 104844 h 802231"/>
              <a:gd name="connsiteX397" fmla="*/ 178369 w 761148"/>
              <a:gd name="connsiteY397" fmla="*/ 124338 h 802231"/>
              <a:gd name="connsiteX398" fmla="*/ 178022 w 761148"/>
              <a:gd name="connsiteY398" fmla="*/ 131394 h 802231"/>
              <a:gd name="connsiteX399" fmla="*/ 172238 w 761148"/>
              <a:gd name="connsiteY399" fmla="*/ 145855 h 802231"/>
              <a:gd name="connsiteX400" fmla="*/ 160091 w 761148"/>
              <a:gd name="connsiteY400" fmla="*/ 157667 h 802231"/>
              <a:gd name="connsiteX401" fmla="*/ 160264 w 761148"/>
              <a:gd name="connsiteY401" fmla="*/ 159796 h 802231"/>
              <a:gd name="connsiteX402" fmla="*/ 148695 w 761148"/>
              <a:gd name="connsiteY402" fmla="*/ 171365 h 802231"/>
              <a:gd name="connsiteX403" fmla="*/ 143720 w 761148"/>
              <a:gd name="connsiteY403" fmla="*/ 173505 h 802231"/>
              <a:gd name="connsiteX404" fmla="*/ 140250 w 761148"/>
              <a:gd name="connsiteY404" fmla="*/ 183801 h 802231"/>
              <a:gd name="connsiteX405" fmla="*/ 132730 w 761148"/>
              <a:gd name="connsiteY405" fmla="*/ 202948 h 802231"/>
              <a:gd name="connsiteX406" fmla="*/ 125326 w 761148"/>
              <a:gd name="connsiteY406" fmla="*/ 206129 h 802231"/>
              <a:gd name="connsiteX407" fmla="*/ 110402 w 761148"/>
              <a:gd name="connsiteY407" fmla="*/ 216310 h 802231"/>
              <a:gd name="connsiteX408" fmla="*/ 93916 w 761148"/>
              <a:gd name="connsiteY408" fmla="*/ 237770 h 802231"/>
              <a:gd name="connsiteX409" fmla="*/ 90388 w 761148"/>
              <a:gd name="connsiteY409" fmla="*/ 236902 h 802231"/>
              <a:gd name="connsiteX410" fmla="*/ 82290 w 761148"/>
              <a:gd name="connsiteY410" fmla="*/ 235398 h 802231"/>
              <a:gd name="connsiteX411" fmla="*/ 76853 w 761148"/>
              <a:gd name="connsiteY411" fmla="*/ 238291 h 802231"/>
              <a:gd name="connsiteX412" fmla="*/ 72341 w 761148"/>
              <a:gd name="connsiteY412" fmla="*/ 240836 h 802231"/>
              <a:gd name="connsiteX413" fmla="*/ 63432 w 761148"/>
              <a:gd name="connsiteY413" fmla="*/ 238233 h 802231"/>
              <a:gd name="connsiteX414" fmla="*/ 57012 w 761148"/>
              <a:gd name="connsiteY414" fmla="*/ 236150 h 802231"/>
              <a:gd name="connsiteX415" fmla="*/ 56144 w 761148"/>
              <a:gd name="connsiteY415" fmla="*/ 236440 h 802231"/>
              <a:gd name="connsiteX416" fmla="*/ 53773 w 761148"/>
              <a:gd name="connsiteY416" fmla="*/ 238638 h 802231"/>
              <a:gd name="connsiteX417" fmla="*/ 35956 w 761148"/>
              <a:gd name="connsiteY417" fmla="*/ 261486 h 802231"/>
              <a:gd name="connsiteX418" fmla="*/ 43476 w 761148"/>
              <a:gd name="connsiteY418" fmla="*/ 268890 h 802231"/>
              <a:gd name="connsiteX419" fmla="*/ 53252 w 761148"/>
              <a:gd name="connsiteY419" fmla="*/ 281038 h 802231"/>
              <a:gd name="connsiteX420" fmla="*/ 64821 w 761148"/>
              <a:gd name="connsiteY420" fmla="*/ 308167 h 802231"/>
              <a:gd name="connsiteX421" fmla="*/ 74654 w 761148"/>
              <a:gd name="connsiteY421" fmla="*/ 334370 h 802231"/>
              <a:gd name="connsiteX422" fmla="*/ 61176 w 761148"/>
              <a:gd name="connsiteY422" fmla="*/ 341254 h 802231"/>
              <a:gd name="connsiteX423" fmla="*/ 53021 w 761148"/>
              <a:gd name="connsiteY423" fmla="*/ 340213 h 802231"/>
              <a:gd name="connsiteX424" fmla="*/ 44575 w 761148"/>
              <a:gd name="connsiteY424" fmla="*/ 340791 h 802231"/>
              <a:gd name="connsiteX425" fmla="*/ 35956 w 761148"/>
              <a:gd name="connsiteY425" fmla="*/ 342237 h 802231"/>
              <a:gd name="connsiteX426" fmla="*/ 27164 w 761148"/>
              <a:gd name="connsiteY426" fmla="*/ 341312 h 802231"/>
              <a:gd name="connsiteX427" fmla="*/ 22305 w 761148"/>
              <a:gd name="connsiteY427" fmla="*/ 340849 h 802231"/>
              <a:gd name="connsiteX428" fmla="*/ 7728 w 761148"/>
              <a:gd name="connsiteY428" fmla="*/ 351666 h 802231"/>
              <a:gd name="connsiteX429" fmla="*/ 3390 w 761148"/>
              <a:gd name="connsiteY429" fmla="*/ 358202 h 802231"/>
              <a:gd name="connsiteX430" fmla="*/ 2407 w 761148"/>
              <a:gd name="connsiteY430" fmla="*/ 359301 h 802231"/>
              <a:gd name="connsiteX431" fmla="*/ 9464 w 761148"/>
              <a:gd name="connsiteY431" fmla="*/ 367284 h 802231"/>
              <a:gd name="connsiteX432" fmla="*/ 26354 w 761148"/>
              <a:gd name="connsiteY432" fmla="*/ 381571 h 802231"/>
              <a:gd name="connsiteX433" fmla="*/ 33700 w 761148"/>
              <a:gd name="connsiteY433" fmla="*/ 382901 h 802231"/>
              <a:gd name="connsiteX434" fmla="*/ 46311 w 761148"/>
              <a:gd name="connsiteY434" fmla="*/ 380241 h 802231"/>
              <a:gd name="connsiteX435" fmla="*/ 52731 w 761148"/>
              <a:gd name="connsiteY435" fmla="*/ 378679 h 802231"/>
              <a:gd name="connsiteX436" fmla="*/ 56954 w 761148"/>
              <a:gd name="connsiteY436" fmla="*/ 384463 h 802231"/>
              <a:gd name="connsiteX437" fmla="*/ 29304 w 761148"/>
              <a:gd name="connsiteY437" fmla="*/ 396032 h 802231"/>
              <a:gd name="connsiteX438" fmla="*/ 19008 w 761148"/>
              <a:gd name="connsiteY438" fmla="*/ 397710 h 802231"/>
              <a:gd name="connsiteX439" fmla="*/ 73729 w 761148"/>
              <a:gd name="connsiteY439" fmla="*/ 443985 h 802231"/>
              <a:gd name="connsiteX440" fmla="*/ 75811 w 761148"/>
              <a:gd name="connsiteY440" fmla="*/ 443985 h 802231"/>
              <a:gd name="connsiteX441" fmla="*/ 104733 w 761148"/>
              <a:gd name="connsiteY441" fmla="*/ 420211 h 802231"/>
              <a:gd name="connsiteX442" fmla="*/ 104155 w 761148"/>
              <a:gd name="connsiteY442" fmla="*/ 417782 h 802231"/>
              <a:gd name="connsiteX443" fmla="*/ 102131 w 761148"/>
              <a:gd name="connsiteY443" fmla="*/ 411129 h 802231"/>
              <a:gd name="connsiteX444" fmla="*/ 112137 w 761148"/>
              <a:gd name="connsiteY444" fmla="*/ 400428 h 802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Lst>
            <a:rect l="l" t="t" r="r" b="b"/>
            <a:pathLst>
              <a:path w="761148" h="802231">
                <a:moveTo>
                  <a:pt x="246914" y="802099"/>
                </a:moveTo>
                <a:lnTo>
                  <a:pt x="246914" y="802099"/>
                </a:lnTo>
                <a:cubicBezTo>
                  <a:pt x="245237" y="802145"/>
                  <a:pt x="243502" y="801659"/>
                  <a:pt x="242113" y="800711"/>
                </a:cubicBezTo>
                <a:cubicBezTo>
                  <a:pt x="235577" y="796083"/>
                  <a:pt x="214985" y="770516"/>
                  <a:pt x="214985" y="751312"/>
                </a:cubicBezTo>
                <a:cubicBezTo>
                  <a:pt x="214985" y="733958"/>
                  <a:pt x="197631" y="705731"/>
                  <a:pt x="189302" y="694624"/>
                </a:cubicBezTo>
                <a:cubicBezTo>
                  <a:pt x="184038" y="684768"/>
                  <a:pt x="179989" y="674292"/>
                  <a:pt x="177328" y="663446"/>
                </a:cubicBezTo>
                <a:cubicBezTo>
                  <a:pt x="173452" y="649870"/>
                  <a:pt x="168536" y="636624"/>
                  <a:pt x="162578" y="623823"/>
                </a:cubicBezTo>
                <a:cubicBezTo>
                  <a:pt x="150777" y="600593"/>
                  <a:pt x="142216" y="575881"/>
                  <a:pt x="137010" y="550361"/>
                </a:cubicBezTo>
                <a:cubicBezTo>
                  <a:pt x="135333" y="541100"/>
                  <a:pt x="133019" y="531978"/>
                  <a:pt x="130011" y="523058"/>
                </a:cubicBezTo>
                <a:cubicBezTo>
                  <a:pt x="127466" y="515920"/>
                  <a:pt x="125673" y="508562"/>
                  <a:pt x="124516" y="501077"/>
                </a:cubicBezTo>
                <a:cubicBezTo>
                  <a:pt x="124111" y="497028"/>
                  <a:pt x="122954" y="491938"/>
                  <a:pt x="121797" y="486501"/>
                </a:cubicBezTo>
                <a:cubicBezTo>
                  <a:pt x="119310" y="474932"/>
                  <a:pt x="116476" y="462437"/>
                  <a:pt x="119310" y="454570"/>
                </a:cubicBezTo>
                <a:cubicBezTo>
                  <a:pt x="123533" y="442655"/>
                  <a:pt x="125095" y="434961"/>
                  <a:pt x="119657" y="430739"/>
                </a:cubicBezTo>
                <a:cubicBezTo>
                  <a:pt x="116128" y="427904"/>
                  <a:pt x="115840" y="421021"/>
                  <a:pt x="115492" y="414311"/>
                </a:cubicBezTo>
                <a:cubicBezTo>
                  <a:pt x="115492" y="409221"/>
                  <a:pt x="114972" y="403552"/>
                  <a:pt x="113063" y="402742"/>
                </a:cubicBezTo>
                <a:cubicBezTo>
                  <a:pt x="111154" y="401932"/>
                  <a:pt x="105775" y="406271"/>
                  <a:pt x="104560" y="410667"/>
                </a:cubicBezTo>
                <a:cubicBezTo>
                  <a:pt x="104213" y="412113"/>
                  <a:pt x="104097" y="414022"/>
                  <a:pt x="105601" y="414831"/>
                </a:cubicBezTo>
                <a:cubicBezTo>
                  <a:pt x="107163" y="415890"/>
                  <a:pt x="107857" y="417839"/>
                  <a:pt x="107279" y="419633"/>
                </a:cubicBezTo>
                <a:cubicBezTo>
                  <a:pt x="106006" y="426863"/>
                  <a:pt x="93454" y="442134"/>
                  <a:pt x="76563" y="445258"/>
                </a:cubicBezTo>
                <a:cubicBezTo>
                  <a:pt x="75753" y="445315"/>
                  <a:pt x="74885" y="445315"/>
                  <a:pt x="74075" y="445258"/>
                </a:cubicBezTo>
                <a:cubicBezTo>
                  <a:pt x="58342" y="445258"/>
                  <a:pt x="34279" y="420558"/>
                  <a:pt x="23809" y="407428"/>
                </a:cubicBezTo>
                <a:cubicBezTo>
                  <a:pt x="16637" y="398519"/>
                  <a:pt x="16983" y="396958"/>
                  <a:pt x="17099" y="396437"/>
                </a:cubicBezTo>
                <a:cubicBezTo>
                  <a:pt x="17562" y="394413"/>
                  <a:pt x="20975" y="394008"/>
                  <a:pt x="29420" y="393082"/>
                </a:cubicBezTo>
                <a:cubicBezTo>
                  <a:pt x="39601" y="391983"/>
                  <a:pt x="55045" y="390306"/>
                  <a:pt x="55045" y="383711"/>
                </a:cubicBezTo>
                <a:cubicBezTo>
                  <a:pt x="55045" y="380472"/>
                  <a:pt x="53888" y="380472"/>
                  <a:pt x="53079" y="380472"/>
                </a:cubicBezTo>
                <a:cubicBezTo>
                  <a:pt x="51111" y="380704"/>
                  <a:pt x="49145" y="381207"/>
                  <a:pt x="47294" y="381976"/>
                </a:cubicBezTo>
                <a:cubicBezTo>
                  <a:pt x="43013" y="383590"/>
                  <a:pt x="38560" y="384509"/>
                  <a:pt x="33990" y="384695"/>
                </a:cubicBezTo>
                <a:cubicBezTo>
                  <a:pt x="31213" y="384700"/>
                  <a:pt x="28437" y="384191"/>
                  <a:pt x="25834" y="383191"/>
                </a:cubicBezTo>
                <a:cubicBezTo>
                  <a:pt x="18545" y="380056"/>
                  <a:pt x="12298" y="374850"/>
                  <a:pt x="7960" y="368209"/>
                </a:cubicBezTo>
                <a:cubicBezTo>
                  <a:pt x="5762" y="365132"/>
                  <a:pt x="3216" y="362332"/>
                  <a:pt x="382" y="359879"/>
                </a:cubicBezTo>
                <a:cubicBezTo>
                  <a:pt x="151" y="359677"/>
                  <a:pt x="35" y="359416"/>
                  <a:pt x="-23" y="359127"/>
                </a:cubicBezTo>
                <a:cubicBezTo>
                  <a:pt x="-138" y="358850"/>
                  <a:pt x="-138" y="358537"/>
                  <a:pt x="-23" y="358260"/>
                </a:cubicBezTo>
                <a:cubicBezTo>
                  <a:pt x="671" y="357392"/>
                  <a:pt x="1308" y="356698"/>
                  <a:pt x="1713" y="356235"/>
                </a:cubicBezTo>
                <a:cubicBezTo>
                  <a:pt x="3274" y="354321"/>
                  <a:pt x="4605" y="352267"/>
                  <a:pt x="5762" y="350104"/>
                </a:cubicBezTo>
                <a:cubicBezTo>
                  <a:pt x="9174" y="344319"/>
                  <a:pt x="12645" y="338072"/>
                  <a:pt x="22305" y="338072"/>
                </a:cubicBezTo>
                <a:cubicBezTo>
                  <a:pt x="24099" y="338107"/>
                  <a:pt x="25834" y="338298"/>
                  <a:pt x="27569" y="338651"/>
                </a:cubicBezTo>
                <a:cubicBezTo>
                  <a:pt x="30346" y="339183"/>
                  <a:pt x="33122" y="339478"/>
                  <a:pt x="35956" y="339518"/>
                </a:cubicBezTo>
                <a:cubicBezTo>
                  <a:pt x="38675" y="339530"/>
                  <a:pt x="41394" y="339078"/>
                  <a:pt x="43939" y="338188"/>
                </a:cubicBezTo>
                <a:cubicBezTo>
                  <a:pt x="45790" y="337471"/>
                  <a:pt x="47757" y="337095"/>
                  <a:pt x="49723" y="337089"/>
                </a:cubicBezTo>
                <a:cubicBezTo>
                  <a:pt x="51054" y="337112"/>
                  <a:pt x="52384" y="337268"/>
                  <a:pt x="53657" y="337552"/>
                </a:cubicBezTo>
                <a:cubicBezTo>
                  <a:pt x="56202" y="338170"/>
                  <a:pt x="58747" y="338500"/>
                  <a:pt x="61350" y="338535"/>
                </a:cubicBezTo>
                <a:cubicBezTo>
                  <a:pt x="65978" y="338859"/>
                  <a:pt x="70432" y="336643"/>
                  <a:pt x="72919" y="332750"/>
                </a:cubicBezTo>
                <a:cubicBezTo>
                  <a:pt x="76679" y="326966"/>
                  <a:pt x="68465" y="314472"/>
                  <a:pt x="63374" y="309613"/>
                </a:cubicBezTo>
                <a:cubicBezTo>
                  <a:pt x="55623" y="301966"/>
                  <a:pt x="51227" y="291565"/>
                  <a:pt x="51169" y="280691"/>
                </a:cubicBezTo>
                <a:cubicBezTo>
                  <a:pt x="51690" y="275658"/>
                  <a:pt x="47236" y="273287"/>
                  <a:pt x="42609" y="270741"/>
                </a:cubicBezTo>
                <a:cubicBezTo>
                  <a:pt x="37981" y="268196"/>
                  <a:pt x="33874" y="266056"/>
                  <a:pt x="33874" y="261371"/>
                </a:cubicBezTo>
                <a:cubicBezTo>
                  <a:pt x="33874" y="253562"/>
                  <a:pt x="46369" y="242282"/>
                  <a:pt x="52384" y="236844"/>
                </a:cubicBezTo>
                <a:lnTo>
                  <a:pt x="54756" y="234704"/>
                </a:lnTo>
                <a:cubicBezTo>
                  <a:pt x="56433" y="232969"/>
                  <a:pt x="60540" y="234300"/>
                  <a:pt x="64474" y="236035"/>
                </a:cubicBezTo>
                <a:cubicBezTo>
                  <a:pt x="67019" y="237302"/>
                  <a:pt x="69737" y="238123"/>
                  <a:pt x="72514" y="238464"/>
                </a:cubicBezTo>
                <a:cubicBezTo>
                  <a:pt x="73555" y="238580"/>
                  <a:pt x="74539" y="238048"/>
                  <a:pt x="75001" y="237134"/>
                </a:cubicBezTo>
                <a:cubicBezTo>
                  <a:pt x="76389" y="234363"/>
                  <a:pt x="79397" y="232738"/>
                  <a:pt x="82463" y="233027"/>
                </a:cubicBezTo>
                <a:cubicBezTo>
                  <a:pt x="85413" y="233172"/>
                  <a:pt x="88364" y="233698"/>
                  <a:pt x="91198" y="234589"/>
                </a:cubicBezTo>
                <a:lnTo>
                  <a:pt x="94553" y="235456"/>
                </a:lnTo>
                <a:cubicBezTo>
                  <a:pt x="98891" y="236266"/>
                  <a:pt x="107221" y="225565"/>
                  <a:pt x="108320" y="215963"/>
                </a:cubicBezTo>
                <a:cubicBezTo>
                  <a:pt x="109072" y="208674"/>
                  <a:pt x="118211" y="205898"/>
                  <a:pt x="124805" y="203816"/>
                </a:cubicBezTo>
                <a:cubicBezTo>
                  <a:pt x="127119" y="203347"/>
                  <a:pt x="129317" y="202462"/>
                  <a:pt x="131284" y="201212"/>
                </a:cubicBezTo>
                <a:cubicBezTo>
                  <a:pt x="134349" y="195451"/>
                  <a:pt x="136663" y="189331"/>
                  <a:pt x="138225" y="182991"/>
                </a:cubicBezTo>
                <a:cubicBezTo>
                  <a:pt x="139266" y="179399"/>
                  <a:pt x="140481" y="175865"/>
                  <a:pt x="141870" y="172406"/>
                </a:cubicBezTo>
                <a:cubicBezTo>
                  <a:pt x="142910" y="170381"/>
                  <a:pt x="145398" y="169803"/>
                  <a:pt x="148348" y="169051"/>
                </a:cubicBezTo>
                <a:cubicBezTo>
                  <a:pt x="153091" y="167894"/>
                  <a:pt x="157950" y="166680"/>
                  <a:pt x="157950" y="159969"/>
                </a:cubicBezTo>
                <a:cubicBezTo>
                  <a:pt x="156851" y="152224"/>
                  <a:pt x="162231" y="145034"/>
                  <a:pt x="169924" y="143918"/>
                </a:cubicBezTo>
                <a:cubicBezTo>
                  <a:pt x="170560" y="143825"/>
                  <a:pt x="171196" y="143779"/>
                  <a:pt x="171832" y="143773"/>
                </a:cubicBezTo>
                <a:cubicBezTo>
                  <a:pt x="175361" y="143195"/>
                  <a:pt x="175708" y="138741"/>
                  <a:pt x="175882" y="131568"/>
                </a:cubicBezTo>
                <a:cubicBezTo>
                  <a:pt x="175824" y="129133"/>
                  <a:pt x="175940" y="126697"/>
                  <a:pt x="176229" y="124280"/>
                </a:cubicBezTo>
                <a:cubicBezTo>
                  <a:pt x="177328" y="115429"/>
                  <a:pt x="182013" y="105133"/>
                  <a:pt x="191095" y="102819"/>
                </a:cubicBezTo>
                <a:cubicBezTo>
                  <a:pt x="193466" y="102241"/>
                  <a:pt x="193293" y="101026"/>
                  <a:pt x="193235" y="100679"/>
                </a:cubicBezTo>
                <a:cubicBezTo>
                  <a:pt x="190979" y="95919"/>
                  <a:pt x="186178" y="92893"/>
                  <a:pt x="180914" y="92928"/>
                </a:cubicBezTo>
                <a:cubicBezTo>
                  <a:pt x="180162" y="92841"/>
                  <a:pt x="179410" y="92841"/>
                  <a:pt x="178658" y="92928"/>
                </a:cubicBezTo>
                <a:cubicBezTo>
                  <a:pt x="178253" y="92986"/>
                  <a:pt x="177791" y="92986"/>
                  <a:pt x="177386" y="92928"/>
                </a:cubicBezTo>
                <a:cubicBezTo>
                  <a:pt x="167668" y="92928"/>
                  <a:pt x="161826" y="68749"/>
                  <a:pt x="161189" y="66030"/>
                </a:cubicBezTo>
                <a:cubicBezTo>
                  <a:pt x="161189" y="65915"/>
                  <a:pt x="161189" y="65799"/>
                  <a:pt x="161189" y="65683"/>
                </a:cubicBezTo>
                <a:cubicBezTo>
                  <a:pt x="161594" y="57180"/>
                  <a:pt x="161189" y="42951"/>
                  <a:pt x="157429" y="40810"/>
                </a:cubicBezTo>
                <a:cubicBezTo>
                  <a:pt x="155347" y="39503"/>
                  <a:pt x="154479" y="36900"/>
                  <a:pt x="155405" y="34621"/>
                </a:cubicBezTo>
                <a:cubicBezTo>
                  <a:pt x="158066" y="27813"/>
                  <a:pt x="164776" y="23416"/>
                  <a:pt x="172064" y="23630"/>
                </a:cubicBezTo>
                <a:cubicBezTo>
                  <a:pt x="178369" y="24250"/>
                  <a:pt x="184617" y="25771"/>
                  <a:pt x="190516" y="28142"/>
                </a:cubicBezTo>
                <a:cubicBezTo>
                  <a:pt x="196070" y="30387"/>
                  <a:pt x="201912" y="31850"/>
                  <a:pt x="207869" y="32481"/>
                </a:cubicBezTo>
                <a:cubicBezTo>
                  <a:pt x="209431" y="32585"/>
                  <a:pt x="210935" y="32197"/>
                  <a:pt x="212266" y="31382"/>
                </a:cubicBezTo>
                <a:cubicBezTo>
                  <a:pt x="218513" y="27709"/>
                  <a:pt x="225223" y="24903"/>
                  <a:pt x="232222" y="23052"/>
                </a:cubicBezTo>
                <a:cubicBezTo>
                  <a:pt x="234651" y="22358"/>
                  <a:pt x="237023" y="21508"/>
                  <a:pt x="239337" y="20507"/>
                </a:cubicBezTo>
                <a:cubicBezTo>
                  <a:pt x="242229" y="19119"/>
                  <a:pt x="247146" y="8244"/>
                  <a:pt x="249633" y="1708"/>
                </a:cubicBezTo>
                <a:cubicBezTo>
                  <a:pt x="249749" y="1303"/>
                  <a:pt x="250154" y="1019"/>
                  <a:pt x="250558" y="1013"/>
                </a:cubicBezTo>
                <a:lnTo>
                  <a:pt x="261318" y="-86"/>
                </a:lnTo>
                <a:cubicBezTo>
                  <a:pt x="261549" y="-143"/>
                  <a:pt x="261781" y="-143"/>
                  <a:pt x="262012" y="-86"/>
                </a:cubicBezTo>
                <a:cubicBezTo>
                  <a:pt x="267218" y="3073"/>
                  <a:pt x="271325" y="7845"/>
                  <a:pt x="273581" y="13508"/>
                </a:cubicBezTo>
                <a:cubicBezTo>
                  <a:pt x="276415" y="21057"/>
                  <a:pt x="281968" y="27257"/>
                  <a:pt x="289199" y="30861"/>
                </a:cubicBezTo>
                <a:cubicBezTo>
                  <a:pt x="295446" y="34447"/>
                  <a:pt x="293363" y="44454"/>
                  <a:pt x="291801" y="51801"/>
                </a:cubicBezTo>
                <a:cubicBezTo>
                  <a:pt x="291339" y="53698"/>
                  <a:pt x="290992" y="55636"/>
                  <a:pt x="290819" y="57585"/>
                </a:cubicBezTo>
                <a:cubicBezTo>
                  <a:pt x="292149" y="61952"/>
                  <a:pt x="294463" y="65926"/>
                  <a:pt x="297702" y="69154"/>
                </a:cubicBezTo>
                <a:cubicBezTo>
                  <a:pt x="300710" y="72804"/>
                  <a:pt x="303370" y="76674"/>
                  <a:pt x="305800" y="80723"/>
                </a:cubicBezTo>
                <a:cubicBezTo>
                  <a:pt x="307420" y="83453"/>
                  <a:pt x="307420" y="86843"/>
                  <a:pt x="305800" y="89573"/>
                </a:cubicBezTo>
                <a:cubicBezTo>
                  <a:pt x="303544" y="92940"/>
                  <a:pt x="299726" y="94895"/>
                  <a:pt x="295677" y="94721"/>
                </a:cubicBezTo>
                <a:cubicBezTo>
                  <a:pt x="292727" y="94756"/>
                  <a:pt x="289893" y="93755"/>
                  <a:pt x="287637" y="91887"/>
                </a:cubicBezTo>
                <a:cubicBezTo>
                  <a:pt x="286827" y="91031"/>
                  <a:pt x="285728" y="90499"/>
                  <a:pt x="284513" y="90383"/>
                </a:cubicBezTo>
                <a:cubicBezTo>
                  <a:pt x="283356" y="90527"/>
                  <a:pt x="282373" y="91308"/>
                  <a:pt x="281968" y="92407"/>
                </a:cubicBezTo>
                <a:cubicBezTo>
                  <a:pt x="280580" y="95595"/>
                  <a:pt x="280869" y="99268"/>
                  <a:pt x="282778" y="102183"/>
                </a:cubicBezTo>
                <a:cubicBezTo>
                  <a:pt x="284687" y="105249"/>
                  <a:pt x="285844" y="108714"/>
                  <a:pt x="286133" y="112306"/>
                </a:cubicBezTo>
                <a:cubicBezTo>
                  <a:pt x="287174" y="117685"/>
                  <a:pt x="288099" y="122776"/>
                  <a:pt x="291917" y="123296"/>
                </a:cubicBezTo>
                <a:cubicBezTo>
                  <a:pt x="296256" y="124777"/>
                  <a:pt x="300074" y="127588"/>
                  <a:pt x="302734" y="131336"/>
                </a:cubicBezTo>
                <a:cubicBezTo>
                  <a:pt x="306436" y="135328"/>
                  <a:pt x="310312" y="139493"/>
                  <a:pt x="314303" y="139493"/>
                </a:cubicBezTo>
                <a:cubicBezTo>
                  <a:pt x="322922" y="139493"/>
                  <a:pt x="330210" y="151814"/>
                  <a:pt x="331310" y="153838"/>
                </a:cubicBezTo>
                <a:cubicBezTo>
                  <a:pt x="333854" y="155458"/>
                  <a:pt x="343457" y="161936"/>
                  <a:pt x="343457" y="166506"/>
                </a:cubicBezTo>
                <a:cubicBezTo>
                  <a:pt x="343457" y="168935"/>
                  <a:pt x="340738" y="171365"/>
                  <a:pt x="337672" y="174257"/>
                </a:cubicBezTo>
                <a:cubicBezTo>
                  <a:pt x="334606" y="177149"/>
                  <a:pt x="330558" y="180678"/>
                  <a:pt x="330558" y="183743"/>
                </a:cubicBezTo>
                <a:cubicBezTo>
                  <a:pt x="330326" y="187688"/>
                  <a:pt x="329516" y="191582"/>
                  <a:pt x="328244" y="195312"/>
                </a:cubicBezTo>
                <a:cubicBezTo>
                  <a:pt x="327202" y="198222"/>
                  <a:pt x="326508" y="201253"/>
                  <a:pt x="326277" y="204336"/>
                </a:cubicBezTo>
                <a:cubicBezTo>
                  <a:pt x="326277" y="206766"/>
                  <a:pt x="329458" y="208270"/>
                  <a:pt x="332929" y="209831"/>
                </a:cubicBezTo>
                <a:cubicBezTo>
                  <a:pt x="335648" y="210809"/>
                  <a:pt x="338077" y="212394"/>
                  <a:pt x="340044" y="214459"/>
                </a:cubicBezTo>
                <a:cubicBezTo>
                  <a:pt x="343109" y="216732"/>
                  <a:pt x="346638" y="218352"/>
                  <a:pt x="350340" y="219202"/>
                </a:cubicBezTo>
                <a:cubicBezTo>
                  <a:pt x="356124" y="221111"/>
                  <a:pt x="361100" y="222788"/>
                  <a:pt x="361909" y="225623"/>
                </a:cubicBezTo>
                <a:cubicBezTo>
                  <a:pt x="362719" y="228457"/>
                  <a:pt x="373478" y="234415"/>
                  <a:pt x="381460" y="235630"/>
                </a:cubicBezTo>
                <a:cubicBezTo>
                  <a:pt x="389443" y="236844"/>
                  <a:pt x="398061" y="243786"/>
                  <a:pt x="403152" y="247604"/>
                </a:cubicBezTo>
                <a:lnTo>
                  <a:pt x="404656" y="248703"/>
                </a:lnTo>
                <a:cubicBezTo>
                  <a:pt x="405408" y="249189"/>
                  <a:pt x="406333" y="249409"/>
                  <a:pt x="407259" y="249339"/>
                </a:cubicBezTo>
                <a:cubicBezTo>
                  <a:pt x="411655" y="248893"/>
                  <a:pt x="415994" y="247922"/>
                  <a:pt x="420158" y="246447"/>
                </a:cubicBezTo>
                <a:cubicBezTo>
                  <a:pt x="423282" y="245313"/>
                  <a:pt x="426579" y="244561"/>
                  <a:pt x="429876" y="244191"/>
                </a:cubicBezTo>
                <a:cubicBezTo>
                  <a:pt x="436008" y="244191"/>
                  <a:pt x="444974" y="254661"/>
                  <a:pt x="446072" y="260214"/>
                </a:cubicBezTo>
                <a:cubicBezTo>
                  <a:pt x="446535" y="262470"/>
                  <a:pt x="456079" y="265015"/>
                  <a:pt x="463021" y="266924"/>
                </a:cubicBezTo>
                <a:cubicBezTo>
                  <a:pt x="469442" y="268115"/>
                  <a:pt x="475573" y="270388"/>
                  <a:pt x="481241" y="273634"/>
                </a:cubicBezTo>
                <a:cubicBezTo>
                  <a:pt x="485580" y="275693"/>
                  <a:pt x="490439" y="276532"/>
                  <a:pt x="495240" y="276063"/>
                </a:cubicBezTo>
                <a:cubicBezTo>
                  <a:pt x="508718" y="276063"/>
                  <a:pt x="523642" y="272940"/>
                  <a:pt x="527228" y="269353"/>
                </a:cubicBezTo>
                <a:cubicBezTo>
                  <a:pt x="530814" y="265767"/>
                  <a:pt x="530178" y="258768"/>
                  <a:pt x="529079" y="252000"/>
                </a:cubicBezTo>
                <a:cubicBezTo>
                  <a:pt x="528443" y="248795"/>
                  <a:pt x="528096" y="245544"/>
                  <a:pt x="527980" y="242282"/>
                </a:cubicBezTo>
                <a:cubicBezTo>
                  <a:pt x="527402" y="238163"/>
                  <a:pt x="529831" y="234218"/>
                  <a:pt x="533765" y="232854"/>
                </a:cubicBezTo>
                <a:cubicBezTo>
                  <a:pt x="535847" y="232009"/>
                  <a:pt x="537698" y="230557"/>
                  <a:pt x="538971" y="228689"/>
                </a:cubicBezTo>
                <a:cubicBezTo>
                  <a:pt x="539722" y="227335"/>
                  <a:pt x="541053" y="226456"/>
                  <a:pt x="542614" y="226375"/>
                </a:cubicBezTo>
                <a:cubicBezTo>
                  <a:pt x="544292" y="226490"/>
                  <a:pt x="545796" y="227393"/>
                  <a:pt x="546722" y="228804"/>
                </a:cubicBezTo>
                <a:cubicBezTo>
                  <a:pt x="549672" y="233131"/>
                  <a:pt x="550713" y="238499"/>
                  <a:pt x="549556" y="243612"/>
                </a:cubicBezTo>
                <a:cubicBezTo>
                  <a:pt x="548630" y="248714"/>
                  <a:pt x="549845" y="253978"/>
                  <a:pt x="552969" y="258131"/>
                </a:cubicBezTo>
                <a:cubicBezTo>
                  <a:pt x="554357" y="259867"/>
                  <a:pt x="555861" y="260850"/>
                  <a:pt x="556844" y="260561"/>
                </a:cubicBezTo>
                <a:cubicBezTo>
                  <a:pt x="559273" y="260370"/>
                  <a:pt x="561703" y="261047"/>
                  <a:pt x="563728" y="262470"/>
                </a:cubicBezTo>
                <a:cubicBezTo>
                  <a:pt x="566331" y="264113"/>
                  <a:pt x="569281" y="265067"/>
                  <a:pt x="572346" y="265246"/>
                </a:cubicBezTo>
                <a:cubicBezTo>
                  <a:pt x="573330" y="265241"/>
                  <a:pt x="574256" y="265125"/>
                  <a:pt x="575181" y="264899"/>
                </a:cubicBezTo>
                <a:cubicBezTo>
                  <a:pt x="576338" y="264616"/>
                  <a:pt x="577494" y="264483"/>
                  <a:pt x="578652" y="264494"/>
                </a:cubicBezTo>
                <a:cubicBezTo>
                  <a:pt x="581312" y="264598"/>
                  <a:pt x="583973" y="265142"/>
                  <a:pt x="586461" y="266114"/>
                </a:cubicBezTo>
                <a:cubicBezTo>
                  <a:pt x="589353" y="267172"/>
                  <a:pt x="592419" y="267757"/>
                  <a:pt x="595484" y="267849"/>
                </a:cubicBezTo>
                <a:cubicBezTo>
                  <a:pt x="597451" y="267867"/>
                  <a:pt x="599360" y="267612"/>
                  <a:pt x="601268" y="267097"/>
                </a:cubicBezTo>
                <a:cubicBezTo>
                  <a:pt x="603582" y="266449"/>
                  <a:pt x="605954" y="266137"/>
                  <a:pt x="608326" y="266172"/>
                </a:cubicBezTo>
                <a:cubicBezTo>
                  <a:pt x="610929" y="266224"/>
                  <a:pt x="613473" y="266438"/>
                  <a:pt x="616019" y="266808"/>
                </a:cubicBezTo>
                <a:cubicBezTo>
                  <a:pt x="617812" y="267080"/>
                  <a:pt x="619663" y="267253"/>
                  <a:pt x="621456" y="267328"/>
                </a:cubicBezTo>
                <a:cubicBezTo>
                  <a:pt x="623828" y="267624"/>
                  <a:pt x="626084" y="266455"/>
                  <a:pt x="627240" y="264378"/>
                </a:cubicBezTo>
                <a:cubicBezTo>
                  <a:pt x="631232" y="257379"/>
                  <a:pt x="624059" y="241819"/>
                  <a:pt x="624002" y="241703"/>
                </a:cubicBezTo>
                <a:cubicBezTo>
                  <a:pt x="623712" y="241165"/>
                  <a:pt x="623944" y="240500"/>
                  <a:pt x="624464" y="240223"/>
                </a:cubicBezTo>
                <a:cubicBezTo>
                  <a:pt x="624464" y="240217"/>
                  <a:pt x="624522" y="240205"/>
                  <a:pt x="624522" y="240199"/>
                </a:cubicBezTo>
                <a:cubicBezTo>
                  <a:pt x="629092" y="237631"/>
                  <a:pt x="633951" y="235688"/>
                  <a:pt x="639041" y="234415"/>
                </a:cubicBezTo>
                <a:cubicBezTo>
                  <a:pt x="640776" y="234415"/>
                  <a:pt x="643669" y="231176"/>
                  <a:pt x="646503" y="227937"/>
                </a:cubicBezTo>
                <a:cubicBezTo>
                  <a:pt x="648007" y="226317"/>
                  <a:pt x="649511" y="224581"/>
                  <a:pt x="651188" y="222904"/>
                </a:cubicBezTo>
                <a:cubicBezTo>
                  <a:pt x="652808" y="221203"/>
                  <a:pt x="654138" y="219248"/>
                  <a:pt x="655122" y="217120"/>
                </a:cubicBezTo>
                <a:cubicBezTo>
                  <a:pt x="656684" y="214054"/>
                  <a:pt x="658072" y="211335"/>
                  <a:pt x="662988" y="211914"/>
                </a:cubicBezTo>
                <a:cubicBezTo>
                  <a:pt x="665939" y="212376"/>
                  <a:pt x="668195" y="210410"/>
                  <a:pt x="671897" y="207113"/>
                </a:cubicBezTo>
                <a:cubicBezTo>
                  <a:pt x="676119" y="203162"/>
                  <a:pt x="680862" y="199761"/>
                  <a:pt x="685953" y="196990"/>
                </a:cubicBezTo>
                <a:cubicBezTo>
                  <a:pt x="689308" y="195156"/>
                  <a:pt x="693009" y="194202"/>
                  <a:pt x="696827" y="194213"/>
                </a:cubicBezTo>
                <a:cubicBezTo>
                  <a:pt x="700471" y="194341"/>
                  <a:pt x="704116" y="194925"/>
                  <a:pt x="707644" y="195949"/>
                </a:cubicBezTo>
                <a:cubicBezTo>
                  <a:pt x="712330" y="197163"/>
                  <a:pt x="715916" y="197800"/>
                  <a:pt x="718114" y="195949"/>
                </a:cubicBezTo>
                <a:cubicBezTo>
                  <a:pt x="721295" y="192860"/>
                  <a:pt x="725345" y="190835"/>
                  <a:pt x="729683" y="190164"/>
                </a:cubicBezTo>
                <a:cubicBezTo>
                  <a:pt x="731823" y="189962"/>
                  <a:pt x="733790" y="191553"/>
                  <a:pt x="733964" y="193716"/>
                </a:cubicBezTo>
                <a:cubicBezTo>
                  <a:pt x="733964" y="193959"/>
                  <a:pt x="733964" y="194202"/>
                  <a:pt x="733964" y="194445"/>
                </a:cubicBezTo>
                <a:cubicBezTo>
                  <a:pt x="734773" y="197846"/>
                  <a:pt x="736508" y="200958"/>
                  <a:pt x="738996" y="203411"/>
                </a:cubicBezTo>
                <a:cubicBezTo>
                  <a:pt x="741426" y="206066"/>
                  <a:pt x="743334" y="209091"/>
                  <a:pt x="744780" y="212376"/>
                </a:cubicBezTo>
                <a:cubicBezTo>
                  <a:pt x="746400" y="217120"/>
                  <a:pt x="756349" y="219665"/>
                  <a:pt x="760051" y="220243"/>
                </a:cubicBezTo>
                <a:cubicBezTo>
                  <a:pt x="760630" y="220318"/>
                  <a:pt x="761092" y="220862"/>
                  <a:pt x="761034" y="221470"/>
                </a:cubicBezTo>
                <a:cubicBezTo>
                  <a:pt x="760976" y="221522"/>
                  <a:pt x="760976" y="221579"/>
                  <a:pt x="760976" y="221632"/>
                </a:cubicBezTo>
                <a:cubicBezTo>
                  <a:pt x="760976" y="222788"/>
                  <a:pt x="758605" y="233201"/>
                  <a:pt x="753920" y="235341"/>
                </a:cubicBezTo>
                <a:cubicBezTo>
                  <a:pt x="752821" y="235896"/>
                  <a:pt x="752069" y="236885"/>
                  <a:pt x="751721" y="238059"/>
                </a:cubicBezTo>
                <a:cubicBezTo>
                  <a:pt x="751491" y="243150"/>
                  <a:pt x="753225" y="248136"/>
                  <a:pt x="756523" y="252000"/>
                </a:cubicBezTo>
                <a:cubicBezTo>
                  <a:pt x="758200" y="254545"/>
                  <a:pt x="758605" y="256454"/>
                  <a:pt x="757853" y="257784"/>
                </a:cubicBezTo>
                <a:cubicBezTo>
                  <a:pt x="757101" y="259011"/>
                  <a:pt x="755713" y="259687"/>
                  <a:pt x="754267" y="259520"/>
                </a:cubicBezTo>
                <a:cubicBezTo>
                  <a:pt x="749581" y="259387"/>
                  <a:pt x="745243" y="256940"/>
                  <a:pt x="742698" y="252983"/>
                </a:cubicBezTo>
                <a:cubicBezTo>
                  <a:pt x="742409" y="252289"/>
                  <a:pt x="741657" y="251884"/>
                  <a:pt x="740905" y="252000"/>
                </a:cubicBezTo>
                <a:cubicBezTo>
                  <a:pt x="736682" y="252000"/>
                  <a:pt x="728063" y="257784"/>
                  <a:pt x="721816" y="263164"/>
                </a:cubicBezTo>
                <a:cubicBezTo>
                  <a:pt x="719791" y="264824"/>
                  <a:pt x="717709" y="266345"/>
                  <a:pt x="715511" y="267733"/>
                </a:cubicBezTo>
                <a:cubicBezTo>
                  <a:pt x="709726" y="271783"/>
                  <a:pt x="703942" y="275658"/>
                  <a:pt x="703942" y="283872"/>
                </a:cubicBezTo>
                <a:cubicBezTo>
                  <a:pt x="703537" y="289691"/>
                  <a:pt x="702149" y="295394"/>
                  <a:pt x="699719" y="300705"/>
                </a:cubicBezTo>
                <a:cubicBezTo>
                  <a:pt x="697117" y="305732"/>
                  <a:pt x="695959" y="311377"/>
                  <a:pt x="696423" y="317017"/>
                </a:cubicBezTo>
                <a:cubicBezTo>
                  <a:pt x="697695" y="322801"/>
                  <a:pt x="693935" y="331478"/>
                  <a:pt x="690638" y="338998"/>
                </a:cubicBezTo>
                <a:cubicBezTo>
                  <a:pt x="688614" y="342578"/>
                  <a:pt x="687341" y="346500"/>
                  <a:pt x="686762" y="350567"/>
                </a:cubicBezTo>
                <a:cubicBezTo>
                  <a:pt x="686994" y="351347"/>
                  <a:pt x="686820" y="352186"/>
                  <a:pt x="686300" y="352823"/>
                </a:cubicBezTo>
                <a:cubicBezTo>
                  <a:pt x="685201" y="353817"/>
                  <a:pt x="683696" y="354280"/>
                  <a:pt x="682250" y="354095"/>
                </a:cubicBezTo>
                <a:cubicBezTo>
                  <a:pt x="677912" y="353782"/>
                  <a:pt x="673632" y="353065"/>
                  <a:pt x="669467" y="351955"/>
                </a:cubicBezTo>
                <a:cubicBezTo>
                  <a:pt x="667674" y="351463"/>
                  <a:pt x="665881" y="351093"/>
                  <a:pt x="664087" y="350856"/>
                </a:cubicBezTo>
                <a:cubicBezTo>
                  <a:pt x="663393" y="353869"/>
                  <a:pt x="663046" y="356958"/>
                  <a:pt x="662988" y="360053"/>
                </a:cubicBezTo>
                <a:cubicBezTo>
                  <a:pt x="663104" y="366011"/>
                  <a:pt x="661947" y="371923"/>
                  <a:pt x="659634" y="377406"/>
                </a:cubicBezTo>
                <a:cubicBezTo>
                  <a:pt x="657898" y="381820"/>
                  <a:pt x="656972" y="386534"/>
                  <a:pt x="657030" y="391289"/>
                </a:cubicBezTo>
                <a:cubicBezTo>
                  <a:pt x="656452" y="399387"/>
                  <a:pt x="655816" y="407023"/>
                  <a:pt x="651246" y="407023"/>
                </a:cubicBezTo>
                <a:cubicBezTo>
                  <a:pt x="650378" y="407023"/>
                  <a:pt x="649337" y="407775"/>
                  <a:pt x="648123" y="409221"/>
                </a:cubicBezTo>
                <a:cubicBezTo>
                  <a:pt x="647833" y="409556"/>
                  <a:pt x="647371" y="409695"/>
                  <a:pt x="646966" y="409568"/>
                </a:cubicBezTo>
                <a:cubicBezTo>
                  <a:pt x="646561" y="409464"/>
                  <a:pt x="646214" y="409122"/>
                  <a:pt x="646156" y="408700"/>
                </a:cubicBezTo>
                <a:cubicBezTo>
                  <a:pt x="644767" y="401007"/>
                  <a:pt x="643553" y="393256"/>
                  <a:pt x="642453" y="386430"/>
                </a:cubicBezTo>
                <a:cubicBezTo>
                  <a:pt x="640313" y="373126"/>
                  <a:pt x="637942" y="358028"/>
                  <a:pt x="636033" y="356871"/>
                </a:cubicBezTo>
                <a:cubicBezTo>
                  <a:pt x="634760" y="356871"/>
                  <a:pt x="632158" y="361441"/>
                  <a:pt x="630248" y="365028"/>
                </a:cubicBezTo>
                <a:cubicBezTo>
                  <a:pt x="626662" y="371217"/>
                  <a:pt x="622613" y="378216"/>
                  <a:pt x="617639" y="378216"/>
                </a:cubicBezTo>
                <a:lnTo>
                  <a:pt x="616539" y="378216"/>
                </a:lnTo>
                <a:cubicBezTo>
                  <a:pt x="611333" y="377175"/>
                  <a:pt x="609020" y="367862"/>
                  <a:pt x="609830" y="359474"/>
                </a:cubicBezTo>
                <a:cubicBezTo>
                  <a:pt x="610639" y="351087"/>
                  <a:pt x="613879" y="346575"/>
                  <a:pt x="618391" y="346575"/>
                </a:cubicBezTo>
                <a:cubicBezTo>
                  <a:pt x="627356" y="346575"/>
                  <a:pt x="638520" y="325983"/>
                  <a:pt x="638520" y="319793"/>
                </a:cubicBezTo>
                <a:cubicBezTo>
                  <a:pt x="638520" y="313604"/>
                  <a:pt x="629092" y="314414"/>
                  <a:pt x="620010" y="314414"/>
                </a:cubicBezTo>
                <a:cubicBezTo>
                  <a:pt x="610929" y="314414"/>
                  <a:pt x="589237" y="316033"/>
                  <a:pt x="589005" y="316033"/>
                </a:cubicBezTo>
                <a:cubicBezTo>
                  <a:pt x="588832" y="316091"/>
                  <a:pt x="588717" y="316091"/>
                  <a:pt x="588543" y="316033"/>
                </a:cubicBezTo>
                <a:cubicBezTo>
                  <a:pt x="587965" y="316033"/>
                  <a:pt x="574660" y="310770"/>
                  <a:pt x="574660" y="301862"/>
                </a:cubicBezTo>
                <a:cubicBezTo>
                  <a:pt x="574660" y="295672"/>
                  <a:pt x="571768" y="288268"/>
                  <a:pt x="557827" y="288268"/>
                </a:cubicBezTo>
                <a:cubicBezTo>
                  <a:pt x="553663" y="288233"/>
                  <a:pt x="549614" y="286857"/>
                  <a:pt x="546258" y="284335"/>
                </a:cubicBezTo>
                <a:cubicBezTo>
                  <a:pt x="545102" y="283345"/>
                  <a:pt x="543772" y="282686"/>
                  <a:pt x="542268" y="282426"/>
                </a:cubicBezTo>
                <a:cubicBezTo>
                  <a:pt x="540590" y="282426"/>
                  <a:pt x="538507" y="284161"/>
                  <a:pt x="535789" y="287806"/>
                </a:cubicBezTo>
                <a:cubicBezTo>
                  <a:pt x="534517" y="289095"/>
                  <a:pt x="533880" y="290917"/>
                  <a:pt x="534169" y="292722"/>
                </a:cubicBezTo>
                <a:cubicBezTo>
                  <a:pt x="534921" y="295672"/>
                  <a:pt x="539491" y="297755"/>
                  <a:pt x="543887" y="299721"/>
                </a:cubicBezTo>
                <a:cubicBezTo>
                  <a:pt x="549672" y="302382"/>
                  <a:pt x="555456" y="305101"/>
                  <a:pt x="553894" y="310423"/>
                </a:cubicBezTo>
                <a:cubicBezTo>
                  <a:pt x="552680" y="314483"/>
                  <a:pt x="548978" y="317329"/>
                  <a:pt x="544755" y="317537"/>
                </a:cubicBezTo>
                <a:cubicBezTo>
                  <a:pt x="541805" y="318174"/>
                  <a:pt x="539896" y="318521"/>
                  <a:pt x="538971" y="321760"/>
                </a:cubicBezTo>
                <a:cubicBezTo>
                  <a:pt x="538161" y="335567"/>
                  <a:pt x="540359" y="349387"/>
                  <a:pt x="545449" y="362251"/>
                </a:cubicBezTo>
                <a:cubicBezTo>
                  <a:pt x="551407" y="378430"/>
                  <a:pt x="554646" y="395465"/>
                  <a:pt x="555109" y="412691"/>
                </a:cubicBezTo>
                <a:cubicBezTo>
                  <a:pt x="555167" y="413229"/>
                  <a:pt x="554820" y="413721"/>
                  <a:pt x="554241" y="413790"/>
                </a:cubicBezTo>
                <a:cubicBezTo>
                  <a:pt x="554241" y="413790"/>
                  <a:pt x="554241" y="413790"/>
                  <a:pt x="554241" y="413790"/>
                </a:cubicBezTo>
                <a:cubicBezTo>
                  <a:pt x="551928" y="414247"/>
                  <a:pt x="549614" y="414484"/>
                  <a:pt x="547242" y="414484"/>
                </a:cubicBezTo>
                <a:cubicBezTo>
                  <a:pt x="531971" y="414484"/>
                  <a:pt x="500967" y="420269"/>
                  <a:pt x="499463" y="430102"/>
                </a:cubicBezTo>
                <a:cubicBezTo>
                  <a:pt x="499000" y="433035"/>
                  <a:pt x="498768" y="435991"/>
                  <a:pt x="498768" y="438952"/>
                </a:cubicBezTo>
                <a:cubicBezTo>
                  <a:pt x="499289" y="446501"/>
                  <a:pt x="496339" y="453871"/>
                  <a:pt x="490728" y="458967"/>
                </a:cubicBezTo>
                <a:cubicBezTo>
                  <a:pt x="485059" y="463976"/>
                  <a:pt x="478697" y="468060"/>
                  <a:pt x="471755" y="471056"/>
                </a:cubicBezTo>
                <a:cubicBezTo>
                  <a:pt x="462847" y="475568"/>
                  <a:pt x="453650" y="480195"/>
                  <a:pt x="449312" y="487426"/>
                </a:cubicBezTo>
                <a:cubicBezTo>
                  <a:pt x="440750" y="501425"/>
                  <a:pt x="412176" y="526298"/>
                  <a:pt x="405003" y="532140"/>
                </a:cubicBezTo>
                <a:cubicBezTo>
                  <a:pt x="402227" y="534453"/>
                  <a:pt x="398003" y="537346"/>
                  <a:pt x="393145" y="540816"/>
                </a:cubicBezTo>
                <a:cubicBezTo>
                  <a:pt x="382444" y="548336"/>
                  <a:pt x="369081" y="557707"/>
                  <a:pt x="363586" y="565053"/>
                </a:cubicBezTo>
                <a:cubicBezTo>
                  <a:pt x="356992" y="574655"/>
                  <a:pt x="347101" y="581458"/>
                  <a:pt x="335764" y="584142"/>
                </a:cubicBezTo>
                <a:cubicBezTo>
                  <a:pt x="331714" y="584547"/>
                  <a:pt x="330731" y="588422"/>
                  <a:pt x="329400" y="595364"/>
                </a:cubicBezTo>
                <a:cubicBezTo>
                  <a:pt x="328822" y="598996"/>
                  <a:pt x="327839" y="602559"/>
                  <a:pt x="326566" y="606007"/>
                </a:cubicBezTo>
                <a:cubicBezTo>
                  <a:pt x="322864" y="615204"/>
                  <a:pt x="320145" y="629492"/>
                  <a:pt x="324542" y="639441"/>
                </a:cubicBezTo>
                <a:cubicBezTo>
                  <a:pt x="328938" y="649390"/>
                  <a:pt x="327839" y="675478"/>
                  <a:pt x="320377" y="685022"/>
                </a:cubicBezTo>
                <a:cubicBezTo>
                  <a:pt x="312915" y="694566"/>
                  <a:pt x="312510" y="708796"/>
                  <a:pt x="312510" y="719093"/>
                </a:cubicBezTo>
                <a:cubicBezTo>
                  <a:pt x="312510" y="729389"/>
                  <a:pt x="312510" y="738181"/>
                  <a:pt x="304296" y="739511"/>
                </a:cubicBezTo>
                <a:cubicBezTo>
                  <a:pt x="298049" y="740611"/>
                  <a:pt x="296025" y="747089"/>
                  <a:pt x="294752" y="757154"/>
                </a:cubicBezTo>
                <a:cubicBezTo>
                  <a:pt x="294057" y="762533"/>
                  <a:pt x="288447" y="766178"/>
                  <a:pt x="282431" y="770053"/>
                </a:cubicBezTo>
                <a:cubicBezTo>
                  <a:pt x="276415" y="773929"/>
                  <a:pt x="270862" y="777515"/>
                  <a:pt x="269243" y="782837"/>
                </a:cubicBezTo>
                <a:cubicBezTo>
                  <a:pt x="266177" y="792728"/>
                  <a:pt x="255128" y="802099"/>
                  <a:pt x="246914" y="802099"/>
                </a:cubicBezTo>
                <a:close/>
                <a:moveTo>
                  <a:pt x="112137" y="400428"/>
                </a:moveTo>
                <a:cubicBezTo>
                  <a:pt x="112774" y="400417"/>
                  <a:pt x="113410" y="400555"/>
                  <a:pt x="113988" y="400833"/>
                </a:cubicBezTo>
                <a:cubicBezTo>
                  <a:pt x="117170" y="402279"/>
                  <a:pt x="117402" y="407890"/>
                  <a:pt x="117748" y="414426"/>
                </a:cubicBezTo>
                <a:cubicBezTo>
                  <a:pt x="118096" y="420963"/>
                  <a:pt x="118384" y="427036"/>
                  <a:pt x="121103" y="429235"/>
                </a:cubicBezTo>
                <a:cubicBezTo>
                  <a:pt x="128045" y="434730"/>
                  <a:pt x="125210" y="444795"/>
                  <a:pt x="121450" y="455554"/>
                </a:cubicBezTo>
                <a:cubicBezTo>
                  <a:pt x="118848" y="462842"/>
                  <a:pt x="121450" y="475279"/>
                  <a:pt x="123995" y="486269"/>
                </a:cubicBezTo>
                <a:cubicBezTo>
                  <a:pt x="125152" y="491151"/>
                  <a:pt x="126078" y="496097"/>
                  <a:pt x="126714" y="501077"/>
                </a:cubicBezTo>
                <a:cubicBezTo>
                  <a:pt x="127871" y="508400"/>
                  <a:pt x="129664" y="515608"/>
                  <a:pt x="132151" y="522595"/>
                </a:cubicBezTo>
                <a:cubicBezTo>
                  <a:pt x="135217" y="531648"/>
                  <a:pt x="137589" y="540903"/>
                  <a:pt x="139266" y="550303"/>
                </a:cubicBezTo>
                <a:cubicBezTo>
                  <a:pt x="144414" y="575569"/>
                  <a:pt x="152917" y="600026"/>
                  <a:pt x="164602" y="623013"/>
                </a:cubicBezTo>
                <a:cubicBezTo>
                  <a:pt x="170618" y="635935"/>
                  <a:pt x="175592" y="649321"/>
                  <a:pt x="179468" y="663041"/>
                </a:cubicBezTo>
                <a:cubicBezTo>
                  <a:pt x="182129" y="673615"/>
                  <a:pt x="186005" y="683848"/>
                  <a:pt x="191037" y="693525"/>
                </a:cubicBezTo>
                <a:cubicBezTo>
                  <a:pt x="197862" y="702491"/>
                  <a:pt x="217125" y="732455"/>
                  <a:pt x="217125" y="751369"/>
                </a:cubicBezTo>
                <a:cubicBezTo>
                  <a:pt x="217125" y="769012"/>
                  <a:pt x="236618" y="794174"/>
                  <a:pt x="243328" y="798918"/>
                </a:cubicBezTo>
                <a:cubicBezTo>
                  <a:pt x="244369" y="799588"/>
                  <a:pt x="245584" y="799930"/>
                  <a:pt x="246857" y="799901"/>
                </a:cubicBezTo>
                <a:cubicBezTo>
                  <a:pt x="254088" y="799901"/>
                  <a:pt x="264210" y="791166"/>
                  <a:pt x="267045" y="782548"/>
                </a:cubicBezTo>
                <a:cubicBezTo>
                  <a:pt x="270110" y="776468"/>
                  <a:pt x="275027" y="771569"/>
                  <a:pt x="281158" y="768607"/>
                </a:cubicBezTo>
                <a:cubicBezTo>
                  <a:pt x="286943" y="764963"/>
                  <a:pt x="291917" y="761608"/>
                  <a:pt x="292727" y="757038"/>
                </a:cubicBezTo>
                <a:cubicBezTo>
                  <a:pt x="293827" y="748362"/>
                  <a:pt x="295735" y="738933"/>
                  <a:pt x="304296" y="737487"/>
                </a:cubicBezTo>
                <a:cubicBezTo>
                  <a:pt x="310080" y="736503"/>
                  <a:pt x="310601" y="730546"/>
                  <a:pt x="310601" y="719266"/>
                </a:cubicBezTo>
                <a:cubicBezTo>
                  <a:pt x="310601" y="707986"/>
                  <a:pt x="311469" y="693352"/>
                  <a:pt x="318931" y="683807"/>
                </a:cubicBezTo>
                <a:cubicBezTo>
                  <a:pt x="326393" y="674263"/>
                  <a:pt x="327144" y="650431"/>
                  <a:pt x="322806" y="640540"/>
                </a:cubicBezTo>
                <a:cubicBezTo>
                  <a:pt x="318468" y="630648"/>
                  <a:pt x="320782" y="615377"/>
                  <a:pt x="324831" y="605313"/>
                </a:cubicBezTo>
                <a:cubicBezTo>
                  <a:pt x="326046" y="602004"/>
                  <a:pt x="326913" y="598597"/>
                  <a:pt x="327492" y="595132"/>
                </a:cubicBezTo>
                <a:cubicBezTo>
                  <a:pt x="328764" y="588711"/>
                  <a:pt x="329979" y="582638"/>
                  <a:pt x="335879" y="582059"/>
                </a:cubicBezTo>
                <a:cubicBezTo>
                  <a:pt x="346581" y="579520"/>
                  <a:pt x="355951" y="573030"/>
                  <a:pt x="362082" y="563896"/>
                </a:cubicBezTo>
                <a:cubicBezTo>
                  <a:pt x="367867" y="556203"/>
                  <a:pt x="381345" y="546543"/>
                  <a:pt x="392162" y="539139"/>
                </a:cubicBezTo>
                <a:cubicBezTo>
                  <a:pt x="397021" y="535726"/>
                  <a:pt x="401185" y="532776"/>
                  <a:pt x="403731" y="530578"/>
                </a:cubicBezTo>
                <a:cubicBezTo>
                  <a:pt x="410845" y="524793"/>
                  <a:pt x="439189" y="500152"/>
                  <a:pt x="447519" y="486443"/>
                </a:cubicBezTo>
                <a:cubicBezTo>
                  <a:pt x="452261" y="478634"/>
                  <a:pt x="461748" y="473833"/>
                  <a:pt x="470656" y="469089"/>
                </a:cubicBezTo>
                <a:cubicBezTo>
                  <a:pt x="477366" y="466232"/>
                  <a:pt x="483555" y="462327"/>
                  <a:pt x="489051" y="457521"/>
                </a:cubicBezTo>
                <a:cubicBezTo>
                  <a:pt x="494256" y="452818"/>
                  <a:pt x="497034" y="445957"/>
                  <a:pt x="496455" y="438952"/>
                </a:cubicBezTo>
                <a:cubicBezTo>
                  <a:pt x="496455" y="435910"/>
                  <a:pt x="496686" y="432873"/>
                  <a:pt x="497207" y="429871"/>
                </a:cubicBezTo>
                <a:cubicBezTo>
                  <a:pt x="499520" y="416509"/>
                  <a:pt x="536830" y="412518"/>
                  <a:pt x="547184" y="412518"/>
                </a:cubicBezTo>
                <a:cubicBezTo>
                  <a:pt x="549093" y="412518"/>
                  <a:pt x="551060" y="412361"/>
                  <a:pt x="552969" y="412055"/>
                </a:cubicBezTo>
                <a:cubicBezTo>
                  <a:pt x="552390" y="395442"/>
                  <a:pt x="549209" y="379026"/>
                  <a:pt x="543482" y="363408"/>
                </a:cubicBezTo>
                <a:cubicBezTo>
                  <a:pt x="538276" y="350202"/>
                  <a:pt x="536078" y="336036"/>
                  <a:pt x="536888" y="321876"/>
                </a:cubicBezTo>
                <a:cubicBezTo>
                  <a:pt x="537813" y="317190"/>
                  <a:pt x="541168" y="316554"/>
                  <a:pt x="544118" y="316091"/>
                </a:cubicBezTo>
                <a:cubicBezTo>
                  <a:pt x="547647" y="316022"/>
                  <a:pt x="550655" y="313679"/>
                  <a:pt x="551638" y="310307"/>
                </a:cubicBezTo>
                <a:cubicBezTo>
                  <a:pt x="552680" y="307125"/>
                  <a:pt x="548804" y="305101"/>
                  <a:pt x="542788" y="302382"/>
                </a:cubicBezTo>
                <a:cubicBezTo>
                  <a:pt x="537871" y="300126"/>
                  <a:pt x="532839" y="297870"/>
                  <a:pt x="531797" y="293879"/>
                </a:cubicBezTo>
                <a:cubicBezTo>
                  <a:pt x="531335" y="291421"/>
                  <a:pt x="532087" y="288899"/>
                  <a:pt x="533765" y="287054"/>
                </a:cubicBezTo>
                <a:cubicBezTo>
                  <a:pt x="537061" y="282657"/>
                  <a:pt x="539549" y="280806"/>
                  <a:pt x="542094" y="280806"/>
                </a:cubicBezTo>
                <a:cubicBezTo>
                  <a:pt x="544060" y="280980"/>
                  <a:pt x="545854" y="281749"/>
                  <a:pt x="547358" y="283004"/>
                </a:cubicBezTo>
                <a:cubicBezTo>
                  <a:pt x="550250" y="285307"/>
                  <a:pt x="553894" y="286573"/>
                  <a:pt x="557596" y="286591"/>
                </a:cubicBezTo>
                <a:cubicBezTo>
                  <a:pt x="569744" y="286591"/>
                  <a:pt x="576685" y="292375"/>
                  <a:pt x="576685" y="302440"/>
                </a:cubicBezTo>
                <a:cubicBezTo>
                  <a:pt x="576685" y="309208"/>
                  <a:pt x="587213" y="313720"/>
                  <a:pt x="588890" y="314414"/>
                </a:cubicBezTo>
                <a:cubicBezTo>
                  <a:pt x="590567" y="315108"/>
                  <a:pt x="610639" y="312794"/>
                  <a:pt x="619779" y="312794"/>
                </a:cubicBezTo>
                <a:cubicBezTo>
                  <a:pt x="629960" y="312794"/>
                  <a:pt x="640545" y="312794"/>
                  <a:pt x="640545" y="320430"/>
                </a:cubicBezTo>
                <a:cubicBezTo>
                  <a:pt x="640545" y="328065"/>
                  <a:pt x="628629" y="349352"/>
                  <a:pt x="618159" y="349352"/>
                </a:cubicBezTo>
                <a:cubicBezTo>
                  <a:pt x="614283" y="349352"/>
                  <a:pt x="612375" y="355136"/>
                  <a:pt x="611854" y="360169"/>
                </a:cubicBezTo>
                <a:cubicBezTo>
                  <a:pt x="611102" y="368209"/>
                  <a:pt x="613358" y="375844"/>
                  <a:pt x="616771" y="376481"/>
                </a:cubicBezTo>
                <a:lnTo>
                  <a:pt x="617407" y="376481"/>
                </a:lnTo>
                <a:cubicBezTo>
                  <a:pt x="621109" y="376481"/>
                  <a:pt x="624927" y="369829"/>
                  <a:pt x="628050" y="364449"/>
                </a:cubicBezTo>
                <a:cubicBezTo>
                  <a:pt x="631174" y="359069"/>
                  <a:pt x="633430" y="355194"/>
                  <a:pt x="636149" y="355194"/>
                </a:cubicBezTo>
                <a:cubicBezTo>
                  <a:pt x="638867" y="355194"/>
                  <a:pt x="640834" y="362829"/>
                  <a:pt x="644594" y="386603"/>
                </a:cubicBezTo>
                <a:cubicBezTo>
                  <a:pt x="645577" y="392793"/>
                  <a:pt x="646734" y="399734"/>
                  <a:pt x="647949" y="406676"/>
                </a:cubicBezTo>
                <a:cubicBezTo>
                  <a:pt x="648817" y="405837"/>
                  <a:pt x="649974" y="405345"/>
                  <a:pt x="651188" y="405287"/>
                </a:cubicBezTo>
                <a:cubicBezTo>
                  <a:pt x="653791" y="405287"/>
                  <a:pt x="654370" y="397710"/>
                  <a:pt x="654832" y="391636"/>
                </a:cubicBezTo>
                <a:cubicBezTo>
                  <a:pt x="654774" y="386488"/>
                  <a:pt x="655816" y="381380"/>
                  <a:pt x="657840" y="376654"/>
                </a:cubicBezTo>
                <a:cubicBezTo>
                  <a:pt x="659865" y="371523"/>
                  <a:pt x="660906" y="366040"/>
                  <a:pt x="660790" y="360516"/>
                </a:cubicBezTo>
                <a:cubicBezTo>
                  <a:pt x="661253" y="353517"/>
                  <a:pt x="661542" y="349236"/>
                  <a:pt x="664145" y="349236"/>
                </a:cubicBezTo>
                <a:cubicBezTo>
                  <a:pt x="666112" y="349456"/>
                  <a:pt x="668021" y="349843"/>
                  <a:pt x="669930" y="350393"/>
                </a:cubicBezTo>
                <a:cubicBezTo>
                  <a:pt x="673921" y="351475"/>
                  <a:pt x="678028" y="352175"/>
                  <a:pt x="682192" y="352475"/>
                </a:cubicBezTo>
                <a:cubicBezTo>
                  <a:pt x="684044" y="352475"/>
                  <a:pt x="684449" y="352071"/>
                  <a:pt x="684506" y="352013"/>
                </a:cubicBezTo>
                <a:lnTo>
                  <a:pt x="684506" y="351666"/>
                </a:lnTo>
                <a:cubicBezTo>
                  <a:pt x="684796" y="347107"/>
                  <a:pt x="686126" y="342682"/>
                  <a:pt x="688498" y="338766"/>
                </a:cubicBezTo>
                <a:cubicBezTo>
                  <a:pt x="691563" y="331940"/>
                  <a:pt x="695381" y="323438"/>
                  <a:pt x="694282" y="318231"/>
                </a:cubicBezTo>
                <a:cubicBezTo>
                  <a:pt x="693761" y="312146"/>
                  <a:pt x="694919" y="306032"/>
                  <a:pt x="697695" y="300589"/>
                </a:cubicBezTo>
                <a:cubicBezTo>
                  <a:pt x="700009" y="295539"/>
                  <a:pt x="701397" y="290107"/>
                  <a:pt x="701802" y="284566"/>
                </a:cubicBezTo>
                <a:cubicBezTo>
                  <a:pt x="701802" y="275138"/>
                  <a:pt x="708280" y="270799"/>
                  <a:pt x="714528" y="266576"/>
                </a:cubicBezTo>
                <a:cubicBezTo>
                  <a:pt x="716552" y="265200"/>
                  <a:pt x="718461" y="263713"/>
                  <a:pt x="720312" y="262123"/>
                </a:cubicBezTo>
                <a:cubicBezTo>
                  <a:pt x="721701" y="260966"/>
                  <a:pt x="734079" y="250554"/>
                  <a:pt x="740905" y="250554"/>
                </a:cubicBezTo>
                <a:cubicBezTo>
                  <a:pt x="742582" y="250432"/>
                  <a:pt x="744144" y="251416"/>
                  <a:pt x="744780" y="252983"/>
                </a:cubicBezTo>
                <a:cubicBezTo>
                  <a:pt x="746979" y="256026"/>
                  <a:pt x="750507" y="257877"/>
                  <a:pt x="754267" y="258016"/>
                </a:cubicBezTo>
                <a:cubicBezTo>
                  <a:pt x="755077" y="258016"/>
                  <a:pt x="755713" y="258016"/>
                  <a:pt x="755887" y="257553"/>
                </a:cubicBezTo>
                <a:cubicBezTo>
                  <a:pt x="756060" y="257090"/>
                  <a:pt x="755887" y="255933"/>
                  <a:pt x="754614" y="254024"/>
                </a:cubicBezTo>
                <a:cubicBezTo>
                  <a:pt x="751027" y="249680"/>
                  <a:pt x="749235" y="244087"/>
                  <a:pt x="749755" y="238464"/>
                </a:cubicBezTo>
                <a:cubicBezTo>
                  <a:pt x="750160" y="236659"/>
                  <a:pt x="751375" y="235132"/>
                  <a:pt x="753052" y="234300"/>
                </a:cubicBezTo>
                <a:cubicBezTo>
                  <a:pt x="755887" y="232911"/>
                  <a:pt x="757911" y="226606"/>
                  <a:pt x="758836" y="223251"/>
                </a:cubicBezTo>
                <a:cubicBezTo>
                  <a:pt x="755250" y="222557"/>
                  <a:pt x="744896" y="220012"/>
                  <a:pt x="742929" y="214054"/>
                </a:cubicBezTo>
                <a:cubicBezTo>
                  <a:pt x="741599" y="211034"/>
                  <a:pt x="739806" y="208246"/>
                  <a:pt x="737608" y="205782"/>
                </a:cubicBezTo>
                <a:cubicBezTo>
                  <a:pt x="734773" y="202983"/>
                  <a:pt x="732806" y="199361"/>
                  <a:pt x="732112" y="195428"/>
                </a:cubicBezTo>
                <a:cubicBezTo>
                  <a:pt x="732112" y="193982"/>
                  <a:pt x="731534" y="193404"/>
                  <a:pt x="730088" y="193404"/>
                </a:cubicBezTo>
                <a:cubicBezTo>
                  <a:pt x="726270" y="194005"/>
                  <a:pt x="722683" y="195758"/>
                  <a:pt x="719907" y="198436"/>
                </a:cubicBezTo>
                <a:cubicBezTo>
                  <a:pt x="718461" y="199599"/>
                  <a:pt x="716610" y="200194"/>
                  <a:pt x="714759" y="200113"/>
                </a:cubicBezTo>
                <a:cubicBezTo>
                  <a:pt x="712272" y="199998"/>
                  <a:pt x="709784" y="199570"/>
                  <a:pt x="707413" y="198841"/>
                </a:cubicBezTo>
                <a:cubicBezTo>
                  <a:pt x="704058" y="197869"/>
                  <a:pt x="700645" y="197308"/>
                  <a:pt x="697175" y="197163"/>
                </a:cubicBezTo>
                <a:cubicBezTo>
                  <a:pt x="693761" y="197140"/>
                  <a:pt x="690349" y="197997"/>
                  <a:pt x="687341" y="199651"/>
                </a:cubicBezTo>
                <a:cubicBezTo>
                  <a:pt x="682424" y="202369"/>
                  <a:pt x="677854" y="205672"/>
                  <a:pt x="673747" y="209484"/>
                </a:cubicBezTo>
                <a:cubicBezTo>
                  <a:pt x="669757" y="213013"/>
                  <a:pt x="666979" y="215269"/>
                  <a:pt x="662931" y="214864"/>
                </a:cubicBezTo>
                <a:cubicBezTo>
                  <a:pt x="659923" y="214343"/>
                  <a:pt x="659113" y="215616"/>
                  <a:pt x="657494" y="218855"/>
                </a:cubicBezTo>
                <a:cubicBezTo>
                  <a:pt x="656394" y="221238"/>
                  <a:pt x="654890" y="223425"/>
                  <a:pt x="653097" y="225333"/>
                </a:cubicBezTo>
                <a:cubicBezTo>
                  <a:pt x="651535" y="226953"/>
                  <a:pt x="649974" y="228631"/>
                  <a:pt x="648527" y="230250"/>
                </a:cubicBezTo>
                <a:cubicBezTo>
                  <a:pt x="644941" y="234300"/>
                  <a:pt x="642165" y="237481"/>
                  <a:pt x="639388" y="237481"/>
                </a:cubicBezTo>
                <a:cubicBezTo>
                  <a:pt x="634992" y="238528"/>
                  <a:pt x="630770" y="240142"/>
                  <a:pt x="626836" y="242282"/>
                </a:cubicBezTo>
                <a:cubicBezTo>
                  <a:pt x="628456" y="246042"/>
                  <a:pt x="633546" y="259115"/>
                  <a:pt x="629554" y="266056"/>
                </a:cubicBezTo>
                <a:cubicBezTo>
                  <a:pt x="627935" y="268856"/>
                  <a:pt x="624811" y="270435"/>
                  <a:pt x="621572" y="270105"/>
                </a:cubicBezTo>
                <a:cubicBezTo>
                  <a:pt x="619663" y="270059"/>
                  <a:pt x="617697" y="269903"/>
                  <a:pt x="615787" y="269642"/>
                </a:cubicBezTo>
                <a:cubicBezTo>
                  <a:pt x="611218" y="268798"/>
                  <a:pt x="606475" y="268798"/>
                  <a:pt x="601905" y="269642"/>
                </a:cubicBezTo>
                <a:cubicBezTo>
                  <a:pt x="599880" y="270203"/>
                  <a:pt x="597798" y="270499"/>
                  <a:pt x="595716" y="270510"/>
                </a:cubicBezTo>
                <a:cubicBezTo>
                  <a:pt x="592419" y="270406"/>
                  <a:pt x="589179" y="269781"/>
                  <a:pt x="586055" y="268659"/>
                </a:cubicBezTo>
                <a:cubicBezTo>
                  <a:pt x="582874" y="267346"/>
                  <a:pt x="579346" y="266947"/>
                  <a:pt x="575933" y="267502"/>
                </a:cubicBezTo>
                <a:cubicBezTo>
                  <a:pt x="574834" y="267797"/>
                  <a:pt x="573734" y="267953"/>
                  <a:pt x="572578" y="267965"/>
                </a:cubicBezTo>
                <a:cubicBezTo>
                  <a:pt x="569165" y="267757"/>
                  <a:pt x="565810" y="266704"/>
                  <a:pt x="562918" y="264899"/>
                </a:cubicBezTo>
                <a:cubicBezTo>
                  <a:pt x="561356" y="263812"/>
                  <a:pt x="559563" y="263210"/>
                  <a:pt x="557654" y="263164"/>
                </a:cubicBezTo>
                <a:cubicBezTo>
                  <a:pt x="555687" y="263684"/>
                  <a:pt x="553432" y="262470"/>
                  <a:pt x="551407" y="259925"/>
                </a:cubicBezTo>
                <a:cubicBezTo>
                  <a:pt x="547878" y="255216"/>
                  <a:pt x="546490" y="249218"/>
                  <a:pt x="547647" y="243439"/>
                </a:cubicBezTo>
                <a:cubicBezTo>
                  <a:pt x="548630" y="238996"/>
                  <a:pt x="547705" y="234352"/>
                  <a:pt x="545160" y="230597"/>
                </a:cubicBezTo>
                <a:cubicBezTo>
                  <a:pt x="543656" y="228689"/>
                  <a:pt x="542325" y="228457"/>
                  <a:pt x="541053" y="230597"/>
                </a:cubicBezTo>
                <a:cubicBezTo>
                  <a:pt x="539549" y="232778"/>
                  <a:pt x="537409" y="234479"/>
                  <a:pt x="534979" y="235514"/>
                </a:cubicBezTo>
                <a:cubicBezTo>
                  <a:pt x="531797" y="236486"/>
                  <a:pt x="529889" y="239661"/>
                  <a:pt x="530467" y="242918"/>
                </a:cubicBezTo>
                <a:cubicBezTo>
                  <a:pt x="530583" y="246047"/>
                  <a:pt x="530930" y="249160"/>
                  <a:pt x="531509" y="252231"/>
                </a:cubicBezTo>
                <a:cubicBezTo>
                  <a:pt x="532665" y="259462"/>
                  <a:pt x="533880" y="266924"/>
                  <a:pt x="529021" y="271783"/>
                </a:cubicBezTo>
                <a:cubicBezTo>
                  <a:pt x="524162" y="276641"/>
                  <a:pt x="507966" y="278955"/>
                  <a:pt x="495240" y="278955"/>
                </a:cubicBezTo>
                <a:cubicBezTo>
                  <a:pt x="489918" y="279401"/>
                  <a:pt x="484539" y="278359"/>
                  <a:pt x="479795" y="275947"/>
                </a:cubicBezTo>
                <a:cubicBezTo>
                  <a:pt x="474358" y="272997"/>
                  <a:pt x="468516" y="270892"/>
                  <a:pt x="462442" y="269700"/>
                </a:cubicBezTo>
                <a:cubicBezTo>
                  <a:pt x="451394" y="266750"/>
                  <a:pt x="444568" y="264725"/>
                  <a:pt x="443874" y="261313"/>
                </a:cubicBezTo>
                <a:cubicBezTo>
                  <a:pt x="442833" y="256165"/>
                  <a:pt x="434561" y="247141"/>
                  <a:pt x="429876" y="247141"/>
                </a:cubicBezTo>
                <a:cubicBezTo>
                  <a:pt x="426753" y="247500"/>
                  <a:pt x="423745" y="248223"/>
                  <a:pt x="420794" y="249281"/>
                </a:cubicBezTo>
                <a:cubicBezTo>
                  <a:pt x="416398" y="250831"/>
                  <a:pt x="411886" y="251821"/>
                  <a:pt x="407259" y="252231"/>
                </a:cubicBezTo>
                <a:cubicBezTo>
                  <a:pt x="405871" y="252312"/>
                  <a:pt x="404483" y="251948"/>
                  <a:pt x="403268" y="251190"/>
                </a:cubicBezTo>
                <a:lnTo>
                  <a:pt x="401821" y="250033"/>
                </a:lnTo>
                <a:cubicBezTo>
                  <a:pt x="395806" y="244827"/>
                  <a:pt x="388749" y="240894"/>
                  <a:pt x="381171" y="238464"/>
                </a:cubicBezTo>
                <a:cubicBezTo>
                  <a:pt x="373593" y="237365"/>
                  <a:pt x="360984" y="231870"/>
                  <a:pt x="359711" y="226895"/>
                </a:cubicBezTo>
                <a:cubicBezTo>
                  <a:pt x="359306" y="225218"/>
                  <a:pt x="353926" y="223367"/>
                  <a:pt x="349704" y="222036"/>
                </a:cubicBezTo>
                <a:cubicBezTo>
                  <a:pt x="345423" y="221082"/>
                  <a:pt x="341432" y="219098"/>
                  <a:pt x="338135" y="216252"/>
                </a:cubicBezTo>
                <a:cubicBezTo>
                  <a:pt x="336342" y="214499"/>
                  <a:pt x="334202" y="213157"/>
                  <a:pt x="331830" y="212318"/>
                </a:cubicBezTo>
                <a:cubicBezTo>
                  <a:pt x="327954" y="210525"/>
                  <a:pt x="323905" y="208674"/>
                  <a:pt x="323905" y="204799"/>
                </a:cubicBezTo>
                <a:cubicBezTo>
                  <a:pt x="324137" y="201508"/>
                  <a:pt x="324831" y="198257"/>
                  <a:pt x="325930" y="195139"/>
                </a:cubicBezTo>
                <a:cubicBezTo>
                  <a:pt x="327144" y="191651"/>
                  <a:pt x="327896" y="188013"/>
                  <a:pt x="328186" y="184322"/>
                </a:cubicBezTo>
                <a:cubicBezTo>
                  <a:pt x="328186" y="180215"/>
                  <a:pt x="332350" y="176455"/>
                  <a:pt x="336052" y="173158"/>
                </a:cubicBezTo>
                <a:cubicBezTo>
                  <a:pt x="338424" y="170960"/>
                  <a:pt x="341143" y="168530"/>
                  <a:pt x="341143" y="167374"/>
                </a:cubicBezTo>
                <a:cubicBezTo>
                  <a:pt x="341143" y="164829"/>
                  <a:pt x="334491" y="159449"/>
                  <a:pt x="329574" y="156441"/>
                </a:cubicBezTo>
                <a:lnTo>
                  <a:pt x="329169" y="156036"/>
                </a:lnTo>
                <a:cubicBezTo>
                  <a:pt x="329169" y="156036"/>
                  <a:pt x="321881" y="142616"/>
                  <a:pt x="314014" y="142616"/>
                </a:cubicBezTo>
                <a:cubicBezTo>
                  <a:pt x="308924" y="142616"/>
                  <a:pt x="304701" y="138105"/>
                  <a:pt x="300652" y="133708"/>
                </a:cubicBezTo>
                <a:cubicBezTo>
                  <a:pt x="296603" y="129312"/>
                  <a:pt x="294289" y="126883"/>
                  <a:pt x="291165" y="126420"/>
                </a:cubicBezTo>
                <a:cubicBezTo>
                  <a:pt x="285844" y="125668"/>
                  <a:pt x="284745" y="119536"/>
                  <a:pt x="283646" y="113578"/>
                </a:cubicBezTo>
                <a:cubicBezTo>
                  <a:pt x="283356" y="110362"/>
                  <a:pt x="282373" y="107244"/>
                  <a:pt x="280754" y="104439"/>
                </a:cubicBezTo>
                <a:cubicBezTo>
                  <a:pt x="278324" y="100847"/>
                  <a:pt x="277919" y="96260"/>
                  <a:pt x="279654" y="92292"/>
                </a:cubicBezTo>
                <a:cubicBezTo>
                  <a:pt x="281506" y="88532"/>
                  <a:pt x="285439" y="87896"/>
                  <a:pt x="288851" y="91019"/>
                </a:cubicBezTo>
                <a:cubicBezTo>
                  <a:pt x="290703" y="92552"/>
                  <a:pt x="293017" y="93373"/>
                  <a:pt x="295388" y="93333"/>
                </a:cubicBezTo>
                <a:cubicBezTo>
                  <a:pt x="298627" y="93449"/>
                  <a:pt x="301693" y="91927"/>
                  <a:pt x="303602" y="89284"/>
                </a:cubicBezTo>
                <a:cubicBezTo>
                  <a:pt x="304816" y="87248"/>
                  <a:pt x="304816" y="84726"/>
                  <a:pt x="303602" y="82690"/>
                </a:cubicBezTo>
                <a:cubicBezTo>
                  <a:pt x="301230" y="78733"/>
                  <a:pt x="298627" y="74962"/>
                  <a:pt x="295677" y="71410"/>
                </a:cubicBezTo>
                <a:cubicBezTo>
                  <a:pt x="292091" y="67853"/>
                  <a:pt x="289545" y="63370"/>
                  <a:pt x="288331" y="58453"/>
                </a:cubicBezTo>
                <a:cubicBezTo>
                  <a:pt x="288505" y="56289"/>
                  <a:pt x="288851" y="54138"/>
                  <a:pt x="289372" y="52032"/>
                </a:cubicBezTo>
                <a:cubicBezTo>
                  <a:pt x="290761" y="45380"/>
                  <a:pt x="292669" y="36241"/>
                  <a:pt x="287868" y="33522"/>
                </a:cubicBezTo>
                <a:cubicBezTo>
                  <a:pt x="280060" y="29565"/>
                  <a:pt x="274101" y="22780"/>
                  <a:pt x="271151" y="14549"/>
                </a:cubicBezTo>
                <a:cubicBezTo>
                  <a:pt x="269127" y="9563"/>
                  <a:pt x="265656" y="5317"/>
                  <a:pt x="261144" y="2402"/>
                </a:cubicBezTo>
                <a:lnTo>
                  <a:pt x="251484" y="3385"/>
                </a:lnTo>
                <a:cubicBezTo>
                  <a:pt x="250096" y="6914"/>
                  <a:pt x="244601" y="20738"/>
                  <a:pt x="240378" y="22763"/>
                </a:cubicBezTo>
                <a:cubicBezTo>
                  <a:pt x="237949" y="23804"/>
                  <a:pt x="235403" y="24695"/>
                  <a:pt x="232858" y="25424"/>
                </a:cubicBezTo>
                <a:cubicBezTo>
                  <a:pt x="226090" y="27211"/>
                  <a:pt x="219612" y="29918"/>
                  <a:pt x="213597" y="33464"/>
                </a:cubicBezTo>
                <a:cubicBezTo>
                  <a:pt x="211861" y="34569"/>
                  <a:pt x="209837" y="35095"/>
                  <a:pt x="207812" y="34968"/>
                </a:cubicBezTo>
                <a:cubicBezTo>
                  <a:pt x="201565" y="34361"/>
                  <a:pt x="195433" y="32857"/>
                  <a:pt x="189649" y="30514"/>
                </a:cubicBezTo>
                <a:cubicBezTo>
                  <a:pt x="183980" y="28235"/>
                  <a:pt x="177964" y="26760"/>
                  <a:pt x="171890" y="26118"/>
                </a:cubicBezTo>
                <a:cubicBezTo>
                  <a:pt x="165586" y="25962"/>
                  <a:pt x="159859" y="29681"/>
                  <a:pt x="157429" y="35489"/>
                </a:cubicBezTo>
                <a:cubicBezTo>
                  <a:pt x="156851" y="36784"/>
                  <a:pt x="157256" y="38311"/>
                  <a:pt x="158413" y="39133"/>
                </a:cubicBezTo>
                <a:cubicBezTo>
                  <a:pt x="164197" y="42546"/>
                  <a:pt x="163445" y="62849"/>
                  <a:pt x="163272" y="65857"/>
                </a:cubicBezTo>
                <a:cubicBezTo>
                  <a:pt x="165007" y="73261"/>
                  <a:pt x="171138" y="92407"/>
                  <a:pt x="178080" y="90788"/>
                </a:cubicBezTo>
                <a:cubicBezTo>
                  <a:pt x="178947" y="90603"/>
                  <a:pt x="179873" y="90504"/>
                  <a:pt x="180799" y="90499"/>
                </a:cubicBezTo>
                <a:cubicBezTo>
                  <a:pt x="187219" y="90383"/>
                  <a:pt x="193004" y="94258"/>
                  <a:pt x="195375" y="100216"/>
                </a:cubicBezTo>
                <a:cubicBezTo>
                  <a:pt x="195375" y="101258"/>
                  <a:pt x="195375" y="103860"/>
                  <a:pt x="191558" y="104844"/>
                </a:cubicBezTo>
                <a:cubicBezTo>
                  <a:pt x="183401" y="106868"/>
                  <a:pt x="179410" y="116413"/>
                  <a:pt x="178369" y="124338"/>
                </a:cubicBezTo>
                <a:cubicBezTo>
                  <a:pt x="178080" y="126680"/>
                  <a:pt x="177964" y="129040"/>
                  <a:pt x="178022" y="131394"/>
                </a:cubicBezTo>
                <a:cubicBezTo>
                  <a:pt x="178022" y="138047"/>
                  <a:pt x="178022" y="144872"/>
                  <a:pt x="172238" y="145855"/>
                </a:cubicBezTo>
                <a:cubicBezTo>
                  <a:pt x="165643" y="145763"/>
                  <a:pt x="160206" y="151056"/>
                  <a:pt x="160091" y="157667"/>
                </a:cubicBezTo>
                <a:cubicBezTo>
                  <a:pt x="160091" y="158379"/>
                  <a:pt x="160148" y="159090"/>
                  <a:pt x="160264" y="159796"/>
                </a:cubicBezTo>
                <a:cubicBezTo>
                  <a:pt x="160264" y="168299"/>
                  <a:pt x="153727" y="169919"/>
                  <a:pt x="148695" y="171365"/>
                </a:cubicBezTo>
                <a:cubicBezTo>
                  <a:pt x="146439" y="171943"/>
                  <a:pt x="144241" y="172464"/>
                  <a:pt x="143720" y="173505"/>
                </a:cubicBezTo>
                <a:cubicBezTo>
                  <a:pt x="143200" y="174546"/>
                  <a:pt x="141638" y="179290"/>
                  <a:pt x="140250" y="183801"/>
                </a:cubicBezTo>
                <a:cubicBezTo>
                  <a:pt x="138688" y="190523"/>
                  <a:pt x="136201" y="196973"/>
                  <a:pt x="132730" y="202948"/>
                </a:cubicBezTo>
                <a:cubicBezTo>
                  <a:pt x="130474" y="204475"/>
                  <a:pt x="127987" y="205556"/>
                  <a:pt x="125326" y="206129"/>
                </a:cubicBezTo>
                <a:cubicBezTo>
                  <a:pt x="118963" y="208096"/>
                  <a:pt x="110980" y="210525"/>
                  <a:pt x="110402" y="216310"/>
                </a:cubicBezTo>
                <a:cubicBezTo>
                  <a:pt x="109303" y="225796"/>
                  <a:pt x="100453" y="239100"/>
                  <a:pt x="93916" y="237770"/>
                </a:cubicBezTo>
                <a:lnTo>
                  <a:pt x="90388" y="236902"/>
                </a:lnTo>
                <a:cubicBezTo>
                  <a:pt x="87785" y="236075"/>
                  <a:pt x="85066" y="235566"/>
                  <a:pt x="82290" y="235398"/>
                </a:cubicBezTo>
                <a:cubicBezTo>
                  <a:pt x="80034" y="235126"/>
                  <a:pt x="77893" y="236283"/>
                  <a:pt x="76853" y="238291"/>
                </a:cubicBezTo>
                <a:cubicBezTo>
                  <a:pt x="75985" y="239957"/>
                  <a:pt x="74191" y="240957"/>
                  <a:pt x="72341" y="240836"/>
                </a:cubicBezTo>
                <a:cubicBezTo>
                  <a:pt x="69217" y="240500"/>
                  <a:pt x="66209" y="239621"/>
                  <a:pt x="63432" y="238233"/>
                </a:cubicBezTo>
                <a:cubicBezTo>
                  <a:pt x="61408" y="237220"/>
                  <a:pt x="59268" y="236515"/>
                  <a:pt x="57012" y="236150"/>
                </a:cubicBezTo>
                <a:cubicBezTo>
                  <a:pt x="56722" y="236127"/>
                  <a:pt x="56375" y="236232"/>
                  <a:pt x="56144" y="236440"/>
                </a:cubicBezTo>
                <a:lnTo>
                  <a:pt x="53773" y="238638"/>
                </a:lnTo>
                <a:cubicBezTo>
                  <a:pt x="48393" y="243439"/>
                  <a:pt x="35956" y="254661"/>
                  <a:pt x="35956" y="261486"/>
                </a:cubicBezTo>
                <a:cubicBezTo>
                  <a:pt x="35956" y="264841"/>
                  <a:pt x="39427" y="266692"/>
                  <a:pt x="43476" y="268890"/>
                </a:cubicBezTo>
                <a:cubicBezTo>
                  <a:pt x="47525" y="271089"/>
                  <a:pt x="53888" y="274675"/>
                  <a:pt x="53252" y="281038"/>
                </a:cubicBezTo>
                <a:cubicBezTo>
                  <a:pt x="53367" y="291253"/>
                  <a:pt x="57532" y="301000"/>
                  <a:pt x="64821" y="308167"/>
                </a:cubicBezTo>
                <a:cubicBezTo>
                  <a:pt x="70200" y="313546"/>
                  <a:pt x="79571" y="327024"/>
                  <a:pt x="74654" y="334370"/>
                </a:cubicBezTo>
                <a:cubicBezTo>
                  <a:pt x="71762" y="338951"/>
                  <a:pt x="66614" y="341589"/>
                  <a:pt x="61176" y="341254"/>
                </a:cubicBezTo>
                <a:cubicBezTo>
                  <a:pt x="58400" y="341201"/>
                  <a:pt x="55681" y="340854"/>
                  <a:pt x="53021" y="340213"/>
                </a:cubicBezTo>
                <a:cubicBezTo>
                  <a:pt x="50186" y="339553"/>
                  <a:pt x="47294" y="339755"/>
                  <a:pt x="44575" y="340791"/>
                </a:cubicBezTo>
                <a:cubicBezTo>
                  <a:pt x="41799" y="341774"/>
                  <a:pt x="38906" y="342266"/>
                  <a:pt x="35956" y="342237"/>
                </a:cubicBezTo>
                <a:cubicBezTo>
                  <a:pt x="33006" y="342202"/>
                  <a:pt x="30056" y="341896"/>
                  <a:pt x="27164" y="341312"/>
                </a:cubicBezTo>
                <a:cubicBezTo>
                  <a:pt x="25545" y="340999"/>
                  <a:pt x="23925" y="340843"/>
                  <a:pt x="22305" y="340849"/>
                </a:cubicBezTo>
                <a:cubicBezTo>
                  <a:pt x="13976" y="340849"/>
                  <a:pt x="10736" y="346112"/>
                  <a:pt x="7728" y="351666"/>
                </a:cubicBezTo>
                <a:cubicBezTo>
                  <a:pt x="6514" y="353979"/>
                  <a:pt x="5068" y="356166"/>
                  <a:pt x="3390" y="358202"/>
                </a:cubicBezTo>
                <a:lnTo>
                  <a:pt x="2407" y="359301"/>
                </a:lnTo>
                <a:cubicBezTo>
                  <a:pt x="5010" y="361730"/>
                  <a:pt x="7382" y="364403"/>
                  <a:pt x="9464" y="367284"/>
                </a:cubicBezTo>
                <a:cubicBezTo>
                  <a:pt x="13571" y="373600"/>
                  <a:pt x="19471" y="378569"/>
                  <a:pt x="26354" y="381571"/>
                </a:cubicBezTo>
                <a:cubicBezTo>
                  <a:pt x="28726" y="382456"/>
                  <a:pt x="31213" y="382907"/>
                  <a:pt x="33700" y="382901"/>
                </a:cubicBezTo>
                <a:cubicBezTo>
                  <a:pt x="38039" y="382722"/>
                  <a:pt x="42261" y="381820"/>
                  <a:pt x="46311" y="380241"/>
                </a:cubicBezTo>
                <a:cubicBezTo>
                  <a:pt x="48393" y="379431"/>
                  <a:pt x="50533" y="378904"/>
                  <a:pt x="52731" y="378679"/>
                </a:cubicBezTo>
                <a:cubicBezTo>
                  <a:pt x="55566" y="378679"/>
                  <a:pt x="56954" y="380530"/>
                  <a:pt x="56954" y="384463"/>
                </a:cubicBezTo>
                <a:cubicBezTo>
                  <a:pt x="56954" y="393082"/>
                  <a:pt x="40931" y="394818"/>
                  <a:pt x="29304" y="396032"/>
                </a:cubicBezTo>
                <a:cubicBezTo>
                  <a:pt x="25834" y="396200"/>
                  <a:pt x="22363" y="396761"/>
                  <a:pt x="19008" y="397710"/>
                </a:cubicBezTo>
                <a:cubicBezTo>
                  <a:pt x="20512" y="402973"/>
                  <a:pt x="54467" y="443985"/>
                  <a:pt x="73729" y="443985"/>
                </a:cubicBezTo>
                <a:cubicBezTo>
                  <a:pt x="74423" y="444049"/>
                  <a:pt x="75117" y="444049"/>
                  <a:pt x="75811" y="443985"/>
                </a:cubicBezTo>
                <a:cubicBezTo>
                  <a:pt x="91487" y="441093"/>
                  <a:pt x="103577" y="426632"/>
                  <a:pt x="104733" y="420211"/>
                </a:cubicBezTo>
                <a:cubicBezTo>
                  <a:pt x="104733" y="419343"/>
                  <a:pt x="104733" y="418244"/>
                  <a:pt x="104155" y="417782"/>
                </a:cubicBezTo>
                <a:cubicBezTo>
                  <a:pt x="102073" y="416260"/>
                  <a:pt x="101263" y="413547"/>
                  <a:pt x="102131" y="411129"/>
                </a:cubicBezTo>
                <a:cubicBezTo>
                  <a:pt x="103577" y="405461"/>
                  <a:pt x="108088" y="400428"/>
                  <a:pt x="112137" y="40042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2" name="Forma libre: forma 321">
            <a:extLst>
              <a:ext uri="{FF2B5EF4-FFF2-40B4-BE49-F238E27FC236}">
                <a16:creationId xmlns:a16="http://schemas.microsoft.com/office/drawing/2014/main" id="{5AAF5366-A300-4B03-F13A-2A51020A9061}"/>
              </a:ext>
            </a:extLst>
          </p:cNvPr>
          <p:cNvSpPr/>
          <p:nvPr/>
        </p:nvSpPr>
        <p:spPr>
          <a:xfrm>
            <a:off x="8575811" y="2903801"/>
            <a:ext cx="859974" cy="368802"/>
          </a:xfrm>
          <a:custGeom>
            <a:avLst/>
            <a:gdLst>
              <a:gd name="connsiteX0" fmla="*/ 443166 w 859974"/>
              <a:gd name="connsiteY0" fmla="*/ 368630 h 368802"/>
              <a:gd name="connsiteX1" fmla="*/ 441489 w 859974"/>
              <a:gd name="connsiteY1" fmla="*/ 368630 h 368802"/>
              <a:gd name="connsiteX2" fmla="*/ 432928 w 859974"/>
              <a:gd name="connsiteY2" fmla="*/ 362846 h 368802"/>
              <a:gd name="connsiteX3" fmla="*/ 423210 w 859974"/>
              <a:gd name="connsiteY3" fmla="*/ 357698 h 368802"/>
              <a:gd name="connsiteX4" fmla="*/ 420722 w 859974"/>
              <a:gd name="connsiteY4" fmla="*/ 357698 h 368802"/>
              <a:gd name="connsiteX5" fmla="*/ 414533 w 859974"/>
              <a:gd name="connsiteY5" fmla="*/ 358161 h 368802"/>
              <a:gd name="connsiteX6" fmla="*/ 391858 w 859974"/>
              <a:gd name="connsiteY6" fmla="*/ 350525 h 368802"/>
              <a:gd name="connsiteX7" fmla="*/ 385206 w 859974"/>
              <a:gd name="connsiteY7" fmla="*/ 348847 h 368802"/>
              <a:gd name="connsiteX8" fmla="*/ 381793 w 859974"/>
              <a:gd name="connsiteY8" fmla="*/ 348847 h 368802"/>
              <a:gd name="connsiteX9" fmla="*/ 377744 w 859974"/>
              <a:gd name="connsiteY9" fmla="*/ 348847 h 368802"/>
              <a:gd name="connsiteX10" fmla="*/ 361837 w 859974"/>
              <a:gd name="connsiteY10" fmla="*/ 343063 h 368802"/>
              <a:gd name="connsiteX11" fmla="*/ 323486 w 859974"/>
              <a:gd name="connsiteY11" fmla="*/ 333692 h 368802"/>
              <a:gd name="connsiteX12" fmla="*/ 313074 w 859974"/>
              <a:gd name="connsiteY12" fmla="*/ 332767 h 368802"/>
              <a:gd name="connsiteX13" fmla="*/ 282012 w 859974"/>
              <a:gd name="connsiteY13" fmla="*/ 331899 h 368802"/>
              <a:gd name="connsiteX14" fmla="*/ 247999 w 859974"/>
              <a:gd name="connsiteY14" fmla="*/ 330974 h 368802"/>
              <a:gd name="connsiteX15" fmla="*/ 231340 w 859974"/>
              <a:gd name="connsiteY15" fmla="*/ 330974 h 368802"/>
              <a:gd name="connsiteX16" fmla="*/ 223242 w 859974"/>
              <a:gd name="connsiteY16" fmla="*/ 331263 h 368802"/>
              <a:gd name="connsiteX17" fmla="*/ 211673 w 859974"/>
              <a:gd name="connsiteY17" fmla="*/ 326635 h 368802"/>
              <a:gd name="connsiteX18" fmla="*/ 206640 w 859974"/>
              <a:gd name="connsiteY18" fmla="*/ 318711 h 368802"/>
              <a:gd name="connsiteX19" fmla="*/ 195824 w 859974"/>
              <a:gd name="connsiteY19" fmla="*/ 298465 h 368802"/>
              <a:gd name="connsiteX20" fmla="*/ 175578 w 859974"/>
              <a:gd name="connsiteY20" fmla="*/ 276426 h 368802"/>
              <a:gd name="connsiteX21" fmla="*/ 165629 w 859974"/>
              <a:gd name="connsiteY21" fmla="*/ 269543 h 368802"/>
              <a:gd name="connsiteX22" fmla="*/ 158052 w 859974"/>
              <a:gd name="connsiteY22" fmla="*/ 264106 h 368802"/>
              <a:gd name="connsiteX23" fmla="*/ 153077 w 859974"/>
              <a:gd name="connsiteY23" fmla="*/ 260230 h 368802"/>
              <a:gd name="connsiteX24" fmla="*/ 137748 w 859974"/>
              <a:gd name="connsiteY24" fmla="*/ 251727 h 368802"/>
              <a:gd name="connsiteX25" fmla="*/ 75276 w 859974"/>
              <a:gd name="connsiteY25" fmla="*/ 236167 h 368802"/>
              <a:gd name="connsiteX26" fmla="*/ 77186 w 859974"/>
              <a:gd name="connsiteY26" fmla="*/ 222342 h 368802"/>
              <a:gd name="connsiteX27" fmla="*/ 81292 w 859974"/>
              <a:gd name="connsiteY27" fmla="*/ 213203 h 368802"/>
              <a:gd name="connsiteX28" fmla="*/ 83201 w 859974"/>
              <a:gd name="connsiteY28" fmla="*/ 200650 h 368802"/>
              <a:gd name="connsiteX29" fmla="*/ 83201 w 859974"/>
              <a:gd name="connsiteY29" fmla="*/ 186710 h 368802"/>
              <a:gd name="connsiteX30" fmla="*/ 68219 w 859974"/>
              <a:gd name="connsiteY30" fmla="*/ 165250 h 368802"/>
              <a:gd name="connsiteX31" fmla="*/ 45776 w 859974"/>
              <a:gd name="connsiteY31" fmla="*/ 147202 h 368802"/>
              <a:gd name="connsiteX32" fmla="*/ 20556 w 859974"/>
              <a:gd name="connsiteY32" fmla="*/ 133551 h 368802"/>
              <a:gd name="connsiteX33" fmla="*/ 14771 w 859974"/>
              <a:gd name="connsiteY33" fmla="*/ 129213 h 368802"/>
              <a:gd name="connsiteX34" fmla="*/ 889 w 859974"/>
              <a:gd name="connsiteY34" fmla="*/ 107695 h 368802"/>
              <a:gd name="connsiteX35" fmla="*/ 368 w 859974"/>
              <a:gd name="connsiteY35" fmla="*/ 105670 h 368802"/>
              <a:gd name="connsiteX36" fmla="*/ 21 w 859974"/>
              <a:gd name="connsiteY36" fmla="*/ 104571 h 368802"/>
              <a:gd name="connsiteX37" fmla="*/ 21 w 859974"/>
              <a:gd name="connsiteY37" fmla="*/ 103530 h 368802"/>
              <a:gd name="connsiteX38" fmla="*/ 1004 w 859974"/>
              <a:gd name="connsiteY38" fmla="*/ 103125 h 368802"/>
              <a:gd name="connsiteX39" fmla="*/ 2508 w 859974"/>
              <a:gd name="connsiteY39" fmla="*/ 103125 h 368802"/>
              <a:gd name="connsiteX40" fmla="*/ 4706 w 859974"/>
              <a:gd name="connsiteY40" fmla="*/ 102200 h 368802"/>
              <a:gd name="connsiteX41" fmla="*/ 24200 w 859974"/>
              <a:gd name="connsiteY41" fmla="*/ 94101 h 368802"/>
              <a:gd name="connsiteX42" fmla="*/ 48378 w 859974"/>
              <a:gd name="connsiteY42" fmla="*/ 83458 h 368802"/>
              <a:gd name="connsiteX43" fmla="*/ 61105 w 859974"/>
              <a:gd name="connsiteY43" fmla="*/ 75244 h 368802"/>
              <a:gd name="connsiteX44" fmla="*/ 69550 w 859974"/>
              <a:gd name="connsiteY44" fmla="*/ 71079 h 368802"/>
              <a:gd name="connsiteX45" fmla="*/ 78689 w 859974"/>
              <a:gd name="connsiteY45" fmla="*/ 65295 h 368802"/>
              <a:gd name="connsiteX46" fmla="*/ 87135 w 859974"/>
              <a:gd name="connsiteY46" fmla="*/ 59510 h 368802"/>
              <a:gd name="connsiteX47" fmla="*/ 98009 w 859974"/>
              <a:gd name="connsiteY47" fmla="*/ 54478 h 368802"/>
              <a:gd name="connsiteX48" fmla="*/ 105702 w 859974"/>
              <a:gd name="connsiteY48" fmla="*/ 51528 h 368802"/>
              <a:gd name="connsiteX49" fmla="*/ 119411 w 859974"/>
              <a:gd name="connsiteY49" fmla="*/ 46785 h 368802"/>
              <a:gd name="connsiteX50" fmla="*/ 126468 w 859974"/>
              <a:gd name="connsiteY50" fmla="*/ 47594 h 368802"/>
              <a:gd name="connsiteX51" fmla="*/ 162968 w 859974"/>
              <a:gd name="connsiteY51" fmla="*/ 54131 h 368802"/>
              <a:gd name="connsiteX52" fmla="*/ 164414 w 859974"/>
              <a:gd name="connsiteY52" fmla="*/ 54131 h 368802"/>
              <a:gd name="connsiteX53" fmla="*/ 169736 w 859974"/>
              <a:gd name="connsiteY53" fmla="*/ 62403 h 368802"/>
              <a:gd name="connsiteX54" fmla="*/ 173207 w 859974"/>
              <a:gd name="connsiteY54" fmla="*/ 69575 h 368802"/>
              <a:gd name="connsiteX55" fmla="*/ 180610 w 859974"/>
              <a:gd name="connsiteY55" fmla="*/ 73219 h 368802"/>
              <a:gd name="connsiteX56" fmla="*/ 193625 w 859974"/>
              <a:gd name="connsiteY56" fmla="*/ 79004 h 368802"/>
              <a:gd name="connsiteX57" fmla="*/ 194899 w 859974"/>
              <a:gd name="connsiteY57" fmla="*/ 78657 h 368802"/>
              <a:gd name="connsiteX58" fmla="*/ 208202 w 859974"/>
              <a:gd name="connsiteY58" fmla="*/ 74319 h 368802"/>
              <a:gd name="connsiteX59" fmla="*/ 217978 w 859974"/>
              <a:gd name="connsiteY59" fmla="*/ 76922 h 368802"/>
              <a:gd name="connsiteX60" fmla="*/ 221623 w 859974"/>
              <a:gd name="connsiteY60" fmla="*/ 79177 h 368802"/>
              <a:gd name="connsiteX61" fmla="*/ 235794 w 859974"/>
              <a:gd name="connsiteY61" fmla="*/ 82995 h 368802"/>
              <a:gd name="connsiteX62" fmla="*/ 250429 w 859974"/>
              <a:gd name="connsiteY62" fmla="*/ 75128 h 368802"/>
              <a:gd name="connsiteX63" fmla="*/ 258527 w 859974"/>
              <a:gd name="connsiteY63" fmla="*/ 71600 h 368802"/>
              <a:gd name="connsiteX64" fmla="*/ 259510 w 859974"/>
              <a:gd name="connsiteY64" fmla="*/ 56965 h 368802"/>
              <a:gd name="connsiteX65" fmla="*/ 249445 w 859974"/>
              <a:gd name="connsiteY65" fmla="*/ 33828 h 368802"/>
              <a:gd name="connsiteX66" fmla="*/ 255230 w 859974"/>
              <a:gd name="connsiteY66" fmla="*/ 24746 h 368802"/>
              <a:gd name="connsiteX67" fmla="*/ 260552 w 859974"/>
              <a:gd name="connsiteY67" fmla="*/ 19482 h 368802"/>
              <a:gd name="connsiteX68" fmla="*/ 270038 w 859974"/>
              <a:gd name="connsiteY68" fmla="*/ 12136 h 368802"/>
              <a:gd name="connsiteX69" fmla="*/ 275417 w 859974"/>
              <a:gd name="connsiteY69" fmla="*/ 9302 h 368802"/>
              <a:gd name="connsiteX70" fmla="*/ 277789 w 859974"/>
              <a:gd name="connsiteY70" fmla="*/ 5657 h 368802"/>
              <a:gd name="connsiteX71" fmla="*/ 284326 w 859974"/>
              <a:gd name="connsiteY71" fmla="*/ -127 h 368802"/>
              <a:gd name="connsiteX72" fmla="*/ 286176 w 859974"/>
              <a:gd name="connsiteY72" fmla="*/ 162 h 368802"/>
              <a:gd name="connsiteX73" fmla="*/ 306885 w 859974"/>
              <a:gd name="connsiteY73" fmla="*/ 8550 h 368802"/>
              <a:gd name="connsiteX74" fmla="*/ 323024 w 859974"/>
              <a:gd name="connsiteY74" fmla="*/ 12194 h 368802"/>
              <a:gd name="connsiteX75" fmla="*/ 343790 w 859974"/>
              <a:gd name="connsiteY75" fmla="*/ 20465 h 368802"/>
              <a:gd name="connsiteX76" fmla="*/ 354953 w 859974"/>
              <a:gd name="connsiteY76" fmla="*/ 23300 h 368802"/>
              <a:gd name="connsiteX77" fmla="*/ 370802 w 859974"/>
              <a:gd name="connsiteY77" fmla="*/ 29084 h 368802"/>
              <a:gd name="connsiteX78" fmla="*/ 372364 w 859974"/>
              <a:gd name="connsiteY78" fmla="*/ 40653 h 368802"/>
              <a:gd name="connsiteX79" fmla="*/ 373984 w 859974"/>
              <a:gd name="connsiteY79" fmla="*/ 52222 h 368802"/>
              <a:gd name="connsiteX80" fmla="*/ 388908 w 859974"/>
              <a:gd name="connsiteY80" fmla="*/ 65063 h 368802"/>
              <a:gd name="connsiteX81" fmla="*/ 389371 w 859974"/>
              <a:gd name="connsiteY81" fmla="*/ 65063 h 368802"/>
              <a:gd name="connsiteX82" fmla="*/ 391453 w 859974"/>
              <a:gd name="connsiteY82" fmla="*/ 64485 h 368802"/>
              <a:gd name="connsiteX83" fmla="*/ 402212 w 859974"/>
              <a:gd name="connsiteY83" fmla="*/ 68187 h 368802"/>
              <a:gd name="connsiteX84" fmla="*/ 414128 w 859974"/>
              <a:gd name="connsiteY84" fmla="*/ 72120 h 368802"/>
              <a:gd name="connsiteX85" fmla="*/ 423499 w 859974"/>
              <a:gd name="connsiteY85" fmla="*/ 67262 h 368802"/>
              <a:gd name="connsiteX86" fmla="*/ 433679 w 859974"/>
              <a:gd name="connsiteY86" fmla="*/ 62403 h 368802"/>
              <a:gd name="connsiteX87" fmla="*/ 443629 w 859974"/>
              <a:gd name="connsiteY87" fmla="*/ 60957 h 368802"/>
              <a:gd name="connsiteX88" fmla="*/ 458900 w 859974"/>
              <a:gd name="connsiteY88" fmla="*/ 59221 h 368802"/>
              <a:gd name="connsiteX89" fmla="*/ 467519 w 859974"/>
              <a:gd name="connsiteY89" fmla="*/ 61535 h 368802"/>
              <a:gd name="connsiteX90" fmla="*/ 482442 w 859974"/>
              <a:gd name="connsiteY90" fmla="*/ 65063 h 368802"/>
              <a:gd name="connsiteX91" fmla="*/ 483194 w 859974"/>
              <a:gd name="connsiteY91" fmla="*/ 65063 h 368802"/>
              <a:gd name="connsiteX92" fmla="*/ 486838 w 859974"/>
              <a:gd name="connsiteY92" fmla="*/ 64369 h 368802"/>
              <a:gd name="connsiteX93" fmla="*/ 505754 w 859974"/>
              <a:gd name="connsiteY93" fmla="*/ 71195 h 368802"/>
              <a:gd name="connsiteX94" fmla="*/ 516050 w 859974"/>
              <a:gd name="connsiteY94" fmla="*/ 75244 h 368802"/>
              <a:gd name="connsiteX95" fmla="*/ 528486 w 859974"/>
              <a:gd name="connsiteY95" fmla="*/ 82185 h 368802"/>
              <a:gd name="connsiteX96" fmla="*/ 534850 w 859974"/>
              <a:gd name="connsiteY96" fmla="*/ 89185 h 368802"/>
              <a:gd name="connsiteX97" fmla="*/ 542947 w 859974"/>
              <a:gd name="connsiteY97" fmla="*/ 96994 h 368802"/>
              <a:gd name="connsiteX98" fmla="*/ 561574 w 859974"/>
              <a:gd name="connsiteY98" fmla="*/ 100638 h 368802"/>
              <a:gd name="connsiteX99" fmla="*/ 577365 w 859974"/>
              <a:gd name="connsiteY99" fmla="*/ 103125 h 368802"/>
              <a:gd name="connsiteX100" fmla="*/ 595007 w 859974"/>
              <a:gd name="connsiteY100" fmla="*/ 105612 h 368802"/>
              <a:gd name="connsiteX101" fmla="*/ 612014 w 859974"/>
              <a:gd name="connsiteY101" fmla="*/ 103588 h 368802"/>
              <a:gd name="connsiteX102" fmla="*/ 628731 w 859974"/>
              <a:gd name="connsiteY102" fmla="*/ 98729 h 368802"/>
              <a:gd name="connsiteX103" fmla="*/ 647877 w 859974"/>
              <a:gd name="connsiteY103" fmla="*/ 94159 h 368802"/>
              <a:gd name="connsiteX104" fmla="*/ 659041 w 859974"/>
              <a:gd name="connsiteY104" fmla="*/ 90920 h 368802"/>
              <a:gd name="connsiteX105" fmla="*/ 669280 w 859974"/>
              <a:gd name="connsiteY105" fmla="*/ 86871 h 368802"/>
              <a:gd name="connsiteX106" fmla="*/ 682468 w 859974"/>
              <a:gd name="connsiteY106" fmla="*/ 76517 h 368802"/>
              <a:gd name="connsiteX107" fmla="*/ 691492 w 859974"/>
              <a:gd name="connsiteY107" fmla="*/ 71600 h 368802"/>
              <a:gd name="connsiteX108" fmla="*/ 708324 w 859974"/>
              <a:gd name="connsiteY108" fmla="*/ 68187 h 368802"/>
              <a:gd name="connsiteX109" fmla="*/ 727182 w 859974"/>
              <a:gd name="connsiteY109" fmla="*/ 73971 h 368802"/>
              <a:gd name="connsiteX110" fmla="*/ 741874 w 859974"/>
              <a:gd name="connsiteY110" fmla="*/ 79062 h 368802"/>
              <a:gd name="connsiteX111" fmla="*/ 749104 w 859974"/>
              <a:gd name="connsiteY111" fmla="*/ 78078 h 368802"/>
              <a:gd name="connsiteX112" fmla="*/ 769697 w 859974"/>
              <a:gd name="connsiteY112" fmla="*/ 79987 h 368802"/>
              <a:gd name="connsiteX113" fmla="*/ 770333 w 859974"/>
              <a:gd name="connsiteY113" fmla="*/ 80624 h 368802"/>
              <a:gd name="connsiteX114" fmla="*/ 770333 w 859974"/>
              <a:gd name="connsiteY114" fmla="*/ 81549 h 368802"/>
              <a:gd name="connsiteX115" fmla="*/ 748584 w 859974"/>
              <a:gd name="connsiteY115" fmla="*/ 125048 h 368802"/>
              <a:gd name="connsiteX116" fmla="*/ 746848 w 859974"/>
              <a:gd name="connsiteY116" fmla="*/ 138931 h 368802"/>
              <a:gd name="connsiteX117" fmla="*/ 745981 w 859974"/>
              <a:gd name="connsiteY117" fmla="*/ 139856 h 368802"/>
              <a:gd name="connsiteX118" fmla="*/ 739560 w 859974"/>
              <a:gd name="connsiteY118" fmla="*/ 144715 h 368802"/>
              <a:gd name="connsiteX119" fmla="*/ 743031 w 859974"/>
              <a:gd name="connsiteY119" fmla="*/ 152061 h 368802"/>
              <a:gd name="connsiteX120" fmla="*/ 751592 w 859974"/>
              <a:gd name="connsiteY120" fmla="*/ 156978 h 368802"/>
              <a:gd name="connsiteX121" fmla="*/ 756971 w 859974"/>
              <a:gd name="connsiteY121" fmla="*/ 155763 h 368802"/>
              <a:gd name="connsiteX122" fmla="*/ 770333 w 859974"/>
              <a:gd name="connsiteY122" fmla="*/ 153507 h 368802"/>
              <a:gd name="connsiteX123" fmla="*/ 787687 w 859974"/>
              <a:gd name="connsiteY123" fmla="*/ 158193 h 368802"/>
              <a:gd name="connsiteX124" fmla="*/ 793471 w 859974"/>
              <a:gd name="connsiteY124" fmla="*/ 160217 h 368802"/>
              <a:gd name="connsiteX125" fmla="*/ 796074 w 859974"/>
              <a:gd name="connsiteY125" fmla="*/ 157730 h 368802"/>
              <a:gd name="connsiteX126" fmla="*/ 811634 w 859974"/>
              <a:gd name="connsiteY126" fmla="*/ 147665 h 368802"/>
              <a:gd name="connsiteX127" fmla="*/ 824360 w 859974"/>
              <a:gd name="connsiteY127" fmla="*/ 153912 h 368802"/>
              <a:gd name="connsiteX128" fmla="*/ 838937 w 859974"/>
              <a:gd name="connsiteY128" fmla="*/ 167159 h 368802"/>
              <a:gd name="connsiteX129" fmla="*/ 859760 w 859974"/>
              <a:gd name="connsiteY129" fmla="*/ 191800 h 368802"/>
              <a:gd name="connsiteX130" fmla="*/ 846630 w 859974"/>
              <a:gd name="connsiteY130" fmla="*/ 199146 h 368802"/>
              <a:gd name="connsiteX131" fmla="*/ 846630 w 859974"/>
              <a:gd name="connsiteY131" fmla="*/ 199146 h 368802"/>
              <a:gd name="connsiteX132" fmla="*/ 830144 w 859974"/>
              <a:gd name="connsiteY132" fmla="*/ 196196 h 368802"/>
              <a:gd name="connsiteX133" fmla="*/ 825806 w 859974"/>
              <a:gd name="connsiteY133" fmla="*/ 195502 h 368802"/>
              <a:gd name="connsiteX134" fmla="*/ 810362 w 859974"/>
              <a:gd name="connsiteY134" fmla="*/ 199436 h 368802"/>
              <a:gd name="connsiteX135" fmla="*/ 795380 w 859974"/>
              <a:gd name="connsiteY135" fmla="*/ 203253 h 368802"/>
              <a:gd name="connsiteX136" fmla="*/ 762698 w 859974"/>
              <a:gd name="connsiteY136" fmla="*/ 217020 h 368802"/>
              <a:gd name="connsiteX137" fmla="*/ 755004 w 859974"/>
              <a:gd name="connsiteY137" fmla="*/ 227548 h 368802"/>
              <a:gd name="connsiteX138" fmla="*/ 737651 w 859974"/>
              <a:gd name="connsiteY138" fmla="*/ 240216 h 368802"/>
              <a:gd name="connsiteX139" fmla="*/ 730016 w 859974"/>
              <a:gd name="connsiteY139" fmla="*/ 240910 h 368802"/>
              <a:gd name="connsiteX140" fmla="*/ 697738 w 859974"/>
              <a:gd name="connsiteY140" fmla="*/ 252479 h 368802"/>
              <a:gd name="connsiteX141" fmla="*/ 672403 w 859974"/>
              <a:gd name="connsiteY141" fmla="*/ 260404 h 368802"/>
              <a:gd name="connsiteX142" fmla="*/ 652620 w 859974"/>
              <a:gd name="connsiteY142" fmla="*/ 256065 h 368802"/>
              <a:gd name="connsiteX143" fmla="*/ 642498 w 859974"/>
              <a:gd name="connsiteY143" fmla="*/ 253578 h 368802"/>
              <a:gd name="connsiteX144" fmla="*/ 627631 w 859974"/>
              <a:gd name="connsiteY144" fmla="*/ 262660 h 368802"/>
              <a:gd name="connsiteX145" fmla="*/ 629887 w 859974"/>
              <a:gd name="connsiteY145" fmla="*/ 277815 h 368802"/>
              <a:gd name="connsiteX146" fmla="*/ 634862 w 859974"/>
              <a:gd name="connsiteY146" fmla="*/ 293895 h 368802"/>
              <a:gd name="connsiteX147" fmla="*/ 620517 w 859974"/>
              <a:gd name="connsiteY147" fmla="*/ 308067 h 368802"/>
              <a:gd name="connsiteX148" fmla="*/ 601081 w 859974"/>
              <a:gd name="connsiteY148" fmla="*/ 320909 h 368802"/>
              <a:gd name="connsiteX149" fmla="*/ 550872 w 859974"/>
              <a:gd name="connsiteY149" fmla="*/ 342427 h 368802"/>
              <a:gd name="connsiteX150" fmla="*/ 545087 w 859974"/>
              <a:gd name="connsiteY150" fmla="*/ 341443 h 368802"/>
              <a:gd name="connsiteX151" fmla="*/ 518248 w 859974"/>
              <a:gd name="connsiteY151" fmla="*/ 338493 h 368802"/>
              <a:gd name="connsiteX152" fmla="*/ 490135 w 859974"/>
              <a:gd name="connsiteY152" fmla="*/ 344278 h 368802"/>
              <a:gd name="connsiteX153" fmla="*/ 464684 w 859974"/>
              <a:gd name="connsiteY153" fmla="*/ 358970 h 368802"/>
              <a:gd name="connsiteX154" fmla="*/ 443166 w 859974"/>
              <a:gd name="connsiteY154" fmla="*/ 368630 h 368802"/>
              <a:gd name="connsiteX155" fmla="*/ 423210 w 859974"/>
              <a:gd name="connsiteY155" fmla="*/ 355442 h 368802"/>
              <a:gd name="connsiteX156" fmla="*/ 434779 w 859974"/>
              <a:gd name="connsiteY156" fmla="*/ 361226 h 368802"/>
              <a:gd name="connsiteX157" fmla="*/ 442125 w 859974"/>
              <a:gd name="connsiteY157" fmla="*/ 366143 h 368802"/>
              <a:gd name="connsiteX158" fmla="*/ 443339 w 859974"/>
              <a:gd name="connsiteY158" fmla="*/ 366143 h 368802"/>
              <a:gd name="connsiteX159" fmla="*/ 463180 w 859974"/>
              <a:gd name="connsiteY159" fmla="*/ 356252 h 368802"/>
              <a:gd name="connsiteX160" fmla="*/ 488921 w 859974"/>
              <a:gd name="connsiteY160" fmla="*/ 341443 h 368802"/>
              <a:gd name="connsiteX161" fmla="*/ 517843 w 859974"/>
              <a:gd name="connsiteY161" fmla="*/ 335659 h 368802"/>
              <a:gd name="connsiteX162" fmla="*/ 545087 w 859974"/>
              <a:gd name="connsiteY162" fmla="*/ 338609 h 368802"/>
              <a:gd name="connsiteX163" fmla="*/ 550872 w 859974"/>
              <a:gd name="connsiteY163" fmla="*/ 339592 h 368802"/>
              <a:gd name="connsiteX164" fmla="*/ 554632 w 859974"/>
              <a:gd name="connsiteY164" fmla="*/ 339882 h 368802"/>
              <a:gd name="connsiteX165" fmla="*/ 599114 w 859974"/>
              <a:gd name="connsiteY165" fmla="*/ 318826 h 368802"/>
              <a:gd name="connsiteX166" fmla="*/ 619302 w 859974"/>
              <a:gd name="connsiteY166" fmla="*/ 305407 h 368802"/>
              <a:gd name="connsiteX167" fmla="*/ 632317 w 859974"/>
              <a:gd name="connsiteY167" fmla="*/ 293086 h 368802"/>
              <a:gd name="connsiteX168" fmla="*/ 627689 w 859974"/>
              <a:gd name="connsiteY168" fmla="*/ 278451 h 368802"/>
              <a:gd name="connsiteX169" fmla="*/ 625433 w 859974"/>
              <a:gd name="connsiteY169" fmla="*/ 261098 h 368802"/>
              <a:gd name="connsiteX170" fmla="*/ 642208 w 859974"/>
              <a:gd name="connsiteY170" fmla="*/ 250917 h 368802"/>
              <a:gd name="connsiteX171" fmla="*/ 653314 w 859974"/>
              <a:gd name="connsiteY171" fmla="*/ 253636 h 368802"/>
              <a:gd name="connsiteX172" fmla="*/ 672114 w 859974"/>
              <a:gd name="connsiteY172" fmla="*/ 257743 h 368802"/>
              <a:gd name="connsiteX173" fmla="*/ 696119 w 859974"/>
              <a:gd name="connsiteY173" fmla="*/ 250223 h 368802"/>
              <a:gd name="connsiteX174" fmla="*/ 729553 w 859974"/>
              <a:gd name="connsiteY174" fmla="*/ 238365 h 368802"/>
              <a:gd name="connsiteX175" fmla="*/ 737131 w 859974"/>
              <a:gd name="connsiteY175" fmla="*/ 237671 h 368802"/>
              <a:gd name="connsiteX176" fmla="*/ 753038 w 859974"/>
              <a:gd name="connsiteY176" fmla="*/ 226102 h 368802"/>
              <a:gd name="connsiteX177" fmla="*/ 761078 w 859974"/>
              <a:gd name="connsiteY177" fmla="*/ 215112 h 368802"/>
              <a:gd name="connsiteX178" fmla="*/ 795380 w 859974"/>
              <a:gd name="connsiteY178" fmla="*/ 200708 h 368802"/>
              <a:gd name="connsiteX179" fmla="*/ 809610 w 859974"/>
              <a:gd name="connsiteY179" fmla="*/ 197006 h 368802"/>
              <a:gd name="connsiteX180" fmla="*/ 825806 w 859974"/>
              <a:gd name="connsiteY180" fmla="*/ 192957 h 368802"/>
              <a:gd name="connsiteX181" fmla="*/ 830896 w 859974"/>
              <a:gd name="connsiteY181" fmla="*/ 193767 h 368802"/>
              <a:gd name="connsiteX182" fmla="*/ 846630 w 859974"/>
              <a:gd name="connsiteY182" fmla="*/ 196601 h 368802"/>
              <a:gd name="connsiteX183" fmla="*/ 857562 w 859974"/>
              <a:gd name="connsiteY183" fmla="*/ 190817 h 368802"/>
              <a:gd name="connsiteX184" fmla="*/ 837490 w 859974"/>
              <a:gd name="connsiteY184" fmla="*/ 168373 h 368802"/>
              <a:gd name="connsiteX185" fmla="*/ 822625 w 859974"/>
              <a:gd name="connsiteY185" fmla="*/ 154838 h 368802"/>
              <a:gd name="connsiteX186" fmla="*/ 811634 w 859974"/>
              <a:gd name="connsiteY186" fmla="*/ 149400 h 368802"/>
              <a:gd name="connsiteX187" fmla="*/ 798156 w 859974"/>
              <a:gd name="connsiteY187" fmla="*/ 158077 h 368802"/>
              <a:gd name="connsiteX188" fmla="*/ 793471 w 859974"/>
              <a:gd name="connsiteY188" fmla="*/ 161953 h 368802"/>
              <a:gd name="connsiteX189" fmla="*/ 786993 w 859974"/>
              <a:gd name="connsiteY189" fmla="*/ 159697 h 368802"/>
              <a:gd name="connsiteX190" fmla="*/ 770680 w 859974"/>
              <a:gd name="connsiteY190" fmla="*/ 155243 h 368802"/>
              <a:gd name="connsiteX191" fmla="*/ 757955 w 859974"/>
              <a:gd name="connsiteY191" fmla="*/ 157441 h 368802"/>
              <a:gd name="connsiteX192" fmla="*/ 752170 w 859974"/>
              <a:gd name="connsiteY192" fmla="*/ 158713 h 368802"/>
              <a:gd name="connsiteX193" fmla="*/ 741990 w 859974"/>
              <a:gd name="connsiteY193" fmla="*/ 152929 h 368802"/>
              <a:gd name="connsiteX194" fmla="*/ 737941 w 859974"/>
              <a:gd name="connsiteY194" fmla="*/ 143327 h 368802"/>
              <a:gd name="connsiteX195" fmla="*/ 745287 w 859974"/>
              <a:gd name="connsiteY195" fmla="*/ 137137 h 368802"/>
              <a:gd name="connsiteX196" fmla="*/ 746906 w 859974"/>
              <a:gd name="connsiteY196" fmla="*/ 123833 h 368802"/>
              <a:gd name="connsiteX197" fmla="*/ 746906 w 859974"/>
              <a:gd name="connsiteY197" fmla="*/ 123486 h 368802"/>
              <a:gd name="connsiteX198" fmla="*/ 768251 w 859974"/>
              <a:gd name="connsiteY198" fmla="*/ 80855 h 368802"/>
              <a:gd name="connsiteX199" fmla="*/ 755756 w 859974"/>
              <a:gd name="connsiteY199" fmla="*/ 78715 h 368802"/>
              <a:gd name="connsiteX200" fmla="*/ 750435 w 859974"/>
              <a:gd name="connsiteY200" fmla="*/ 79409 h 368802"/>
              <a:gd name="connsiteX201" fmla="*/ 725504 w 859974"/>
              <a:gd name="connsiteY201" fmla="*/ 73624 h 368802"/>
              <a:gd name="connsiteX202" fmla="*/ 708845 w 859974"/>
              <a:gd name="connsiteY202" fmla="*/ 69633 h 368802"/>
              <a:gd name="connsiteX203" fmla="*/ 693342 w 859974"/>
              <a:gd name="connsiteY203" fmla="*/ 72583 h 368802"/>
              <a:gd name="connsiteX204" fmla="*/ 683972 w 859974"/>
              <a:gd name="connsiteY204" fmla="*/ 77731 h 368802"/>
              <a:gd name="connsiteX205" fmla="*/ 671998 w 859974"/>
              <a:gd name="connsiteY205" fmla="*/ 86350 h 368802"/>
              <a:gd name="connsiteX206" fmla="*/ 659909 w 859974"/>
              <a:gd name="connsiteY206" fmla="*/ 92134 h 368802"/>
              <a:gd name="connsiteX207" fmla="*/ 649728 w 859974"/>
              <a:gd name="connsiteY207" fmla="*/ 95027 h 368802"/>
              <a:gd name="connsiteX208" fmla="*/ 629598 w 859974"/>
              <a:gd name="connsiteY208" fmla="*/ 100001 h 368802"/>
              <a:gd name="connsiteX209" fmla="*/ 614558 w 859974"/>
              <a:gd name="connsiteY209" fmla="*/ 103414 h 368802"/>
              <a:gd name="connsiteX210" fmla="*/ 595528 w 859974"/>
              <a:gd name="connsiteY210" fmla="*/ 106885 h 368802"/>
              <a:gd name="connsiteX211" fmla="*/ 576439 w 859974"/>
              <a:gd name="connsiteY211" fmla="*/ 103877 h 368802"/>
              <a:gd name="connsiteX212" fmla="*/ 562036 w 859974"/>
              <a:gd name="connsiteY212" fmla="*/ 101910 h 368802"/>
              <a:gd name="connsiteX213" fmla="*/ 541443 w 859974"/>
              <a:gd name="connsiteY213" fmla="*/ 97051 h 368802"/>
              <a:gd name="connsiteX214" fmla="*/ 534040 w 859974"/>
              <a:gd name="connsiteY214" fmla="*/ 90052 h 368802"/>
              <a:gd name="connsiteX215" fmla="*/ 526751 w 859974"/>
              <a:gd name="connsiteY215" fmla="*/ 81202 h 368802"/>
              <a:gd name="connsiteX216" fmla="*/ 516050 w 859974"/>
              <a:gd name="connsiteY216" fmla="*/ 76459 h 368802"/>
              <a:gd name="connsiteX217" fmla="*/ 504481 w 859974"/>
              <a:gd name="connsiteY217" fmla="*/ 71195 h 368802"/>
              <a:gd name="connsiteX218" fmla="*/ 487590 w 859974"/>
              <a:gd name="connsiteY218" fmla="*/ 65410 h 368802"/>
              <a:gd name="connsiteX219" fmla="*/ 485161 w 859974"/>
              <a:gd name="connsiteY219" fmla="*/ 65758 h 368802"/>
              <a:gd name="connsiteX220" fmla="*/ 483194 w 859974"/>
              <a:gd name="connsiteY220" fmla="*/ 66220 h 368802"/>
              <a:gd name="connsiteX221" fmla="*/ 467634 w 859974"/>
              <a:gd name="connsiteY221" fmla="*/ 62518 h 368802"/>
              <a:gd name="connsiteX222" fmla="*/ 459305 w 859974"/>
              <a:gd name="connsiteY222" fmla="*/ 60262 h 368802"/>
              <a:gd name="connsiteX223" fmla="*/ 444728 w 859974"/>
              <a:gd name="connsiteY223" fmla="*/ 61998 h 368802"/>
              <a:gd name="connsiteX224" fmla="*/ 434431 w 859974"/>
              <a:gd name="connsiteY224" fmla="*/ 63502 h 368802"/>
              <a:gd name="connsiteX225" fmla="*/ 425466 w 859974"/>
              <a:gd name="connsiteY225" fmla="*/ 68014 h 368802"/>
              <a:gd name="connsiteX226" fmla="*/ 415227 w 859974"/>
              <a:gd name="connsiteY226" fmla="*/ 73162 h 368802"/>
              <a:gd name="connsiteX227" fmla="*/ 414359 w 859974"/>
              <a:gd name="connsiteY227" fmla="*/ 73162 h 368802"/>
              <a:gd name="connsiteX228" fmla="*/ 402039 w 859974"/>
              <a:gd name="connsiteY228" fmla="*/ 69055 h 368802"/>
              <a:gd name="connsiteX229" fmla="*/ 392205 w 859974"/>
              <a:gd name="connsiteY229" fmla="*/ 65526 h 368802"/>
              <a:gd name="connsiteX230" fmla="*/ 391511 w 859974"/>
              <a:gd name="connsiteY230" fmla="*/ 65526 h 368802"/>
              <a:gd name="connsiteX231" fmla="*/ 389660 w 859974"/>
              <a:gd name="connsiteY231" fmla="*/ 66105 h 368802"/>
              <a:gd name="connsiteX232" fmla="*/ 373001 w 859974"/>
              <a:gd name="connsiteY232" fmla="*/ 52453 h 368802"/>
              <a:gd name="connsiteX233" fmla="*/ 370860 w 859974"/>
              <a:gd name="connsiteY233" fmla="*/ 39207 h 368802"/>
              <a:gd name="connsiteX234" fmla="*/ 369704 w 859974"/>
              <a:gd name="connsiteY234" fmla="*/ 28969 h 368802"/>
              <a:gd name="connsiteX235" fmla="*/ 355359 w 859974"/>
              <a:gd name="connsiteY235" fmla="*/ 24283 h 368802"/>
              <a:gd name="connsiteX236" fmla="*/ 343384 w 859974"/>
              <a:gd name="connsiteY236" fmla="*/ 21218 h 368802"/>
              <a:gd name="connsiteX237" fmla="*/ 323775 w 859974"/>
              <a:gd name="connsiteY237" fmla="*/ 13235 h 368802"/>
              <a:gd name="connsiteX238" fmla="*/ 306017 w 859974"/>
              <a:gd name="connsiteY238" fmla="*/ 8897 h 368802"/>
              <a:gd name="connsiteX239" fmla="*/ 286350 w 859974"/>
              <a:gd name="connsiteY239" fmla="*/ 1088 h 368802"/>
              <a:gd name="connsiteX240" fmla="*/ 280566 w 859974"/>
              <a:gd name="connsiteY240" fmla="*/ 5484 h 368802"/>
              <a:gd name="connsiteX241" fmla="*/ 277789 w 859974"/>
              <a:gd name="connsiteY241" fmla="*/ 9706 h 368802"/>
              <a:gd name="connsiteX242" fmla="*/ 271600 w 859974"/>
              <a:gd name="connsiteY242" fmla="*/ 13004 h 368802"/>
              <a:gd name="connsiteX243" fmla="*/ 263502 w 859974"/>
              <a:gd name="connsiteY243" fmla="*/ 18788 h 368802"/>
              <a:gd name="connsiteX244" fmla="*/ 257197 w 859974"/>
              <a:gd name="connsiteY244" fmla="*/ 25266 h 368802"/>
              <a:gd name="connsiteX245" fmla="*/ 252164 w 859974"/>
              <a:gd name="connsiteY245" fmla="*/ 31919 h 368802"/>
              <a:gd name="connsiteX246" fmla="*/ 261477 w 859974"/>
              <a:gd name="connsiteY246" fmla="*/ 53957 h 368802"/>
              <a:gd name="connsiteX247" fmla="*/ 260898 w 859974"/>
              <a:gd name="connsiteY247" fmla="*/ 71658 h 368802"/>
              <a:gd name="connsiteX248" fmla="*/ 251759 w 859974"/>
              <a:gd name="connsiteY248" fmla="*/ 75996 h 368802"/>
              <a:gd name="connsiteX249" fmla="*/ 238340 w 859974"/>
              <a:gd name="connsiteY249" fmla="*/ 82880 h 368802"/>
              <a:gd name="connsiteX250" fmla="*/ 233712 w 859974"/>
              <a:gd name="connsiteY250" fmla="*/ 85598 h 368802"/>
              <a:gd name="connsiteX251" fmla="*/ 220986 w 859974"/>
              <a:gd name="connsiteY251" fmla="*/ 79814 h 368802"/>
              <a:gd name="connsiteX252" fmla="*/ 217400 w 859974"/>
              <a:gd name="connsiteY252" fmla="*/ 77558 h 368802"/>
              <a:gd name="connsiteX253" fmla="*/ 208781 w 859974"/>
              <a:gd name="connsiteY253" fmla="*/ 75302 h 368802"/>
              <a:gd name="connsiteX254" fmla="*/ 196865 w 859974"/>
              <a:gd name="connsiteY254" fmla="*/ 79120 h 368802"/>
              <a:gd name="connsiteX255" fmla="*/ 194204 w 859974"/>
              <a:gd name="connsiteY255" fmla="*/ 79987 h 368802"/>
              <a:gd name="connsiteX256" fmla="*/ 180032 w 859974"/>
              <a:gd name="connsiteY256" fmla="*/ 73914 h 368802"/>
              <a:gd name="connsiteX257" fmla="*/ 173323 w 859974"/>
              <a:gd name="connsiteY257" fmla="*/ 70501 h 368802"/>
              <a:gd name="connsiteX258" fmla="*/ 168174 w 859974"/>
              <a:gd name="connsiteY258" fmla="*/ 61824 h 368802"/>
              <a:gd name="connsiteX259" fmla="*/ 164993 w 859974"/>
              <a:gd name="connsiteY259" fmla="*/ 55114 h 368802"/>
              <a:gd name="connsiteX260" fmla="*/ 163547 w 859974"/>
              <a:gd name="connsiteY260" fmla="*/ 55114 h 368802"/>
              <a:gd name="connsiteX261" fmla="*/ 126410 w 859974"/>
              <a:gd name="connsiteY261" fmla="*/ 48520 h 368802"/>
              <a:gd name="connsiteX262" fmla="*/ 119990 w 859974"/>
              <a:gd name="connsiteY262" fmla="*/ 47768 h 368802"/>
              <a:gd name="connsiteX263" fmla="*/ 108421 w 859974"/>
              <a:gd name="connsiteY263" fmla="*/ 51065 h 368802"/>
              <a:gd name="connsiteX264" fmla="*/ 99050 w 859974"/>
              <a:gd name="connsiteY264" fmla="*/ 55404 h 368802"/>
              <a:gd name="connsiteX265" fmla="*/ 89737 w 859974"/>
              <a:gd name="connsiteY265" fmla="*/ 59279 h 368802"/>
              <a:gd name="connsiteX266" fmla="*/ 80309 w 859974"/>
              <a:gd name="connsiteY266" fmla="*/ 66162 h 368802"/>
              <a:gd name="connsiteX267" fmla="*/ 71864 w 859974"/>
              <a:gd name="connsiteY267" fmla="*/ 71600 h 368802"/>
              <a:gd name="connsiteX268" fmla="*/ 62435 w 859974"/>
              <a:gd name="connsiteY268" fmla="*/ 76459 h 368802"/>
              <a:gd name="connsiteX269" fmla="*/ 50866 w 859974"/>
              <a:gd name="connsiteY269" fmla="*/ 83458 h 368802"/>
              <a:gd name="connsiteX270" fmla="*/ 24952 w 859974"/>
              <a:gd name="connsiteY270" fmla="*/ 95374 h 368802"/>
              <a:gd name="connsiteX271" fmla="*/ 7599 w 859974"/>
              <a:gd name="connsiteY271" fmla="*/ 101737 h 368802"/>
              <a:gd name="connsiteX272" fmla="*/ 3202 w 859974"/>
              <a:gd name="connsiteY272" fmla="*/ 104455 h 368802"/>
              <a:gd name="connsiteX273" fmla="*/ 3202 w 859974"/>
              <a:gd name="connsiteY273" fmla="*/ 104455 h 368802"/>
              <a:gd name="connsiteX274" fmla="*/ 3665 w 859974"/>
              <a:gd name="connsiteY274" fmla="*/ 106249 h 368802"/>
              <a:gd name="connsiteX275" fmla="*/ 16564 w 859974"/>
              <a:gd name="connsiteY275" fmla="*/ 126263 h 368802"/>
              <a:gd name="connsiteX276" fmla="*/ 22870 w 859974"/>
              <a:gd name="connsiteY276" fmla="*/ 130775 h 368802"/>
              <a:gd name="connsiteX277" fmla="*/ 46817 w 859974"/>
              <a:gd name="connsiteY277" fmla="*/ 143905 h 368802"/>
              <a:gd name="connsiteX278" fmla="*/ 71343 w 859974"/>
              <a:gd name="connsiteY278" fmla="*/ 163919 h 368802"/>
              <a:gd name="connsiteX279" fmla="*/ 85457 w 859974"/>
              <a:gd name="connsiteY279" fmla="*/ 183876 h 368802"/>
              <a:gd name="connsiteX280" fmla="*/ 86093 w 859974"/>
              <a:gd name="connsiteY280" fmla="*/ 200072 h 368802"/>
              <a:gd name="connsiteX281" fmla="*/ 84242 w 859974"/>
              <a:gd name="connsiteY281" fmla="*/ 212161 h 368802"/>
              <a:gd name="connsiteX282" fmla="*/ 79615 w 859974"/>
              <a:gd name="connsiteY282" fmla="*/ 222689 h 368802"/>
              <a:gd name="connsiteX283" fmla="*/ 77880 w 859974"/>
              <a:gd name="connsiteY283" fmla="*/ 233911 h 368802"/>
              <a:gd name="connsiteX284" fmla="*/ 138442 w 859974"/>
              <a:gd name="connsiteY284" fmla="*/ 248430 h 368802"/>
              <a:gd name="connsiteX285" fmla="*/ 154928 w 859974"/>
              <a:gd name="connsiteY285" fmla="*/ 259420 h 368802"/>
              <a:gd name="connsiteX286" fmla="*/ 158572 w 859974"/>
              <a:gd name="connsiteY286" fmla="*/ 262660 h 368802"/>
              <a:gd name="connsiteX287" fmla="*/ 167480 w 859974"/>
              <a:gd name="connsiteY287" fmla="*/ 268791 h 368802"/>
              <a:gd name="connsiteX288" fmla="*/ 176215 w 859974"/>
              <a:gd name="connsiteY288" fmla="*/ 274980 h 368802"/>
              <a:gd name="connsiteX289" fmla="*/ 198253 w 859974"/>
              <a:gd name="connsiteY289" fmla="*/ 298697 h 368802"/>
              <a:gd name="connsiteX290" fmla="*/ 208550 w 859974"/>
              <a:gd name="connsiteY290" fmla="*/ 318017 h 368802"/>
              <a:gd name="connsiteX291" fmla="*/ 214334 w 859974"/>
              <a:gd name="connsiteY291" fmla="*/ 326867 h 368802"/>
              <a:gd name="connsiteX292" fmla="*/ 223531 w 859974"/>
              <a:gd name="connsiteY292" fmla="*/ 329759 h 368802"/>
              <a:gd name="connsiteX293" fmla="*/ 231514 w 859974"/>
              <a:gd name="connsiteY293" fmla="*/ 329470 h 368802"/>
              <a:gd name="connsiteX294" fmla="*/ 241232 w 859974"/>
              <a:gd name="connsiteY294" fmla="*/ 329123 h 368802"/>
              <a:gd name="connsiteX295" fmla="*/ 248577 w 859974"/>
              <a:gd name="connsiteY295" fmla="*/ 329528 h 368802"/>
              <a:gd name="connsiteX296" fmla="*/ 282301 w 859974"/>
              <a:gd name="connsiteY296" fmla="*/ 330395 h 368802"/>
              <a:gd name="connsiteX297" fmla="*/ 313710 w 859974"/>
              <a:gd name="connsiteY297" fmla="*/ 331263 h 368802"/>
              <a:gd name="connsiteX298" fmla="*/ 323891 w 859974"/>
              <a:gd name="connsiteY298" fmla="*/ 332188 h 368802"/>
              <a:gd name="connsiteX299" fmla="*/ 363457 w 859974"/>
              <a:gd name="connsiteY299" fmla="*/ 342022 h 368802"/>
              <a:gd name="connsiteX300" fmla="*/ 378033 w 859974"/>
              <a:gd name="connsiteY300" fmla="*/ 347344 h 368802"/>
              <a:gd name="connsiteX301" fmla="*/ 381909 w 859974"/>
              <a:gd name="connsiteY301" fmla="*/ 347344 h 368802"/>
              <a:gd name="connsiteX302" fmla="*/ 385495 w 859974"/>
              <a:gd name="connsiteY302" fmla="*/ 347344 h 368802"/>
              <a:gd name="connsiteX303" fmla="*/ 393304 w 859974"/>
              <a:gd name="connsiteY303" fmla="*/ 349368 h 368802"/>
              <a:gd name="connsiteX304" fmla="*/ 414823 w 859974"/>
              <a:gd name="connsiteY304" fmla="*/ 356657 h 368802"/>
              <a:gd name="connsiteX305" fmla="*/ 420607 w 859974"/>
              <a:gd name="connsiteY305" fmla="*/ 356252 h 368802"/>
              <a:gd name="connsiteX306" fmla="*/ 423210 w 859974"/>
              <a:gd name="connsiteY306" fmla="*/ 355442 h 36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Lst>
            <a:rect l="l" t="t" r="r" b="b"/>
            <a:pathLst>
              <a:path w="859974" h="368802">
                <a:moveTo>
                  <a:pt x="443166" y="368630"/>
                </a:moveTo>
                <a:cubicBezTo>
                  <a:pt x="442587" y="368688"/>
                  <a:pt x="442067" y="368688"/>
                  <a:pt x="441489" y="368630"/>
                </a:cubicBezTo>
                <a:cubicBezTo>
                  <a:pt x="438075" y="367728"/>
                  <a:pt x="435068" y="365686"/>
                  <a:pt x="432928" y="362846"/>
                </a:cubicBezTo>
                <a:cubicBezTo>
                  <a:pt x="430672" y="359693"/>
                  <a:pt x="427086" y="357785"/>
                  <a:pt x="423210" y="357698"/>
                </a:cubicBezTo>
                <a:lnTo>
                  <a:pt x="420722" y="357698"/>
                </a:lnTo>
                <a:cubicBezTo>
                  <a:pt x="418698" y="358016"/>
                  <a:pt x="416615" y="358172"/>
                  <a:pt x="414533" y="358161"/>
                </a:cubicBezTo>
                <a:cubicBezTo>
                  <a:pt x="406377" y="357883"/>
                  <a:pt x="398510" y="355228"/>
                  <a:pt x="391858" y="350525"/>
                </a:cubicBezTo>
                <a:cubicBezTo>
                  <a:pt x="389833" y="349328"/>
                  <a:pt x="387520" y="348743"/>
                  <a:pt x="385206" y="348847"/>
                </a:cubicBezTo>
                <a:cubicBezTo>
                  <a:pt x="384049" y="348790"/>
                  <a:pt x="382950" y="348790"/>
                  <a:pt x="381793" y="348847"/>
                </a:cubicBezTo>
                <a:cubicBezTo>
                  <a:pt x="380463" y="348847"/>
                  <a:pt x="379132" y="348847"/>
                  <a:pt x="377744" y="348847"/>
                </a:cubicBezTo>
                <a:cubicBezTo>
                  <a:pt x="371902" y="348842"/>
                  <a:pt x="366291" y="346794"/>
                  <a:pt x="361837" y="343063"/>
                </a:cubicBezTo>
                <a:cubicBezTo>
                  <a:pt x="351598" y="335428"/>
                  <a:pt x="335344" y="334386"/>
                  <a:pt x="323486" y="333692"/>
                </a:cubicBezTo>
                <a:cubicBezTo>
                  <a:pt x="319380" y="333403"/>
                  <a:pt x="315793" y="333230"/>
                  <a:pt x="313074" y="332767"/>
                </a:cubicBezTo>
                <a:cubicBezTo>
                  <a:pt x="302720" y="331911"/>
                  <a:pt x="292366" y="331621"/>
                  <a:pt x="282012" y="331899"/>
                </a:cubicBezTo>
                <a:cubicBezTo>
                  <a:pt x="268766" y="331899"/>
                  <a:pt x="255114" y="331899"/>
                  <a:pt x="247999" y="330974"/>
                </a:cubicBezTo>
                <a:cubicBezTo>
                  <a:pt x="242446" y="330540"/>
                  <a:pt x="236894" y="330540"/>
                  <a:pt x="231340" y="330974"/>
                </a:cubicBezTo>
                <a:cubicBezTo>
                  <a:pt x="228448" y="330974"/>
                  <a:pt x="225556" y="331263"/>
                  <a:pt x="223242" y="331263"/>
                </a:cubicBezTo>
                <a:cubicBezTo>
                  <a:pt x="218152" y="331263"/>
                  <a:pt x="212888" y="330684"/>
                  <a:pt x="211673" y="326635"/>
                </a:cubicBezTo>
                <a:cubicBezTo>
                  <a:pt x="210574" y="323680"/>
                  <a:pt x="208838" y="320978"/>
                  <a:pt x="206640" y="318711"/>
                </a:cubicBezTo>
                <a:cubicBezTo>
                  <a:pt x="201377" y="312996"/>
                  <a:pt x="197675" y="306025"/>
                  <a:pt x="195824" y="298465"/>
                </a:cubicBezTo>
                <a:cubicBezTo>
                  <a:pt x="192989" y="285624"/>
                  <a:pt x="186569" y="278625"/>
                  <a:pt x="175578" y="276426"/>
                </a:cubicBezTo>
                <a:cubicBezTo>
                  <a:pt x="171529" y="275403"/>
                  <a:pt x="168001" y="272956"/>
                  <a:pt x="165629" y="269543"/>
                </a:cubicBezTo>
                <a:cubicBezTo>
                  <a:pt x="163894" y="266847"/>
                  <a:pt x="161175" y="264904"/>
                  <a:pt x="158052" y="264106"/>
                </a:cubicBezTo>
                <a:cubicBezTo>
                  <a:pt x="156374" y="264106"/>
                  <a:pt x="154928" y="262255"/>
                  <a:pt x="153077" y="260230"/>
                </a:cubicBezTo>
                <a:cubicBezTo>
                  <a:pt x="149491" y="255221"/>
                  <a:pt x="143879" y="252097"/>
                  <a:pt x="137748" y="251727"/>
                </a:cubicBezTo>
                <a:cubicBezTo>
                  <a:pt x="125427" y="251727"/>
                  <a:pt x="81871" y="246868"/>
                  <a:pt x="75276" y="236167"/>
                </a:cubicBezTo>
                <a:cubicBezTo>
                  <a:pt x="72268" y="231759"/>
                  <a:pt x="73078" y="225766"/>
                  <a:pt x="77186" y="222342"/>
                </a:cubicBezTo>
                <a:cubicBezTo>
                  <a:pt x="79557" y="219866"/>
                  <a:pt x="81003" y="216633"/>
                  <a:pt x="81292" y="213203"/>
                </a:cubicBezTo>
                <a:cubicBezTo>
                  <a:pt x="81466" y="208963"/>
                  <a:pt x="82102" y="204757"/>
                  <a:pt x="83201" y="200650"/>
                </a:cubicBezTo>
                <a:cubicBezTo>
                  <a:pt x="84589" y="194461"/>
                  <a:pt x="85919" y="188677"/>
                  <a:pt x="83201" y="186710"/>
                </a:cubicBezTo>
                <a:cubicBezTo>
                  <a:pt x="77822" y="182487"/>
                  <a:pt x="69376" y="173348"/>
                  <a:pt x="68219" y="165250"/>
                </a:cubicBezTo>
                <a:cubicBezTo>
                  <a:pt x="67236" y="158077"/>
                  <a:pt x="54452" y="147896"/>
                  <a:pt x="45776" y="147202"/>
                </a:cubicBezTo>
                <a:cubicBezTo>
                  <a:pt x="37099" y="146508"/>
                  <a:pt x="28769" y="140666"/>
                  <a:pt x="20556" y="133551"/>
                </a:cubicBezTo>
                <a:cubicBezTo>
                  <a:pt x="18762" y="131955"/>
                  <a:pt x="16796" y="130508"/>
                  <a:pt x="14771" y="129213"/>
                </a:cubicBezTo>
                <a:cubicBezTo>
                  <a:pt x="8987" y="125279"/>
                  <a:pt x="3202" y="121982"/>
                  <a:pt x="889" y="107695"/>
                </a:cubicBezTo>
                <a:lnTo>
                  <a:pt x="368" y="105670"/>
                </a:lnTo>
                <a:lnTo>
                  <a:pt x="21" y="104571"/>
                </a:lnTo>
                <a:cubicBezTo>
                  <a:pt x="-153" y="104241"/>
                  <a:pt x="-153" y="103860"/>
                  <a:pt x="21" y="103530"/>
                </a:cubicBezTo>
                <a:cubicBezTo>
                  <a:pt x="252" y="103223"/>
                  <a:pt x="599" y="103067"/>
                  <a:pt x="1004" y="103125"/>
                </a:cubicBezTo>
                <a:lnTo>
                  <a:pt x="2508" y="103125"/>
                </a:lnTo>
                <a:cubicBezTo>
                  <a:pt x="4475" y="103125"/>
                  <a:pt x="4649" y="102489"/>
                  <a:pt x="4706" y="102200"/>
                </a:cubicBezTo>
                <a:cubicBezTo>
                  <a:pt x="5343" y="98902"/>
                  <a:pt x="11937" y="96126"/>
                  <a:pt x="24200" y="94101"/>
                </a:cubicBezTo>
                <a:cubicBezTo>
                  <a:pt x="29117" y="93291"/>
                  <a:pt x="45486" y="90052"/>
                  <a:pt x="48378" y="83458"/>
                </a:cubicBezTo>
                <a:cubicBezTo>
                  <a:pt x="50404" y="78830"/>
                  <a:pt x="56072" y="76922"/>
                  <a:pt x="61105" y="75244"/>
                </a:cubicBezTo>
                <a:cubicBezTo>
                  <a:pt x="64228" y="74556"/>
                  <a:pt x="67120" y="73127"/>
                  <a:pt x="69550" y="71079"/>
                </a:cubicBezTo>
                <a:cubicBezTo>
                  <a:pt x="72210" y="68580"/>
                  <a:pt x="75276" y="66614"/>
                  <a:pt x="78689" y="65295"/>
                </a:cubicBezTo>
                <a:cubicBezTo>
                  <a:pt x="81986" y="64161"/>
                  <a:pt x="84879" y="62165"/>
                  <a:pt x="87135" y="59510"/>
                </a:cubicBezTo>
                <a:cubicBezTo>
                  <a:pt x="88639" y="56503"/>
                  <a:pt x="93439" y="55461"/>
                  <a:pt x="98009" y="54478"/>
                </a:cubicBezTo>
                <a:cubicBezTo>
                  <a:pt x="101364" y="53726"/>
                  <a:pt x="105182" y="52916"/>
                  <a:pt x="105702" y="51528"/>
                </a:cubicBezTo>
                <a:cubicBezTo>
                  <a:pt x="107496" y="47016"/>
                  <a:pt x="117271" y="46785"/>
                  <a:pt x="119411" y="46785"/>
                </a:cubicBezTo>
                <a:cubicBezTo>
                  <a:pt x="121783" y="46750"/>
                  <a:pt x="124155" y="47022"/>
                  <a:pt x="126468" y="47594"/>
                </a:cubicBezTo>
                <a:cubicBezTo>
                  <a:pt x="138500" y="50602"/>
                  <a:pt x="150647" y="52789"/>
                  <a:pt x="162968" y="54131"/>
                </a:cubicBezTo>
                <a:lnTo>
                  <a:pt x="164414" y="54131"/>
                </a:lnTo>
                <a:cubicBezTo>
                  <a:pt x="167133" y="54131"/>
                  <a:pt x="168347" y="57949"/>
                  <a:pt x="169736" y="62403"/>
                </a:cubicBezTo>
                <a:cubicBezTo>
                  <a:pt x="170603" y="65121"/>
                  <a:pt x="171877" y="69286"/>
                  <a:pt x="173207" y="69575"/>
                </a:cubicBezTo>
                <a:cubicBezTo>
                  <a:pt x="175810" y="70489"/>
                  <a:pt x="178297" y="71715"/>
                  <a:pt x="180610" y="73219"/>
                </a:cubicBezTo>
                <a:cubicBezTo>
                  <a:pt x="184544" y="75950"/>
                  <a:pt x="188940" y="77911"/>
                  <a:pt x="193625" y="79004"/>
                </a:cubicBezTo>
                <a:cubicBezTo>
                  <a:pt x="194089" y="79039"/>
                  <a:pt x="194551" y="78917"/>
                  <a:pt x="194899" y="78657"/>
                </a:cubicBezTo>
                <a:cubicBezTo>
                  <a:pt x="198774" y="75811"/>
                  <a:pt x="203401" y="74290"/>
                  <a:pt x="208202" y="74319"/>
                </a:cubicBezTo>
                <a:cubicBezTo>
                  <a:pt x="211616" y="74272"/>
                  <a:pt x="215028" y="75175"/>
                  <a:pt x="217978" y="76922"/>
                </a:cubicBezTo>
                <a:cubicBezTo>
                  <a:pt x="219193" y="77616"/>
                  <a:pt x="220407" y="78425"/>
                  <a:pt x="221623" y="79177"/>
                </a:cubicBezTo>
                <a:cubicBezTo>
                  <a:pt x="227985" y="83169"/>
                  <a:pt x="233654" y="86755"/>
                  <a:pt x="235794" y="82995"/>
                </a:cubicBezTo>
                <a:cubicBezTo>
                  <a:pt x="237934" y="79235"/>
                  <a:pt x="244587" y="77211"/>
                  <a:pt x="250429" y="75128"/>
                </a:cubicBezTo>
                <a:cubicBezTo>
                  <a:pt x="253321" y="74405"/>
                  <a:pt x="256040" y="73214"/>
                  <a:pt x="258527" y="71600"/>
                </a:cubicBezTo>
                <a:cubicBezTo>
                  <a:pt x="260783" y="68476"/>
                  <a:pt x="262750" y="59568"/>
                  <a:pt x="259510" y="56965"/>
                </a:cubicBezTo>
                <a:cubicBezTo>
                  <a:pt x="254362" y="52858"/>
                  <a:pt x="249908" y="35679"/>
                  <a:pt x="249445" y="33828"/>
                </a:cubicBezTo>
                <a:cubicBezTo>
                  <a:pt x="248347" y="29431"/>
                  <a:pt x="252049" y="26944"/>
                  <a:pt x="255230" y="24746"/>
                </a:cubicBezTo>
                <a:cubicBezTo>
                  <a:pt x="257544" y="23184"/>
                  <a:pt x="259973" y="21565"/>
                  <a:pt x="260552" y="19482"/>
                </a:cubicBezTo>
                <a:cubicBezTo>
                  <a:pt x="261708" y="15491"/>
                  <a:pt x="266336" y="13698"/>
                  <a:pt x="270038" y="12136"/>
                </a:cubicBezTo>
                <a:cubicBezTo>
                  <a:pt x="272005" y="11494"/>
                  <a:pt x="273798" y="10539"/>
                  <a:pt x="275417" y="9302"/>
                </a:cubicBezTo>
                <a:cubicBezTo>
                  <a:pt x="276401" y="8208"/>
                  <a:pt x="277153" y="6976"/>
                  <a:pt x="277789" y="5657"/>
                </a:cubicBezTo>
                <a:cubicBezTo>
                  <a:pt x="279235" y="2939"/>
                  <a:pt x="280913" y="-127"/>
                  <a:pt x="284326" y="-127"/>
                </a:cubicBezTo>
                <a:cubicBezTo>
                  <a:pt x="284962" y="-144"/>
                  <a:pt x="285598" y="-46"/>
                  <a:pt x="286176" y="162"/>
                </a:cubicBezTo>
                <a:cubicBezTo>
                  <a:pt x="293407" y="2042"/>
                  <a:pt x="300406" y="4859"/>
                  <a:pt x="306885" y="8550"/>
                </a:cubicBezTo>
                <a:cubicBezTo>
                  <a:pt x="311859" y="11118"/>
                  <a:pt x="317412" y="12373"/>
                  <a:pt x="323024" y="12194"/>
                </a:cubicBezTo>
                <a:cubicBezTo>
                  <a:pt x="330485" y="13414"/>
                  <a:pt x="337542" y="16237"/>
                  <a:pt x="343790" y="20465"/>
                </a:cubicBezTo>
                <a:cubicBezTo>
                  <a:pt x="347376" y="21865"/>
                  <a:pt x="351136" y="22820"/>
                  <a:pt x="354953" y="23300"/>
                </a:cubicBezTo>
                <a:cubicBezTo>
                  <a:pt x="362011" y="24515"/>
                  <a:pt x="368720" y="25671"/>
                  <a:pt x="370802" y="29084"/>
                </a:cubicBezTo>
                <a:cubicBezTo>
                  <a:pt x="372364" y="32723"/>
                  <a:pt x="372885" y="36726"/>
                  <a:pt x="372364" y="40653"/>
                </a:cubicBezTo>
                <a:cubicBezTo>
                  <a:pt x="371786" y="44586"/>
                  <a:pt x="372364" y="48601"/>
                  <a:pt x="373984" y="52222"/>
                </a:cubicBezTo>
                <a:cubicBezTo>
                  <a:pt x="379306" y="58585"/>
                  <a:pt x="386131" y="65063"/>
                  <a:pt x="388908" y="65063"/>
                </a:cubicBezTo>
                <a:cubicBezTo>
                  <a:pt x="388908" y="65063"/>
                  <a:pt x="389313" y="65063"/>
                  <a:pt x="389371" y="65063"/>
                </a:cubicBezTo>
                <a:cubicBezTo>
                  <a:pt x="390007" y="64641"/>
                  <a:pt x="390701" y="64439"/>
                  <a:pt x="391453" y="64485"/>
                </a:cubicBezTo>
                <a:cubicBezTo>
                  <a:pt x="395213" y="65110"/>
                  <a:pt x="398858" y="66359"/>
                  <a:pt x="402212" y="68187"/>
                </a:cubicBezTo>
                <a:cubicBezTo>
                  <a:pt x="405856" y="70275"/>
                  <a:pt x="409963" y="71611"/>
                  <a:pt x="414128" y="72120"/>
                </a:cubicBezTo>
                <a:cubicBezTo>
                  <a:pt x="417541" y="71091"/>
                  <a:pt x="420722" y="69442"/>
                  <a:pt x="423499" y="67262"/>
                </a:cubicBezTo>
                <a:cubicBezTo>
                  <a:pt x="426449" y="64826"/>
                  <a:pt x="429920" y="63155"/>
                  <a:pt x="433679" y="62403"/>
                </a:cubicBezTo>
                <a:cubicBezTo>
                  <a:pt x="437035" y="62142"/>
                  <a:pt x="440331" y="61662"/>
                  <a:pt x="443629" y="60957"/>
                </a:cubicBezTo>
                <a:cubicBezTo>
                  <a:pt x="448603" y="59736"/>
                  <a:pt x="453752" y="59152"/>
                  <a:pt x="458900" y="59221"/>
                </a:cubicBezTo>
                <a:cubicBezTo>
                  <a:pt x="460635" y="59510"/>
                  <a:pt x="463817" y="60436"/>
                  <a:pt x="467519" y="61535"/>
                </a:cubicBezTo>
                <a:cubicBezTo>
                  <a:pt x="472377" y="63172"/>
                  <a:pt x="477352" y="64352"/>
                  <a:pt x="482442" y="65063"/>
                </a:cubicBezTo>
                <a:lnTo>
                  <a:pt x="483194" y="65063"/>
                </a:lnTo>
                <a:cubicBezTo>
                  <a:pt x="484293" y="64491"/>
                  <a:pt x="485566" y="64248"/>
                  <a:pt x="486838" y="64369"/>
                </a:cubicBezTo>
                <a:cubicBezTo>
                  <a:pt x="492623" y="64369"/>
                  <a:pt x="503498" y="66683"/>
                  <a:pt x="505754" y="71195"/>
                </a:cubicBezTo>
                <a:cubicBezTo>
                  <a:pt x="506621" y="72988"/>
                  <a:pt x="511538" y="74203"/>
                  <a:pt x="516050" y="75244"/>
                </a:cubicBezTo>
                <a:cubicBezTo>
                  <a:pt x="522471" y="76806"/>
                  <a:pt x="528486" y="78252"/>
                  <a:pt x="528486" y="82185"/>
                </a:cubicBezTo>
                <a:cubicBezTo>
                  <a:pt x="528486" y="84673"/>
                  <a:pt x="531552" y="86871"/>
                  <a:pt x="534850" y="89185"/>
                </a:cubicBezTo>
                <a:cubicBezTo>
                  <a:pt x="538146" y="91122"/>
                  <a:pt x="540865" y="93795"/>
                  <a:pt x="542947" y="96994"/>
                </a:cubicBezTo>
                <a:cubicBezTo>
                  <a:pt x="544451" y="100059"/>
                  <a:pt x="553938" y="100406"/>
                  <a:pt x="561574" y="100638"/>
                </a:cubicBezTo>
                <a:cubicBezTo>
                  <a:pt x="566953" y="100227"/>
                  <a:pt x="572390" y="101077"/>
                  <a:pt x="577365" y="103125"/>
                </a:cubicBezTo>
                <a:cubicBezTo>
                  <a:pt x="582976" y="105254"/>
                  <a:pt x="588992" y="106104"/>
                  <a:pt x="595007" y="105612"/>
                </a:cubicBezTo>
                <a:cubicBezTo>
                  <a:pt x="600734" y="106040"/>
                  <a:pt x="606518" y="105352"/>
                  <a:pt x="612014" y="103588"/>
                </a:cubicBezTo>
                <a:cubicBezTo>
                  <a:pt x="612418" y="101621"/>
                  <a:pt x="616930" y="100638"/>
                  <a:pt x="628731" y="98729"/>
                </a:cubicBezTo>
                <a:cubicBezTo>
                  <a:pt x="635325" y="98121"/>
                  <a:pt x="641746" y="96583"/>
                  <a:pt x="647877" y="94159"/>
                </a:cubicBezTo>
                <a:cubicBezTo>
                  <a:pt x="651347" y="92320"/>
                  <a:pt x="655107" y="91215"/>
                  <a:pt x="659041" y="90920"/>
                </a:cubicBezTo>
                <a:cubicBezTo>
                  <a:pt x="663900" y="90110"/>
                  <a:pt x="668874" y="89300"/>
                  <a:pt x="669280" y="86871"/>
                </a:cubicBezTo>
                <a:cubicBezTo>
                  <a:pt x="669800" y="82648"/>
                  <a:pt x="675989" y="79698"/>
                  <a:pt x="682468" y="76517"/>
                </a:cubicBezTo>
                <a:cubicBezTo>
                  <a:pt x="685591" y="75146"/>
                  <a:pt x="688657" y="73497"/>
                  <a:pt x="691492" y="71600"/>
                </a:cubicBezTo>
                <a:cubicBezTo>
                  <a:pt x="696698" y="68927"/>
                  <a:pt x="702482" y="67747"/>
                  <a:pt x="708324" y="68187"/>
                </a:cubicBezTo>
                <a:cubicBezTo>
                  <a:pt x="716307" y="68187"/>
                  <a:pt x="725678" y="69633"/>
                  <a:pt x="727182" y="73971"/>
                </a:cubicBezTo>
                <a:cubicBezTo>
                  <a:pt x="728049" y="77153"/>
                  <a:pt x="735337" y="79062"/>
                  <a:pt x="741874" y="79062"/>
                </a:cubicBezTo>
                <a:cubicBezTo>
                  <a:pt x="744303" y="79131"/>
                  <a:pt x="746790" y="78796"/>
                  <a:pt x="749104" y="78078"/>
                </a:cubicBezTo>
                <a:cubicBezTo>
                  <a:pt x="755988" y="76626"/>
                  <a:pt x="763161" y="77292"/>
                  <a:pt x="769697" y="79987"/>
                </a:cubicBezTo>
                <a:cubicBezTo>
                  <a:pt x="769986" y="80103"/>
                  <a:pt x="770218" y="80334"/>
                  <a:pt x="770333" y="80624"/>
                </a:cubicBezTo>
                <a:cubicBezTo>
                  <a:pt x="770507" y="80913"/>
                  <a:pt x="770507" y="81260"/>
                  <a:pt x="770333" y="81549"/>
                </a:cubicBezTo>
                <a:lnTo>
                  <a:pt x="748584" y="125048"/>
                </a:lnTo>
                <a:lnTo>
                  <a:pt x="746848" y="138931"/>
                </a:lnTo>
                <a:cubicBezTo>
                  <a:pt x="746790" y="139393"/>
                  <a:pt x="746444" y="139764"/>
                  <a:pt x="745981" y="139856"/>
                </a:cubicBezTo>
                <a:cubicBezTo>
                  <a:pt x="745981" y="139856"/>
                  <a:pt x="740197" y="141302"/>
                  <a:pt x="739560" y="144715"/>
                </a:cubicBezTo>
                <a:cubicBezTo>
                  <a:pt x="738981" y="146740"/>
                  <a:pt x="740139" y="149227"/>
                  <a:pt x="743031" y="152061"/>
                </a:cubicBezTo>
                <a:cubicBezTo>
                  <a:pt x="747311" y="156400"/>
                  <a:pt x="749740" y="156978"/>
                  <a:pt x="751592" y="156978"/>
                </a:cubicBezTo>
                <a:cubicBezTo>
                  <a:pt x="753443" y="156851"/>
                  <a:pt x="755236" y="156440"/>
                  <a:pt x="756971" y="155763"/>
                </a:cubicBezTo>
                <a:cubicBezTo>
                  <a:pt x="761251" y="154288"/>
                  <a:pt x="765763" y="153530"/>
                  <a:pt x="770333" y="153507"/>
                </a:cubicBezTo>
                <a:cubicBezTo>
                  <a:pt x="776407" y="153664"/>
                  <a:pt x="782365" y="155272"/>
                  <a:pt x="787687" y="158193"/>
                </a:cubicBezTo>
                <a:cubicBezTo>
                  <a:pt x="789479" y="159240"/>
                  <a:pt x="791447" y="159928"/>
                  <a:pt x="793471" y="160217"/>
                </a:cubicBezTo>
                <a:cubicBezTo>
                  <a:pt x="794281" y="160217"/>
                  <a:pt x="795206" y="159928"/>
                  <a:pt x="796074" y="157730"/>
                </a:cubicBezTo>
                <a:cubicBezTo>
                  <a:pt x="798908" y="151656"/>
                  <a:pt x="804924" y="147740"/>
                  <a:pt x="811634" y="147665"/>
                </a:cubicBezTo>
                <a:cubicBezTo>
                  <a:pt x="816609" y="147700"/>
                  <a:pt x="821294" y="150002"/>
                  <a:pt x="824360" y="153912"/>
                </a:cubicBezTo>
                <a:cubicBezTo>
                  <a:pt x="828872" y="158696"/>
                  <a:pt x="833730" y="163127"/>
                  <a:pt x="838937" y="167159"/>
                </a:cubicBezTo>
                <a:cubicBezTo>
                  <a:pt x="850505" y="176587"/>
                  <a:pt x="861033" y="185553"/>
                  <a:pt x="859760" y="191800"/>
                </a:cubicBezTo>
                <a:cubicBezTo>
                  <a:pt x="859124" y="195155"/>
                  <a:pt x="856290" y="199146"/>
                  <a:pt x="846630" y="199146"/>
                </a:cubicBezTo>
                <a:lnTo>
                  <a:pt x="846630" y="199146"/>
                </a:lnTo>
                <a:cubicBezTo>
                  <a:pt x="841019" y="199002"/>
                  <a:pt x="835466" y="198007"/>
                  <a:pt x="830144" y="196196"/>
                </a:cubicBezTo>
                <a:cubicBezTo>
                  <a:pt x="828756" y="195722"/>
                  <a:pt x="827252" y="195491"/>
                  <a:pt x="825806" y="195502"/>
                </a:cubicBezTo>
                <a:cubicBezTo>
                  <a:pt x="820485" y="195959"/>
                  <a:pt x="815278" y="197290"/>
                  <a:pt x="810362" y="199436"/>
                </a:cubicBezTo>
                <a:cubicBezTo>
                  <a:pt x="805618" y="201541"/>
                  <a:pt x="800528" y="202831"/>
                  <a:pt x="795380" y="203253"/>
                </a:cubicBezTo>
                <a:cubicBezTo>
                  <a:pt x="783059" y="203225"/>
                  <a:pt x="771259" y="208193"/>
                  <a:pt x="762698" y="217020"/>
                </a:cubicBezTo>
                <a:cubicBezTo>
                  <a:pt x="759690" y="220173"/>
                  <a:pt x="757087" y="223713"/>
                  <a:pt x="755004" y="227548"/>
                </a:cubicBezTo>
                <a:cubicBezTo>
                  <a:pt x="752054" y="234703"/>
                  <a:pt x="745344" y="239597"/>
                  <a:pt x="737651" y="240216"/>
                </a:cubicBezTo>
                <a:cubicBezTo>
                  <a:pt x="734875" y="240563"/>
                  <a:pt x="732387" y="240736"/>
                  <a:pt x="730016" y="240910"/>
                </a:cubicBezTo>
                <a:cubicBezTo>
                  <a:pt x="718273" y="241066"/>
                  <a:pt x="706936" y="245139"/>
                  <a:pt x="697738" y="252479"/>
                </a:cubicBezTo>
                <a:cubicBezTo>
                  <a:pt x="690335" y="257708"/>
                  <a:pt x="681485" y="260479"/>
                  <a:pt x="672403" y="260404"/>
                </a:cubicBezTo>
                <a:cubicBezTo>
                  <a:pt x="665577" y="260415"/>
                  <a:pt x="658809" y="258934"/>
                  <a:pt x="652620" y="256065"/>
                </a:cubicBezTo>
                <a:cubicBezTo>
                  <a:pt x="649497" y="254486"/>
                  <a:pt x="646026" y="253636"/>
                  <a:pt x="642498" y="253578"/>
                </a:cubicBezTo>
                <a:cubicBezTo>
                  <a:pt x="636192" y="253538"/>
                  <a:pt x="630466" y="257054"/>
                  <a:pt x="627631" y="262660"/>
                </a:cubicBezTo>
                <a:cubicBezTo>
                  <a:pt x="624161" y="268733"/>
                  <a:pt x="626706" y="272724"/>
                  <a:pt x="629887" y="277815"/>
                </a:cubicBezTo>
                <a:cubicBezTo>
                  <a:pt x="633531" y="282361"/>
                  <a:pt x="635267" y="288100"/>
                  <a:pt x="634862" y="293895"/>
                </a:cubicBezTo>
                <a:cubicBezTo>
                  <a:pt x="633821" y="302167"/>
                  <a:pt x="627631" y="304886"/>
                  <a:pt x="620517" y="308067"/>
                </a:cubicBezTo>
                <a:cubicBezTo>
                  <a:pt x="613112" y="310803"/>
                  <a:pt x="606518" y="315200"/>
                  <a:pt x="601081" y="320909"/>
                </a:cubicBezTo>
                <a:cubicBezTo>
                  <a:pt x="587024" y="336758"/>
                  <a:pt x="563714" y="344046"/>
                  <a:pt x="550872" y="342427"/>
                </a:cubicBezTo>
                <a:lnTo>
                  <a:pt x="545087" y="341443"/>
                </a:lnTo>
                <a:cubicBezTo>
                  <a:pt x="536238" y="339656"/>
                  <a:pt x="527272" y="338667"/>
                  <a:pt x="518248" y="338493"/>
                </a:cubicBezTo>
                <a:cubicBezTo>
                  <a:pt x="508588" y="338331"/>
                  <a:pt x="498986" y="340310"/>
                  <a:pt x="490135" y="344278"/>
                </a:cubicBezTo>
                <a:cubicBezTo>
                  <a:pt x="481286" y="348529"/>
                  <a:pt x="472782" y="353446"/>
                  <a:pt x="464684" y="358970"/>
                </a:cubicBezTo>
                <a:cubicBezTo>
                  <a:pt x="455371" y="364061"/>
                  <a:pt x="448430" y="368630"/>
                  <a:pt x="443166" y="368630"/>
                </a:cubicBezTo>
                <a:close/>
                <a:moveTo>
                  <a:pt x="423210" y="355442"/>
                </a:moveTo>
                <a:cubicBezTo>
                  <a:pt x="427780" y="355471"/>
                  <a:pt x="432002" y="357605"/>
                  <a:pt x="434779" y="361226"/>
                </a:cubicBezTo>
                <a:cubicBezTo>
                  <a:pt x="436571" y="363667"/>
                  <a:pt x="439175" y="365403"/>
                  <a:pt x="442125" y="366143"/>
                </a:cubicBezTo>
                <a:cubicBezTo>
                  <a:pt x="442530" y="366201"/>
                  <a:pt x="442935" y="366201"/>
                  <a:pt x="443339" y="366143"/>
                </a:cubicBezTo>
                <a:cubicBezTo>
                  <a:pt x="447909" y="366143"/>
                  <a:pt x="454908" y="361747"/>
                  <a:pt x="463180" y="356252"/>
                </a:cubicBezTo>
                <a:cubicBezTo>
                  <a:pt x="471394" y="350681"/>
                  <a:pt x="480013" y="345735"/>
                  <a:pt x="488921" y="341443"/>
                </a:cubicBezTo>
                <a:cubicBezTo>
                  <a:pt x="498003" y="337435"/>
                  <a:pt x="507894" y="335457"/>
                  <a:pt x="517843" y="335659"/>
                </a:cubicBezTo>
                <a:cubicBezTo>
                  <a:pt x="526982" y="335856"/>
                  <a:pt x="536122" y="336845"/>
                  <a:pt x="545087" y="338609"/>
                </a:cubicBezTo>
                <a:lnTo>
                  <a:pt x="550872" y="339592"/>
                </a:lnTo>
                <a:cubicBezTo>
                  <a:pt x="552145" y="339783"/>
                  <a:pt x="553359" y="339876"/>
                  <a:pt x="554632" y="339882"/>
                </a:cubicBezTo>
                <a:cubicBezTo>
                  <a:pt x="571638" y="338939"/>
                  <a:pt x="587603" y="331384"/>
                  <a:pt x="599114" y="318826"/>
                </a:cubicBezTo>
                <a:cubicBezTo>
                  <a:pt x="604725" y="312880"/>
                  <a:pt x="611666" y="308287"/>
                  <a:pt x="619302" y="305407"/>
                </a:cubicBezTo>
                <a:cubicBezTo>
                  <a:pt x="626359" y="302283"/>
                  <a:pt x="631449" y="300027"/>
                  <a:pt x="632317" y="293086"/>
                </a:cubicBezTo>
                <a:cubicBezTo>
                  <a:pt x="632664" y="287805"/>
                  <a:pt x="630987" y="282587"/>
                  <a:pt x="627689" y="278451"/>
                </a:cubicBezTo>
                <a:cubicBezTo>
                  <a:pt x="624508" y="273419"/>
                  <a:pt x="621269" y="268213"/>
                  <a:pt x="625433" y="261098"/>
                </a:cubicBezTo>
                <a:cubicBezTo>
                  <a:pt x="628615" y="254787"/>
                  <a:pt x="635151" y="250836"/>
                  <a:pt x="642208" y="250917"/>
                </a:cubicBezTo>
                <a:cubicBezTo>
                  <a:pt x="646084" y="250975"/>
                  <a:pt x="649844" y="251901"/>
                  <a:pt x="653314" y="253636"/>
                </a:cubicBezTo>
                <a:cubicBezTo>
                  <a:pt x="659215" y="256355"/>
                  <a:pt x="665635" y="257754"/>
                  <a:pt x="672114" y="257743"/>
                </a:cubicBezTo>
                <a:cubicBezTo>
                  <a:pt x="680733" y="257806"/>
                  <a:pt x="689120" y="255180"/>
                  <a:pt x="696119" y="250223"/>
                </a:cubicBezTo>
                <a:cubicBezTo>
                  <a:pt x="705663" y="242686"/>
                  <a:pt x="717406" y="238515"/>
                  <a:pt x="729553" y="238365"/>
                </a:cubicBezTo>
                <a:cubicBezTo>
                  <a:pt x="731867" y="238365"/>
                  <a:pt x="734354" y="238018"/>
                  <a:pt x="737131" y="237671"/>
                </a:cubicBezTo>
                <a:cubicBezTo>
                  <a:pt x="744246" y="237295"/>
                  <a:pt x="750492" y="232760"/>
                  <a:pt x="753038" y="226102"/>
                </a:cubicBezTo>
                <a:cubicBezTo>
                  <a:pt x="755236" y="222105"/>
                  <a:pt x="757955" y="218409"/>
                  <a:pt x="761078" y="215112"/>
                </a:cubicBezTo>
                <a:cubicBezTo>
                  <a:pt x="770102" y="205880"/>
                  <a:pt x="782481" y="200685"/>
                  <a:pt x="795380" y="200708"/>
                </a:cubicBezTo>
                <a:cubicBezTo>
                  <a:pt x="800296" y="200269"/>
                  <a:pt x="805098" y="199019"/>
                  <a:pt x="809610" y="197006"/>
                </a:cubicBezTo>
                <a:cubicBezTo>
                  <a:pt x="814757" y="194762"/>
                  <a:pt x="820195" y="193391"/>
                  <a:pt x="825806" y="192957"/>
                </a:cubicBezTo>
                <a:cubicBezTo>
                  <a:pt x="827541" y="192946"/>
                  <a:pt x="829276" y="193223"/>
                  <a:pt x="830896" y="193767"/>
                </a:cubicBezTo>
                <a:cubicBezTo>
                  <a:pt x="835986" y="195508"/>
                  <a:pt x="841250" y="196468"/>
                  <a:pt x="846630" y="196601"/>
                </a:cubicBezTo>
                <a:cubicBezTo>
                  <a:pt x="851142" y="196601"/>
                  <a:pt x="856637" y="195618"/>
                  <a:pt x="857562" y="190817"/>
                </a:cubicBezTo>
                <a:cubicBezTo>
                  <a:pt x="858488" y="186016"/>
                  <a:pt x="846861" y="176182"/>
                  <a:pt x="837490" y="168373"/>
                </a:cubicBezTo>
                <a:cubicBezTo>
                  <a:pt x="832169" y="164266"/>
                  <a:pt x="827194" y="159737"/>
                  <a:pt x="822625" y="154838"/>
                </a:cubicBezTo>
                <a:cubicBezTo>
                  <a:pt x="820021" y="151425"/>
                  <a:pt x="815915" y="149418"/>
                  <a:pt x="811634" y="149400"/>
                </a:cubicBezTo>
                <a:cubicBezTo>
                  <a:pt x="805850" y="149389"/>
                  <a:pt x="800528" y="152784"/>
                  <a:pt x="798156" y="158077"/>
                </a:cubicBezTo>
                <a:cubicBezTo>
                  <a:pt x="797115" y="160680"/>
                  <a:pt x="795553" y="161953"/>
                  <a:pt x="793471" y="161953"/>
                </a:cubicBezTo>
                <a:cubicBezTo>
                  <a:pt x="791157" y="161669"/>
                  <a:pt x="788959" y="160900"/>
                  <a:pt x="786993" y="159697"/>
                </a:cubicBezTo>
                <a:cubicBezTo>
                  <a:pt x="781960" y="156937"/>
                  <a:pt x="776407" y="155411"/>
                  <a:pt x="770680" y="155243"/>
                </a:cubicBezTo>
                <a:cubicBezTo>
                  <a:pt x="766342" y="155260"/>
                  <a:pt x="762061" y="156006"/>
                  <a:pt x="757955" y="157441"/>
                </a:cubicBezTo>
                <a:cubicBezTo>
                  <a:pt x="756104" y="158123"/>
                  <a:pt x="754137" y="158551"/>
                  <a:pt x="752170" y="158713"/>
                </a:cubicBezTo>
                <a:cubicBezTo>
                  <a:pt x="748121" y="158285"/>
                  <a:pt x="744419" y="156191"/>
                  <a:pt x="741990" y="152929"/>
                </a:cubicBezTo>
                <a:cubicBezTo>
                  <a:pt x="738519" y="149458"/>
                  <a:pt x="737131" y="146219"/>
                  <a:pt x="737941" y="143327"/>
                </a:cubicBezTo>
                <a:cubicBezTo>
                  <a:pt x="738751" y="140435"/>
                  <a:pt x="743725" y="137542"/>
                  <a:pt x="745287" y="137137"/>
                </a:cubicBezTo>
                <a:lnTo>
                  <a:pt x="746906" y="123833"/>
                </a:lnTo>
                <a:lnTo>
                  <a:pt x="746906" y="123486"/>
                </a:lnTo>
                <a:lnTo>
                  <a:pt x="768251" y="80855"/>
                </a:lnTo>
                <a:cubicBezTo>
                  <a:pt x="764202" y="79490"/>
                  <a:pt x="759979" y="78767"/>
                  <a:pt x="755756" y="78715"/>
                </a:cubicBezTo>
                <a:cubicBezTo>
                  <a:pt x="753964" y="78651"/>
                  <a:pt x="752170" y="78888"/>
                  <a:pt x="750435" y="79409"/>
                </a:cubicBezTo>
                <a:cubicBezTo>
                  <a:pt x="743841" y="81838"/>
                  <a:pt x="727297" y="80508"/>
                  <a:pt x="725504" y="73624"/>
                </a:cubicBezTo>
                <a:cubicBezTo>
                  <a:pt x="724984" y="71715"/>
                  <a:pt x="718447" y="69633"/>
                  <a:pt x="708845" y="69633"/>
                </a:cubicBezTo>
                <a:cubicBezTo>
                  <a:pt x="703523" y="69257"/>
                  <a:pt x="698144" y="70275"/>
                  <a:pt x="693342" y="72583"/>
                </a:cubicBezTo>
                <a:cubicBezTo>
                  <a:pt x="690392" y="74590"/>
                  <a:pt x="687269" y="76314"/>
                  <a:pt x="683972" y="77731"/>
                </a:cubicBezTo>
                <a:cubicBezTo>
                  <a:pt x="678535" y="80392"/>
                  <a:pt x="672403" y="83516"/>
                  <a:pt x="671998" y="86350"/>
                </a:cubicBezTo>
                <a:cubicBezTo>
                  <a:pt x="671420" y="90457"/>
                  <a:pt x="665808" y="91325"/>
                  <a:pt x="659909" y="92134"/>
                </a:cubicBezTo>
                <a:cubicBezTo>
                  <a:pt x="656380" y="92430"/>
                  <a:pt x="652909" y="93407"/>
                  <a:pt x="649728" y="95027"/>
                </a:cubicBezTo>
                <a:cubicBezTo>
                  <a:pt x="643308" y="97711"/>
                  <a:pt x="636539" y="99388"/>
                  <a:pt x="629598" y="100001"/>
                </a:cubicBezTo>
                <a:cubicBezTo>
                  <a:pt x="624450" y="100470"/>
                  <a:pt x="619418" y="101621"/>
                  <a:pt x="614558" y="103414"/>
                </a:cubicBezTo>
                <a:cubicBezTo>
                  <a:pt x="613806" y="106538"/>
                  <a:pt x="601023" y="106885"/>
                  <a:pt x="595528" y="106885"/>
                </a:cubicBezTo>
                <a:cubicBezTo>
                  <a:pt x="591884" y="106885"/>
                  <a:pt x="579794" y="106885"/>
                  <a:pt x="576439" y="103877"/>
                </a:cubicBezTo>
                <a:cubicBezTo>
                  <a:pt x="571811" y="102263"/>
                  <a:pt x="566895" y="101592"/>
                  <a:pt x="562036" y="101910"/>
                </a:cubicBezTo>
                <a:cubicBezTo>
                  <a:pt x="552549" y="101621"/>
                  <a:pt x="543526" y="101274"/>
                  <a:pt x="541443" y="97051"/>
                </a:cubicBezTo>
                <a:cubicBezTo>
                  <a:pt x="539535" y="94188"/>
                  <a:pt x="536990" y="91799"/>
                  <a:pt x="534040" y="90052"/>
                </a:cubicBezTo>
                <a:cubicBezTo>
                  <a:pt x="530280" y="87333"/>
                  <a:pt x="526751" y="84846"/>
                  <a:pt x="526751" y="81202"/>
                </a:cubicBezTo>
                <a:cubicBezTo>
                  <a:pt x="526751" y="79062"/>
                  <a:pt x="520967" y="77616"/>
                  <a:pt x="516050" y="76459"/>
                </a:cubicBezTo>
                <a:cubicBezTo>
                  <a:pt x="511133" y="75302"/>
                  <a:pt x="505638" y="73914"/>
                  <a:pt x="504481" y="71195"/>
                </a:cubicBezTo>
                <a:cubicBezTo>
                  <a:pt x="503324" y="68476"/>
                  <a:pt x="492912" y="65410"/>
                  <a:pt x="487590" y="65410"/>
                </a:cubicBezTo>
                <a:cubicBezTo>
                  <a:pt x="486781" y="65312"/>
                  <a:pt x="485913" y="65434"/>
                  <a:pt x="485161" y="65758"/>
                </a:cubicBezTo>
                <a:cubicBezTo>
                  <a:pt x="484582" y="66093"/>
                  <a:pt x="483888" y="66255"/>
                  <a:pt x="483194" y="66220"/>
                </a:cubicBezTo>
                <a:cubicBezTo>
                  <a:pt x="477872" y="65520"/>
                  <a:pt x="472667" y="64283"/>
                  <a:pt x="467634" y="62518"/>
                </a:cubicBezTo>
                <a:cubicBezTo>
                  <a:pt x="464163" y="61535"/>
                  <a:pt x="460924" y="60552"/>
                  <a:pt x="459305" y="60262"/>
                </a:cubicBezTo>
                <a:cubicBezTo>
                  <a:pt x="454388" y="60309"/>
                  <a:pt x="449529" y="60887"/>
                  <a:pt x="444728" y="61998"/>
                </a:cubicBezTo>
                <a:cubicBezTo>
                  <a:pt x="441315" y="62755"/>
                  <a:pt x="437902" y="63259"/>
                  <a:pt x="434431" y="63502"/>
                </a:cubicBezTo>
                <a:cubicBezTo>
                  <a:pt x="431134" y="64329"/>
                  <a:pt x="428068" y="65873"/>
                  <a:pt x="425466" y="68014"/>
                </a:cubicBezTo>
                <a:cubicBezTo>
                  <a:pt x="422400" y="70368"/>
                  <a:pt x="418929" y="72115"/>
                  <a:pt x="415227" y="73162"/>
                </a:cubicBezTo>
                <a:lnTo>
                  <a:pt x="414359" y="73162"/>
                </a:lnTo>
                <a:cubicBezTo>
                  <a:pt x="410021" y="72496"/>
                  <a:pt x="405856" y="71108"/>
                  <a:pt x="402039" y="69055"/>
                </a:cubicBezTo>
                <a:cubicBezTo>
                  <a:pt x="398973" y="67389"/>
                  <a:pt x="395618" y="66197"/>
                  <a:pt x="392205" y="65526"/>
                </a:cubicBezTo>
                <a:cubicBezTo>
                  <a:pt x="391742" y="65526"/>
                  <a:pt x="391569" y="65526"/>
                  <a:pt x="391511" y="65526"/>
                </a:cubicBezTo>
                <a:cubicBezTo>
                  <a:pt x="390991" y="65920"/>
                  <a:pt x="390296" y="66128"/>
                  <a:pt x="389660" y="66105"/>
                </a:cubicBezTo>
                <a:cubicBezTo>
                  <a:pt x="384743" y="66105"/>
                  <a:pt x="375662" y="55693"/>
                  <a:pt x="373001" y="52453"/>
                </a:cubicBezTo>
                <a:cubicBezTo>
                  <a:pt x="370918" y="48375"/>
                  <a:pt x="370166" y="43736"/>
                  <a:pt x="370860" y="39207"/>
                </a:cubicBezTo>
                <a:cubicBezTo>
                  <a:pt x="371324" y="35748"/>
                  <a:pt x="370918" y="32243"/>
                  <a:pt x="369704" y="28969"/>
                </a:cubicBezTo>
                <a:cubicBezTo>
                  <a:pt x="368084" y="26539"/>
                  <a:pt x="361317" y="25324"/>
                  <a:pt x="355359" y="24283"/>
                </a:cubicBezTo>
                <a:cubicBezTo>
                  <a:pt x="351251" y="23826"/>
                  <a:pt x="347202" y="22791"/>
                  <a:pt x="343384" y="21218"/>
                </a:cubicBezTo>
                <a:cubicBezTo>
                  <a:pt x="337427" y="17272"/>
                  <a:pt x="330775" y="14560"/>
                  <a:pt x="323775" y="13235"/>
                </a:cubicBezTo>
                <a:cubicBezTo>
                  <a:pt x="317586" y="13466"/>
                  <a:pt x="311397" y="11962"/>
                  <a:pt x="306017" y="8897"/>
                </a:cubicBezTo>
                <a:cubicBezTo>
                  <a:pt x="299828" y="5455"/>
                  <a:pt x="293234" y="2829"/>
                  <a:pt x="286350" y="1088"/>
                </a:cubicBezTo>
                <a:cubicBezTo>
                  <a:pt x="283631" y="336"/>
                  <a:pt x="282359" y="2129"/>
                  <a:pt x="280566" y="5484"/>
                </a:cubicBezTo>
                <a:cubicBezTo>
                  <a:pt x="279814" y="7005"/>
                  <a:pt x="278889" y="8422"/>
                  <a:pt x="277789" y="9706"/>
                </a:cubicBezTo>
                <a:cubicBezTo>
                  <a:pt x="275938" y="11158"/>
                  <a:pt x="273856" y="12275"/>
                  <a:pt x="271600" y="13004"/>
                </a:cubicBezTo>
                <a:cubicBezTo>
                  <a:pt x="268014" y="14450"/>
                  <a:pt x="264312" y="15954"/>
                  <a:pt x="263502" y="18788"/>
                </a:cubicBezTo>
                <a:cubicBezTo>
                  <a:pt x="262692" y="21622"/>
                  <a:pt x="259915" y="23473"/>
                  <a:pt x="257197" y="25266"/>
                </a:cubicBezTo>
                <a:cubicBezTo>
                  <a:pt x="253611" y="27638"/>
                  <a:pt x="251412" y="29258"/>
                  <a:pt x="252164" y="31919"/>
                </a:cubicBezTo>
                <a:cubicBezTo>
                  <a:pt x="254420" y="40711"/>
                  <a:pt x="257949" y="51354"/>
                  <a:pt x="261477" y="53957"/>
                </a:cubicBezTo>
                <a:cubicBezTo>
                  <a:pt x="266278" y="57833"/>
                  <a:pt x="263444" y="68303"/>
                  <a:pt x="260898" y="71658"/>
                </a:cubicBezTo>
                <a:cubicBezTo>
                  <a:pt x="258238" y="73809"/>
                  <a:pt x="255114" y="75296"/>
                  <a:pt x="251759" y="75996"/>
                </a:cubicBezTo>
                <a:cubicBezTo>
                  <a:pt x="246495" y="77731"/>
                  <a:pt x="240190" y="79929"/>
                  <a:pt x="238340" y="82880"/>
                </a:cubicBezTo>
                <a:cubicBezTo>
                  <a:pt x="237414" y="84592"/>
                  <a:pt x="235620" y="85644"/>
                  <a:pt x="233712" y="85598"/>
                </a:cubicBezTo>
                <a:cubicBezTo>
                  <a:pt x="229084" y="84742"/>
                  <a:pt x="224688" y="82752"/>
                  <a:pt x="220986" y="79814"/>
                </a:cubicBezTo>
                <a:lnTo>
                  <a:pt x="217400" y="77558"/>
                </a:lnTo>
                <a:cubicBezTo>
                  <a:pt x="214797" y="76036"/>
                  <a:pt x="211789" y="75256"/>
                  <a:pt x="208781" y="75302"/>
                </a:cubicBezTo>
                <a:cubicBezTo>
                  <a:pt x="204500" y="75290"/>
                  <a:pt x="200336" y="76626"/>
                  <a:pt x="196865" y="79120"/>
                </a:cubicBezTo>
                <a:cubicBezTo>
                  <a:pt x="196113" y="79721"/>
                  <a:pt x="195187" y="80028"/>
                  <a:pt x="194204" y="79987"/>
                </a:cubicBezTo>
                <a:cubicBezTo>
                  <a:pt x="189114" y="78963"/>
                  <a:pt x="184313" y="76893"/>
                  <a:pt x="180032" y="73914"/>
                </a:cubicBezTo>
                <a:cubicBezTo>
                  <a:pt x="177950" y="72543"/>
                  <a:pt x="175694" y="71403"/>
                  <a:pt x="173323" y="70501"/>
                </a:cubicBezTo>
                <a:cubicBezTo>
                  <a:pt x="170719" y="69980"/>
                  <a:pt x="169505" y="65989"/>
                  <a:pt x="168174" y="61824"/>
                </a:cubicBezTo>
                <a:cubicBezTo>
                  <a:pt x="167365" y="59337"/>
                  <a:pt x="166034" y="55114"/>
                  <a:pt x="164993" y="55114"/>
                </a:cubicBezTo>
                <a:lnTo>
                  <a:pt x="163547" y="55114"/>
                </a:lnTo>
                <a:cubicBezTo>
                  <a:pt x="151052" y="53790"/>
                  <a:pt x="138616" y="51586"/>
                  <a:pt x="126410" y="48520"/>
                </a:cubicBezTo>
                <a:cubicBezTo>
                  <a:pt x="124328" y="47994"/>
                  <a:pt x="122130" y="47739"/>
                  <a:pt x="119990" y="47768"/>
                </a:cubicBezTo>
                <a:cubicBezTo>
                  <a:pt x="114205" y="47768"/>
                  <a:pt x="109115" y="49214"/>
                  <a:pt x="108421" y="51065"/>
                </a:cubicBezTo>
                <a:cubicBezTo>
                  <a:pt x="107727" y="52916"/>
                  <a:pt x="103562" y="54420"/>
                  <a:pt x="99050" y="55404"/>
                </a:cubicBezTo>
                <a:cubicBezTo>
                  <a:pt x="94539" y="56387"/>
                  <a:pt x="90779" y="57197"/>
                  <a:pt x="89737" y="59279"/>
                </a:cubicBezTo>
                <a:cubicBezTo>
                  <a:pt x="87365" y="62449"/>
                  <a:pt x="84069" y="64844"/>
                  <a:pt x="80309" y="66162"/>
                </a:cubicBezTo>
                <a:cubicBezTo>
                  <a:pt x="77186" y="67435"/>
                  <a:pt x="74293" y="69280"/>
                  <a:pt x="71864" y="71600"/>
                </a:cubicBezTo>
                <a:cubicBezTo>
                  <a:pt x="69145" y="73966"/>
                  <a:pt x="65905" y="75637"/>
                  <a:pt x="62435" y="76459"/>
                </a:cubicBezTo>
                <a:cubicBezTo>
                  <a:pt x="57634" y="78078"/>
                  <a:pt x="52659" y="79756"/>
                  <a:pt x="50866" y="83458"/>
                </a:cubicBezTo>
                <a:cubicBezTo>
                  <a:pt x="47684" y="90631"/>
                  <a:pt x="33513" y="93986"/>
                  <a:pt x="24952" y="95374"/>
                </a:cubicBezTo>
                <a:cubicBezTo>
                  <a:pt x="12457" y="97514"/>
                  <a:pt x="7599" y="100117"/>
                  <a:pt x="7599" y="101737"/>
                </a:cubicBezTo>
                <a:cubicBezTo>
                  <a:pt x="7599" y="103356"/>
                  <a:pt x="6383" y="104455"/>
                  <a:pt x="3202" y="104455"/>
                </a:cubicBezTo>
                <a:lnTo>
                  <a:pt x="3202" y="104455"/>
                </a:lnTo>
                <a:cubicBezTo>
                  <a:pt x="3376" y="105045"/>
                  <a:pt x="3549" y="105641"/>
                  <a:pt x="3665" y="106249"/>
                </a:cubicBezTo>
                <a:cubicBezTo>
                  <a:pt x="4185" y="114717"/>
                  <a:pt x="9045" y="122306"/>
                  <a:pt x="16564" y="126263"/>
                </a:cubicBezTo>
                <a:cubicBezTo>
                  <a:pt x="18762" y="127599"/>
                  <a:pt x="20902" y="129109"/>
                  <a:pt x="22870" y="130775"/>
                </a:cubicBezTo>
                <a:cubicBezTo>
                  <a:pt x="30794" y="137658"/>
                  <a:pt x="38083" y="143385"/>
                  <a:pt x="46817" y="143905"/>
                </a:cubicBezTo>
                <a:cubicBezTo>
                  <a:pt x="56477" y="144542"/>
                  <a:pt x="69955" y="155763"/>
                  <a:pt x="71343" y="163919"/>
                </a:cubicBezTo>
                <a:cubicBezTo>
                  <a:pt x="73830" y="171902"/>
                  <a:pt x="78747" y="178895"/>
                  <a:pt x="85457" y="183876"/>
                </a:cubicBezTo>
                <a:cubicBezTo>
                  <a:pt x="89101" y="186710"/>
                  <a:pt x="87713" y="192899"/>
                  <a:pt x="86093" y="200072"/>
                </a:cubicBezTo>
                <a:cubicBezTo>
                  <a:pt x="85052" y="204023"/>
                  <a:pt x="84416" y="208078"/>
                  <a:pt x="84242" y="212161"/>
                </a:cubicBezTo>
                <a:cubicBezTo>
                  <a:pt x="84011" y="216112"/>
                  <a:pt x="82391" y="219849"/>
                  <a:pt x="79615" y="222689"/>
                </a:cubicBezTo>
                <a:cubicBezTo>
                  <a:pt x="76780" y="226275"/>
                  <a:pt x="74756" y="228821"/>
                  <a:pt x="77880" y="233911"/>
                </a:cubicBezTo>
                <a:cubicBezTo>
                  <a:pt x="83664" y="243282"/>
                  <a:pt x="125601" y="248430"/>
                  <a:pt x="138442" y="248430"/>
                </a:cubicBezTo>
                <a:cubicBezTo>
                  <a:pt x="145326" y="249361"/>
                  <a:pt x="151399" y="253416"/>
                  <a:pt x="154928" y="259420"/>
                </a:cubicBezTo>
                <a:cubicBezTo>
                  <a:pt x="156374" y="261040"/>
                  <a:pt x="157704" y="262486"/>
                  <a:pt x="158572" y="262660"/>
                </a:cubicBezTo>
                <a:cubicBezTo>
                  <a:pt x="162216" y="263498"/>
                  <a:pt x="165398" y="265691"/>
                  <a:pt x="167480" y="268791"/>
                </a:cubicBezTo>
                <a:cubicBezTo>
                  <a:pt x="169563" y="271834"/>
                  <a:pt x="172629" y="274032"/>
                  <a:pt x="176215" y="274980"/>
                </a:cubicBezTo>
                <a:cubicBezTo>
                  <a:pt x="187784" y="277294"/>
                  <a:pt x="195187" y="285103"/>
                  <a:pt x="198253" y="298697"/>
                </a:cubicBezTo>
                <a:cubicBezTo>
                  <a:pt x="199931" y="305921"/>
                  <a:pt x="203517" y="312579"/>
                  <a:pt x="208550" y="318017"/>
                </a:cubicBezTo>
                <a:cubicBezTo>
                  <a:pt x="211094" y="320510"/>
                  <a:pt x="213062" y="323529"/>
                  <a:pt x="214334" y="326867"/>
                </a:cubicBezTo>
                <a:cubicBezTo>
                  <a:pt x="214797" y="328833"/>
                  <a:pt x="217631" y="329759"/>
                  <a:pt x="223531" y="329759"/>
                </a:cubicBezTo>
                <a:cubicBezTo>
                  <a:pt x="225961" y="329759"/>
                  <a:pt x="228679" y="329759"/>
                  <a:pt x="231514" y="329470"/>
                </a:cubicBezTo>
                <a:cubicBezTo>
                  <a:pt x="234348" y="329180"/>
                  <a:pt x="237992" y="329123"/>
                  <a:pt x="241232" y="329123"/>
                </a:cubicBezTo>
                <a:cubicBezTo>
                  <a:pt x="243661" y="329094"/>
                  <a:pt x="246148" y="329233"/>
                  <a:pt x="248577" y="329528"/>
                </a:cubicBezTo>
                <a:cubicBezTo>
                  <a:pt x="255519" y="330395"/>
                  <a:pt x="269112" y="330395"/>
                  <a:pt x="282301" y="330395"/>
                </a:cubicBezTo>
                <a:cubicBezTo>
                  <a:pt x="292771" y="330117"/>
                  <a:pt x="303241" y="330407"/>
                  <a:pt x="313710" y="331263"/>
                </a:cubicBezTo>
                <a:cubicBezTo>
                  <a:pt x="316314" y="331726"/>
                  <a:pt x="319842" y="331899"/>
                  <a:pt x="323891" y="332188"/>
                </a:cubicBezTo>
                <a:cubicBezTo>
                  <a:pt x="336039" y="332940"/>
                  <a:pt x="352813" y="333924"/>
                  <a:pt x="363457" y="342022"/>
                </a:cubicBezTo>
                <a:cubicBezTo>
                  <a:pt x="367564" y="345458"/>
                  <a:pt x="372712" y="347344"/>
                  <a:pt x="378033" y="347344"/>
                </a:cubicBezTo>
                <a:cubicBezTo>
                  <a:pt x="379364" y="347344"/>
                  <a:pt x="380636" y="347344"/>
                  <a:pt x="381909" y="347344"/>
                </a:cubicBezTo>
                <a:lnTo>
                  <a:pt x="385495" y="347344"/>
                </a:lnTo>
                <a:cubicBezTo>
                  <a:pt x="388214" y="347268"/>
                  <a:pt x="390933" y="347968"/>
                  <a:pt x="393304" y="349368"/>
                </a:cubicBezTo>
                <a:cubicBezTo>
                  <a:pt x="399610" y="353857"/>
                  <a:pt x="407071" y="356390"/>
                  <a:pt x="414823" y="356657"/>
                </a:cubicBezTo>
                <a:cubicBezTo>
                  <a:pt x="416731" y="356651"/>
                  <a:pt x="418698" y="356518"/>
                  <a:pt x="420607" y="356252"/>
                </a:cubicBezTo>
                <a:cubicBezTo>
                  <a:pt x="421474" y="355910"/>
                  <a:pt x="422342" y="355638"/>
                  <a:pt x="423210" y="35544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3" name="Forma libre: forma 322">
            <a:extLst>
              <a:ext uri="{FF2B5EF4-FFF2-40B4-BE49-F238E27FC236}">
                <a16:creationId xmlns:a16="http://schemas.microsoft.com/office/drawing/2014/main" id="{E76371BE-ACEC-791B-9042-75C2EA1F3FA8}"/>
              </a:ext>
            </a:extLst>
          </p:cNvPr>
          <p:cNvSpPr/>
          <p:nvPr/>
        </p:nvSpPr>
        <p:spPr>
          <a:xfrm>
            <a:off x="7128504" y="3549596"/>
            <a:ext cx="16051" cy="39777"/>
          </a:xfrm>
          <a:custGeom>
            <a:avLst/>
            <a:gdLst>
              <a:gd name="connsiteX0" fmla="*/ 11113 w 16051"/>
              <a:gd name="connsiteY0" fmla="*/ 39648 h 39777"/>
              <a:gd name="connsiteX1" fmla="*/ 10303 w 16051"/>
              <a:gd name="connsiteY1" fmla="*/ 39301 h 39777"/>
              <a:gd name="connsiteX2" fmla="*/ -110 w 16051"/>
              <a:gd name="connsiteY2" fmla="*/ 21196 h 39777"/>
              <a:gd name="connsiteX3" fmla="*/ 6311 w 16051"/>
              <a:gd name="connsiteY3" fmla="*/ 372 h 39777"/>
              <a:gd name="connsiteX4" fmla="*/ 15046 w 16051"/>
              <a:gd name="connsiteY4" fmla="*/ 82 h 39777"/>
              <a:gd name="connsiteX5" fmla="*/ 15856 w 16051"/>
              <a:gd name="connsiteY5" fmla="*/ 545 h 39777"/>
              <a:gd name="connsiteX6" fmla="*/ 15856 w 16051"/>
              <a:gd name="connsiteY6" fmla="*/ 1413 h 39777"/>
              <a:gd name="connsiteX7" fmla="*/ 14872 w 16051"/>
              <a:gd name="connsiteY7" fmla="*/ 6850 h 39777"/>
              <a:gd name="connsiteX8" fmla="*/ 13600 w 16051"/>
              <a:gd name="connsiteY8" fmla="*/ 20039 h 39777"/>
              <a:gd name="connsiteX9" fmla="*/ 11922 w 16051"/>
              <a:gd name="connsiteY9" fmla="*/ 38664 h 39777"/>
              <a:gd name="connsiteX10" fmla="*/ 11170 w 16051"/>
              <a:gd name="connsiteY10" fmla="*/ 39590 h 39777"/>
              <a:gd name="connsiteX11" fmla="*/ 10476 w 16051"/>
              <a:gd name="connsiteY11" fmla="*/ 2223 h 39777"/>
              <a:gd name="connsiteX12" fmla="*/ 7121 w 16051"/>
              <a:gd name="connsiteY12" fmla="*/ 2512 h 39777"/>
              <a:gd name="connsiteX13" fmla="*/ 2146 w 16051"/>
              <a:gd name="connsiteY13" fmla="*/ 21196 h 39777"/>
              <a:gd name="connsiteX14" fmla="*/ 10245 w 16051"/>
              <a:gd name="connsiteY14" fmla="*/ 36004 h 39777"/>
              <a:gd name="connsiteX15" fmla="*/ 11633 w 16051"/>
              <a:gd name="connsiteY15" fmla="*/ 19865 h 39777"/>
              <a:gd name="connsiteX16" fmla="*/ 12963 w 16051"/>
              <a:gd name="connsiteY16" fmla="*/ 6272 h 39777"/>
              <a:gd name="connsiteX17" fmla="*/ 13715 w 16051"/>
              <a:gd name="connsiteY17" fmla="*/ 2281 h 3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51" h="39777">
                <a:moveTo>
                  <a:pt x="11113" y="39648"/>
                </a:moveTo>
                <a:cubicBezTo>
                  <a:pt x="10823" y="39659"/>
                  <a:pt x="10534" y="39532"/>
                  <a:pt x="10303" y="39301"/>
                </a:cubicBezTo>
                <a:cubicBezTo>
                  <a:pt x="5097" y="34465"/>
                  <a:pt x="1452" y="28148"/>
                  <a:pt x="-110" y="21196"/>
                </a:cubicBezTo>
                <a:cubicBezTo>
                  <a:pt x="-110" y="21196"/>
                  <a:pt x="932" y="2512"/>
                  <a:pt x="6311" y="372"/>
                </a:cubicBezTo>
                <a:cubicBezTo>
                  <a:pt x="9203" y="-178"/>
                  <a:pt x="12153" y="-276"/>
                  <a:pt x="15046" y="82"/>
                </a:cubicBezTo>
                <a:cubicBezTo>
                  <a:pt x="15393" y="100"/>
                  <a:pt x="15682" y="273"/>
                  <a:pt x="15856" y="545"/>
                </a:cubicBezTo>
                <a:cubicBezTo>
                  <a:pt x="15971" y="823"/>
                  <a:pt x="15971" y="1135"/>
                  <a:pt x="15856" y="1413"/>
                </a:cubicBezTo>
                <a:cubicBezTo>
                  <a:pt x="15624" y="3241"/>
                  <a:pt x="15277" y="5057"/>
                  <a:pt x="14872" y="6850"/>
                </a:cubicBezTo>
                <a:cubicBezTo>
                  <a:pt x="14178" y="11217"/>
                  <a:pt x="13773" y="15619"/>
                  <a:pt x="13600" y="20039"/>
                </a:cubicBezTo>
                <a:cubicBezTo>
                  <a:pt x="13137" y="25823"/>
                  <a:pt x="12674" y="32765"/>
                  <a:pt x="11922" y="38664"/>
                </a:cubicBezTo>
                <a:cubicBezTo>
                  <a:pt x="11865" y="39098"/>
                  <a:pt x="11575" y="39469"/>
                  <a:pt x="11170" y="39590"/>
                </a:cubicBezTo>
                <a:close/>
                <a:moveTo>
                  <a:pt x="10476" y="2223"/>
                </a:moveTo>
                <a:cubicBezTo>
                  <a:pt x="9377" y="2142"/>
                  <a:pt x="8220" y="2240"/>
                  <a:pt x="7121" y="2512"/>
                </a:cubicBezTo>
                <a:cubicBezTo>
                  <a:pt x="4229" y="3669"/>
                  <a:pt x="2146" y="17147"/>
                  <a:pt x="2146" y="21196"/>
                </a:cubicBezTo>
                <a:cubicBezTo>
                  <a:pt x="3535" y="26749"/>
                  <a:pt x="6311" y="31851"/>
                  <a:pt x="10245" y="36004"/>
                </a:cubicBezTo>
                <a:cubicBezTo>
                  <a:pt x="10823" y="30740"/>
                  <a:pt x="11286" y="25013"/>
                  <a:pt x="11633" y="19865"/>
                </a:cubicBezTo>
                <a:cubicBezTo>
                  <a:pt x="11807" y="15313"/>
                  <a:pt x="12211" y="10772"/>
                  <a:pt x="12963" y="6272"/>
                </a:cubicBezTo>
                <a:cubicBezTo>
                  <a:pt x="12963" y="5462"/>
                  <a:pt x="13426" y="4074"/>
                  <a:pt x="13715" y="228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4" name="Forma libre: forma 323">
            <a:extLst>
              <a:ext uri="{FF2B5EF4-FFF2-40B4-BE49-F238E27FC236}">
                <a16:creationId xmlns:a16="http://schemas.microsoft.com/office/drawing/2014/main" id="{94E4E206-976F-D0AF-4CF4-749BAFE11EA3}"/>
              </a:ext>
            </a:extLst>
          </p:cNvPr>
          <p:cNvSpPr/>
          <p:nvPr/>
        </p:nvSpPr>
        <p:spPr>
          <a:xfrm>
            <a:off x="7105005" y="3525914"/>
            <a:ext cx="41901" cy="116387"/>
          </a:xfrm>
          <a:custGeom>
            <a:avLst/>
            <a:gdLst>
              <a:gd name="connsiteX0" fmla="*/ 22349 w 41901"/>
              <a:gd name="connsiteY0" fmla="*/ 116200 h 116387"/>
              <a:gd name="connsiteX1" fmla="*/ 21770 w 41901"/>
              <a:gd name="connsiteY1" fmla="*/ 116200 h 116387"/>
              <a:gd name="connsiteX2" fmla="*/ 18993 w 41901"/>
              <a:gd name="connsiteY2" fmla="*/ 114639 h 116387"/>
              <a:gd name="connsiteX3" fmla="*/ 18473 w 41901"/>
              <a:gd name="connsiteY3" fmla="*/ 113251 h 116387"/>
              <a:gd name="connsiteX4" fmla="*/ 19457 w 41901"/>
              <a:gd name="connsiteY4" fmla="*/ 110532 h 116387"/>
              <a:gd name="connsiteX5" fmla="*/ 20 w 41901"/>
              <a:gd name="connsiteY5" fmla="*/ 62810 h 116387"/>
              <a:gd name="connsiteX6" fmla="*/ 20 w 41901"/>
              <a:gd name="connsiteY6" fmla="*/ 61827 h 116387"/>
              <a:gd name="connsiteX7" fmla="*/ 21423 w 41901"/>
              <a:gd name="connsiteY7" fmla="*/ 13585 h 116387"/>
              <a:gd name="connsiteX8" fmla="*/ 25877 w 41901"/>
              <a:gd name="connsiteY8" fmla="*/ 512 h 116387"/>
              <a:gd name="connsiteX9" fmla="*/ 27265 w 41901"/>
              <a:gd name="connsiteY9" fmla="*/ -49 h 116387"/>
              <a:gd name="connsiteX10" fmla="*/ 27323 w 41901"/>
              <a:gd name="connsiteY10" fmla="*/ -9 h 116387"/>
              <a:gd name="connsiteX11" fmla="*/ 41090 w 41901"/>
              <a:gd name="connsiteY11" fmla="*/ 5776 h 116387"/>
              <a:gd name="connsiteX12" fmla="*/ 41784 w 41901"/>
              <a:gd name="connsiteY12" fmla="*/ 6933 h 116387"/>
              <a:gd name="connsiteX13" fmla="*/ 39528 w 41901"/>
              <a:gd name="connsiteY13" fmla="*/ 25154 h 116387"/>
              <a:gd name="connsiteX14" fmla="*/ 38371 w 41901"/>
              <a:gd name="connsiteY14" fmla="*/ 26079 h 116387"/>
              <a:gd name="connsiteX15" fmla="*/ 38371 w 41901"/>
              <a:gd name="connsiteY15" fmla="*/ 26079 h 116387"/>
              <a:gd name="connsiteX16" fmla="*/ 33918 w 41901"/>
              <a:gd name="connsiteY16" fmla="*/ 26079 h 116387"/>
              <a:gd name="connsiteX17" fmla="*/ 30562 w 41901"/>
              <a:gd name="connsiteY17" fmla="*/ 26368 h 116387"/>
              <a:gd name="connsiteX18" fmla="*/ 25588 w 41901"/>
              <a:gd name="connsiteY18" fmla="*/ 45052 h 116387"/>
              <a:gd name="connsiteX19" fmla="*/ 35364 w 41901"/>
              <a:gd name="connsiteY19" fmla="*/ 61595 h 116387"/>
              <a:gd name="connsiteX20" fmla="*/ 35364 w 41901"/>
              <a:gd name="connsiteY20" fmla="*/ 62521 h 116387"/>
              <a:gd name="connsiteX21" fmla="*/ 31662 w 41901"/>
              <a:gd name="connsiteY21" fmla="*/ 76346 h 116387"/>
              <a:gd name="connsiteX22" fmla="*/ 23100 w 41901"/>
              <a:gd name="connsiteY22" fmla="*/ 115391 h 116387"/>
              <a:gd name="connsiteX23" fmla="*/ 22522 w 41901"/>
              <a:gd name="connsiteY23" fmla="*/ 116258 h 116387"/>
              <a:gd name="connsiteX24" fmla="*/ 22349 w 41901"/>
              <a:gd name="connsiteY24" fmla="*/ 116200 h 116387"/>
              <a:gd name="connsiteX25" fmla="*/ 20903 w 41901"/>
              <a:gd name="connsiteY25" fmla="*/ 113019 h 116387"/>
              <a:gd name="connsiteX26" fmla="*/ 21423 w 41901"/>
              <a:gd name="connsiteY26" fmla="*/ 113019 h 116387"/>
              <a:gd name="connsiteX27" fmla="*/ 30215 w 41901"/>
              <a:gd name="connsiteY27" fmla="*/ 74495 h 116387"/>
              <a:gd name="connsiteX28" fmla="*/ 33396 w 41901"/>
              <a:gd name="connsiteY28" fmla="*/ 62347 h 116387"/>
              <a:gd name="connsiteX29" fmla="*/ 23390 w 41901"/>
              <a:gd name="connsiteY29" fmla="*/ 44589 h 116387"/>
              <a:gd name="connsiteX30" fmla="*/ 29810 w 41901"/>
              <a:gd name="connsiteY30" fmla="*/ 23765 h 116387"/>
              <a:gd name="connsiteX31" fmla="*/ 37561 w 41901"/>
              <a:gd name="connsiteY31" fmla="*/ 23418 h 116387"/>
              <a:gd name="connsiteX32" fmla="*/ 39528 w 41901"/>
              <a:gd name="connsiteY32" fmla="*/ 7164 h 116387"/>
              <a:gd name="connsiteX33" fmla="*/ 27554 w 41901"/>
              <a:gd name="connsiteY33" fmla="*/ 2074 h 116387"/>
              <a:gd name="connsiteX34" fmla="*/ 23737 w 41901"/>
              <a:gd name="connsiteY34" fmla="*/ 13643 h 116387"/>
              <a:gd name="connsiteX35" fmla="*/ 2334 w 41901"/>
              <a:gd name="connsiteY35" fmla="*/ 62174 h 116387"/>
              <a:gd name="connsiteX36" fmla="*/ 21712 w 41901"/>
              <a:gd name="connsiteY36" fmla="*/ 109722 h 116387"/>
              <a:gd name="connsiteX37" fmla="*/ 21712 w 41901"/>
              <a:gd name="connsiteY37" fmla="*/ 110532 h 116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1901" h="116387">
                <a:moveTo>
                  <a:pt x="22349" y="116200"/>
                </a:moveTo>
                <a:lnTo>
                  <a:pt x="21770" y="116200"/>
                </a:lnTo>
                <a:lnTo>
                  <a:pt x="18993" y="114639"/>
                </a:lnTo>
                <a:cubicBezTo>
                  <a:pt x="18531" y="114361"/>
                  <a:pt x="18299" y="113777"/>
                  <a:pt x="18473" y="113251"/>
                </a:cubicBezTo>
                <a:lnTo>
                  <a:pt x="19457" y="110532"/>
                </a:lnTo>
                <a:lnTo>
                  <a:pt x="20" y="62810"/>
                </a:lnTo>
                <a:cubicBezTo>
                  <a:pt x="-153" y="62504"/>
                  <a:pt x="-153" y="62134"/>
                  <a:pt x="20" y="61827"/>
                </a:cubicBezTo>
                <a:cubicBezTo>
                  <a:pt x="5805" y="52398"/>
                  <a:pt x="19109" y="28277"/>
                  <a:pt x="21423" y="13585"/>
                </a:cubicBezTo>
                <a:cubicBezTo>
                  <a:pt x="22291" y="9044"/>
                  <a:pt x="23795" y="4648"/>
                  <a:pt x="25877" y="512"/>
                </a:cubicBezTo>
                <a:cubicBezTo>
                  <a:pt x="26108" y="-20"/>
                  <a:pt x="26687" y="-269"/>
                  <a:pt x="27265" y="-49"/>
                </a:cubicBezTo>
                <a:cubicBezTo>
                  <a:pt x="27265" y="-37"/>
                  <a:pt x="27323" y="-26"/>
                  <a:pt x="27323" y="-9"/>
                </a:cubicBezTo>
                <a:lnTo>
                  <a:pt x="41090" y="5776"/>
                </a:lnTo>
                <a:cubicBezTo>
                  <a:pt x="41553" y="5955"/>
                  <a:pt x="41842" y="6435"/>
                  <a:pt x="41784" y="6933"/>
                </a:cubicBezTo>
                <a:cubicBezTo>
                  <a:pt x="41032" y="13701"/>
                  <a:pt x="40222" y="20526"/>
                  <a:pt x="39528" y="25154"/>
                </a:cubicBezTo>
                <a:cubicBezTo>
                  <a:pt x="39413" y="25703"/>
                  <a:pt x="38950" y="26091"/>
                  <a:pt x="38371" y="26079"/>
                </a:cubicBezTo>
                <a:lnTo>
                  <a:pt x="38371" y="26079"/>
                </a:lnTo>
                <a:lnTo>
                  <a:pt x="33918" y="26079"/>
                </a:lnTo>
                <a:cubicBezTo>
                  <a:pt x="32818" y="25998"/>
                  <a:pt x="31662" y="26097"/>
                  <a:pt x="30562" y="26368"/>
                </a:cubicBezTo>
                <a:cubicBezTo>
                  <a:pt x="27670" y="27525"/>
                  <a:pt x="25588" y="41003"/>
                  <a:pt x="25588" y="45052"/>
                </a:cubicBezTo>
                <a:cubicBezTo>
                  <a:pt x="27207" y="51386"/>
                  <a:pt x="30562" y="57130"/>
                  <a:pt x="35364" y="61595"/>
                </a:cubicBezTo>
                <a:cubicBezTo>
                  <a:pt x="35479" y="61885"/>
                  <a:pt x="35479" y="62232"/>
                  <a:pt x="35364" y="62521"/>
                </a:cubicBezTo>
                <a:cubicBezTo>
                  <a:pt x="35190" y="67345"/>
                  <a:pt x="33918" y="72065"/>
                  <a:pt x="31662" y="76346"/>
                </a:cubicBezTo>
                <a:cubicBezTo>
                  <a:pt x="29348" y="79354"/>
                  <a:pt x="25877" y="94336"/>
                  <a:pt x="23100" y="115391"/>
                </a:cubicBezTo>
                <a:cubicBezTo>
                  <a:pt x="23043" y="115755"/>
                  <a:pt x="22811" y="116073"/>
                  <a:pt x="22522" y="116258"/>
                </a:cubicBezTo>
                <a:cubicBezTo>
                  <a:pt x="22464" y="116247"/>
                  <a:pt x="22406" y="116224"/>
                  <a:pt x="22349" y="116200"/>
                </a:cubicBezTo>
                <a:close/>
                <a:moveTo>
                  <a:pt x="20903" y="113019"/>
                </a:moveTo>
                <a:lnTo>
                  <a:pt x="21423" y="113019"/>
                </a:lnTo>
                <a:cubicBezTo>
                  <a:pt x="23100" y="101797"/>
                  <a:pt x="26744" y="79122"/>
                  <a:pt x="30215" y="74495"/>
                </a:cubicBezTo>
                <a:cubicBezTo>
                  <a:pt x="32066" y="70700"/>
                  <a:pt x="33166" y="66570"/>
                  <a:pt x="33396" y="62347"/>
                </a:cubicBezTo>
                <a:cubicBezTo>
                  <a:pt x="28364" y="57535"/>
                  <a:pt x="24894" y="51363"/>
                  <a:pt x="23390" y="44589"/>
                </a:cubicBezTo>
                <a:cubicBezTo>
                  <a:pt x="23390" y="44589"/>
                  <a:pt x="24431" y="25906"/>
                  <a:pt x="29810" y="23765"/>
                </a:cubicBezTo>
                <a:cubicBezTo>
                  <a:pt x="32356" y="23251"/>
                  <a:pt x="34958" y="23129"/>
                  <a:pt x="37561" y="23418"/>
                </a:cubicBezTo>
                <a:cubicBezTo>
                  <a:pt x="38198" y="19080"/>
                  <a:pt x="38892" y="13180"/>
                  <a:pt x="39528" y="7164"/>
                </a:cubicBezTo>
                <a:lnTo>
                  <a:pt x="27554" y="2074"/>
                </a:lnTo>
                <a:cubicBezTo>
                  <a:pt x="25819" y="5758"/>
                  <a:pt x="24546" y="9646"/>
                  <a:pt x="23737" y="13643"/>
                </a:cubicBezTo>
                <a:cubicBezTo>
                  <a:pt x="21423" y="28393"/>
                  <a:pt x="8524" y="52341"/>
                  <a:pt x="2334" y="62174"/>
                </a:cubicBezTo>
                <a:lnTo>
                  <a:pt x="21712" y="109722"/>
                </a:lnTo>
                <a:cubicBezTo>
                  <a:pt x="21828" y="109977"/>
                  <a:pt x="21828" y="110277"/>
                  <a:pt x="21712" y="11053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5" name="Forma libre: forma 324">
            <a:extLst>
              <a:ext uri="{FF2B5EF4-FFF2-40B4-BE49-F238E27FC236}">
                <a16:creationId xmlns:a16="http://schemas.microsoft.com/office/drawing/2014/main" id="{C16CCCAF-7854-478C-C13B-F604B36E61BC}"/>
              </a:ext>
            </a:extLst>
          </p:cNvPr>
          <p:cNvSpPr/>
          <p:nvPr/>
        </p:nvSpPr>
        <p:spPr>
          <a:xfrm>
            <a:off x="7126355" y="3524111"/>
            <a:ext cx="117808" cy="128718"/>
          </a:xfrm>
          <a:custGeom>
            <a:avLst/>
            <a:gdLst>
              <a:gd name="connsiteX0" fmla="*/ 26739 w 117808"/>
              <a:gd name="connsiteY0" fmla="*/ 128589 h 128718"/>
              <a:gd name="connsiteX1" fmla="*/ 25235 w 117808"/>
              <a:gd name="connsiteY1" fmla="*/ 128589 h 128718"/>
              <a:gd name="connsiteX2" fmla="*/ 478 w 117808"/>
              <a:gd name="connsiteY2" fmla="*/ 117946 h 128718"/>
              <a:gd name="connsiteX3" fmla="*/ -101 w 117808"/>
              <a:gd name="connsiteY3" fmla="*/ 116789 h 128718"/>
              <a:gd name="connsiteX4" fmla="*/ 8923 w 117808"/>
              <a:gd name="connsiteY4" fmla="*/ 76645 h 128718"/>
              <a:gd name="connsiteX5" fmla="*/ 13782 w 117808"/>
              <a:gd name="connsiteY5" fmla="*/ 45583 h 128718"/>
              <a:gd name="connsiteX6" fmla="*/ 15170 w 117808"/>
              <a:gd name="connsiteY6" fmla="*/ 31816 h 128718"/>
              <a:gd name="connsiteX7" fmla="*/ 18352 w 117808"/>
              <a:gd name="connsiteY7" fmla="*/ 8678 h 128718"/>
              <a:gd name="connsiteX8" fmla="*/ 18872 w 117808"/>
              <a:gd name="connsiteY8" fmla="*/ 7810 h 128718"/>
              <a:gd name="connsiteX9" fmla="*/ 19913 w 117808"/>
              <a:gd name="connsiteY9" fmla="*/ 7810 h 128718"/>
              <a:gd name="connsiteX10" fmla="*/ 20376 w 117808"/>
              <a:gd name="connsiteY10" fmla="*/ 7810 h 128718"/>
              <a:gd name="connsiteX11" fmla="*/ 21070 w 117808"/>
              <a:gd name="connsiteY11" fmla="*/ 8620 h 128718"/>
              <a:gd name="connsiteX12" fmla="*/ 23153 w 117808"/>
              <a:gd name="connsiteY12" fmla="*/ 17817 h 128718"/>
              <a:gd name="connsiteX13" fmla="*/ 46869 w 117808"/>
              <a:gd name="connsiteY13" fmla="*/ 30196 h 128718"/>
              <a:gd name="connsiteX14" fmla="*/ 72667 w 117808"/>
              <a:gd name="connsiteY14" fmla="*/ 16371 h 128718"/>
              <a:gd name="connsiteX15" fmla="*/ 107374 w 117808"/>
              <a:gd name="connsiteY15" fmla="*/ 1 h 128718"/>
              <a:gd name="connsiteX16" fmla="*/ 108415 w 117808"/>
              <a:gd name="connsiteY16" fmla="*/ 1 h 128718"/>
              <a:gd name="connsiteX17" fmla="*/ 109051 w 117808"/>
              <a:gd name="connsiteY17" fmla="*/ 927 h 128718"/>
              <a:gd name="connsiteX18" fmla="*/ 111192 w 117808"/>
              <a:gd name="connsiteY18" fmla="*/ 14115 h 128718"/>
              <a:gd name="connsiteX19" fmla="*/ 117612 w 117808"/>
              <a:gd name="connsiteY19" fmla="*/ 41013 h 128718"/>
              <a:gd name="connsiteX20" fmla="*/ 117612 w 117808"/>
              <a:gd name="connsiteY20" fmla="*/ 41938 h 128718"/>
              <a:gd name="connsiteX21" fmla="*/ 116744 w 117808"/>
              <a:gd name="connsiteY21" fmla="*/ 42401 h 128718"/>
              <a:gd name="connsiteX22" fmla="*/ 115241 w 117808"/>
              <a:gd name="connsiteY22" fmla="*/ 42401 h 128718"/>
              <a:gd name="connsiteX23" fmla="*/ 106622 w 117808"/>
              <a:gd name="connsiteY23" fmla="*/ 45293 h 128718"/>
              <a:gd name="connsiteX24" fmla="*/ 87244 w 117808"/>
              <a:gd name="connsiteY24" fmla="*/ 51078 h 128718"/>
              <a:gd name="connsiteX25" fmla="*/ 59594 w 117808"/>
              <a:gd name="connsiteY25" fmla="*/ 64671 h 128718"/>
              <a:gd name="connsiteX26" fmla="*/ 60462 w 117808"/>
              <a:gd name="connsiteY26" fmla="*/ 66042 h 128718"/>
              <a:gd name="connsiteX27" fmla="*/ 60578 w 117808"/>
              <a:gd name="connsiteY27" fmla="*/ 66059 h 128718"/>
              <a:gd name="connsiteX28" fmla="*/ 83079 w 117808"/>
              <a:gd name="connsiteY28" fmla="*/ 88561 h 128718"/>
              <a:gd name="connsiteX29" fmla="*/ 81229 w 117808"/>
              <a:gd name="connsiteY29" fmla="*/ 91916 h 128718"/>
              <a:gd name="connsiteX30" fmla="*/ 75444 w 117808"/>
              <a:gd name="connsiteY30" fmla="*/ 97700 h 128718"/>
              <a:gd name="connsiteX31" fmla="*/ 64512 w 117808"/>
              <a:gd name="connsiteY31" fmla="*/ 104988 h 128718"/>
              <a:gd name="connsiteX32" fmla="*/ 48373 w 117808"/>
              <a:gd name="connsiteY32" fmla="*/ 111409 h 128718"/>
              <a:gd name="connsiteX33" fmla="*/ 26739 w 117808"/>
              <a:gd name="connsiteY33" fmla="*/ 128589 h 128718"/>
              <a:gd name="connsiteX34" fmla="*/ 2213 w 117808"/>
              <a:gd name="connsiteY34" fmla="*/ 116268 h 128718"/>
              <a:gd name="connsiteX35" fmla="*/ 25351 w 117808"/>
              <a:gd name="connsiteY35" fmla="*/ 126275 h 128718"/>
              <a:gd name="connsiteX36" fmla="*/ 39465 w 117808"/>
              <a:gd name="connsiteY36" fmla="*/ 120491 h 128718"/>
              <a:gd name="connsiteX37" fmla="*/ 45654 w 117808"/>
              <a:gd name="connsiteY37" fmla="*/ 110947 h 128718"/>
              <a:gd name="connsiteX38" fmla="*/ 64048 w 117808"/>
              <a:gd name="connsiteY38" fmla="*/ 102270 h 128718"/>
              <a:gd name="connsiteX39" fmla="*/ 73188 w 117808"/>
              <a:gd name="connsiteY39" fmla="*/ 95907 h 128718"/>
              <a:gd name="connsiteX40" fmla="*/ 79725 w 117808"/>
              <a:gd name="connsiteY40" fmla="*/ 89428 h 128718"/>
              <a:gd name="connsiteX41" fmla="*/ 80303 w 117808"/>
              <a:gd name="connsiteY41" fmla="*/ 88272 h 128718"/>
              <a:gd name="connsiteX42" fmla="*/ 59363 w 117808"/>
              <a:gd name="connsiteY42" fmla="*/ 67795 h 128718"/>
              <a:gd name="connsiteX43" fmla="*/ 56876 w 117808"/>
              <a:gd name="connsiteY43" fmla="*/ 63861 h 128718"/>
              <a:gd name="connsiteX44" fmla="*/ 86608 w 117808"/>
              <a:gd name="connsiteY44" fmla="*/ 48301 h 128718"/>
              <a:gd name="connsiteX45" fmla="*/ 104713 w 117808"/>
              <a:gd name="connsiteY45" fmla="*/ 43037 h 128718"/>
              <a:gd name="connsiteX46" fmla="*/ 114720 w 117808"/>
              <a:gd name="connsiteY46" fmla="*/ 39740 h 128718"/>
              <a:gd name="connsiteX47" fmla="*/ 114720 w 117808"/>
              <a:gd name="connsiteY47" fmla="*/ 39740 h 128718"/>
              <a:gd name="connsiteX48" fmla="*/ 108589 w 117808"/>
              <a:gd name="connsiteY48" fmla="*/ 14289 h 128718"/>
              <a:gd name="connsiteX49" fmla="*/ 106565 w 117808"/>
              <a:gd name="connsiteY49" fmla="*/ 2373 h 128718"/>
              <a:gd name="connsiteX50" fmla="*/ 72725 w 117808"/>
              <a:gd name="connsiteY50" fmla="*/ 18222 h 128718"/>
              <a:gd name="connsiteX51" fmla="*/ 47331 w 117808"/>
              <a:gd name="connsiteY51" fmla="*/ 32047 h 128718"/>
              <a:gd name="connsiteX52" fmla="*/ 46117 w 117808"/>
              <a:gd name="connsiteY52" fmla="*/ 32047 h 128718"/>
              <a:gd name="connsiteX53" fmla="*/ 21359 w 117808"/>
              <a:gd name="connsiteY53" fmla="*/ 19148 h 128718"/>
              <a:gd name="connsiteX54" fmla="*/ 20723 w 117808"/>
              <a:gd name="connsiteY54" fmla="*/ 18396 h 128718"/>
              <a:gd name="connsiteX55" fmla="*/ 19682 w 117808"/>
              <a:gd name="connsiteY55" fmla="*/ 13710 h 128718"/>
              <a:gd name="connsiteX56" fmla="*/ 17079 w 117808"/>
              <a:gd name="connsiteY56" fmla="*/ 31989 h 128718"/>
              <a:gd name="connsiteX57" fmla="*/ 15749 w 117808"/>
              <a:gd name="connsiteY57" fmla="*/ 45351 h 128718"/>
              <a:gd name="connsiteX58" fmla="*/ 10427 w 117808"/>
              <a:gd name="connsiteY58" fmla="*/ 77628 h 128718"/>
              <a:gd name="connsiteX59" fmla="*/ 2097 w 117808"/>
              <a:gd name="connsiteY59" fmla="*/ 116268 h 12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7808" h="128718">
                <a:moveTo>
                  <a:pt x="26739" y="128589"/>
                </a:moveTo>
                <a:lnTo>
                  <a:pt x="25235" y="128589"/>
                </a:lnTo>
                <a:cubicBezTo>
                  <a:pt x="16501" y="126304"/>
                  <a:pt x="8171" y="122718"/>
                  <a:pt x="478" y="117946"/>
                </a:cubicBezTo>
                <a:cubicBezTo>
                  <a:pt x="73" y="117714"/>
                  <a:pt x="-159" y="117257"/>
                  <a:pt x="-101" y="116789"/>
                </a:cubicBezTo>
                <a:cubicBezTo>
                  <a:pt x="1403" y="106319"/>
                  <a:pt x="5221" y="81504"/>
                  <a:pt x="8923" y="76645"/>
                </a:cubicBezTo>
                <a:cubicBezTo>
                  <a:pt x="11873" y="72712"/>
                  <a:pt x="12972" y="57036"/>
                  <a:pt x="13782" y="45583"/>
                </a:cubicBezTo>
                <a:cubicBezTo>
                  <a:pt x="13956" y="40972"/>
                  <a:pt x="14418" y="36374"/>
                  <a:pt x="15170" y="31816"/>
                </a:cubicBezTo>
                <a:cubicBezTo>
                  <a:pt x="15864" y="29097"/>
                  <a:pt x="17021" y="20536"/>
                  <a:pt x="18352" y="8678"/>
                </a:cubicBezTo>
                <a:cubicBezTo>
                  <a:pt x="18409" y="8325"/>
                  <a:pt x="18583" y="8013"/>
                  <a:pt x="18872" y="7810"/>
                </a:cubicBezTo>
                <a:cubicBezTo>
                  <a:pt x="19219" y="7671"/>
                  <a:pt x="19566" y="7671"/>
                  <a:pt x="19913" y="7810"/>
                </a:cubicBezTo>
                <a:lnTo>
                  <a:pt x="20376" y="7810"/>
                </a:lnTo>
                <a:cubicBezTo>
                  <a:pt x="20723" y="7943"/>
                  <a:pt x="21013" y="8250"/>
                  <a:pt x="21070" y="8620"/>
                </a:cubicBezTo>
                <a:lnTo>
                  <a:pt x="23153" y="17817"/>
                </a:lnTo>
                <a:lnTo>
                  <a:pt x="46869" y="30196"/>
                </a:lnTo>
                <a:cubicBezTo>
                  <a:pt x="50108" y="27998"/>
                  <a:pt x="65610" y="17412"/>
                  <a:pt x="72667" y="16371"/>
                </a:cubicBezTo>
                <a:cubicBezTo>
                  <a:pt x="74055" y="16371"/>
                  <a:pt x="80419" y="13768"/>
                  <a:pt x="107374" y="1"/>
                </a:cubicBezTo>
                <a:cubicBezTo>
                  <a:pt x="107721" y="-172"/>
                  <a:pt x="108068" y="-172"/>
                  <a:pt x="108415" y="1"/>
                </a:cubicBezTo>
                <a:cubicBezTo>
                  <a:pt x="108762" y="186"/>
                  <a:pt x="108994" y="533"/>
                  <a:pt x="109051" y="927"/>
                </a:cubicBezTo>
                <a:cubicBezTo>
                  <a:pt x="109341" y="5381"/>
                  <a:pt x="110035" y="9800"/>
                  <a:pt x="111192" y="14115"/>
                </a:cubicBezTo>
                <a:cubicBezTo>
                  <a:pt x="113100" y="20883"/>
                  <a:pt x="116050" y="33840"/>
                  <a:pt x="117612" y="41013"/>
                </a:cubicBezTo>
                <a:cubicBezTo>
                  <a:pt x="117728" y="41302"/>
                  <a:pt x="117728" y="41649"/>
                  <a:pt x="117612" y="41938"/>
                </a:cubicBezTo>
                <a:cubicBezTo>
                  <a:pt x="117439" y="42222"/>
                  <a:pt x="117092" y="42390"/>
                  <a:pt x="116744" y="42401"/>
                </a:cubicBezTo>
                <a:lnTo>
                  <a:pt x="115241" y="42401"/>
                </a:lnTo>
                <a:cubicBezTo>
                  <a:pt x="112117" y="42147"/>
                  <a:pt x="108994" y="43193"/>
                  <a:pt x="106622" y="45293"/>
                </a:cubicBezTo>
                <a:cubicBezTo>
                  <a:pt x="101011" y="49395"/>
                  <a:pt x="94186" y="51436"/>
                  <a:pt x="87244" y="51078"/>
                </a:cubicBezTo>
                <a:cubicBezTo>
                  <a:pt x="69891" y="51887"/>
                  <a:pt x="60115" y="60969"/>
                  <a:pt x="59594" y="64671"/>
                </a:cubicBezTo>
                <a:cubicBezTo>
                  <a:pt x="59479" y="65296"/>
                  <a:pt x="59884" y="65909"/>
                  <a:pt x="60462" y="66042"/>
                </a:cubicBezTo>
                <a:cubicBezTo>
                  <a:pt x="60520" y="66048"/>
                  <a:pt x="60520" y="66054"/>
                  <a:pt x="60578" y="66059"/>
                </a:cubicBezTo>
                <a:cubicBezTo>
                  <a:pt x="66362" y="68026"/>
                  <a:pt x="82617" y="81909"/>
                  <a:pt x="83079" y="88561"/>
                </a:cubicBezTo>
                <a:cubicBezTo>
                  <a:pt x="83253" y="89961"/>
                  <a:pt x="82501" y="91320"/>
                  <a:pt x="81229" y="91916"/>
                </a:cubicBezTo>
                <a:cubicBezTo>
                  <a:pt x="78857" y="93356"/>
                  <a:pt x="76890" y="95340"/>
                  <a:pt x="75444" y="97700"/>
                </a:cubicBezTo>
                <a:cubicBezTo>
                  <a:pt x="73361" y="101911"/>
                  <a:pt x="69197" y="104688"/>
                  <a:pt x="64512" y="104988"/>
                </a:cubicBezTo>
                <a:cubicBezTo>
                  <a:pt x="53347" y="104988"/>
                  <a:pt x="48373" y="106955"/>
                  <a:pt x="48373" y="111409"/>
                </a:cubicBezTo>
                <a:cubicBezTo>
                  <a:pt x="48025" y="118061"/>
                  <a:pt x="36804" y="128589"/>
                  <a:pt x="26739" y="128589"/>
                </a:cubicBezTo>
                <a:close/>
                <a:moveTo>
                  <a:pt x="2213" y="116268"/>
                </a:moveTo>
                <a:cubicBezTo>
                  <a:pt x="9386" y="120705"/>
                  <a:pt x="17195" y="124077"/>
                  <a:pt x="25351" y="126275"/>
                </a:cubicBezTo>
                <a:cubicBezTo>
                  <a:pt x="30615" y="126322"/>
                  <a:pt x="35705" y="124239"/>
                  <a:pt x="39465" y="120491"/>
                </a:cubicBezTo>
                <a:cubicBezTo>
                  <a:pt x="42704" y="118223"/>
                  <a:pt x="44902" y="114805"/>
                  <a:pt x="45654" y="110947"/>
                </a:cubicBezTo>
                <a:cubicBezTo>
                  <a:pt x="45654" y="103253"/>
                  <a:pt x="55488" y="102270"/>
                  <a:pt x="64048" y="102270"/>
                </a:cubicBezTo>
                <a:cubicBezTo>
                  <a:pt x="68560" y="102270"/>
                  <a:pt x="70701" y="99320"/>
                  <a:pt x="73188" y="95907"/>
                </a:cubicBezTo>
                <a:cubicBezTo>
                  <a:pt x="74807" y="93229"/>
                  <a:pt x="77005" y="91002"/>
                  <a:pt x="79725" y="89428"/>
                </a:cubicBezTo>
                <a:cubicBezTo>
                  <a:pt x="80129" y="89428"/>
                  <a:pt x="80361" y="88966"/>
                  <a:pt x="80303" y="88272"/>
                </a:cubicBezTo>
                <a:cubicBezTo>
                  <a:pt x="79956" y="83008"/>
                  <a:pt x="64742" y="69588"/>
                  <a:pt x="59363" y="67795"/>
                </a:cubicBezTo>
                <a:cubicBezTo>
                  <a:pt x="57628" y="67338"/>
                  <a:pt x="56529" y="65620"/>
                  <a:pt x="56876" y="63861"/>
                </a:cubicBezTo>
                <a:cubicBezTo>
                  <a:pt x="57628" y="58077"/>
                  <a:pt x="69602" y="49169"/>
                  <a:pt x="86608" y="48301"/>
                </a:cubicBezTo>
                <a:cubicBezTo>
                  <a:pt x="98177" y="47723"/>
                  <a:pt x="101821" y="45236"/>
                  <a:pt x="104713" y="43037"/>
                </a:cubicBezTo>
                <a:cubicBezTo>
                  <a:pt x="107490" y="40701"/>
                  <a:pt x="111076" y="39520"/>
                  <a:pt x="114720" y="39740"/>
                </a:cubicBezTo>
                <a:lnTo>
                  <a:pt x="114720" y="39740"/>
                </a:lnTo>
                <a:cubicBezTo>
                  <a:pt x="113100" y="32394"/>
                  <a:pt x="110382" y="20594"/>
                  <a:pt x="108589" y="14289"/>
                </a:cubicBezTo>
                <a:cubicBezTo>
                  <a:pt x="107605" y="10378"/>
                  <a:pt x="106911" y="6393"/>
                  <a:pt x="106565" y="2373"/>
                </a:cubicBezTo>
                <a:cubicBezTo>
                  <a:pt x="95690" y="8458"/>
                  <a:pt x="84352" y="13757"/>
                  <a:pt x="72725" y="18222"/>
                </a:cubicBezTo>
                <a:cubicBezTo>
                  <a:pt x="65494" y="19263"/>
                  <a:pt x="47505" y="31931"/>
                  <a:pt x="47331" y="32047"/>
                </a:cubicBezTo>
                <a:cubicBezTo>
                  <a:pt x="46985" y="32278"/>
                  <a:pt x="46464" y="32278"/>
                  <a:pt x="46117" y="32047"/>
                </a:cubicBezTo>
                <a:lnTo>
                  <a:pt x="21359" y="19148"/>
                </a:lnTo>
                <a:cubicBezTo>
                  <a:pt x="21070" y="18986"/>
                  <a:pt x="20839" y="18720"/>
                  <a:pt x="20723" y="18396"/>
                </a:cubicBezTo>
                <a:lnTo>
                  <a:pt x="19682" y="13710"/>
                </a:lnTo>
                <a:cubicBezTo>
                  <a:pt x="18930" y="20594"/>
                  <a:pt x="17831" y="28923"/>
                  <a:pt x="17079" y="31989"/>
                </a:cubicBezTo>
                <a:cubicBezTo>
                  <a:pt x="16385" y="36414"/>
                  <a:pt x="15922" y="40874"/>
                  <a:pt x="15749" y="45351"/>
                </a:cubicBezTo>
                <a:cubicBezTo>
                  <a:pt x="14881" y="57730"/>
                  <a:pt x="13840" y="73117"/>
                  <a:pt x="10427" y="77628"/>
                </a:cubicBezTo>
                <a:cubicBezTo>
                  <a:pt x="8402" y="80983"/>
                  <a:pt x="5163" y="95618"/>
                  <a:pt x="2097" y="11626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6" name="Forma libre: forma 325">
            <a:extLst>
              <a:ext uri="{FF2B5EF4-FFF2-40B4-BE49-F238E27FC236}">
                <a16:creationId xmlns:a16="http://schemas.microsoft.com/office/drawing/2014/main" id="{4D08A9DB-4964-384F-1E2C-685164B0F44C}"/>
              </a:ext>
            </a:extLst>
          </p:cNvPr>
          <p:cNvSpPr/>
          <p:nvPr/>
        </p:nvSpPr>
        <p:spPr>
          <a:xfrm>
            <a:off x="8081892" y="3213664"/>
            <a:ext cx="300502" cy="128053"/>
          </a:xfrm>
          <a:custGeom>
            <a:avLst/>
            <a:gdLst>
              <a:gd name="connsiteX0" fmla="*/ 92616 w 300502"/>
              <a:gd name="connsiteY0" fmla="*/ 127891 h 128053"/>
              <a:gd name="connsiteX1" fmla="*/ 86427 w 300502"/>
              <a:gd name="connsiteY1" fmla="*/ 127197 h 128053"/>
              <a:gd name="connsiteX2" fmla="*/ 79139 w 300502"/>
              <a:gd name="connsiteY2" fmla="*/ 127197 h 128053"/>
              <a:gd name="connsiteX3" fmla="*/ 74395 w 300502"/>
              <a:gd name="connsiteY3" fmla="*/ 127197 h 128053"/>
              <a:gd name="connsiteX4" fmla="*/ 63232 w 300502"/>
              <a:gd name="connsiteY4" fmla="*/ 122511 h 128053"/>
              <a:gd name="connsiteX5" fmla="*/ 59588 w 300502"/>
              <a:gd name="connsiteY5" fmla="*/ 120545 h 128053"/>
              <a:gd name="connsiteX6" fmla="*/ 53803 w 300502"/>
              <a:gd name="connsiteY6" fmla="*/ 121933 h 128053"/>
              <a:gd name="connsiteX7" fmla="*/ 45473 w 300502"/>
              <a:gd name="connsiteY7" fmla="*/ 123784 h 128053"/>
              <a:gd name="connsiteX8" fmla="*/ 38648 w 300502"/>
              <a:gd name="connsiteY8" fmla="*/ 121701 h 128053"/>
              <a:gd name="connsiteX9" fmla="*/ 27079 w 300502"/>
              <a:gd name="connsiteY9" fmla="*/ 119388 h 128053"/>
              <a:gd name="connsiteX10" fmla="*/ 15510 w 300502"/>
              <a:gd name="connsiteY10" fmla="*/ 120024 h 128053"/>
              <a:gd name="connsiteX11" fmla="*/ 6660 w 300502"/>
              <a:gd name="connsiteY11" fmla="*/ 120545 h 128053"/>
              <a:gd name="connsiteX12" fmla="*/ -107 w 300502"/>
              <a:gd name="connsiteY12" fmla="*/ 117768 h 128053"/>
              <a:gd name="connsiteX13" fmla="*/ 3074 w 300502"/>
              <a:gd name="connsiteY13" fmla="*/ 109901 h 128053"/>
              <a:gd name="connsiteX14" fmla="*/ 20427 w 300502"/>
              <a:gd name="connsiteY14" fmla="*/ 100299 h 128053"/>
              <a:gd name="connsiteX15" fmla="*/ 25633 w 300502"/>
              <a:gd name="connsiteY15" fmla="*/ 100299 h 128053"/>
              <a:gd name="connsiteX16" fmla="*/ 59414 w 300502"/>
              <a:gd name="connsiteY16" fmla="*/ 94977 h 128053"/>
              <a:gd name="connsiteX17" fmla="*/ 69710 w 300502"/>
              <a:gd name="connsiteY17" fmla="*/ 94341 h 128053"/>
              <a:gd name="connsiteX18" fmla="*/ 77057 w 300502"/>
              <a:gd name="connsiteY18" fmla="*/ 95267 h 128053"/>
              <a:gd name="connsiteX19" fmla="*/ 85039 w 300502"/>
              <a:gd name="connsiteY19" fmla="*/ 90928 h 128053"/>
              <a:gd name="connsiteX20" fmla="*/ 97707 w 300502"/>
              <a:gd name="connsiteY20" fmla="*/ 83524 h 128053"/>
              <a:gd name="connsiteX21" fmla="*/ 101177 w 300502"/>
              <a:gd name="connsiteY21" fmla="*/ 82483 h 128053"/>
              <a:gd name="connsiteX22" fmla="*/ 97186 w 300502"/>
              <a:gd name="connsiteY22" fmla="*/ 78260 h 128053"/>
              <a:gd name="connsiteX23" fmla="*/ 63348 w 300502"/>
              <a:gd name="connsiteY23" fmla="*/ 59577 h 128053"/>
              <a:gd name="connsiteX24" fmla="*/ 61265 w 300502"/>
              <a:gd name="connsiteY24" fmla="*/ 60502 h 128053"/>
              <a:gd name="connsiteX25" fmla="*/ 49696 w 300502"/>
              <a:gd name="connsiteY25" fmla="*/ 66692 h 128053"/>
              <a:gd name="connsiteX26" fmla="*/ 38128 w 300502"/>
              <a:gd name="connsiteY26" fmla="*/ 61948 h 128053"/>
              <a:gd name="connsiteX27" fmla="*/ 36970 w 300502"/>
              <a:gd name="connsiteY27" fmla="*/ 60618 h 128053"/>
              <a:gd name="connsiteX28" fmla="*/ 28467 w 300502"/>
              <a:gd name="connsiteY28" fmla="*/ 53214 h 128053"/>
              <a:gd name="connsiteX29" fmla="*/ 27831 w 300502"/>
              <a:gd name="connsiteY29" fmla="*/ 52635 h 128053"/>
              <a:gd name="connsiteX30" fmla="*/ 27831 w 300502"/>
              <a:gd name="connsiteY30" fmla="*/ 51768 h 128053"/>
              <a:gd name="connsiteX31" fmla="*/ 36681 w 300502"/>
              <a:gd name="connsiteY31" fmla="*/ 35918 h 128053"/>
              <a:gd name="connsiteX32" fmla="*/ 52993 w 300502"/>
              <a:gd name="connsiteY32" fmla="*/ 18276 h 128053"/>
              <a:gd name="connsiteX33" fmla="*/ 68148 w 300502"/>
              <a:gd name="connsiteY33" fmla="*/ 11103 h 128053"/>
              <a:gd name="connsiteX34" fmla="*/ 91749 w 300502"/>
              <a:gd name="connsiteY34" fmla="*/ 16540 h 128053"/>
              <a:gd name="connsiteX35" fmla="*/ 114366 w 300502"/>
              <a:gd name="connsiteY35" fmla="*/ 13475 h 128053"/>
              <a:gd name="connsiteX36" fmla="*/ 136983 w 300502"/>
              <a:gd name="connsiteY36" fmla="*/ -119 h 128053"/>
              <a:gd name="connsiteX37" fmla="*/ 144272 w 300502"/>
              <a:gd name="connsiteY37" fmla="*/ 1212 h 128053"/>
              <a:gd name="connsiteX38" fmla="*/ 146354 w 300502"/>
              <a:gd name="connsiteY38" fmla="*/ 2253 h 128053"/>
              <a:gd name="connsiteX39" fmla="*/ 175276 w 300502"/>
              <a:gd name="connsiteY39" fmla="*/ 12434 h 128053"/>
              <a:gd name="connsiteX40" fmla="*/ 179846 w 300502"/>
              <a:gd name="connsiteY40" fmla="*/ 11682 h 128053"/>
              <a:gd name="connsiteX41" fmla="*/ 195059 w 300502"/>
              <a:gd name="connsiteY41" fmla="*/ 10062 h 128053"/>
              <a:gd name="connsiteX42" fmla="*/ 250820 w 300502"/>
              <a:gd name="connsiteY42" fmla="*/ 15846 h 128053"/>
              <a:gd name="connsiteX43" fmla="*/ 261001 w 300502"/>
              <a:gd name="connsiteY43" fmla="*/ 16367 h 128053"/>
              <a:gd name="connsiteX44" fmla="*/ 277256 w 300502"/>
              <a:gd name="connsiteY44" fmla="*/ 23482 h 128053"/>
              <a:gd name="connsiteX45" fmla="*/ 286973 w 300502"/>
              <a:gd name="connsiteY45" fmla="*/ 28399 h 128053"/>
              <a:gd name="connsiteX46" fmla="*/ 289287 w 300502"/>
              <a:gd name="connsiteY46" fmla="*/ 28399 h 128053"/>
              <a:gd name="connsiteX47" fmla="*/ 299988 w 300502"/>
              <a:gd name="connsiteY47" fmla="*/ 32274 h 128053"/>
              <a:gd name="connsiteX48" fmla="*/ 300393 w 300502"/>
              <a:gd name="connsiteY48" fmla="*/ 33142 h 128053"/>
              <a:gd name="connsiteX49" fmla="*/ 297270 w 300502"/>
              <a:gd name="connsiteY49" fmla="*/ 40025 h 128053"/>
              <a:gd name="connsiteX50" fmla="*/ 295823 w 300502"/>
              <a:gd name="connsiteY50" fmla="*/ 40662 h 128053"/>
              <a:gd name="connsiteX51" fmla="*/ 273207 w 300502"/>
              <a:gd name="connsiteY51" fmla="*/ 52230 h 128053"/>
              <a:gd name="connsiteX52" fmla="*/ 263835 w 300502"/>
              <a:gd name="connsiteY52" fmla="*/ 56569 h 128053"/>
              <a:gd name="connsiteX53" fmla="*/ 252266 w 300502"/>
              <a:gd name="connsiteY53" fmla="*/ 63973 h 128053"/>
              <a:gd name="connsiteX54" fmla="*/ 232368 w 300502"/>
              <a:gd name="connsiteY54" fmla="*/ 76814 h 128053"/>
              <a:gd name="connsiteX55" fmla="*/ 232368 w 300502"/>
              <a:gd name="connsiteY55" fmla="*/ 76814 h 128053"/>
              <a:gd name="connsiteX56" fmla="*/ 228782 w 300502"/>
              <a:gd name="connsiteY56" fmla="*/ 76814 h 128053"/>
              <a:gd name="connsiteX57" fmla="*/ 225890 w 300502"/>
              <a:gd name="connsiteY57" fmla="*/ 76467 h 128053"/>
              <a:gd name="connsiteX58" fmla="*/ 218833 w 300502"/>
              <a:gd name="connsiteY58" fmla="*/ 75831 h 128053"/>
              <a:gd name="connsiteX59" fmla="*/ 204950 w 300502"/>
              <a:gd name="connsiteY59" fmla="*/ 83698 h 128053"/>
              <a:gd name="connsiteX60" fmla="*/ 193786 w 300502"/>
              <a:gd name="connsiteY60" fmla="*/ 92027 h 128053"/>
              <a:gd name="connsiteX61" fmla="*/ 188407 w 300502"/>
              <a:gd name="connsiteY61" fmla="*/ 94746 h 128053"/>
              <a:gd name="connsiteX62" fmla="*/ 183779 w 300502"/>
              <a:gd name="connsiteY62" fmla="*/ 96481 h 128053"/>
              <a:gd name="connsiteX63" fmla="*/ 174756 w 300502"/>
              <a:gd name="connsiteY63" fmla="*/ 92201 h 128053"/>
              <a:gd name="connsiteX64" fmla="*/ 170359 w 300502"/>
              <a:gd name="connsiteY64" fmla="*/ 89482 h 128053"/>
              <a:gd name="connsiteX65" fmla="*/ 162030 w 300502"/>
              <a:gd name="connsiteY65" fmla="*/ 92027 h 128053"/>
              <a:gd name="connsiteX66" fmla="*/ 154394 w 300502"/>
              <a:gd name="connsiteY66" fmla="*/ 94977 h 128053"/>
              <a:gd name="connsiteX67" fmla="*/ 147742 w 300502"/>
              <a:gd name="connsiteY67" fmla="*/ 99142 h 128053"/>
              <a:gd name="connsiteX68" fmla="*/ 139528 w 300502"/>
              <a:gd name="connsiteY68" fmla="*/ 104637 h 128053"/>
              <a:gd name="connsiteX69" fmla="*/ 134611 w 300502"/>
              <a:gd name="connsiteY69" fmla="*/ 105621 h 128053"/>
              <a:gd name="connsiteX70" fmla="*/ 128249 w 300502"/>
              <a:gd name="connsiteY70" fmla="*/ 110827 h 128053"/>
              <a:gd name="connsiteX71" fmla="*/ 123506 w 300502"/>
              <a:gd name="connsiteY71" fmla="*/ 125114 h 128053"/>
              <a:gd name="connsiteX72" fmla="*/ 122812 w 300502"/>
              <a:gd name="connsiteY72" fmla="*/ 125461 h 128053"/>
              <a:gd name="connsiteX73" fmla="*/ 92616 w 300502"/>
              <a:gd name="connsiteY73" fmla="*/ 127891 h 128053"/>
              <a:gd name="connsiteX74" fmla="*/ 83072 w 300502"/>
              <a:gd name="connsiteY74" fmla="*/ 124478 h 128053"/>
              <a:gd name="connsiteX75" fmla="*/ 87237 w 300502"/>
              <a:gd name="connsiteY75" fmla="*/ 125114 h 128053"/>
              <a:gd name="connsiteX76" fmla="*/ 92616 w 300502"/>
              <a:gd name="connsiteY76" fmla="*/ 125635 h 128053"/>
              <a:gd name="connsiteX77" fmla="*/ 121539 w 300502"/>
              <a:gd name="connsiteY77" fmla="*/ 122974 h 128053"/>
              <a:gd name="connsiteX78" fmla="*/ 125472 w 300502"/>
              <a:gd name="connsiteY78" fmla="*/ 110480 h 128053"/>
              <a:gd name="connsiteX79" fmla="*/ 133802 w 300502"/>
              <a:gd name="connsiteY79" fmla="*/ 103018 h 128053"/>
              <a:gd name="connsiteX80" fmla="*/ 138371 w 300502"/>
              <a:gd name="connsiteY80" fmla="*/ 102150 h 128053"/>
              <a:gd name="connsiteX81" fmla="*/ 145660 w 300502"/>
              <a:gd name="connsiteY81" fmla="*/ 97118 h 128053"/>
              <a:gd name="connsiteX82" fmla="*/ 153874 w 300502"/>
              <a:gd name="connsiteY82" fmla="*/ 92374 h 128053"/>
              <a:gd name="connsiteX83" fmla="*/ 160410 w 300502"/>
              <a:gd name="connsiteY83" fmla="*/ 89714 h 128053"/>
              <a:gd name="connsiteX84" fmla="*/ 168508 w 300502"/>
              <a:gd name="connsiteY84" fmla="*/ 86648 h 128053"/>
              <a:gd name="connsiteX85" fmla="*/ 170590 w 300502"/>
              <a:gd name="connsiteY85" fmla="*/ 86995 h 128053"/>
              <a:gd name="connsiteX86" fmla="*/ 175566 w 300502"/>
              <a:gd name="connsiteY86" fmla="*/ 90061 h 128053"/>
              <a:gd name="connsiteX87" fmla="*/ 183259 w 300502"/>
              <a:gd name="connsiteY87" fmla="*/ 93878 h 128053"/>
              <a:gd name="connsiteX88" fmla="*/ 186498 w 300502"/>
              <a:gd name="connsiteY88" fmla="*/ 92664 h 128053"/>
              <a:gd name="connsiteX89" fmla="*/ 192571 w 300502"/>
              <a:gd name="connsiteY89" fmla="*/ 89540 h 128053"/>
              <a:gd name="connsiteX90" fmla="*/ 202636 w 300502"/>
              <a:gd name="connsiteY90" fmla="*/ 81905 h 128053"/>
              <a:gd name="connsiteX91" fmla="*/ 218312 w 300502"/>
              <a:gd name="connsiteY91" fmla="*/ 73228 h 128053"/>
              <a:gd name="connsiteX92" fmla="*/ 225600 w 300502"/>
              <a:gd name="connsiteY92" fmla="*/ 73864 h 128053"/>
              <a:gd name="connsiteX93" fmla="*/ 228493 w 300502"/>
              <a:gd name="connsiteY93" fmla="*/ 74211 h 128053"/>
              <a:gd name="connsiteX94" fmla="*/ 231848 w 300502"/>
              <a:gd name="connsiteY94" fmla="*/ 74211 h 128053"/>
              <a:gd name="connsiteX95" fmla="*/ 249201 w 300502"/>
              <a:gd name="connsiteY95" fmla="*/ 62642 h 128053"/>
              <a:gd name="connsiteX96" fmla="*/ 261927 w 300502"/>
              <a:gd name="connsiteY96" fmla="*/ 54081 h 128053"/>
              <a:gd name="connsiteX97" fmla="*/ 270719 w 300502"/>
              <a:gd name="connsiteY97" fmla="*/ 50090 h 128053"/>
              <a:gd name="connsiteX98" fmla="*/ 293857 w 300502"/>
              <a:gd name="connsiteY98" fmla="*/ 38521 h 128053"/>
              <a:gd name="connsiteX99" fmla="*/ 295303 w 300502"/>
              <a:gd name="connsiteY99" fmla="*/ 37885 h 128053"/>
              <a:gd name="connsiteX100" fmla="*/ 297096 w 300502"/>
              <a:gd name="connsiteY100" fmla="*/ 33605 h 128053"/>
              <a:gd name="connsiteX101" fmla="*/ 288246 w 300502"/>
              <a:gd name="connsiteY101" fmla="*/ 30654 h 128053"/>
              <a:gd name="connsiteX102" fmla="*/ 285932 w 300502"/>
              <a:gd name="connsiteY102" fmla="*/ 30654 h 128053"/>
              <a:gd name="connsiteX103" fmla="*/ 274363 w 300502"/>
              <a:gd name="connsiteY103" fmla="*/ 24870 h 128053"/>
              <a:gd name="connsiteX104" fmla="*/ 260076 w 300502"/>
              <a:gd name="connsiteY104" fmla="*/ 18507 h 128053"/>
              <a:gd name="connsiteX105" fmla="*/ 255564 w 300502"/>
              <a:gd name="connsiteY105" fmla="*/ 18796 h 128053"/>
              <a:gd name="connsiteX106" fmla="*/ 249085 w 300502"/>
              <a:gd name="connsiteY106" fmla="*/ 17929 h 128053"/>
              <a:gd name="connsiteX107" fmla="*/ 193902 w 300502"/>
              <a:gd name="connsiteY107" fmla="*/ 12144 h 128053"/>
              <a:gd name="connsiteX108" fmla="*/ 179557 w 300502"/>
              <a:gd name="connsiteY108" fmla="*/ 13590 h 128053"/>
              <a:gd name="connsiteX109" fmla="*/ 174120 w 300502"/>
              <a:gd name="connsiteY109" fmla="*/ 14574 h 128053"/>
              <a:gd name="connsiteX110" fmla="*/ 144330 w 300502"/>
              <a:gd name="connsiteY110" fmla="*/ 4104 h 128053"/>
              <a:gd name="connsiteX111" fmla="*/ 142247 w 300502"/>
              <a:gd name="connsiteY111" fmla="*/ 3063 h 128053"/>
              <a:gd name="connsiteX112" fmla="*/ 115638 w 300502"/>
              <a:gd name="connsiteY112" fmla="*/ 13475 h 128053"/>
              <a:gd name="connsiteX113" fmla="*/ 106152 w 300502"/>
              <a:gd name="connsiteY113" fmla="*/ 23540 h 128053"/>
              <a:gd name="connsiteX114" fmla="*/ 89782 w 300502"/>
              <a:gd name="connsiteY114" fmla="*/ 18391 h 128053"/>
              <a:gd name="connsiteX115" fmla="*/ 67165 w 300502"/>
              <a:gd name="connsiteY115" fmla="*/ 13186 h 128053"/>
              <a:gd name="connsiteX116" fmla="*/ 54266 w 300502"/>
              <a:gd name="connsiteY116" fmla="*/ 18334 h 128053"/>
              <a:gd name="connsiteX117" fmla="*/ 36566 w 300502"/>
              <a:gd name="connsiteY117" fmla="*/ 37827 h 128053"/>
              <a:gd name="connsiteX118" fmla="*/ 29393 w 300502"/>
              <a:gd name="connsiteY118" fmla="*/ 51363 h 128053"/>
              <a:gd name="connsiteX119" fmla="*/ 37838 w 300502"/>
              <a:gd name="connsiteY119" fmla="*/ 58998 h 128053"/>
              <a:gd name="connsiteX120" fmla="*/ 38880 w 300502"/>
              <a:gd name="connsiteY120" fmla="*/ 60329 h 128053"/>
              <a:gd name="connsiteX121" fmla="*/ 48944 w 300502"/>
              <a:gd name="connsiteY121" fmla="*/ 64262 h 128053"/>
              <a:gd name="connsiteX122" fmla="*/ 58546 w 300502"/>
              <a:gd name="connsiteY122" fmla="*/ 59634 h 128053"/>
              <a:gd name="connsiteX123" fmla="*/ 62769 w 300502"/>
              <a:gd name="connsiteY123" fmla="*/ 57089 h 128053"/>
              <a:gd name="connsiteX124" fmla="*/ 98054 w 300502"/>
              <a:gd name="connsiteY124" fmla="*/ 76352 h 128053"/>
              <a:gd name="connsiteX125" fmla="*/ 102797 w 300502"/>
              <a:gd name="connsiteY125" fmla="*/ 82888 h 128053"/>
              <a:gd name="connsiteX126" fmla="*/ 97533 w 300502"/>
              <a:gd name="connsiteY126" fmla="*/ 85549 h 128053"/>
              <a:gd name="connsiteX127" fmla="*/ 86485 w 300502"/>
              <a:gd name="connsiteY127" fmla="*/ 91738 h 128053"/>
              <a:gd name="connsiteX128" fmla="*/ 76478 w 300502"/>
              <a:gd name="connsiteY128" fmla="*/ 97522 h 128053"/>
              <a:gd name="connsiteX129" fmla="*/ 68727 w 300502"/>
              <a:gd name="connsiteY129" fmla="*/ 96597 h 128053"/>
              <a:gd name="connsiteX130" fmla="*/ 60397 w 300502"/>
              <a:gd name="connsiteY130" fmla="*/ 96597 h 128053"/>
              <a:gd name="connsiteX131" fmla="*/ 25055 w 300502"/>
              <a:gd name="connsiteY131" fmla="*/ 102382 h 128053"/>
              <a:gd name="connsiteX132" fmla="*/ 19270 w 300502"/>
              <a:gd name="connsiteY132" fmla="*/ 102092 h 128053"/>
              <a:gd name="connsiteX133" fmla="*/ 3826 w 300502"/>
              <a:gd name="connsiteY133" fmla="*/ 110885 h 128053"/>
              <a:gd name="connsiteX134" fmla="*/ 1107 w 300502"/>
              <a:gd name="connsiteY134" fmla="*/ 116958 h 128053"/>
              <a:gd name="connsiteX135" fmla="*/ 5677 w 300502"/>
              <a:gd name="connsiteY135" fmla="*/ 117884 h 128053"/>
              <a:gd name="connsiteX136" fmla="*/ 14354 w 300502"/>
              <a:gd name="connsiteY136" fmla="*/ 117363 h 128053"/>
              <a:gd name="connsiteX137" fmla="*/ 26327 w 300502"/>
              <a:gd name="connsiteY137" fmla="*/ 116727 h 128053"/>
              <a:gd name="connsiteX138" fmla="*/ 39458 w 300502"/>
              <a:gd name="connsiteY138" fmla="*/ 119445 h 128053"/>
              <a:gd name="connsiteX139" fmla="*/ 45242 w 300502"/>
              <a:gd name="connsiteY139" fmla="*/ 121123 h 128053"/>
              <a:gd name="connsiteX140" fmla="*/ 52820 w 300502"/>
              <a:gd name="connsiteY140" fmla="*/ 119388 h 128053"/>
              <a:gd name="connsiteX141" fmla="*/ 59298 w 300502"/>
              <a:gd name="connsiteY141" fmla="*/ 117884 h 128053"/>
              <a:gd name="connsiteX142" fmla="*/ 64794 w 300502"/>
              <a:gd name="connsiteY142" fmla="*/ 120776 h 128053"/>
              <a:gd name="connsiteX143" fmla="*/ 74107 w 300502"/>
              <a:gd name="connsiteY143" fmla="*/ 124536 h 128053"/>
              <a:gd name="connsiteX144" fmla="*/ 78676 w 300502"/>
              <a:gd name="connsiteY144" fmla="*/ 124536 h 128053"/>
              <a:gd name="connsiteX145" fmla="*/ 83072 w 300502"/>
              <a:gd name="connsiteY145" fmla="*/ 124478 h 12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300502" h="128053">
                <a:moveTo>
                  <a:pt x="92616" y="127891"/>
                </a:moveTo>
                <a:cubicBezTo>
                  <a:pt x="90534" y="128018"/>
                  <a:pt x="88452" y="127781"/>
                  <a:pt x="86427" y="127197"/>
                </a:cubicBezTo>
                <a:cubicBezTo>
                  <a:pt x="83998" y="126757"/>
                  <a:pt x="81569" y="126757"/>
                  <a:pt x="79139" y="127197"/>
                </a:cubicBezTo>
                <a:cubicBezTo>
                  <a:pt x="77577" y="127197"/>
                  <a:pt x="75957" y="127197"/>
                  <a:pt x="74395" y="127197"/>
                </a:cubicBezTo>
                <a:cubicBezTo>
                  <a:pt x="70115" y="127578"/>
                  <a:pt x="65950" y="125820"/>
                  <a:pt x="63232" y="122511"/>
                </a:cubicBezTo>
                <a:cubicBezTo>
                  <a:pt x="62480" y="121244"/>
                  <a:pt x="61092" y="120492"/>
                  <a:pt x="59588" y="120545"/>
                </a:cubicBezTo>
                <a:cubicBezTo>
                  <a:pt x="57621" y="120689"/>
                  <a:pt x="55654" y="121158"/>
                  <a:pt x="53803" y="121933"/>
                </a:cubicBezTo>
                <a:cubicBezTo>
                  <a:pt x="51142" y="123009"/>
                  <a:pt x="48308" y="123633"/>
                  <a:pt x="45473" y="123784"/>
                </a:cubicBezTo>
                <a:cubicBezTo>
                  <a:pt x="43044" y="123795"/>
                  <a:pt x="40672" y="123072"/>
                  <a:pt x="38648" y="121701"/>
                </a:cubicBezTo>
                <a:cubicBezTo>
                  <a:pt x="35062" y="119897"/>
                  <a:pt x="31070" y="119098"/>
                  <a:pt x="27079" y="119388"/>
                </a:cubicBezTo>
                <a:cubicBezTo>
                  <a:pt x="23203" y="119388"/>
                  <a:pt x="19154" y="119677"/>
                  <a:pt x="15510" y="120024"/>
                </a:cubicBezTo>
                <a:cubicBezTo>
                  <a:pt x="11866" y="120371"/>
                  <a:pt x="9147" y="120545"/>
                  <a:pt x="6660" y="120545"/>
                </a:cubicBezTo>
                <a:cubicBezTo>
                  <a:pt x="4173" y="120545"/>
                  <a:pt x="355" y="120255"/>
                  <a:pt x="-107" y="117768"/>
                </a:cubicBezTo>
                <a:cubicBezTo>
                  <a:pt x="-165" y="114824"/>
                  <a:pt x="991" y="111989"/>
                  <a:pt x="3074" y="109901"/>
                </a:cubicBezTo>
                <a:cubicBezTo>
                  <a:pt x="7238" y="104811"/>
                  <a:pt x="15048" y="99431"/>
                  <a:pt x="20427" y="100299"/>
                </a:cubicBezTo>
                <a:cubicBezTo>
                  <a:pt x="21641" y="100299"/>
                  <a:pt x="23435" y="100299"/>
                  <a:pt x="25633" y="100299"/>
                </a:cubicBezTo>
                <a:cubicBezTo>
                  <a:pt x="37202" y="100299"/>
                  <a:pt x="56291" y="98043"/>
                  <a:pt x="59414" y="94977"/>
                </a:cubicBezTo>
                <a:cubicBezTo>
                  <a:pt x="61207" y="93126"/>
                  <a:pt x="65198" y="93531"/>
                  <a:pt x="69710" y="94341"/>
                </a:cubicBezTo>
                <a:cubicBezTo>
                  <a:pt x="72140" y="94867"/>
                  <a:pt x="74569" y="95180"/>
                  <a:pt x="77057" y="95267"/>
                </a:cubicBezTo>
                <a:cubicBezTo>
                  <a:pt x="80353" y="95677"/>
                  <a:pt x="83593" y="93930"/>
                  <a:pt x="85039" y="90928"/>
                </a:cubicBezTo>
                <a:cubicBezTo>
                  <a:pt x="87816" y="86573"/>
                  <a:pt x="92558" y="83819"/>
                  <a:pt x="97707" y="83524"/>
                </a:cubicBezTo>
                <a:cubicBezTo>
                  <a:pt x="98922" y="83385"/>
                  <a:pt x="100079" y="83033"/>
                  <a:pt x="101177" y="82483"/>
                </a:cubicBezTo>
                <a:cubicBezTo>
                  <a:pt x="101177" y="82483"/>
                  <a:pt x="101177" y="81442"/>
                  <a:pt x="97186" y="78260"/>
                </a:cubicBezTo>
                <a:cubicBezTo>
                  <a:pt x="86543" y="69410"/>
                  <a:pt x="70000" y="59577"/>
                  <a:pt x="63348" y="59577"/>
                </a:cubicBezTo>
                <a:cubicBezTo>
                  <a:pt x="61612" y="59577"/>
                  <a:pt x="61380" y="60213"/>
                  <a:pt x="61265" y="60502"/>
                </a:cubicBezTo>
                <a:cubicBezTo>
                  <a:pt x="59009" y="64684"/>
                  <a:pt x="54439" y="67114"/>
                  <a:pt x="49696" y="66692"/>
                </a:cubicBezTo>
                <a:cubicBezTo>
                  <a:pt x="45358" y="66842"/>
                  <a:pt x="41135" y="65112"/>
                  <a:pt x="38128" y="61948"/>
                </a:cubicBezTo>
                <a:lnTo>
                  <a:pt x="36970" y="60618"/>
                </a:lnTo>
                <a:cubicBezTo>
                  <a:pt x="34830" y="57431"/>
                  <a:pt x="31938" y="54868"/>
                  <a:pt x="28467" y="53214"/>
                </a:cubicBezTo>
                <a:cubicBezTo>
                  <a:pt x="28178" y="53121"/>
                  <a:pt x="27947" y="52913"/>
                  <a:pt x="27831" y="52635"/>
                </a:cubicBezTo>
                <a:cubicBezTo>
                  <a:pt x="27715" y="52364"/>
                  <a:pt x="27715" y="52040"/>
                  <a:pt x="27831" y="51768"/>
                </a:cubicBezTo>
                <a:cubicBezTo>
                  <a:pt x="32806" y="38926"/>
                  <a:pt x="35177" y="36555"/>
                  <a:pt x="36681" y="35918"/>
                </a:cubicBezTo>
                <a:cubicBezTo>
                  <a:pt x="42118" y="33547"/>
                  <a:pt x="52241" y="25680"/>
                  <a:pt x="52993" y="18276"/>
                </a:cubicBezTo>
                <a:cubicBezTo>
                  <a:pt x="53399" y="13764"/>
                  <a:pt x="59067" y="11103"/>
                  <a:pt x="68148" y="11103"/>
                </a:cubicBezTo>
                <a:cubicBezTo>
                  <a:pt x="76305" y="11155"/>
                  <a:pt x="84403" y="13012"/>
                  <a:pt x="91749" y="16540"/>
                </a:cubicBezTo>
                <a:cubicBezTo>
                  <a:pt x="106441" y="23887"/>
                  <a:pt x="113672" y="23308"/>
                  <a:pt x="114366" y="13475"/>
                </a:cubicBezTo>
                <a:cubicBezTo>
                  <a:pt x="115060" y="3641"/>
                  <a:pt x="127959" y="-119"/>
                  <a:pt x="136983" y="-119"/>
                </a:cubicBezTo>
                <a:cubicBezTo>
                  <a:pt x="139470" y="-205"/>
                  <a:pt x="141958" y="252"/>
                  <a:pt x="144272" y="1212"/>
                </a:cubicBezTo>
                <a:lnTo>
                  <a:pt x="146354" y="2253"/>
                </a:lnTo>
                <a:cubicBezTo>
                  <a:pt x="152717" y="5608"/>
                  <a:pt x="166021" y="12434"/>
                  <a:pt x="175276" y="12434"/>
                </a:cubicBezTo>
                <a:cubicBezTo>
                  <a:pt x="176838" y="12480"/>
                  <a:pt x="178400" y="12225"/>
                  <a:pt x="179846" y="11682"/>
                </a:cubicBezTo>
                <a:cubicBezTo>
                  <a:pt x="184763" y="10293"/>
                  <a:pt x="189911" y="9744"/>
                  <a:pt x="195059" y="10062"/>
                </a:cubicBezTo>
                <a:cubicBezTo>
                  <a:pt x="213801" y="10328"/>
                  <a:pt x="232426" y="12266"/>
                  <a:pt x="250820" y="15846"/>
                </a:cubicBezTo>
                <a:cubicBezTo>
                  <a:pt x="254176" y="16645"/>
                  <a:pt x="257588" y="16818"/>
                  <a:pt x="261001" y="16367"/>
                </a:cubicBezTo>
                <a:cubicBezTo>
                  <a:pt x="266207" y="15846"/>
                  <a:pt x="270315" y="15499"/>
                  <a:pt x="277256" y="23482"/>
                </a:cubicBezTo>
                <a:cubicBezTo>
                  <a:pt x="279396" y="26704"/>
                  <a:pt x="283098" y="28572"/>
                  <a:pt x="286973" y="28399"/>
                </a:cubicBezTo>
                <a:lnTo>
                  <a:pt x="289287" y="28399"/>
                </a:lnTo>
                <a:cubicBezTo>
                  <a:pt x="293221" y="28294"/>
                  <a:pt x="297039" y="29677"/>
                  <a:pt x="299988" y="32274"/>
                </a:cubicBezTo>
                <a:cubicBezTo>
                  <a:pt x="300278" y="32477"/>
                  <a:pt x="300393" y="32800"/>
                  <a:pt x="300393" y="33142"/>
                </a:cubicBezTo>
                <a:cubicBezTo>
                  <a:pt x="300393" y="35861"/>
                  <a:pt x="300046" y="38926"/>
                  <a:pt x="297270" y="40025"/>
                </a:cubicBezTo>
                <a:lnTo>
                  <a:pt x="295823" y="40662"/>
                </a:lnTo>
                <a:cubicBezTo>
                  <a:pt x="287957" y="43803"/>
                  <a:pt x="280379" y="47672"/>
                  <a:pt x="273207" y="52230"/>
                </a:cubicBezTo>
                <a:cubicBezTo>
                  <a:pt x="270315" y="54134"/>
                  <a:pt x="267133" y="55597"/>
                  <a:pt x="263835" y="56569"/>
                </a:cubicBezTo>
                <a:cubicBezTo>
                  <a:pt x="258977" y="58304"/>
                  <a:pt x="254349" y="59924"/>
                  <a:pt x="252266" y="63973"/>
                </a:cubicBezTo>
                <a:cubicBezTo>
                  <a:pt x="249085" y="72065"/>
                  <a:pt x="241045" y="77231"/>
                  <a:pt x="232368" y="76814"/>
                </a:cubicBezTo>
                <a:lnTo>
                  <a:pt x="232368" y="76814"/>
                </a:lnTo>
                <a:lnTo>
                  <a:pt x="228782" y="76814"/>
                </a:lnTo>
                <a:lnTo>
                  <a:pt x="225890" y="76467"/>
                </a:lnTo>
                <a:cubicBezTo>
                  <a:pt x="223576" y="76109"/>
                  <a:pt x="221204" y="75895"/>
                  <a:pt x="218833" y="75831"/>
                </a:cubicBezTo>
                <a:cubicBezTo>
                  <a:pt x="213164" y="75877"/>
                  <a:pt x="207900" y="78856"/>
                  <a:pt x="204950" y="83698"/>
                </a:cubicBezTo>
                <a:cubicBezTo>
                  <a:pt x="202348" y="87706"/>
                  <a:pt x="198356" y="90656"/>
                  <a:pt x="193786" y="92027"/>
                </a:cubicBezTo>
                <a:cubicBezTo>
                  <a:pt x="191819" y="92536"/>
                  <a:pt x="189969" y="93462"/>
                  <a:pt x="188407" y="94746"/>
                </a:cubicBezTo>
                <a:cubicBezTo>
                  <a:pt x="187134" y="95839"/>
                  <a:pt x="185457" y="96452"/>
                  <a:pt x="183779" y="96481"/>
                </a:cubicBezTo>
                <a:cubicBezTo>
                  <a:pt x="180366" y="96042"/>
                  <a:pt x="177243" y="94544"/>
                  <a:pt x="174756" y="92201"/>
                </a:cubicBezTo>
                <a:cubicBezTo>
                  <a:pt x="173425" y="91125"/>
                  <a:pt x="171921" y="90211"/>
                  <a:pt x="170359" y="89482"/>
                </a:cubicBezTo>
                <a:cubicBezTo>
                  <a:pt x="168161" y="88672"/>
                  <a:pt x="165038" y="90350"/>
                  <a:pt x="162030" y="92027"/>
                </a:cubicBezTo>
                <a:cubicBezTo>
                  <a:pt x="159774" y="93641"/>
                  <a:pt x="157171" y="94654"/>
                  <a:pt x="154394" y="94977"/>
                </a:cubicBezTo>
                <a:cubicBezTo>
                  <a:pt x="152312" y="94977"/>
                  <a:pt x="150056" y="97002"/>
                  <a:pt x="147742" y="99142"/>
                </a:cubicBezTo>
                <a:cubicBezTo>
                  <a:pt x="145428" y="101560"/>
                  <a:pt x="142652" y="103434"/>
                  <a:pt x="139528" y="104637"/>
                </a:cubicBezTo>
                <a:cubicBezTo>
                  <a:pt x="137909" y="105094"/>
                  <a:pt x="136289" y="105424"/>
                  <a:pt x="134611" y="105621"/>
                </a:cubicBezTo>
                <a:cubicBezTo>
                  <a:pt x="130215" y="106199"/>
                  <a:pt x="128249" y="106662"/>
                  <a:pt x="128249" y="110827"/>
                </a:cubicBezTo>
                <a:cubicBezTo>
                  <a:pt x="128364" y="115992"/>
                  <a:pt x="126687" y="121042"/>
                  <a:pt x="123506" y="125114"/>
                </a:cubicBezTo>
                <a:cubicBezTo>
                  <a:pt x="123332" y="125322"/>
                  <a:pt x="123100" y="125444"/>
                  <a:pt x="122812" y="125461"/>
                </a:cubicBezTo>
                <a:cubicBezTo>
                  <a:pt x="112804" y="126832"/>
                  <a:pt x="102739" y="127642"/>
                  <a:pt x="92616" y="127891"/>
                </a:cubicBezTo>
                <a:close/>
                <a:moveTo>
                  <a:pt x="83072" y="124478"/>
                </a:moveTo>
                <a:cubicBezTo>
                  <a:pt x="84461" y="124443"/>
                  <a:pt x="85907" y="124657"/>
                  <a:pt x="87237" y="125114"/>
                </a:cubicBezTo>
                <a:cubicBezTo>
                  <a:pt x="88972" y="125577"/>
                  <a:pt x="90824" y="125750"/>
                  <a:pt x="92616" y="125635"/>
                </a:cubicBezTo>
                <a:cubicBezTo>
                  <a:pt x="102277" y="125247"/>
                  <a:pt x="111937" y="124356"/>
                  <a:pt x="121539" y="122974"/>
                </a:cubicBezTo>
                <a:cubicBezTo>
                  <a:pt x="124200" y="119359"/>
                  <a:pt x="125588" y="114963"/>
                  <a:pt x="125472" y="110480"/>
                </a:cubicBezTo>
                <a:cubicBezTo>
                  <a:pt x="125472" y="104175"/>
                  <a:pt x="129695" y="103596"/>
                  <a:pt x="133802" y="103018"/>
                </a:cubicBezTo>
                <a:cubicBezTo>
                  <a:pt x="135363" y="102838"/>
                  <a:pt x="136867" y="102549"/>
                  <a:pt x="138371" y="102150"/>
                </a:cubicBezTo>
                <a:cubicBezTo>
                  <a:pt x="141148" y="101016"/>
                  <a:pt x="143635" y="99298"/>
                  <a:pt x="145660" y="97118"/>
                </a:cubicBezTo>
                <a:cubicBezTo>
                  <a:pt x="147742" y="94619"/>
                  <a:pt x="150634" y="92935"/>
                  <a:pt x="153874" y="92374"/>
                </a:cubicBezTo>
                <a:cubicBezTo>
                  <a:pt x="156245" y="91993"/>
                  <a:pt x="158443" y="91085"/>
                  <a:pt x="160410" y="89714"/>
                </a:cubicBezTo>
                <a:cubicBezTo>
                  <a:pt x="162839" y="88065"/>
                  <a:pt x="165616" y="87018"/>
                  <a:pt x="168508" y="86648"/>
                </a:cubicBezTo>
                <a:cubicBezTo>
                  <a:pt x="169202" y="86636"/>
                  <a:pt x="169896" y="86752"/>
                  <a:pt x="170590" y="86995"/>
                </a:cubicBezTo>
                <a:cubicBezTo>
                  <a:pt x="172384" y="87805"/>
                  <a:pt x="174062" y="88834"/>
                  <a:pt x="175566" y="90061"/>
                </a:cubicBezTo>
                <a:cubicBezTo>
                  <a:pt x="177706" y="92056"/>
                  <a:pt x="180366" y="93381"/>
                  <a:pt x="183259" y="93878"/>
                </a:cubicBezTo>
                <a:cubicBezTo>
                  <a:pt x="184473" y="93861"/>
                  <a:pt x="185573" y="93433"/>
                  <a:pt x="186498" y="92664"/>
                </a:cubicBezTo>
                <a:cubicBezTo>
                  <a:pt x="188233" y="91171"/>
                  <a:pt x="190315" y="90107"/>
                  <a:pt x="192571" y="89540"/>
                </a:cubicBezTo>
                <a:cubicBezTo>
                  <a:pt x="196736" y="88279"/>
                  <a:pt x="200322" y="85572"/>
                  <a:pt x="202636" y="81905"/>
                </a:cubicBezTo>
                <a:cubicBezTo>
                  <a:pt x="206049" y="76542"/>
                  <a:pt x="211949" y="73274"/>
                  <a:pt x="218312" y="73228"/>
                </a:cubicBezTo>
                <a:cubicBezTo>
                  <a:pt x="220742" y="73286"/>
                  <a:pt x="223171" y="73500"/>
                  <a:pt x="225600" y="73864"/>
                </a:cubicBezTo>
                <a:lnTo>
                  <a:pt x="228493" y="74211"/>
                </a:lnTo>
                <a:lnTo>
                  <a:pt x="231848" y="74211"/>
                </a:lnTo>
                <a:cubicBezTo>
                  <a:pt x="239483" y="74408"/>
                  <a:pt x="246425" y="69780"/>
                  <a:pt x="249201" y="62642"/>
                </a:cubicBezTo>
                <a:cubicBezTo>
                  <a:pt x="252151" y="58246"/>
                  <a:pt x="256721" y="55175"/>
                  <a:pt x="261927" y="54081"/>
                </a:cubicBezTo>
                <a:cubicBezTo>
                  <a:pt x="265051" y="53191"/>
                  <a:pt x="268001" y="51843"/>
                  <a:pt x="270719" y="50090"/>
                </a:cubicBezTo>
                <a:cubicBezTo>
                  <a:pt x="278066" y="45509"/>
                  <a:pt x="285816" y="41639"/>
                  <a:pt x="293857" y="38521"/>
                </a:cubicBezTo>
                <a:lnTo>
                  <a:pt x="295303" y="37885"/>
                </a:lnTo>
                <a:cubicBezTo>
                  <a:pt x="296518" y="37364"/>
                  <a:pt x="297039" y="36150"/>
                  <a:pt x="297096" y="33605"/>
                </a:cubicBezTo>
                <a:cubicBezTo>
                  <a:pt x="294609" y="31569"/>
                  <a:pt x="291485" y="30522"/>
                  <a:pt x="288246" y="30654"/>
                </a:cubicBezTo>
                <a:lnTo>
                  <a:pt x="285932" y="30654"/>
                </a:lnTo>
                <a:cubicBezTo>
                  <a:pt x="281362" y="30811"/>
                  <a:pt x="276966" y="28636"/>
                  <a:pt x="274363" y="24870"/>
                </a:cubicBezTo>
                <a:cubicBezTo>
                  <a:pt x="268059" y="17524"/>
                  <a:pt x="264645" y="17987"/>
                  <a:pt x="260076" y="18507"/>
                </a:cubicBezTo>
                <a:cubicBezTo>
                  <a:pt x="258746" y="18507"/>
                  <a:pt x="257242" y="18796"/>
                  <a:pt x="255564" y="18796"/>
                </a:cubicBezTo>
                <a:cubicBezTo>
                  <a:pt x="253366" y="18791"/>
                  <a:pt x="251226" y="18501"/>
                  <a:pt x="249085" y="17929"/>
                </a:cubicBezTo>
                <a:cubicBezTo>
                  <a:pt x="230922" y="14348"/>
                  <a:pt x="212412" y="12410"/>
                  <a:pt x="193902" y="12144"/>
                </a:cubicBezTo>
                <a:cubicBezTo>
                  <a:pt x="189101" y="11820"/>
                  <a:pt x="184242" y="12306"/>
                  <a:pt x="179557" y="13590"/>
                </a:cubicBezTo>
                <a:cubicBezTo>
                  <a:pt x="177821" y="14273"/>
                  <a:pt x="175970" y="14609"/>
                  <a:pt x="174120" y="14574"/>
                </a:cubicBezTo>
                <a:cubicBezTo>
                  <a:pt x="164517" y="14574"/>
                  <a:pt x="150982" y="7517"/>
                  <a:pt x="144330" y="4104"/>
                </a:cubicBezTo>
                <a:lnTo>
                  <a:pt x="142247" y="3063"/>
                </a:lnTo>
                <a:cubicBezTo>
                  <a:pt x="136463" y="286"/>
                  <a:pt x="116332" y="3063"/>
                  <a:pt x="115638" y="13475"/>
                </a:cubicBezTo>
                <a:cubicBezTo>
                  <a:pt x="115060" y="21804"/>
                  <a:pt x="110143" y="23540"/>
                  <a:pt x="106152" y="23540"/>
                </a:cubicBezTo>
                <a:cubicBezTo>
                  <a:pt x="100368" y="23048"/>
                  <a:pt x="94815" y="21290"/>
                  <a:pt x="89782" y="18391"/>
                </a:cubicBezTo>
                <a:cubicBezTo>
                  <a:pt x="82725" y="15002"/>
                  <a:pt x="74974" y="13226"/>
                  <a:pt x="67165" y="13186"/>
                </a:cubicBezTo>
                <a:cubicBezTo>
                  <a:pt x="59645" y="13186"/>
                  <a:pt x="54555" y="15210"/>
                  <a:pt x="54266" y="18334"/>
                </a:cubicBezTo>
                <a:cubicBezTo>
                  <a:pt x="53341" y="27126"/>
                  <a:pt x="42292" y="35340"/>
                  <a:pt x="36566" y="37827"/>
                </a:cubicBezTo>
                <a:cubicBezTo>
                  <a:pt x="35872" y="38116"/>
                  <a:pt x="33847" y="40025"/>
                  <a:pt x="29393" y="51363"/>
                </a:cubicBezTo>
                <a:cubicBezTo>
                  <a:pt x="32748" y="53272"/>
                  <a:pt x="35582" y="55875"/>
                  <a:pt x="37838" y="58998"/>
                </a:cubicBezTo>
                <a:lnTo>
                  <a:pt x="38880" y="60329"/>
                </a:lnTo>
                <a:cubicBezTo>
                  <a:pt x="41482" y="63030"/>
                  <a:pt x="45184" y="64464"/>
                  <a:pt x="48944" y="64262"/>
                </a:cubicBezTo>
                <a:cubicBezTo>
                  <a:pt x="52762" y="64754"/>
                  <a:pt x="56522" y="62937"/>
                  <a:pt x="58546" y="59634"/>
                </a:cubicBezTo>
                <a:cubicBezTo>
                  <a:pt x="59183" y="57888"/>
                  <a:pt x="60918" y="56817"/>
                  <a:pt x="62769" y="57089"/>
                </a:cubicBezTo>
                <a:cubicBezTo>
                  <a:pt x="70694" y="57089"/>
                  <a:pt x="88394" y="68253"/>
                  <a:pt x="98054" y="76352"/>
                </a:cubicBezTo>
                <a:cubicBezTo>
                  <a:pt x="101929" y="79533"/>
                  <a:pt x="103202" y="81326"/>
                  <a:pt x="102797" y="82888"/>
                </a:cubicBezTo>
                <a:cubicBezTo>
                  <a:pt x="102392" y="84450"/>
                  <a:pt x="100252" y="85028"/>
                  <a:pt x="97533" y="85549"/>
                </a:cubicBezTo>
                <a:cubicBezTo>
                  <a:pt x="93080" y="85780"/>
                  <a:pt x="89030" y="88065"/>
                  <a:pt x="86485" y="91738"/>
                </a:cubicBezTo>
                <a:cubicBezTo>
                  <a:pt x="84692" y="95556"/>
                  <a:pt x="80701" y="97858"/>
                  <a:pt x="76478" y="97522"/>
                </a:cubicBezTo>
                <a:cubicBezTo>
                  <a:pt x="73875" y="97442"/>
                  <a:pt x="71272" y="97135"/>
                  <a:pt x="68727" y="96597"/>
                </a:cubicBezTo>
                <a:cubicBezTo>
                  <a:pt x="64967" y="95845"/>
                  <a:pt x="61554" y="95440"/>
                  <a:pt x="60397" y="96597"/>
                </a:cubicBezTo>
                <a:cubicBezTo>
                  <a:pt x="56406" y="100588"/>
                  <a:pt x="35582" y="102382"/>
                  <a:pt x="25055" y="102382"/>
                </a:cubicBezTo>
                <a:cubicBezTo>
                  <a:pt x="23145" y="102416"/>
                  <a:pt x="21179" y="102318"/>
                  <a:pt x="19270" y="102092"/>
                </a:cubicBezTo>
                <a:cubicBezTo>
                  <a:pt x="14642" y="101398"/>
                  <a:pt x="7701" y="106257"/>
                  <a:pt x="3826" y="110885"/>
                </a:cubicBezTo>
                <a:cubicBezTo>
                  <a:pt x="2148" y="112487"/>
                  <a:pt x="1223" y="114662"/>
                  <a:pt x="1107" y="116958"/>
                </a:cubicBezTo>
                <a:cubicBezTo>
                  <a:pt x="1107" y="116958"/>
                  <a:pt x="1512" y="117884"/>
                  <a:pt x="5677" y="117884"/>
                </a:cubicBezTo>
                <a:cubicBezTo>
                  <a:pt x="8048" y="117884"/>
                  <a:pt x="11114" y="117884"/>
                  <a:pt x="14354" y="117363"/>
                </a:cubicBezTo>
                <a:cubicBezTo>
                  <a:pt x="17593" y="116843"/>
                  <a:pt x="22393" y="116727"/>
                  <a:pt x="26327" y="116727"/>
                </a:cubicBezTo>
                <a:cubicBezTo>
                  <a:pt x="30897" y="116316"/>
                  <a:pt x="35466" y="117265"/>
                  <a:pt x="39458" y="119445"/>
                </a:cubicBezTo>
                <a:cubicBezTo>
                  <a:pt x="41193" y="120591"/>
                  <a:pt x="43160" y="121175"/>
                  <a:pt x="45242" y="121123"/>
                </a:cubicBezTo>
                <a:cubicBezTo>
                  <a:pt x="47845" y="120978"/>
                  <a:pt x="50390" y="120388"/>
                  <a:pt x="52820" y="119388"/>
                </a:cubicBezTo>
                <a:cubicBezTo>
                  <a:pt x="54902" y="118537"/>
                  <a:pt x="57100" y="118028"/>
                  <a:pt x="59298" y="117884"/>
                </a:cubicBezTo>
                <a:cubicBezTo>
                  <a:pt x="61496" y="117814"/>
                  <a:pt x="63578" y="118913"/>
                  <a:pt x="64794" y="120776"/>
                </a:cubicBezTo>
                <a:cubicBezTo>
                  <a:pt x="67050" y="123570"/>
                  <a:pt x="70578" y="124998"/>
                  <a:pt x="74107" y="124536"/>
                </a:cubicBezTo>
                <a:cubicBezTo>
                  <a:pt x="75611" y="124536"/>
                  <a:pt x="77172" y="124536"/>
                  <a:pt x="78676" y="124536"/>
                </a:cubicBezTo>
                <a:cubicBezTo>
                  <a:pt x="80180" y="124536"/>
                  <a:pt x="81973" y="124478"/>
                  <a:pt x="83072" y="12447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7" name="Forma libre: forma 326">
            <a:extLst>
              <a:ext uri="{FF2B5EF4-FFF2-40B4-BE49-F238E27FC236}">
                <a16:creationId xmlns:a16="http://schemas.microsoft.com/office/drawing/2014/main" id="{EDF229FE-B2F3-D5F4-B3D9-883B6F36EA40}"/>
              </a:ext>
            </a:extLst>
          </p:cNvPr>
          <p:cNvSpPr/>
          <p:nvPr/>
        </p:nvSpPr>
        <p:spPr>
          <a:xfrm>
            <a:off x="7262124" y="3198049"/>
            <a:ext cx="189213" cy="84773"/>
          </a:xfrm>
          <a:custGeom>
            <a:avLst/>
            <a:gdLst>
              <a:gd name="connsiteX0" fmla="*/ 178687 w 189213"/>
              <a:gd name="connsiteY0" fmla="*/ 84505 h 84773"/>
              <a:gd name="connsiteX1" fmla="*/ 164920 w 189213"/>
              <a:gd name="connsiteY1" fmla="*/ 80282 h 84773"/>
              <a:gd name="connsiteX2" fmla="*/ 150575 w 189213"/>
              <a:gd name="connsiteY2" fmla="*/ 73225 h 84773"/>
              <a:gd name="connsiteX3" fmla="*/ 148203 w 189213"/>
              <a:gd name="connsiteY3" fmla="*/ 74324 h 84773"/>
              <a:gd name="connsiteX4" fmla="*/ 149418 w 189213"/>
              <a:gd name="connsiteY4" fmla="*/ 78894 h 84773"/>
              <a:gd name="connsiteX5" fmla="*/ 149765 w 189213"/>
              <a:gd name="connsiteY5" fmla="*/ 79761 h 84773"/>
              <a:gd name="connsiteX6" fmla="*/ 148609 w 189213"/>
              <a:gd name="connsiteY6" fmla="*/ 80861 h 84773"/>
              <a:gd name="connsiteX7" fmla="*/ 148609 w 189213"/>
              <a:gd name="connsiteY7" fmla="*/ 80861 h 84773"/>
              <a:gd name="connsiteX8" fmla="*/ 124719 w 189213"/>
              <a:gd name="connsiteY8" fmla="*/ 78373 h 84773"/>
              <a:gd name="connsiteX9" fmla="*/ 109853 w 189213"/>
              <a:gd name="connsiteY9" fmla="*/ 81323 h 84773"/>
              <a:gd name="connsiteX10" fmla="*/ 97127 w 189213"/>
              <a:gd name="connsiteY10" fmla="*/ 83984 h 84773"/>
              <a:gd name="connsiteX11" fmla="*/ 95970 w 189213"/>
              <a:gd name="connsiteY11" fmla="*/ 83464 h 84773"/>
              <a:gd name="connsiteX12" fmla="*/ 94871 w 189213"/>
              <a:gd name="connsiteY12" fmla="*/ 81786 h 84773"/>
              <a:gd name="connsiteX13" fmla="*/ 90649 w 189213"/>
              <a:gd name="connsiteY13" fmla="*/ 75655 h 84773"/>
              <a:gd name="connsiteX14" fmla="*/ 80236 w 189213"/>
              <a:gd name="connsiteY14" fmla="*/ 65937 h 84773"/>
              <a:gd name="connsiteX15" fmla="*/ 76882 w 189213"/>
              <a:gd name="connsiteY15" fmla="*/ 66746 h 84773"/>
              <a:gd name="connsiteX16" fmla="*/ 62883 w 189213"/>
              <a:gd name="connsiteY16" fmla="*/ 68366 h 84773"/>
              <a:gd name="connsiteX17" fmla="*/ 62883 w 189213"/>
              <a:gd name="connsiteY17" fmla="*/ 68366 h 84773"/>
              <a:gd name="connsiteX18" fmla="*/ 47786 w 189213"/>
              <a:gd name="connsiteY18" fmla="*/ 67672 h 84773"/>
              <a:gd name="connsiteX19" fmla="*/ 46802 w 189213"/>
              <a:gd name="connsiteY19" fmla="*/ 66920 h 84773"/>
              <a:gd name="connsiteX20" fmla="*/ 47092 w 189213"/>
              <a:gd name="connsiteY20" fmla="*/ 65763 h 84773"/>
              <a:gd name="connsiteX21" fmla="*/ 52876 w 189213"/>
              <a:gd name="connsiteY21" fmla="*/ 56971 h 84773"/>
              <a:gd name="connsiteX22" fmla="*/ 50331 w 189213"/>
              <a:gd name="connsiteY22" fmla="*/ 44476 h 84773"/>
              <a:gd name="connsiteX23" fmla="*/ 42406 w 189213"/>
              <a:gd name="connsiteY23" fmla="*/ 29206 h 84773"/>
              <a:gd name="connsiteX24" fmla="*/ 19268 w 189213"/>
              <a:gd name="connsiteY24" fmla="*/ 13414 h 84773"/>
              <a:gd name="connsiteX25" fmla="*/ 469 w 189213"/>
              <a:gd name="connsiteY25" fmla="*/ 6415 h 84773"/>
              <a:gd name="connsiteX26" fmla="*/ -110 w 189213"/>
              <a:gd name="connsiteY26" fmla="*/ 5489 h 84773"/>
              <a:gd name="connsiteX27" fmla="*/ 469 w 189213"/>
              <a:gd name="connsiteY27" fmla="*/ 4506 h 84773"/>
              <a:gd name="connsiteX28" fmla="*/ 10939 w 189213"/>
              <a:gd name="connsiteY28" fmla="*/ -121 h 84773"/>
              <a:gd name="connsiteX29" fmla="*/ 44489 w 189213"/>
              <a:gd name="connsiteY29" fmla="*/ 9770 h 84773"/>
              <a:gd name="connsiteX30" fmla="*/ 57793 w 189213"/>
              <a:gd name="connsiteY30" fmla="*/ 12084 h 84773"/>
              <a:gd name="connsiteX31" fmla="*/ 68552 w 189213"/>
              <a:gd name="connsiteY31" fmla="*/ 11737 h 84773"/>
              <a:gd name="connsiteX32" fmla="*/ 77749 w 189213"/>
              <a:gd name="connsiteY32" fmla="*/ 11389 h 84773"/>
              <a:gd name="connsiteX33" fmla="*/ 87120 w 189213"/>
              <a:gd name="connsiteY33" fmla="*/ 13588 h 84773"/>
              <a:gd name="connsiteX34" fmla="*/ 103200 w 189213"/>
              <a:gd name="connsiteY34" fmla="*/ 24115 h 84773"/>
              <a:gd name="connsiteX35" fmla="*/ 112051 w 189213"/>
              <a:gd name="connsiteY35" fmla="*/ 29263 h 84773"/>
              <a:gd name="connsiteX36" fmla="*/ 119455 w 189213"/>
              <a:gd name="connsiteY36" fmla="*/ 32792 h 84773"/>
              <a:gd name="connsiteX37" fmla="*/ 148030 w 189213"/>
              <a:gd name="connsiteY37" fmla="*/ 28916 h 84773"/>
              <a:gd name="connsiteX38" fmla="*/ 153814 w 189213"/>
              <a:gd name="connsiteY38" fmla="*/ 30941 h 84773"/>
              <a:gd name="connsiteX39" fmla="*/ 158037 w 189213"/>
              <a:gd name="connsiteY39" fmla="*/ 32560 h 84773"/>
              <a:gd name="connsiteX40" fmla="*/ 163822 w 189213"/>
              <a:gd name="connsiteY40" fmla="*/ 43030 h 84773"/>
              <a:gd name="connsiteX41" fmla="*/ 166077 w 189213"/>
              <a:gd name="connsiteY41" fmla="*/ 49625 h 84773"/>
              <a:gd name="connsiteX42" fmla="*/ 166945 w 189213"/>
              <a:gd name="connsiteY42" fmla="*/ 49625 h 84773"/>
              <a:gd name="connsiteX43" fmla="*/ 177473 w 189213"/>
              <a:gd name="connsiteY43" fmla="*/ 54773 h 84773"/>
              <a:gd name="connsiteX44" fmla="*/ 183720 w 189213"/>
              <a:gd name="connsiteY44" fmla="*/ 58533 h 84773"/>
              <a:gd name="connsiteX45" fmla="*/ 184298 w 189213"/>
              <a:gd name="connsiteY45" fmla="*/ 59342 h 84773"/>
              <a:gd name="connsiteX46" fmla="*/ 184298 w 189213"/>
              <a:gd name="connsiteY46" fmla="*/ 60268 h 84773"/>
              <a:gd name="connsiteX47" fmla="*/ 178977 w 189213"/>
              <a:gd name="connsiteY47" fmla="*/ 68829 h 84773"/>
              <a:gd name="connsiteX48" fmla="*/ 183315 w 189213"/>
              <a:gd name="connsiteY48" fmla="*/ 72820 h 84773"/>
              <a:gd name="connsiteX49" fmla="*/ 189100 w 189213"/>
              <a:gd name="connsiteY49" fmla="*/ 79414 h 84773"/>
              <a:gd name="connsiteX50" fmla="*/ 187884 w 189213"/>
              <a:gd name="connsiteY50" fmla="*/ 82365 h 84773"/>
              <a:gd name="connsiteX51" fmla="*/ 178687 w 189213"/>
              <a:gd name="connsiteY51" fmla="*/ 84505 h 84773"/>
              <a:gd name="connsiteX52" fmla="*/ 150575 w 189213"/>
              <a:gd name="connsiteY52" fmla="*/ 70911 h 84773"/>
              <a:gd name="connsiteX53" fmla="*/ 166540 w 189213"/>
              <a:gd name="connsiteY53" fmla="*/ 78662 h 84773"/>
              <a:gd name="connsiteX54" fmla="*/ 178687 w 189213"/>
              <a:gd name="connsiteY54" fmla="*/ 82307 h 84773"/>
              <a:gd name="connsiteX55" fmla="*/ 185976 w 189213"/>
              <a:gd name="connsiteY55" fmla="*/ 80282 h 84773"/>
              <a:gd name="connsiteX56" fmla="*/ 186496 w 189213"/>
              <a:gd name="connsiteY56" fmla="*/ 79067 h 84773"/>
              <a:gd name="connsiteX57" fmla="*/ 181811 w 189213"/>
              <a:gd name="connsiteY57" fmla="*/ 74151 h 84773"/>
              <a:gd name="connsiteX58" fmla="*/ 176894 w 189213"/>
              <a:gd name="connsiteY58" fmla="*/ 69523 h 84773"/>
              <a:gd name="connsiteX59" fmla="*/ 181522 w 189213"/>
              <a:gd name="connsiteY59" fmla="*/ 59342 h 84773"/>
              <a:gd name="connsiteX60" fmla="*/ 176489 w 189213"/>
              <a:gd name="connsiteY60" fmla="*/ 56219 h 84773"/>
              <a:gd name="connsiteX61" fmla="*/ 167118 w 189213"/>
              <a:gd name="connsiteY61" fmla="*/ 51418 h 84773"/>
              <a:gd name="connsiteX62" fmla="*/ 166193 w 189213"/>
              <a:gd name="connsiteY62" fmla="*/ 51418 h 84773"/>
              <a:gd name="connsiteX63" fmla="*/ 161854 w 189213"/>
              <a:gd name="connsiteY63" fmla="*/ 43146 h 84773"/>
              <a:gd name="connsiteX64" fmla="*/ 158094 w 189213"/>
              <a:gd name="connsiteY64" fmla="*/ 34412 h 84773"/>
              <a:gd name="connsiteX65" fmla="*/ 152310 w 189213"/>
              <a:gd name="connsiteY65" fmla="*/ 32387 h 84773"/>
              <a:gd name="connsiteX66" fmla="*/ 148145 w 189213"/>
              <a:gd name="connsiteY66" fmla="*/ 30767 h 84773"/>
              <a:gd name="connsiteX67" fmla="*/ 120959 w 189213"/>
              <a:gd name="connsiteY67" fmla="*/ 34180 h 84773"/>
              <a:gd name="connsiteX68" fmla="*/ 118298 w 189213"/>
              <a:gd name="connsiteY68" fmla="*/ 35106 h 84773"/>
              <a:gd name="connsiteX69" fmla="*/ 110662 w 189213"/>
              <a:gd name="connsiteY69" fmla="*/ 30478 h 84773"/>
              <a:gd name="connsiteX70" fmla="*/ 103316 w 189213"/>
              <a:gd name="connsiteY70" fmla="*/ 25966 h 84773"/>
              <a:gd name="connsiteX71" fmla="*/ 85442 w 189213"/>
              <a:gd name="connsiteY71" fmla="*/ 14397 h 84773"/>
              <a:gd name="connsiteX72" fmla="*/ 77864 w 189213"/>
              <a:gd name="connsiteY72" fmla="*/ 13067 h 84773"/>
              <a:gd name="connsiteX73" fmla="*/ 68783 w 189213"/>
              <a:gd name="connsiteY73" fmla="*/ 13414 h 84773"/>
              <a:gd name="connsiteX74" fmla="*/ 57908 w 189213"/>
              <a:gd name="connsiteY74" fmla="*/ 13761 h 84773"/>
              <a:gd name="connsiteX75" fmla="*/ 43274 w 189213"/>
              <a:gd name="connsiteY75" fmla="*/ 11042 h 84773"/>
              <a:gd name="connsiteX76" fmla="*/ 14352 w 189213"/>
              <a:gd name="connsiteY76" fmla="*/ 1383 h 84773"/>
              <a:gd name="connsiteX77" fmla="*/ 11633 w 189213"/>
              <a:gd name="connsiteY77" fmla="*/ 1383 h 84773"/>
              <a:gd name="connsiteX78" fmla="*/ 3477 w 189213"/>
              <a:gd name="connsiteY78" fmla="*/ 4969 h 84773"/>
              <a:gd name="connsiteX79" fmla="*/ 20078 w 189213"/>
              <a:gd name="connsiteY79" fmla="*/ 10753 h 84773"/>
              <a:gd name="connsiteX80" fmla="*/ 44489 w 189213"/>
              <a:gd name="connsiteY80" fmla="*/ 28107 h 84773"/>
              <a:gd name="connsiteX81" fmla="*/ 51777 w 189213"/>
              <a:gd name="connsiteY81" fmla="*/ 42163 h 84773"/>
              <a:gd name="connsiteX82" fmla="*/ 54958 w 189213"/>
              <a:gd name="connsiteY82" fmla="*/ 56797 h 84773"/>
              <a:gd name="connsiteX83" fmla="*/ 50158 w 189213"/>
              <a:gd name="connsiteY83" fmla="*/ 64953 h 84773"/>
              <a:gd name="connsiteX84" fmla="*/ 62594 w 189213"/>
              <a:gd name="connsiteY84" fmla="*/ 65416 h 84773"/>
              <a:gd name="connsiteX85" fmla="*/ 62594 w 189213"/>
              <a:gd name="connsiteY85" fmla="*/ 65416 h 84773"/>
              <a:gd name="connsiteX86" fmla="*/ 75666 w 189213"/>
              <a:gd name="connsiteY86" fmla="*/ 63970 h 84773"/>
              <a:gd name="connsiteX87" fmla="*/ 79947 w 189213"/>
              <a:gd name="connsiteY87" fmla="*/ 62987 h 84773"/>
              <a:gd name="connsiteX88" fmla="*/ 92210 w 189213"/>
              <a:gd name="connsiteY88" fmla="*/ 73746 h 84773"/>
              <a:gd name="connsiteX89" fmla="*/ 96375 w 189213"/>
              <a:gd name="connsiteY89" fmla="*/ 79530 h 84773"/>
              <a:gd name="connsiteX90" fmla="*/ 97243 w 189213"/>
              <a:gd name="connsiteY90" fmla="*/ 80803 h 84773"/>
              <a:gd name="connsiteX91" fmla="*/ 108812 w 189213"/>
              <a:gd name="connsiteY91" fmla="*/ 78257 h 84773"/>
              <a:gd name="connsiteX92" fmla="*/ 124025 w 189213"/>
              <a:gd name="connsiteY92" fmla="*/ 75308 h 84773"/>
              <a:gd name="connsiteX93" fmla="*/ 146295 w 189213"/>
              <a:gd name="connsiteY93" fmla="*/ 77216 h 84773"/>
              <a:gd name="connsiteX94" fmla="*/ 146005 w 189213"/>
              <a:gd name="connsiteY94" fmla="*/ 72415 h 84773"/>
              <a:gd name="connsiteX95" fmla="*/ 150401 w 189213"/>
              <a:gd name="connsiteY95" fmla="*/ 70911 h 8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89213" h="84773">
                <a:moveTo>
                  <a:pt x="178687" y="84505"/>
                </a:moveTo>
                <a:cubicBezTo>
                  <a:pt x="173771" y="84713"/>
                  <a:pt x="168912" y="83226"/>
                  <a:pt x="164920" y="80282"/>
                </a:cubicBezTo>
                <a:cubicBezTo>
                  <a:pt x="160929" y="76551"/>
                  <a:pt x="155954" y="74098"/>
                  <a:pt x="150575" y="73225"/>
                </a:cubicBezTo>
                <a:cubicBezTo>
                  <a:pt x="148724" y="73225"/>
                  <a:pt x="148319" y="74035"/>
                  <a:pt x="148203" y="74324"/>
                </a:cubicBezTo>
                <a:cubicBezTo>
                  <a:pt x="148088" y="74613"/>
                  <a:pt x="148203" y="76638"/>
                  <a:pt x="149418" y="78894"/>
                </a:cubicBezTo>
                <a:cubicBezTo>
                  <a:pt x="149649" y="79137"/>
                  <a:pt x="149765" y="79443"/>
                  <a:pt x="149765" y="79761"/>
                </a:cubicBezTo>
                <a:cubicBezTo>
                  <a:pt x="149707" y="80380"/>
                  <a:pt x="149245" y="80861"/>
                  <a:pt x="148609" y="80861"/>
                </a:cubicBezTo>
                <a:lnTo>
                  <a:pt x="148609" y="80861"/>
                </a:lnTo>
                <a:cubicBezTo>
                  <a:pt x="140857" y="78767"/>
                  <a:pt x="132759" y="77928"/>
                  <a:pt x="124719" y="78373"/>
                </a:cubicBezTo>
                <a:cubicBezTo>
                  <a:pt x="119686" y="79050"/>
                  <a:pt x="114769" y="80033"/>
                  <a:pt x="109853" y="81323"/>
                </a:cubicBezTo>
                <a:cubicBezTo>
                  <a:pt x="105862" y="82307"/>
                  <a:pt x="101696" y="83290"/>
                  <a:pt x="97127" y="83984"/>
                </a:cubicBezTo>
                <a:cubicBezTo>
                  <a:pt x="96664" y="84042"/>
                  <a:pt x="96201" y="83840"/>
                  <a:pt x="95970" y="83464"/>
                </a:cubicBezTo>
                <a:cubicBezTo>
                  <a:pt x="95623" y="82879"/>
                  <a:pt x="95276" y="82318"/>
                  <a:pt x="94871" y="81786"/>
                </a:cubicBezTo>
                <a:cubicBezTo>
                  <a:pt x="93309" y="79646"/>
                  <a:pt x="91921" y="77621"/>
                  <a:pt x="90649" y="75655"/>
                </a:cubicBezTo>
                <a:cubicBezTo>
                  <a:pt x="87062" y="70217"/>
                  <a:pt x="84228" y="65937"/>
                  <a:pt x="80236" y="65937"/>
                </a:cubicBezTo>
                <a:cubicBezTo>
                  <a:pt x="79080" y="65948"/>
                  <a:pt x="77922" y="66226"/>
                  <a:pt x="76882" y="66746"/>
                </a:cubicBezTo>
                <a:cubicBezTo>
                  <a:pt x="72370" y="68094"/>
                  <a:pt x="67627" y="68638"/>
                  <a:pt x="62883" y="68366"/>
                </a:cubicBezTo>
                <a:lnTo>
                  <a:pt x="62883" y="68366"/>
                </a:lnTo>
                <a:cubicBezTo>
                  <a:pt x="58487" y="68366"/>
                  <a:pt x="53281" y="68366"/>
                  <a:pt x="47786" y="67672"/>
                </a:cubicBezTo>
                <a:cubicBezTo>
                  <a:pt x="47323" y="67666"/>
                  <a:pt x="46918" y="67360"/>
                  <a:pt x="46802" y="66920"/>
                </a:cubicBezTo>
                <a:cubicBezTo>
                  <a:pt x="46687" y="66509"/>
                  <a:pt x="46802" y="66070"/>
                  <a:pt x="47092" y="65763"/>
                </a:cubicBezTo>
                <a:cubicBezTo>
                  <a:pt x="49868" y="63472"/>
                  <a:pt x="51892" y="60413"/>
                  <a:pt x="52876" y="56971"/>
                </a:cubicBezTo>
                <a:cubicBezTo>
                  <a:pt x="54900" y="48815"/>
                  <a:pt x="52876" y="47195"/>
                  <a:pt x="50331" y="44476"/>
                </a:cubicBezTo>
                <a:cubicBezTo>
                  <a:pt x="45877" y="40543"/>
                  <a:pt x="43043" y="35100"/>
                  <a:pt x="42406" y="29206"/>
                </a:cubicBezTo>
                <a:cubicBezTo>
                  <a:pt x="40497" y="19141"/>
                  <a:pt x="30837" y="16480"/>
                  <a:pt x="19268" y="13414"/>
                </a:cubicBezTo>
                <a:cubicBezTo>
                  <a:pt x="12732" y="11899"/>
                  <a:pt x="6427" y="9544"/>
                  <a:pt x="469" y="6415"/>
                </a:cubicBezTo>
                <a:cubicBezTo>
                  <a:pt x="122" y="6241"/>
                  <a:pt x="-110" y="5883"/>
                  <a:pt x="-110" y="5489"/>
                </a:cubicBezTo>
                <a:cubicBezTo>
                  <a:pt x="-110" y="5079"/>
                  <a:pt x="122" y="4703"/>
                  <a:pt x="469" y="4506"/>
                </a:cubicBezTo>
                <a:cubicBezTo>
                  <a:pt x="3650" y="2395"/>
                  <a:pt x="7237" y="833"/>
                  <a:pt x="10939" y="-121"/>
                </a:cubicBezTo>
                <a:cubicBezTo>
                  <a:pt x="22855" y="-312"/>
                  <a:pt x="34597" y="3141"/>
                  <a:pt x="44489" y="9770"/>
                </a:cubicBezTo>
                <a:cubicBezTo>
                  <a:pt x="48654" y="11737"/>
                  <a:pt x="53223" y="12535"/>
                  <a:pt x="57793" y="12084"/>
                </a:cubicBezTo>
                <a:cubicBezTo>
                  <a:pt x="61263" y="12084"/>
                  <a:pt x="64965" y="12084"/>
                  <a:pt x="68552" y="11737"/>
                </a:cubicBezTo>
                <a:cubicBezTo>
                  <a:pt x="72138" y="11389"/>
                  <a:pt x="75030" y="11389"/>
                  <a:pt x="77749" y="11389"/>
                </a:cubicBezTo>
                <a:cubicBezTo>
                  <a:pt x="83534" y="11389"/>
                  <a:pt x="85963" y="12026"/>
                  <a:pt x="87120" y="13588"/>
                </a:cubicBezTo>
                <a:cubicBezTo>
                  <a:pt x="90879" y="19089"/>
                  <a:pt x="96664" y="22877"/>
                  <a:pt x="103200" y="24115"/>
                </a:cubicBezTo>
                <a:cubicBezTo>
                  <a:pt x="106672" y="24734"/>
                  <a:pt x="109795" y="26556"/>
                  <a:pt x="112051" y="29263"/>
                </a:cubicBezTo>
                <a:cubicBezTo>
                  <a:pt x="114827" y="31751"/>
                  <a:pt x="117835" y="34238"/>
                  <a:pt x="119455" y="32792"/>
                </a:cubicBezTo>
                <a:cubicBezTo>
                  <a:pt x="122925" y="30189"/>
                  <a:pt x="132238" y="28916"/>
                  <a:pt x="148030" y="28916"/>
                </a:cubicBezTo>
                <a:cubicBezTo>
                  <a:pt x="150170" y="28830"/>
                  <a:pt x="152195" y="29553"/>
                  <a:pt x="153814" y="30941"/>
                </a:cubicBezTo>
                <a:cubicBezTo>
                  <a:pt x="154971" y="31999"/>
                  <a:pt x="156475" y="32578"/>
                  <a:pt x="158037" y="32560"/>
                </a:cubicBezTo>
                <a:cubicBezTo>
                  <a:pt x="161450" y="32560"/>
                  <a:pt x="162722" y="37882"/>
                  <a:pt x="163822" y="43030"/>
                </a:cubicBezTo>
                <a:cubicBezTo>
                  <a:pt x="164168" y="45344"/>
                  <a:pt x="164920" y="47577"/>
                  <a:pt x="166077" y="49625"/>
                </a:cubicBezTo>
                <a:cubicBezTo>
                  <a:pt x="166366" y="49561"/>
                  <a:pt x="166656" y="49561"/>
                  <a:pt x="166945" y="49625"/>
                </a:cubicBezTo>
                <a:cubicBezTo>
                  <a:pt x="170763" y="50567"/>
                  <a:pt x="174349" y="52320"/>
                  <a:pt x="177473" y="54773"/>
                </a:cubicBezTo>
                <a:lnTo>
                  <a:pt x="183720" y="58533"/>
                </a:lnTo>
                <a:cubicBezTo>
                  <a:pt x="184009" y="58706"/>
                  <a:pt x="184240" y="59001"/>
                  <a:pt x="184298" y="59342"/>
                </a:cubicBezTo>
                <a:cubicBezTo>
                  <a:pt x="184414" y="59632"/>
                  <a:pt x="184414" y="59979"/>
                  <a:pt x="184298" y="60268"/>
                </a:cubicBezTo>
                <a:cubicBezTo>
                  <a:pt x="178167" y="66746"/>
                  <a:pt x="178514" y="68540"/>
                  <a:pt x="178977" y="68829"/>
                </a:cubicBezTo>
                <a:cubicBezTo>
                  <a:pt x="180191" y="70397"/>
                  <a:pt x="181637" y="71744"/>
                  <a:pt x="183315" y="72820"/>
                </a:cubicBezTo>
                <a:cubicBezTo>
                  <a:pt x="186092" y="74960"/>
                  <a:pt x="188694" y="76985"/>
                  <a:pt x="189100" y="79414"/>
                </a:cubicBezTo>
                <a:cubicBezTo>
                  <a:pt x="189158" y="80531"/>
                  <a:pt x="188694" y="81613"/>
                  <a:pt x="187884" y="82365"/>
                </a:cubicBezTo>
                <a:cubicBezTo>
                  <a:pt x="185224" y="84221"/>
                  <a:pt x="181927" y="84985"/>
                  <a:pt x="178687" y="84505"/>
                </a:cubicBezTo>
                <a:close/>
                <a:moveTo>
                  <a:pt x="150575" y="70911"/>
                </a:moveTo>
                <a:cubicBezTo>
                  <a:pt x="156591" y="71796"/>
                  <a:pt x="162144" y="74503"/>
                  <a:pt x="166540" y="78662"/>
                </a:cubicBezTo>
                <a:cubicBezTo>
                  <a:pt x="170069" y="81202"/>
                  <a:pt x="174349" y="82486"/>
                  <a:pt x="178687" y="82307"/>
                </a:cubicBezTo>
                <a:cubicBezTo>
                  <a:pt x="181290" y="82526"/>
                  <a:pt x="183893" y="81809"/>
                  <a:pt x="185976" y="80282"/>
                </a:cubicBezTo>
                <a:cubicBezTo>
                  <a:pt x="186496" y="79704"/>
                  <a:pt x="186554" y="79357"/>
                  <a:pt x="186496" y="79067"/>
                </a:cubicBezTo>
                <a:cubicBezTo>
                  <a:pt x="186496" y="77679"/>
                  <a:pt x="183951" y="75828"/>
                  <a:pt x="181811" y="74151"/>
                </a:cubicBezTo>
                <a:cubicBezTo>
                  <a:pt x="179902" y="72895"/>
                  <a:pt x="178283" y="71334"/>
                  <a:pt x="176894" y="69523"/>
                </a:cubicBezTo>
                <a:cubicBezTo>
                  <a:pt x="175621" y="67441"/>
                  <a:pt x="176894" y="64259"/>
                  <a:pt x="181522" y="59342"/>
                </a:cubicBezTo>
                <a:lnTo>
                  <a:pt x="176489" y="56219"/>
                </a:lnTo>
                <a:cubicBezTo>
                  <a:pt x="173655" y="54102"/>
                  <a:pt x="170473" y="52476"/>
                  <a:pt x="167118" y="51418"/>
                </a:cubicBezTo>
                <a:lnTo>
                  <a:pt x="166193" y="51418"/>
                </a:lnTo>
                <a:cubicBezTo>
                  <a:pt x="163822" y="51418"/>
                  <a:pt x="162954" y="47774"/>
                  <a:pt x="161854" y="43146"/>
                </a:cubicBezTo>
                <a:cubicBezTo>
                  <a:pt x="160987" y="39675"/>
                  <a:pt x="159714" y="34412"/>
                  <a:pt x="158094" y="34412"/>
                </a:cubicBezTo>
                <a:cubicBezTo>
                  <a:pt x="155954" y="34493"/>
                  <a:pt x="153930" y="33770"/>
                  <a:pt x="152310" y="32387"/>
                </a:cubicBezTo>
                <a:cubicBezTo>
                  <a:pt x="151153" y="31340"/>
                  <a:pt x="149707" y="30756"/>
                  <a:pt x="148145" y="30767"/>
                </a:cubicBezTo>
                <a:cubicBezTo>
                  <a:pt x="129404" y="30767"/>
                  <a:pt x="123041" y="32618"/>
                  <a:pt x="120959" y="34180"/>
                </a:cubicBezTo>
                <a:cubicBezTo>
                  <a:pt x="120207" y="34764"/>
                  <a:pt x="119281" y="35088"/>
                  <a:pt x="118298" y="35106"/>
                </a:cubicBezTo>
                <a:cubicBezTo>
                  <a:pt x="115753" y="35106"/>
                  <a:pt x="113265" y="32850"/>
                  <a:pt x="110662" y="30478"/>
                </a:cubicBezTo>
                <a:cubicBezTo>
                  <a:pt x="108060" y="28107"/>
                  <a:pt x="105630" y="25966"/>
                  <a:pt x="103316" y="25966"/>
                </a:cubicBezTo>
                <a:cubicBezTo>
                  <a:pt x="96491" y="25966"/>
                  <a:pt x="88913" y="19141"/>
                  <a:pt x="85442" y="14397"/>
                </a:cubicBezTo>
                <a:cubicBezTo>
                  <a:pt x="84980" y="13819"/>
                  <a:pt x="83302" y="13067"/>
                  <a:pt x="77864" y="13067"/>
                </a:cubicBezTo>
                <a:cubicBezTo>
                  <a:pt x="75204" y="13067"/>
                  <a:pt x="72080" y="13067"/>
                  <a:pt x="68783" y="13414"/>
                </a:cubicBezTo>
                <a:cubicBezTo>
                  <a:pt x="65486" y="13761"/>
                  <a:pt x="61437" y="13761"/>
                  <a:pt x="57908" y="13761"/>
                </a:cubicBezTo>
                <a:cubicBezTo>
                  <a:pt x="52876" y="14247"/>
                  <a:pt x="47786" y="13310"/>
                  <a:pt x="43274" y="11042"/>
                </a:cubicBezTo>
                <a:cubicBezTo>
                  <a:pt x="34655" y="5322"/>
                  <a:pt x="24706" y="1990"/>
                  <a:pt x="14352" y="1383"/>
                </a:cubicBezTo>
                <a:cubicBezTo>
                  <a:pt x="13427" y="1319"/>
                  <a:pt x="12559" y="1319"/>
                  <a:pt x="11633" y="1383"/>
                </a:cubicBezTo>
                <a:cubicBezTo>
                  <a:pt x="8741" y="2100"/>
                  <a:pt x="5964" y="3314"/>
                  <a:pt x="3477" y="4969"/>
                </a:cubicBezTo>
                <a:cubicBezTo>
                  <a:pt x="8799" y="7456"/>
                  <a:pt x="14352" y="9394"/>
                  <a:pt x="20078" y="10753"/>
                </a:cubicBezTo>
                <a:cubicBezTo>
                  <a:pt x="31647" y="13935"/>
                  <a:pt x="42349" y="16885"/>
                  <a:pt x="44489" y="28107"/>
                </a:cubicBezTo>
                <a:cubicBezTo>
                  <a:pt x="45125" y="33532"/>
                  <a:pt x="47728" y="38536"/>
                  <a:pt x="51777" y="42163"/>
                </a:cubicBezTo>
                <a:cubicBezTo>
                  <a:pt x="55190" y="45402"/>
                  <a:pt x="57156" y="47947"/>
                  <a:pt x="54958" y="56797"/>
                </a:cubicBezTo>
                <a:cubicBezTo>
                  <a:pt x="54091" y="59880"/>
                  <a:pt x="52414" y="62692"/>
                  <a:pt x="50158" y="64953"/>
                </a:cubicBezTo>
                <a:cubicBezTo>
                  <a:pt x="54670" y="65242"/>
                  <a:pt x="58950" y="65416"/>
                  <a:pt x="62594" y="65416"/>
                </a:cubicBezTo>
                <a:lnTo>
                  <a:pt x="62594" y="65416"/>
                </a:lnTo>
                <a:cubicBezTo>
                  <a:pt x="66990" y="65728"/>
                  <a:pt x="71444" y="65242"/>
                  <a:pt x="75666" y="63970"/>
                </a:cubicBezTo>
                <a:cubicBezTo>
                  <a:pt x="76997" y="63363"/>
                  <a:pt x="78443" y="63027"/>
                  <a:pt x="79947" y="62987"/>
                </a:cubicBezTo>
                <a:cubicBezTo>
                  <a:pt x="85153" y="62987"/>
                  <a:pt x="88450" y="67961"/>
                  <a:pt x="92210" y="73746"/>
                </a:cubicBezTo>
                <a:cubicBezTo>
                  <a:pt x="93541" y="75655"/>
                  <a:pt x="94871" y="77679"/>
                  <a:pt x="96375" y="79530"/>
                </a:cubicBezTo>
                <a:lnTo>
                  <a:pt x="97243" y="80803"/>
                </a:lnTo>
                <a:cubicBezTo>
                  <a:pt x="101465" y="80109"/>
                  <a:pt x="105283" y="79183"/>
                  <a:pt x="108812" y="78257"/>
                </a:cubicBezTo>
                <a:cubicBezTo>
                  <a:pt x="113786" y="76950"/>
                  <a:pt x="118877" y="75961"/>
                  <a:pt x="124025" y="75308"/>
                </a:cubicBezTo>
                <a:cubicBezTo>
                  <a:pt x="131486" y="74810"/>
                  <a:pt x="139006" y="75452"/>
                  <a:pt x="146295" y="77216"/>
                </a:cubicBezTo>
                <a:cubicBezTo>
                  <a:pt x="145485" y="75736"/>
                  <a:pt x="145427" y="73983"/>
                  <a:pt x="146005" y="72415"/>
                </a:cubicBezTo>
                <a:cubicBezTo>
                  <a:pt x="147105" y="71143"/>
                  <a:pt x="148782" y="70564"/>
                  <a:pt x="150401" y="7091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8" name="Forma libre: forma 327">
            <a:extLst>
              <a:ext uri="{FF2B5EF4-FFF2-40B4-BE49-F238E27FC236}">
                <a16:creationId xmlns:a16="http://schemas.microsoft.com/office/drawing/2014/main" id="{185D1672-DC26-492D-45BA-DCAA3E1F2BED}"/>
              </a:ext>
            </a:extLst>
          </p:cNvPr>
          <p:cNvSpPr/>
          <p:nvPr/>
        </p:nvSpPr>
        <p:spPr>
          <a:xfrm>
            <a:off x="6887438" y="3247731"/>
            <a:ext cx="511490" cy="201834"/>
          </a:xfrm>
          <a:custGeom>
            <a:avLst/>
            <a:gdLst>
              <a:gd name="connsiteX0" fmla="*/ 267507 w 511490"/>
              <a:gd name="connsiteY0" fmla="*/ 201704 h 201834"/>
              <a:gd name="connsiteX1" fmla="*/ 266640 w 511490"/>
              <a:gd name="connsiteY1" fmla="*/ 201357 h 201834"/>
              <a:gd name="connsiteX2" fmla="*/ 266640 w 511490"/>
              <a:gd name="connsiteY2" fmla="*/ 200316 h 201834"/>
              <a:gd name="connsiteX3" fmla="*/ 266176 w 511490"/>
              <a:gd name="connsiteY3" fmla="*/ 191986 h 201834"/>
              <a:gd name="connsiteX4" fmla="*/ 270573 w 511490"/>
              <a:gd name="connsiteY4" fmla="*/ 177468 h 201834"/>
              <a:gd name="connsiteX5" fmla="*/ 274101 w 511490"/>
              <a:gd name="connsiteY5" fmla="*/ 170873 h 201834"/>
              <a:gd name="connsiteX6" fmla="*/ 274101 w 511490"/>
              <a:gd name="connsiteY6" fmla="*/ 170468 h 201834"/>
              <a:gd name="connsiteX7" fmla="*/ 270978 w 511490"/>
              <a:gd name="connsiteY7" fmla="*/ 169716 h 201834"/>
              <a:gd name="connsiteX8" fmla="*/ 254261 w 511490"/>
              <a:gd name="connsiteY8" fmla="*/ 176079 h 201834"/>
              <a:gd name="connsiteX9" fmla="*/ 240378 w 511490"/>
              <a:gd name="connsiteY9" fmla="*/ 173303 h 201834"/>
              <a:gd name="connsiteX10" fmla="*/ 233205 w 511490"/>
              <a:gd name="connsiteY10" fmla="*/ 170873 h 201834"/>
              <a:gd name="connsiteX11" fmla="*/ 227421 w 511490"/>
              <a:gd name="connsiteY11" fmla="*/ 175559 h 201834"/>
              <a:gd name="connsiteX12" fmla="*/ 207291 w 511490"/>
              <a:gd name="connsiteY12" fmla="*/ 187127 h 201834"/>
              <a:gd name="connsiteX13" fmla="*/ 194855 w 511490"/>
              <a:gd name="connsiteY13" fmla="*/ 189788 h 201834"/>
              <a:gd name="connsiteX14" fmla="*/ 178658 w 511490"/>
              <a:gd name="connsiteY14" fmla="*/ 191871 h 201834"/>
              <a:gd name="connsiteX15" fmla="*/ 168361 w 511490"/>
              <a:gd name="connsiteY15" fmla="*/ 184872 h 201834"/>
              <a:gd name="connsiteX16" fmla="*/ 141811 w 511490"/>
              <a:gd name="connsiteY16" fmla="*/ 170179 h 201834"/>
              <a:gd name="connsiteX17" fmla="*/ 120814 w 511490"/>
              <a:gd name="connsiteY17" fmla="*/ 179145 h 201834"/>
              <a:gd name="connsiteX18" fmla="*/ 96230 w 511490"/>
              <a:gd name="connsiteY18" fmla="*/ 190714 h 201834"/>
              <a:gd name="connsiteX19" fmla="*/ 83562 w 511490"/>
              <a:gd name="connsiteY19" fmla="*/ 186318 h 201834"/>
              <a:gd name="connsiteX20" fmla="*/ 80149 w 511490"/>
              <a:gd name="connsiteY20" fmla="*/ 180244 h 201834"/>
              <a:gd name="connsiteX21" fmla="*/ 67886 w 511490"/>
              <a:gd name="connsiteY21" fmla="*/ 169427 h 201834"/>
              <a:gd name="connsiteX22" fmla="*/ 52731 w 511490"/>
              <a:gd name="connsiteY22" fmla="*/ 164337 h 201834"/>
              <a:gd name="connsiteX23" fmla="*/ 44054 w 511490"/>
              <a:gd name="connsiteY23" fmla="*/ 159362 h 201834"/>
              <a:gd name="connsiteX24" fmla="*/ 34973 w 511490"/>
              <a:gd name="connsiteY24" fmla="*/ 153578 h 201834"/>
              <a:gd name="connsiteX25" fmla="*/ 27222 w 511490"/>
              <a:gd name="connsiteY25" fmla="*/ 147331 h 201834"/>
              <a:gd name="connsiteX26" fmla="*/ 19586 w 511490"/>
              <a:gd name="connsiteY26" fmla="*/ 140042 h 201834"/>
              <a:gd name="connsiteX27" fmla="*/ 22190 w 511490"/>
              <a:gd name="connsiteY27" fmla="*/ 138249 h 201834"/>
              <a:gd name="connsiteX28" fmla="*/ 26412 w 511490"/>
              <a:gd name="connsiteY28" fmla="*/ 134894 h 201834"/>
              <a:gd name="connsiteX29" fmla="*/ 21668 w 511490"/>
              <a:gd name="connsiteY29" fmla="*/ 125234 h 201834"/>
              <a:gd name="connsiteX30" fmla="*/ 16463 w 511490"/>
              <a:gd name="connsiteY30" fmla="*/ 115458 h 201834"/>
              <a:gd name="connsiteX31" fmla="*/ 20801 w 511490"/>
              <a:gd name="connsiteY31" fmla="*/ 104584 h 201834"/>
              <a:gd name="connsiteX32" fmla="*/ 19644 w 511490"/>
              <a:gd name="connsiteY32" fmla="*/ 94056 h 201834"/>
              <a:gd name="connsiteX33" fmla="*/ 18198 w 511490"/>
              <a:gd name="connsiteY33" fmla="*/ 84570 h 201834"/>
              <a:gd name="connsiteX34" fmla="*/ 18545 w 511490"/>
              <a:gd name="connsiteY34" fmla="*/ 81793 h 201834"/>
              <a:gd name="connsiteX35" fmla="*/ 7901 w 511490"/>
              <a:gd name="connsiteY35" fmla="*/ 78669 h 201834"/>
              <a:gd name="connsiteX36" fmla="*/ 1712 w 511490"/>
              <a:gd name="connsiteY36" fmla="*/ 74493 h 201834"/>
              <a:gd name="connsiteX37" fmla="*/ 1712 w 511490"/>
              <a:gd name="connsiteY37" fmla="*/ 74331 h 201834"/>
              <a:gd name="connsiteX38" fmla="*/ 13281 w 511490"/>
              <a:gd name="connsiteY38" fmla="*/ 56342 h 201834"/>
              <a:gd name="connsiteX39" fmla="*/ 33353 w 511490"/>
              <a:gd name="connsiteY39" fmla="*/ 54028 h 201834"/>
              <a:gd name="connsiteX40" fmla="*/ 46368 w 511490"/>
              <a:gd name="connsiteY40" fmla="*/ 54028 h 201834"/>
              <a:gd name="connsiteX41" fmla="*/ 70721 w 511490"/>
              <a:gd name="connsiteY41" fmla="*/ 51309 h 201834"/>
              <a:gd name="connsiteX42" fmla="*/ 81595 w 511490"/>
              <a:gd name="connsiteY42" fmla="*/ 36732 h 201834"/>
              <a:gd name="connsiteX43" fmla="*/ 84198 w 511490"/>
              <a:gd name="connsiteY43" fmla="*/ 30485 h 201834"/>
              <a:gd name="connsiteX44" fmla="*/ 88421 w 511490"/>
              <a:gd name="connsiteY44" fmla="*/ 29733 h 201834"/>
              <a:gd name="connsiteX45" fmla="*/ 100394 w 511490"/>
              <a:gd name="connsiteY45" fmla="*/ 30601 h 201834"/>
              <a:gd name="connsiteX46" fmla="*/ 122549 w 511490"/>
              <a:gd name="connsiteY46" fmla="*/ 31931 h 201834"/>
              <a:gd name="connsiteX47" fmla="*/ 143893 w 511490"/>
              <a:gd name="connsiteY47" fmla="*/ 27304 h 201834"/>
              <a:gd name="connsiteX48" fmla="*/ 215505 w 511490"/>
              <a:gd name="connsiteY48" fmla="*/ 811 h 201834"/>
              <a:gd name="connsiteX49" fmla="*/ 227537 w 511490"/>
              <a:gd name="connsiteY49" fmla="*/ 1563 h 201834"/>
              <a:gd name="connsiteX50" fmla="*/ 260334 w 511490"/>
              <a:gd name="connsiteY50" fmla="*/ 10355 h 201834"/>
              <a:gd name="connsiteX51" fmla="*/ 268143 w 511490"/>
              <a:gd name="connsiteY51" fmla="*/ 12496 h 201834"/>
              <a:gd name="connsiteX52" fmla="*/ 280927 w 511490"/>
              <a:gd name="connsiteY52" fmla="*/ 18280 h 201834"/>
              <a:gd name="connsiteX53" fmla="*/ 292496 w 511490"/>
              <a:gd name="connsiteY53" fmla="*/ 23255 h 201834"/>
              <a:gd name="connsiteX54" fmla="*/ 307419 w 511490"/>
              <a:gd name="connsiteY54" fmla="*/ 28056 h 201834"/>
              <a:gd name="connsiteX55" fmla="*/ 324773 w 511490"/>
              <a:gd name="connsiteY55" fmla="*/ 33840 h 201834"/>
              <a:gd name="connsiteX56" fmla="*/ 343167 w 511490"/>
              <a:gd name="connsiteY56" fmla="*/ 32452 h 201834"/>
              <a:gd name="connsiteX57" fmla="*/ 361388 w 511490"/>
              <a:gd name="connsiteY57" fmla="*/ 31121 h 201834"/>
              <a:gd name="connsiteX58" fmla="*/ 372957 w 511490"/>
              <a:gd name="connsiteY58" fmla="*/ 32683 h 201834"/>
              <a:gd name="connsiteX59" fmla="*/ 377700 w 511490"/>
              <a:gd name="connsiteY59" fmla="*/ 33320 h 201834"/>
              <a:gd name="connsiteX60" fmla="*/ 422414 w 511490"/>
              <a:gd name="connsiteY60" fmla="*/ 15966 h 201834"/>
              <a:gd name="connsiteX61" fmla="*/ 423282 w 511490"/>
              <a:gd name="connsiteY61" fmla="*/ 15677 h 201834"/>
              <a:gd name="connsiteX62" fmla="*/ 438205 w 511490"/>
              <a:gd name="connsiteY62" fmla="*/ 16313 h 201834"/>
              <a:gd name="connsiteX63" fmla="*/ 451278 w 511490"/>
              <a:gd name="connsiteY63" fmla="*/ 14867 h 201834"/>
              <a:gd name="connsiteX64" fmla="*/ 455558 w 511490"/>
              <a:gd name="connsiteY64" fmla="*/ 13884 h 201834"/>
              <a:gd name="connsiteX65" fmla="*/ 467821 w 511490"/>
              <a:gd name="connsiteY65" fmla="*/ 24643 h 201834"/>
              <a:gd name="connsiteX66" fmla="*/ 471987 w 511490"/>
              <a:gd name="connsiteY66" fmla="*/ 30427 h 201834"/>
              <a:gd name="connsiteX67" fmla="*/ 476903 w 511490"/>
              <a:gd name="connsiteY67" fmla="*/ 43037 h 201834"/>
              <a:gd name="connsiteX68" fmla="*/ 478176 w 511490"/>
              <a:gd name="connsiteY68" fmla="*/ 54317 h 201834"/>
              <a:gd name="connsiteX69" fmla="*/ 490381 w 511490"/>
              <a:gd name="connsiteY69" fmla="*/ 61490 h 201834"/>
              <a:gd name="connsiteX70" fmla="*/ 493099 w 511490"/>
              <a:gd name="connsiteY70" fmla="*/ 61490 h 201834"/>
              <a:gd name="connsiteX71" fmla="*/ 498884 w 511490"/>
              <a:gd name="connsiteY71" fmla="*/ 62820 h 201834"/>
              <a:gd name="connsiteX72" fmla="*/ 504264 w 511490"/>
              <a:gd name="connsiteY72" fmla="*/ 73348 h 201834"/>
              <a:gd name="connsiteX73" fmla="*/ 504264 w 511490"/>
              <a:gd name="connsiteY73" fmla="*/ 74331 h 201834"/>
              <a:gd name="connsiteX74" fmla="*/ 503396 w 511490"/>
              <a:gd name="connsiteY74" fmla="*/ 74852 h 201834"/>
              <a:gd name="connsiteX75" fmla="*/ 500157 w 511490"/>
              <a:gd name="connsiteY75" fmla="*/ 81735 h 201834"/>
              <a:gd name="connsiteX76" fmla="*/ 496165 w 511490"/>
              <a:gd name="connsiteY76" fmla="*/ 88908 h 201834"/>
              <a:gd name="connsiteX77" fmla="*/ 494893 w 511490"/>
              <a:gd name="connsiteY77" fmla="*/ 89660 h 201834"/>
              <a:gd name="connsiteX78" fmla="*/ 498248 w 511490"/>
              <a:gd name="connsiteY78" fmla="*/ 109905 h 201834"/>
              <a:gd name="connsiteX79" fmla="*/ 497901 w 511490"/>
              <a:gd name="connsiteY79" fmla="*/ 123846 h 201834"/>
              <a:gd name="connsiteX80" fmla="*/ 497553 w 511490"/>
              <a:gd name="connsiteY80" fmla="*/ 138423 h 201834"/>
              <a:gd name="connsiteX81" fmla="*/ 507445 w 511490"/>
              <a:gd name="connsiteY81" fmla="*/ 149992 h 201834"/>
              <a:gd name="connsiteX82" fmla="*/ 511263 w 511490"/>
              <a:gd name="connsiteY82" fmla="*/ 161271 h 201834"/>
              <a:gd name="connsiteX83" fmla="*/ 505883 w 511490"/>
              <a:gd name="connsiteY83" fmla="*/ 167055 h 201834"/>
              <a:gd name="connsiteX84" fmla="*/ 505883 w 511490"/>
              <a:gd name="connsiteY84" fmla="*/ 167055 h 201834"/>
              <a:gd name="connsiteX85" fmla="*/ 493331 w 511490"/>
              <a:gd name="connsiteY85" fmla="*/ 161850 h 201834"/>
              <a:gd name="connsiteX86" fmla="*/ 482919 w 511490"/>
              <a:gd name="connsiteY86" fmla="*/ 157338 h 201834"/>
              <a:gd name="connsiteX87" fmla="*/ 481820 w 511490"/>
              <a:gd name="connsiteY87" fmla="*/ 157338 h 201834"/>
              <a:gd name="connsiteX88" fmla="*/ 478580 w 511490"/>
              <a:gd name="connsiteY88" fmla="*/ 158148 h 201834"/>
              <a:gd name="connsiteX89" fmla="*/ 471755 w 511490"/>
              <a:gd name="connsiteY89" fmla="*/ 155834 h 201834"/>
              <a:gd name="connsiteX90" fmla="*/ 457236 w 511490"/>
              <a:gd name="connsiteY90" fmla="*/ 152594 h 201834"/>
              <a:gd name="connsiteX91" fmla="*/ 448849 w 511490"/>
              <a:gd name="connsiteY91" fmla="*/ 157801 h 201834"/>
              <a:gd name="connsiteX92" fmla="*/ 445725 w 511490"/>
              <a:gd name="connsiteY92" fmla="*/ 161560 h 201834"/>
              <a:gd name="connsiteX93" fmla="*/ 444626 w 511490"/>
              <a:gd name="connsiteY93" fmla="*/ 161850 h 201834"/>
              <a:gd name="connsiteX94" fmla="*/ 434735 w 511490"/>
              <a:gd name="connsiteY94" fmla="*/ 158842 h 201834"/>
              <a:gd name="connsiteX95" fmla="*/ 404424 w 511490"/>
              <a:gd name="connsiteY95" fmla="*/ 163122 h 201834"/>
              <a:gd name="connsiteX96" fmla="*/ 387071 w 511490"/>
              <a:gd name="connsiteY96" fmla="*/ 168039 h 201834"/>
              <a:gd name="connsiteX97" fmla="*/ 367924 w 511490"/>
              <a:gd name="connsiteY97" fmla="*/ 173823 h 201834"/>
              <a:gd name="connsiteX98" fmla="*/ 352307 w 511490"/>
              <a:gd name="connsiteY98" fmla="*/ 174807 h 201834"/>
              <a:gd name="connsiteX99" fmla="*/ 344150 w 511490"/>
              <a:gd name="connsiteY99" fmla="*/ 175443 h 201834"/>
              <a:gd name="connsiteX100" fmla="*/ 335763 w 511490"/>
              <a:gd name="connsiteY100" fmla="*/ 172319 h 201834"/>
              <a:gd name="connsiteX101" fmla="*/ 332581 w 511490"/>
              <a:gd name="connsiteY101" fmla="*/ 169948 h 201834"/>
              <a:gd name="connsiteX102" fmla="*/ 327144 w 511490"/>
              <a:gd name="connsiteY102" fmla="*/ 172262 h 201834"/>
              <a:gd name="connsiteX103" fmla="*/ 319856 w 511490"/>
              <a:gd name="connsiteY103" fmla="*/ 175906 h 201834"/>
              <a:gd name="connsiteX104" fmla="*/ 293884 w 511490"/>
              <a:gd name="connsiteY104" fmla="*/ 175906 h 201834"/>
              <a:gd name="connsiteX105" fmla="*/ 290702 w 511490"/>
              <a:gd name="connsiteY105" fmla="*/ 174575 h 201834"/>
              <a:gd name="connsiteX106" fmla="*/ 284918 w 511490"/>
              <a:gd name="connsiteY106" fmla="*/ 181690 h 201834"/>
              <a:gd name="connsiteX107" fmla="*/ 284918 w 511490"/>
              <a:gd name="connsiteY107" fmla="*/ 184178 h 201834"/>
              <a:gd name="connsiteX108" fmla="*/ 268086 w 511490"/>
              <a:gd name="connsiteY108" fmla="*/ 201531 h 201834"/>
              <a:gd name="connsiteX109" fmla="*/ 270457 w 511490"/>
              <a:gd name="connsiteY109" fmla="*/ 167518 h 201834"/>
              <a:gd name="connsiteX110" fmla="*/ 274679 w 511490"/>
              <a:gd name="connsiteY110" fmla="*/ 168560 h 201834"/>
              <a:gd name="connsiteX111" fmla="*/ 276068 w 511490"/>
              <a:gd name="connsiteY111" fmla="*/ 170353 h 201834"/>
              <a:gd name="connsiteX112" fmla="*/ 272192 w 511490"/>
              <a:gd name="connsiteY112" fmla="*/ 178798 h 201834"/>
              <a:gd name="connsiteX113" fmla="*/ 267796 w 511490"/>
              <a:gd name="connsiteY113" fmla="*/ 190656 h 201834"/>
              <a:gd name="connsiteX114" fmla="*/ 268895 w 511490"/>
              <a:gd name="connsiteY114" fmla="*/ 199217 h 201834"/>
              <a:gd name="connsiteX115" fmla="*/ 282199 w 511490"/>
              <a:gd name="connsiteY115" fmla="*/ 184062 h 201834"/>
              <a:gd name="connsiteX116" fmla="*/ 282547 w 511490"/>
              <a:gd name="connsiteY116" fmla="*/ 181401 h 201834"/>
              <a:gd name="connsiteX117" fmla="*/ 290529 w 511490"/>
              <a:gd name="connsiteY117" fmla="*/ 172435 h 201834"/>
              <a:gd name="connsiteX118" fmla="*/ 295098 w 511490"/>
              <a:gd name="connsiteY118" fmla="*/ 174286 h 201834"/>
              <a:gd name="connsiteX119" fmla="*/ 318757 w 511490"/>
              <a:gd name="connsiteY119" fmla="*/ 174286 h 201834"/>
              <a:gd name="connsiteX120" fmla="*/ 325930 w 511490"/>
              <a:gd name="connsiteY120" fmla="*/ 170700 h 201834"/>
              <a:gd name="connsiteX121" fmla="*/ 332408 w 511490"/>
              <a:gd name="connsiteY121" fmla="*/ 168212 h 201834"/>
              <a:gd name="connsiteX122" fmla="*/ 337383 w 511490"/>
              <a:gd name="connsiteY122" fmla="*/ 171394 h 201834"/>
              <a:gd name="connsiteX123" fmla="*/ 343977 w 511490"/>
              <a:gd name="connsiteY123" fmla="*/ 173650 h 201834"/>
              <a:gd name="connsiteX124" fmla="*/ 351902 w 511490"/>
              <a:gd name="connsiteY124" fmla="*/ 173071 h 201834"/>
              <a:gd name="connsiteX125" fmla="*/ 367751 w 511490"/>
              <a:gd name="connsiteY125" fmla="*/ 172030 h 201834"/>
              <a:gd name="connsiteX126" fmla="*/ 385799 w 511490"/>
              <a:gd name="connsiteY126" fmla="*/ 166246 h 201834"/>
              <a:gd name="connsiteX127" fmla="*/ 404540 w 511490"/>
              <a:gd name="connsiteY127" fmla="*/ 161040 h 201834"/>
              <a:gd name="connsiteX128" fmla="*/ 434272 w 511490"/>
              <a:gd name="connsiteY128" fmla="*/ 156759 h 201834"/>
              <a:gd name="connsiteX129" fmla="*/ 434966 w 511490"/>
              <a:gd name="connsiteY129" fmla="*/ 156759 h 201834"/>
              <a:gd name="connsiteX130" fmla="*/ 444568 w 511490"/>
              <a:gd name="connsiteY130" fmla="*/ 159651 h 201834"/>
              <a:gd name="connsiteX131" fmla="*/ 446940 w 511490"/>
              <a:gd name="connsiteY131" fmla="*/ 156701 h 201834"/>
              <a:gd name="connsiteX132" fmla="*/ 456947 w 511490"/>
              <a:gd name="connsiteY132" fmla="*/ 150570 h 201834"/>
              <a:gd name="connsiteX133" fmla="*/ 472681 w 511490"/>
              <a:gd name="connsiteY133" fmla="*/ 153983 h 201834"/>
              <a:gd name="connsiteX134" fmla="*/ 480778 w 511490"/>
              <a:gd name="connsiteY134" fmla="*/ 155545 h 201834"/>
              <a:gd name="connsiteX135" fmla="*/ 482861 w 511490"/>
              <a:gd name="connsiteY135" fmla="*/ 155082 h 201834"/>
              <a:gd name="connsiteX136" fmla="*/ 494430 w 511490"/>
              <a:gd name="connsiteY136" fmla="*/ 159883 h 201834"/>
              <a:gd name="connsiteX137" fmla="*/ 505999 w 511490"/>
              <a:gd name="connsiteY137" fmla="*/ 164800 h 201834"/>
              <a:gd name="connsiteX138" fmla="*/ 505999 w 511490"/>
              <a:gd name="connsiteY138" fmla="*/ 164800 h 201834"/>
              <a:gd name="connsiteX139" fmla="*/ 509180 w 511490"/>
              <a:gd name="connsiteY139" fmla="*/ 160924 h 201834"/>
              <a:gd name="connsiteX140" fmla="*/ 505536 w 511490"/>
              <a:gd name="connsiteY140" fmla="*/ 151264 h 201834"/>
              <a:gd name="connsiteX141" fmla="*/ 497091 w 511490"/>
              <a:gd name="connsiteY141" fmla="*/ 140563 h 201834"/>
              <a:gd name="connsiteX142" fmla="*/ 495761 w 511490"/>
              <a:gd name="connsiteY142" fmla="*/ 123499 h 201834"/>
              <a:gd name="connsiteX143" fmla="*/ 496397 w 511490"/>
              <a:gd name="connsiteY143" fmla="*/ 110831 h 201834"/>
              <a:gd name="connsiteX144" fmla="*/ 493099 w 511490"/>
              <a:gd name="connsiteY144" fmla="*/ 88387 h 201834"/>
              <a:gd name="connsiteX145" fmla="*/ 496281 w 511490"/>
              <a:gd name="connsiteY145" fmla="*/ 86594 h 201834"/>
              <a:gd name="connsiteX146" fmla="*/ 498017 w 511490"/>
              <a:gd name="connsiteY146" fmla="*/ 81677 h 201834"/>
              <a:gd name="connsiteX147" fmla="*/ 501950 w 511490"/>
              <a:gd name="connsiteY147" fmla="*/ 72827 h 201834"/>
              <a:gd name="connsiteX148" fmla="*/ 497727 w 511490"/>
              <a:gd name="connsiteY148" fmla="*/ 64498 h 201834"/>
              <a:gd name="connsiteX149" fmla="*/ 493389 w 511490"/>
              <a:gd name="connsiteY149" fmla="*/ 63688 h 201834"/>
              <a:gd name="connsiteX150" fmla="*/ 490670 w 511490"/>
              <a:gd name="connsiteY150" fmla="*/ 63688 h 201834"/>
              <a:gd name="connsiteX151" fmla="*/ 476382 w 511490"/>
              <a:gd name="connsiteY151" fmla="*/ 55127 h 201834"/>
              <a:gd name="connsiteX152" fmla="*/ 473722 w 511490"/>
              <a:gd name="connsiteY152" fmla="*/ 43558 h 201834"/>
              <a:gd name="connsiteX153" fmla="*/ 469268 w 511490"/>
              <a:gd name="connsiteY153" fmla="*/ 31989 h 201834"/>
              <a:gd name="connsiteX154" fmla="*/ 465045 w 511490"/>
              <a:gd name="connsiteY154" fmla="*/ 25858 h 201834"/>
              <a:gd name="connsiteX155" fmla="*/ 454633 w 511490"/>
              <a:gd name="connsiteY155" fmla="*/ 16140 h 201834"/>
              <a:gd name="connsiteX156" fmla="*/ 451278 w 511490"/>
              <a:gd name="connsiteY156" fmla="*/ 16950 h 201834"/>
              <a:gd name="connsiteX157" fmla="*/ 437280 w 511490"/>
              <a:gd name="connsiteY157" fmla="*/ 18569 h 201834"/>
              <a:gd name="connsiteX158" fmla="*/ 422645 w 511490"/>
              <a:gd name="connsiteY158" fmla="*/ 17933 h 201834"/>
              <a:gd name="connsiteX159" fmla="*/ 376775 w 511490"/>
              <a:gd name="connsiteY159" fmla="*/ 35286 h 201834"/>
              <a:gd name="connsiteX160" fmla="*/ 370990 w 511490"/>
              <a:gd name="connsiteY160" fmla="*/ 34534 h 201834"/>
              <a:gd name="connsiteX161" fmla="*/ 360347 w 511490"/>
              <a:gd name="connsiteY161" fmla="*/ 33088 h 201834"/>
              <a:gd name="connsiteX162" fmla="*/ 342415 w 511490"/>
              <a:gd name="connsiteY162" fmla="*/ 34419 h 201834"/>
              <a:gd name="connsiteX163" fmla="*/ 323732 w 511490"/>
              <a:gd name="connsiteY163" fmla="*/ 35807 h 201834"/>
              <a:gd name="connsiteX164" fmla="*/ 305105 w 511490"/>
              <a:gd name="connsiteY164" fmla="*/ 30022 h 201834"/>
              <a:gd name="connsiteX165" fmla="*/ 291512 w 511490"/>
              <a:gd name="connsiteY165" fmla="*/ 25510 h 201834"/>
              <a:gd name="connsiteX166" fmla="*/ 278381 w 511490"/>
              <a:gd name="connsiteY166" fmla="*/ 19726 h 201834"/>
              <a:gd name="connsiteX167" fmla="*/ 267160 w 511490"/>
              <a:gd name="connsiteY167" fmla="*/ 14404 h 201834"/>
              <a:gd name="connsiteX168" fmla="*/ 258136 w 511490"/>
              <a:gd name="connsiteY168" fmla="*/ 11917 h 201834"/>
              <a:gd name="connsiteX169" fmla="*/ 226264 w 511490"/>
              <a:gd name="connsiteY169" fmla="*/ 3472 h 201834"/>
              <a:gd name="connsiteX170" fmla="*/ 214695 w 511490"/>
              <a:gd name="connsiteY170" fmla="*/ 2720 h 201834"/>
              <a:gd name="connsiteX171" fmla="*/ 144530 w 511490"/>
              <a:gd name="connsiteY171" fmla="*/ 28692 h 201834"/>
              <a:gd name="connsiteX172" fmla="*/ 121739 w 511490"/>
              <a:gd name="connsiteY172" fmla="*/ 33840 h 201834"/>
              <a:gd name="connsiteX173" fmla="*/ 99354 w 511490"/>
              <a:gd name="connsiteY173" fmla="*/ 32452 h 201834"/>
              <a:gd name="connsiteX174" fmla="*/ 87785 w 511490"/>
              <a:gd name="connsiteY174" fmla="*/ 31642 h 201834"/>
              <a:gd name="connsiteX175" fmla="*/ 84835 w 511490"/>
              <a:gd name="connsiteY175" fmla="*/ 31989 h 201834"/>
              <a:gd name="connsiteX176" fmla="*/ 83157 w 511490"/>
              <a:gd name="connsiteY176" fmla="*/ 36790 h 201834"/>
              <a:gd name="connsiteX177" fmla="*/ 70894 w 511490"/>
              <a:gd name="connsiteY177" fmla="*/ 53044 h 201834"/>
              <a:gd name="connsiteX178" fmla="*/ 45732 w 511490"/>
              <a:gd name="connsiteY178" fmla="*/ 55937 h 201834"/>
              <a:gd name="connsiteX179" fmla="*/ 32717 w 511490"/>
              <a:gd name="connsiteY179" fmla="*/ 55937 h 201834"/>
              <a:gd name="connsiteX180" fmla="*/ 13571 w 511490"/>
              <a:gd name="connsiteY180" fmla="*/ 58019 h 201834"/>
              <a:gd name="connsiteX181" fmla="*/ 3563 w 511490"/>
              <a:gd name="connsiteY181" fmla="*/ 73521 h 201834"/>
              <a:gd name="connsiteX182" fmla="*/ 7149 w 511490"/>
              <a:gd name="connsiteY182" fmla="*/ 76113 h 201834"/>
              <a:gd name="connsiteX183" fmla="*/ 7381 w 511490"/>
              <a:gd name="connsiteY183" fmla="*/ 76067 h 201834"/>
              <a:gd name="connsiteX184" fmla="*/ 20164 w 511490"/>
              <a:gd name="connsiteY184" fmla="*/ 80405 h 201834"/>
              <a:gd name="connsiteX185" fmla="*/ 19702 w 511490"/>
              <a:gd name="connsiteY185" fmla="*/ 85495 h 201834"/>
              <a:gd name="connsiteX186" fmla="*/ 21380 w 511490"/>
              <a:gd name="connsiteY186" fmla="*/ 92841 h 201834"/>
              <a:gd name="connsiteX187" fmla="*/ 21958 w 511490"/>
              <a:gd name="connsiteY187" fmla="*/ 105914 h 201834"/>
              <a:gd name="connsiteX188" fmla="*/ 18372 w 511490"/>
              <a:gd name="connsiteY188" fmla="*/ 114996 h 201834"/>
              <a:gd name="connsiteX189" fmla="*/ 22652 w 511490"/>
              <a:gd name="connsiteY189" fmla="*/ 123094 h 201834"/>
              <a:gd name="connsiteX190" fmla="*/ 28436 w 511490"/>
              <a:gd name="connsiteY190" fmla="*/ 135068 h 201834"/>
              <a:gd name="connsiteX191" fmla="*/ 22363 w 511490"/>
              <a:gd name="connsiteY191" fmla="*/ 140100 h 201834"/>
              <a:gd name="connsiteX192" fmla="*/ 21726 w 511490"/>
              <a:gd name="connsiteY192" fmla="*/ 140100 h 201834"/>
              <a:gd name="connsiteX193" fmla="*/ 28263 w 511490"/>
              <a:gd name="connsiteY193" fmla="*/ 144901 h 201834"/>
              <a:gd name="connsiteX194" fmla="*/ 37055 w 511490"/>
              <a:gd name="connsiteY194" fmla="*/ 152826 h 201834"/>
              <a:gd name="connsiteX195" fmla="*/ 44633 w 511490"/>
              <a:gd name="connsiteY195" fmla="*/ 156759 h 201834"/>
              <a:gd name="connsiteX196" fmla="*/ 54814 w 511490"/>
              <a:gd name="connsiteY196" fmla="*/ 163874 h 201834"/>
              <a:gd name="connsiteX197" fmla="*/ 60598 w 511490"/>
              <a:gd name="connsiteY197" fmla="*/ 167865 h 201834"/>
              <a:gd name="connsiteX198" fmla="*/ 67192 w 511490"/>
              <a:gd name="connsiteY198" fmla="*/ 166824 h 201834"/>
              <a:gd name="connsiteX199" fmla="*/ 69679 w 511490"/>
              <a:gd name="connsiteY199" fmla="*/ 166419 h 201834"/>
              <a:gd name="connsiteX200" fmla="*/ 82000 w 511490"/>
              <a:gd name="connsiteY200" fmla="*/ 178740 h 201834"/>
              <a:gd name="connsiteX201" fmla="*/ 85355 w 511490"/>
              <a:gd name="connsiteY201" fmla="*/ 184525 h 201834"/>
              <a:gd name="connsiteX202" fmla="*/ 96114 w 511490"/>
              <a:gd name="connsiteY202" fmla="*/ 187879 h 201834"/>
              <a:gd name="connsiteX203" fmla="*/ 118442 w 511490"/>
              <a:gd name="connsiteY203" fmla="*/ 178682 h 201834"/>
              <a:gd name="connsiteX204" fmla="*/ 141580 w 511490"/>
              <a:gd name="connsiteY204" fmla="*/ 167460 h 201834"/>
              <a:gd name="connsiteX205" fmla="*/ 169287 w 511490"/>
              <a:gd name="connsiteY205" fmla="*/ 182616 h 201834"/>
              <a:gd name="connsiteX206" fmla="*/ 179063 w 511490"/>
              <a:gd name="connsiteY206" fmla="*/ 189326 h 201834"/>
              <a:gd name="connsiteX207" fmla="*/ 193813 w 511490"/>
              <a:gd name="connsiteY207" fmla="*/ 187127 h 201834"/>
              <a:gd name="connsiteX208" fmla="*/ 206886 w 511490"/>
              <a:gd name="connsiteY208" fmla="*/ 184409 h 201834"/>
              <a:gd name="connsiteX209" fmla="*/ 225570 w 511490"/>
              <a:gd name="connsiteY209" fmla="*/ 173303 h 201834"/>
              <a:gd name="connsiteX210" fmla="*/ 231817 w 511490"/>
              <a:gd name="connsiteY210" fmla="*/ 168444 h 201834"/>
              <a:gd name="connsiteX211" fmla="*/ 234015 w 511490"/>
              <a:gd name="connsiteY211" fmla="*/ 167807 h 201834"/>
              <a:gd name="connsiteX212" fmla="*/ 241246 w 511490"/>
              <a:gd name="connsiteY212" fmla="*/ 170816 h 201834"/>
              <a:gd name="connsiteX213" fmla="*/ 252815 w 511490"/>
              <a:gd name="connsiteY213" fmla="*/ 173650 h 201834"/>
              <a:gd name="connsiteX214" fmla="*/ 270457 w 511490"/>
              <a:gd name="connsiteY214" fmla="*/ 167518 h 201834"/>
              <a:gd name="connsiteX215" fmla="*/ 16868 w 511490"/>
              <a:gd name="connsiteY215" fmla="*/ 52292 h 201834"/>
              <a:gd name="connsiteX216" fmla="*/ 498 w 511490"/>
              <a:gd name="connsiteY216" fmla="*/ 44426 h 201834"/>
              <a:gd name="connsiteX217" fmla="*/ -23 w 511490"/>
              <a:gd name="connsiteY217" fmla="*/ 43558 h 201834"/>
              <a:gd name="connsiteX218" fmla="*/ -23 w 511490"/>
              <a:gd name="connsiteY218" fmla="*/ 42633 h 201834"/>
              <a:gd name="connsiteX219" fmla="*/ 1944 w 511490"/>
              <a:gd name="connsiteY219" fmla="*/ 40492 h 201834"/>
              <a:gd name="connsiteX220" fmla="*/ 6051 w 511490"/>
              <a:gd name="connsiteY220" fmla="*/ 34014 h 201834"/>
              <a:gd name="connsiteX221" fmla="*/ 9695 w 511490"/>
              <a:gd name="connsiteY221" fmla="*/ 28229 h 201834"/>
              <a:gd name="connsiteX222" fmla="*/ 13917 w 511490"/>
              <a:gd name="connsiteY222" fmla="*/ 21172 h 201834"/>
              <a:gd name="connsiteX223" fmla="*/ 12067 w 511490"/>
              <a:gd name="connsiteY223" fmla="*/ 11917 h 201834"/>
              <a:gd name="connsiteX224" fmla="*/ 12067 w 511490"/>
              <a:gd name="connsiteY224" fmla="*/ 1968 h 201834"/>
              <a:gd name="connsiteX225" fmla="*/ 28552 w 511490"/>
              <a:gd name="connsiteY225" fmla="*/ -57 h 201834"/>
              <a:gd name="connsiteX226" fmla="*/ 40873 w 511490"/>
              <a:gd name="connsiteY226" fmla="*/ 1968 h 201834"/>
              <a:gd name="connsiteX227" fmla="*/ 50764 w 511490"/>
              <a:gd name="connsiteY227" fmla="*/ 1 h 201834"/>
              <a:gd name="connsiteX228" fmla="*/ 51748 w 511490"/>
              <a:gd name="connsiteY228" fmla="*/ 1 h 201834"/>
              <a:gd name="connsiteX229" fmla="*/ 52500 w 511490"/>
              <a:gd name="connsiteY229" fmla="*/ 753 h 201834"/>
              <a:gd name="connsiteX230" fmla="*/ 52847 w 511490"/>
              <a:gd name="connsiteY230" fmla="*/ 2026 h 201834"/>
              <a:gd name="connsiteX231" fmla="*/ 58631 w 511490"/>
              <a:gd name="connsiteY231" fmla="*/ 14347 h 201834"/>
              <a:gd name="connsiteX232" fmla="*/ 68233 w 511490"/>
              <a:gd name="connsiteY232" fmla="*/ 20131 h 201834"/>
              <a:gd name="connsiteX233" fmla="*/ 80496 w 511490"/>
              <a:gd name="connsiteY233" fmla="*/ 29675 h 201834"/>
              <a:gd name="connsiteX234" fmla="*/ 79224 w 511490"/>
              <a:gd name="connsiteY234" fmla="*/ 32683 h 201834"/>
              <a:gd name="connsiteX235" fmla="*/ 66093 w 511490"/>
              <a:gd name="connsiteY235" fmla="*/ 35286 h 201834"/>
              <a:gd name="connsiteX236" fmla="*/ 60309 w 511490"/>
              <a:gd name="connsiteY236" fmla="*/ 35286 h 201834"/>
              <a:gd name="connsiteX237" fmla="*/ 54524 w 511490"/>
              <a:gd name="connsiteY237" fmla="*/ 35286 h 201834"/>
              <a:gd name="connsiteX238" fmla="*/ 42319 w 511490"/>
              <a:gd name="connsiteY238" fmla="*/ 36732 h 201834"/>
              <a:gd name="connsiteX239" fmla="*/ 32370 w 511490"/>
              <a:gd name="connsiteY239" fmla="*/ 44021 h 201834"/>
              <a:gd name="connsiteX240" fmla="*/ 16868 w 511490"/>
              <a:gd name="connsiteY240" fmla="*/ 52292 h 201834"/>
              <a:gd name="connsiteX241" fmla="*/ 2638 w 511490"/>
              <a:gd name="connsiteY241" fmla="*/ 43211 h 201834"/>
              <a:gd name="connsiteX242" fmla="*/ 16868 w 511490"/>
              <a:gd name="connsiteY242" fmla="*/ 50037 h 201834"/>
              <a:gd name="connsiteX243" fmla="*/ 31213 w 511490"/>
              <a:gd name="connsiteY243" fmla="*/ 42112 h 201834"/>
              <a:gd name="connsiteX244" fmla="*/ 41914 w 511490"/>
              <a:gd name="connsiteY244" fmla="*/ 34361 h 201834"/>
              <a:gd name="connsiteX245" fmla="*/ 54929 w 511490"/>
              <a:gd name="connsiteY245" fmla="*/ 32799 h 201834"/>
              <a:gd name="connsiteX246" fmla="*/ 60713 w 511490"/>
              <a:gd name="connsiteY246" fmla="*/ 32799 h 201834"/>
              <a:gd name="connsiteX247" fmla="*/ 66498 w 511490"/>
              <a:gd name="connsiteY247" fmla="*/ 32799 h 201834"/>
              <a:gd name="connsiteX248" fmla="*/ 78067 w 511490"/>
              <a:gd name="connsiteY248" fmla="*/ 30774 h 201834"/>
              <a:gd name="connsiteX249" fmla="*/ 78588 w 511490"/>
              <a:gd name="connsiteY249" fmla="*/ 29733 h 201834"/>
              <a:gd name="connsiteX250" fmla="*/ 67539 w 511490"/>
              <a:gd name="connsiteY250" fmla="*/ 21924 h 201834"/>
              <a:gd name="connsiteX251" fmla="*/ 57532 w 511490"/>
              <a:gd name="connsiteY251" fmla="*/ 16140 h 201834"/>
              <a:gd name="connsiteX252" fmla="*/ 50822 w 511490"/>
              <a:gd name="connsiteY252" fmla="*/ 2893 h 201834"/>
              <a:gd name="connsiteX253" fmla="*/ 39947 w 511490"/>
              <a:gd name="connsiteY253" fmla="*/ 4166 h 201834"/>
              <a:gd name="connsiteX254" fmla="*/ 28379 w 511490"/>
              <a:gd name="connsiteY254" fmla="*/ 2373 h 201834"/>
              <a:gd name="connsiteX255" fmla="*/ 12703 w 511490"/>
              <a:gd name="connsiteY255" fmla="*/ 4224 h 201834"/>
              <a:gd name="connsiteX256" fmla="*/ 13917 w 511490"/>
              <a:gd name="connsiteY256" fmla="*/ 11512 h 201834"/>
              <a:gd name="connsiteX257" fmla="*/ 15826 w 511490"/>
              <a:gd name="connsiteY257" fmla="*/ 21346 h 201834"/>
              <a:gd name="connsiteX258" fmla="*/ 10852 w 511490"/>
              <a:gd name="connsiteY258" fmla="*/ 30022 h 201834"/>
              <a:gd name="connsiteX259" fmla="*/ 7959 w 511490"/>
              <a:gd name="connsiteY259" fmla="*/ 34072 h 201834"/>
              <a:gd name="connsiteX260" fmla="*/ 3216 w 511490"/>
              <a:gd name="connsiteY260" fmla="*/ 42112 h 20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511490" h="201834">
                <a:moveTo>
                  <a:pt x="267507" y="201704"/>
                </a:moveTo>
                <a:cubicBezTo>
                  <a:pt x="267160" y="201716"/>
                  <a:pt x="266870" y="201589"/>
                  <a:pt x="266640" y="201357"/>
                </a:cubicBezTo>
                <a:cubicBezTo>
                  <a:pt x="266466" y="201028"/>
                  <a:pt x="266466" y="200646"/>
                  <a:pt x="266640" y="200316"/>
                </a:cubicBezTo>
                <a:cubicBezTo>
                  <a:pt x="267622" y="197597"/>
                  <a:pt x="267449" y="194578"/>
                  <a:pt x="266176" y="191986"/>
                </a:cubicBezTo>
                <a:cubicBezTo>
                  <a:pt x="263342" y="187822"/>
                  <a:pt x="267160" y="182326"/>
                  <a:pt x="270573" y="177468"/>
                </a:cubicBezTo>
                <a:cubicBezTo>
                  <a:pt x="272366" y="174922"/>
                  <a:pt x="274390" y="172030"/>
                  <a:pt x="274101" y="170873"/>
                </a:cubicBezTo>
                <a:cubicBezTo>
                  <a:pt x="274101" y="170873"/>
                  <a:pt x="274101" y="170873"/>
                  <a:pt x="274101" y="170468"/>
                </a:cubicBezTo>
                <a:cubicBezTo>
                  <a:pt x="273118" y="169959"/>
                  <a:pt x="272077" y="169705"/>
                  <a:pt x="270978" y="169716"/>
                </a:cubicBezTo>
                <a:cubicBezTo>
                  <a:pt x="265020" y="170711"/>
                  <a:pt x="259351" y="172875"/>
                  <a:pt x="254261" y="176079"/>
                </a:cubicBezTo>
                <a:cubicBezTo>
                  <a:pt x="249633" y="178567"/>
                  <a:pt x="244543" y="175790"/>
                  <a:pt x="240378" y="173303"/>
                </a:cubicBezTo>
                <a:cubicBezTo>
                  <a:pt x="237486" y="171567"/>
                  <a:pt x="234594" y="170006"/>
                  <a:pt x="233205" y="170873"/>
                </a:cubicBezTo>
                <a:cubicBezTo>
                  <a:pt x="231181" y="172296"/>
                  <a:pt x="229214" y="173864"/>
                  <a:pt x="227421" y="175559"/>
                </a:cubicBezTo>
                <a:cubicBezTo>
                  <a:pt x="221289" y="180707"/>
                  <a:pt x="213654" y="187127"/>
                  <a:pt x="207291" y="187127"/>
                </a:cubicBezTo>
                <a:cubicBezTo>
                  <a:pt x="203068" y="187469"/>
                  <a:pt x="198845" y="188360"/>
                  <a:pt x="194855" y="189788"/>
                </a:cubicBezTo>
                <a:cubicBezTo>
                  <a:pt x="189764" y="191906"/>
                  <a:pt x="184154" y="192623"/>
                  <a:pt x="178658" y="191871"/>
                </a:cubicBezTo>
                <a:cubicBezTo>
                  <a:pt x="174956" y="189956"/>
                  <a:pt x="171485" y="187608"/>
                  <a:pt x="168361" y="184872"/>
                </a:cubicBezTo>
                <a:cubicBezTo>
                  <a:pt x="160668" y="179087"/>
                  <a:pt x="150199" y="170931"/>
                  <a:pt x="141811" y="170179"/>
                </a:cubicBezTo>
                <a:cubicBezTo>
                  <a:pt x="127640" y="168907"/>
                  <a:pt x="120814" y="171799"/>
                  <a:pt x="120814" y="179145"/>
                </a:cubicBezTo>
                <a:cubicBezTo>
                  <a:pt x="120814" y="186491"/>
                  <a:pt x="106468" y="190714"/>
                  <a:pt x="96230" y="190714"/>
                </a:cubicBezTo>
                <a:cubicBezTo>
                  <a:pt x="91545" y="191356"/>
                  <a:pt x="86859" y="189719"/>
                  <a:pt x="83562" y="186318"/>
                </a:cubicBezTo>
                <a:cubicBezTo>
                  <a:pt x="82347" y="184409"/>
                  <a:pt x="81248" y="182269"/>
                  <a:pt x="80149" y="180244"/>
                </a:cubicBezTo>
                <a:cubicBezTo>
                  <a:pt x="76678" y="173765"/>
                  <a:pt x="73439" y="167865"/>
                  <a:pt x="67886" y="169427"/>
                </a:cubicBezTo>
                <a:cubicBezTo>
                  <a:pt x="58805" y="172030"/>
                  <a:pt x="52731" y="169890"/>
                  <a:pt x="52731" y="164337"/>
                </a:cubicBezTo>
                <a:cubicBezTo>
                  <a:pt x="52731" y="162544"/>
                  <a:pt x="47698" y="160693"/>
                  <a:pt x="44054" y="159362"/>
                </a:cubicBezTo>
                <a:cubicBezTo>
                  <a:pt x="39311" y="157627"/>
                  <a:pt x="35204" y="156123"/>
                  <a:pt x="34973" y="153578"/>
                </a:cubicBezTo>
                <a:cubicBezTo>
                  <a:pt x="34973" y="152305"/>
                  <a:pt x="30056" y="149182"/>
                  <a:pt x="27222" y="147331"/>
                </a:cubicBezTo>
                <a:cubicBezTo>
                  <a:pt x="21900" y="143860"/>
                  <a:pt x="19124" y="142009"/>
                  <a:pt x="19586" y="140042"/>
                </a:cubicBezTo>
                <a:cubicBezTo>
                  <a:pt x="20049" y="138076"/>
                  <a:pt x="21610" y="138307"/>
                  <a:pt x="22190" y="138249"/>
                </a:cubicBezTo>
                <a:cubicBezTo>
                  <a:pt x="24156" y="138116"/>
                  <a:pt x="25834" y="136780"/>
                  <a:pt x="26412" y="134894"/>
                </a:cubicBezTo>
                <a:cubicBezTo>
                  <a:pt x="26701" y="131048"/>
                  <a:pt x="24908" y="127340"/>
                  <a:pt x="21668" y="125234"/>
                </a:cubicBezTo>
                <a:cubicBezTo>
                  <a:pt x="18545" y="122955"/>
                  <a:pt x="16578" y="119346"/>
                  <a:pt x="16463" y="115458"/>
                </a:cubicBezTo>
                <a:cubicBezTo>
                  <a:pt x="16231" y="111369"/>
                  <a:pt x="17793" y="107389"/>
                  <a:pt x="20801" y="104584"/>
                </a:cubicBezTo>
                <a:cubicBezTo>
                  <a:pt x="23115" y="102386"/>
                  <a:pt x="21322" y="98163"/>
                  <a:pt x="19644" y="94056"/>
                </a:cubicBezTo>
                <a:cubicBezTo>
                  <a:pt x="17966" y="89949"/>
                  <a:pt x="16636" y="86825"/>
                  <a:pt x="18198" y="84570"/>
                </a:cubicBezTo>
                <a:cubicBezTo>
                  <a:pt x="18892" y="83806"/>
                  <a:pt x="19008" y="82701"/>
                  <a:pt x="18545" y="81793"/>
                </a:cubicBezTo>
                <a:cubicBezTo>
                  <a:pt x="17677" y="80116"/>
                  <a:pt x="14149" y="78149"/>
                  <a:pt x="7901" y="78669"/>
                </a:cubicBezTo>
                <a:cubicBezTo>
                  <a:pt x="5067" y="79219"/>
                  <a:pt x="2291" y="77345"/>
                  <a:pt x="1712" y="74493"/>
                </a:cubicBezTo>
                <a:cubicBezTo>
                  <a:pt x="1712" y="74435"/>
                  <a:pt x="1712" y="74383"/>
                  <a:pt x="1712" y="74331"/>
                </a:cubicBezTo>
                <a:cubicBezTo>
                  <a:pt x="1481" y="66516"/>
                  <a:pt x="6051" y="59361"/>
                  <a:pt x="13281" y="56342"/>
                </a:cubicBezTo>
                <a:cubicBezTo>
                  <a:pt x="19760" y="54329"/>
                  <a:pt x="26586" y="53548"/>
                  <a:pt x="33353" y="54028"/>
                </a:cubicBezTo>
                <a:lnTo>
                  <a:pt x="46368" y="54028"/>
                </a:lnTo>
                <a:cubicBezTo>
                  <a:pt x="54582" y="54473"/>
                  <a:pt x="62796" y="53554"/>
                  <a:pt x="70721" y="51309"/>
                </a:cubicBezTo>
                <a:cubicBezTo>
                  <a:pt x="77026" y="49192"/>
                  <a:pt x="81364" y="43384"/>
                  <a:pt x="81595" y="36732"/>
                </a:cubicBezTo>
                <a:cubicBezTo>
                  <a:pt x="82058" y="34014"/>
                  <a:pt x="82405" y="31700"/>
                  <a:pt x="84198" y="30485"/>
                </a:cubicBezTo>
                <a:cubicBezTo>
                  <a:pt x="85529" y="29826"/>
                  <a:pt x="86975" y="29565"/>
                  <a:pt x="88421" y="29733"/>
                </a:cubicBezTo>
                <a:cubicBezTo>
                  <a:pt x="91255" y="29733"/>
                  <a:pt x="95478" y="30138"/>
                  <a:pt x="100394" y="30601"/>
                </a:cubicBezTo>
                <a:cubicBezTo>
                  <a:pt x="106931" y="31179"/>
                  <a:pt x="115087" y="31931"/>
                  <a:pt x="122549" y="31931"/>
                </a:cubicBezTo>
                <a:cubicBezTo>
                  <a:pt x="133308" y="31931"/>
                  <a:pt x="140307" y="30427"/>
                  <a:pt x="143893" y="27304"/>
                </a:cubicBezTo>
                <a:cubicBezTo>
                  <a:pt x="164139" y="10691"/>
                  <a:pt x="189359" y="1361"/>
                  <a:pt x="215505" y="811"/>
                </a:cubicBezTo>
                <a:cubicBezTo>
                  <a:pt x="219554" y="828"/>
                  <a:pt x="223545" y="1083"/>
                  <a:pt x="227537" y="1563"/>
                </a:cubicBezTo>
                <a:cubicBezTo>
                  <a:pt x="251021" y="4571"/>
                  <a:pt x="256459" y="8042"/>
                  <a:pt x="260334" y="10355"/>
                </a:cubicBezTo>
                <a:cubicBezTo>
                  <a:pt x="262590" y="11987"/>
                  <a:pt x="265366" y="12744"/>
                  <a:pt x="268143" y="12496"/>
                </a:cubicBezTo>
                <a:cubicBezTo>
                  <a:pt x="273002" y="12536"/>
                  <a:pt x="277687" y="14636"/>
                  <a:pt x="280927" y="18280"/>
                </a:cubicBezTo>
                <a:cubicBezTo>
                  <a:pt x="283761" y="21687"/>
                  <a:pt x="288042" y="23532"/>
                  <a:pt x="292496" y="23255"/>
                </a:cubicBezTo>
                <a:cubicBezTo>
                  <a:pt x="297875" y="23174"/>
                  <a:pt x="303081" y="24863"/>
                  <a:pt x="307419" y="28056"/>
                </a:cubicBezTo>
                <a:cubicBezTo>
                  <a:pt x="312510" y="31683"/>
                  <a:pt x="318526" y="33696"/>
                  <a:pt x="324773" y="33840"/>
                </a:cubicBezTo>
                <a:cubicBezTo>
                  <a:pt x="330904" y="33701"/>
                  <a:pt x="337036" y="33238"/>
                  <a:pt x="343167" y="32452"/>
                </a:cubicBezTo>
                <a:cubicBezTo>
                  <a:pt x="349241" y="31688"/>
                  <a:pt x="355315" y="31243"/>
                  <a:pt x="361388" y="31121"/>
                </a:cubicBezTo>
                <a:cubicBezTo>
                  <a:pt x="365321" y="30977"/>
                  <a:pt x="369197" y="31509"/>
                  <a:pt x="372957" y="32683"/>
                </a:cubicBezTo>
                <a:cubicBezTo>
                  <a:pt x="374519" y="33152"/>
                  <a:pt x="376080" y="33366"/>
                  <a:pt x="377700" y="33320"/>
                </a:cubicBezTo>
                <a:cubicBezTo>
                  <a:pt x="394012" y="32111"/>
                  <a:pt x="409573" y="26072"/>
                  <a:pt x="422414" y="15966"/>
                </a:cubicBezTo>
                <a:cubicBezTo>
                  <a:pt x="422645" y="15741"/>
                  <a:pt x="422934" y="15636"/>
                  <a:pt x="423282" y="15677"/>
                </a:cubicBezTo>
                <a:cubicBezTo>
                  <a:pt x="428719" y="16082"/>
                  <a:pt x="433867" y="16313"/>
                  <a:pt x="438205" y="16313"/>
                </a:cubicBezTo>
                <a:cubicBezTo>
                  <a:pt x="442601" y="16626"/>
                  <a:pt x="447055" y="16140"/>
                  <a:pt x="451278" y="14867"/>
                </a:cubicBezTo>
                <a:cubicBezTo>
                  <a:pt x="452608" y="14260"/>
                  <a:pt x="454054" y="13924"/>
                  <a:pt x="455558" y="13884"/>
                </a:cubicBezTo>
                <a:cubicBezTo>
                  <a:pt x="460765" y="13884"/>
                  <a:pt x="464062" y="18858"/>
                  <a:pt x="467821" y="24643"/>
                </a:cubicBezTo>
                <a:cubicBezTo>
                  <a:pt x="469152" y="26552"/>
                  <a:pt x="470483" y="28576"/>
                  <a:pt x="471987" y="30427"/>
                </a:cubicBezTo>
                <a:cubicBezTo>
                  <a:pt x="474994" y="33962"/>
                  <a:pt x="476730" y="38404"/>
                  <a:pt x="476903" y="43037"/>
                </a:cubicBezTo>
                <a:cubicBezTo>
                  <a:pt x="476672" y="46844"/>
                  <a:pt x="477134" y="50656"/>
                  <a:pt x="478176" y="54317"/>
                </a:cubicBezTo>
                <a:cubicBezTo>
                  <a:pt x="480026" y="59309"/>
                  <a:pt x="485117" y="62311"/>
                  <a:pt x="490381" y="61490"/>
                </a:cubicBezTo>
                <a:lnTo>
                  <a:pt x="493099" y="61490"/>
                </a:lnTo>
                <a:cubicBezTo>
                  <a:pt x="495124" y="61270"/>
                  <a:pt x="497149" y="61738"/>
                  <a:pt x="498884" y="62820"/>
                </a:cubicBezTo>
                <a:cubicBezTo>
                  <a:pt x="499520" y="63283"/>
                  <a:pt x="501198" y="64729"/>
                  <a:pt x="504264" y="73348"/>
                </a:cubicBezTo>
                <a:cubicBezTo>
                  <a:pt x="504437" y="73660"/>
                  <a:pt x="504437" y="74019"/>
                  <a:pt x="504264" y="74331"/>
                </a:cubicBezTo>
                <a:cubicBezTo>
                  <a:pt x="504090" y="74638"/>
                  <a:pt x="503743" y="74829"/>
                  <a:pt x="503396" y="74852"/>
                </a:cubicBezTo>
                <a:cubicBezTo>
                  <a:pt x="500504" y="75141"/>
                  <a:pt x="500272" y="77686"/>
                  <a:pt x="500157" y="81735"/>
                </a:cubicBezTo>
                <a:cubicBezTo>
                  <a:pt x="500041" y="85784"/>
                  <a:pt x="500157" y="88908"/>
                  <a:pt x="496165" y="88908"/>
                </a:cubicBezTo>
                <a:cubicBezTo>
                  <a:pt x="495645" y="88879"/>
                  <a:pt x="495124" y="89174"/>
                  <a:pt x="494893" y="89660"/>
                </a:cubicBezTo>
                <a:cubicBezTo>
                  <a:pt x="492753" y="93073"/>
                  <a:pt x="496223" y="105798"/>
                  <a:pt x="498248" y="109905"/>
                </a:cubicBezTo>
                <a:cubicBezTo>
                  <a:pt x="499115" y="114521"/>
                  <a:pt x="499000" y="119276"/>
                  <a:pt x="497901" y="123846"/>
                </a:cubicBezTo>
                <a:cubicBezTo>
                  <a:pt x="497323" y="128126"/>
                  <a:pt x="496049" y="138076"/>
                  <a:pt x="497553" y="138423"/>
                </a:cubicBezTo>
                <a:cubicBezTo>
                  <a:pt x="501256" y="139406"/>
                  <a:pt x="506404" y="148430"/>
                  <a:pt x="507445" y="149992"/>
                </a:cubicBezTo>
                <a:cubicBezTo>
                  <a:pt x="508486" y="151553"/>
                  <a:pt x="512072" y="158784"/>
                  <a:pt x="511263" y="161271"/>
                </a:cubicBezTo>
                <a:cubicBezTo>
                  <a:pt x="510684" y="165841"/>
                  <a:pt x="508024" y="167055"/>
                  <a:pt x="505883" y="167055"/>
                </a:cubicBezTo>
                <a:lnTo>
                  <a:pt x="505883" y="167055"/>
                </a:lnTo>
                <a:cubicBezTo>
                  <a:pt x="501371" y="166263"/>
                  <a:pt x="497091" y="164487"/>
                  <a:pt x="493331" y="161850"/>
                </a:cubicBezTo>
                <a:cubicBezTo>
                  <a:pt x="490207" y="159692"/>
                  <a:pt x="486621" y="158165"/>
                  <a:pt x="482919" y="157338"/>
                </a:cubicBezTo>
                <a:cubicBezTo>
                  <a:pt x="482572" y="157268"/>
                  <a:pt x="482167" y="157268"/>
                  <a:pt x="481820" y="157338"/>
                </a:cubicBezTo>
                <a:cubicBezTo>
                  <a:pt x="480836" y="157887"/>
                  <a:pt x="479738" y="158171"/>
                  <a:pt x="478580" y="158148"/>
                </a:cubicBezTo>
                <a:cubicBezTo>
                  <a:pt x="476151" y="157933"/>
                  <a:pt x="473837" y="157141"/>
                  <a:pt x="471755" y="155834"/>
                </a:cubicBezTo>
                <a:cubicBezTo>
                  <a:pt x="467417" y="153185"/>
                  <a:pt x="462326" y="152045"/>
                  <a:pt x="457236" y="152594"/>
                </a:cubicBezTo>
                <a:cubicBezTo>
                  <a:pt x="453708" y="152733"/>
                  <a:pt x="450526" y="154712"/>
                  <a:pt x="448849" y="157801"/>
                </a:cubicBezTo>
                <a:cubicBezTo>
                  <a:pt x="447923" y="159154"/>
                  <a:pt x="446882" y="160415"/>
                  <a:pt x="445725" y="161560"/>
                </a:cubicBezTo>
                <a:cubicBezTo>
                  <a:pt x="445436" y="161826"/>
                  <a:pt x="445031" y="161931"/>
                  <a:pt x="444626" y="161850"/>
                </a:cubicBezTo>
                <a:lnTo>
                  <a:pt x="434735" y="158842"/>
                </a:lnTo>
                <a:cubicBezTo>
                  <a:pt x="425017" y="162208"/>
                  <a:pt x="414721" y="163660"/>
                  <a:pt x="404424" y="163122"/>
                </a:cubicBezTo>
                <a:cubicBezTo>
                  <a:pt x="398235" y="162839"/>
                  <a:pt x="392161" y="164562"/>
                  <a:pt x="387071" y="168039"/>
                </a:cubicBezTo>
                <a:cubicBezTo>
                  <a:pt x="381402" y="171805"/>
                  <a:pt x="374750" y="173818"/>
                  <a:pt x="367924" y="173823"/>
                </a:cubicBezTo>
                <a:cubicBezTo>
                  <a:pt x="362719" y="173887"/>
                  <a:pt x="357513" y="174217"/>
                  <a:pt x="352307" y="174807"/>
                </a:cubicBezTo>
                <a:cubicBezTo>
                  <a:pt x="349588" y="175159"/>
                  <a:pt x="346870" y="175374"/>
                  <a:pt x="344150" y="175443"/>
                </a:cubicBezTo>
                <a:cubicBezTo>
                  <a:pt x="341027" y="175790"/>
                  <a:pt x="337903" y="174627"/>
                  <a:pt x="335763" y="172319"/>
                </a:cubicBezTo>
                <a:cubicBezTo>
                  <a:pt x="334201" y="170353"/>
                  <a:pt x="333391" y="169948"/>
                  <a:pt x="332581" y="169948"/>
                </a:cubicBezTo>
                <a:cubicBezTo>
                  <a:pt x="330615" y="170364"/>
                  <a:pt x="328764" y="171151"/>
                  <a:pt x="327144" y="172262"/>
                </a:cubicBezTo>
                <a:cubicBezTo>
                  <a:pt x="325293" y="173245"/>
                  <a:pt x="322922" y="174517"/>
                  <a:pt x="319856" y="175906"/>
                </a:cubicBezTo>
                <a:cubicBezTo>
                  <a:pt x="308634" y="180938"/>
                  <a:pt x="300362" y="180938"/>
                  <a:pt x="293884" y="175906"/>
                </a:cubicBezTo>
                <a:cubicBezTo>
                  <a:pt x="293016" y="175113"/>
                  <a:pt x="291860" y="174645"/>
                  <a:pt x="290702" y="174575"/>
                </a:cubicBezTo>
                <a:cubicBezTo>
                  <a:pt x="287868" y="174575"/>
                  <a:pt x="285612" y="178162"/>
                  <a:pt x="284918" y="181690"/>
                </a:cubicBezTo>
                <a:cubicBezTo>
                  <a:pt x="284860" y="182517"/>
                  <a:pt x="284860" y="183350"/>
                  <a:pt x="284918" y="184178"/>
                </a:cubicBezTo>
                <a:cubicBezTo>
                  <a:pt x="284282" y="189962"/>
                  <a:pt x="283299" y="199506"/>
                  <a:pt x="268086" y="201531"/>
                </a:cubicBezTo>
                <a:close/>
                <a:moveTo>
                  <a:pt x="270457" y="167518"/>
                </a:moveTo>
                <a:cubicBezTo>
                  <a:pt x="271961" y="167478"/>
                  <a:pt x="273407" y="167836"/>
                  <a:pt x="274679" y="168560"/>
                </a:cubicBezTo>
                <a:cubicBezTo>
                  <a:pt x="275373" y="168918"/>
                  <a:pt x="275894" y="169578"/>
                  <a:pt x="276068" y="170353"/>
                </a:cubicBezTo>
                <a:cubicBezTo>
                  <a:pt x="276531" y="172551"/>
                  <a:pt x="274622" y="175269"/>
                  <a:pt x="272192" y="178798"/>
                </a:cubicBezTo>
                <a:cubicBezTo>
                  <a:pt x="269763" y="182326"/>
                  <a:pt x="265830" y="187879"/>
                  <a:pt x="267796" y="190656"/>
                </a:cubicBezTo>
                <a:cubicBezTo>
                  <a:pt x="269300" y="193247"/>
                  <a:pt x="269705" y="196331"/>
                  <a:pt x="268895" y="199217"/>
                </a:cubicBezTo>
                <a:cubicBezTo>
                  <a:pt x="276704" y="198633"/>
                  <a:pt x="282604" y="191894"/>
                  <a:pt x="282199" y="184062"/>
                </a:cubicBezTo>
                <a:cubicBezTo>
                  <a:pt x="282199" y="183078"/>
                  <a:pt x="282199" y="182153"/>
                  <a:pt x="282547" y="181401"/>
                </a:cubicBezTo>
                <a:cubicBezTo>
                  <a:pt x="283414" y="177063"/>
                  <a:pt x="286306" y="172435"/>
                  <a:pt x="290529" y="172435"/>
                </a:cubicBezTo>
                <a:cubicBezTo>
                  <a:pt x="292206" y="172499"/>
                  <a:pt x="293826" y="173152"/>
                  <a:pt x="295098" y="174286"/>
                </a:cubicBezTo>
                <a:cubicBezTo>
                  <a:pt x="300883" y="178914"/>
                  <a:pt x="308519" y="178798"/>
                  <a:pt x="318757" y="174286"/>
                </a:cubicBezTo>
                <a:cubicBezTo>
                  <a:pt x="321765" y="172898"/>
                  <a:pt x="324078" y="171683"/>
                  <a:pt x="325930" y="170700"/>
                </a:cubicBezTo>
                <a:cubicBezTo>
                  <a:pt x="327896" y="169387"/>
                  <a:pt x="330095" y="168536"/>
                  <a:pt x="332408" y="168212"/>
                </a:cubicBezTo>
                <a:cubicBezTo>
                  <a:pt x="334491" y="168409"/>
                  <a:pt x="336341" y="169595"/>
                  <a:pt x="337383" y="171394"/>
                </a:cubicBezTo>
                <a:cubicBezTo>
                  <a:pt x="339060" y="173181"/>
                  <a:pt x="341548" y="174026"/>
                  <a:pt x="343977" y="173650"/>
                </a:cubicBezTo>
                <a:cubicBezTo>
                  <a:pt x="346175" y="173650"/>
                  <a:pt x="348836" y="173360"/>
                  <a:pt x="351902" y="173071"/>
                </a:cubicBezTo>
                <a:cubicBezTo>
                  <a:pt x="357165" y="172429"/>
                  <a:pt x="362429" y="172082"/>
                  <a:pt x="367751" y="172030"/>
                </a:cubicBezTo>
                <a:cubicBezTo>
                  <a:pt x="374230" y="171897"/>
                  <a:pt x="380477" y="169884"/>
                  <a:pt x="385799" y="166246"/>
                </a:cubicBezTo>
                <a:cubicBezTo>
                  <a:pt x="391294" y="162492"/>
                  <a:pt x="397888" y="160658"/>
                  <a:pt x="404540" y="161040"/>
                </a:cubicBezTo>
                <a:cubicBezTo>
                  <a:pt x="414605" y="161520"/>
                  <a:pt x="424728" y="160062"/>
                  <a:pt x="434272" y="156759"/>
                </a:cubicBezTo>
                <a:cubicBezTo>
                  <a:pt x="434503" y="156701"/>
                  <a:pt x="434735" y="156701"/>
                  <a:pt x="434966" y="156759"/>
                </a:cubicBezTo>
                <a:lnTo>
                  <a:pt x="444568" y="159651"/>
                </a:lnTo>
                <a:cubicBezTo>
                  <a:pt x="445436" y="158743"/>
                  <a:pt x="446246" y="157754"/>
                  <a:pt x="446940" y="156701"/>
                </a:cubicBezTo>
                <a:cubicBezTo>
                  <a:pt x="448964" y="153051"/>
                  <a:pt x="452782" y="150726"/>
                  <a:pt x="456947" y="150570"/>
                </a:cubicBezTo>
                <a:cubicBezTo>
                  <a:pt x="462442" y="149939"/>
                  <a:pt x="467937" y="151143"/>
                  <a:pt x="472681" y="153983"/>
                </a:cubicBezTo>
                <a:cubicBezTo>
                  <a:pt x="475862" y="155602"/>
                  <a:pt x="478465" y="156759"/>
                  <a:pt x="480778" y="155545"/>
                </a:cubicBezTo>
                <a:cubicBezTo>
                  <a:pt x="481415" y="155203"/>
                  <a:pt x="482109" y="155041"/>
                  <a:pt x="482861" y="155082"/>
                </a:cubicBezTo>
                <a:cubicBezTo>
                  <a:pt x="487026" y="155805"/>
                  <a:pt x="490959" y="157448"/>
                  <a:pt x="494430" y="159883"/>
                </a:cubicBezTo>
                <a:cubicBezTo>
                  <a:pt x="497901" y="162318"/>
                  <a:pt x="501834" y="163990"/>
                  <a:pt x="505999" y="164800"/>
                </a:cubicBezTo>
                <a:lnTo>
                  <a:pt x="505999" y="164800"/>
                </a:lnTo>
                <a:cubicBezTo>
                  <a:pt x="507329" y="164800"/>
                  <a:pt x="508776" y="164337"/>
                  <a:pt x="509180" y="160924"/>
                </a:cubicBezTo>
                <a:cubicBezTo>
                  <a:pt x="508776" y="157448"/>
                  <a:pt x="507560" y="154127"/>
                  <a:pt x="505536" y="151264"/>
                </a:cubicBezTo>
                <a:cubicBezTo>
                  <a:pt x="503743" y="147007"/>
                  <a:pt x="500793" y="143311"/>
                  <a:pt x="497091" y="140563"/>
                </a:cubicBezTo>
                <a:cubicBezTo>
                  <a:pt x="493851" y="139753"/>
                  <a:pt x="494488" y="133564"/>
                  <a:pt x="495761" y="123499"/>
                </a:cubicBezTo>
                <a:cubicBezTo>
                  <a:pt x="496628" y="119334"/>
                  <a:pt x="496801" y="115059"/>
                  <a:pt x="496397" y="110831"/>
                </a:cubicBezTo>
                <a:cubicBezTo>
                  <a:pt x="494777" y="107707"/>
                  <a:pt x="490034" y="93478"/>
                  <a:pt x="493099" y="88387"/>
                </a:cubicBezTo>
                <a:cubicBezTo>
                  <a:pt x="493736" y="87254"/>
                  <a:pt x="494951" y="86565"/>
                  <a:pt x="496281" y="86594"/>
                </a:cubicBezTo>
                <a:cubicBezTo>
                  <a:pt x="497727" y="86594"/>
                  <a:pt x="497959" y="85437"/>
                  <a:pt x="498017" y="81677"/>
                </a:cubicBezTo>
                <a:cubicBezTo>
                  <a:pt x="498074" y="77917"/>
                  <a:pt x="498017" y="74042"/>
                  <a:pt x="501950" y="72827"/>
                </a:cubicBezTo>
                <a:cubicBezTo>
                  <a:pt x="501140" y="69779"/>
                  <a:pt x="499694" y="66933"/>
                  <a:pt x="497727" y="64498"/>
                </a:cubicBezTo>
                <a:cubicBezTo>
                  <a:pt x="496397" y="63804"/>
                  <a:pt x="494893" y="63520"/>
                  <a:pt x="493389" y="63688"/>
                </a:cubicBezTo>
                <a:lnTo>
                  <a:pt x="490670" y="63688"/>
                </a:lnTo>
                <a:cubicBezTo>
                  <a:pt x="484481" y="64538"/>
                  <a:pt x="478523" y="60975"/>
                  <a:pt x="476382" y="55127"/>
                </a:cubicBezTo>
                <a:cubicBezTo>
                  <a:pt x="474879" y="51442"/>
                  <a:pt x="473953" y="47532"/>
                  <a:pt x="473722" y="43558"/>
                </a:cubicBezTo>
                <a:cubicBezTo>
                  <a:pt x="473664" y="39301"/>
                  <a:pt x="472044" y="35205"/>
                  <a:pt x="469268" y="31989"/>
                </a:cubicBezTo>
                <a:cubicBezTo>
                  <a:pt x="467706" y="29849"/>
                  <a:pt x="466317" y="27824"/>
                  <a:pt x="465045" y="25858"/>
                </a:cubicBezTo>
                <a:cubicBezTo>
                  <a:pt x="461459" y="20420"/>
                  <a:pt x="458624" y="16140"/>
                  <a:pt x="454633" y="16140"/>
                </a:cubicBezTo>
                <a:cubicBezTo>
                  <a:pt x="453476" y="16151"/>
                  <a:pt x="452320" y="16429"/>
                  <a:pt x="451278" y="16950"/>
                </a:cubicBezTo>
                <a:cubicBezTo>
                  <a:pt x="446766" y="18297"/>
                  <a:pt x="442023" y="18841"/>
                  <a:pt x="437280" y="18569"/>
                </a:cubicBezTo>
                <a:cubicBezTo>
                  <a:pt x="433057" y="18569"/>
                  <a:pt x="427967" y="18569"/>
                  <a:pt x="422645" y="17933"/>
                </a:cubicBezTo>
                <a:cubicBezTo>
                  <a:pt x="409399" y="28160"/>
                  <a:pt x="393434" y="34199"/>
                  <a:pt x="376775" y="35286"/>
                </a:cubicBezTo>
                <a:cubicBezTo>
                  <a:pt x="374808" y="35379"/>
                  <a:pt x="372842" y="35124"/>
                  <a:pt x="370990" y="34534"/>
                </a:cubicBezTo>
                <a:cubicBezTo>
                  <a:pt x="367578" y="33435"/>
                  <a:pt x="363933" y="32949"/>
                  <a:pt x="360347" y="33088"/>
                </a:cubicBezTo>
                <a:cubicBezTo>
                  <a:pt x="354331" y="33210"/>
                  <a:pt x="348374" y="33655"/>
                  <a:pt x="342415" y="34419"/>
                </a:cubicBezTo>
                <a:cubicBezTo>
                  <a:pt x="336226" y="35205"/>
                  <a:pt x="329979" y="35668"/>
                  <a:pt x="323732" y="35807"/>
                </a:cubicBezTo>
                <a:cubicBezTo>
                  <a:pt x="317080" y="35766"/>
                  <a:pt x="310601" y="33753"/>
                  <a:pt x="305105" y="30022"/>
                </a:cubicBezTo>
                <a:cubicBezTo>
                  <a:pt x="301172" y="27119"/>
                  <a:pt x="296429" y="25539"/>
                  <a:pt x="291512" y="25510"/>
                </a:cubicBezTo>
                <a:cubicBezTo>
                  <a:pt x="286422" y="25863"/>
                  <a:pt x="281563" y="23700"/>
                  <a:pt x="278381" y="19726"/>
                </a:cubicBezTo>
                <a:cubicBezTo>
                  <a:pt x="275605" y="16383"/>
                  <a:pt x="271498" y="14433"/>
                  <a:pt x="267160" y="14404"/>
                </a:cubicBezTo>
                <a:cubicBezTo>
                  <a:pt x="263978" y="14636"/>
                  <a:pt x="260797" y="13757"/>
                  <a:pt x="258136" y="11917"/>
                </a:cubicBezTo>
                <a:cubicBezTo>
                  <a:pt x="254607" y="9719"/>
                  <a:pt x="249286" y="6133"/>
                  <a:pt x="226264" y="3472"/>
                </a:cubicBezTo>
                <a:cubicBezTo>
                  <a:pt x="222446" y="2998"/>
                  <a:pt x="218571" y="2743"/>
                  <a:pt x="214695" y="2720"/>
                </a:cubicBezTo>
                <a:cubicBezTo>
                  <a:pt x="189070" y="3333"/>
                  <a:pt x="164371" y="12472"/>
                  <a:pt x="144530" y="28692"/>
                </a:cubicBezTo>
                <a:cubicBezTo>
                  <a:pt x="140539" y="32163"/>
                  <a:pt x="132961" y="33840"/>
                  <a:pt x="121739" y="33840"/>
                </a:cubicBezTo>
                <a:cubicBezTo>
                  <a:pt x="114161" y="33840"/>
                  <a:pt x="105948" y="33088"/>
                  <a:pt x="99354" y="32452"/>
                </a:cubicBezTo>
                <a:cubicBezTo>
                  <a:pt x="94553" y="32047"/>
                  <a:pt x="90387" y="31642"/>
                  <a:pt x="87785" y="31642"/>
                </a:cubicBezTo>
                <a:cubicBezTo>
                  <a:pt x="85182" y="31642"/>
                  <a:pt x="84893" y="31931"/>
                  <a:pt x="84835" y="31989"/>
                </a:cubicBezTo>
                <a:cubicBezTo>
                  <a:pt x="83851" y="32683"/>
                  <a:pt x="83562" y="34592"/>
                  <a:pt x="83157" y="36790"/>
                </a:cubicBezTo>
                <a:cubicBezTo>
                  <a:pt x="82752" y="44206"/>
                  <a:pt x="77894" y="50644"/>
                  <a:pt x="70894" y="53044"/>
                </a:cubicBezTo>
                <a:cubicBezTo>
                  <a:pt x="62738" y="55422"/>
                  <a:pt x="54235" y="56399"/>
                  <a:pt x="45732" y="55937"/>
                </a:cubicBezTo>
                <a:lnTo>
                  <a:pt x="32717" y="55937"/>
                </a:lnTo>
                <a:cubicBezTo>
                  <a:pt x="26238" y="55538"/>
                  <a:pt x="19760" y="56243"/>
                  <a:pt x="13571" y="58019"/>
                </a:cubicBezTo>
                <a:cubicBezTo>
                  <a:pt x="7439" y="60697"/>
                  <a:pt x="3448" y="66811"/>
                  <a:pt x="3563" y="73521"/>
                </a:cubicBezTo>
                <a:cubicBezTo>
                  <a:pt x="3853" y="75228"/>
                  <a:pt x="5415" y="76385"/>
                  <a:pt x="7149" y="76113"/>
                </a:cubicBezTo>
                <a:cubicBezTo>
                  <a:pt x="7207" y="76101"/>
                  <a:pt x="7323" y="76084"/>
                  <a:pt x="7381" y="76067"/>
                </a:cubicBezTo>
                <a:cubicBezTo>
                  <a:pt x="13686" y="75546"/>
                  <a:pt x="18545" y="77223"/>
                  <a:pt x="20164" y="80405"/>
                </a:cubicBezTo>
                <a:cubicBezTo>
                  <a:pt x="21032" y="82042"/>
                  <a:pt x="20858" y="84037"/>
                  <a:pt x="19702" y="85495"/>
                </a:cubicBezTo>
                <a:cubicBezTo>
                  <a:pt x="18834" y="86768"/>
                  <a:pt x="20107" y="89834"/>
                  <a:pt x="21380" y="92841"/>
                </a:cubicBezTo>
                <a:cubicBezTo>
                  <a:pt x="23288" y="97411"/>
                  <a:pt x="25486" y="102617"/>
                  <a:pt x="21958" y="105914"/>
                </a:cubicBezTo>
                <a:cubicBezTo>
                  <a:pt x="19470" y="108263"/>
                  <a:pt x="18140" y="111589"/>
                  <a:pt x="18372" y="114996"/>
                </a:cubicBezTo>
                <a:cubicBezTo>
                  <a:pt x="18487" y="118200"/>
                  <a:pt x="20049" y="121179"/>
                  <a:pt x="22652" y="123094"/>
                </a:cubicBezTo>
                <a:cubicBezTo>
                  <a:pt x="26701" y="125645"/>
                  <a:pt x="28957" y="130296"/>
                  <a:pt x="28436" y="135068"/>
                </a:cubicBezTo>
                <a:cubicBezTo>
                  <a:pt x="27684" y="137856"/>
                  <a:pt x="25255" y="139863"/>
                  <a:pt x="22363" y="140100"/>
                </a:cubicBezTo>
                <a:lnTo>
                  <a:pt x="21726" y="140100"/>
                </a:lnTo>
                <a:cubicBezTo>
                  <a:pt x="23751" y="141922"/>
                  <a:pt x="25949" y="143530"/>
                  <a:pt x="28263" y="144901"/>
                </a:cubicBezTo>
                <a:cubicBezTo>
                  <a:pt x="33585" y="148430"/>
                  <a:pt x="36824" y="150686"/>
                  <a:pt x="37055" y="152826"/>
                </a:cubicBezTo>
                <a:cubicBezTo>
                  <a:pt x="37055" y="154041"/>
                  <a:pt x="41683" y="155660"/>
                  <a:pt x="44633" y="156759"/>
                </a:cubicBezTo>
                <a:cubicBezTo>
                  <a:pt x="49839" y="158726"/>
                  <a:pt x="54814" y="160519"/>
                  <a:pt x="54814" y="163874"/>
                </a:cubicBezTo>
                <a:cubicBezTo>
                  <a:pt x="54814" y="167229"/>
                  <a:pt x="57937" y="167865"/>
                  <a:pt x="60598" y="167865"/>
                </a:cubicBezTo>
                <a:cubicBezTo>
                  <a:pt x="62854" y="167807"/>
                  <a:pt x="65052" y="167455"/>
                  <a:pt x="67192" y="166824"/>
                </a:cubicBezTo>
                <a:cubicBezTo>
                  <a:pt x="68002" y="166547"/>
                  <a:pt x="68812" y="166413"/>
                  <a:pt x="69679" y="166419"/>
                </a:cubicBezTo>
                <a:cubicBezTo>
                  <a:pt x="75464" y="166419"/>
                  <a:pt x="78819" y="172666"/>
                  <a:pt x="82000" y="178740"/>
                </a:cubicBezTo>
                <a:cubicBezTo>
                  <a:pt x="83099" y="180707"/>
                  <a:pt x="84198" y="182789"/>
                  <a:pt x="85355" y="184525"/>
                </a:cubicBezTo>
                <a:cubicBezTo>
                  <a:pt x="86512" y="186260"/>
                  <a:pt x="90677" y="187879"/>
                  <a:pt x="96114" y="187879"/>
                </a:cubicBezTo>
                <a:cubicBezTo>
                  <a:pt x="105948" y="187879"/>
                  <a:pt x="118442" y="183541"/>
                  <a:pt x="118442" y="178682"/>
                </a:cubicBezTo>
                <a:cubicBezTo>
                  <a:pt x="118442" y="169832"/>
                  <a:pt x="126251" y="166014"/>
                  <a:pt x="141580" y="167460"/>
                </a:cubicBezTo>
                <a:cubicBezTo>
                  <a:pt x="150604" y="168270"/>
                  <a:pt x="160958" y="176253"/>
                  <a:pt x="169287" y="182616"/>
                </a:cubicBezTo>
                <a:cubicBezTo>
                  <a:pt x="172295" y="185190"/>
                  <a:pt x="175592" y="187440"/>
                  <a:pt x="179063" y="189326"/>
                </a:cubicBezTo>
                <a:cubicBezTo>
                  <a:pt x="184096" y="189823"/>
                  <a:pt x="189128" y="189071"/>
                  <a:pt x="193813" y="187127"/>
                </a:cubicBezTo>
                <a:cubicBezTo>
                  <a:pt x="198036" y="185664"/>
                  <a:pt x="202432" y="184750"/>
                  <a:pt x="206886" y="184409"/>
                </a:cubicBezTo>
                <a:cubicBezTo>
                  <a:pt x="212670" y="184409"/>
                  <a:pt x="220017" y="177988"/>
                  <a:pt x="225570" y="173303"/>
                </a:cubicBezTo>
                <a:cubicBezTo>
                  <a:pt x="227537" y="171510"/>
                  <a:pt x="229619" y="169884"/>
                  <a:pt x="231817" y="168444"/>
                </a:cubicBezTo>
                <a:cubicBezTo>
                  <a:pt x="232453" y="168027"/>
                  <a:pt x="233263" y="167802"/>
                  <a:pt x="234015" y="167807"/>
                </a:cubicBezTo>
                <a:cubicBezTo>
                  <a:pt x="236618" y="168212"/>
                  <a:pt x="239106" y="169242"/>
                  <a:pt x="241246" y="170816"/>
                </a:cubicBezTo>
                <a:cubicBezTo>
                  <a:pt x="245121" y="173187"/>
                  <a:pt x="249401" y="175443"/>
                  <a:pt x="252815" y="173650"/>
                </a:cubicBezTo>
                <a:cubicBezTo>
                  <a:pt x="258194" y="170411"/>
                  <a:pt x="264210" y="168322"/>
                  <a:pt x="270457" y="167518"/>
                </a:cubicBezTo>
                <a:close/>
                <a:moveTo>
                  <a:pt x="16868" y="52292"/>
                </a:moveTo>
                <a:cubicBezTo>
                  <a:pt x="10736" y="51431"/>
                  <a:pt x="5009" y="48683"/>
                  <a:pt x="498" y="44426"/>
                </a:cubicBezTo>
                <a:cubicBezTo>
                  <a:pt x="208" y="44223"/>
                  <a:pt x="35" y="43911"/>
                  <a:pt x="-23" y="43558"/>
                </a:cubicBezTo>
                <a:cubicBezTo>
                  <a:pt x="-138" y="43269"/>
                  <a:pt x="-138" y="42922"/>
                  <a:pt x="-23" y="42633"/>
                </a:cubicBezTo>
                <a:lnTo>
                  <a:pt x="1944" y="40492"/>
                </a:lnTo>
                <a:cubicBezTo>
                  <a:pt x="4431" y="37889"/>
                  <a:pt x="6051" y="36212"/>
                  <a:pt x="6051" y="34014"/>
                </a:cubicBezTo>
                <a:cubicBezTo>
                  <a:pt x="6051" y="31816"/>
                  <a:pt x="7844" y="30022"/>
                  <a:pt x="9695" y="28229"/>
                </a:cubicBezTo>
                <a:cubicBezTo>
                  <a:pt x="12067" y="26615"/>
                  <a:pt x="13628" y="24036"/>
                  <a:pt x="13917" y="21172"/>
                </a:cubicBezTo>
                <a:cubicBezTo>
                  <a:pt x="13686" y="18020"/>
                  <a:pt x="13050" y="14913"/>
                  <a:pt x="12067" y="11917"/>
                </a:cubicBezTo>
                <a:cubicBezTo>
                  <a:pt x="10679" y="6943"/>
                  <a:pt x="9579" y="3009"/>
                  <a:pt x="12067" y="1968"/>
                </a:cubicBezTo>
                <a:cubicBezTo>
                  <a:pt x="17446" y="556"/>
                  <a:pt x="22999" y="-126"/>
                  <a:pt x="28552" y="-57"/>
                </a:cubicBezTo>
                <a:cubicBezTo>
                  <a:pt x="32775" y="-276"/>
                  <a:pt x="36939" y="418"/>
                  <a:pt x="40873" y="1968"/>
                </a:cubicBezTo>
                <a:cubicBezTo>
                  <a:pt x="44286" y="3171"/>
                  <a:pt x="48046" y="2413"/>
                  <a:pt x="50764" y="1"/>
                </a:cubicBezTo>
                <a:cubicBezTo>
                  <a:pt x="51054" y="-172"/>
                  <a:pt x="51458" y="-172"/>
                  <a:pt x="51748" y="1"/>
                </a:cubicBezTo>
                <a:cubicBezTo>
                  <a:pt x="52095" y="123"/>
                  <a:pt x="52384" y="400"/>
                  <a:pt x="52500" y="753"/>
                </a:cubicBezTo>
                <a:lnTo>
                  <a:pt x="52847" y="2026"/>
                </a:lnTo>
                <a:cubicBezTo>
                  <a:pt x="53541" y="6613"/>
                  <a:pt x="55508" y="10899"/>
                  <a:pt x="58631" y="14347"/>
                </a:cubicBezTo>
                <a:cubicBezTo>
                  <a:pt x="61639" y="16568"/>
                  <a:pt x="64879" y="18506"/>
                  <a:pt x="68233" y="20131"/>
                </a:cubicBezTo>
                <a:cubicBezTo>
                  <a:pt x="74596" y="23486"/>
                  <a:pt x="79802" y="26378"/>
                  <a:pt x="80496" y="29675"/>
                </a:cubicBezTo>
                <a:cubicBezTo>
                  <a:pt x="80612" y="30832"/>
                  <a:pt x="80149" y="31966"/>
                  <a:pt x="79224" y="32683"/>
                </a:cubicBezTo>
                <a:cubicBezTo>
                  <a:pt x="75232" y="34939"/>
                  <a:pt x="70663" y="35847"/>
                  <a:pt x="66093" y="35286"/>
                </a:cubicBezTo>
                <a:lnTo>
                  <a:pt x="60309" y="35286"/>
                </a:lnTo>
                <a:lnTo>
                  <a:pt x="54524" y="35286"/>
                </a:lnTo>
                <a:cubicBezTo>
                  <a:pt x="50418" y="35101"/>
                  <a:pt x="46252" y="35587"/>
                  <a:pt x="42319" y="36732"/>
                </a:cubicBezTo>
                <a:cubicBezTo>
                  <a:pt x="38559" y="38456"/>
                  <a:pt x="35147" y="40938"/>
                  <a:pt x="32370" y="44021"/>
                </a:cubicBezTo>
                <a:cubicBezTo>
                  <a:pt x="28494" y="48741"/>
                  <a:pt x="22942" y="51720"/>
                  <a:pt x="16868" y="52292"/>
                </a:cubicBezTo>
                <a:close/>
                <a:moveTo>
                  <a:pt x="2638" y="43211"/>
                </a:moveTo>
                <a:cubicBezTo>
                  <a:pt x="6571" y="46890"/>
                  <a:pt x="11546" y="49273"/>
                  <a:pt x="16868" y="50037"/>
                </a:cubicBezTo>
                <a:cubicBezTo>
                  <a:pt x="22536" y="49487"/>
                  <a:pt x="27742" y="46618"/>
                  <a:pt x="31213" y="42112"/>
                </a:cubicBezTo>
                <a:cubicBezTo>
                  <a:pt x="34221" y="38838"/>
                  <a:pt x="37865" y="36200"/>
                  <a:pt x="41914" y="34361"/>
                </a:cubicBezTo>
                <a:cubicBezTo>
                  <a:pt x="46137" y="33135"/>
                  <a:pt x="50533" y="32608"/>
                  <a:pt x="54929" y="32799"/>
                </a:cubicBezTo>
                <a:lnTo>
                  <a:pt x="60713" y="32799"/>
                </a:lnTo>
                <a:lnTo>
                  <a:pt x="66498" y="32799"/>
                </a:lnTo>
                <a:cubicBezTo>
                  <a:pt x="70489" y="33221"/>
                  <a:pt x="74480" y="32521"/>
                  <a:pt x="78067" y="30774"/>
                </a:cubicBezTo>
                <a:cubicBezTo>
                  <a:pt x="78703" y="30254"/>
                  <a:pt x="78646" y="29849"/>
                  <a:pt x="78588" y="29733"/>
                </a:cubicBezTo>
                <a:cubicBezTo>
                  <a:pt x="78588" y="27593"/>
                  <a:pt x="72340" y="24469"/>
                  <a:pt x="67539" y="21924"/>
                </a:cubicBezTo>
                <a:cubicBezTo>
                  <a:pt x="64011" y="20316"/>
                  <a:pt x="60655" y="18378"/>
                  <a:pt x="57532" y="16140"/>
                </a:cubicBezTo>
                <a:cubicBezTo>
                  <a:pt x="54062" y="12484"/>
                  <a:pt x="51690" y="7874"/>
                  <a:pt x="50822" y="2893"/>
                </a:cubicBezTo>
                <a:cubicBezTo>
                  <a:pt x="47640" y="5190"/>
                  <a:pt x="43534" y="5670"/>
                  <a:pt x="39947" y="4166"/>
                </a:cubicBezTo>
                <a:cubicBezTo>
                  <a:pt x="36245" y="2743"/>
                  <a:pt x="32312" y="2130"/>
                  <a:pt x="28379" y="2373"/>
                </a:cubicBezTo>
                <a:cubicBezTo>
                  <a:pt x="23115" y="2298"/>
                  <a:pt x="17851" y="2922"/>
                  <a:pt x="12703" y="4224"/>
                </a:cubicBezTo>
                <a:cubicBezTo>
                  <a:pt x="11951" y="4513"/>
                  <a:pt x="13281" y="9256"/>
                  <a:pt x="13917" y="11512"/>
                </a:cubicBezTo>
                <a:cubicBezTo>
                  <a:pt x="14959" y="14699"/>
                  <a:pt x="15595" y="18002"/>
                  <a:pt x="15826" y="21346"/>
                </a:cubicBezTo>
                <a:cubicBezTo>
                  <a:pt x="15595" y="24845"/>
                  <a:pt x="13744" y="28033"/>
                  <a:pt x="10852" y="30022"/>
                </a:cubicBezTo>
                <a:cubicBezTo>
                  <a:pt x="9290" y="31468"/>
                  <a:pt x="7959" y="32683"/>
                  <a:pt x="7959" y="34072"/>
                </a:cubicBezTo>
                <a:cubicBezTo>
                  <a:pt x="7959" y="37137"/>
                  <a:pt x="5877" y="39335"/>
                  <a:pt x="3216" y="4211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29" name="Forma libre: forma 328">
            <a:extLst>
              <a:ext uri="{FF2B5EF4-FFF2-40B4-BE49-F238E27FC236}">
                <a16:creationId xmlns:a16="http://schemas.microsoft.com/office/drawing/2014/main" id="{B66C16DC-ABA1-21AD-EF43-401D185F7386}"/>
              </a:ext>
            </a:extLst>
          </p:cNvPr>
          <p:cNvSpPr/>
          <p:nvPr/>
        </p:nvSpPr>
        <p:spPr>
          <a:xfrm>
            <a:off x="8317652" y="3450316"/>
            <a:ext cx="64889" cy="62240"/>
          </a:xfrm>
          <a:custGeom>
            <a:avLst/>
            <a:gdLst>
              <a:gd name="connsiteX0" fmla="*/ 24199 w 64889"/>
              <a:gd name="connsiteY0" fmla="*/ 62112 h 62240"/>
              <a:gd name="connsiteX1" fmla="*/ 23332 w 64889"/>
              <a:gd name="connsiteY1" fmla="*/ 61707 h 62240"/>
              <a:gd name="connsiteX2" fmla="*/ 23332 w 64889"/>
              <a:gd name="connsiteY2" fmla="*/ 60781 h 62240"/>
              <a:gd name="connsiteX3" fmla="*/ 21134 w 64889"/>
              <a:gd name="connsiteY3" fmla="*/ 45799 h 62240"/>
              <a:gd name="connsiteX4" fmla="*/ 4416 w 64889"/>
              <a:gd name="connsiteY4" fmla="*/ 26826 h 62240"/>
              <a:gd name="connsiteX5" fmla="*/ 20 w 64889"/>
              <a:gd name="connsiteY5" fmla="*/ 19538 h 62240"/>
              <a:gd name="connsiteX6" fmla="*/ 20 w 64889"/>
              <a:gd name="connsiteY6" fmla="*/ 18439 h 62240"/>
              <a:gd name="connsiteX7" fmla="*/ 31314 w 64889"/>
              <a:gd name="connsiteY7" fmla="*/ -129 h 62240"/>
              <a:gd name="connsiteX8" fmla="*/ 32182 w 64889"/>
              <a:gd name="connsiteY8" fmla="*/ -129 h 62240"/>
              <a:gd name="connsiteX9" fmla="*/ 62897 w 64889"/>
              <a:gd name="connsiteY9" fmla="*/ 20869 h 62240"/>
              <a:gd name="connsiteX10" fmla="*/ 64633 w 64889"/>
              <a:gd name="connsiteY10" fmla="*/ 27463 h 62240"/>
              <a:gd name="connsiteX11" fmla="*/ 36578 w 64889"/>
              <a:gd name="connsiteY11" fmla="*/ 60897 h 62240"/>
              <a:gd name="connsiteX12" fmla="*/ 25009 w 64889"/>
              <a:gd name="connsiteY12" fmla="*/ 62112 h 62240"/>
              <a:gd name="connsiteX13" fmla="*/ 1930 w 64889"/>
              <a:gd name="connsiteY13" fmla="*/ 18555 h 62240"/>
              <a:gd name="connsiteX14" fmla="*/ 6383 w 64889"/>
              <a:gd name="connsiteY14" fmla="*/ 26190 h 62240"/>
              <a:gd name="connsiteX15" fmla="*/ 22001 w 64889"/>
              <a:gd name="connsiteY15" fmla="*/ 43544 h 62240"/>
              <a:gd name="connsiteX16" fmla="*/ 25588 w 64889"/>
              <a:gd name="connsiteY16" fmla="*/ 59509 h 62240"/>
              <a:gd name="connsiteX17" fmla="*/ 35595 w 64889"/>
              <a:gd name="connsiteY17" fmla="*/ 58410 h 62240"/>
              <a:gd name="connsiteX18" fmla="*/ 62030 w 64889"/>
              <a:gd name="connsiteY18" fmla="*/ 26422 h 62240"/>
              <a:gd name="connsiteX19" fmla="*/ 60584 w 64889"/>
              <a:gd name="connsiteY19" fmla="*/ 21852 h 62240"/>
              <a:gd name="connsiteX20" fmla="*/ 31662 w 64889"/>
              <a:gd name="connsiteY20" fmla="*/ 1838 h 62240"/>
              <a:gd name="connsiteX21" fmla="*/ 30967 w 64889"/>
              <a:gd name="connsiteY21" fmla="*/ 1838 h 62240"/>
              <a:gd name="connsiteX22" fmla="*/ 1930 w 64889"/>
              <a:gd name="connsiteY22" fmla="*/ 18555 h 6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889" h="62240">
                <a:moveTo>
                  <a:pt x="24199" y="62112"/>
                </a:moveTo>
                <a:cubicBezTo>
                  <a:pt x="23852" y="62117"/>
                  <a:pt x="23563" y="61967"/>
                  <a:pt x="23332" y="61707"/>
                </a:cubicBezTo>
                <a:cubicBezTo>
                  <a:pt x="23216" y="61412"/>
                  <a:pt x="23216" y="61076"/>
                  <a:pt x="23332" y="60781"/>
                </a:cubicBezTo>
                <a:cubicBezTo>
                  <a:pt x="24431" y="54997"/>
                  <a:pt x="25182" y="48113"/>
                  <a:pt x="21134" y="45799"/>
                </a:cubicBezTo>
                <a:cubicBezTo>
                  <a:pt x="13325" y="41843"/>
                  <a:pt x="7367" y="35058"/>
                  <a:pt x="4416" y="26826"/>
                </a:cubicBezTo>
                <a:cubicBezTo>
                  <a:pt x="3549" y="24096"/>
                  <a:pt x="2045" y="21603"/>
                  <a:pt x="20" y="19538"/>
                </a:cubicBezTo>
                <a:cubicBezTo>
                  <a:pt x="-153" y="19191"/>
                  <a:pt x="-153" y="18786"/>
                  <a:pt x="20" y="18439"/>
                </a:cubicBezTo>
                <a:cubicBezTo>
                  <a:pt x="2797" y="9473"/>
                  <a:pt x="20729" y="-129"/>
                  <a:pt x="31314" y="-129"/>
                </a:cubicBezTo>
                <a:lnTo>
                  <a:pt x="32182" y="-129"/>
                </a:lnTo>
                <a:cubicBezTo>
                  <a:pt x="40917" y="392"/>
                  <a:pt x="57460" y="12539"/>
                  <a:pt x="62897" y="20869"/>
                </a:cubicBezTo>
                <a:cubicBezTo>
                  <a:pt x="64459" y="22673"/>
                  <a:pt x="65095" y="25114"/>
                  <a:pt x="64633" y="27463"/>
                </a:cubicBezTo>
                <a:cubicBezTo>
                  <a:pt x="62319" y="33883"/>
                  <a:pt x="45313" y="58872"/>
                  <a:pt x="36578" y="60897"/>
                </a:cubicBezTo>
                <a:cubicBezTo>
                  <a:pt x="32760" y="61631"/>
                  <a:pt x="28884" y="62042"/>
                  <a:pt x="25009" y="62112"/>
                </a:cubicBezTo>
                <a:close/>
                <a:moveTo>
                  <a:pt x="1930" y="18555"/>
                </a:moveTo>
                <a:cubicBezTo>
                  <a:pt x="3954" y="20736"/>
                  <a:pt x="5458" y="23344"/>
                  <a:pt x="6383" y="26190"/>
                </a:cubicBezTo>
                <a:cubicBezTo>
                  <a:pt x="9218" y="33739"/>
                  <a:pt x="14771" y="39940"/>
                  <a:pt x="22001" y="43544"/>
                </a:cubicBezTo>
                <a:cubicBezTo>
                  <a:pt x="26918" y="46378"/>
                  <a:pt x="26628" y="53319"/>
                  <a:pt x="25588" y="59509"/>
                </a:cubicBezTo>
                <a:cubicBezTo>
                  <a:pt x="28942" y="59399"/>
                  <a:pt x="32298" y="59034"/>
                  <a:pt x="35595" y="58410"/>
                </a:cubicBezTo>
                <a:cubicBezTo>
                  <a:pt x="42767" y="56732"/>
                  <a:pt x="59658" y="32958"/>
                  <a:pt x="62030" y="26422"/>
                </a:cubicBezTo>
                <a:cubicBezTo>
                  <a:pt x="62203" y="24767"/>
                  <a:pt x="61682" y="23113"/>
                  <a:pt x="60584" y="21852"/>
                </a:cubicBezTo>
                <a:cubicBezTo>
                  <a:pt x="55551" y="14159"/>
                  <a:pt x="39413" y="2301"/>
                  <a:pt x="31662" y="1838"/>
                </a:cubicBezTo>
                <a:lnTo>
                  <a:pt x="30967" y="1838"/>
                </a:lnTo>
                <a:cubicBezTo>
                  <a:pt x="21596" y="2127"/>
                  <a:pt x="4995" y="10804"/>
                  <a:pt x="1930" y="1855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0" name="Forma libre: forma 329">
            <a:extLst>
              <a:ext uri="{FF2B5EF4-FFF2-40B4-BE49-F238E27FC236}">
                <a16:creationId xmlns:a16="http://schemas.microsoft.com/office/drawing/2014/main" id="{65062D34-B44C-BED7-47B2-BEB5AA93830E}"/>
              </a:ext>
            </a:extLst>
          </p:cNvPr>
          <p:cNvSpPr/>
          <p:nvPr/>
        </p:nvSpPr>
        <p:spPr>
          <a:xfrm>
            <a:off x="9550835" y="3222699"/>
            <a:ext cx="189744" cy="176714"/>
          </a:xfrm>
          <a:custGeom>
            <a:avLst/>
            <a:gdLst>
              <a:gd name="connsiteX0" fmla="*/ 30215 w 189744"/>
              <a:gd name="connsiteY0" fmla="*/ 176585 h 176714"/>
              <a:gd name="connsiteX1" fmla="*/ 19803 w 189744"/>
              <a:gd name="connsiteY1" fmla="*/ 165942 h 176714"/>
              <a:gd name="connsiteX2" fmla="*/ 16217 w 189744"/>
              <a:gd name="connsiteY2" fmla="*/ 160157 h 176714"/>
              <a:gd name="connsiteX3" fmla="*/ 15176 w 189744"/>
              <a:gd name="connsiteY3" fmla="*/ 148589 h 176714"/>
              <a:gd name="connsiteX4" fmla="*/ 21597 w 189744"/>
              <a:gd name="connsiteY4" fmla="*/ 141879 h 176714"/>
              <a:gd name="connsiteX5" fmla="*/ 31372 w 189744"/>
              <a:gd name="connsiteY5" fmla="*/ 120534 h 176714"/>
              <a:gd name="connsiteX6" fmla="*/ 889 w 189744"/>
              <a:gd name="connsiteY6" fmla="*/ 105610 h 176714"/>
              <a:gd name="connsiteX7" fmla="*/ 21 w 189744"/>
              <a:gd name="connsiteY7" fmla="*/ 105090 h 176714"/>
              <a:gd name="connsiteX8" fmla="*/ 21 w 189744"/>
              <a:gd name="connsiteY8" fmla="*/ 104106 h 176714"/>
              <a:gd name="connsiteX9" fmla="*/ 8350 w 189744"/>
              <a:gd name="connsiteY9" fmla="*/ 91438 h 176714"/>
              <a:gd name="connsiteX10" fmla="*/ 16217 w 189744"/>
              <a:gd name="connsiteY10" fmla="*/ 87621 h 176714"/>
              <a:gd name="connsiteX11" fmla="*/ 58964 w 189744"/>
              <a:gd name="connsiteY11" fmla="*/ 63615 h 176714"/>
              <a:gd name="connsiteX12" fmla="*/ 63071 w 189744"/>
              <a:gd name="connsiteY12" fmla="*/ 57426 h 176714"/>
              <a:gd name="connsiteX13" fmla="*/ 77416 w 189744"/>
              <a:gd name="connsiteY13" fmla="*/ 43833 h 176714"/>
              <a:gd name="connsiteX14" fmla="*/ 84994 w 189744"/>
              <a:gd name="connsiteY14" fmla="*/ 47130 h 176714"/>
              <a:gd name="connsiteX15" fmla="*/ 95059 w 189744"/>
              <a:gd name="connsiteY15" fmla="*/ 50890 h 176714"/>
              <a:gd name="connsiteX16" fmla="*/ 102579 w 189744"/>
              <a:gd name="connsiteY16" fmla="*/ 51294 h 176714"/>
              <a:gd name="connsiteX17" fmla="*/ 108363 w 189744"/>
              <a:gd name="connsiteY17" fmla="*/ 51584 h 176714"/>
              <a:gd name="connsiteX18" fmla="*/ 112585 w 189744"/>
              <a:gd name="connsiteY18" fmla="*/ 50600 h 176714"/>
              <a:gd name="connsiteX19" fmla="*/ 111602 w 189744"/>
              <a:gd name="connsiteY19" fmla="*/ 47303 h 176714"/>
              <a:gd name="connsiteX20" fmla="*/ 109404 w 189744"/>
              <a:gd name="connsiteY20" fmla="*/ 39321 h 176714"/>
              <a:gd name="connsiteX21" fmla="*/ 120973 w 189744"/>
              <a:gd name="connsiteY21" fmla="*/ 35272 h 176714"/>
              <a:gd name="connsiteX22" fmla="*/ 122766 w 189744"/>
              <a:gd name="connsiteY22" fmla="*/ 35272 h 176714"/>
              <a:gd name="connsiteX23" fmla="*/ 133351 w 189744"/>
              <a:gd name="connsiteY23" fmla="*/ 27521 h 176714"/>
              <a:gd name="connsiteX24" fmla="*/ 142318 w 189744"/>
              <a:gd name="connsiteY24" fmla="*/ 21216 h 176714"/>
              <a:gd name="connsiteX25" fmla="*/ 149143 w 189744"/>
              <a:gd name="connsiteY25" fmla="*/ 11440 h 176714"/>
              <a:gd name="connsiteX26" fmla="*/ 158109 w 189744"/>
              <a:gd name="connsiteY26" fmla="*/ -129 h 176714"/>
              <a:gd name="connsiteX27" fmla="*/ 168347 w 189744"/>
              <a:gd name="connsiteY27" fmla="*/ 4846 h 176714"/>
              <a:gd name="connsiteX28" fmla="*/ 177314 w 189744"/>
              <a:gd name="connsiteY28" fmla="*/ 9357 h 176714"/>
              <a:gd name="connsiteX29" fmla="*/ 180610 w 189744"/>
              <a:gd name="connsiteY29" fmla="*/ 8779 h 176714"/>
              <a:gd name="connsiteX30" fmla="*/ 188940 w 189744"/>
              <a:gd name="connsiteY30" fmla="*/ 9878 h 176714"/>
              <a:gd name="connsiteX31" fmla="*/ 189634 w 189744"/>
              <a:gd name="connsiteY31" fmla="*/ 10803 h 176714"/>
              <a:gd name="connsiteX32" fmla="*/ 189171 w 189744"/>
              <a:gd name="connsiteY32" fmla="*/ 11845 h 176714"/>
              <a:gd name="connsiteX33" fmla="*/ 159093 w 189744"/>
              <a:gd name="connsiteY33" fmla="*/ 40767 h 176714"/>
              <a:gd name="connsiteX34" fmla="*/ 155101 w 189744"/>
              <a:gd name="connsiteY34" fmla="*/ 58120 h 176714"/>
              <a:gd name="connsiteX35" fmla="*/ 148912 w 189744"/>
              <a:gd name="connsiteY35" fmla="*/ 74143 h 176714"/>
              <a:gd name="connsiteX36" fmla="*/ 136591 w 189744"/>
              <a:gd name="connsiteY36" fmla="*/ 82357 h 176714"/>
              <a:gd name="connsiteX37" fmla="*/ 101017 w 189744"/>
              <a:gd name="connsiteY37" fmla="*/ 103297 h 176714"/>
              <a:gd name="connsiteX38" fmla="*/ 89448 w 189744"/>
              <a:gd name="connsiteY38" fmla="*/ 116022 h 176714"/>
              <a:gd name="connsiteX39" fmla="*/ 93844 w 189744"/>
              <a:gd name="connsiteY39" fmla="*/ 125624 h 176714"/>
              <a:gd name="connsiteX40" fmla="*/ 118370 w 189744"/>
              <a:gd name="connsiteY40" fmla="*/ 148762 h 176714"/>
              <a:gd name="connsiteX41" fmla="*/ 118370 w 189744"/>
              <a:gd name="connsiteY41" fmla="*/ 149572 h 176714"/>
              <a:gd name="connsiteX42" fmla="*/ 117907 w 189744"/>
              <a:gd name="connsiteY42" fmla="*/ 150382 h 176714"/>
              <a:gd name="connsiteX43" fmla="*/ 102752 w 189744"/>
              <a:gd name="connsiteY43" fmla="*/ 156166 h 176714"/>
              <a:gd name="connsiteX44" fmla="*/ 78805 w 189744"/>
              <a:gd name="connsiteY44" fmla="*/ 161257 h 176714"/>
              <a:gd name="connsiteX45" fmla="*/ 71574 w 189744"/>
              <a:gd name="connsiteY45" fmla="*/ 166752 h 176714"/>
              <a:gd name="connsiteX46" fmla="*/ 62608 w 189744"/>
              <a:gd name="connsiteY46" fmla="*/ 173404 h 176714"/>
              <a:gd name="connsiteX47" fmla="*/ 61682 w 189744"/>
              <a:gd name="connsiteY47" fmla="*/ 173404 h 176714"/>
              <a:gd name="connsiteX48" fmla="*/ 60931 w 189744"/>
              <a:gd name="connsiteY48" fmla="*/ 172883 h 176714"/>
              <a:gd name="connsiteX49" fmla="*/ 55435 w 189744"/>
              <a:gd name="connsiteY49" fmla="*/ 169760 h 176714"/>
              <a:gd name="connsiteX50" fmla="*/ 48205 w 189744"/>
              <a:gd name="connsiteY50" fmla="*/ 169760 h 176714"/>
              <a:gd name="connsiteX51" fmla="*/ 35421 w 189744"/>
              <a:gd name="connsiteY51" fmla="*/ 173462 h 176714"/>
              <a:gd name="connsiteX52" fmla="*/ 30215 w 189744"/>
              <a:gd name="connsiteY52" fmla="*/ 176585 h 176714"/>
              <a:gd name="connsiteX53" fmla="*/ 2566 w 189744"/>
              <a:gd name="connsiteY53" fmla="*/ 103470 h 176714"/>
              <a:gd name="connsiteX54" fmla="*/ 33108 w 189744"/>
              <a:gd name="connsiteY54" fmla="*/ 119088 h 176714"/>
              <a:gd name="connsiteX55" fmla="*/ 23216 w 189744"/>
              <a:gd name="connsiteY55" fmla="*/ 143440 h 176714"/>
              <a:gd name="connsiteX56" fmla="*/ 16969 w 189744"/>
              <a:gd name="connsiteY56" fmla="*/ 149977 h 176714"/>
              <a:gd name="connsiteX57" fmla="*/ 17721 w 189744"/>
              <a:gd name="connsiteY57" fmla="*/ 158596 h 176714"/>
              <a:gd name="connsiteX58" fmla="*/ 22059 w 189744"/>
              <a:gd name="connsiteY58" fmla="*/ 165826 h 176714"/>
              <a:gd name="connsiteX59" fmla="*/ 30215 w 189744"/>
              <a:gd name="connsiteY59" fmla="*/ 174329 h 176714"/>
              <a:gd name="connsiteX60" fmla="*/ 33686 w 189744"/>
              <a:gd name="connsiteY60" fmla="*/ 172189 h 176714"/>
              <a:gd name="connsiteX61" fmla="*/ 43866 w 189744"/>
              <a:gd name="connsiteY61" fmla="*/ 167099 h 176714"/>
              <a:gd name="connsiteX62" fmla="*/ 48552 w 189744"/>
              <a:gd name="connsiteY62" fmla="*/ 167099 h 176714"/>
              <a:gd name="connsiteX63" fmla="*/ 55667 w 189744"/>
              <a:gd name="connsiteY63" fmla="*/ 167099 h 176714"/>
              <a:gd name="connsiteX64" fmla="*/ 62377 w 189744"/>
              <a:gd name="connsiteY64" fmla="*/ 170280 h 176714"/>
              <a:gd name="connsiteX65" fmla="*/ 70533 w 189744"/>
              <a:gd name="connsiteY65" fmla="*/ 164496 h 176714"/>
              <a:gd name="connsiteX66" fmla="*/ 77416 w 189744"/>
              <a:gd name="connsiteY66" fmla="*/ 159174 h 176714"/>
              <a:gd name="connsiteX67" fmla="*/ 102983 w 189744"/>
              <a:gd name="connsiteY67" fmla="*/ 153390 h 176714"/>
              <a:gd name="connsiteX68" fmla="*/ 115767 w 189744"/>
              <a:gd name="connsiteY68" fmla="*/ 148936 h 176714"/>
              <a:gd name="connsiteX69" fmla="*/ 92630 w 189744"/>
              <a:gd name="connsiteY69" fmla="*/ 127302 h 176714"/>
              <a:gd name="connsiteX70" fmla="*/ 87597 w 189744"/>
              <a:gd name="connsiteY70" fmla="*/ 115733 h 176714"/>
              <a:gd name="connsiteX71" fmla="*/ 100612 w 189744"/>
              <a:gd name="connsiteY71" fmla="*/ 101156 h 176714"/>
              <a:gd name="connsiteX72" fmla="*/ 135319 w 189744"/>
              <a:gd name="connsiteY72" fmla="*/ 80506 h 176714"/>
              <a:gd name="connsiteX73" fmla="*/ 147812 w 189744"/>
              <a:gd name="connsiteY73" fmla="*/ 72234 h 176714"/>
              <a:gd name="connsiteX74" fmla="*/ 152845 w 189744"/>
              <a:gd name="connsiteY74" fmla="*/ 58004 h 176714"/>
              <a:gd name="connsiteX75" fmla="*/ 157125 w 189744"/>
              <a:gd name="connsiteY75" fmla="*/ 39552 h 176714"/>
              <a:gd name="connsiteX76" fmla="*/ 186047 w 189744"/>
              <a:gd name="connsiteY76" fmla="*/ 10977 h 176714"/>
              <a:gd name="connsiteX77" fmla="*/ 181189 w 189744"/>
              <a:gd name="connsiteY77" fmla="*/ 10630 h 176714"/>
              <a:gd name="connsiteX78" fmla="*/ 177140 w 189744"/>
              <a:gd name="connsiteY78" fmla="*/ 11324 h 176714"/>
              <a:gd name="connsiteX79" fmla="*/ 166728 w 189744"/>
              <a:gd name="connsiteY79" fmla="*/ 6292 h 176714"/>
              <a:gd name="connsiteX80" fmla="*/ 157935 w 189744"/>
              <a:gd name="connsiteY80" fmla="*/ 1838 h 176714"/>
              <a:gd name="connsiteX81" fmla="*/ 151110 w 189744"/>
              <a:gd name="connsiteY81" fmla="*/ 11671 h 176714"/>
              <a:gd name="connsiteX82" fmla="*/ 142144 w 189744"/>
              <a:gd name="connsiteY82" fmla="*/ 23240 h 176714"/>
              <a:gd name="connsiteX83" fmla="*/ 135029 w 189744"/>
              <a:gd name="connsiteY83" fmla="*/ 28562 h 176714"/>
              <a:gd name="connsiteX84" fmla="*/ 122882 w 189744"/>
              <a:gd name="connsiteY84" fmla="*/ 37238 h 176714"/>
              <a:gd name="connsiteX85" fmla="*/ 121088 w 189744"/>
              <a:gd name="connsiteY85" fmla="*/ 37528 h 176714"/>
              <a:gd name="connsiteX86" fmla="*/ 111024 w 189744"/>
              <a:gd name="connsiteY86" fmla="*/ 40246 h 176714"/>
              <a:gd name="connsiteX87" fmla="*/ 113164 w 189744"/>
              <a:gd name="connsiteY87" fmla="*/ 46031 h 176714"/>
              <a:gd name="connsiteX88" fmla="*/ 114147 w 189744"/>
              <a:gd name="connsiteY88" fmla="*/ 51815 h 176714"/>
              <a:gd name="connsiteX89" fmla="*/ 107958 w 189744"/>
              <a:gd name="connsiteY89" fmla="*/ 53898 h 176714"/>
              <a:gd name="connsiteX90" fmla="*/ 102173 w 189744"/>
              <a:gd name="connsiteY90" fmla="*/ 53608 h 176714"/>
              <a:gd name="connsiteX91" fmla="*/ 94770 w 189744"/>
              <a:gd name="connsiteY91" fmla="*/ 53203 h 176714"/>
              <a:gd name="connsiteX92" fmla="*/ 83201 w 189744"/>
              <a:gd name="connsiteY92" fmla="*/ 48923 h 176714"/>
              <a:gd name="connsiteX93" fmla="*/ 77069 w 189744"/>
              <a:gd name="connsiteY93" fmla="*/ 46146 h 176714"/>
              <a:gd name="connsiteX94" fmla="*/ 64632 w 189744"/>
              <a:gd name="connsiteY94" fmla="*/ 58699 h 176714"/>
              <a:gd name="connsiteX95" fmla="*/ 60410 w 189744"/>
              <a:gd name="connsiteY95" fmla="*/ 65061 h 176714"/>
              <a:gd name="connsiteX96" fmla="*/ 16853 w 189744"/>
              <a:gd name="connsiteY96" fmla="*/ 89761 h 176714"/>
              <a:gd name="connsiteX97" fmla="*/ 8986 w 189744"/>
              <a:gd name="connsiteY97" fmla="*/ 93521 h 176714"/>
              <a:gd name="connsiteX98" fmla="*/ 2508 w 189744"/>
              <a:gd name="connsiteY98" fmla="*/ 103470 h 17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89744" h="176714">
                <a:moveTo>
                  <a:pt x="30215" y="176585"/>
                </a:moveTo>
                <a:cubicBezTo>
                  <a:pt x="24605" y="176042"/>
                  <a:pt x="20208" y="171547"/>
                  <a:pt x="19803" y="165942"/>
                </a:cubicBezTo>
                <a:cubicBezTo>
                  <a:pt x="19456" y="163611"/>
                  <a:pt x="18126" y="161528"/>
                  <a:pt x="16217" y="160157"/>
                </a:cubicBezTo>
                <a:cubicBezTo>
                  <a:pt x="13498" y="157728"/>
                  <a:pt x="10432" y="154373"/>
                  <a:pt x="15176" y="148589"/>
                </a:cubicBezTo>
                <a:cubicBezTo>
                  <a:pt x="16969" y="146448"/>
                  <a:pt x="19225" y="144250"/>
                  <a:pt x="21597" y="141879"/>
                </a:cubicBezTo>
                <a:cubicBezTo>
                  <a:pt x="29001" y="134648"/>
                  <a:pt x="36578" y="127186"/>
                  <a:pt x="31372" y="120534"/>
                </a:cubicBezTo>
                <a:cubicBezTo>
                  <a:pt x="23389" y="111985"/>
                  <a:pt x="12515" y="106675"/>
                  <a:pt x="889" y="105610"/>
                </a:cubicBezTo>
                <a:cubicBezTo>
                  <a:pt x="541" y="105599"/>
                  <a:pt x="194" y="105402"/>
                  <a:pt x="21" y="105090"/>
                </a:cubicBezTo>
                <a:cubicBezTo>
                  <a:pt x="-153" y="104777"/>
                  <a:pt x="-153" y="104419"/>
                  <a:pt x="21" y="104106"/>
                </a:cubicBezTo>
                <a:cubicBezTo>
                  <a:pt x="1293" y="99057"/>
                  <a:pt x="4185" y="94585"/>
                  <a:pt x="8350" y="91438"/>
                </a:cubicBezTo>
                <a:lnTo>
                  <a:pt x="16217" y="87621"/>
                </a:lnTo>
                <a:cubicBezTo>
                  <a:pt x="29695" y="81200"/>
                  <a:pt x="54799" y="69168"/>
                  <a:pt x="58964" y="63615"/>
                </a:cubicBezTo>
                <a:cubicBezTo>
                  <a:pt x="60294" y="61822"/>
                  <a:pt x="61682" y="59682"/>
                  <a:pt x="63071" y="57426"/>
                </a:cubicBezTo>
                <a:cubicBezTo>
                  <a:pt x="67294" y="50774"/>
                  <a:pt x="71632" y="43833"/>
                  <a:pt x="77416" y="43833"/>
                </a:cubicBezTo>
                <a:cubicBezTo>
                  <a:pt x="80251" y="43908"/>
                  <a:pt x="82969" y="45094"/>
                  <a:pt x="84994" y="47130"/>
                </a:cubicBezTo>
                <a:cubicBezTo>
                  <a:pt x="87712" y="49687"/>
                  <a:pt x="91356" y="51046"/>
                  <a:pt x="95059" y="50890"/>
                </a:cubicBezTo>
                <a:cubicBezTo>
                  <a:pt x="97604" y="50890"/>
                  <a:pt x="100149" y="50890"/>
                  <a:pt x="102579" y="51294"/>
                </a:cubicBezTo>
                <a:cubicBezTo>
                  <a:pt x="105008" y="51699"/>
                  <a:pt x="106743" y="51584"/>
                  <a:pt x="108363" y="51584"/>
                </a:cubicBezTo>
                <a:cubicBezTo>
                  <a:pt x="111429" y="51584"/>
                  <a:pt x="112354" y="51063"/>
                  <a:pt x="112585" y="50600"/>
                </a:cubicBezTo>
                <a:cubicBezTo>
                  <a:pt x="112817" y="50138"/>
                  <a:pt x="112933" y="49559"/>
                  <a:pt x="111602" y="47303"/>
                </a:cubicBezTo>
                <a:cubicBezTo>
                  <a:pt x="109577" y="43948"/>
                  <a:pt x="108479" y="41519"/>
                  <a:pt x="109404" y="39321"/>
                </a:cubicBezTo>
                <a:cubicBezTo>
                  <a:pt x="110329" y="37123"/>
                  <a:pt x="114379" y="36255"/>
                  <a:pt x="120973" y="35272"/>
                </a:cubicBezTo>
                <a:lnTo>
                  <a:pt x="122766" y="35272"/>
                </a:lnTo>
                <a:cubicBezTo>
                  <a:pt x="127336" y="34583"/>
                  <a:pt x="131327" y="31685"/>
                  <a:pt x="133351" y="27521"/>
                </a:cubicBezTo>
                <a:cubicBezTo>
                  <a:pt x="135377" y="24455"/>
                  <a:pt x="137517" y="21216"/>
                  <a:pt x="142318" y="21216"/>
                </a:cubicBezTo>
                <a:cubicBezTo>
                  <a:pt x="145846" y="21216"/>
                  <a:pt x="147466" y="16472"/>
                  <a:pt x="149143" y="11440"/>
                </a:cubicBezTo>
                <a:cubicBezTo>
                  <a:pt x="150820" y="6407"/>
                  <a:pt x="152903" y="-129"/>
                  <a:pt x="158109" y="-129"/>
                </a:cubicBezTo>
                <a:cubicBezTo>
                  <a:pt x="161985" y="241"/>
                  <a:pt x="165629" y="2005"/>
                  <a:pt x="168347" y="4846"/>
                </a:cubicBezTo>
                <a:cubicBezTo>
                  <a:pt x="170719" y="7373"/>
                  <a:pt x="173900" y="8976"/>
                  <a:pt x="177314" y="9357"/>
                </a:cubicBezTo>
                <a:cubicBezTo>
                  <a:pt x="178412" y="9323"/>
                  <a:pt x="179569" y="9132"/>
                  <a:pt x="180610" y="8779"/>
                </a:cubicBezTo>
                <a:cubicBezTo>
                  <a:pt x="183445" y="8114"/>
                  <a:pt x="186395" y="8507"/>
                  <a:pt x="188940" y="9878"/>
                </a:cubicBezTo>
                <a:cubicBezTo>
                  <a:pt x="189287" y="10057"/>
                  <a:pt x="189577" y="10404"/>
                  <a:pt x="189634" y="10803"/>
                </a:cubicBezTo>
                <a:cubicBezTo>
                  <a:pt x="189634" y="11203"/>
                  <a:pt x="189461" y="11584"/>
                  <a:pt x="189171" y="11845"/>
                </a:cubicBezTo>
                <a:cubicBezTo>
                  <a:pt x="174594" y="23413"/>
                  <a:pt x="162216" y="34982"/>
                  <a:pt x="159093" y="40767"/>
                </a:cubicBezTo>
                <a:cubicBezTo>
                  <a:pt x="156547" y="46199"/>
                  <a:pt x="155159" y="52116"/>
                  <a:pt x="155101" y="58120"/>
                </a:cubicBezTo>
                <a:cubicBezTo>
                  <a:pt x="154523" y="65177"/>
                  <a:pt x="154002" y="71251"/>
                  <a:pt x="148912" y="74143"/>
                </a:cubicBezTo>
                <a:cubicBezTo>
                  <a:pt x="146366" y="75589"/>
                  <a:pt x="141855" y="78713"/>
                  <a:pt x="136591" y="82357"/>
                </a:cubicBezTo>
                <a:cubicBezTo>
                  <a:pt x="124270" y="90802"/>
                  <a:pt x="108999" y="101330"/>
                  <a:pt x="101017" y="103297"/>
                </a:cubicBezTo>
                <a:cubicBezTo>
                  <a:pt x="95001" y="104934"/>
                  <a:pt x="90489" y="109897"/>
                  <a:pt x="89448" y="116022"/>
                </a:cubicBezTo>
                <a:cubicBezTo>
                  <a:pt x="88696" y="119840"/>
                  <a:pt x="90431" y="123716"/>
                  <a:pt x="93844" y="125624"/>
                </a:cubicBezTo>
                <a:cubicBezTo>
                  <a:pt x="102752" y="132491"/>
                  <a:pt x="111024" y="140242"/>
                  <a:pt x="118370" y="148762"/>
                </a:cubicBezTo>
                <a:cubicBezTo>
                  <a:pt x="118428" y="149028"/>
                  <a:pt x="118428" y="149306"/>
                  <a:pt x="118370" y="149572"/>
                </a:cubicBezTo>
                <a:cubicBezTo>
                  <a:pt x="118370" y="149902"/>
                  <a:pt x="118196" y="150202"/>
                  <a:pt x="117907" y="150382"/>
                </a:cubicBezTo>
                <a:cubicBezTo>
                  <a:pt x="113742" y="154159"/>
                  <a:pt x="108363" y="156224"/>
                  <a:pt x="102752" y="156166"/>
                </a:cubicBezTo>
                <a:cubicBezTo>
                  <a:pt x="90431" y="156166"/>
                  <a:pt x="82101" y="157959"/>
                  <a:pt x="78805" y="161257"/>
                </a:cubicBezTo>
                <a:cubicBezTo>
                  <a:pt x="76491" y="163241"/>
                  <a:pt x="74119" y="165074"/>
                  <a:pt x="71574" y="166752"/>
                </a:cubicBezTo>
                <a:cubicBezTo>
                  <a:pt x="68740" y="168776"/>
                  <a:pt x="65790" y="171032"/>
                  <a:pt x="62608" y="173404"/>
                </a:cubicBezTo>
                <a:cubicBezTo>
                  <a:pt x="62319" y="173543"/>
                  <a:pt x="61972" y="173543"/>
                  <a:pt x="61682" y="173404"/>
                </a:cubicBezTo>
                <a:cubicBezTo>
                  <a:pt x="61393" y="173340"/>
                  <a:pt x="61104" y="173155"/>
                  <a:pt x="60931" y="172883"/>
                </a:cubicBezTo>
                <a:cubicBezTo>
                  <a:pt x="59889" y="170847"/>
                  <a:pt x="57749" y="169621"/>
                  <a:pt x="55435" y="169760"/>
                </a:cubicBezTo>
                <a:cubicBezTo>
                  <a:pt x="52717" y="169760"/>
                  <a:pt x="50345" y="169760"/>
                  <a:pt x="48205" y="169760"/>
                </a:cubicBezTo>
                <a:cubicBezTo>
                  <a:pt x="41726" y="169355"/>
                  <a:pt x="37908" y="169008"/>
                  <a:pt x="35421" y="173462"/>
                </a:cubicBezTo>
                <a:cubicBezTo>
                  <a:pt x="34438" y="175405"/>
                  <a:pt x="32413" y="176614"/>
                  <a:pt x="30215" y="176585"/>
                </a:cubicBezTo>
                <a:close/>
                <a:moveTo>
                  <a:pt x="2566" y="103470"/>
                </a:moveTo>
                <a:cubicBezTo>
                  <a:pt x="14250" y="104893"/>
                  <a:pt x="25125" y="110429"/>
                  <a:pt x="33108" y="119088"/>
                </a:cubicBezTo>
                <a:cubicBezTo>
                  <a:pt x="39586" y="127302"/>
                  <a:pt x="30851" y="135863"/>
                  <a:pt x="23216" y="143440"/>
                </a:cubicBezTo>
                <a:cubicBezTo>
                  <a:pt x="21018" y="145500"/>
                  <a:pt x="18936" y="147680"/>
                  <a:pt x="16969" y="149977"/>
                </a:cubicBezTo>
                <a:cubicBezTo>
                  <a:pt x="13267" y="154489"/>
                  <a:pt x="14944" y="156051"/>
                  <a:pt x="17721" y="158596"/>
                </a:cubicBezTo>
                <a:cubicBezTo>
                  <a:pt x="20093" y="160308"/>
                  <a:pt x="21654" y="162922"/>
                  <a:pt x="22059" y="165826"/>
                </a:cubicBezTo>
                <a:cubicBezTo>
                  <a:pt x="22464" y="170211"/>
                  <a:pt x="25877" y="173733"/>
                  <a:pt x="30215" y="174329"/>
                </a:cubicBezTo>
                <a:cubicBezTo>
                  <a:pt x="31719" y="174358"/>
                  <a:pt x="33050" y="173520"/>
                  <a:pt x="33686" y="172189"/>
                </a:cubicBezTo>
                <a:cubicBezTo>
                  <a:pt x="35710" y="168562"/>
                  <a:pt x="39760" y="166549"/>
                  <a:pt x="43866" y="167099"/>
                </a:cubicBezTo>
                <a:cubicBezTo>
                  <a:pt x="45255" y="167099"/>
                  <a:pt x="46817" y="167099"/>
                  <a:pt x="48552" y="167099"/>
                </a:cubicBezTo>
                <a:cubicBezTo>
                  <a:pt x="50287" y="167099"/>
                  <a:pt x="53064" y="167099"/>
                  <a:pt x="55667" y="167099"/>
                </a:cubicBezTo>
                <a:cubicBezTo>
                  <a:pt x="58270" y="167001"/>
                  <a:pt x="60815" y="168186"/>
                  <a:pt x="62377" y="170280"/>
                </a:cubicBezTo>
                <a:cubicBezTo>
                  <a:pt x="65096" y="168140"/>
                  <a:pt x="68161" y="166115"/>
                  <a:pt x="70533" y="164496"/>
                </a:cubicBezTo>
                <a:cubicBezTo>
                  <a:pt x="72962" y="162870"/>
                  <a:pt x="75218" y="161094"/>
                  <a:pt x="77416" y="159174"/>
                </a:cubicBezTo>
                <a:cubicBezTo>
                  <a:pt x="81234" y="155414"/>
                  <a:pt x="89853" y="153390"/>
                  <a:pt x="102983" y="153390"/>
                </a:cubicBezTo>
                <a:cubicBezTo>
                  <a:pt x="107669" y="153517"/>
                  <a:pt x="112181" y="151932"/>
                  <a:pt x="115767" y="148936"/>
                </a:cubicBezTo>
                <a:cubicBezTo>
                  <a:pt x="108768" y="140999"/>
                  <a:pt x="101017" y="133752"/>
                  <a:pt x="92630" y="127302"/>
                </a:cubicBezTo>
                <a:cubicBezTo>
                  <a:pt x="88754" y="124843"/>
                  <a:pt x="86729" y="120256"/>
                  <a:pt x="87597" y="115733"/>
                </a:cubicBezTo>
                <a:cubicBezTo>
                  <a:pt x="88754" y="108757"/>
                  <a:pt x="93786" y="103071"/>
                  <a:pt x="100612" y="101156"/>
                </a:cubicBezTo>
                <a:cubicBezTo>
                  <a:pt x="108247" y="99305"/>
                  <a:pt x="123750" y="88431"/>
                  <a:pt x="135319" y="80506"/>
                </a:cubicBezTo>
                <a:cubicBezTo>
                  <a:pt x="140582" y="76862"/>
                  <a:pt x="145152" y="73738"/>
                  <a:pt x="147812" y="72234"/>
                </a:cubicBezTo>
                <a:cubicBezTo>
                  <a:pt x="151862" y="69920"/>
                  <a:pt x="152267" y="64657"/>
                  <a:pt x="152845" y="58004"/>
                </a:cubicBezTo>
                <a:cubicBezTo>
                  <a:pt x="152903" y="51618"/>
                  <a:pt x="154407" y="45319"/>
                  <a:pt x="157125" y="39552"/>
                </a:cubicBezTo>
                <a:cubicBezTo>
                  <a:pt x="160770" y="32727"/>
                  <a:pt x="174132" y="20579"/>
                  <a:pt x="186047" y="10977"/>
                </a:cubicBezTo>
                <a:cubicBezTo>
                  <a:pt x="184486" y="10364"/>
                  <a:pt x="182809" y="10242"/>
                  <a:pt x="181189" y="10630"/>
                </a:cubicBezTo>
                <a:cubicBezTo>
                  <a:pt x="179858" y="11075"/>
                  <a:pt x="178528" y="11307"/>
                  <a:pt x="177140" y="11324"/>
                </a:cubicBezTo>
                <a:cubicBezTo>
                  <a:pt x="173148" y="10983"/>
                  <a:pt x="169446" y="9195"/>
                  <a:pt x="166728" y="6292"/>
                </a:cubicBezTo>
                <a:cubicBezTo>
                  <a:pt x="164414" y="3827"/>
                  <a:pt x="161291" y="2254"/>
                  <a:pt x="157935" y="1838"/>
                </a:cubicBezTo>
                <a:cubicBezTo>
                  <a:pt x="154349" y="1838"/>
                  <a:pt x="152787" y="6639"/>
                  <a:pt x="151110" y="11671"/>
                </a:cubicBezTo>
                <a:cubicBezTo>
                  <a:pt x="149432" y="16704"/>
                  <a:pt x="147350" y="23240"/>
                  <a:pt x="142144" y="23240"/>
                </a:cubicBezTo>
                <a:cubicBezTo>
                  <a:pt x="138558" y="23240"/>
                  <a:pt x="136996" y="25612"/>
                  <a:pt x="135029" y="28562"/>
                </a:cubicBezTo>
                <a:cubicBezTo>
                  <a:pt x="132599" y="33241"/>
                  <a:pt x="128088" y="36469"/>
                  <a:pt x="122882" y="37238"/>
                </a:cubicBezTo>
                <a:lnTo>
                  <a:pt x="121088" y="37528"/>
                </a:lnTo>
                <a:cubicBezTo>
                  <a:pt x="115651" y="38280"/>
                  <a:pt x="111718" y="38858"/>
                  <a:pt x="111024" y="40246"/>
                </a:cubicBezTo>
                <a:cubicBezTo>
                  <a:pt x="110329" y="41635"/>
                  <a:pt x="111949" y="44180"/>
                  <a:pt x="113164" y="46031"/>
                </a:cubicBezTo>
                <a:cubicBezTo>
                  <a:pt x="114379" y="47882"/>
                  <a:pt x="115188" y="49848"/>
                  <a:pt x="114147" y="51815"/>
                </a:cubicBezTo>
                <a:cubicBezTo>
                  <a:pt x="113106" y="53782"/>
                  <a:pt x="110445" y="53898"/>
                  <a:pt x="107958" y="53898"/>
                </a:cubicBezTo>
                <a:cubicBezTo>
                  <a:pt x="105471" y="53898"/>
                  <a:pt x="104140" y="53898"/>
                  <a:pt x="102173" y="53608"/>
                </a:cubicBezTo>
                <a:cubicBezTo>
                  <a:pt x="100207" y="53319"/>
                  <a:pt x="97199" y="53203"/>
                  <a:pt x="94770" y="53203"/>
                </a:cubicBezTo>
                <a:cubicBezTo>
                  <a:pt x="90489" y="53365"/>
                  <a:pt x="86324" y="51827"/>
                  <a:pt x="83201" y="48923"/>
                </a:cubicBezTo>
                <a:cubicBezTo>
                  <a:pt x="81639" y="47211"/>
                  <a:pt x="79383" y="46210"/>
                  <a:pt x="77069" y="46146"/>
                </a:cubicBezTo>
                <a:cubicBezTo>
                  <a:pt x="72500" y="46146"/>
                  <a:pt x="68334" y="52798"/>
                  <a:pt x="64632" y="58699"/>
                </a:cubicBezTo>
                <a:cubicBezTo>
                  <a:pt x="63186" y="60955"/>
                  <a:pt x="61798" y="63153"/>
                  <a:pt x="60410" y="65061"/>
                </a:cubicBezTo>
                <a:cubicBezTo>
                  <a:pt x="56245" y="70557"/>
                  <a:pt x="36636" y="80275"/>
                  <a:pt x="16853" y="89761"/>
                </a:cubicBezTo>
                <a:lnTo>
                  <a:pt x="8986" y="93521"/>
                </a:lnTo>
                <a:cubicBezTo>
                  <a:pt x="5805" y="96072"/>
                  <a:pt x="3549" y="99554"/>
                  <a:pt x="2508" y="10347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1" name="Forma libre: forma 330">
            <a:extLst>
              <a:ext uri="{FF2B5EF4-FFF2-40B4-BE49-F238E27FC236}">
                <a16:creationId xmlns:a16="http://schemas.microsoft.com/office/drawing/2014/main" id="{BF14A762-281C-FF75-6CEB-0F6AB0990205}"/>
              </a:ext>
            </a:extLst>
          </p:cNvPr>
          <p:cNvSpPr/>
          <p:nvPr/>
        </p:nvSpPr>
        <p:spPr>
          <a:xfrm>
            <a:off x="8374412" y="3622692"/>
            <a:ext cx="208178" cy="119202"/>
          </a:xfrm>
          <a:custGeom>
            <a:avLst/>
            <a:gdLst>
              <a:gd name="connsiteX0" fmla="*/ 171225 w 208178"/>
              <a:gd name="connsiteY0" fmla="*/ 118973 h 119202"/>
              <a:gd name="connsiteX1" fmla="*/ 171225 w 208178"/>
              <a:gd name="connsiteY1" fmla="*/ 118973 h 119202"/>
              <a:gd name="connsiteX2" fmla="*/ 155781 w 208178"/>
              <a:gd name="connsiteY2" fmla="*/ 115965 h 119202"/>
              <a:gd name="connsiteX3" fmla="*/ 138427 w 208178"/>
              <a:gd name="connsiteY3" fmla="*/ 109718 h 119202"/>
              <a:gd name="connsiteX4" fmla="*/ 119859 w 208178"/>
              <a:gd name="connsiteY4" fmla="*/ 101330 h 119202"/>
              <a:gd name="connsiteX5" fmla="*/ 105861 w 208178"/>
              <a:gd name="connsiteY5" fmla="*/ 87158 h 119202"/>
              <a:gd name="connsiteX6" fmla="*/ 96780 w 208178"/>
              <a:gd name="connsiteY6" fmla="*/ 89298 h 119202"/>
              <a:gd name="connsiteX7" fmla="*/ 83244 w 208178"/>
              <a:gd name="connsiteY7" fmla="*/ 92249 h 119202"/>
              <a:gd name="connsiteX8" fmla="*/ 79253 w 208178"/>
              <a:gd name="connsiteY8" fmla="*/ 91207 h 119202"/>
              <a:gd name="connsiteX9" fmla="*/ 77807 w 208178"/>
              <a:gd name="connsiteY9" fmla="*/ 90050 h 119202"/>
              <a:gd name="connsiteX10" fmla="*/ 57156 w 208178"/>
              <a:gd name="connsiteY10" fmla="*/ 78482 h 119202"/>
              <a:gd name="connsiteX11" fmla="*/ 35696 w 208178"/>
              <a:gd name="connsiteY11" fmla="*/ 66913 h 119202"/>
              <a:gd name="connsiteX12" fmla="*/ 25689 w 208178"/>
              <a:gd name="connsiteY12" fmla="*/ 62054 h 119202"/>
              <a:gd name="connsiteX13" fmla="*/ 14120 w 208178"/>
              <a:gd name="connsiteY13" fmla="*/ 56269 h 119202"/>
              <a:gd name="connsiteX14" fmla="*/ 7815 w 208178"/>
              <a:gd name="connsiteY14" fmla="*/ 52336 h 119202"/>
              <a:gd name="connsiteX15" fmla="*/ -110 w 208178"/>
              <a:gd name="connsiteY15" fmla="*/ 44816 h 119202"/>
              <a:gd name="connsiteX16" fmla="*/ 1915 w 208178"/>
              <a:gd name="connsiteY16" fmla="*/ 35156 h 119202"/>
              <a:gd name="connsiteX17" fmla="*/ 4171 w 208178"/>
              <a:gd name="connsiteY17" fmla="*/ 24339 h 119202"/>
              <a:gd name="connsiteX18" fmla="*/ 11980 w 208178"/>
              <a:gd name="connsiteY18" fmla="*/ 13175 h 119202"/>
              <a:gd name="connsiteX19" fmla="*/ 16723 w 208178"/>
              <a:gd name="connsiteY19" fmla="*/ 8201 h 119202"/>
              <a:gd name="connsiteX20" fmla="*/ 17590 w 208178"/>
              <a:gd name="connsiteY20" fmla="*/ 7622 h 119202"/>
              <a:gd name="connsiteX21" fmla="*/ 19789 w 208178"/>
              <a:gd name="connsiteY21" fmla="*/ 7622 h 119202"/>
              <a:gd name="connsiteX22" fmla="*/ 33383 w 208178"/>
              <a:gd name="connsiteY22" fmla="*/ 3458 h 119202"/>
              <a:gd name="connsiteX23" fmla="*/ 40555 w 208178"/>
              <a:gd name="connsiteY23" fmla="*/ -129 h 119202"/>
              <a:gd name="connsiteX24" fmla="*/ 57099 w 208178"/>
              <a:gd name="connsiteY24" fmla="*/ 7217 h 119202"/>
              <a:gd name="connsiteX25" fmla="*/ 87698 w 208178"/>
              <a:gd name="connsiteY25" fmla="*/ 29835 h 119202"/>
              <a:gd name="connsiteX26" fmla="*/ 112745 w 208178"/>
              <a:gd name="connsiteY26" fmla="*/ 47766 h 119202"/>
              <a:gd name="connsiteX27" fmla="*/ 163879 w 208178"/>
              <a:gd name="connsiteY27" fmla="*/ 68706 h 119202"/>
              <a:gd name="connsiteX28" fmla="*/ 164631 w 208178"/>
              <a:gd name="connsiteY28" fmla="*/ 68706 h 119202"/>
              <a:gd name="connsiteX29" fmla="*/ 179324 w 208178"/>
              <a:gd name="connsiteY29" fmla="*/ 71598 h 119202"/>
              <a:gd name="connsiteX30" fmla="*/ 200437 w 208178"/>
              <a:gd name="connsiteY30" fmla="*/ 75358 h 119202"/>
              <a:gd name="connsiteX31" fmla="*/ 206800 w 208178"/>
              <a:gd name="connsiteY31" fmla="*/ 75358 h 119202"/>
              <a:gd name="connsiteX32" fmla="*/ 207782 w 208178"/>
              <a:gd name="connsiteY32" fmla="*/ 76665 h 119202"/>
              <a:gd name="connsiteX33" fmla="*/ 207552 w 208178"/>
              <a:gd name="connsiteY33" fmla="*/ 77209 h 119202"/>
              <a:gd name="connsiteX34" fmla="*/ 205990 w 208178"/>
              <a:gd name="connsiteY34" fmla="*/ 82994 h 119202"/>
              <a:gd name="connsiteX35" fmla="*/ 207030 w 208178"/>
              <a:gd name="connsiteY35" fmla="*/ 92306 h 119202"/>
              <a:gd name="connsiteX36" fmla="*/ 204544 w 208178"/>
              <a:gd name="connsiteY36" fmla="*/ 111858 h 119202"/>
              <a:gd name="connsiteX37" fmla="*/ 171225 w 208178"/>
              <a:gd name="connsiteY37" fmla="*/ 118973 h 119202"/>
              <a:gd name="connsiteX38" fmla="*/ 105861 w 208178"/>
              <a:gd name="connsiteY38" fmla="*/ 84844 h 119202"/>
              <a:gd name="connsiteX39" fmla="*/ 122058 w 208178"/>
              <a:gd name="connsiteY39" fmla="*/ 100867 h 119202"/>
              <a:gd name="connsiteX40" fmla="*/ 139006 w 208178"/>
              <a:gd name="connsiteY40" fmla="*/ 107577 h 119202"/>
              <a:gd name="connsiteX41" fmla="*/ 157227 w 208178"/>
              <a:gd name="connsiteY41" fmla="*/ 114287 h 119202"/>
              <a:gd name="connsiteX42" fmla="*/ 171225 w 208178"/>
              <a:gd name="connsiteY42" fmla="*/ 116717 h 119202"/>
              <a:gd name="connsiteX43" fmla="*/ 203213 w 208178"/>
              <a:gd name="connsiteY43" fmla="*/ 110007 h 119202"/>
              <a:gd name="connsiteX44" fmla="*/ 205064 w 208178"/>
              <a:gd name="connsiteY44" fmla="*/ 92653 h 119202"/>
              <a:gd name="connsiteX45" fmla="*/ 203965 w 208178"/>
              <a:gd name="connsiteY45" fmla="*/ 82936 h 119202"/>
              <a:gd name="connsiteX46" fmla="*/ 204948 w 208178"/>
              <a:gd name="connsiteY46" fmla="*/ 77730 h 119202"/>
              <a:gd name="connsiteX47" fmla="*/ 200726 w 208178"/>
              <a:gd name="connsiteY47" fmla="*/ 77730 h 119202"/>
              <a:gd name="connsiteX48" fmla="*/ 178860 w 208178"/>
              <a:gd name="connsiteY48" fmla="*/ 73854 h 119202"/>
              <a:gd name="connsiteX49" fmla="*/ 164978 w 208178"/>
              <a:gd name="connsiteY49" fmla="*/ 71077 h 119202"/>
              <a:gd name="connsiteX50" fmla="*/ 111530 w 208178"/>
              <a:gd name="connsiteY50" fmla="*/ 49617 h 119202"/>
              <a:gd name="connsiteX51" fmla="*/ 86657 w 208178"/>
              <a:gd name="connsiteY51" fmla="*/ 31801 h 119202"/>
              <a:gd name="connsiteX52" fmla="*/ 55768 w 208178"/>
              <a:gd name="connsiteY52" fmla="*/ 8953 h 119202"/>
              <a:gd name="connsiteX53" fmla="*/ 40786 w 208178"/>
              <a:gd name="connsiteY53" fmla="*/ 2243 h 119202"/>
              <a:gd name="connsiteX54" fmla="*/ 35812 w 208178"/>
              <a:gd name="connsiteY54" fmla="*/ 4209 h 119202"/>
              <a:gd name="connsiteX55" fmla="*/ 20194 w 208178"/>
              <a:gd name="connsiteY55" fmla="*/ 9994 h 119202"/>
              <a:gd name="connsiteX56" fmla="*/ 18632 w 208178"/>
              <a:gd name="connsiteY56" fmla="*/ 9994 h 119202"/>
              <a:gd name="connsiteX57" fmla="*/ 13773 w 208178"/>
              <a:gd name="connsiteY57" fmla="*/ 15027 h 119202"/>
              <a:gd name="connsiteX58" fmla="*/ 6659 w 208178"/>
              <a:gd name="connsiteY58" fmla="*/ 24513 h 119202"/>
              <a:gd name="connsiteX59" fmla="*/ 4345 w 208178"/>
              <a:gd name="connsiteY59" fmla="*/ 36082 h 119202"/>
              <a:gd name="connsiteX60" fmla="*/ 2378 w 208178"/>
              <a:gd name="connsiteY60" fmla="*/ 45105 h 119202"/>
              <a:gd name="connsiteX61" fmla="*/ 9030 w 208178"/>
              <a:gd name="connsiteY61" fmla="*/ 50601 h 119202"/>
              <a:gd name="connsiteX62" fmla="*/ 16144 w 208178"/>
              <a:gd name="connsiteY62" fmla="*/ 55228 h 119202"/>
              <a:gd name="connsiteX63" fmla="*/ 26441 w 208178"/>
              <a:gd name="connsiteY63" fmla="*/ 59971 h 119202"/>
              <a:gd name="connsiteX64" fmla="*/ 38010 w 208178"/>
              <a:gd name="connsiteY64" fmla="*/ 66392 h 119202"/>
              <a:gd name="connsiteX65" fmla="*/ 57561 w 208178"/>
              <a:gd name="connsiteY65" fmla="*/ 76399 h 119202"/>
              <a:gd name="connsiteX66" fmla="*/ 79253 w 208178"/>
              <a:gd name="connsiteY66" fmla="*/ 88373 h 119202"/>
              <a:gd name="connsiteX67" fmla="*/ 80757 w 208178"/>
              <a:gd name="connsiteY67" fmla="*/ 89472 h 119202"/>
              <a:gd name="connsiteX68" fmla="*/ 83360 w 208178"/>
              <a:gd name="connsiteY68" fmla="*/ 90108 h 119202"/>
              <a:gd name="connsiteX69" fmla="*/ 96259 w 208178"/>
              <a:gd name="connsiteY69" fmla="*/ 87216 h 119202"/>
              <a:gd name="connsiteX70" fmla="*/ 105977 w 208178"/>
              <a:gd name="connsiteY70" fmla="*/ 84844 h 119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08178" h="119202">
                <a:moveTo>
                  <a:pt x="171225" y="118973"/>
                </a:moveTo>
                <a:lnTo>
                  <a:pt x="171225" y="118973"/>
                </a:lnTo>
                <a:cubicBezTo>
                  <a:pt x="165903" y="119418"/>
                  <a:pt x="160524" y="118377"/>
                  <a:pt x="155781" y="115965"/>
                </a:cubicBezTo>
                <a:cubicBezTo>
                  <a:pt x="150344" y="113014"/>
                  <a:pt x="144501" y="110909"/>
                  <a:pt x="138427" y="109718"/>
                </a:cubicBezTo>
                <a:cubicBezTo>
                  <a:pt x="127380" y="106767"/>
                  <a:pt x="120554" y="104743"/>
                  <a:pt x="119859" y="101330"/>
                </a:cubicBezTo>
                <a:cubicBezTo>
                  <a:pt x="118818" y="96182"/>
                  <a:pt x="110547" y="87158"/>
                  <a:pt x="105861" y="87158"/>
                </a:cubicBezTo>
                <a:cubicBezTo>
                  <a:pt x="102738" y="87517"/>
                  <a:pt x="99730" y="88240"/>
                  <a:pt x="96780" y="89298"/>
                </a:cubicBezTo>
                <a:cubicBezTo>
                  <a:pt x="92383" y="90849"/>
                  <a:pt x="87871" y="91838"/>
                  <a:pt x="83244" y="92249"/>
                </a:cubicBezTo>
                <a:cubicBezTo>
                  <a:pt x="81856" y="92329"/>
                  <a:pt x="80468" y="91965"/>
                  <a:pt x="79253" y="91207"/>
                </a:cubicBezTo>
                <a:lnTo>
                  <a:pt x="77807" y="90050"/>
                </a:lnTo>
                <a:cubicBezTo>
                  <a:pt x="71791" y="84844"/>
                  <a:pt x="64734" y="80911"/>
                  <a:pt x="57156" y="78482"/>
                </a:cubicBezTo>
                <a:cubicBezTo>
                  <a:pt x="49579" y="77382"/>
                  <a:pt x="36969" y="71887"/>
                  <a:pt x="35696" y="66913"/>
                </a:cubicBezTo>
                <a:cubicBezTo>
                  <a:pt x="35291" y="65235"/>
                  <a:pt x="29911" y="63384"/>
                  <a:pt x="25689" y="62054"/>
                </a:cubicBezTo>
                <a:cubicBezTo>
                  <a:pt x="21408" y="61099"/>
                  <a:pt x="17417" y="59115"/>
                  <a:pt x="14120" y="56269"/>
                </a:cubicBezTo>
                <a:cubicBezTo>
                  <a:pt x="12327" y="54517"/>
                  <a:pt x="10187" y="53175"/>
                  <a:pt x="7815" y="52336"/>
                </a:cubicBezTo>
                <a:cubicBezTo>
                  <a:pt x="3939" y="50543"/>
                  <a:pt x="-110" y="48692"/>
                  <a:pt x="-110" y="44816"/>
                </a:cubicBezTo>
                <a:cubicBezTo>
                  <a:pt x="122" y="41525"/>
                  <a:pt x="816" y="38274"/>
                  <a:pt x="1915" y="35156"/>
                </a:cubicBezTo>
                <a:cubicBezTo>
                  <a:pt x="3129" y="31668"/>
                  <a:pt x="3881" y="28030"/>
                  <a:pt x="4171" y="24339"/>
                </a:cubicBezTo>
                <a:cubicBezTo>
                  <a:pt x="4171" y="20290"/>
                  <a:pt x="8336" y="16530"/>
                  <a:pt x="11980" y="13175"/>
                </a:cubicBezTo>
                <a:cubicBezTo>
                  <a:pt x="13773" y="11718"/>
                  <a:pt x="15335" y="10052"/>
                  <a:pt x="16723" y="8201"/>
                </a:cubicBezTo>
                <a:cubicBezTo>
                  <a:pt x="16896" y="7882"/>
                  <a:pt x="17244" y="7669"/>
                  <a:pt x="17590" y="7622"/>
                </a:cubicBezTo>
                <a:lnTo>
                  <a:pt x="19789" y="7622"/>
                </a:lnTo>
                <a:cubicBezTo>
                  <a:pt x="27482" y="6870"/>
                  <a:pt x="32573" y="6350"/>
                  <a:pt x="33383" y="3458"/>
                </a:cubicBezTo>
                <a:cubicBezTo>
                  <a:pt x="34192" y="565"/>
                  <a:pt x="36737" y="-129"/>
                  <a:pt x="40555" y="-129"/>
                </a:cubicBezTo>
                <a:cubicBezTo>
                  <a:pt x="46802" y="132"/>
                  <a:pt x="52702" y="2758"/>
                  <a:pt x="57099" y="7217"/>
                </a:cubicBezTo>
                <a:cubicBezTo>
                  <a:pt x="66816" y="15368"/>
                  <a:pt x="77055" y="22922"/>
                  <a:pt x="87698" y="29835"/>
                </a:cubicBezTo>
                <a:cubicBezTo>
                  <a:pt x="97705" y="36718"/>
                  <a:pt x="107192" y="43254"/>
                  <a:pt x="112745" y="47766"/>
                </a:cubicBezTo>
                <a:cubicBezTo>
                  <a:pt x="125239" y="57889"/>
                  <a:pt x="153236" y="68706"/>
                  <a:pt x="163879" y="68706"/>
                </a:cubicBezTo>
                <a:lnTo>
                  <a:pt x="164631" y="68706"/>
                </a:lnTo>
                <a:cubicBezTo>
                  <a:pt x="169663" y="68694"/>
                  <a:pt x="174638" y="69678"/>
                  <a:pt x="179324" y="71598"/>
                </a:cubicBezTo>
                <a:cubicBezTo>
                  <a:pt x="186034" y="74189"/>
                  <a:pt x="193206" y="75462"/>
                  <a:pt x="200437" y="75358"/>
                </a:cubicBezTo>
                <a:cubicBezTo>
                  <a:pt x="202866" y="75358"/>
                  <a:pt x="204948" y="75358"/>
                  <a:pt x="206800" y="75358"/>
                </a:cubicBezTo>
                <a:cubicBezTo>
                  <a:pt x="207436" y="75451"/>
                  <a:pt x="207898" y="76035"/>
                  <a:pt x="207782" y="76665"/>
                </a:cubicBezTo>
                <a:cubicBezTo>
                  <a:pt x="207725" y="76868"/>
                  <a:pt x="207667" y="77053"/>
                  <a:pt x="207552" y="77209"/>
                </a:cubicBezTo>
                <a:cubicBezTo>
                  <a:pt x="206279" y="78852"/>
                  <a:pt x="205700" y="80934"/>
                  <a:pt x="205990" y="82994"/>
                </a:cubicBezTo>
                <a:cubicBezTo>
                  <a:pt x="206105" y="86123"/>
                  <a:pt x="206452" y="89235"/>
                  <a:pt x="207030" y="92306"/>
                </a:cubicBezTo>
                <a:cubicBezTo>
                  <a:pt x="208188" y="99537"/>
                  <a:pt x="209402" y="106999"/>
                  <a:pt x="204544" y="111858"/>
                </a:cubicBezTo>
                <a:cubicBezTo>
                  <a:pt x="199685" y="116717"/>
                  <a:pt x="183951" y="118973"/>
                  <a:pt x="171225" y="118973"/>
                </a:cubicBezTo>
                <a:close/>
                <a:moveTo>
                  <a:pt x="105861" y="84844"/>
                </a:moveTo>
                <a:cubicBezTo>
                  <a:pt x="111993" y="84844"/>
                  <a:pt x="120959" y="95314"/>
                  <a:pt x="122058" y="100867"/>
                </a:cubicBezTo>
                <a:cubicBezTo>
                  <a:pt x="122520" y="103123"/>
                  <a:pt x="132065" y="105668"/>
                  <a:pt x="139006" y="107577"/>
                </a:cubicBezTo>
                <a:cubicBezTo>
                  <a:pt x="145427" y="108769"/>
                  <a:pt x="151558" y="111042"/>
                  <a:pt x="157227" y="114287"/>
                </a:cubicBezTo>
                <a:cubicBezTo>
                  <a:pt x="161565" y="116347"/>
                  <a:pt x="166424" y="117185"/>
                  <a:pt x="171225" y="116717"/>
                </a:cubicBezTo>
                <a:cubicBezTo>
                  <a:pt x="184703" y="116717"/>
                  <a:pt x="199627" y="113593"/>
                  <a:pt x="203213" y="110007"/>
                </a:cubicBezTo>
                <a:cubicBezTo>
                  <a:pt x="206800" y="106420"/>
                  <a:pt x="206163" y="99421"/>
                  <a:pt x="205064" y="92653"/>
                </a:cubicBezTo>
                <a:cubicBezTo>
                  <a:pt x="204428" y="89449"/>
                  <a:pt x="204081" y="86198"/>
                  <a:pt x="203965" y="82936"/>
                </a:cubicBezTo>
                <a:cubicBezTo>
                  <a:pt x="203907" y="81148"/>
                  <a:pt x="204196" y="79367"/>
                  <a:pt x="204948" y="77730"/>
                </a:cubicBezTo>
                <a:lnTo>
                  <a:pt x="200726" y="77730"/>
                </a:lnTo>
                <a:cubicBezTo>
                  <a:pt x="193264" y="77776"/>
                  <a:pt x="185860" y="76463"/>
                  <a:pt x="178860" y="73854"/>
                </a:cubicBezTo>
                <a:cubicBezTo>
                  <a:pt x="174465" y="72067"/>
                  <a:pt x="169721" y="71124"/>
                  <a:pt x="164978" y="71077"/>
                </a:cubicBezTo>
                <a:cubicBezTo>
                  <a:pt x="153409" y="71598"/>
                  <a:pt x="124024" y="59508"/>
                  <a:pt x="111530" y="49617"/>
                </a:cubicBezTo>
                <a:cubicBezTo>
                  <a:pt x="105746" y="45163"/>
                  <a:pt x="96606" y="38685"/>
                  <a:pt x="86657" y="31801"/>
                </a:cubicBezTo>
                <a:cubicBezTo>
                  <a:pt x="75898" y="24831"/>
                  <a:pt x="65601" y="17201"/>
                  <a:pt x="55768" y="8953"/>
                </a:cubicBezTo>
                <a:cubicBezTo>
                  <a:pt x="51777" y="4898"/>
                  <a:pt x="46455" y="2503"/>
                  <a:pt x="40786" y="2243"/>
                </a:cubicBezTo>
                <a:cubicBezTo>
                  <a:pt x="38125" y="2243"/>
                  <a:pt x="36159" y="3053"/>
                  <a:pt x="35812" y="4209"/>
                </a:cubicBezTo>
                <a:cubicBezTo>
                  <a:pt x="34539" y="8548"/>
                  <a:pt x="28871" y="9126"/>
                  <a:pt x="20194" y="9994"/>
                </a:cubicBezTo>
                <a:lnTo>
                  <a:pt x="18632" y="9994"/>
                </a:lnTo>
                <a:cubicBezTo>
                  <a:pt x="17186" y="11828"/>
                  <a:pt x="15566" y="13517"/>
                  <a:pt x="13773" y="15027"/>
                </a:cubicBezTo>
                <a:cubicBezTo>
                  <a:pt x="10418" y="18034"/>
                  <a:pt x="6659" y="21447"/>
                  <a:pt x="6659" y="24513"/>
                </a:cubicBezTo>
                <a:cubicBezTo>
                  <a:pt x="6427" y="28458"/>
                  <a:pt x="5617" y="32351"/>
                  <a:pt x="4345" y="36082"/>
                </a:cubicBezTo>
                <a:cubicBezTo>
                  <a:pt x="3303" y="38991"/>
                  <a:pt x="2609" y="42022"/>
                  <a:pt x="2378" y="45105"/>
                </a:cubicBezTo>
                <a:cubicBezTo>
                  <a:pt x="2378" y="47535"/>
                  <a:pt x="5559" y="49039"/>
                  <a:pt x="9030" y="50601"/>
                </a:cubicBezTo>
                <a:cubicBezTo>
                  <a:pt x="11749" y="51578"/>
                  <a:pt x="14178" y="53163"/>
                  <a:pt x="16144" y="55228"/>
                </a:cubicBezTo>
                <a:cubicBezTo>
                  <a:pt x="19210" y="57501"/>
                  <a:pt x="22739" y="59121"/>
                  <a:pt x="26441" y="59971"/>
                </a:cubicBezTo>
                <a:cubicBezTo>
                  <a:pt x="32225" y="61880"/>
                  <a:pt x="37200" y="63558"/>
                  <a:pt x="38010" y="66392"/>
                </a:cubicBezTo>
                <a:cubicBezTo>
                  <a:pt x="38820" y="69227"/>
                  <a:pt x="49579" y="75184"/>
                  <a:pt x="57561" y="76399"/>
                </a:cubicBezTo>
                <a:cubicBezTo>
                  <a:pt x="65544" y="77614"/>
                  <a:pt x="74162" y="84555"/>
                  <a:pt x="79253" y="88373"/>
                </a:cubicBezTo>
                <a:lnTo>
                  <a:pt x="80757" y="89472"/>
                </a:lnTo>
                <a:cubicBezTo>
                  <a:pt x="81509" y="89958"/>
                  <a:pt x="82434" y="90178"/>
                  <a:pt x="83360" y="90108"/>
                </a:cubicBezTo>
                <a:cubicBezTo>
                  <a:pt x="87756" y="89663"/>
                  <a:pt x="92094" y="88691"/>
                  <a:pt x="96259" y="87216"/>
                </a:cubicBezTo>
                <a:cubicBezTo>
                  <a:pt x="99382" y="86047"/>
                  <a:pt x="102680" y="85249"/>
                  <a:pt x="105977" y="8484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2" name="Forma libre: forma 331">
            <a:extLst>
              <a:ext uri="{FF2B5EF4-FFF2-40B4-BE49-F238E27FC236}">
                <a16:creationId xmlns:a16="http://schemas.microsoft.com/office/drawing/2014/main" id="{83200C0A-0D54-06A4-3E7A-E487527BA8A5}"/>
              </a:ext>
            </a:extLst>
          </p:cNvPr>
          <p:cNvSpPr/>
          <p:nvPr/>
        </p:nvSpPr>
        <p:spPr>
          <a:xfrm>
            <a:off x="8678557" y="3679436"/>
            <a:ext cx="236062" cy="513542"/>
          </a:xfrm>
          <a:custGeom>
            <a:avLst/>
            <a:gdLst>
              <a:gd name="connsiteX0" fmla="*/ 167350 w 236062"/>
              <a:gd name="connsiteY0" fmla="*/ 513413 h 513542"/>
              <a:gd name="connsiteX1" fmla="*/ 167350 w 236062"/>
              <a:gd name="connsiteY1" fmla="*/ 513413 h 513542"/>
              <a:gd name="connsiteX2" fmla="*/ 166424 w 236062"/>
              <a:gd name="connsiteY2" fmla="*/ 513413 h 513542"/>
              <a:gd name="connsiteX3" fmla="*/ 165557 w 236062"/>
              <a:gd name="connsiteY3" fmla="*/ 512129 h 513542"/>
              <a:gd name="connsiteX4" fmla="*/ 165557 w 236062"/>
              <a:gd name="connsiteY4" fmla="*/ 512083 h 513542"/>
              <a:gd name="connsiteX5" fmla="*/ 165557 w 236062"/>
              <a:gd name="connsiteY5" fmla="*/ 511678 h 513542"/>
              <a:gd name="connsiteX6" fmla="*/ 167118 w 236062"/>
              <a:gd name="connsiteY6" fmla="*/ 504621 h 513542"/>
              <a:gd name="connsiteX7" fmla="*/ 165094 w 236062"/>
              <a:gd name="connsiteY7" fmla="*/ 489177 h 513542"/>
              <a:gd name="connsiteX8" fmla="*/ 163532 w 236062"/>
              <a:gd name="connsiteY8" fmla="*/ 472170 h 513542"/>
              <a:gd name="connsiteX9" fmla="*/ 153294 w 236062"/>
              <a:gd name="connsiteY9" fmla="*/ 430175 h 513542"/>
              <a:gd name="connsiteX10" fmla="*/ 139238 w 236062"/>
              <a:gd name="connsiteY10" fmla="*/ 375859 h 513542"/>
              <a:gd name="connsiteX11" fmla="*/ 138833 w 236062"/>
              <a:gd name="connsiteY11" fmla="*/ 370480 h 513542"/>
              <a:gd name="connsiteX12" fmla="*/ 128247 w 236062"/>
              <a:gd name="connsiteY12" fmla="*/ 340922 h 513542"/>
              <a:gd name="connsiteX13" fmla="*/ 122463 w 236062"/>
              <a:gd name="connsiteY13" fmla="*/ 333518 h 513542"/>
              <a:gd name="connsiteX14" fmla="*/ 116678 w 236062"/>
              <a:gd name="connsiteY14" fmla="*/ 326634 h 513542"/>
              <a:gd name="connsiteX15" fmla="*/ 115579 w 236062"/>
              <a:gd name="connsiteY15" fmla="*/ 329411 h 513542"/>
              <a:gd name="connsiteX16" fmla="*/ 102275 w 236062"/>
              <a:gd name="connsiteY16" fmla="*/ 347169 h 513542"/>
              <a:gd name="connsiteX17" fmla="*/ 92673 w 236062"/>
              <a:gd name="connsiteY17" fmla="*/ 357234 h 513542"/>
              <a:gd name="connsiteX18" fmla="*/ 64561 w 236062"/>
              <a:gd name="connsiteY18" fmla="*/ 360820 h 513542"/>
              <a:gd name="connsiteX19" fmla="*/ 59470 w 236062"/>
              <a:gd name="connsiteY19" fmla="*/ 358449 h 513542"/>
              <a:gd name="connsiteX20" fmla="*/ 51025 w 236062"/>
              <a:gd name="connsiteY20" fmla="*/ 352143 h 513542"/>
              <a:gd name="connsiteX21" fmla="*/ 52818 w 236062"/>
              <a:gd name="connsiteY21" fmla="*/ 344335 h 513542"/>
              <a:gd name="connsiteX22" fmla="*/ 56752 w 236062"/>
              <a:gd name="connsiteY22" fmla="*/ 301183 h 513542"/>
              <a:gd name="connsiteX23" fmla="*/ 26268 w 236062"/>
              <a:gd name="connsiteY23" fmla="*/ 246635 h 513542"/>
              <a:gd name="connsiteX24" fmla="*/ 64 w 236062"/>
              <a:gd name="connsiteY24" fmla="*/ 219044 h 513542"/>
              <a:gd name="connsiteX25" fmla="*/ 64 w 236062"/>
              <a:gd name="connsiteY25" fmla="*/ 217771 h 513542"/>
              <a:gd name="connsiteX26" fmla="*/ 9667 w 236062"/>
              <a:gd name="connsiteY26" fmla="*/ 209847 h 513542"/>
              <a:gd name="connsiteX27" fmla="*/ 22508 w 236062"/>
              <a:gd name="connsiteY27" fmla="*/ 188907 h 513542"/>
              <a:gd name="connsiteX28" fmla="*/ 26152 w 236062"/>
              <a:gd name="connsiteY28" fmla="*/ 175255 h 513542"/>
              <a:gd name="connsiteX29" fmla="*/ 29160 w 236062"/>
              <a:gd name="connsiteY29" fmla="*/ 160274 h 513542"/>
              <a:gd name="connsiteX30" fmla="*/ 32110 w 236062"/>
              <a:gd name="connsiteY30" fmla="*/ 144135 h 513542"/>
              <a:gd name="connsiteX31" fmla="*/ 35465 w 236062"/>
              <a:gd name="connsiteY31" fmla="*/ 132856 h 513542"/>
              <a:gd name="connsiteX32" fmla="*/ 41249 w 236062"/>
              <a:gd name="connsiteY32" fmla="*/ 134012 h 513542"/>
              <a:gd name="connsiteX33" fmla="*/ 53512 w 236062"/>
              <a:gd name="connsiteY33" fmla="*/ 136095 h 513542"/>
              <a:gd name="connsiteX34" fmla="*/ 55826 w 236062"/>
              <a:gd name="connsiteY34" fmla="*/ 135632 h 513542"/>
              <a:gd name="connsiteX35" fmla="*/ 55826 w 236062"/>
              <a:gd name="connsiteY35" fmla="*/ 135285 h 513542"/>
              <a:gd name="connsiteX36" fmla="*/ 59817 w 236062"/>
              <a:gd name="connsiteY36" fmla="*/ 122386 h 513542"/>
              <a:gd name="connsiteX37" fmla="*/ 65601 w 236062"/>
              <a:gd name="connsiteY37" fmla="*/ 101851 h 513542"/>
              <a:gd name="connsiteX38" fmla="*/ 69015 w 236062"/>
              <a:gd name="connsiteY38" fmla="*/ 84209 h 513542"/>
              <a:gd name="connsiteX39" fmla="*/ 73122 w 236062"/>
              <a:gd name="connsiteY39" fmla="*/ 68186 h 513542"/>
              <a:gd name="connsiteX40" fmla="*/ 85847 w 236062"/>
              <a:gd name="connsiteY40" fmla="*/ 50196 h 513542"/>
              <a:gd name="connsiteX41" fmla="*/ 91631 w 236062"/>
              <a:gd name="connsiteY41" fmla="*/ 45742 h 513542"/>
              <a:gd name="connsiteX42" fmla="*/ 112224 w 236062"/>
              <a:gd name="connsiteY42" fmla="*/ 34174 h 513542"/>
              <a:gd name="connsiteX43" fmla="*/ 116100 w 236062"/>
              <a:gd name="connsiteY43" fmla="*/ 36603 h 513542"/>
              <a:gd name="connsiteX44" fmla="*/ 125586 w 236062"/>
              <a:gd name="connsiteY44" fmla="*/ 41635 h 513542"/>
              <a:gd name="connsiteX45" fmla="*/ 127206 w 236062"/>
              <a:gd name="connsiteY45" fmla="*/ 41172 h 513542"/>
              <a:gd name="connsiteX46" fmla="*/ 125933 w 236062"/>
              <a:gd name="connsiteY46" fmla="*/ 37644 h 513542"/>
              <a:gd name="connsiteX47" fmla="*/ 121595 w 236062"/>
              <a:gd name="connsiteY47" fmla="*/ 21737 h 513542"/>
              <a:gd name="connsiteX48" fmla="*/ 124892 w 236062"/>
              <a:gd name="connsiteY48" fmla="*/ 17572 h 513542"/>
              <a:gd name="connsiteX49" fmla="*/ 130676 w 236062"/>
              <a:gd name="connsiteY49" fmla="*/ 6350 h 513542"/>
              <a:gd name="connsiteX50" fmla="*/ 130330 w 236062"/>
              <a:gd name="connsiteY50" fmla="*/ 5656 h 513542"/>
              <a:gd name="connsiteX51" fmla="*/ 130908 w 236062"/>
              <a:gd name="connsiteY51" fmla="*/ 4557 h 513542"/>
              <a:gd name="connsiteX52" fmla="*/ 135362 w 236062"/>
              <a:gd name="connsiteY52" fmla="*/ 1896 h 513542"/>
              <a:gd name="connsiteX53" fmla="*/ 142014 w 236062"/>
              <a:gd name="connsiteY53" fmla="*/ -128 h 513542"/>
              <a:gd name="connsiteX54" fmla="*/ 155318 w 236062"/>
              <a:gd name="connsiteY54" fmla="*/ 10689 h 513542"/>
              <a:gd name="connsiteX55" fmla="*/ 160293 w 236062"/>
              <a:gd name="connsiteY55" fmla="*/ 24687 h 513542"/>
              <a:gd name="connsiteX56" fmla="*/ 172325 w 236062"/>
              <a:gd name="connsiteY56" fmla="*/ 39148 h 513542"/>
              <a:gd name="connsiteX57" fmla="*/ 172787 w 236062"/>
              <a:gd name="connsiteY57" fmla="*/ 48345 h 513542"/>
              <a:gd name="connsiteX58" fmla="*/ 165326 w 236062"/>
              <a:gd name="connsiteY58" fmla="*/ 79986 h 513542"/>
              <a:gd name="connsiteX59" fmla="*/ 143171 w 236062"/>
              <a:gd name="connsiteY59" fmla="*/ 116891 h 513542"/>
              <a:gd name="connsiteX60" fmla="*/ 143576 w 236062"/>
              <a:gd name="connsiteY60" fmla="*/ 125510 h 513542"/>
              <a:gd name="connsiteX61" fmla="*/ 143576 w 236062"/>
              <a:gd name="connsiteY61" fmla="*/ 130311 h 513542"/>
              <a:gd name="connsiteX62" fmla="*/ 146353 w 236062"/>
              <a:gd name="connsiteY62" fmla="*/ 129617 h 513542"/>
              <a:gd name="connsiteX63" fmla="*/ 156128 w 236062"/>
              <a:gd name="connsiteY63" fmla="*/ 127766 h 513542"/>
              <a:gd name="connsiteX64" fmla="*/ 172729 w 236062"/>
              <a:gd name="connsiteY64" fmla="*/ 132971 h 513542"/>
              <a:gd name="connsiteX65" fmla="*/ 172729 w 236062"/>
              <a:gd name="connsiteY65" fmla="*/ 136095 h 513542"/>
              <a:gd name="connsiteX66" fmla="*/ 174407 w 236062"/>
              <a:gd name="connsiteY66" fmla="*/ 151539 h 513542"/>
              <a:gd name="connsiteX67" fmla="*/ 180191 w 236062"/>
              <a:gd name="connsiteY67" fmla="*/ 156746 h 513542"/>
              <a:gd name="connsiteX68" fmla="*/ 190777 w 236062"/>
              <a:gd name="connsiteY68" fmla="*/ 161778 h 513542"/>
              <a:gd name="connsiteX69" fmla="*/ 191471 w 236062"/>
              <a:gd name="connsiteY69" fmla="*/ 170339 h 513542"/>
              <a:gd name="connsiteX70" fmla="*/ 190950 w 236062"/>
              <a:gd name="connsiteY70" fmla="*/ 171958 h 513542"/>
              <a:gd name="connsiteX71" fmla="*/ 188521 w 236062"/>
              <a:gd name="connsiteY71" fmla="*/ 186304 h 513542"/>
              <a:gd name="connsiteX72" fmla="*/ 190430 w 236062"/>
              <a:gd name="connsiteY72" fmla="*/ 187056 h 513542"/>
              <a:gd name="connsiteX73" fmla="*/ 205411 w 236062"/>
              <a:gd name="connsiteY73" fmla="*/ 190469 h 513542"/>
              <a:gd name="connsiteX74" fmla="*/ 206626 w 236062"/>
              <a:gd name="connsiteY74" fmla="*/ 195675 h 513542"/>
              <a:gd name="connsiteX75" fmla="*/ 208304 w 236062"/>
              <a:gd name="connsiteY75" fmla="*/ 202384 h 513542"/>
              <a:gd name="connsiteX76" fmla="*/ 222071 w 236062"/>
              <a:gd name="connsiteY76" fmla="*/ 203484 h 513542"/>
              <a:gd name="connsiteX77" fmla="*/ 226177 w 236062"/>
              <a:gd name="connsiteY77" fmla="*/ 201748 h 513542"/>
              <a:gd name="connsiteX78" fmla="*/ 232656 w 236062"/>
              <a:gd name="connsiteY78" fmla="*/ 199608 h 513542"/>
              <a:gd name="connsiteX79" fmla="*/ 235606 w 236062"/>
              <a:gd name="connsiteY79" fmla="*/ 201170 h 513542"/>
              <a:gd name="connsiteX80" fmla="*/ 235953 w 236062"/>
              <a:gd name="connsiteY80" fmla="*/ 202037 h 513542"/>
              <a:gd name="connsiteX81" fmla="*/ 234854 w 236062"/>
              <a:gd name="connsiteY81" fmla="*/ 203136 h 513542"/>
              <a:gd name="connsiteX82" fmla="*/ 234854 w 236062"/>
              <a:gd name="connsiteY82" fmla="*/ 203136 h 513542"/>
              <a:gd name="connsiteX83" fmla="*/ 221550 w 236062"/>
              <a:gd name="connsiteY83" fmla="*/ 224539 h 513542"/>
              <a:gd name="connsiteX84" fmla="*/ 213741 w 236062"/>
              <a:gd name="connsiteY84" fmla="*/ 232348 h 513542"/>
              <a:gd name="connsiteX85" fmla="*/ 207436 w 236062"/>
              <a:gd name="connsiteY85" fmla="*/ 236860 h 513542"/>
              <a:gd name="connsiteX86" fmla="*/ 196272 w 236062"/>
              <a:gd name="connsiteY86" fmla="*/ 243338 h 513542"/>
              <a:gd name="connsiteX87" fmla="*/ 182563 w 236062"/>
              <a:gd name="connsiteY87" fmla="*/ 251032 h 513542"/>
              <a:gd name="connsiteX88" fmla="*/ 164574 w 236062"/>
              <a:gd name="connsiteY88" fmla="*/ 258089 h 513542"/>
              <a:gd name="connsiteX89" fmla="*/ 161045 w 236062"/>
              <a:gd name="connsiteY89" fmla="*/ 258089 h 513542"/>
              <a:gd name="connsiteX90" fmla="*/ 147105 w 236062"/>
              <a:gd name="connsiteY90" fmla="*/ 265782 h 513542"/>
              <a:gd name="connsiteX91" fmla="*/ 146699 w 236062"/>
              <a:gd name="connsiteY91" fmla="*/ 268674 h 513542"/>
              <a:gd name="connsiteX92" fmla="*/ 141725 w 236062"/>
              <a:gd name="connsiteY92" fmla="*/ 308760 h 513542"/>
              <a:gd name="connsiteX93" fmla="*/ 161508 w 236062"/>
              <a:gd name="connsiteY93" fmla="*/ 332534 h 513542"/>
              <a:gd name="connsiteX94" fmla="*/ 164516 w 236062"/>
              <a:gd name="connsiteY94" fmla="*/ 341847 h 513542"/>
              <a:gd name="connsiteX95" fmla="*/ 167003 w 236062"/>
              <a:gd name="connsiteY95" fmla="*/ 350871 h 513542"/>
              <a:gd name="connsiteX96" fmla="*/ 170647 w 236062"/>
              <a:gd name="connsiteY96" fmla="*/ 360300 h 513542"/>
              <a:gd name="connsiteX97" fmla="*/ 165441 w 236062"/>
              <a:gd name="connsiteY97" fmla="*/ 366084 h 513542"/>
              <a:gd name="connsiteX98" fmla="*/ 165441 w 236062"/>
              <a:gd name="connsiteY98" fmla="*/ 369902 h 513542"/>
              <a:gd name="connsiteX99" fmla="*/ 161739 w 236062"/>
              <a:gd name="connsiteY99" fmla="*/ 385231 h 513542"/>
              <a:gd name="connsiteX100" fmla="*/ 159368 w 236062"/>
              <a:gd name="connsiteY100" fmla="*/ 391015 h 513542"/>
              <a:gd name="connsiteX101" fmla="*/ 171515 w 236062"/>
              <a:gd name="connsiteY101" fmla="*/ 412764 h 513542"/>
              <a:gd name="connsiteX102" fmla="*/ 182679 w 236062"/>
              <a:gd name="connsiteY102" fmla="*/ 447066 h 513542"/>
              <a:gd name="connsiteX103" fmla="*/ 186380 w 236062"/>
              <a:gd name="connsiteY103" fmla="*/ 455338 h 513542"/>
              <a:gd name="connsiteX104" fmla="*/ 191008 w 236062"/>
              <a:gd name="connsiteY104" fmla="*/ 467138 h 513542"/>
              <a:gd name="connsiteX105" fmla="*/ 191008 w 236062"/>
              <a:gd name="connsiteY105" fmla="*/ 467138 h 513542"/>
              <a:gd name="connsiteX106" fmla="*/ 167350 w 236062"/>
              <a:gd name="connsiteY106" fmla="*/ 513413 h 513542"/>
              <a:gd name="connsiteX107" fmla="*/ 117141 w 236062"/>
              <a:gd name="connsiteY107" fmla="*/ 324262 h 513542"/>
              <a:gd name="connsiteX108" fmla="*/ 124603 w 236062"/>
              <a:gd name="connsiteY108" fmla="*/ 332129 h 513542"/>
              <a:gd name="connsiteX109" fmla="*/ 129867 w 236062"/>
              <a:gd name="connsiteY109" fmla="*/ 339186 h 513542"/>
              <a:gd name="connsiteX110" fmla="*/ 141089 w 236062"/>
              <a:gd name="connsiteY110" fmla="*/ 370191 h 513542"/>
              <a:gd name="connsiteX111" fmla="*/ 141551 w 236062"/>
              <a:gd name="connsiteY111" fmla="*/ 375628 h 513542"/>
              <a:gd name="connsiteX112" fmla="*/ 154856 w 236062"/>
              <a:gd name="connsiteY112" fmla="*/ 428440 h 513542"/>
              <a:gd name="connsiteX113" fmla="*/ 165672 w 236062"/>
              <a:gd name="connsiteY113" fmla="*/ 472864 h 513542"/>
              <a:gd name="connsiteX114" fmla="*/ 167350 w 236062"/>
              <a:gd name="connsiteY114" fmla="*/ 488482 h 513542"/>
              <a:gd name="connsiteX115" fmla="*/ 169317 w 236062"/>
              <a:gd name="connsiteY115" fmla="*/ 505084 h 513542"/>
              <a:gd name="connsiteX116" fmla="*/ 168044 w 236062"/>
              <a:gd name="connsiteY116" fmla="*/ 510868 h 513542"/>
              <a:gd name="connsiteX117" fmla="*/ 188984 w 236062"/>
              <a:gd name="connsiteY117" fmla="*/ 466849 h 513542"/>
              <a:gd name="connsiteX118" fmla="*/ 184530 w 236062"/>
              <a:gd name="connsiteY118" fmla="*/ 456263 h 513542"/>
              <a:gd name="connsiteX119" fmla="*/ 180365 w 236062"/>
              <a:gd name="connsiteY119" fmla="*/ 446545 h 513542"/>
              <a:gd name="connsiteX120" fmla="*/ 169895 w 236062"/>
              <a:gd name="connsiteY120" fmla="*/ 413921 h 513542"/>
              <a:gd name="connsiteX121" fmla="*/ 157054 w 236062"/>
              <a:gd name="connsiteY121" fmla="*/ 390436 h 513542"/>
              <a:gd name="connsiteX122" fmla="*/ 160235 w 236062"/>
              <a:gd name="connsiteY122" fmla="*/ 383090 h 513542"/>
              <a:gd name="connsiteX123" fmla="*/ 163128 w 236062"/>
              <a:gd name="connsiteY123" fmla="*/ 369613 h 513542"/>
              <a:gd name="connsiteX124" fmla="*/ 163764 w 236062"/>
              <a:gd name="connsiteY124" fmla="*/ 363828 h 513542"/>
              <a:gd name="connsiteX125" fmla="*/ 165614 w 236062"/>
              <a:gd name="connsiteY125" fmla="*/ 363423 h 513542"/>
              <a:gd name="connsiteX126" fmla="*/ 165614 w 236062"/>
              <a:gd name="connsiteY126" fmla="*/ 363423 h 513542"/>
              <a:gd name="connsiteX127" fmla="*/ 168333 w 236062"/>
              <a:gd name="connsiteY127" fmla="*/ 359432 h 513542"/>
              <a:gd name="connsiteX128" fmla="*/ 165846 w 236062"/>
              <a:gd name="connsiteY128" fmla="*/ 352548 h 513542"/>
              <a:gd name="connsiteX129" fmla="*/ 162144 w 236062"/>
              <a:gd name="connsiteY129" fmla="*/ 341384 h 513542"/>
              <a:gd name="connsiteX130" fmla="*/ 160524 w 236062"/>
              <a:gd name="connsiteY130" fmla="*/ 334270 h 513542"/>
              <a:gd name="connsiteX131" fmla="*/ 139353 w 236062"/>
              <a:gd name="connsiteY131" fmla="*/ 308413 h 513542"/>
              <a:gd name="connsiteX132" fmla="*/ 144328 w 236062"/>
              <a:gd name="connsiteY132" fmla="*/ 267922 h 513542"/>
              <a:gd name="connsiteX133" fmla="*/ 144733 w 236062"/>
              <a:gd name="connsiteY133" fmla="*/ 265088 h 513542"/>
              <a:gd name="connsiteX134" fmla="*/ 160929 w 236062"/>
              <a:gd name="connsiteY134" fmla="*/ 255428 h 513542"/>
              <a:gd name="connsiteX135" fmla="*/ 164458 w 236062"/>
              <a:gd name="connsiteY135" fmla="*/ 255428 h 513542"/>
              <a:gd name="connsiteX136" fmla="*/ 180481 w 236062"/>
              <a:gd name="connsiteY136" fmla="*/ 249644 h 513542"/>
              <a:gd name="connsiteX137" fmla="*/ 195404 w 236062"/>
              <a:gd name="connsiteY137" fmla="*/ 240967 h 513542"/>
              <a:gd name="connsiteX138" fmla="*/ 205238 w 236062"/>
              <a:gd name="connsiteY138" fmla="*/ 235761 h 513542"/>
              <a:gd name="connsiteX139" fmla="*/ 212700 w 236062"/>
              <a:gd name="connsiteY139" fmla="*/ 229976 h 513542"/>
              <a:gd name="connsiteX140" fmla="*/ 219178 w 236062"/>
              <a:gd name="connsiteY140" fmla="*/ 224192 h 513542"/>
              <a:gd name="connsiteX141" fmla="*/ 232830 w 236062"/>
              <a:gd name="connsiteY141" fmla="*/ 201517 h 513542"/>
              <a:gd name="connsiteX142" fmla="*/ 232830 w 236062"/>
              <a:gd name="connsiteY142" fmla="*/ 201517 h 513542"/>
              <a:gd name="connsiteX143" fmla="*/ 227045 w 236062"/>
              <a:gd name="connsiteY143" fmla="*/ 203484 h 513542"/>
              <a:gd name="connsiteX144" fmla="*/ 222880 w 236062"/>
              <a:gd name="connsiteY144" fmla="*/ 205219 h 513542"/>
              <a:gd name="connsiteX145" fmla="*/ 206511 w 236062"/>
              <a:gd name="connsiteY145" fmla="*/ 203484 h 513542"/>
              <a:gd name="connsiteX146" fmla="*/ 204371 w 236062"/>
              <a:gd name="connsiteY146" fmla="*/ 194923 h 513542"/>
              <a:gd name="connsiteX147" fmla="*/ 203676 w 236062"/>
              <a:gd name="connsiteY147" fmla="*/ 191626 h 513542"/>
              <a:gd name="connsiteX148" fmla="*/ 190372 w 236062"/>
              <a:gd name="connsiteY148" fmla="*/ 188965 h 513542"/>
              <a:gd name="connsiteX149" fmla="*/ 186612 w 236062"/>
              <a:gd name="connsiteY149" fmla="*/ 187287 h 513542"/>
              <a:gd name="connsiteX150" fmla="*/ 188752 w 236062"/>
              <a:gd name="connsiteY150" fmla="*/ 170917 h 513542"/>
              <a:gd name="connsiteX151" fmla="*/ 189273 w 236062"/>
              <a:gd name="connsiteY151" fmla="*/ 169298 h 513542"/>
              <a:gd name="connsiteX152" fmla="*/ 188868 w 236062"/>
              <a:gd name="connsiteY152" fmla="*/ 162703 h 513542"/>
              <a:gd name="connsiteX153" fmla="*/ 179960 w 236062"/>
              <a:gd name="connsiteY153" fmla="*/ 158654 h 513542"/>
              <a:gd name="connsiteX154" fmla="*/ 172209 w 236062"/>
              <a:gd name="connsiteY154" fmla="*/ 152234 h 513542"/>
              <a:gd name="connsiteX155" fmla="*/ 170589 w 236062"/>
              <a:gd name="connsiteY155" fmla="*/ 134533 h 513542"/>
              <a:gd name="connsiteX156" fmla="*/ 170589 w 236062"/>
              <a:gd name="connsiteY156" fmla="*/ 133723 h 513542"/>
              <a:gd name="connsiteX157" fmla="*/ 155954 w 236062"/>
              <a:gd name="connsiteY157" fmla="*/ 129674 h 513542"/>
              <a:gd name="connsiteX158" fmla="*/ 147163 w 236062"/>
              <a:gd name="connsiteY158" fmla="*/ 131294 h 513542"/>
              <a:gd name="connsiteX159" fmla="*/ 141725 w 236062"/>
              <a:gd name="connsiteY159" fmla="*/ 131294 h 513542"/>
              <a:gd name="connsiteX160" fmla="*/ 141031 w 236062"/>
              <a:gd name="connsiteY160" fmla="*/ 124700 h 513542"/>
              <a:gd name="connsiteX161" fmla="*/ 141031 w 236062"/>
              <a:gd name="connsiteY161" fmla="*/ 117122 h 513542"/>
              <a:gd name="connsiteX162" fmla="*/ 163706 w 236062"/>
              <a:gd name="connsiteY162" fmla="*/ 77788 h 513542"/>
              <a:gd name="connsiteX163" fmla="*/ 170531 w 236062"/>
              <a:gd name="connsiteY163" fmla="*/ 47940 h 513542"/>
              <a:gd name="connsiteX164" fmla="*/ 170011 w 236062"/>
              <a:gd name="connsiteY164" fmla="*/ 38569 h 513542"/>
              <a:gd name="connsiteX165" fmla="*/ 160235 w 236062"/>
              <a:gd name="connsiteY165" fmla="*/ 26364 h 513542"/>
              <a:gd name="connsiteX166" fmla="*/ 153005 w 236062"/>
              <a:gd name="connsiteY166" fmla="*/ 10110 h 513542"/>
              <a:gd name="connsiteX167" fmla="*/ 141956 w 236062"/>
              <a:gd name="connsiteY167" fmla="*/ 1549 h 513542"/>
              <a:gd name="connsiteX168" fmla="*/ 136634 w 236062"/>
              <a:gd name="connsiteY168" fmla="*/ 3169 h 513542"/>
              <a:gd name="connsiteX169" fmla="*/ 132990 w 236062"/>
              <a:gd name="connsiteY169" fmla="*/ 5367 h 513542"/>
              <a:gd name="connsiteX170" fmla="*/ 125933 w 236062"/>
              <a:gd name="connsiteY170" fmla="*/ 19018 h 513542"/>
              <a:gd name="connsiteX171" fmla="*/ 123735 w 236062"/>
              <a:gd name="connsiteY171" fmla="*/ 21737 h 513542"/>
              <a:gd name="connsiteX172" fmla="*/ 128536 w 236062"/>
              <a:gd name="connsiteY172" fmla="*/ 35677 h 513542"/>
              <a:gd name="connsiteX173" fmla="*/ 129867 w 236062"/>
              <a:gd name="connsiteY173" fmla="*/ 41462 h 513542"/>
              <a:gd name="connsiteX174" fmla="*/ 126281 w 236062"/>
              <a:gd name="connsiteY174" fmla="*/ 43197 h 513542"/>
              <a:gd name="connsiteX175" fmla="*/ 114712 w 236062"/>
              <a:gd name="connsiteY175" fmla="*/ 36661 h 513542"/>
              <a:gd name="connsiteX176" fmla="*/ 112918 w 236062"/>
              <a:gd name="connsiteY176" fmla="*/ 35677 h 513542"/>
              <a:gd name="connsiteX177" fmla="*/ 93830 w 236062"/>
              <a:gd name="connsiteY177" fmla="*/ 46841 h 513542"/>
              <a:gd name="connsiteX178" fmla="*/ 87525 w 236062"/>
              <a:gd name="connsiteY178" fmla="*/ 51411 h 513542"/>
              <a:gd name="connsiteX179" fmla="*/ 75956 w 236062"/>
              <a:gd name="connsiteY179" fmla="*/ 67549 h 513542"/>
              <a:gd name="connsiteX180" fmla="*/ 71733 w 236062"/>
              <a:gd name="connsiteY180" fmla="*/ 84382 h 513542"/>
              <a:gd name="connsiteX181" fmla="*/ 68437 w 236062"/>
              <a:gd name="connsiteY181" fmla="*/ 100694 h 513542"/>
              <a:gd name="connsiteX182" fmla="*/ 62652 w 236062"/>
              <a:gd name="connsiteY182" fmla="*/ 122675 h 513542"/>
              <a:gd name="connsiteX183" fmla="*/ 58776 w 236062"/>
              <a:gd name="connsiteY183" fmla="*/ 134244 h 513542"/>
              <a:gd name="connsiteX184" fmla="*/ 58314 w 236062"/>
              <a:gd name="connsiteY184" fmla="*/ 136500 h 513542"/>
              <a:gd name="connsiteX185" fmla="*/ 54264 w 236062"/>
              <a:gd name="connsiteY185" fmla="*/ 137772 h 513542"/>
              <a:gd name="connsiteX186" fmla="*/ 41481 w 236062"/>
              <a:gd name="connsiteY186" fmla="*/ 135632 h 513542"/>
              <a:gd name="connsiteX187" fmla="*/ 36101 w 236062"/>
              <a:gd name="connsiteY187" fmla="*/ 134533 h 513542"/>
              <a:gd name="connsiteX188" fmla="*/ 35002 w 236062"/>
              <a:gd name="connsiteY188" fmla="*/ 143731 h 513542"/>
              <a:gd name="connsiteX189" fmla="*/ 31647 w 236062"/>
              <a:gd name="connsiteY189" fmla="*/ 161084 h 513542"/>
              <a:gd name="connsiteX190" fmla="*/ 29044 w 236062"/>
              <a:gd name="connsiteY190" fmla="*/ 174966 h 513542"/>
              <a:gd name="connsiteX191" fmla="*/ 23260 w 236062"/>
              <a:gd name="connsiteY191" fmla="*/ 190700 h 513542"/>
              <a:gd name="connsiteX192" fmla="*/ 12501 w 236062"/>
              <a:gd name="connsiteY192" fmla="*/ 210367 h 513542"/>
              <a:gd name="connsiteX193" fmla="*/ 12038 w 236062"/>
              <a:gd name="connsiteY193" fmla="*/ 211003 h 513542"/>
              <a:gd name="connsiteX194" fmla="*/ 3014 w 236062"/>
              <a:gd name="connsiteY194" fmla="*/ 218350 h 513542"/>
              <a:gd name="connsiteX195" fmla="*/ 27656 w 236062"/>
              <a:gd name="connsiteY195" fmla="*/ 244032 h 513542"/>
              <a:gd name="connsiteX196" fmla="*/ 59412 w 236062"/>
              <a:gd name="connsiteY196" fmla="*/ 300084 h 513542"/>
              <a:gd name="connsiteX197" fmla="*/ 55306 w 236062"/>
              <a:gd name="connsiteY197" fmla="*/ 344971 h 513542"/>
              <a:gd name="connsiteX198" fmla="*/ 53686 w 236062"/>
              <a:gd name="connsiteY198" fmla="*/ 350755 h 513542"/>
              <a:gd name="connsiteX199" fmla="*/ 60916 w 236062"/>
              <a:gd name="connsiteY199" fmla="*/ 355672 h 513542"/>
              <a:gd name="connsiteX200" fmla="*/ 66123 w 236062"/>
              <a:gd name="connsiteY200" fmla="*/ 358159 h 513542"/>
              <a:gd name="connsiteX201" fmla="*/ 91343 w 236062"/>
              <a:gd name="connsiteY201" fmla="*/ 355267 h 513542"/>
              <a:gd name="connsiteX202" fmla="*/ 101581 w 236062"/>
              <a:gd name="connsiteY202" fmla="*/ 344740 h 513542"/>
              <a:gd name="connsiteX203" fmla="*/ 114191 w 236062"/>
              <a:gd name="connsiteY203" fmla="*/ 328254 h 513542"/>
              <a:gd name="connsiteX204" fmla="*/ 117141 w 236062"/>
              <a:gd name="connsiteY204" fmla="*/ 324205 h 51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236062" h="513542">
                <a:moveTo>
                  <a:pt x="167350" y="513413"/>
                </a:moveTo>
                <a:lnTo>
                  <a:pt x="167350" y="513413"/>
                </a:lnTo>
                <a:lnTo>
                  <a:pt x="166424" y="513413"/>
                </a:lnTo>
                <a:cubicBezTo>
                  <a:pt x="165846" y="513304"/>
                  <a:pt x="165441" y="512725"/>
                  <a:pt x="165557" y="512129"/>
                </a:cubicBezTo>
                <a:cubicBezTo>
                  <a:pt x="165557" y="512118"/>
                  <a:pt x="165557" y="512100"/>
                  <a:pt x="165557" y="512083"/>
                </a:cubicBezTo>
                <a:lnTo>
                  <a:pt x="165557" y="511678"/>
                </a:lnTo>
                <a:cubicBezTo>
                  <a:pt x="166135" y="508844"/>
                  <a:pt x="166598" y="506414"/>
                  <a:pt x="167118" y="504621"/>
                </a:cubicBezTo>
                <a:cubicBezTo>
                  <a:pt x="167697" y="499386"/>
                  <a:pt x="167003" y="494088"/>
                  <a:pt x="165094" y="489177"/>
                </a:cubicBezTo>
                <a:cubicBezTo>
                  <a:pt x="162954" y="483780"/>
                  <a:pt x="162376" y="477874"/>
                  <a:pt x="163532" y="472170"/>
                </a:cubicBezTo>
                <a:cubicBezTo>
                  <a:pt x="166656" y="463957"/>
                  <a:pt x="164458" y="440530"/>
                  <a:pt x="153294" y="430175"/>
                </a:cubicBezTo>
                <a:cubicBezTo>
                  <a:pt x="142130" y="419821"/>
                  <a:pt x="140452" y="392461"/>
                  <a:pt x="139238" y="375859"/>
                </a:cubicBezTo>
                <a:cubicBezTo>
                  <a:pt x="139238" y="373893"/>
                  <a:pt x="139238" y="372042"/>
                  <a:pt x="138833" y="370480"/>
                </a:cubicBezTo>
                <a:cubicBezTo>
                  <a:pt x="138601" y="359744"/>
                  <a:pt x="134900" y="349373"/>
                  <a:pt x="128247" y="340922"/>
                </a:cubicBezTo>
                <a:cubicBezTo>
                  <a:pt x="126107" y="338637"/>
                  <a:pt x="124140" y="336161"/>
                  <a:pt x="122463" y="333518"/>
                </a:cubicBezTo>
                <a:cubicBezTo>
                  <a:pt x="120669" y="330741"/>
                  <a:pt x="117951" y="326634"/>
                  <a:pt x="116678" y="326634"/>
                </a:cubicBezTo>
                <a:cubicBezTo>
                  <a:pt x="116678" y="326634"/>
                  <a:pt x="116042" y="326634"/>
                  <a:pt x="115579" y="329411"/>
                </a:cubicBezTo>
                <a:cubicBezTo>
                  <a:pt x="114249" y="336525"/>
                  <a:pt x="108176" y="341905"/>
                  <a:pt x="102275" y="347169"/>
                </a:cubicBezTo>
                <a:cubicBezTo>
                  <a:pt x="98747" y="350171"/>
                  <a:pt x="95507" y="353543"/>
                  <a:pt x="92673" y="357234"/>
                </a:cubicBezTo>
                <a:cubicBezTo>
                  <a:pt x="86541" y="365910"/>
                  <a:pt x="76650" y="367125"/>
                  <a:pt x="64561" y="360820"/>
                </a:cubicBezTo>
                <a:cubicBezTo>
                  <a:pt x="62767" y="359895"/>
                  <a:pt x="61032" y="359143"/>
                  <a:pt x="59470" y="358449"/>
                </a:cubicBezTo>
                <a:cubicBezTo>
                  <a:pt x="55306" y="356598"/>
                  <a:pt x="51950" y="355151"/>
                  <a:pt x="51025" y="352143"/>
                </a:cubicBezTo>
                <a:cubicBezTo>
                  <a:pt x="50446" y="349402"/>
                  <a:pt x="51140" y="346556"/>
                  <a:pt x="52818" y="344335"/>
                </a:cubicBezTo>
                <a:cubicBezTo>
                  <a:pt x="59586" y="330973"/>
                  <a:pt x="60974" y="315546"/>
                  <a:pt x="56752" y="301183"/>
                </a:cubicBezTo>
                <a:cubicBezTo>
                  <a:pt x="47844" y="270004"/>
                  <a:pt x="37316" y="251147"/>
                  <a:pt x="26268" y="246635"/>
                </a:cubicBezTo>
                <a:cubicBezTo>
                  <a:pt x="15219" y="242123"/>
                  <a:pt x="4865" y="228761"/>
                  <a:pt x="64" y="219044"/>
                </a:cubicBezTo>
                <a:cubicBezTo>
                  <a:pt x="-167" y="218656"/>
                  <a:pt x="-167" y="218159"/>
                  <a:pt x="64" y="217771"/>
                </a:cubicBezTo>
                <a:cubicBezTo>
                  <a:pt x="3072" y="214879"/>
                  <a:pt x="6254" y="212230"/>
                  <a:pt x="9667" y="209847"/>
                </a:cubicBezTo>
                <a:cubicBezTo>
                  <a:pt x="10649" y="206376"/>
                  <a:pt x="15451" y="188907"/>
                  <a:pt x="22508" y="188907"/>
                </a:cubicBezTo>
                <a:cubicBezTo>
                  <a:pt x="25110" y="188907"/>
                  <a:pt x="25690" y="181329"/>
                  <a:pt x="26152" y="175255"/>
                </a:cubicBezTo>
                <a:cubicBezTo>
                  <a:pt x="26094" y="170108"/>
                  <a:pt x="27136" y="165000"/>
                  <a:pt x="29160" y="160274"/>
                </a:cubicBezTo>
                <a:cubicBezTo>
                  <a:pt x="31184" y="155143"/>
                  <a:pt x="32226" y="149659"/>
                  <a:pt x="32110" y="144135"/>
                </a:cubicBezTo>
                <a:cubicBezTo>
                  <a:pt x="32573" y="137136"/>
                  <a:pt x="32862" y="132856"/>
                  <a:pt x="35465" y="132856"/>
                </a:cubicBezTo>
                <a:cubicBezTo>
                  <a:pt x="37431" y="133075"/>
                  <a:pt x="39341" y="133463"/>
                  <a:pt x="41249" y="134012"/>
                </a:cubicBezTo>
                <a:cubicBezTo>
                  <a:pt x="45241" y="135094"/>
                  <a:pt x="49348" y="135794"/>
                  <a:pt x="53512" y="136095"/>
                </a:cubicBezTo>
                <a:cubicBezTo>
                  <a:pt x="55364" y="136095"/>
                  <a:pt x="55768" y="135690"/>
                  <a:pt x="55826" y="135632"/>
                </a:cubicBezTo>
                <a:lnTo>
                  <a:pt x="55826" y="135285"/>
                </a:lnTo>
                <a:cubicBezTo>
                  <a:pt x="56116" y="130727"/>
                  <a:pt x="57446" y="126302"/>
                  <a:pt x="59817" y="122386"/>
                </a:cubicBezTo>
                <a:cubicBezTo>
                  <a:pt x="62883" y="115560"/>
                  <a:pt x="66701" y="107057"/>
                  <a:pt x="65601" y="101851"/>
                </a:cubicBezTo>
                <a:cubicBezTo>
                  <a:pt x="65081" y="95766"/>
                  <a:pt x="66238" y="89652"/>
                  <a:pt x="69015" y="84209"/>
                </a:cubicBezTo>
                <a:cubicBezTo>
                  <a:pt x="71329" y="79159"/>
                  <a:pt x="72717" y="73727"/>
                  <a:pt x="73122" y="68186"/>
                </a:cubicBezTo>
                <a:cubicBezTo>
                  <a:pt x="73122" y="58757"/>
                  <a:pt x="79600" y="54419"/>
                  <a:pt x="85847" y="50196"/>
                </a:cubicBezTo>
                <a:cubicBezTo>
                  <a:pt x="87872" y="48820"/>
                  <a:pt x="89781" y="47333"/>
                  <a:pt x="91631" y="45742"/>
                </a:cubicBezTo>
                <a:cubicBezTo>
                  <a:pt x="93020" y="44585"/>
                  <a:pt x="105398" y="34174"/>
                  <a:pt x="112224" y="34174"/>
                </a:cubicBezTo>
                <a:cubicBezTo>
                  <a:pt x="113902" y="34069"/>
                  <a:pt x="115463" y="35047"/>
                  <a:pt x="116100" y="36603"/>
                </a:cubicBezTo>
                <a:cubicBezTo>
                  <a:pt x="118355" y="39634"/>
                  <a:pt x="121827" y="41491"/>
                  <a:pt x="125586" y="41635"/>
                </a:cubicBezTo>
                <a:cubicBezTo>
                  <a:pt x="126396" y="41635"/>
                  <a:pt x="127032" y="41635"/>
                  <a:pt x="127206" y="41172"/>
                </a:cubicBezTo>
                <a:cubicBezTo>
                  <a:pt x="127380" y="40710"/>
                  <a:pt x="127206" y="39553"/>
                  <a:pt x="125933" y="37644"/>
                </a:cubicBezTo>
                <a:cubicBezTo>
                  <a:pt x="122405" y="33132"/>
                  <a:pt x="120843" y="27405"/>
                  <a:pt x="121595" y="21737"/>
                </a:cubicBezTo>
                <a:cubicBezTo>
                  <a:pt x="122000" y="19932"/>
                  <a:pt x="123215" y="18405"/>
                  <a:pt x="124892" y="17572"/>
                </a:cubicBezTo>
                <a:cubicBezTo>
                  <a:pt x="127784" y="16126"/>
                  <a:pt x="129809" y="9647"/>
                  <a:pt x="130676" y="6350"/>
                </a:cubicBezTo>
                <a:cubicBezTo>
                  <a:pt x="130503" y="6142"/>
                  <a:pt x="130388" y="5911"/>
                  <a:pt x="130330" y="5656"/>
                </a:cubicBezTo>
                <a:cubicBezTo>
                  <a:pt x="130272" y="5205"/>
                  <a:pt x="130503" y="4754"/>
                  <a:pt x="130908" y="4557"/>
                </a:cubicBezTo>
                <a:cubicBezTo>
                  <a:pt x="132470" y="3776"/>
                  <a:pt x="133916" y="2886"/>
                  <a:pt x="135362" y="1896"/>
                </a:cubicBezTo>
                <a:cubicBezTo>
                  <a:pt x="137329" y="554"/>
                  <a:pt x="139642" y="-151"/>
                  <a:pt x="142014" y="-128"/>
                </a:cubicBezTo>
                <a:cubicBezTo>
                  <a:pt x="148319" y="-128"/>
                  <a:pt x="155318" y="4499"/>
                  <a:pt x="155318" y="10689"/>
                </a:cubicBezTo>
                <a:cubicBezTo>
                  <a:pt x="155318" y="16878"/>
                  <a:pt x="155954" y="24687"/>
                  <a:pt x="160293" y="24687"/>
                </a:cubicBezTo>
                <a:cubicBezTo>
                  <a:pt x="166077" y="24687"/>
                  <a:pt x="172325" y="24687"/>
                  <a:pt x="172325" y="39148"/>
                </a:cubicBezTo>
                <a:cubicBezTo>
                  <a:pt x="172325" y="42156"/>
                  <a:pt x="172325" y="44932"/>
                  <a:pt x="172787" y="48345"/>
                </a:cubicBezTo>
                <a:cubicBezTo>
                  <a:pt x="173713" y="59336"/>
                  <a:pt x="174581" y="70673"/>
                  <a:pt x="165326" y="79986"/>
                </a:cubicBezTo>
                <a:cubicBezTo>
                  <a:pt x="153005" y="92307"/>
                  <a:pt x="141146" y="111916"/>
                  <a:pt x="143171" y="116891"/>
                </a:cubicBezTo>
                <a:cubicBezTo>
                  <a:pt x="143923" y="119696"/>
                  <a:pt x="144097" y="122640"/>
                  <a:pt x="143576" y="125510"/>
                </a:cubicBezTo>
                <a:cubicBezTo>
                  <a:pt x="143576" y="127418"/>
                  <a:pt x="143171" y="129790"/>
                  <a:pt x="143576" y="130311"/>
                </a:cubicBezTo>
                <a:cubicBezTo>
                  <a:pt x="143981" y="130831"/>
                  <a:pt x="144039" y="130773"/>
                  <a:pt x="146353" y="129617"/>
                </a:cubicBezTo>
                <a:cubicBezTo>
                  <a:pt x="149419" y="128298"/>
                  <a:pt x="152773" y="127667"/>
                  <a:pt x="156128" y="127766"/>
                </a:cubicBezTo>
                <a:cubicBezTo>
                  <a:pt x="162896" y="127766"/>
                  <a:pt x="170936" y="129732"/>
                  <a:pt x="172729" y="132971"/>
                </a:cubicBezTo>
                <a:cubicBezTo>
                  <a:pt x="173308" y="133932"/>
                  <a:pt x="173308" y="135135"/>
                  <a:pt x="172729" y="136095"/>
                </a:cubicBezTo>
                <a:cubicBezTo>
                  <a:pt x="171225" y="141261"/>
                  <a:pt x="171804" y="146825"/>
                  <a:pt x="174407" y="151539"/>
                </a:cubicBezTo>
                <a:cubicBezTo>
                  <a:pt x="175333" y="153391"/>
                  <a:pt x="177357" y="156572"/>
                  <a:pt x="180191" y="156746"/>
                </a:cubicBezTo>
                <a:cubicBezTo>
                  <a:pt x="184298" y="156722"/>
                  <a:pt x="188174" y="158573"/>
                  <a:pt x="190777" y="161778"/>
                </a:cubicBezTo>
                <a:cubicBezTo>
                  <a:pt x="192339" y="164358"/>
                  <a:pt x="192628" y="167539"/>
                  <a:pt x="191471" y="170339"/>
                </a:cubicBezTo>
                <a:lnTo>
                  <a:pt x="190950" y="171958"/>
                </a:lnTo>
                <a:cubicBezTo>
                  <a:pt x="189273" y="176759"/>
                  <a:pt x="186844" y="183990"/>
                  <a:pt x="188521" y="186304"/>
                </a:cubicBezTo>
                <a:cubicBezTo>
                  <a:pt x="188521" y="186651"/>
                  <a:pt x="189215" y="187056"/>
                  <a:pt x="190430" y="187056"/>
                </a:cubicBezTo>
                <a:cubicBezTo>
                  <a:pt x="195809" y="187056"/>
                  <a:pt x="202519" y="187056"/>
                  <a:pt x="205411" y="190469"/>
                </a:cubicBezTo>
                <a:cubicBezTo>
                  <a:pt x="206568" y="191932"/>
                  <a:pt x="207031" y="193847"/>
                  <a:pt x="206626" y="195675"/>
                </a:cubicBezTo>
                <a:cubicBezTo>
                  <a:pt x="206163" y="198052"/>
                  <a:pt x="206800" y="200510"/>
                  <a:pt x="208304" y="202384"/>
                </a:cubicBezTo>
                <a:cubicBezTo>
                  <a:pt x="210906" y="205450"/>
                  <a:pt x="215997" y="205913"/>
                  <a:pt x="222071" y="203484"/>
                </a:cubicBezTo>
                <a:cubicBezTo>
                  <a:pt x="223632" y="202905"/>
                  <a:pt x="224963" y="202269"/>
                  <a:pt x="226177" y="201748"/>
                </a:cubicBezTo>
                <a:cubicBezTo>
                  <a:pt x="228202" y="200661"/>
                  <a:pt x="230401" y="199938"/>
                  <a:pt x="232656" y="199608"/>
                </a:cubicBezTo>
                <a:cubicBezTo>
                  <a:pt x="233871" y="199567"/>
                  <a:pt x="234970" y="200163"/>
                  <a:pt x="235606" y="201170"/>
                </a:cubicBezTo>
                <a:cubicBezTo>
                  <a:pt x="235838" y="201396"/>
                  <a:pt x="235953" y="201714"/>
                  <a:pt x="235953" y="202037"/>
                </a:cubicBezTo>
                <a:cubicBezTo>
                  <a:pt x="235953" y="202645"/>
                  <a:pt x="235433" y="203136"/>
                  <a:pt x="234854" y="203136"/>
                </a:cubicBezTo>
                <a:lnTo>
                  <a:pt x="234854" y="203136"/>
                </a:lnTo>
                <a:cubicBezTo>
                  <a:pt x="230805" y="207938"/>
                  <a:pt x="221550" y="219796"/>
                  <a:pt x="221550" y="224539"/>
                </a:cubicBezTo>
                <a:cubicBezTo>
                  <a:pt x="221550" y="229282"/>
                  <a:pt x="217386" y="230728"/>
                  <a:pt x="213741" y="232348"/>
                </a:cubicBezTo>
                <a:cubicBezTo>
                  <a:pt x="211022" y="233563"/>
                  <a:pt x="207957" y="234835"/>
                  <a:pt x="207436" y="236860"/>
                </a:cubicBezTo>
                <a:cubicBezTo>
                  <a:pt x="206221" y="239868"/>
                  <a:pt x="201651" y="241429"/>
                  <a:pt x="196272" y="243338"/>
                </a:cubicBezTo>
                <a:cubicBezTo>
                  <a:pt x="190892" y="245247"/>
                  <a:pt x="184703" y="247330"/>
                  <a:pt x="182563" y="251032"/>
                </a:cubicBezTo>
                <a:cubicBezTo>
                  <a:pt x="179902" y="255717"/>
                  <a:pt x="173829" y="258089"/>
                  <a:pt x="164574" y="258089"/>
                </a:cubicBezTo>
                <a:lnTo>
                  <a:pt x="161045" y="258089"/>
                </a:lnTo>
                <a:cubicBezTo>
                  <a:pt x="161045" y="258089"/>
                  <a:pt x="148203" y="258089"/>
                  <a:pt x="147105" y="265782"/>
                </a:cubicBezTo>
                <a:lnTo>
                  <a:pt x="146699" y="268674"/>
                </a:lnTo>
                <a:cubicBezTo>
                  <a:pt x="145311" y="278334"/>
                  <a:pt x="141725" y="304017"/>
                  <a:pt x="141725" y="308760"/>
                </a:cubicBezTo>
                <a:cubicBezTo>
                  <a:pt x="141725" y="313503"/>
                  <a:pt x="156417" y="330510"/>
                  <a:pt x="161508" y="332534"/>
                </a:cubicBezTo>
                <a:cubicBezTo>
                  <a:pt x="164805" y="333865"/>
                  <a:pt x="164631" y="337914"/>
                  <a:pt x="164516" y="341847"/>
                </a:cubicBezTo>
                <a:cubicBezTo>
                  <a:pt x="164400" y="345781"/>
                  <a:pt x="164226" y="349482"/>
                  <a:pt x="167003" y="350871"/>
                </a:cubicBezTo>
                <a:cubicBezTo>
                  <a:pt x="170300" y="352728"/>
                  <a:pt x="171861" y="356690"/>
                  <a:pt x="170647" y="360300"/>
                </a:cubicBezTo>
                <a:cubicBezTo>
                  <a:pt x="169953" y="363307"/>
                  <a:pt x="167813" y="366084"/>
                  <a:pt x="165441" y="366084"/>
                </a:cubicBezTo>
                <a:cubicBezTo>
                  <a:pt x="165326" y="367357"/>
                  <a:pt x="165326" y="368629"/>
                  <a:pt x="165441" y="369902"/>
                </a:cubicBezTo>
                <a:cubicBezTo>
                  <a:pt x="165441" y="374587"/>
                  <a:pt x="166020" y="381471"/>
                  <a:pt x="161739" y="385231"/>
                </a:cubicBezTo>
                <a:cubicBezTo>
                  <a:pt x="160120" y="386688"/>
                  <a:pt x="159252" y="388823"/>
                  <a:pt x="159368" y="391015"/>
                </a:cubicBezTo>
                <a:cubicBezTo>
                  <a:pt x="160408" y="399581"/>
                  <a:pt x="164747" y="407396"/>
                  <a:pt x="171515" y="412764"/>
                </a:cubicBezTo>
                <a:cubicBezTo>
                  <a:pt x="182679" y="422829"/>
                  <a:pt x="182679" y="438621"/>
                  <a:pt x="182679" y="447066"/>
                </a:cubicBezTo>
                <a:cubicBezTo>
                  <a:pt x="182794" y="450201"/>
                  <a:pt x="184125" y="453174"/>
                  <a:pt x="186380" y="455338"/>
                </a:cubicBezTo>
                <a:cubicBezTo>
                  <a:pt x="189331" y="458577"/>
                  <a:pt x="190950" y="462771"/>
                  <a:pt x="191008" y="467138"/>
                </a:cubicBezTo>
                <a:lnTo>
                  <a:pt x="191008" y="467138"/>
                </a:lnTo>
                <a:cubicBezTo>
                  <a:pt x="189910" y="472112"/>
                  <a:pt x="178283" y="513413"/>
                  <a:pt x="167350" y="513413"/>
                </a:cubicBezTo>
                <a:close/>
                <a:moveTo>
                  <a:pt x="117141" y="324262"/>
                </a:moveTo>
                <a:cubicBezTo>
                  <a:pt x="119339" y="324262"/>
                  <a:pt x="121421" y="327270"/>
                  <a:pt x="124603" y="332129"/>
                </a:cubicBezTo>
                <a:cubicBezTo>
                  <a:pt x="126165" y="334628"/>
                  <a:pt x="127900" y="336988"/>
                  <a:pt x="129867" y="339186"/>
                </a:cubicBezTo>
                <a:cubicBezTo>
                  <a:pt x="136924" y="348008"/>
                  <a:pt x="140857" y="358905"/>
                  <a:pt x="141089" y="370191"/>
                </a:cubicBezTo>
                <a:cubicBezTo>
                  <a:pt x="141089" y="371753"/>
                  <a:pt x="141378" y="373546"/>
                  <a:pt x="141551" y="375628"/>
                </a:cubicBezTo>
                <a:cubicBezTo>
                  <a:pt x="142708" y="390783"/>
                  <a:pt x="144791" y="419069"/>
                  <a:pt x="154856" y="428440"/>
                </a:cubicBezTo>
                <a:cubicBezTo>
                  <a:pt x="166887" y="439546"/>
                  <a:pt x="169085" y="463899"/>
                  <a:pt x="165672" y="472864"/>
                </a:cubicBezTo>
                <a:cubicBezTo>
                  <a:pt x="164805" y="478128"/>
                  <a:pt x="165383" y="483531"/>
                  <a:pt x="167350" y="488482"/>
                </a:cubicBezTo>
                <a:cubicBezTo>
                  <a:pt x="169375" y="493769"/>
                  <a:pt x="170069" y="499473"/>
                  <a:pt x="169317" y="505084"/>
                </a:cubicBezTo>
                <a:cubicBezTo>
                  <a:pt x="168912" y="506588"/>
                  <a:pt x="168507" y="508670"/>
                  <a:pt x="168044" y="510868"/>
                </a:cubicBezTo>
                <a:cubicBezTo>
                  <a:pt x="174927" y="509191"/>
                  <a:pt x="184414" y="483392"/>
                  <a:pt x="188984" y="466849"/>
                </a:cubicBezTo>
                <a:cubicBezTo>
                  <a:pt x="188926" y="462875"/>
                  <a:pt x="187306" y="459086"/>
                  <a:pt x="184530" y="456263"/>
                </a:cubicBezTo>
                <a:cubicBezTo>
                  <a:pt x="181984" y="453649"/>
                  <a:pt x="180538" y="450190"/>
                  <a:pt x="180365" y="446545"/>
                </a:cubicBezTo>
                <a:cubicBezTo>
                  <a:pt x="180365" y="437869"/>
                  <a:pt x="180365" y="423408"/>
                  <a:pt x="169895" y="413921"/>
                </a:cubicBezTo>
                <a:cubicBezTo>
                  <a:pt x="162664" y="408090"/>
                  <a:pt x="158095" y="399651"/>
                  <a:pt x="157054" y="390436"/>
                </a:cubicBezTo>
                <a:cubicBezTo>
                  <a:pt x="156996" y="387643"/>
                  <a:pt x="158152" y="384959"/>
                  <a:pt x="160235" y="383090"/>
                </a:cubicBezTo>
                <a:cubicBezTo>
                  <a:pt x="163648" y="380256"/>
                  <a:pt x="163301" y="374124"/>
                  <a:pt x="163128" y="369613"/>
                </a:cubicBezTo>
                <a:cubicBezTo>
                  <a:pt x="163128" y="366605"/>
                  <a:pt x="163128" y="364811"/>
                  <a:pt x="163764" y="363828"/>
                </a:cubicBezTo>
                <a:cubicBezTo>
                  <a:pt x="164226" y="363325"/>
                  <a:pt x="164978" y="363163"/>
                  <a:pt x="165614" y="363423"/>
                </a:cubicBezTo>
                <a:lnTo>
                  <a:pt x="165614" y="363423"/>
                </a:lnTo>
                <a:cubicBezTo>
                  <a:pt x="166424" y="363423"/>
                  <a:pt x="167755" y="361861"/>
                  <a:pt x="168333" y="359432"/>
                </a:cubicBezTo>
                <a:cubicBezTo>
                  <a:pt x="169259" y="356840"/>
                  <a:pt x="168218" y="353960"/>
                  <a:pt x="165846" y="352548"/>
                </a:cubicBezTo>
                <a:cubicBezTo>
                  <a:pt x="161797" y="350524"/>
                  <a:pt x="161970" y="345665"/>
                  <a:pt x="162144" y="341384"/>
                </a:cubicBezTo>
                <a:cubicBezTo>
                  <a:pt x="162318" y="337104"/>
                  <a:pt x="162144" y="334964"/>
                  <a:pt x="160524" y="334270"/>
                </a:cubicBezTo>
                <a:cubicBezTo>
                  <a:pt x="155145" y="332129"/>
                  <a:pt x="139353" y="314660"/>
                  <a:pt x="139353" y="308413"/>
                </a:cubicBezTo>
                <a:cubicBezTo>
                  <a:pt x="139353" y="303497"/>
                  <a:pt x="142882" y="278623"/>
                  <a:pt x="144328" y="267922"/>
                </a:cubicBezTo>
                <a:lnTo>
                  <a:pt x="144733" y="265088"/>
                </a:lnTo>
                <a:cubicBezTo>
                  <a:pt x="146121" y="255543"/>
                  <a:pt x="160350" y="255428"/>
                  <a:pt x="160929" y="255428"/>
                </a:cubicBezTo>
                <a:lnTo>
                  <a:pt x="164458" y="255428"/>
                </a:lnTo>
                <a:cubicBezTo>
                  <a:pt x="172845" y="255428"/>
                  <a:pt x="178225" y="253461"/>
                  <a:pt x="180481" y="249644"/>
                </a:cubicBezTo>
                <a:cubicBezTo>
                  <a:pt x="184414" y="245230"/>
                  <a:pt x="189620" y="242187"/>
                  <a:pt x="195404" y="240967"/>
                </a:cubicBezTo>
                <a:cubicBezTo>
                  <a:pt x="199859" y="239405"/>
                  <a:pt x="204428" y="237843"/>
                  <a:pt x="205238" y="235761"/>
                </a:cubicBezTo>
                <a:cubicBezTo>
                  <a:pt x="206915" y="232961"/>
                  <a:pt x="209576" y="230890"/>
                  <a:pt x="212700" y="229976"/>
                </a:cubicBezTo>
                <a:cubicBezTo>
                  <a:pt x="216055" y="228472"/>
                  <a:pt x="219178" y="227026"/>
                  <a:pt x="219178" y="224192"/>
                </a:cubicBezTo>
                <a:cubicBezTo>
                  <a:pt x="219178" y="218407"/>
                  <a:pt x="229879" y="205045"/>
                  <a:pt x="232830" y="201517"/>
                </a:cubicBezTo>
                <a:lnTo>
                  <a:pt x="232830" y="201517"/>
                </a:lnTo>
                <a:cubicBezTo>
                  <a:pt x="230805" y="201852"/>
                  <a:pt x="228839" y="202518"/>
                  <a:pt x="227045" y="203484"/>
                </a:cubicBezTo>
                <a:cubicBezTo>
                  <a:pt x="225831" y="204004"/>
                  <a:pt x="224442" y="204640"/>
                  <a:pt x="222880" y="205219"/>
                </a:cubicBezTo>
                <a:cubicBezTo>
                  <a:pt x="215824" y="208111"/>
                  <a:pt x="209750" y="207359"/>
                  <a:pt x="206511" y="203484"/>
                </a:cubicBezTo>
                <a:cubicBezTo>
                  <a:pt x="204544" y="201089"/>
                  <a:pt x="203792" y="197954"/>
                  <a:pt x="204371" y="194923"/>
                </a:cubicBezTo>
                <a:cubicBezTo>
                  <a:pt x="204659" y="193777"/>
                  <a:pt x="204371" y="192563"/>
                  <a:pt x="203676" y="191626"/>
                </a:cubicBezTo>
                <a:cubicBezTo>
                  <a:pt x="201420" y="188965"/>
                  <a:pt x="194999" y="188965"/>
                  <a:pt x="190372" y="188965"/>
                </a:cubicBezTo>
                <a:cubicBezTo>
                  <a:pt x="188926" y="189086"/>
                  <a:pt x="187480" y="188450"/>
                  <a:pt x="186612" y="187287"/>
                </a:cubicBezTo>
                <a:cubicBezTo>
                  <a:pt x="184298" y="184048"/>
                  <a:pt x="186612" y="177049"/>
                  <a:pt x="188752" y="170917"/>
                </a:cubicBezTo>
                <a:lnTo>
                  <a:pt x="189273" y="169298"/>
                </a:lnTo>
                <a:cubicBezTo>
                  <a:pt x="190198" y="167157"/>
                  <a:pt x="190025" y="164710"/>
                  <a:pt x="188868" y="162703"/>
                </a:cubicBezTo>
                <a:cubicBezTo>
                  <a:pt x="186670" y="160100"/>
                  <a:pt x="183373" y="158620"/>
                  <a:pt x="179960" y="158654"/>
                </a:cubicBezTo>
                <a:cubicBezTo>
                  <a:pt x="176431" y="158053"/>
                  <a:pt x="173481" y="155606"/>
                  <a:pt x="172209" y="152234"/>
                </a:cubicBezTo>
                <a:cubicBezTo>
                  <a:pt x="169201" y="146819"/>
                  <a:pt x="168623" y="140399"/>
                  <a:pt x="170589" y="134533"/>
                </a:cubicBezTo>
                <a:cubicBezTo>
                  <a:pt x="170763" y="134296"/>
                  <a:pt x="170763" y="133961"/>
                  <a:pt x="170589" y="133723"/>
                </a:cubicBezTo>
                <a:cubicBezTo>
                  <a:pt x="166366" y="130629"/>
                  <a:pt x="161160" y="129188"/>
                  <a:pt x="155954" y="129674"/>
                </a:cubicBezTo>
                <a:cubicBezTo>
                  <a:pt x="152947" y="129564"/>
                  <a:pt x="149939" y="130114"/>
                  <a:pt x="147163" y="131294"/>
                </a:cubicBezTo>
                <a:cubicBezTo>
                  <a:pt x="144154" y="132798"/>
                  <a:pt x="142361" y="132219"/>
                  <a:pt x="141725" y="131294"/>
                </a:cubicBezTo>
                <a:cubicBezTo>
                  <a:pt x="141089" y="130369"/>
                  <a:pt x="140742" y="127650"/>
                  <a:pt x="141031" y="124700"/>
                </a:cubicBezTo>
                <a:cubicBezTo>
                  <a:pt x="141609" y="122207"/>
                  <a:pt x="141609" y="119615"/>
                  <a:pt x="141031" y="117122"/>
                </a:cubicBezTo>
                <a:cubicBezTo>
                  <a:pt x="138196" y="110239"/>
                  <a:pt x="152600" y="88836"/>
                  <a:pt x="163706" y="77788"/>
                </a:cubicBezTo>
                <a:cubicBezTo>
                  <a:pt x="172209" y="69227"/>
                  <a:pt x="171341" y="58410"/>
                  <a:pt x="170531" y="47940"/>
                </a:cubicBezTo>
                <a:cubicBezTo>
                  <a:pt x="170531" y="44817"/>
                  <a:pt x="170011" y="41635"/>
                  <a:pt x="170011" y="38569"/>
                </a:cubicBezTo>
                <a:cubicBezTo>
                  <a:pt x="170011" y="26364"/>
                  <a:pt x="165672" y="26364"/>
                  <a:pt x="160235" y="26364"/>
                </a:cubicBezTo>
                <a:cubicBezTo>
                  <a:pt x="153005" y="26364"/>
                  <a:pt x="153005" y="15374"/>
                  <a:pt x="153005" y="10110"/>
                </a:cubicBezTo>
                <a:cubicBezTo>
                  <a:pt x="153005" y="4846"/>
                  <a:pt x="147220" y="1549"/>
                  <a:pt x="141956" y="1549"/>
                </a:cubicBezTo>
                <a:cubicBezTo>
                  <a:pt x="140047" y="1526"/>
                  <a:pt x="138196" y="2093"/>
                  <a:pt x="136634" y="3169"/>
                </a:cubicBezTo>
                <a:cubicBezTo>
                  <a:pt x="135478" y="3985"/>
                  <a:pt x="134263" y="4719"/>
                  <a:pt x="132990" y="5367"/>
                </a:cubicBezTo>
                <a:cubicBezTo>
                  <a:pt x="132990" y="6929"/>
                  <a:pt x="130503" y="16936"/>
                  <a:pt x="125933" y="19018"/>
                </a:cubicBezTo>
                <a:cubicBezTo>
                  <a:pt x="124835" y="19573"/>
                  <a:pt x="124083" y="20563"/>
                  <a:pt x="123735" y="21737"/>
                </a:cubicBezTo>
                <a:cubicBezTo>
                  <a:pt x="123504" y="26827"/>
                  <a:pt x="125239" y="31813"/>
                  <a:pt x="128536" y="35677"/>
                </a:cubicBezTo>
                <a:cubicBezTo>
                  <a:pt x="130214" y="38222"/>
                  <a:pt x="130619" y="40131"/>
                  <a:pt x="129867" y="41462"/>
                </a:cubicBezTo>
                <a:cubicBezTo>
                  <a:pt x="129115" y="42688"/>
                  <a:pt x="127727" y="43365"/>
                  <a:pt x="126281" y="43197"/>
                </a:cubicBezTo>
                <a:cubicBezTo>
                  <a:pt x="121595" y="43064"/>
                  <a:pt x="117257" y="40617"/>
                  <a:pt x="114712" y="36661"/>
                </a:cubicBezTo>
                <a:cubicBezTo>
                  <a:pt x="114422" y="35967"/>
                  <a:pt x="113670" y="35562"/>
                  <a:pt x="112918" y="35677"/>
                </a:cubicBezTo>
                <a:cubicBezTo>
                  <a:pt x="108696" y="35677"/>
                  <a:pt x="100077" y="41462"/>
                  <a:pt x="93830" y="46841"/>
                </a:cubicBezTo>
                <a:cubicBezTo>
                  <a:pt x="91805" y="48501"/>
                  <a:pt x="89723" y="50028"/>
                  <a:pt x="87525" y="51411"/>
                </a:cubicBezTo>
                <a:cubicBezTo>
                  <a:pt x="81740" y="55460"/>
                  <a:pt x="75956" y="59336"/>
                  <a:pt x="75956" y="67549"/>
                </a:cubicBezTo>
                <a:cubicBezTo>
                  <a:pt x="75551" y="73369"/>
                  <a:pt x="74163" y="79072"/>
                  <a:pt x="71733" y="84382"/>
                </a:cubicBezTo>
                <a:cubicBezTo>
                  <a:pt x="69131" y="89409"/>
                  <a:pt x="67973" y="95054"/>
                  <a:pt x="68437" y="100694"/>
                </a:cubicBezTo>
                <a:cubicBezTo>
                  <a:pt x="69709" y="106479"/>
                  <a:pt x="65949" y="115156"/>
                  <a:pt x="62652" y="122675"/>
                </a:cubicBezTo>
                <a:cubicBezTo>
                  <a:pt x="60627" y="126256"/>
                  <a:pt x="59355" y="130178"/>
                  <a:pt x="58776" y="134244"/>
                </a:cubicBezTo>
                <a:cubicBezTo>
                  <a:pt x="59008" y="135025"/>
                  <a:pt x="58834" y="135864"/>
                  <a:pt x="58314" y="136500"/>
                </a:cubicBezTo>
                <a:cubicBezTo>
                  <a:pt x="57214" y="137495"/>
                  <a:pt x="55710" y="137957"/>
                  <a:pt x="54264" y="137772"/>
                </a:cubicBezTo>
                <a:cubicBezTo>
                  <a:pt x="49926" y="137454"/>
                  <a:pt x="45645" y="136737"/>
                  <a:pt x="41481" y="135632"/>
                </a:cubicBezTo>
                <a:cubicBezTo>
                  <a:pt x="39687" y="135140"/>
                  <a:pt x="37895" y="134776"/>
                  <a:pt x="36101" y="134533"/>
                </a:cubicBezTo>
                <a:cubicBezTo>
                  <a:pt x="35407" y="137547"/>
                  <a:pt x="35060" y="140636"/>
                  <a:pt x="35002" y="143731"/>
                </a:cubicBezTo>
                <a:cubicBezTo>
                  <a:pt x="35118" y="149688"/>
                  <a:pt x="33961" y="155600"/>
                  <a:pt x="31647" y="161084"/>
                </a:cubicBezTo>
                <a:cubicBezTo>
                  <a:pt x="29912" y="165497"/>
                  <a:pt x="28986" y="170212"/>
                  <a:pt x="29044" y="174966"/>
                </a:cubicBezTo>
                <a:cubicBezTo>
                  <a:pt x="28466" y="183065"/>
                  <a:pt x="27830" y="190700"/>
                  <a:pt x="23260" y="190700"/>
                </a:cubicBezTo>
                <a:cubicBezTo>
                  <a:pt x="18690" y="190700"/>
                  <a:pt x="14525" y="202789"/>
                  <a:pt x="12501" y="210367"/>
                </a:cubicBezTo>
                <a:cubicBezTo>
                  <a:pt x="12443" y="210639"/>
                  <a:pt x="12269" y="210876"/>
                  <a:pt x="12038" y="211003"/>
                </a:cubicBezTo>
                <a:cubicBezTo>
                  <a:pt x="8857" y="213219"/>
                  <a:pt x="5849" y="215671"/>
                  <a:pt x="3014" y="218350"/>
                </a:cubicBezTo>
                <a:cubicBezTo>
                  <a:pt x="8220" y="229375"/>
                  <a:pt x="16839" y="238398"/>
                  <a:pt x="27656" y="244032"/>
                </a:cubicBezTo>
                <a:cubicBezTo>
                  <a:pt x="39225" y="248892"/>
                  <a:pt x="50215" y="267749"/>
                  <a:pt x="59412" y="300084"/>
                </a:cubicBezTo>
                <a:cubicBezTo>
                  <a:pt x="63809" y="315025"/>
                  <a:pt x="62363" y="331082"/>
                  <a:pt x="55306" y="344971"/>
                </a:cubicBezTo>
                <a:cubicBezTo>
                  <a:pt x="54033" y="346614"/>
                  <a:pt x="53454" y="348690"/>
                  <a:pt x="53686" y="350755"/>
                </a:cubicBezTo>
                <a:cubicBezTo>
                  <a:pt x="54322" y="352780"/>
                  <a:pt x="57214" y="354052"/>
                  <a:pt x="60916" y="355672"/>
                </a:cubicBezTo>
                <a:cubicBezTo>
                  <a:pt x="62536" y="356424"/>
                  <a:pt x="64329" y="357176"/>
                  <a:pt x="66123" y="358159"/>
                </a:cubicBezTo>
                <a:cubicBezTo>
                  <a:pt x="77113" y="363944"/>
                  <a:pt x="85905" y="363018"/>
                  <a:pt x="91343" y="355267"/>
                </a:cubicBezTo>
                <a:cubicBezTo>
                  <a:pt x="94351" y="351380"/>
                  <a:pt x="97763" y="347851"/>
                  <a:pt x="101581" y="344740"/>
                </a:cubicBezTo>
                <a:cubicBezTo>
                  <a:pt x="107424" y="340725"/>
                  <a:pt x="111820" y="334952"/>
                  <a:pt x="114191" y="328254"/>
                </a:cubicBezTo>
                <a:cubicBezTo>
                  <a:pt x="114075" y="327560"/>
                  <a:pt x="114712" y="324205"/>
                  <a:pt x="117141" y="32420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3" name="Forma libre: forma 332">
            <a:extLst>
              <a:ext uri="{FF2B5EF4-FFF2-40B4-BE49-F238E27FC236}">
                <a16:creationId xmlns:a16="http://schemas.microsoft.com/office/drawing/2014/main" id="{594EF646-7435-0CA2-D719-8323DABF3A97}"/>
              </a:ext>
            </a:extLst>
          </p:cNvPr>
          <p:cNvSpPr/>
          <p:nvPr/>
        </p:nvSpPr>
        <p:spPr>
          <a:xfrm>
            <a:off x="8599484" y="3686458"/>
            <a:ext cx="81839" cy="46948"/>
          </a:xfrm>
          <a:custGeom>
            <a:avLst/>
            <a:gdLst>
              <a:gd name="connsiteX0" fmla="*/ 46513 w 81839"/>
              <a:gd name="connsiteY0" fmla="*/ 46819 h 46948"/>
              <a:gd name="connsiteX1" fmla="*/ 36853 w 81839"/>
              <a:gd name="connsiteY1" fmla="*/ 44968 h 46948"/>
              <a:gd name="connsiteX2" fmla="*/ 26730 w 81839"/>
              <a:gd name="connsiteY2" fmla="*/ 43811 h 46948"/>
              <a:gd name="connsiteX3" fmla="*/ 23375 w 81839"/>
              <a:gd name="connsiteY3" fmla="*/ 44274 h 46948"/>
              <a:gd name="connsiteX4" fmla="*/ 13716 w 81839"/>
              <a:gd name="connsiteY4" fmla="*/ 41208 h 46948"/>
              <a:gd name="connsiteX5" fmla="*/ 8451 w 81839"/>
              <a:gd name="connsiteY5" fmla="*/ 39473 h 46948"/>
              <a:gd name="connsiteX6" fmla="*/ 64 w 81839"/>
              <a:gd name="connsiteY6" fmla="*/ 32532 h 46948"/>
              <a:gd name="connsiteX7" fmla="*/ 64 w 81839"/>
              <a:gd name="connsiteY7" fmla="*/ 31375 h 46948"/>
              <a:gd name="connsiteX8" fmla="*/ 6138 w 81839"/>
              <a:gd name="connsiteY8" fmla="*/ 19806 h 46948"/>
              <a:gd name="connsiteX9" fmla="*/ 20714 w 81839"/>
              <a:gd name="connsiteY9" fmla="*/ 5171 h 46948"/>
              <a:gd name="connsiteX10" fmla="*/ 25863 w 81839"/>
              <a:gd name="connsiteY10" fmla="*/ 2395 h 46948"/>
              <a:gd name="connsiteX11" fmla="*/ 49463 w 81839"/>
              <a:gd name="connsiteY11" fmla="*/ 5923 h 46948"/>
              <a:gd name="connsiteX12" fmla="*/ 59759 w 81839"/>
              <a:gd name="connsiteY12" fmla="*/ 7022 h 46948"/>
              <a:gd name="connsiteX13" fmla="*/ 64618 w 81839"/>
              <a:gd name="connsiteY13" fmla="*/ 6502 h 46948"/>
              <a:gd name="connsiteX14" fmla="*/ 81219 w 81839"/>
              <a:gd name="connsiteY14" fmla="*/ 14716 h 46948"/>
              <a:gd name="connsiteX15" fmla="*/ 81625 w 81839"/>
              <a:gd name="connsiteY15" fmla="*/ 15699 h 46948"/>
              <a:gd name="connsiteX16" fmla="*/ 80931 w 81839"/>
              <a:gd name="connsiteY16" fmla="*/ 16567 h 46948"/>
              <a:gd name="connsiteX17" fmla="*/ 77517 w 81839"/>
              <a:gd name="connsiteY17" fmla="*/ 18129 h 46948"/>
              <a:gd name="connsiteX18" fmla="*/ 80236 w 81839"/>
              <a:gd name="connsiteY18" fmla="*/ 41902 h 46948"/>
              <a:gd name="connsiteX19" fmla="*/ 72254 w 81839"/>
              <a:gd name="connsiteY19" fmla="*/ 45952 h 46948"/>
              <a:gd name="connsiteX20" fmla="*/ 72254 w 81839"/>
              <a:gd name="connsiteY20" fmla="*/ 45952 h 46948"/>
              <a:gd name="connsiteX21" fmla="*/ 66469 w 81839"/>
              <a:gd name="connsiteY21" fmla="*/ 45489 h 46948"/>
              <a:gd name="connsiteX22" fmla="*/ 52587 w 81839"/>
              <a:gd name="connsiteY22" fmla="*/ 45489 h 46948"/>
              <a:gd name="connsiteX23" fmla="*/ 46513 w 81839"/>
              <a:gd name="connsiteY23" fmla="*/ 46819 h 46948"/>
              <a:gd name="connsiteX24" fmla="*/ 29680 w 81839"/>
              <a:gd name="connsiteY24" fmla="*/ 41035 h 46948"/>
              <a:gd name="connsiteX25" fmla="*/ 37489 w 81839"/>
              <a:gd name="connsiteY25" fmla="*/ 42654 h 46948"/>
              <a:gd name="connsiteX26" fmla="*/ 46513 w 81839"/>
              <a:gd name="connsiteY26" fmla="*/ 44390 h 46948"/>
              <a:gd name="connsiteX27" fmla="*/ 52297 w 81839"/>
              <a:gd name="connsiteY27" fmla="*/ 43638 h 46948"/>
              <a:gd name="connsiteX28" fmla="*/ 59354 w 81839"/>
              <a:gd name="connsiteY28" fmla="*/ 42712 h 46948"/>
              <a:gd name="connsiteX29" fmla="*/ 67048 w 81839"/>
              <a:gd name="connsiteY29" fmla="*/ 43349 h 46948"/>
              <a:gd name="connsiteX30" fmla="*/ 72485 w 81839"/>
              <a:gd name="connsiteY30" fmla="*/ 43869 h 46948"/>
              <a:gd name="connsiteX31" fmla="*/ 72485 w 81839"/>
              <a:gd name="connsiteY31" fmla="*/ 43869 h 46948"/>
              <a:gd name="connsiteX32" fmla="*/ 78269 w 81839"/>
              <a:gd name="connsiteY32" fmla="*/ 40919 h 46948"/>
              <a:gd name="connsiteX33" fmla="*/ 75030 w 81839"/>
              <a:gd name="connsiteY33" fmla="*/ 18244 h 46948"/>
              <a:gd name="connsiteX34" fmla="*/ 75493 w 81839"/>
              <a:gd name="connsiteY34" fmla="*/ 16763 h 46948"/>
              <a:gd name="connsiteX35" fmla="*/ 75551 w 81839"/>
              <a:gd name="connsiteY35" fmla="*/ 16740 h 46948"/>
              <a:gd name="connsiteX36" fmla="*/ 78443 w 81839"/>
              <a:gd name="connsiteY36" fmla="*/ 15352 h 46948"/>
              <a:gd name="connsiteX37" fmla="*/ 64618 w 81839"/>
              <a:gd name="connsiteY37" fmla="*/ 8931 h 46948"/>
              <a:gd name="connsiteX38" fmla="*/ 60106 w 81839"/>
              <a:gd name="connsiteY38" fmla="*/ 9394 h 46948"/>
              <a:gd name="connsiteX39" fmla="*/ 55479 w 81839"/>
              <a:gd name="connsiteY39" fmla="*/ 9857 h 46948"/>
              <a:gd name="connsiteX40" fmla="*/ 48422 w 81839"/>
              <a:gd name="connsiteY40" fmla="*/ 8006 h 46948"/>
              <a:gd name="connsiteX41" fmla="*/ 27251 w 81839"/>
              <a:gd name="connsiteY41" fmla="*/ 4304 h 46948"/>
              <a:gd name="connsiteX42" fmla="*/ 21466 w 81839"/>
              <a:gd name="connsiteY42" fmla="*/ 7369 h 46948"/>
              <a:gd name="connsiteX43" fmla="*/ 8046 w 81839"/>
              <a:gd name="connsiteY43" fmla="*/ 20789 h 46948"/>
              <a:gd name="connsiteX44" fmla="*/ 2262 w 81839"/>
              <a:gd name="connsiteY44" fmla="*/ 32011 h 46948"/>
              <a:gd name="connsiteX45" fmla="*/ 8046 w 81839"/>
              <a:gd name="connsiteY45" fmla="*/ 37101 h 46948"/>
              <a:gd name="connsiteX46" fmla="*/ 14930 w 81839"/>
              <a:gd name="connsiteY46" fmla="*/ 39010 h 46948"/>
              <a:gd name="connsiteX47" fmla="*/ 23549 w 81839"/>
              <a:gd name="connsiteY47" fmla="*/ 41787 h 46948"/>
              <a:gd name="connsiteX48" fmla="*/ 26383 w 81839"/>
              <a:gd name="connsiteY48" fmla="*/ 41440 h 46948"/>
              <a:gd name="connsiteX49" fmla="*/ 29680 w 81839"/>
              <a:gd name="connsiteY49" fmla="*/ 41208 h 4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1839" h="46948">
                <a:moveTo>
                  <a:pt x="46513" y="46819"/>
                </a:moveTo>
                <a:cubicBezTo>
                  <a:pt x="43216" y="46715"/>
                  <a:pt x="39976" y="46090"/>
                  <a:pt x="36853" y="44968"/>
                </a:cubicBezTo>
                <a:cubicBezTo>
                  <a:pt x="33672" y="43655"/>
                  <a:pt x="30143" y="43256"/>
                  <a:pt x="26730" y="43811"/>
                </a:cubicBezTo>
                <a:cubicBezTo>
                  <a:pt x="25631" y="44106"/>
                  <a:pt x="24532" y="44262"/>
                  <a:pt x="23375" y="44274"/>
                </a:cubicBezTo>
                <a:cubicBezTo>
                  <a:pt x="19962" y="44066"/>
                  <a:pt x="16608" y="43013"/>
                  <a:pt x="13716" y="41208"/>
                </a:cubicBezTo>
                <a:cubicBezTo>
                  <a:pt x="12154" y="40132"/>
                  <a:pt x="10360" y="39525"/>
                  <a:pt x="8451" y="39473"/>
                </a:cubicBezTo>
                <a:cubicBezTo>
                  <a:pt x="5501" y="40167"/>
                  <a:pt x="2262" y="37390"/>
                  <a:pt x="64" y="32532"/>
                </a:cubicBezTo>
                <a:cubicBezTo>
                  <a:pt x="-167" y="32173"/>
                  <a:pt x="-167" y="31733"/>
                  <a:pt x="64" y="31375"/>
                </a:cubicBezTo>
                <a:cubicBezTo>
                  <a:pt x="2551" y="27771"/>
                  <a:pt x="4576" y="23890"/>
                  <a:pt x="6138" y="19806"/>
                </a:cubicBezTo>
                <a:cubicBezTo>
                  <a:pt x="8567" y="13009"/>
                  <a:pt x="13946" y="7653"/>
                  <a:pt x="20714" y="5171"/>
                </a:cubicBezTo>
                <a:cubicBezTo>
                  <a:pt x="22507" y="4448"/>
                  <a:pt x="24243" y="3511"/>
                  <a:pt x="25863" y="2395"/>
                </a:cubicBezTo>
                <a:cubicBezTo>
                  <a:pt x="31647" y="-2175"/>
                  <a:pt x="37432" y="-266"/>
                  <a:pt x="49463" y="5923"/>
                </a:cubicBezTo>
                <a:cubicBezTo>
                  <a:pt x="52703" y="7439"/>
                  <a:pt x="56289" y="7826"/>
                  <a:pt x="59759" y="7022"/>
                </a:cubicBezTo>
                <a:cubicBezTo>
                  <a:pt x="61379" y="6721"/>
                  <a:pt x="62998" y="6548"/>
                  <a:pt x="64618" y="6502"/>
                </a:cubicBezTo>
                <a:cubicBezTo>
                  <a:pt x="71039" y="6970"/>
                  <a:pt x="76939" y="9920"/>
                  <a:pt x="81219" y="14716"/>
                </a:cubicBezTo>
                <a:cubicBezTo>
                  <a:pt x="81509" y="14953"/>
                  <a:pt x="81683" y="15323"/>
                  <a:pt x="81625" y="15699"/>
                </a:cubicBezTo>
                <a:cubicBezTo>
                  <a:pt x="81567" y="16081"/>
                  <a:pt x="81277" y="16399"/>
                  <a:pt x="80931" y="16567"/>
                </a:cubicBezTo>
                <a:lnTo>
                  <a:pt x="77517" y="18129"/>
                </a:lnTo>
                <a:cubicBezTo>
                  <a:pt x="79137" y="21946"/>
                  <a:pt x="84227" y="34961"/>
                  <a:pt x="80236" y="41902"/>
                </a:cubicBezTo>
                <a:cubicBezTo>
                  <a:pt x="78617" y="44702"/>
                  <a:pt x="75493" y="46281"/>
                  <a:pt x="72254" y="45952"/>
                </a:cubicBezTo>
                <a:lnTo>
                  <a:pt x="72254" y="45952"/>
                </a:lnTo>
                <a:cubicBezTo>
                  <a:pt x="70345" y="45905"/>
                  <a:pt x="68378" y="45749"/>
                  <a:pt x="66469" y="45489"/>
                </a:cubicBezTo>
                <a:cubicBezTo>
                  <a:pt x="61900" y="44650"/>
                  <a:pt x="57156" y="44650"/>
                  <a:pt x="52587" y="45489"/>
                </a:cubicBezTo>
                <a:cubicBezTo>
                  <a:pt x="50620" y="46200"/>
                  <a:pt x="48595" y="46646"/>
                  <a:pt x="46513" y="46819"/>
                </a:cubicBezTo>
                <a:close/>
                <a:moveTo>
                  <a:pt x="29680" y="41035"/>
                </a:moveTo>
                <a:cubicBezTo>
                  <a:pt x="32341" y="41139"/>
                  <a:pt x="35002" y="41683"/>
                  <a:pt x="37489" y="42654"/>
                </a:cubicBezTo>
                <a:cubicBezTo>
                  <a:pt x="40382" y="43713"/>
                  <a:pt x="43447" y="44297"/>
                  <a:pt x="46513" y="44390"/>
                </a:cubicBezTo>
                <a:cubicBezTo>
                  <a:pt x="48479" y="44407"/>
                  <a:pt x="50389" y="44152"/>
                  <a:pt x="52297" y="43638"/>
                </a:cubicBezTo>
                <a:cubicBezTo>
                  <a:pt x="54611" y="42990"/>
                  <a:pt x="56983" y="42677"/>
                  <a:pt x="59354" y="42712"/>
                </a:cubicBezTo>
                <a:cubicBezTo>
                  <a:pt x="61957" y="42764"/>
                  <a:pt x="64502" y="42978"/>
                  <a:pt x="67048" y="43349"/>
                </a:cubicBezTo>
                <a:cubicBezTo>
                  <a:pt x="68841" y="43620"/>
                  <a:pt x="70692" y="43794"/>
                  <a:pt x="72485" y="43869"/>
                </a:cubicBezTo>
                <a:lnTo>
                  <a:pt x="72485" y="43869"/>
                </a:lnTo>
                <a:cubicBezTo>
                  <a:pt x="74857" y="44164"/>
                  <a:pt x="77113" y="42996"/>
                  <a:pt x="78269" y="40919"/>
                </a:cubicBezTo>
                <a:cubicBezTo>
                  <a:pt x="82261" y="33920"/>
                  <a:pt x="75088" y="18360"/>
                  <a:pt x="75030" y="18244"/>
                </a:cubicBezTo>
                <a:cubicBezTo>
                  <a:pt x="74741" y="17706"/>
                  <a:pt x="74972" y="17041"/>
                  <a:pt x="75493" y="16763"/>
                </a:cubicBezTo>
                <a:cubicBezTo>
                  <a:pt x="75493" y="16758"/>
                  <a:pt x="75551" y="16746"/>
                  <a:pt x="75551" y="16740"/>
                </a:cubicBezTo>
                <a:lnTo>
                  <a:pt x="78443" y="15352"/>
                </a:lnTo>
                <a:cubicBezTo>
                  <a:pt x="74857" y="11499"/>
                  <a:pt x="69882" y="9203"/>
                  <a:pt x="64618" y="8931"/>
                </a:cubicBezTo>
                <a:cubicBezTo>
                  <a:pt x="63114" y="8966"/>
                  <a:pt x="61610" y="9122"/>
                  <a:pt x="60106" y="9394"/>
                </a:cubicBezTo>
                <a:cubicBezTo>
                  <a:pt x="58602" y="9637"/>
                  <a:pt x="57041" y="9793"/>
                  <a:pt x="55479" y="9857"/>
                </a:cubicBezTo>
                <a:cubicBezTo>
                  <a:pt x="52991" y="9868"/>
                  <a:pt x="50562" y="9226"/>
                  <a:pt x="48422" y="8006"/>
                </a:cubicBezTo>
                <a:cubicBezTo>
                  <a:pt x="37605" y="2221"/>
                  <a:pt x="32399" y="312"/>
                  <a:pt x="27251" y="4304"/>
                </a:cubicBezTo>
                <a:cubicBezTo>
                  <a:pt x="25457" y="5541"/>
                  <a:pt x="23491" y="6571"/>
                  <a:pt x="21466" y="7369"/>
                </a:cubicBezTo>
                <a:cubicBezTo>
                  <a:pt x="15162" y="9562"/>
                  <a:pt x="10244" y="14502"/>
                  <a:pt x="8046" y="20789"/>
                </a:cubicBezTo>
                <a:cubicBezTo>
                  <a:pt x="6485" y="24717"/>
                  <a:pt x="4576" y="28477"/>
                  <a:pt x="2262" y="32011"/>
                </a:cubicBezTo>
                <a:cubicBezTo>
                  <a:pt x="4113" y="35713"/>
                  <a:pt x="6485" y="37795"/>
                  <a:pt x="8046" y="37101"/>
                </a:cubicBezTo>
                <a:cubicBezTo>
                  <a:pt x="10476" y="36910"/>
                  <a:pt x="12906" y="37587"/>
                  <a:pt x="14930" y="39010"/>
                </a:cubicBezTo>
                <a:cubicBezTo>
                  <a:pt x="17533" y="40653"/>
                  <a:pt x="20483" y="41607"/>
                  <a:pt x="23549" y="41787"/>
                </a:cubicBezTo>
                <a:cubicBezTo>
                  <a:pt x="24532" y="41781"/>
                  <a:pt x="25457" y="41665"/>
                  <a:pt x="26383" y="41440"/>
                </a:cubicBezTo>
                <a:cubicBezTo>
                  <a:pt x="27482" y="41231"/>
                  <a:pt x="28581" y="41156"/>
                  <a:pt x="29680" y="4120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4" name="Forma libre: forma 333">
            <a:extLst>
              <a:ext uri="{FF2B5EF4-FFF2-40B4-BE49-F238E27FC236}">
                <a16:creationId xmlns:a16="http://schemas.microsoft.com/office/drawing/2014/main" id="{7F364864-7AD4-E3C0-9653-8135C473B392}"/>
              </a:ext>
            </a:extLst>
          </p:cNvPr>
          <p:cNvSpPr/>
          <p:nvPr/>
        </p:nvSpPr>
        <p:spPr>
          <a:xfrm>
            <a:off x="8942486" y="3830921"/>
            <a:ext cx="199486" cy="417071"/>
          </a:xfrm>
          <a:custGeom>
            <a:avLst/>
            <a:gdLst>
              <a:gd name="connsiteX0" fmla="*/ 78284 w 199486"/>
              <a:gd name="connsiteY0" fmla="*/ 416939 h 417071"/>
              <a:gd name="connsiteX1" fmla="*/ 67988 w 199486"/>
              <a:gd name="connsiteY1" fmla="*/ 402536 h 417071"/>
              <a:gd name="connsiteX2" fmla="*/ 74351 w 199486"/>
              <a:gd name="connsiteY2" fmla="*/ 386513 h 417071"/>
              <a:gd name="connsiteX3" fmla="*/ 77243 w 199486"/>
              <a:gd name="connsiteY3" fmla="*/ 380728 h 417071"/>
              <a:gd name="connsiteX4" fmla="*/ 76144 w 199486"/>
              <a:gd name="connsiteY4" fmla="*/ 379456 h 417071"/>
              <a:gd name="connsiteX5" fmla="*/ 73946 w 199486"/>
              <a:gd name="connsiteY5" fmla="*/ 378067 h 417071"/>
              <a:gd name="connsiteX6" fmla="*/ 63765 w 199486"/>
              <a:gd name="connsiteY6" fmla="*/ 370027 h 417071"/>
              <a:gd name="connsiteX7" fmla="*/ 63765 w 199486"/>
              <a:gd name="connsiteY7" fmla="*/ 369102 h 417071"/>
              <a:gd name="connsiteX8" fmla="*/ 64344 w 199486"/>
              <a:gd name="connsiteY8" fmla="*/ 368350 h 417071"/>
              <a:gd name="connsiteX9" fmla="*/ 80540 w 199486"/>
              <a:gd name="connsiteY9" fmla="*/ 356145 h 417071"/>
              <a:gd name="connsiteX10" fmla="*/ 84879 w 199486"/>
              <a:gd name="connsiteY10" fmla="*/ 353021 h 417071"/>
              <a:gd name="connsiteX11" fmla="*/ 95522 w 199486"/>
              <a:gd name="connsiteY11" fmla="*/ 354930 h 417071"/>
              <a:gd name="connsiteX12" fmla="*/ 107843 w 199486"/>
              <a:gd name="connsiteY12" fmla="*/ 357012 h 417071"/>
              <a:gd name="connsiteX13" fmla="*/ 111776 w 199486"/>
              <a:gd name="connsiteY13" fmla="*/ 355624 h 417071"/>
              <a:gd name="connsiteX14" fmla="*/ 107495 w 199486"/>
              <a:gd name="connsiteY14" fmla="*/ 344055 h 417071"/>
              <a:gd name="connsiteX15" fmla="*/ 103620 w 199486"/>
              <a:gd name="connsiteY15" fmla="*/ 331850 h 417071"/>
              <a:gd name="connsiteX16" fmla="*/ 113107 w 199486"/>
              <a:gd name="connsiteY16" fmla="*/ 330867 h 417071"/>
              <a:gd name="connsiteX17" fmla="*/ 121320 w 199486"/>
              <a:gd name="connsiteY17" fmla="*/ 332024 h 417071"/>
              <a:gd name="connsiteX18" fmla="*/ 131906 w 199486"/>
              <a:gd name="connsiteY18" fmla="*/ 323347 h 417071"/>
              <a:gd name="connsiteX19" fmla="*/ 136129 w 199486"/>
              <a:gd name="connsiteY19" fmla="*/ 315654 h 417071"/>
              <a:gd name="connsiteX20" fmla="*/ 144979 w 199486"/>
              <a:gd name="connsiteY20" fmla="*/ 308192 h 417071"/>
              <a:gd name="connsiteX21" fmla="*/ 155102 w 199486"/>
              <a:gd name="connsiteY21" fmla="*/ 285806 h 417071"/>
              <a:gd name="connsiteX22" fmla="*/ 146251 w 199486"/>
              <a:gd name="connsiteY22" fmla="*/ 240051 h 417071"/>
              <a:gd name="connsiteX23" fmla="*/ 141393 w 199486"/>
              <a:gd name="connsiteY23" fmla="*/ 213327 h 417071"/>
              <a:gd name="connsiteX24" fmla="*/ 134625 w 199486"/>
              <a:gd name="connsiteY24" fmla="*/ 208352 h 417071"/>
              <a:gd name="connsiteX25" fmla="*/ 118659 w 199486"/>
              <a:gd name="connsiteY25" fmla="*/ 192098 h 417071"/>
              <a:gd name="connsiteX26" fmla="*/ 106570 w 199486"/>
              <a:gd name="connsiteY26" fmla="*/ 176075 h 417071"/>
              <a:gd name="connsiteX27" fmla="*/ 96158 w 199486"/>
              <a:gd name="connsiteY27" fmla="*/ 162771 h 417071"/>
              <a:gd name="connsiteX28" fmla="*/ 89333 w 199486"/>
              <a:gd name="connsiteY28" fmla="*/ 151896 h 417071"/>
              <a:gd name="connsiteX29" fmla="*/ 82275 w 199486"/>
              <a:gd name="connsiteY29" fmla="*/ 138129 h 417071"/>
              <a:gd name="connsiteX30" fmla="*/ 69318 w 199486"/>
              <a:gd name="connsiteY30" fmla="*/ 128238 h 417071"/>
              <a:gd name="connsiteX31" fmla="*/ 52948 w 199486"/>
              <a:gd name="connsiteY31" fmla="*/ 111752 h 417071"/>
              <a:gd name="connsiteX32" fmla="*/ 65153 w 199486"/>
              <a:gd name="connsiteY32" fmla="*/ 105043 h 417071"/>
              <a:gd name="connsiteX33" fmla="*/ 73599 w 199486"/>
              <a:gd name="connsiteY33" fmla="*/ 100068 h 417071"/>
              <a:gd name="connsiteX34" fmla="*/ 70360 w 199486"/>
              <a:gd name="connsiteY34" fmla="*/ 91970 h 417071"/>
              <a:gd name="connsiteX35" fmla="*/ 64980 w 199486"/>
              <a:gd name="connsiteY35" fmla="*/ 79475 h 417071"/>
              <a:gd name="connsiteX36" fmla="*/ 57229 w 199486"/>
              <a:gd name="connsiteY36" fmla="*/ 71956 h 417071"/>
              <a:gd name="connsiteX37" fmla="*/ 47684 w 199486"/>
              <a:gd name="connsiteY37" fmla="*/ 75021 h 417071"/>
              <a:gd name="connsiteX38" fmla="*/ 43230 w 199486"/>
              <a:gd name="connsiteY38" fmla="*/ 76178 h 417071"/>
              <a:gd name="connsiteX39" fmla="*/ 23390 w 199486"/>
              <a:gd name="connsiteY39" fmla="*/ 62006 h 417071"/>
              <a:gd name="connsiteX40" fmla="*/ 16275 w 199486"/>
              <a:gd name="connsiteY40" fmla="*/ 51247 h 417071"/>
              <a:gd name="connsiteX41" fmla="*/ 9623 w 199486"/>
              <a:gd name="connsiteY41" fmla="*/ 41240 h 417071"/>
              <a:gd name="connsiteX42" fmla="*/ 1583 w 199486"/>
              <a:gd name="connsiteY42" fmla="*/ 29324 h 417071"/>
              <a:gd name="connsiteX43" fmla="*/ 21 w 199486"/>
              <a:gd name="connsiteY43" fmla="*/ 27589 h 417071"/>
              <a:gd name="connsiteX44" fmla="*/ 21 w 199486"/>
              <a:gd name="connsiteY44" fmla="*/ 26606 h 417071"/>
              <a:gd name="connsiteX45" fmla="*/ 657 w 199486"/>
              <a:gd name="connsiteY45" fmla="*/ 25796 h 417071"/>
              <a:gd name="connsiteX46" fmla="*/ 7714 w 199486"/>
              <a:gd name="connsiteY46" fmla="*/ 20301 h 417071"/>
              <a:gd name="connsiteX47" fmla="*/ 13036 w 199486"/>
              <a:gd name="connsiteY47" fmla="*/ 17871 h 417071"/>
              <a:gd name="connsiteX48" fmla="*/ 19341 w 199486"/>
              <a:gd name="connsiteY48" fmla="*/ 19202 h 417071"/>
              <a:gd name="connsiteX49" fmla="*/ 24605 w 199486"/>
              <a:gd name="connsiteY49" fmla="*/ 20358 h 417071"/>
              <a:gd name="connsiteX50" fmla="*/ 28075 w 199486"/>
              <a:gd name="connsiteY50" fmla="*/ 18334 h 417071"/>
              <a:gd name="connsiteX51" fmla="*/ 32992 w 199486"/>
              <a:gd name="connsiteY51" fmla="*/ 15326 h 417071"/>
              <a:gd name="connsiteX52" fmla="*/ 39355 w 199486"/>
              <a:gd name="connsiteY52" fmla="*/ 17003 h 417071"/>
              <a:gd name="connsiteX53" fmla="*/ 47511 w 199486"/>
              <a:gd name="connsiteY53" fmla="*/ 19086 h 417071"/>
              <a:gd name="connsiteX54" fmla="*/ 52254 w 199486"/>
              <a:gd name="connsiteY54" fmla="*/ 17871 h 417071"/>
              <a:gd name="connsiteX55" fmla="*/ 58964 w 199486"/>
              <a:gd name="connsiteY55" fmla="*/ 16020 h 417071"/>
              <a:gd name="connsiteX56" fmla="*/ 64170 w 199486"/>
              <a:gd name="connsiteY56" fmla="*/ 16946 h 417071"/>
              <a:gd name="connsiteX57" fmla="*/ 67004 w 199486"/>
              <a:gd name="connsiteY57" fmla="*/ 17524 h 417071"/>
              <a:gd name="connsiteX58" fmla="*/ 70186 w 199486"/>
              <a:gd name="connsiteY58" fmla="*/ 15094 h 417071"/>
              <a:gd name="connsiteX59" fmla="*/ 90837 w 199486"/>
              <a:gd name="connsiteY59" fmla="*/ -119 h 417071"/>
              <a:gd name="connsiteX60" fmla="*/ 93497 w 199486"/>
              <a:gd name="connsiteY60" fmla="*/ 807 h 417071"/>
              <a:gd name="connsiteX61" fmla="*/ 95117 w 199486"/>
              <a:gd name="connsiteY61" fmla="*/ 2716 h 417071"/>
              <a:gd name="connsiteX62" fmla="*/ 115478 w 199486"/>
              <a:gd name="connsiteY62" fmla="*/ 12376 h 417071"/>
              <a:gd name="connsiteX63" fmla="*/ 126006 w 199486"/>
              <a:gd name="connsiteY63" fmla="*/ 16946 h 417071"/>
              <a:gd name="connsiteX64" fmla="*/ 125254 w 199486"/>
              <a:gd name="connsiteY64" fmla="*/ 25449 h 417071"/>
              <a:gd name="connsiteX65" fmla="*/ 124039 w 199486"/>
              <a:gd name="connsiteY65" fmla="*/ 29671 h 417071"/>
              <a:gd name="connsiteX66" fmla="*/ 150011 w 199486"/>
              <a:gd name="connsiteY66" fmla="*/ 48991 h 417071"/>
              <a:gd name="connsiteX67" fmla="*/ 156316 w 199486"/>
              <a:gd name="connsiteY67" fmla="*/ 53908 h 417071"/>
              <a:gd name="connsiteX68" fmla="*/ 156316 w 199486"/>
              <a:gd name="connsiteY68" fmla="*/ 54833 h 417071"/>
              <a:gd name="connsiteX69" fmla="*/ 155680 w 199486"/>
              <a:gd name="connsiteY69" fmla="*/ 55643 h 417071"/>
              <a:gd name="connsiteX70" fmla="*/ 153829 w 199486"/>
              <a:gd name="connsiteY70" fmla="*/ 57205 h 417071"/>
              <a:gd name="connsiteX71" fmla="*/ 131501 w 199486"/>
              <a:gd name="connsiteY71" fmla="*/ 71898 h 417071"/>
              <a:gd name="connsiteX72" fmla="*/ 122072 w 199486"/>
              <a:gd name="connsiteY72" fmla="*/ 86879 h 417071"/>
              <a:gd name="connsiteX73" fmla="*/ 113627 w 199486"/>
              <a:gd name="connsiteY73" fmla="*/ 97638 h 417071"/>
              <a:gd name="connsiteX74" fmla="*/ 102694 w 199486"/>
              <a:gd name="connsiteY74" fmla="*/ 110885 h 417071"/>
              <a:gd name="connsiteX75" fmla="*/ 109173 w 199486"/>
              <a:gd name="connsiteY75" fmla="*/ 147037 h 417071"/>
              <a:gd name="connsiteX76" fmla="*/ 116867 w 199486"/>
              <a:gd name="connsiteY76" fmla="*/ 159705 h 417071"/>
              <a:gd name="connsiteX77" fmla="*/ 121320 w 199486"/>
              <a:gd name="connsiteY77" fmla="*/ 168035 h 417071"/>
              <a:gd name="connsiteX78" fmla="*/ 126179 w 199486"/>
              <a:gd name="connsiteY78" fmla="*/ 172778 h 417071"/>
              <a:gd name="connsiteX79" fmla="*/ 164414 w 199486"/>
              <a:gd name="connsiteY79" fmla="*/ 204939 h 417071"/>
              <a:gd name="connsiteX80" fmla="*/ 164414 w 199486"/>
              <a:gd name="connsiteY80" fmla="*/ 204939 h 417071"/>
              <a:gd name="connsiteX81" fmla="*/ 191543 w 199486"/>
              <a:gd name="connsiteY81" fmla="*/ 248786 h 417071"/>
              <a:gd name="connsiteX82" fmla="*/ 193625 w 199486"/>
              <a:gd name="connsiteY82" fmla="*/ 258908 h 417071"/>
              <a:gd name="connsiteX83" fmla="*/ 197964 w 199486"/>
              <a:gd name="connsiteY83" fmla="*/ 312530 h 417071"/>
              <a:gd name="connsiteX84" fmla="*/ 176099 w 199486"/>
              <a:gd name="connsiteY84" fmla="*/ 349550 h 417071"/>
              <a:gd name="connsiteX85" fmla="*/ 173727 w 199486"/>
              <a:gd name="connsiteY85" fmla="*/ 351112 h 417071"/>
              <a:gd name="connsiteX86" fmla="*/ 139021 w 199486"/>
              <a:gd name="connsiteY86" fmla="*/ 367540 h 417071"/>
              <a:gd name="connsiteX87" fmla="*/ 138385 w 199486"/>
              <a:gd name="connsiteY87" fmla="*/ 367540 h 417071"/>
              <a:gd name="connsiteX88" fmla="*/ 132600 w 199486"/>
              <a:gd name="connsiteY88" fmla="*/ 367077 h 417071"/>
              <a:gd name="connsiteX89" fmla="*/ 128030 w 199486"/>
              <a:gd name="connsiteY89" fmla="*/ 367077 h 417071"/>
              <a:gd name="connsiteX90" fmla="*/ 122246 w 199486"/>
              <a:gd name="connsiteY90" fmla="*/ 370027 h 417071"/>
              <a:gd name="connsiteX91" fmla="*/ 120568 w 199486"/>
              <a:gd name="connsiteY91" fmla="*/ 376274 h 417071"/>
              <a:gd name="connsiteX92" fmla="*/ 114321 w 199486"/>
              <a:gd name="connsiteY92" fmla="*/ 385182 h 417071"/>
              <a:gd name="connsiteX93" fmla="*/ 113569 w 199486"/>
              <a:gd name="connsiteY93" fmla="*/ 385182 h 417071"/>
              <a:gd name="connsiteX94" fmla="*/ 111718 w 199486"/>
              <a:gd name="connsiteY94" fmla="*/ 388595 h 417071"/>
              <a:gd name="connsiteX95" fmla="*/ 107900 w 199486"/>
              <a:gd name="connsiteY95" fmla="*/ 395652 h 417071"/>
              <a:gd name="connsiteX96" fmla="*/ 83779 w 199486"/>
              <a:gd name="connsiteY96" fmla="*/ 414220 h 417071"/>
              <a:gd name="connsiteX97" fmla="*/ 78284 w 199486"/>
              <a:gd name="connsiteY97" fmla="*/ 416939 h 417071"/>
              <a:gd name="connsiteX98" fmla="*/ 66715 w 199486"/>
              <a:gd name="connsiteY98" fmla="*/ 369912 h 417071"/>
              <a:gd name="connsiteX99" fmla="*/ 75334 w 199486"/>
              <a:gd name="connsiteY99" fmla="*/ 376274 h 417071"/>
              <a:gd name="connsiteX100" fmla="*/ 77590 w 199486"/>
              <a:gd name="connsiteY100" fmla="*/ 377662 h 417071"/>
              <a:gd name="connsiteX101" fmla="*/ 79730 w 199486"/>
              <a:gd name="connsiteY101" fmla="*/ 380497 h 417071"/>
              <a:gd name="connsiteX102" fmla="*/ 76433 w 199486"/>
              <a:gd name="connsiteY102" fmla="*/ 387843 h 417071"/>
              <a:gd name="connsiteX103" fmla="*/ 70648 w 199486"/>
              <a:gd name="connsiteY103" fmla="*/ 402478 h 417071"/>
              <a:gd name="connsiteX104" fmla="*/ 78689 w 199486"/>
              <a:gd name="connsiteY104" fmla="*/ 414683 h 417071"/>
              <a:gd name="connsiteX105" fmla="*/ 82275 w 199486"/>
              <a:gd name="connsiteY105" fmla="*/ 412774 h 417071"/>
              <a:gd name="connsiteX106" fmla="*/ 107553 w 199486"/>
              <a:gd name="connsiteY106" fmla="*/ 393338 h 417071"/>
              <a:gd name="connsiteX107" fmla="*/ 109809 w 199486"/>
              <a:gd name="connsiteY107" fmla="*/ 388364 h 417071"/>
              <a:gd name="connsiteX108" fmla="*/ 114379 w 199486"/>
              <a:gd name="connsiteY108" fmla="*/ 382579 h 417071"/>
              <a:gd name="connsiteX109" fmla="*/ 114379 w 199486"/>
              <a:gd name="connsiteY109" fmla="*/ 382579 h 417071"/>
              <a:gd name="connsiteX110" fmla="*/ 118428 w 199486"/>
              <a:gd name="connsiteY110" fmla="*/ 375580 h 417071"/>
              <a:gd name="connsiteX111" fmla="*/ 120337 w 199486"/>
              <a:gd name="connsiteY111" fmla="*/ 368581 h 417071"/>
              <a:gd name="connsiteX112" fmla="*/ 127856 w 199486"/>
              <a:gd name="connsiteY112" fmla="*/ 364474 h 417071"/>
              <a:gd name="connsiteX113" fmla="*/ 132600 w 199486"/>
              <a:gd name="connsiteY113" fmla="*/ 364474 h 417071"/>
              <a:gd name="connsiteX114" fmla="*/ 138385 w 199486"/>
              <a:gd name="connsiteY114" fmla="*/ 364937 h 417071"/>
              <a:gd name="connsiteX115" fmla="*/ 138905 w 199486"/>
              <a:gd name="connsiteY115" fmla="*/ 364937 h 417071"/>
              <a:gd name="connsiteX116" fmla="*/ 172513 w 199486"/>
              <a:gd name="connsiteY116" fmla="*/ 348856 h 417071"/>
              <a:gd name="connsiteX117" fmla="*/ 174826 w 199486"/>
              <a:gd name="connsiteY117" fmla="*/ 347294 h 417071"/>
              <a:gd name="connsiteX118" fmla="*/ 195766 w 199486"/>
              <a:gd name="connsiteY118" fmla="*/ 311720 h 417071"/>
              <a:gd name="connsiteX119" fmla="*/ 191427 w 199486"/>
              <a:gd name="connsiteY119" fmla="*/ 259082 h 417071"/>
              <a:gd name="connsiteX120" fmla="*/ 189287 w 199486"/>
              <a:gd name="connsiteY120" fmla="*/ 248554 h 417071"/>
              <a:gd name="connsiteX121" fmla="*/ 164703 w 199486"/>
              <a:gd name="connsiteY121" fmla="*/ 206848 h 417071"/>
              <a:gd name="connsiteX122" fmla="*/ 164703 w 199486"/>
              <a:gd name="connsiteY122" fmla="*/ 206848 h 417071"/>
              <a:gd name="connsiteX123" fmla="*/ 124618 w 199486"/>
              <a:gd name="connsiteY123" fmla="*/ 174051 h 417071"/>
              <a:gd name="connsiteX124" fmla="*/ 119759 w 199486"/>
              <a:gd name="connsiteY124" fmla="*/ 169365 h 417071"/>
              <a:gd name="connsiteX125" fmla="*/ 114726 w 199486"/>
              <a:gd name="connsiteY125" fmla="*/ 160110 h 417071"/>
              <a:gd name="connsiteX126" fmla="*/ 107727 w 199486"/>
              <a:gd name="connsiteY126" fmla="*/ 148541 h 417071"/>
              <a:gd name="connsiteX127" fmla="*/ 100496 w 199486"/>
              <a:gd name="connsiteY127" fmla="*/ 110364 h 417071"/>
              <a:gd name="connsiteX128" fmla="*/ 112065 w 199486"/>
              <a:gd name="connsiteY128" fmla="*/ 95614 h 417071"/>
              <a:gd name="connsiteX129" fmla="*/ 119527 w 199486"/>
              <a:gd name="connsiteY129" fmla="*/ 86764 h 417071"/>
              <a:gd name="connsiteX130" fmla="*/ 131096 w 199486"/>
              <a:gd name="connsiteY130" fmla="*/ 69410 h 417071"/>
              <a:gd name="connsiteX131" fmla="*/ 151630 w 199486"/>
              <a:gd name="connsiteY131" fmla="*/ 55817 h 417071"/>
              <a:gd name="connsiteX132" fmla="*/ 153134 w 199486"/>
              <a:gd name="connsiteY132" fmla="*/ 54139 h 417071"/>
              <a:gd name="connsiteX133" fmla="*/ 149086 w 199486"/>
              <a:gd name="connsiteY133" fmla="*/ 51016 h 417071"/>
              <a:gd name="connsiteX134" fmla="*/ 121205 w 199486"/>
              <a:gd name="connsiteY134" fmla="*/ 29440 h 417071"/>
              <a:gd name="connsiteX135" fmla="*/ 122593 w 199486"/>
              <a:gd name="connsiteY135" fmla="*/ 24408 h 417071"/>
              <a:gd name="connsiteX136" fmla="*/ 123460 w 199486"/>
              <a:gd name="connsiteY136" fmla="*/ 17871 h 417071"/>
              <a:gd name="connsiteX137" fmla="*/ 114611 w 199486"/>
              <a:gd name="connsiteY137" fmla="*/ 14342 h 417071"/>
              <a:gd name="connsiteX138" fmla="*/ 92803 w 199486"/>
              <a:gd name="connsiteY138" fmla="*/ 3931 h 417071"/>
              <a:gd name="connsiteX139" fmla="*/ 91357 w 199486"/>
              <a:gd name="connsiteY139" fmla="*/ 2195 h 417071"/>
              <a:gd name="connsiteX140" fmla="*/ 90258 w 199486"/>
              <a:gd name="connsiteY140" fmla="*/ 1848 h 417071"/>
              <a:gd name="connsiteX141" fmla="*/ 71574 w 199486"/>
              <a:gd name="connsiteY141" fmla="*/ 15962 h 417071"/>
              <a:gd name="connsiteX142" fmla="*/ 66426 w 199486"/>
              <a:gd name="connsiteY142" fmla="*/ 19549 h 417071"/>
              <a:gd name="connsiteX143" fmla="*/ 62955 w 199486"/>
              <a:gd name="connsiteY143" fmla="*/ 18854 h 417071"/>
              <a:gd name="connsiteX144" fmla="*/ 58385 w 199486"/>
              <a:gd name="connsiteY144" fmla="*/ 18045 h 417071"/>
              <a:gd name="connsiteX145" fmla="*/ 52601 w 199486"/>
              <a:gd name="connsiteY145" fmla="*/ 19606 h 417071"/>
              <a:gd name="connsiteX146" fmla="*/ 46817 w 199486"/>
              <a:gd name="connsiteY146" fmla="*/ 21110 h 417071"/>
              <a:gd name="connsiteX147" fmla="*/ 37851 w 199486"/>
              <a:gd name="connsiteY147" fmla="*/ 18912 h 417071"/>
              <a:gd name="connsiteX148" fmla="*/ 32067 w 199486"/>
              <a:gd name="connsiteY148" fmla="*/ 17350 h 417071"/>
              <a:gd name="connsiteX149" fmla="*/ 29117 w 199486"/>
              <a:gd name="connsiteY149" fmla="*/ 19202 h 417071"/>
              <a:gd name="connsiteX150" fmla="*/ 23679 w 199486"/>
              <a:gd name="connsiteY150" fmla="*/ 22383 h 417071"/>
              <a:gd name="connsiteX151" fmla="*/ 17894 w 199486"/>
              <a:gd name="connsiteY151" fmla="*/ 21110 h 417071"/>
              <a:gd name="connsiteX152" fmla="*/ 12110 w 199486"/>
              <a:gd name="connsiteY152" fmla="*/ 19896 h 417071"/>
              <a:gd name="connsiteX153" fmla="*/ 8524 w 199486"/>
              <a:gd name="connsiteY153" fmla="*/ 21515 h 417071"/>
              <a:gd name="connsiteX154" fmla="*/ 1987 w 199486"/>
              <a:gd name="connsiteY154" fmla="*/ 26895 h 417071"/>
              <a:gd name="connsiteX155" fmla="*/ 2624 w 199486"/>
              <a:gd name="connsiteY155" fmla="*/ 27589 h 417071"/>
              <a:gd name="connsiteX156" fmla="*/ 11185 w 199486"/>
              <a:gd name="connsiteY156" fmla="*/ 41009 h 417071"/>
              <a:gd name="connsiteX157" fmla="*/ 16969 w 199486"/>
              <a:gd name="connsiteY157" fmla="*/ 49396 h 417071"/>
              <a:gd name="connsiteX158" fmla="*/ 24778 w 199486"/>
              <a:gd name="connsiteY158" fmla="*/ 61775 h 417071"/>
              <a:gd name="connsiteX159" fmla="*/ 42132 w 199486"/>
              <a:gd name="connsiteY159" fmla="*/ 73691 h 417071"/>
              <a:gd name="connsiteX160" fmla="*/ 45313 w 199486"/>
              <a:gd name="connsiteY160" fmla="*/ 72939 h 417071"/>
              <a:gd name="connsiteX161" fmla="*/ 56130 w 199486"/>
              <a:gd name="connsiteY161" fmla="*/ 69468 h 417071"/>
              <a:gd name="connsiteX162" fmla="*/ 66079 w 199486"/>
              <a:gd name="connsiteY162" fmla="*/ 78718 h 417071"/>
              <a:gd name="connsiteX163" fmla="*/ 66079 w 199486"/>
              <a:gd name="connsiteY163" fmla="*/ 78897 h 417071"/>
              <a:gd name="connsiteX164" fmla="*/ 71054 w 199486"/>
              <a:gd name="connsiteY164" fmla="*/ 90466 h 417071"/>
              <a:gd name="connsiteX165" fmla="*/ 74756 w 199486"/>
              <a:gd name="connsiteY165" fmla="*/ 99952 h 417071"/>
              <a:gd name="connsiteX166" fmla="*/ 64459 w 199486"/>
              <a:gd name="connsiteY166" fmla="*/ 107183 h 417071"/>
              <a:gd name="connsiteX167" fmla="*/ 53932 w 199486"/>
              <a:gd name="connsiteY167" fmla="*/ 112504 h 417071"/>
              <a:gd name="connsiteX168" fmla="*/ 69376 w 199486"/>
              <a:gd name="connsiteY168" fmla="*/ 126156 h 417071"/>
              <a:gd name="connsiteX169" fmla="*/ 83432 w 199486"/>
              <a:gd name="connsiteY169" fmla="*/ 138014 h 417071"/>
              <a:gd name="connsiteX170" fmla="*/ 90027 w 199486"/>
              <a:gd name="connsiteY170" fmla="*/ 150450 h 417071"/>
              <a:gd name="connsiteX171" fmla="*/ 97142 w 199486"/>
              <a:gd name="connsiteY171" fmla="*/ 162019 h 417071"/>
              <a:gd name="connsiteX172" fmla="*/ 107091 w 199486"/>
              <a:gd name="connsiteY172" fmla="*/ 174571 h 417071"/>
              <a:gd name="connsiteX173" fmla="*/ 119701 w 199486"/>
              <a:gd name="connsiteY173" fmla="*/ 191462 h 417071"/>
              <a:gd name="connsiteX174" fmla="*/ 134740 w 199486"/>
              <a:gd name="connsiteY174" fmla="*/ 206501 h 417071"/>
              <a:gd name="connsiteX175" fmla="*/ 141913 w 199486"/>
              <a:gd name="connsiteY175" fmla="*/ 211765 h 417071"/>
              <a:gd name="connsiteX176" fmla="*/ 147697 w 199486"/>
              <a:gd name="connsiteY176" fmla="*/ 240687 h 417071"/>
              <a:gd name="connsiteX177" fmla="*/ 156200 w 199486"/>
              <a:gd name="connsiteY177" fmla="*/ 284880 h 417071"/>
              <a:gd name="connsiteX178" fmla="*/ 145499 w 199486"/>
              <a:gd name="connsiteY178" fmla="*/ 310332 h 417071"/>
              <a:gd name="connsiteX179" fmla="*/ 137112 w 199486"/>
              <a:gd name="connsiteY179" fmla="*/ 317331 h 417071"/>
              <a:gd name="connsiteX180" fmla="*/ 133178 w 199486"/>
              <a:gd name="connsiteY180" fmla="*/ 324561 h 417071"/>
              <a:gd name="connsiteX181" fmla="*/ 120510 w 199486"/>
              <a:gd name="connsiteY181" fmla="*/ 334627 h 417071"/>
              <a:gd name="connsiteX182" fmla="*/ 112181 w 199486"/>
              <a:gd name="connsiteY182" fmla="*/ 333007 h 417071"/>
              <a:gd name="connsiteX183" fmla="*/ 107438 w 199486"/>
              <a:gd name="connsiteY183" fmla="*/ 332255 h 417071"/>
              <a:gd name="connsiteX184" fmla="*/ 105240 w 199486"/>
              <a:gd name="connsiteY184" fmla="*/ 332949 h 417071"/>
              <a:gd name="connsiteX185" fmla="*/ 109115 w 199486"/>
              <a:gd name="connsiteY185" fmla="*/ 342898 h 417071"/>
              <a:gd name="connsiteX186" fmla="*/ 113511 w 199486"/>
              <a:gd name="connsiteY186" fmla="*/ 356665 h 417071"/>
              <a:gd name="connsiteX187" fmla="*/ 107727 w 199486"/>
              <a:gd name="connsiteY187" fmla="*/ 359268 h 417071"/>
              <a:gd name="connsiteX188" fmla="*/ 94886 w 199486"/>
              <a:gd name="connsiteY188" fmla="*/ 357128 h 417071"/>
              <a:gd name="connsiteX189" fmla="*/ 84763 w 199486"/>
              <a:gd name="connsiteY189" fmla="*/ 355277 h 417071"/>
              <a:gd name="connsiteX190" fmla="*/ 82680 w 199486"/>
              <a:gd name="connsiteY190" fmla="*/ 356145 h 417071"/>
              <a:gd name="connsiteX191" fmla="*/ 66484 w 199486"/>
              <a:gd name="connsiteY191" fmla="*/ 369912 h 41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99486" h="417071">
                <a:moveTo>
                  <a:pt x="78284" y="416939"/>
                </a:moveTo>
                <a:cubicBezTo>
                  <a:pt x="73368" y="416939"/>
                  <a:pt x="68277" y="411964"/>
                  <a:pt x="67988" y="402536"/>
                </a:cubicBezTo>
                <a:cubicBezTo>
                  <a:pt x="68219" y="396624"/>
                  <a:pt x="70475" y="390967"/>
                  <a:pt x="74351" y="386513"/>
                </a:cubicBezTo>
                <a:cubicBezTo>
                  <a:pt x="76028" y="384141"/>
                  <a:pt x="77532" y="382117"/>
                  <a:pt x="77243" y="380728"/>
                </a:cubicBezTo>
                <a:cubicBezTo>
                  <a:pt x="77243" y="380728"/>
                  <a:pt x="77243" y="380034"/>
                  <a:pt x="76144" y="379456"/>
                </a:cubicBezTo>
                <a:lnTo>
                  <a:pt x="73946" y="378067"/>
                </a:lnTo>
                <a:cubicBezTo>
                  <a:pt x="70070" y="376072"/>
                  <a:pt x="66600" y="373342"/>
                  <a:pt x="63765" y="370027"/>
                </a:cubicBezTo>
                <a:cubicBezTo>
                  <a:pt x="63592" y="369738"/>
                  <a:pt x="63592" y="369391"/>
                  <a:pt x="63765" y="369102"/>
                </a:cubicBezTo>
                <a:cubicBezTo>
                  <a:pt x="63823" y="368784"/>
                  <a:pt x="64055" y="368512"/>
                  <a:pt x="64344" y="368350"/>
                </a:cubicBezTo>
                <a:cubicBezTo>
                  <a:pt x="78978" y="361235"/>
                  <a:pt x="80540" y="357417"/>
                  <a:pt x="80540" y="356145"/>
                </a:cubicBezTo>
                <a:cubicBezTo>
                  <a:pt x="80540" y="354872"/>
                  <a:pt x="81119" y="353021"/>
                  <a:pt x="84879" y="353021"/>
                </a:cubicBezTo>
                <a:cubicBezTo>
                  <a:pt x="88465" y="353299"/>
                  <a:pt x="92051" y="353941"/>
                  <a:pt x="95522" y="354930"/>
                </a:cubicBezTo>
                <a:cubicBezTo>
                  <a:pt x="99571" y="356046"/>
                  <a:pt x="103678" y="356740"/>
                  <a:pt x="107843" y="357012"/>
                </a:cubicBezTo>
                <a:cubicBezTo>
                  <a:pt x="109983" y="357012"/>
                  <a:pt x="111371" y="356549"/>
                  <a:pt x="111776" y="355624"/>
                </a:cubicBezTo>
                <a:cubicBezTo>
                  <a:pt x="112875" y="353484"/>
                  <a:pt x="109925" y="348220"/>
                  <a:pt x="107495" y="344055"/>
                </a:cubicBezTo>
                <a:cubicBezTo>
                  <a:pt x="104603" y="338907"/>
                  <a:pt x="102116" y="334453"/>
                  <a:pt x="103620" y="331850"/>
                </a:cubicBezTo>
                <a:cubicBezTo>
                  <a:pt x="105124" y="329247"/>
                  <a:pt x="107785" y="329478"/>
                  <a:pt x="113107" y="330867"/>
                </a:cubicBezTo>
                <a:cubicBezTo>
                  <a:pt x="115767" y="331584"/>
                  <a:pt x="118544" y="331971"/>
                  <a:pt x="121320" y="332024"/>
                </a:cubicBezTo>
                <a:cubicBezTo>
                  <a:pt x="128204" y="332024"/>
                  <a:pt x="129766" y="328379"/>
                  <a:pt x="131906" y="323347"/>
                </a:cubicBezTo>
                <a:cubicBezTo>
                  <a:pt x="133005" y="320616"/>
                  <a:pt x="134393" y="318031"/>
                  <a:pt x="136129" y="315654"/>
                </a:cubicBezTo>
                <a:cubicBezTo>
                  <a:pt x="138731" y="312796"/>
                  <a:pt x="141739" y="310291"/>
                  <a:pt x="144979" y="308192"/>
                </a:cubicBezTo>
                <a:cubicBezTo>
                  <a:pt x="153308" y="302407"/>
                  <a:pt x="161927" y="296044"/>
                  <a:pt x="155102" y="285806"/>
                </a:cubicBezTo>
                <a:cubicBezTo>
                  <a:pt x="146772" y="272108"/>
                  <a:pt x="143648" y="255871"/>
                  <a:pt x="146251" y="240051"/>
                </a:cubicBezTo>
                <a:cubicBezTo>
                  <a:pt x="148044" y="229408"/>
                  <a:pt x="146251" y="217897"/>
                  <a:pt x="141393" y="213327"/>
                </a:cubicBezTo>
                <a:cubicBezTo>
                  <a:pt x="139310" y="211464"/>
                  <a:pt x="137054" y="209799"/>
                  <a:pt x="134625" y="208352"/>
                </a:cubicBezTo>
                <a:cubicBezTo>
                  <a:pt x="127683" y="204830"/>
                  <a:pt x="122072" y="199120"/>
                  <a:pt x="118659" y="192098"/>
                </a:cubicBezTo>
                <a:cubicBezTo>
                  <a:pt x="115767" y="186001"/>
                  <a:pt x="111603" y="180558"/>
                  <a:pt x="106570" y="176075"/>
                </a:cubicBezTo>
                <a:cubicBezTo>
                  <a:pt x="102406" y="172246"/>
                  <a:pt x="98876" y="167752"/>
                  <a:pt x="96158" y="162771"/>
                </a:cubicBezTo>
                <a:cubicBezTo>
                  <a:pt x="94307" y="158884"/>
                  <a:pt x="92051" y="155234"/>
                  <a:pt x="89333" y="151896"/>
                </a:cubicBezTo>
                <a:cubicBezTo>
                  <a:pt x="85688" y="148090"/>
                  <a:pt x="83259" y="143307"/>
                  <a:pt x="82275" y="138129"/>
                </a:cubicBezTo>
                <a:cubicBezTo>
                  <a:pt x="82275" y="135700"/>
                  <a:pt x="75103" y="131593"/>
                  <a:pt x="69318" y="128238"/>
                </a:cubicBezTo>
                <a:cubicBezTo>
                  <a:pt x="60121" y="122974"/>
                  <a:pt x="50634" y="117479"/>
                  <a:pt x="52948" y="111752"/>
                </a:cubicBezTo>
                <a:cubicBezTo>
                  <a:pt x="54857" y="106951"/>
                  <a:pt x="60353" y="105968"/>
                  <a:pt x="65153" y="105043"/>
                </a:cubicBezTo>
                <a:cubicBezTo>
                  <a:pt x="69954" y="104117"/>
                  <a:pt x="73599" y="103365"/>
                  <a:pt x="73599" y="100068"/>
                </a:cubicBezTo>
                <a:cubicBezTo>
                  <a:pt x="73541" y="97060"/>
                  <a:pt x="72384" y="94174"/>
                  <a:pt x="70360" y="91970"/>
                </a:cubicBezTo>
                <a:cubicBezTo>
                  <a:pt x="67409" y="88401"/>
                  <a:pt x="65558" y="84068"/>
                  <a:pt x="64980" y="79475"/>
                </a:cubicBezTo>
                <a:cubicBezTo>
                  <a:pt x="64286" y="74501"/>
                  <a:pt x="61683" y="71956"/>
                  <a:pt x="57229" y="71956"/>
                </a:cubicBezTo>
                <a:cubicBezTo>
                  <a:pt x="53816" y="72106"/>
                  <a:pt x="50519" y="73164"/>
                  <a:pt x="47684" y="75021"/>
                </a:cubicBezTo>
                <a:cubicBezTo>
                  <a:pt x="46354" y="75849"/>
                  <a:pt x="44792" y="76248"/>
                  <a:pt x="43230" y="76178"/>
                </a:cubicBezTo>
                <a:cubicBezTo>
                  <a:pt x="35421" y="76178"/>
                  <a:pt x="23390" y="69815"/>
                  <a:pt x="23390" y="62006"/>
                </a:cubicBezTo>
                <a:cubicBezTo>
                  <a:pt x="23390" y="57957"/>
                  <a:pt x="19804" y="54544"/>
                  <a:pt x="16275" y="51247"/>
                </a:cubicBezTo>
                <a:cubicBezTo>
                  <a:pt x="12747" y="47950"/>
                  <a:pt x="9623" y="45000"/>
                  <a:pt x="9623" y="41240"/>
                </a:cubicBezTo>
                <a:cubicBezTo>
                  <a:pt x="9623" y="37480"/>
                  <a:pt x="5516" y="33663"/>
                  <a:pt x="1583" y="29324"/>
                </a:cubicBezTo>
                <a:lnTo>
                  <a:pt x="21" y="27589"/>
                </a:lnTo>
                <a:cubicBezTo>
                  <a:pt x="-153" y="27282"/>
                  <a:pt x="-153" y="26912"/>
                  <a:pt x="21" y="26606"/>
                </a:cubicBezTo>
                <a:cubicBezTo>
                  <a:pt x="79" y="26247"/>
                  <a:pt x="310" y="25946"/>
                  <a:pt x="657" y="25796"/>
                </a:cubicBezTo>
                <a:cubicBezTo>
                  <a:pt x="3375" y="24465"/>
                  <a:pt x="5747" y="22597"/>
                  <a:pt x="7714" y="20301"/>
                </a:cubicBezTo>
                <a:cubicBezTo>
                  <a:pt x="9045" y="18710"/>
                  <a:pt x="10953" y="17813"/>
                  <a:pt x="13036" y="17871"/>
                </a:cubicBezTo>
                <a:cubicBezTo>
                  <a:pt x="15176" y="17981"/>
                  <a:pt x="17316" y="18427"/>
                  <a:pt x="19341" y="19202"/>
                </a:cubicBezTo>
                <a:cubicBezTo>
                  <a:pt x="21018" y="19826"/>
                  <a:pt x="22812" y="20214"/>
                  <a:pt x="24605" y="20358"/>
                </a:cubicBezTo>
                <a:cubicBezTo>
                  <a:pt x="26051" y="20457"/>
                  <a:pt x="27439" y="19653"/>
                  <a:pt x="28075" y="18334"/>
                </a:cubicBezTo>
                <a:cubicBezTo>
                  <a:pt x="29001" y="16471"/>
                  <a:pt x="30909" y="15309"/>
                  <a:pt x="32992" y="15326"/>
                </a:cubicBezTo>
                <a:cubicBezTo>
                  <a:pt x="35190" y="15511"/>
                  <a:pt x="37331" y="16078"/>
                  <a:pt x="39355" y="17003"/>
                </a:cubicBezTo>
                <a:cubicBezTo>
                  <a:pt x="41900" y="18189"/>
                  <a:pt x="44676" y="18895"/>
                  <a:pt x="47511" y="19086"/>
                </a:cubicBezTo>
                <a:cubicBezTo>
                  <a:pt x="49188" y="19132"/>
                  <a:pt x="50808" y="18710"/>
                  <a:pt x="52254" y="17871"/>
                </a:cubicBezTo>
                <a:cubicBezTo>
                  <a:pt x="54279" y="16674"/>
                  <a:pt x="56593" y="16032"/>
                  <a:pt x="58964" y="16020"/>
                </a:cubicBezTo>
                <a:cubicBezTo>
                  <a:pt x="60757" y="16060"/>
                  <a:pt x="62493" y="16373"/>
                  <a:pt x="64170" y="16946"/>
                </a:cubicBezTo>
                <a:cubicBezTo>
                  <a:pt x="65096" y="17246"/>
                  <a:pt x="66021" y="17443"/>
                  <a:pt x="67004" y="17524"/>
                </a:cubicBezTo>
                <a:cubicBezTo>
                  <a:pt x="67930" y="17524"/>
                  <a:pt x="68913" y="17524"/>
                  <a:pt x="70186" y="15094"/>
                </a:cubicBezTo>
                <a:cubicBezTo>
                  <a:pt x="74004" y="8269"/>
                  <a:pt x="85457" y="-119"/>
                  <a:pt x="90837" y="-119"/>
                </a:cubicBezTo>
                <a:cubicBezTo>
                  <a:pt x="91820" y="-194"/>
                  <a:pt x="92803" y="142"/>
                  <a:pt x="93497" y="807"/>
                </a:cubicBezTo>
                <a:cubicBezTo>
                  <a:pt x="94076" y="1403"/>
                  <a:pt x="94596" y="2039"/>
                  <a:pt x="95117" y="2716"/>
                </a:cubicBezTo>
                <a:cubicBezTo>
                  <a:pt x="97836" y="6071"/>
                  <a:pt x="101480" y="10583"/>
                  <a:pt x="115478" y="12376"/>
                </a:cubicBezTo>
                <a:cubicBezTo>
                  <a:pt x="121262" y="13070"/>
                  <a:pt x="124560" y="14516"/>
                  <a:pt x="126006" y="16946"/>
                </a:cubicBezTo>
                <a:cubicBezTo>
                  <a:pt x="127104" y="19745"/>
                  <a:pt x="126816" y="22886"/>
                  <a:pt x="125254" y="25449"/>
                </a:cubicBezTo>
                <a:cubicBezTo>
                  <a:pt x="124618" y="26773"/>
                  <a:pt x="124212" y="28202"/>
                  <a:pt x="124039" y="29671"/>
                </a:cubicBezTo>
                <a:cubicBezTo>
                  <a:pt x="124039" y="34183"/>
                  <a:pt x="142491" y="47950"/>
                  <a:pt x="150011" y="48991"/>
                </a:cubicBezTo>
                <a:cubicBezTo>
                  <a:pt x="152556" y="49940"/>
                  <a:pt x="154754" y="51658"/>
                  <a:pt x="156316" y="53908"/>
                </a:cubicBezTo>
                <a:cubicBezTo>
                  <a:pt x="156490" y="54197"/>
                  <a:pt x="156490" y="54544"/>
                  <a:pt x="156316" y="54833"/>
                </a:cubicBezTo>
                <a:cubicBezTo>
                  <a:pt x="156258" y="55192"/>
                  <a:pt x="156027" y="55493"/>
                  <a:pt x="155680" y="55643"/>
                </a:cubicBezTo>
                <a:cubicBezTo>
                  <a:pt x="154928" y="55990"/>
                  <a:pt x="154292" y="56528"/>
                  <a:pt x="153829" y="57205"/>
                </a:cubicBezTo>
                <a:cubicBezTo>
                  <a:pt x="148970" y="65222"/>
                  <a:pt x="140756" y="70625"/>
                  <a:pt x="131501" y="71898"/>
                </a:cubicBezTo>
                <a:cubicBezTo>
                  <a:pt x="124618" y="72187"/>
                  <a:pt x="121667" y="76930"/>
                  <a:pt x="122072" y="86879"/>
                </a:cubicBezTo>
                <a:cubicBezTo>
                  <a:pt x="122072" y="91449"/>
                  <a:pt x="118081" y="94457"/>
                  <a:pt x="113627" y="97638"/>
                </a:cubicBezTo>
                <a:cubicBezTo>
                  <a:pt x="108363" y="100421"/>
                  <a:pt x="104430" y="105187"/>
                  <a:pt x="102694" y="110885"/>
                </a:cubicBezTo>
                <a:cubicBezTo>
                  <a:pt x="100612" y="123900"/>
                  <a:pt x="101711" y="140675"/>
                  <a:pt x="109173" y="147037"/>
                </a:cubicBezTo>
                <a:cubicBezTo>
                  <a:pt x="112875" y="150445"/>
                  <a:pt x="115536" y="154835"/>
                  <a:pt x="116867" y="159705"/>
                </a:cubicBezTo>
                <a:cubicBezTo>
                  <a:pt x="117618" y="162806"/>
                  <a:pt x="119180" y="165669"/>
                  <a:pt x="121320" y="168035"/>
                </a:cubicBezTo>
                <a:lnTo>
                  <a:pt x="126179" y="172778"/>
                </a:lnTo>
                <a:cubicBezTo>
                  <a:pt x="135145" y="181571"/>
                  <a:pt x="158977" y="204939"/>
                  <a:pt x="164414" y="204939"/>
                </a:cubicBezTo>
                <a:lnTo>
                  <a:pt x="164414" y="204939"/>
                </a:lnTo>
                <a:cubicBezTo>
                  <a:pt x="172686" y="204939"/>
                  <a:pt x="191196" y="241555"/>
                  <a:pt x="191543" y="248786"/>
                </a:cubicBezTo>
                <a:cubicBezTo>
                  <a:pt x="192006" y="252199"/>
                  <a:pt x="192700" y="255582"/>
                  <a:pt x="193625" y="258908"/>
                </a:cubicBezTo>
                <a:cubicBezTo>
                  <a:pt x="196691" y="271865"/>
                  <a:pt x="201897" y="293615"/>
                  <a:pt x="197964" y="312530"/>
                </a:cubicBezTo>
                <a:cubicBezTo>
                  <a:pt x="192643" y="338213"/>
                  <a:pt x="190155" y="340469"/>
                  <a:pt x="176099" y="349550"/>
                </a:cubicBezTo>
                <a:lnTo>
                  <a:pt x="173727" y="351112"/>
                </a:lnTo>
                <a:cubicBezTo>
                  <a:pt x="160654" y="359558"/>
                  <a:pt x="148334" y="367540"/>
                  <a:pt x="139021" y="367540"/>
                </a:cubicBezTo>
                <a:lnTo>
                  <a:pt x="138385" y="367540"/>
                </a:lnTo>
                <a:lnTo>
                  <a:pt x="132600" y="367077"/>
                </a:lnTo>
                <a:cubicBezTo>
                  <a:pt x="130807" y="367077"/>
                  <a:pt x="129303" y="367077"/>
                  <a:pt x="128030" y="367077"/>
                </a:cubicBezTo>
                <a:cubicBezTo>
                  <a:pt x="125658" y="366614"/>
                  <a:pt x="123287" y="367829"/>
                  <a:pt x="122246" y="370027"/>
                </a:cubicBezTo>
                <a:cubicBezTo>
                  <a:pt x="121378" y="372017"/>
                  <a:pt x="120800" y="374122"/>
                  <a:pt x="120568" y="376274"/>
                </a:cubicBezTo>
                <a:cubicBezTo>
                  <a:pt x="119874" y="380439"/>
                  <a:pt x="119122" y="385182"/>
                  <a:pt x="114321" y="385182"/>
                </a:cubicBezTo>
                <a:lnTo>
                  <a:pt x="113569" y="385182"/>
                </a:lnTo>
                <a:cubicBezTo>
                  <a:pt x="112065" y="385182"/>
                  <a:pt x="111776" y="385703"/>
                  <a:pt x="111718" y="388595"/>
                </a:cubicBezTo>
                <a:cubicBezTo>
                  <a:pt x="111660" y="391487"/>
                  <a:pt x="111718" y="394380"/>
                  <a:pt x="107900" y="395652"/>
                </a:cubicBezTo>
                <a:cubicBezTo>
                  <a:pt x="98761" y="400262"/>
                  <a:pt x="90547" y="406562"/>
                  <a:pt x="83779" y="414220"/>
                </a:cubicBezTo>
                <a:cubicBezTo>
                  <a:pt x="82507" y="415990"/>
                  <a:pt x="80482" y="417014"/>
                  <a:pt x="78284" y="416939"/>
                </a:cubicBezTo>
                <a:close/>
                <a:moveTo>
                  <a:pt x="66715" y="369912"/>
                </a:moveTo>
                <a:cubicBezTo>
                  <a:pt x="69260" y="372468"/>
                  <a:pt x="72152" y="374614"/>
                  <a:pt x="75334" y="376274"/>
                </a:cubicBezTo>
                <a:lnTo>
                  <a:pt x="77590" y="377662"/>
                </a:lnTo>
                <a:cubicBezTo>
                  <a:pt x="78689" y="378264"/>
                  <a:pt x="79441" y="379294"/>
                  <a:pt x="79730" y="380497"/>
                </a:cubicBezTo>
                <a:cubicBezTo>
                  <a:pt x="80135" y="382637"/>
                  <a:pt x="78516" y="384951"/>
                  <a:pt x="76433" y="387843"/>
                </a:cubicBezTo>
                <a:cubicBezTo>
                  <a:pt x="72847" y="391898"/>
                  <a:pt x="70822" y="397075"/>
                  <a:pt x="70648" y="402478"/>
                </a:cubicBezTo>
                <a:cubicBezTo>
                  <a:pt x="70648" y="410460"/>
                  <a:pt x="74872" y="414683"/>
                  <a:pt x="78689" y="414683"/>
                </a:cubicBezTo>
                <a:cubicBezTo>
                  <a:pt x="80135" y="414683"/>
                  <a:pt x="81465" y="413966"/>
                  <a:pt x="82275" y="412774"/>
                </a:cubicBezTo>
                <a:cubicBezTo>
                  <a:pt x="89333" y="404699"/>
                  <a:pt x="97951" y="398093"/>
                  <a:pt x="107553" y="393338"/>
                </a:cubicBezTo>
                <a:cubicBezTo>
                  <a:pt x="109636" y="392644"/>
                  <a:pt x="109751" y="391025"/>
                  <a:pt x="109809" y="388364"/>
                </a:cubicBezTo>
                <a:cubicBezTo>
                  <a:pt x="109867" y="385703"/>
                  <a:pt x="109809" y="382579"/>
                  <a:pt x="114379" y="382579"/>
                </a:cubicBezTo>
                <a:lnTo>
                  <a:pt x="114379" y="382579"/>
                </a:lnTo>
                <a:cubicBezTo>
                  <a:pt x="116982" y="382579"/>
                  <a:pt x="117618" y="380323"/>
                  <a:pt x="118428" y="375580"/>
                </a:cubicBezTo>
                <a:cubicBezTo>
                  <a:pt x="118659" y="373151"/>
                  <a:pt x="119296" y="370779"/>
                  <a:pt x="120337" y="368581"/>
                </a:cubicBezTo>
                <a:cubicBezTo>
                  <a:pt x="121725" y="365775"/>
                  <a:pt x="124733" y="364139"/>
                  <a:pt x="127856" y="364474"/>
                </a:cubicBezTo>
                <a:cubicBezTo>
                  <a:pt x="129245" y="364474"/>
                  <a:pt x="130807" y="364474"/>
                  <a:pt x="132600" y="364474"/>
                </a:cubicBezTo>
                <a:lnTo>
                  <a:pt x="138385" y="364937"/>
                </a:lnTo>
                <a:lnTo>
                  <a:pt x="138905" y="364937"/>
                </a:lnTo>
                <a:cubicBezTo>
                  <a:pt x="147639" y="364937"/>
                  <a:pt x="160307" y="356781"/>
                  <a:pt x="172513" y="348856"/>
                </a:cubicBezTo>
                <a:lnTo>
                  <a:pt x="174826" y="347294"/>
                </a:lnTo>
                <a:cubicBezTo>
                  <a:pt x="188130" y="338733"/>
                  <a:pt x="190502" y="337229"/>
                  <a:pt x="195766" y="311720"/>
                </a:cubicBezTo>
                <a:cubicBezTo>
                  <a:pt x="199584" y="293210"/>
                  <a:pt x="194493" y="271865"/>
                  <a:pt x="191427" y="259082"/>
                </a:cubicBezTo>
                <a:cubicBezTo>
                  <a:pt x="190444" y="255628"/>
                  <a:pt x="189750" y="252106"/>
                  <a:pt x="189287" y="248554"/>
                </a:cubicBezTo>
                <a:cubicBezTo>
                  <a:pt x="188882" y="240340"/>
                  <a:pt x="170315" y="206848"/>
                  <a:pt x="164703" y="206848"/>
                </a:cubicBezTo>
                <a:lnTo>
                  <a:pt x="164703" y="206848"/>
                </a:lnTo>
                <a:cubicBezTo>
                  <a:pt x="158919" y="206848"/>
                  <a:pt x="141971" y="191115"/>
                  <a:pt x="124618" y="174051"/>
                </a:cubicBezTo>
                <a:cubicBezTo>
                  <a:pt x="122419" y="171911"/>
                  <a:pt x="120742" y="170233"/>
                  <a:pt x="119759" y="169365"/>
                </a:cubicBezTo>
                <a:cubicBezTo>
                  <a:pt x="117329" y="166756"/>
                  <a:pt x="115594" y="163569"/>
                  <a:pt x="114726" y="160110"/>
                </a:cubicBezTo>
                <a:cubicBezTo>
                  <a:pt x="113511" y="155674"/>
                  <a:pt x="111082" y="151659"/>
                  <a:pt x="107727" y="148541"/>
                </a:cubicBezTo>
                <a:cubicBezTo>
                  <a:pt x="98356" y="140675"/>
                  <a:pt x="98761" y="120834"/>
                  <a:pt x="100496" y="110364"/>
                </a:cubicBezTo>
                <a:cubicBezTo>
                  <a:pt x="102174" y="104071"/>
                  <a:pt x="106339" y="98737"/>
                  <a:pt x="112065" y="95614"/>
                </a:cubicBezTo>
                <a:cubicBezTo>
                  <a:pt x="116172" y="92664"/>
                  <a:pt x="119701" y="90177"/>
                  <a:pt x="119527" y="86764"/>
                </a:cubicBezTo>
                <a:cubicBezTo>
                  <a:pt x="119064" y="75658"/>
                  <a:pt x="122940" y="69815"/>
                  <a:pt x="131096" y="69410"/>
                </a:cubicBezTo>
                <a:cubicBezTo>
                  <a:pt x="139599" y="68167"/>
                  <a:pt x="147177" y="63181"/>
                  <a:pt x="151630" y="55817"/>
                </a:cubicBezTo>
                <a:cubicBezTo>
                  <a:pt x="152036" y="55169"/>
                  <a:pt x="152556" y="54602"/>
                  <a:pt x="153134" y="54139"/>
                </a:cubicBezTo>
                <a:cubicBezTo>
                  <a:pt x="150763" y="51537"/>
                  <a:pt x="149548" y="51074"/>
                  <a:pt x="149086" y="51016"/>
                </a:cubicBezTo>
                <a:cubicBezTo>
                  <a:pt x="141797" y="49975"/>
                  <a:pt x="121205" y="35919"/>
                  <a:pt x="121205" y="29440"/>
                </a:cubicBezTo>
                <a:cubicBezTo>
                  <a:pt x="121320" y="27687"/>
                  <a:pt x="121783" y="25975"/>
                  <a:pt x="122593" y="24408"/>
                </a:cubicBezTo>
                <a:cubicBezTo>
                  <a:pt x="123518" y="22036"/>
                  <a:pt x="124502" y="19606"/>
                  <a:pt x="123460" y="17871"/>
                </a:cubicBezTo>
                <a:cubicBezTo>
                  <a:pt x="122419" y="16136"/>
                  <a:pt x="119469" y="14979"/>
                  <a:pt x="114611" y="14342"/>
                </a:cubicBezTo>
                <a:cubicBezTo>
                  <a:pt x="99744" y="12492"/>
                  <a:pt x="95580" y="7344"/>
                  <a:pt x="92803" y="3931"/>
                </a:cubicBezTo>
                <a:lnTo>
                  <a:pt x="91357" y="2195"/>
                </a:lnTo>
                <a:cubicBezTo>
                  <a:pt x="91068" y="1935"/>
                  <a:pt x="90663" y="1808"/>
                  <a:pt x="90258" y="1848"/>
                </a:cubicBezTo>
                <a:cubicBezTo>
                  <a:pt x="82565" y="4168"/>
                  <a:pt x="75912" y="9177"/>
                  <a:pt x="71574" y="15962"/>
                </a:cubicBezTo>
                <a:cubicBezTo>
                  <a:pt x="70706" y="18068"/>
                  <a:pt x="68682" y="19468"/>
                  <a:pt x="66426" y="19549"/>
                </a:cubicBezTo>
                <a:cubicBezTo>
                  <a:pt x="65269" y="19479"/>
                  <a:pt x="64055" y="19248"/>
                  <a:pt x="62955" y="18854"/>
                </a:cubicBezTo>
                <a:cubicBezTo>
                  <a:pt x="61451" y="18369"/>
                  <a:pt x="59947" y="18097"/>
                  <a:pt x="58385" y="18045"/>
                </a:cubicBezTo>
                <a:cubicBezTo>
                  <a:pt x="56361" y="18051"/>
                  <a:pt x="54337" y="18588"/>
                  <a:pt x="52601" y="19606"/>
                </a:cubicBezTo>
                <a:cubicBezTo>
                  <a:pt x="50866" y="20607"/>
                  <a:pt x="48842" y="21122"/>
                  <a:pt x="46817" y="21110"/>
                </a:cubicBezTo>
                <a:cubicBezTo>
                  <a:pt x="43693" y="20943"/>
                  <a:pt x="40685" y="20196"/>
                  <a:pt x="37851" y="18912"/>
                </a:cubicBezTo>
                <a:cubicBezTo>
                  <a:pt x="36000" y="18068"/>
                  <a:pt x="34091" y="17541"/>
                  <a:pt x="32067" y="17350"/>
                </a:cubicBezTo>
                <a:cubicBezTo>
                  <a:pt x="30794" y="17293"/>
                  <a:pt x="29637" y="18033"/>
                  <a:pt x="29117" y="19202"/>
                </a:cubicBezTo>
                <a:cubicBezTo>
                  <a:pt x="28075" y="21244"/>
                  <a:pt x="25935" y="22487"/>
                  <a:pt x="23679" y="22383"/>
                </a:cubicBezTo>
                <a:cubicBezTo>
                  <a:pt x="21712" y="22238"/>
                  <a:pt x="19746" y="21810"/>
                  <a:pt x="17894" y="21110"/>
                </a:cubicBezTo>
                <a:cubicBezTo>
                  <a:pt x="16044" y="20434"/>
                  <a:pt x="14077" y="20023"/>
                  <a:pt x="12110" y="19896"/>
                </a:cubicBezTo>
                <a:cubicBezTo>
                  <a:pt x="10722" y="19838"/>
                  <a:pt x="9391" y="20439"/>
                  <a:pt x="8524" y="21515"/>
                </a:cubicBezTo>
                <a:cubicBezTo>
                  <a:pt x="6673" y="23696"/>
                  <a:pt x="4475" y="25518"/>
                  <a:pt x="1987" y="26895"/>
                </a:cubicBezTo>
                <a:lnTo>
                  <a:pt x="2624" y="27589"/>
                </a:lnTo>
                <a:cubicBezTo>
                  <a:pt x="7020" y="32448"/>
                  <a:pt x="11185" y="37018"/>
                  <a:pt x="11185" y="41009"/>
                </a:cubicBezTo>
                <a:cubicBezTo>
                  <a:pt x="11185" y="43785"/>
                  <a:pt x="14135" y="46504"/>
                  <a:pt x="16969" y="49396"/>
                </a:cubicBezTo>
                <a:cubicBezTo>
                  <a:pt x="21134" y="52300"/>
                  <a:pt x="23968" y="56766"/>
                  <a:pt x="24778" y="61775"/>
                </a:cubicBezTo>
                <a:cubicBezTo>
                  <a:pt x="24778" y="68138"/>
                  <a:pt x="35769" y="73691"/>
                  <a:pt x="42132" y="73691"/>
                </a:cubicBezTo>
                <a:cubicBezTo>
                  <a:pt x="43230" y="73749"/>
                  <a:pt x="44330" y="73488"/>
                  <a:pt x="45313" y="72939"/>
                </a:cubicBezTo>
                <a:cubicBezTo>
                  <a:pt x="48552" y="70822"/>
                  <a:pt x="52254" y="69619"/>
                  <a:pt x="56130" y="69468"/>
                </a:cubicBezTo>
                <a:cubicBezTo>
                  <a:pt x="61451" y="69277"/>
                  <a:pt x="65905" y="73413"/>
                  <a:pt x="66079" y="78718"/>
                </a:cubicBezTo>
                <a:cubicBezTo>
                  <a:pt x="66079" y="78775"/>
                  <a:pt x="66079" y="78839"/>
                  <a:pt x="66079" y="78897"/>
                </a:cubicBezTo>
                <a:cubicBezTo>
                  <a:pt x="66600" y="83154"/>
                  <a:pt x="68335" y="87174"/>
                  <a:pt x="71054" y="90466"/>
                </a:cubicBezTo>
                <a:cubicBezTo>
                  <a:pt x="73426" y="93063"/>
                  <a:pt x="74756" y="96441"/>
                  <a:pt x="74756" y="99952"/>
                </a:cubicBezTo>
                <a:cubicBezTo>
                  <a:pt x="74756" y="105274"/>
                  <a:pt x="69550" y="106257"/>
                  <a:pt x="64459" y="107183"/>
                </a:cubicBezTo>
                <a:cubicBezTo>
                  <a:pt x="59369" y="108108"/>
                  <a:pt x="55378" y="108860"/>
                  <a:pt x="53932" y="112504"/>
                </a:cubicBezTo>
                <a:cubicBezTo>
                  <a:pt x="52486" y="116149"/>
                  <a:pt x="61799" y="121817"/>
                  <a:pt x="69376" y="126156"/>
                </a:cubicBezTo>
                <a:cubicBezTo>
                  <a:pt x="76954" y="130494"/>
                  <a:pt x="83432" y="134312"/>
                  <a:pt x="83432" y="138014"/>
                </a:cubicBezTo>
                <a:cubicBezTo>
                  <a:pt x="84473" y="142682"/>
                  <a:pt x="86729" y="146985"/>
                  <a:pt x="90027" y="150450"/>
                </a:cubicBezTo>
                <a:cubicBezTo>
                  <a:pt x="92919" y="153967"/>
                  <a:pt x="95290" y="157860"/>
                  <a:pt x="97142" y="162019"/>
                </a:cubicBezTo>
                <a:cubicBezTo>
                  <a:pt x="99802" y="166699"/>
                  <a:pt x="103157" y="170939"/>
                  <a:pt x="107091" y="174571"/>
                </a:cubicBezTo>
                <a:cubicBezTo>
                  <a:pt x="112413" y="179274"/>
                  <a:pt x="116693" y="185024"/>
                  <a:pt x="119701" y="191462"/>
                </a:cubicBezTo>
                <a:cubicBezTo>
                  <a:pt x="122940" y="198004"/>
                  <a:pt x="128204" y="203291"/>
                  <a:pt x="134740" y="206501"/>
                </a:cubicBezTo>
                <a:cubicBezTo>
                  <a:pt x="137285" y="208040"/>
                  <a:pt x="139657" y="209804"/>
                  <a:pt x="141913" y="211765"/>
                </a:cubicBezTo>
                <a:cubicBezTo>
                  <a:pt x="147697" y="217549"/>
                  <a:pt x="149086" y="230622"/>
                  <a:pt x="147697" y="240687"/>
                </a:cubicBezTo>
                <a:cubicBezTo>
                  <a:pt x="145152" y="255964"/>
                  <a:pt x="148160" y="271646"/>
                  <a:pt x="156200" y="284880"/>
                </a:cubicBezTo>
                <a:cubicBezTo>
                  <a:pt x="164241" y="296912"/>
                  <a:pt x="153829" y="304374"/>
                  <a:pt x="145499" y="310332"/>
                </a:cubicBezTo>
                <a:cubicBezTo>
                  <a:pt x="142433" y="312316"/>
                  <a:pt x="139599" y="314670"/>
                  <a:pt x="137112" y="317331"/>
                </a:cubicBezTo>
                <a:cubicBezTo>
                  <a:pt x="135492" y="319552"/>
                  <a:pt x="134162" y="321987"/>
                  <a:pt x="133178" y="324561"/>
                </a:cubicBezTo>
                <a:cubicBezTo>
                  <a:pt x="130980" y="329710"/>
                  <a:pt x="128898" y="334627"/>
                  <a:pt x="120510" y="334627"/>
                </a:cubicBezTo>
                <a:cubicBezTo>
                  <a:pt x="117676" y="334407"/>
                  <a:pt x="114899" y="333863"/>
                  <a:pt x="112181" y="333007"/>
                </a:cubicBezTo>
                <a:cubicBezTo>
                  <a:pt x="110619" y="332585"/>
                  <a:pt x="109057" y="332336"/>
                  <a:pt x="107438" y="332255"/>
                </a:cubicBezTo>
                <a:cubicBezTo>
                  <a:pt x="106628" y="332255"/>
                  <a:pt x="105587" y="332255"/>
                  <a:pt x="105240" y="332949"/>
                </a:cubicBezTo>
                <a:cubicBezTo>
                  <a:pt x="104372" y="334511"/>
                  <a:pt x="107033" y="339138"/>
                  <a:pt x="109115" y="342898"/>
                </a:cubicBezTo>
                <a:cubicBezTo>
                  <a:pt x="112181" y="348336"/>
                  <a:pt x="114899" y="353426"/>
                  <a:pt x="113511" y="356665"/>
                </a:cubicBezTo>
                <a:cubicBezTo>
                  <a:pt x="112585" y="358401"/>
                  <a:pt x="110619" y="359268"/>
                  <a:pt x="107727" y="359268"/>
                </a:cubicBezTo>
                <a:cubicBezTo>
                  <a:pt x="103388" y="358991"/>
                  <a:pt x="99108" y="358273"/>
                  <a:pt x="94886" y="357128"/>
                </a:cubicBezTo>
                <a:cubicBezTo>
                  <a:pt x="91588" y="356168"/>
                  <a:pt x="88175" y="355549"/>
                  <a:pt x="84763" y="355277"/>
                </a:cubicBezTo>
                <a:cubicBezTo>
                  <a:pt x="82680" y="355277"/>
                  <a:pt x="82680" y="355855"/>
                  <a:pt x="82680" y="356145"/>
                </a:cubicBezTo>
                <a:cubicBezTo>
                  <a:pt x="82623" y="357706"/>
                  <a:pt x="82623" y="361929"/>
                  <a:pt x="66484" y="36991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5" name="Forma libre: forma 334">
            <a:extLst>
              <a:ext uri="{FF2B5EF4-FFF2-40B4-BE49-F238E27FC236}">
                <a16:creationId xmlns:a16="http://schemas.microsoft.com/office/drawing/2014/main" id="{D214D2F9-B207-8B79-5B5A-5346C4BA4915}"/>
              </a:ext>
            </a:extLst>
          </p:cNvPr>
          <p:cNvSpPr/>
          <p:nvPr/>
        </p:nvSpPr>
        <p:spPr>
          <a:xfrm>
            <a:off x="8947967" y="4081414"/>
            <a:ext cx="154993" cy="120306"/>
          </a:xfrm>
          <a:custGeom>
            <a:avLst/>
            <a:gdLst>
              <a:gd name="connsiteX0" fmla="*/ 59210 w 154993"/>
              <a:gd name="connsiteY0" fmla="*/ 120170 h 120306"/>
              <a:gd name="connsiteX1" fmla="*/ 58284 w 154993"/>
              <a:gd name="connsiteY1" fmla="*/ 119765 h 120306"/>
              <a:gd name="connsiteX2" fmla="*/ 55682 w 154993"/>
              <a:gd name="connsiteY2" fmla="*/ 115311 h 120306"/>
              <a:gd name="connsiteX3" fmla="*/ 52442 w 154993"/>
              <a:gd name="connsiteY3" fmla="*/ 113576 h 120306"/>
              <a:gd name="connsiteX4" fmla="*/ 46658 w 154993"/>
              <a:gd name="connsiteY4" fmla="*/ 114559 h 120306"/>
              <a:gd name="connsiteX5" fmla="*/ 39659 w 154993"/>
              <a:gd name="connsiteY5" fmla="*/ 115716 h 120306"/>
              <a:gd name="connsiteX6" fmla="*/ 34221 w 154993"/>
              <a:gd name="connsiteY6" fmla="*/ 113576 h 120306"/>
              <a:gd name="connsiteX7" fmla="*/ 33874 w 154993"/>
              <a:gd name="connsiteY7" fmla="*/ 102470 h 120306"/>
              <a:gd name="connsiteX8" fmla="*/ 34626 w 154993"/>
              <a:gd name="connsiteY8" fmla="*/ 99462 h 120306"/>
              <a:gd name="connsiteX9" fmla="*/ 34221 w 154993"/>
              <a:gd name="connsiteY9" fmla="*/ 99462 h 120306"/>
              <a:gd name="connsiteX10" fmla="*/ 29594 w 154993"/>
              <a:gd name="connsiteY10" fmla="*/ 100214 h 120306"/>
              <a:gd name="connsiteX11" fmla="*/ 22826 w 154993"/>
              <a:gd name="connsiteY11" fmla="*/ 101081 h 120306"/>
              <a:gd name="connsiteX12" fmla="*/ 15827 w 154993"/>
              <a:gd name="connsiteY12" fmla="*/ 95922 h 120306"/>
              <a:gd name="connsiteX13" fmla="*/ 15827 w 154993"/>
              <a:gd name="connsiteY13" fmla="*/ 95702 h 120306"/>
              <a:gd name="connsiteX14" fmla="*/ 15827 w 154993"/>
              <a:gd name="connsiteY14" fmla="*/ 88876 h 120306"/>
              <a:gd name="connsiteX15" fmla="*/ 9348 w 154993"/>
              <a:gd name="connsiteY15" fmla="*/ 71986 h 120306"/>
              <a:gd name="connsiteX16" fmla="*/ 8712 w 154993"/>
              <a:gd name="connsiteY16" fmla="*/ 70597 h 120306"/>
              <a:gd name="connsiteX17" fmla="*/ 9059 w 154993"/>
              <a:gd name="connsiteY17" fmla="*/ 69672 h 120306"/>
              <a:gd name="connsiteX18" fmla="*/ 8249 w 154993"/>
              <a:gd name="connsiteY18" fmla="*/ 60359 h 120306"/>
              <a:gd name="connsiteX19" fmla="*/ 5415 w 154993"/>
              <a:gd name="connsiteY19" fmla="*/ 49137 h 120306"/>
              <a:gd name="connsiteX20" fmla="*/ 2349 w 154993"/>
              <a:gd name="connsiteY20" fmla="*/ 40055 h 120306"/>
              <a:gd name="connsiteX21" fmla="*/ 4547 w 154993"/>
              <a:gd name="connsiteY21" fmla="*/ 23917 h 120306"/>
              <a:gd name="connsiteX22" fmla="*/ 37749 w 154993"/>
              <a:gd name="connsiteY22" fmla="*/ 4134 h 120306"/>
              <a:gd name="connsiteX23" fmla="*/ 43071 w 154993"/>
              <a:gd name="connsiteY23" fmla="*/ 4944 h 120306"/>
              <a:gd name="connsiteX24" fmla="*/ 60425 w 154993"/>
              <a:gd name="connsiteY24" fmla="*/ 4481 h 120306"/>
              <a:gd name="connsiteX25" fmla="*/ 71993 w 154993"/>
              <a:gd name="connsiteY25" fmla="*/ 3324 h 120306"/>
              <a:gd name="connsiteX26" fmla="*/ 81075 w 154993"/>
              <a:gd name="connsiteY26" fmla="*/ 6448 h 120306"/>
              <a:gd name="connsiteX27" fmla="*/ 90677 w 154993"/>
              <a:gd name="connsiteY27" fmla="*/ 12232 h 120306"/>
              <a:gd name="connsiteX28" fmla="*/ 96462 w 154993"/>
              <a:gd name="connsiteY28" fmla="*/ 18017 h 120306"/>
              <a:gd name="connsiteX29" fmla="*/ 96462 w 154993"/>
              <a:gd name="connsiteY29" fmla="*/ 18769 h 120306"/>
              <a:gd name="connsiteX30" fmla="*/ 96982 w 154993"/>
              <a:gd name="connsiteY30" fmla="*/ 18769 h 120306"/>
              <a:gd name="connsiteX31" fmla="*/ 102420 w 154993"/>
              <a:gd name="connsiteY31" fmla="*/ 10613 h 120306"/>
              <a:gd name="connsiteX32" fmla="*/ 113352 w 154993"/>
              <a:gd name="connsiteY32" fmla="*/ 1994 h 120306"/>
              <a:gd name="connsiteX33" fmla="*/ 122607 w 154993"/>
              <a:gd name="connsiteY33" fmla="*/ 3729 h 120306"/>
              <a:gd name="connsiteX34" fmla="*/ 127871 w 154993"/>
              <a:gd name="connsiteY34" fmla="*/ 4597 h 120306"/>
              <a:gd name="connsiteX35" fmla="*/ 140886 w 154993"/>
              <a:gd name="connsiteY35" fmla="*/ 27 h 120306"/>
              <a:gd name="connsiteX36" fmla="*/ 142101 w 154993"/>
              <a:gd name="connsiteY36" fmla="*/ 27 h 120306"/>
              <a:gd name="connsiteX37" fmla="*/ 142737 w 154993"/>
              <a:gd name="connsiteY37" fmla="*/ 1068 h 120306"/>
              <a:gd name="connsiteX38" fmla="*/ 151992 w 154993"/>
              <a:gd name="connsiteY38" fmla="*/ 34387 h 120306"/>
              <a:gd name="connsiteX39" fmla="*/ 141291 w 154993"/>
              <a:gd name="connsiteY39" fmla="*/ 59838 h 120306"/>
              <a:gd name="connsiteX40" fmla="*/ 132904 w 154993"/>
              <a:gd name="connsiteY40" fmla="*/ 66837 h 120306"/>
              <a:gd name="connsiteX41" fmla="*/ 128970 w 154993"/>
              <a:gd name="connsiteY41" fmla="*/ 74068 h 120306"/>
              <a:gd name="connsiteX42" fmla="*/ 116302 w 154993"/>
              <a:gd name="connsiteY42" fmla="*/ 84133 h 120306"/>
              <a:gd name="connsiteX43" fmla="*/ 106700 w 154993"/>
              <a:gd name="connsiteY43" fmla="*/ 82513 h 120306"/>
              <a:gd name="connsiteX44" fmla="*/ 101957 w 154993"/>
              <a:gd name="connsiteY44" fmla="*/ 81761 h 120306"/>
              <a:gd name="connsiteX45" fmla="*/ 99759 w 154993"/>
              <a:gd name="connsiteY45" fmla="*/ 82455 h 120306"/>
              <a:gd name="connsiteX46" fmla="*/ 103634 w 154993"/>
              <a:gd name="connsiteY46" fmla="*/ 92405 h 120306"/>
              <a:gd name="connsiteX47" fmla="*/ 108030 w 154993"/>
              <a:gd name="connsiteY47" fmla="*/ 106172 h 120306"/>
              <a:gd name="connsiteX48" fmla="*/ 102246 w 154993"/>
              <a:gd name="connsiteY48" fmla="*/ 108774 h 120306"/>
              <a:gd name="connsiteX49" fmla="*/ 89405 w 154993"/>
              <a:gd name="connsiteY49" fmla="*/ 106634 h 120306"/>
              <a:gd name="connsiteX50" fmla="*/ 79282 w 154993"/>
              <a:gd name="connsiteY50" fmla="*/ 104783 h 120306"/>
              <a:gd name="connsiteX51" fmla="*/ 77200 w 154993"/>
              <a:gd name="connsiteY51" fmla="*/ 105651 h 120306"/>
              <a:gd name="connsiteX52" fmla="*/ 59846 w 154993"/>
              <a:gd name="connsiteY52" fmla="*/ 119881 h 120306"/>
              <a:gd name="connsiteX53" fmla="*/ 59210 w 154993"/>
              <a:gd name="connsiteY53" fmla="*/ 120170 h 120306"/>
              <a:gd name="connsiteX54" fmla="*/ 52442 w 154993"/>
              <a:gd name="connsiteY54" fmla="*/ 111320 h 120306"/>
              <a:gd name="connsiteX55" fmla="*/ 57764 w 154993"/>
              <a:gd name="connsiteY55" fmla="*/ 114443 h 120306"/>
              <a:gd name="connsiteX56" fmla="*/ 59557 w 154993"/>
              <a:gd name="connsiteY56" fmla="*/ 117625 h 120306"/>
              <a:gd name="connsiteX57" fmla="*/ 74886 w 154993"/>
              <a:gd name="connsiteY57" fmla="*/ 106056 h 120306"/>
              <a:gd name="connsiteX58" fmla="*/ 79224 w 154993"/>
              <a:gd name="connsiteY58" fmla="*/ 102932 h 120306"/>
              <a:gd name="connsiteX59" fmla="*/ 89867 w 154993"/>
              <a:gd name="connsiteY59" fmla="*/ 104841 h 120306"/>
              <a:gd name="connsiteX60" fmla="*/ 102188 w 154993"/>
              <a:gd name="connsiteY60" fmla="*/ 106923 h 120306"/>
              <a:gd name="connsiteX61" fmla="*/ 106122 w 154993"/>
              <a:gd name="connsiteY61" fmla="*/ 105535 h 120306"/>
              <a:gd name="connsiteX62" fmla="*/ 101841 w 154993"/>
              <a:gd name="connsiteY62" fmla="*/ 93966 h 120306"/>
              <a:gd name="connsiteX63" fmla="*/ 97966 w 154993"/>
              <a:gd name="connsiteY63" fmla="*/ 81761 h 120306"/>
              <a:gd name="connsiteX64" fmla="*/ 107452 w 154993"/>
              <a:gd name="connsiteY64" fmla="*/ 80778 h 120306"/>
              <a:gd name="connsiteX65" fmla="*/ 115666 w 154993"/>
              <a:gd name="connsiteY65" fmla="*/ 81935 h 120306"/>
              <a:gd name="connsiteX66" fmla="*/ 126251 w 154993"/>
              <a:gd name="connsiteY66" fmla="*/ 73258 h 120306"/>
              <a:gd name="connsiteX67" fmla="*/ 130474 w 154993"/>
              <a:gd name="connsiteY67" fmla="*/ 65565 h 120306"/>
              <a:gd name="connsiteX68" fmla="*/ 139324 w 154993"/>
              <a:gd name="connsiteY68" fmla="*/ 58103 h 120306"/>
              <a:gd name="connsiteX69" fmla="*/ 149447 w 154993"/>
              <a:gd name="connsiteY69" fmla="*/ 35717 h 120306"/>
              <a:gd name="connsiteX70" fmla="*/ 139845 w 154993"/>
              <a:gd name="connsiteY70" fmla="*/ 3324 h 120306"/>
              <a:gd name="connsiteX71" fmla="*/ 127235 w 154993"/>
              <a:gd name="connsiteY71" fmla="*/ 7142 h 120306"/>
              <a:gd name="connsiteX72" fmla="*/ 121103 w 154993"/>
              <a:gd name="connsiteY72" fmla="*/ 6043 h 120306"/>
              <a:gd name="connsiteX73" fmla="*/ 112716 w 154993"/>
              <a:gd name="connsiteY73" fmla="*/ 4481 h 120306"/>
              <a:gd name="connsiteX74" fmla="*/ 104039 w 154993"/>
              <a:gd name="connsiteY74" fmla="*/ 10844 h 120306"/>
              <a:gd name="connsiteX75" fmla="*/ 96346 w 154993"/>
              <a:gd name="connsiteY75" fmla="*/ 21256 h 120306"/>
              <a:gd name="connsiteX76" fmla="*/ 94090 w 154993"/>
              <a:gd name="connsiteY76" fmla="*/ 20273 h 120306"/>
              <a:gd name="connsiteX77" fmla="*/ 93627 w 154993"/>
              <a:gd name="connsiteY77" fmla="*/ 17554 h 120306"/>
              <a:gd name="connsiteX78" fmla="*/ 89289 w 154993"/>
              <a:gd name="connsiteY78" fmla="*/ 14430 h 120306"/>
              <a:gd name="connsiteX79" fmla="*/ 78704 w 154993"/>
              <a:gd name="connsiteY79" fmla="*/ 8068 h 120306"/>
              <a:gd name="connsiteX80" fmla="*/ 71357 w 154993"/>
              <a:gd name="connsiteY80" fmla="*/ 5754 h 120306"/>
              <a:gd name="connsiteX81" fmla="*/ 60367 w 154993"/>
              <a:gd name="connsiteY81" fmla="*/ 6911 h 120306"/>
              <a:gd name="connsiteX82" fmla="*/ 48335 w 154993"/>
              <a:gd name="connsiteY82" fmla="*/ 8126 h 120306"/>
              <a:gd name="connsiteX83" fmla="*/ 41915 w 154993"/>
              <a:gd name="connsiteY83" fmla="*/ 7258 h 120306"/>
              <a:gd name="connsiteX84" fmla="*/ 37345 w 154993"/>
              <a:gd name="connsiteY84" fmla="*/ 6564 h 120306"/>
              <a:gd name="connsiteX85" fmla="*/ 5877 w 154993"/>
              <a:gd name="connsiteY85" fmla="*/ 25537 h 120306"/>
              <a:gd name="connsiteX86" fmla="*/ 3853 w 154993"/>
              <a:gd name="connsiteY86" fmla="*/ 39014 h 120306"/>
              <a:gd name="connsiteX87" fmla="*/ 7266 w 154993"/>
              <a:gd name="connsiteY87" fmla="*/ 49311 h 120306"/>
              <a:gd name="connsiteX88" fmla="*/ 9869 w 154993"/>
              <a:gd name="connsiteY88" fmla="*/ 59491 h 120306"/>
              <a:gd name="connsiteX89" fmla="*/ 10794 w 154993"/>
              <a:gd name="connsiteY89" fmla="*/ 70539 h 120306"/>
              <a:gd name="connsiteX90" fmla="*/ 17678 w 154993"/>
              <a:gd name="connsiteY90" fmla="*/ 89108 h 120306"/>
              <a:gd name="connsiteX91" fmla="*/ 17678 w 154993"/>
              <a:gd name="connsiteY91" fmla="*/ 95528 h 120306"/>
              <a:gd name="connsiteX92" fmla="*/ 22478 w 154993"/>
              <a:gd name="connsiteY92" fmla="*/ 99057 h 120306"/>
              <a:gd name="connsiteX93" fmla="*/ 28784 w 154993"/>
              <a:gd name="connsiteY93" fmla="*/ 98131 h 120306"/>
              <a:gd name="connsiteX94" fmla="*/ 33469 w 154993"/>
              <a:gd name="connsiteY94" fmla="*/ 97379 h 120306"/>
              <a:gd name="connsiteX95" fmla="*/ 36130 w 154993"/>
              <a:gd name="connsiteY95" fmla="*/ 98363 h 120306"/>
              <a:gd name="connsiteX96" fmla="*/ 35667 w 154993"/>
              <a:gd name="connsiteY96" fmla="*/ 103453 h 120306"/>
              <a:gd name="connsiteX97" fmla="*/ 35667 w 154993"/>
              <a:gd name="connsiteY97" fmla="*/ 112361 h 120306"/>
              <a:gd name="connsiteX98" fmla="*/ 39369 w 154993"/>
              <a:gd name="connsiteY98" fmla="*/ 113691 h 120306"/>
              <a:gd name="connsiteX99" fmla="*/ 45848 w 154993"/>
              <a:gd name="connsiteY99" fmla="*/ 112592 h 120306"/>
              <a:gd name="connsiteX100" fmla="*/ 52442 w 154993"/>
              <a:gd name="connsiteY100" fmla="*/ 111435 h 1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54993" h="120306">
                <a:moveTo>
                  <a:pt x="59210" y="120170"/>
                </a:moveTo>
                <a:cubicBezTo>
                  <a:pt x="58863" y="120182"/>
                  <a:pt x="58516" y="120037"/>
                  <a:pt x="58284" y="119765"/>
                </a:cubicBezTo>
                <a:cubicBezTo>
                  <a:pt x="57243" y="118382"/>
                  <a:pt x="56376" y="116890"/>
                  <a:pt x="55682" y="115311"/>
                </a:cubicBezTo>
                <a:cubicBezTo>
                  <a:pt x="55334" y="114443"/>
                  <a:pt x="54698" y="113576"/>
                  <a:pt x="52442" y="113576"/>
                </a:cubicBezTo>
                <a:cubicBezTo>
                  <a:pt x="50476" y="113703"/>
                  <a:pt x="48566" y="114032"/>
                  <a:pt x="46658" y="114559"/>
                </a:cubicBezTo>
                <a:cubicBezTo>
                  <a:pt x="44402" y="115218"/>
                  <a:pt x="42030" y="115606"/>
                  <a:pt x="39659" y="115716"/>
                </a:cubicBezTo>
                <a:cubicBezTo>
                  <a:pt x="37634" y="115872"/>
                  <a:pt x="35609" y="115080"/>
                  <a:pt x="34221" y="113576"/>
                </a:cubicBezTo>
                <a:cubicBezTo>
                  <a:pt x="32081" y="110215"/>
                  <a:pt x="31965" y="105957"/>
                  <a:pt x="33874" y="102470"/>
                </a:cubicBezTo>
                <a:cubicBezTo>
                  <a:pt x="34279" y="101509"/>
                  <a:pt x="34510" y="100497"/>
                  <a:pt x="34626" y="99462"/>
                </a:cubicBezTo>
                <a:lnTo>
                  <a:pt x="34221" y="99462"/>
                </a:lnTo>
                <a:cubicBezTo>
                  <a:pt x="32659" y="99606"/>
                  <a:pt x="31098" y="99861"/>
                  <a:pt x="29594" y="100214"/>
                </a:cubicBezTo>
                <a:cubicBezTo>
                  <a:pt x="27338" y="100694"/>
                  <a:pt x="25082" y="100983"/>
                  <a:pt x="22826" y="101081"/>
                </a:cubicBezTo>
                <a:cubicBezTo>
                  <a:pt x="19471" y="101584"/>
                  <a:pt x="16347" y="99271"/>
                  <a:pt x="15827" y="95922"/>
                </a:cubicBezTo>
                <a:cubicBezTo>
                  <a:pt x="15827" y="95852"/>
                  <a:pt x="15827" y="95777"/>
                  <a:pt x="15827" y="95702"/>
                </a:cubicBezTo>
                <a:cubicBezTo>
                  <a:pt x="15595" y="93434"/>
                  <a:pt x="15595" y="91144"/>
                  <a:pt x="15827" y="88876"/>
                </a:cubicBezTo>
                <a:cubicBezTo>
                  <a:pt x="15827" y="82050"/>
                  <a:pt x="16174" y="74994"/>
                  <a:pt x="9348" y="71986"/>
                </a:cubicBezTo>
                <a:cubicBezTo>
                  <a:pt x="8827" y="71748"/>
                  <a:pt x="8538" y="71153"/>
                  <a:pt x="8712" y="70597"/>
                </a:cubicBezTo>
                <a:lnTo>
                  <a:pt x="9059" y="69672"/>
                </a:lnTo>
                <a:cubicBezTo>
                  <a:pt x="10447" y="66641"/>
                  <a:pt x="10158" y="63101"/>
                  <a:pt x="8249" y="60359"/>
                </a:cubicBezTo>
                <a:cubicBezTo>
                  <a:pt x="6340" y="56929"/>
                  <a:pt x="5357" y="53059"/>
                  <a:pt x="5415" y="49137"/>
                </a:cubicBezTo>
                <a:cubicBezTo>
                  <a:pt x="5357" y="45863"/>
                  <a:pt x="4316" y="42693"/>
                  <a:pt x="2349" y="40055"/>
                </a:cubicBezTo>
                <a:cubicBezTo>
                  <a:pt x="-138" y="36122"/>
                  <a:pt x="-2452" y="32420"/>
                  <a:pt x="4547" y="23917"/>
                </a:cubicBezTo>
                <a:cubicBezTo>
                  <a:pt x="14033" y="12348"/>
                  <a:pt x="27685" y="4134"/>
                  <a:pt x="37749" y="4134"/>
                </a:cubicBezTo>
                <a:cubicBezTo>
                  <a:pt x="39543" y="4128"/>
                  <a:pt x="41336" y="4400"/>
                  <a:pt x="43071" y="4944"/>
                </a:cubicBezTo>
                <a:cubicBezTo>
                  <a:pt x="48856" y="5887"/>
                  <a:pt x="54698" y="5731"/>
                  <a:pt x="60425" y="4481"/>
                </a:cubicBezTo>
                <a:cubicBezTo>
                  <a:pt x="64243" y="3827"/>
                  <a:pt x="68118" y="3440"/>
                  <a:pt x="71993" y="3324"/>
                </a:cubicBezTo>
                <a:cubicBezTo>
                  <a:pt x="75348" y="2908"/>
                  <a:pt x="78704" y="4059"/>
                  <a:pt x="81075" y="6448"/>
                </a:cubicBezTo>
                <a:cubicBezTo>
                  <a:pt x="83736" y="9172"/>
                  <a:pt x="87033" y="11162"/>
                  <a:pt x="90677" y="12232"/>
                </a:cubicBezTo>
                <a:cubicBezTo>
                  <a:pt x="94090" y="13447"/>
                  <a:pt x="97329" y="14662"/>
                  <a:pt x="96462" y="18017"/>
                </a:cubicBezTo>
                <a:cubicBezTo>
                  <a:pt x="96346" y="18260"/>
                  <a:pt x="96346" y="18526"/>
                  <a:pt x="96462" y="18769"/>
                </a:cubicBezTo>
                <a:lnTo>
                  <a:pt x="96982" y="18769"/>
                </a:lnTo>
                <a:cubicBezTo>
                  <a:pt x="98602" y="18769"/>
                  <a:pt x="102420" y="16455"/>
                  <a:pt x="102420" y="10613"/>
                </a:cubicBezTo>
                <a:cubicBezTo>
                  <a:pt x="102420" y="4771"/>
                  <a:pt x="106411" y="1994"/>
                  <a:pt x="113352" y="1994"/>
                </a:cubicBezTo>
                <a:cubicBezTo>
                  <a:pt x="116533" y="2000"/>
                  <a:pt x="119657" y="2590"/>
                  <a:pt x="122607" y="3729"/>
                </a:cubicBezTo>
                <a:cubicBezTo>
                  <a:pt x="124285" y="4366"/>
                  <a:pt x="126078" y="4661"/>
                  <a:pt x="127871" y="4597"/>
                </a:cubicBezTo>
                <a:cubicBezTo>
                  <a:pt x="132614" y="4574"/>
                  <a:pt x="137184" y="2966"/>
                  <a:pt x="140886" y="27"/>
                </a:cubicBezTo>
                <a:cubicBezTo>
                  <a:pt x="141291" y="-181"/>
                  <a:pt x="141696" y="-181"/>
                  <a:pt x="142101" y="27"/>
                </a:cubicBezTo>
                <a:cubicBezTo>
                  <a:pt x="142505" y="236"/>
                  <a:pt x="142737" y="634"/>
                  <a:pt x="142737" y="1068"/>
                </a:cubicBezTo>
                <a:cubicBezTo>
                  <a:pt x="142505" y="12840"/>
                  <a:pt x="145687" y="24426"/>
                  <a:pt x="151992" y="34387"/>
                </a:cubicBezTo>
                <a:cubicBezTo>
                  <a:pt x="160032" y="46418"/>
                  <a:pt x="149621" y="53880"/>
                  <a:pt x="141291" y="59838"/>
                </a:cubicBezTo>
                <a:cubicBezTo>
                  <a:pt x="138225" y="61822"/>
                  <a:pt x="135391" y="64177"/>
                  <a:pt x="132904" y="66837"/>
                </a:cubicBezTo>
                <a:cubicBezTo>
                  <a:pt x="131284" y="69059"/>
                  <a:pt x="129954" y="71494"/>
                  <a:pt x="128970" y="74068"/>
                </a:cubicBezTo>
                <a:cubicBezTo>
                  <a:pt x="126772" y="79216"/>
                  <a:pt x="124690" y="84133"/>
                  <a:pt x="116302" y="84133"/>
                </a:cubicBezTo>
                <a:cubicBezTo>
                  <a:pt x="113063" y="84017"/>
                  <a:pt x="109824" y="83468"/>
                  <a:pt x="106700" y="82513"/>
                </a:cubicBezTo>
                <a:cubicBezTo>
                  <a:pt x="105138" y="82091"/>
                  <a:pt x="103576" y="81842"/>
                  <a:pt x="101957" y="81761"/>
                </a:cubicBezTo>
                <a:cubicBezTo>
                  <a:pt x="101147" y="81761"/>
                  <a:pt x="100106" y="81761"/>
                  <a:pt x="99759" y="82455"/>
                </a:cubicBezTo>
                <a:cubicBezTo>
                  <a:pt x="98891" y="84017"/>
                  <a:pt x="101552" y="88645"/>
                  <a:pt x="103634" y="92405"/>
                </a:cubicBezTo>
                <a:cubicBezTo>
                  <a:pt x="106700" y="97842"/>
                  <a:pt x="109419" y="102932"/>
                  <a:pt x="108030" y="106172"/>
                </a:cubicBezTo>
                <a:cubicBezTo>
                  <a:pt x="107105" y="107907"/>
                  <a:pt x="105138" y="108774"/>
                  <a:pt x="102246" y="108774"/>
                </a:cubicBezTo>
                <a:cubicBezTo>
                  <a:pt x="97908" y="108497"/>
                  <a:pt x="93627" y="107780"/>
                  <a:pt x="89405" y="106634"/>
                </a:cubicBezTo>
                <a:cubicBezTo>
                  <a:pt x="86107" y="105674"/>
                  <a:pt x="82695" y="105055"/>
                  <a:pt x="79282" y="104783"/>
                </a:cubicBezTo>
                <a:cubicBezTo>
                  <a:pt x="77200" y="104783"/>
                  <a:pt x="77200" y="105362"/>
                  <a:pt x="77200" y="105651"/>
                </a:cubicBezTo>
                <a:cubicBezTo>
                  <a:pt x="77200" y="107039"/>
                  <a:pt x="77200" y="111435"/>
                  <a:pt x="59846" y="119881"/>
                </a:cubicBezTo>
                <a:cubicBezTo>
                  <a:pt x="59731" y="120095"/>
                  <a:pt x="59441" y="120211"/>
                  <a:pt x="59210" y="120170"/>
                </a:cubicBezTo>
                <a:close/>
                <a:moveTo>
                  <a:pt x="52442" y="111320"/>
                </a:moveTo>
                <a:cubicBezTo>
                  <a:pt x="54698" y="111065"/>
                  <a:pt x="56896" y="112338"/>
                  <a:pt x="57764" y="114443"/>
                </a:cubicBezTo>
                <a:cubicBezTo>
                  <a:pt x="58227" y="115577"/>
                  <a:pt x="58805" y="116642"/>
                  <a:pt x="59557" y="117625"/>
                </a:cubicBezTo>
                <a:cubicBezTo>
                  <a:pt x="73382" y="110741"/>
                  <a:pt x="74886" y="107097"/>
                  <a:pt x="74886" y="106056"/>
                </a:cubicBezTo>
                <a:cubicBezTo>
                  <a:pt x="74886" y="105015"/>
                  <a:pt x="75464" y="102932"/>
                  <a:pt x="79224" y="102932"/>
                </a:cubicBezTo>
                <a:cubicBezTo>
                  <a:pt x="82810" y="103210"/>
                  <a:pt x="86397" y="103852"/>
                  <a:pt x="89867" y="104841"/>
                </a:cubicBezTo>
                <a:cubicBezTo>
                  <a:pt x="93917" y="105957"/>
                  <a:pt x="98023" y="106652"/>
                  <a:pt x="102188" y="106923"/>
                </a:cubicBezTo>
                <a:cubicBezTo>
                  <a:pt x="104328" y="106923"/>
                  <a:pt x="105716" y="106461"/>
                  <a:pt x="106122" y="105535"/>
                </a:cubicBezTo>
                <a:cubicBezTo>
                  <a:pt x="107220" y="103395"/>
                  <a:pt x="104270" y="98131"/>
                  <a:pt x="101841" y="93966"/>
                </a:cubicBezTo>
                <a:cubicBezTo>
                  <a:pt x="98949" y="88818"/>
                  <a:pt x="96462" y="84364"/>
                  <a:pt x="97966" y="81761"/>
                </a:cubicBezTo>
                <a:cubicBezTo>
                  <a:pt x="99470" y="79158"/>
                  <a:pt x="102130" y="79390"/>
                  <a:pt x="107452" y="80778"/>
                </a:cubicBezTo>
                <a:cubicBezTo>
                  <a:pt x="110113" y="81495"/>
                  <a:pt x="112889" y="81883"/>
                  <a:pt x="115666" y="81935"/>
                </a:cubicBezTo>
                <a:cubicBezTo>
                  <a:pt x="122607" y="81935"/>
                  <a:pt x="124111" y="78291"/>
                  <a:pt x="126251" y="73258"/>
                </a:cubicBezTo>
                <a:cubicBezTo>
                  <a:pt x="127350" y="70528"/>
                  <a:pt x="128739" y="67942"/>
                  <a:pt x="130474" y="65565"/>
                </a:cubicBezTo>
                <a:cubicBezTo>
                  <a:pt x="133077" y="62707"/>
                  <a:pt x="136085" y="60203"/>
                  <a:pt x="139324" y="58103"/>
                </a:cubicBezTo>
                <a:cubicBezTo>
                  <a:pt x="147654" y="52319"/>
                  <a:pt x="156272" y="45956"/>
                  <a:pt x="149447" y="35717"/>
                </a:cubicBezTo>
                <a:cubicBezTo>
                  <a:pt x="143315" y="26017"/>
                  <a:pt x="139961" y="14801"/>
                  <a:pt x="139845" y="3324"/>
                </a:cubicBezTo>
                <a:cubicBezTo>
                  <a:pt x="136085" y="5771"/>
                  <a:pt x="131688" y="7096"/>
                  <a:pt x="127235" y="7142"/>
                </a:cubicBezTo>
                <a:cubicBezTo>
                  <a:pt x="125152" y="7154"/>
                  <a:pt x="123070" y="6784"/>
                  <a:pt x="121103" y="6043"/>
                </a:cubicBezTo>
                <a:cubicBezTo>
                  <a:pt x="118443" y="5025"/>
                  <a:pt x="115608" y="4499"/>
                  <a:pt x="112716" y="4481"/>
                </a:cubicBezTo>
                <a:cubicBezTo>
                  <a:pt x="108724" y="4481"/>
                  <a:pt x="104039" y="5580"/>
                  <a:pt x="104039" y="10844"/>
                </a:cubicBezTo>
                <a:cubicBezTo>
                  <a:pt x="104560" y="15790"/>
                  <a:pt x="101205" y="20319"/>
                  <a:pt x="96346" y="21256"/>
                </a:cubicBezTo>
                <a:cubicBezTo>
                  <a:pt x="95479" y="21314"/>
                  <a:pt x="94611" y="20950"/>
                  <a:pt x="94090" y="20273"/>
                </a:cubicBezTo>
                <a:cubicBezTo>
                  <a:pt x="93511" y="19503"/>
                  <a:pt x="93338" y="18480"/>
                  <a:pt x="93627" y="17554"/>
                </a:cubicBezTo>
                <a:cubicBezTo>
                  <a:pt x="93627" y="16339"/>
                  <a:pt x="92933" y="15819"/>
                  <a:pt x="89289" y="14430"/>
                </a:cubicBezTo>
                <a:cubicBezTo>
                  <a:pt x="85240" y="13308"/>
                  <a:pt x="81596" y="11110"/>
                  <a:pt x="78704" y="8068"/>
                </a:cubicBezTo>
                <a:cubicBezTo>
                  <a:pt x="76736" y="6246"/>
                  <a:pt x="74018" y="5395"/>
                  <a:pt x="71357" y="5754"/>
                </a:cubicBezTo>
                <a:cubicBezTo>
                  <a:pt x="67655" y="5893"/>
                  <a:pt x="64011" y="6280"/>
                  <a:pt x="60367" y="6911"/>
                </a:cubicBezTo>
                <a:cubicBezTo>
                  <a:pt x="56376" y="7588"/>
                  <a:pt x="52384" y="7992"/>
                  <a:pt x="48335" y="8126"/>
                </a:cubicBezTo>
                <a:cubicBezTo>
                  <a:pt x="46137" y="8172"/>
                  <a:pt x="43997" y="7883"/>
                  <a:pt x="41915" y="7258"/>
                </a:cubicBezTo>
                <a:cubicBezTo>
                  <a:pt x="40411" y="6778"/>
                  <a:pt x="38907" y="6546"/>
                  <a:pt x="37345" y="6564"/>
                </a:cubicBezTo>
                <a:cubicBezTo>
                  <a:pt x="27916" y="6564"/>
                  <a:pt x="15017" y="14372"/>
                  <a:pt x="5877" y="25537"/>
                </a:cubicBezTo>
                <a:cubicBezTo>
                  <a:pt x="93" y="32767"/>
                  <a:pt x="1482" y="35255"/>
                  <a:pt x="3853" y="39014"/>
                </a:cubicBezTo>
                <a:cubicBezTo>
                  <a:pt x="5993" y="42017"/>
                  <a:pt x="7208" y="45609"/>
                  <a:pt x="7266" y="49311"/>
                </a:cubicBezTo>
                <a:cubicBezTo>
                  <a:pt x="7208" y="52874"/>
                  <a:pt x="8075" y="56391"/>
                  <a:pt x="9869" y="59491"/>
                </a:cubicBezTo>
                <a:cubicBezTo>
                  <a:pt x="12009" y="62777"/>
                  <a:pt x="12356" y="66941"/>
                  <a:pt x="10794" y="70539"/>
                </a:cubicBezTo>
                <a:cubicBezTo>
                  <a:pt x="18083" y="74357"/>
                  <a:pt x="17851" y="82513"/>
                  <a:pt x="17678" y="89108"/>
                </a:cubicBezTo>
                <a:cubicBezTo>
                  <a:pt x="17504" y="91242"/>
                  <a:pt x="17504" y="93394"/>
                  <a:pt x="17678" y="95528"/>
                </a:cubicBezTo>
                <a:cubicBezTo>
                  <a:pt x="18083" y="97958"/>
                  <a:pt x="19529" y="99057"/>
                  <a:pt x="22478" y="99057"/>
                </a:cubicBezTo>
                <a:cubicBezTo>
                  <a:pt x="24619" y="98958"/>
                  <a:pt x="26702" y="98652"/>
                  <a:pt x="28784" y="98131"/>
                </a:cubicBezTo>
                <a:cubicBezTo>
                  <a:pt x="30461" y="98131"/>
                  <a:pt x="32081" y="97495"/>
                  <a:pt x="33469" y="97379"/>
                </a:cubicBezTo>
                <a:cubicBezTo>
                  <a:pt x="34453" y="97183"/>
                  <a:pt x="35493" y="97564"/>
                  <a:pt x="36130" y="98363"/>
                </a:cubicBezTo>
                <a:cubicBezTo>
                  <a:pt x="36997" y="99577"/>
                  <a:pt x="36419" y="101255"/>
                  <a:pt x="35667" y="103453"/>
                </a:cubicBezTo>
                <a:cubicBezTo>
                  <a:pt x="34915" y="105651"/>
                  <a:pt x="33469" y="109816"/>
                  <a:pt x="35667" y="112361"/>
                </a:cubicBezTo>
                <a:cubicBezTo>
                  <a:pt x="36651" y="113321"/>
                  <a:pt x="37981" y="113807"/>
                  <a:pt x="39369" y="113691"/>
                </a:cubicBezTo>
                <a:cubicBezTo>
                  <a:pt x="41567" y="113558"/>
                  <a:pt x="43708" y="113194"/>
                  <a:pt x="45848" y="112592"/>
                </a:cubicBezTo>
                <a:cubicBezTo>
                  <a:pt x="47988" y="111979"/>
                  <a:pt x="50186" y="111591"/>
                  <a:pt x="52442" y="11143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6" name="Forma libre: forma 335">
            <a:extLst>
              <a:ext uri="{FF2B5EF4-FFF2-40B4-BE49-F238E27FC236}">
                <a16:creationId xmlns:a16="http://schemas.microsoft.com/office/drawing/2014/main" id="{910D58AC-2E3B-FC13-5600-5DAEC8468642}"/>
              </a:ext>
            </a:extLst>
          </p:cNvPr>
          <p:cNvSpPr/>
          <p:nvPr/>
        </p:nvSpPr>
        <p:spPr>
          <a:xfrm>
            <a:off x="8887708" y="3856571"/>
            <a:ext cx="203372" cy="246003"/>
          </a:xfrm>
          <a:custGeom>
            <a:avLst/>
            <a:gdLst>
              <a:gd name="connsiteX0" fmla="*/ 156605 w 203372"/>
              <a:gd name="connsiteY0" fmla="*/ 245868 h 246003"/>
              <a:gd name="connsiteX1" fmla="*/ 154349 w 203372"/>
              <a:gd name="connsiteY1" fmla="*/ 244885 h 246003"/>
              <a:gd name="connsiteX2" fmla="*/ 153886 w 203372"/>
              <a:gd name="connsiteY2" fmla="*/ 242166 h 246003"/>
              <a:gd name="connsiteX3" fmla="*/ 149490 w 203372"/>
              <a:gd name="connsiteY3" fmla="*/ 238985 h 246003"/>
              <a:gd name="connsiteX4" fmla="*/ 142723 w 203372"/>
              <a:gd name="connsiteY4" fmla="*/ 235861 h 246003"/>
              <a:gd name="connsiteX5" fmla="*/ 142202 w 203372"/>
              <a:gd name="connsiteY5" fmla="*/ 235051 h 246003"/>
              <a:gd name="connsiteX6" fmla="*/ 142202 w 203372"/>
              <a:gd name="connsiteY6" fmla="*/ 234184 h 246003"/>
              <a:gd name="connsiteX7" fmla="*/ 146135 w 203372"/>
              <a:gd name="connsiteY7" fmla="*/ 215327 h 246003"/>
              <a:gd name="connsiteX8" fmla="*/ 145441 w 203372"/>
              <a:gd name="connsiteY8" fmla="*/ 203758 h 246003"/>
              <a:gd name="connsiteX9" fmla="*/ 127567 w 203372"/>
              <a:gd name="connsiteY9" fmla="*/ 175819 h 246003"/>
              <a:gd name="connsiteX10" fmla="*/ 125600 w 203372"/>
              <a:gd name="connsiteY10" fmla="*/ 159333 h 246003"/>
              <a:gd name="connsiteX11" fmla="*/ 125022 w 203372"/>
              <a:gd name="connsiteY11" fmla="*/ 143021 h 246003"/>
              <a:gd name="connsiteX12" fmla="*/ 107669 w 203372"/>
              <a:gd name="connsiteY12" fmla="*/ 126362 h 246003"/>
              <a:gd name="connsiteX13" fmla="*/ 104892 w 203372"/>
              <a:gd name="connsiteY13" fmla="*/ 122949 h 246003"/>
              <a:gd name="connsiteX14" fmla="*/ 93786 w 203372"/>
              <a:gd name="connsiteY14" fmla="*/ 119074 h 246003"/>
              <a:gd name="connsiteX15" fmla="*/ 81119 w 203372"/>
              <a:gd name="connsiteY15" fmla="*/ 123817 h 246003"/>
              <a:gd name="connsiteX16" fmla="*/ 67930 w 203372"/>
              <a:gd name="connsiteY16" fmla="*/ 131394 h 246003"/>
              <a:gd name="connsiteX17" fmla="*/ 61683 w 203372"/>
              <a:gd name="connsiteY17" fmla="*/ 128791 h 246003"/>
              <a:gd name="connsiteX18" fmla="*/ 43462 w 203372"/>
              <a:gd name="connsiteY18" fmla="*/ 130122 h 246003"/>
              <a:gd name="connsiteX19" fmla="*/ 38660 w 203372"/>
              <a:gd name="connsiteY19" fmla="*/ 133940 h 246003"/>
              <a:gd name="connsiteX20" fmla="*/ 22233 w 203372"/>
              <a:gd name="connsiteY20" fmla="*/ 143657 h 246003"/>
              <a:gd name="connsiteX21" fmla="*/ 17200 w 203372"/>
              <a:gd name="connsiteY21" fmla="*/ 138798 h 246003"/>
              <a:gd name="connsiteX22" fmla="*/ 20266 w 203372"/>
              <a:gd name="connsiteY22" fmla="*/ 127230 h 246003"/>
              <a:gd name="connsiteX23" fmla="*/ 24199 w 203372"/>
              <a:gd name="connsiteY23" fmla="*/ 117280 h 246003"/>
              <a:gd name="connsiteX24" fmla="*/ 26051 w 203372"/>
              <a:gd name="connsiteY24" fmla="*/ 104960 h 246003"/>
              <a:gd name="connsiteX25" fmla="*/ 26571 w 203372"/>
              <a:gd name="connsiteY25" fmla="*/ 88474 h 246003"/>
              <a:gd name="connsiteX26" fmla="*/ 21539 w 203372"/>
              <a:gd name="connsiteY26" fmla="*/ 84078 h 246003"/>
              <a:gd name="connsiteX27" fmla="*/ 17606 w 203372"/>
              <a:gd name="connsiteY27" fmla="*/ 84598 h 246003"/>
              <a:gd name="connsiteX28" fmla="*/ 13440 w 203372"/>
              <a:gd name="connsiteY28" fmla="*/ 85177 h 246003"/>
              <a:gd name="connsiteX29" fmla="*/ 7656 w 203372"/>
              <a:gd name="connsiteY29" fmla="*/ 81590 h 246003"/>
              <a:gd name="connsiteX30" fmla="*/ 6037 w 203372"/>
              <a:gd name="connsiteY30" fmla="*/ 67650 h 246003"/>
              <a:gd name="connsiteX31" fmla="*/ 5400 w 203372"/>
              <a:gd name="connsiteY31" fmla="*/ 60824 h 246003"/>
              <a:gd name="connsiteX32" fmla="*/ 252 w 203372"/>
              <a:gd name="connsiteY32" fmla="*/ 55676 h 246003"/>
              <a:gd name="connsiteX33" fmla="*/ -95 w 203372"/>
              <a:gd name="connsiteY33" fmla="*/ 54693 h 246003"/>
              <a:gd name="connsiteX34" fmla="*/ 483 w 203372"/>
              <a:gd name="connsiteY34" fmla="*/ 53825 h 246003"/>
              <a:gd name="connsiteX35" fmla="*/ 2855 w 203372"/>
              <a:gd name="connsiteY35" fmla="*/ 52726 h 246003"/>
              <a:gd name="connsiteX36" fmla="*/ 9449 w 203372"/>
              <a:gd name="connsiteY36" fmla="*/ 46942 h 246003"/>
              <a:gd name="connsiteX37" fmla="*/ 23737 w 203372"/>
              <a:gd name="connsiteY37" fmla="*/ 23804 h 246003"/>
              <a:gd name="connsiteX38" fmla="*/ 24373 w 203372"/>
              <a:gd name="connsiteY38" fmla="*/ 23457 h 246003"/>
              <a:gd name="connsiteX39" fmla="*/ 31083 w 203372"/>
              <a:gd name="connsiteY39" fmla="*/ 28779 h 246003"/>
              <a:gd name="connsiteX40" fmla="*/ 38892 w 203372"/>
              <a:gd name="connsiteY40" fmla="*/ 36414 h 246003"/>
              <a:gd name="connsiteX41" fmla="*/ 39818 w 203372"/>
              <a:gd name="connsiteY41" fmla="*/ 36414 h 246003"/>
              <a:gd name="connsiteX42" fmla="*/ 41900 w 203372"/>
              <a:gd name="connsiteY42" fmla="*/ 34794 h 246003"/>
              <a:gd name="connsiteX43" fmla="*/ 38892 w 203372"/>
              <a:gd name="connsiteY43" fmla="*/ 16631 h 246003"/>
              <a:gd name="connsiteX44" fmla="*/ 38892 w 203372"/>
              <a:gd name="connsiteY44" fmla="*/ 4368 h 246003"/>
              <a:gd name="connsiteX45" fmla="*/ 42941 w 203372"/>
              <a:gd name="connsiteY45" fmla="*/ 204 h 246003"/>
              <a:gd name="connsiteX46" fmla="*/ 44792 w 203372"/>
              <a:gd name="connsiteY46" fmla="*/ 1013 h 246003"/>
              <a:gd name="connsiteX47" fmla="*/ 47742 w 203372"/>
              <a:gd name="connsiteY47" fmla="*/ 1939 h 246003"/>
              <a:gd name="connsiteX48" fmla="*/ 54337 w 203372"/>
              <a:gd name="connsiteY48" fmla="*/ 88 h 246003"/>
              <a:gd name="connsiteX49" fmla="*/ 55725 w 203372"/>
              <a:gd name="connsiteY49" fmla="*/ 88 h 246003"/>
              <a:gd name="connsiteX50" fmla="*/ 57287 w 203372"/>
              <a:gd name="connsiteY50" fmla="*/ 1881 h 246003"/>
              <a:gd name="connsiteX51" fmla="*/ 65848 w 203372"/>
              <a:gd name="connsiteY51" fmla="*/ 15301 h 246003"/>
              <a:gd name="connsiteX52" fmla="*/ 71632 w 203372"/>
              <a:gd name="connsiteY52" fmla="*/ 23688 h 246003"/>
              <a:gd name="connsiteX53" fmla="*/ 79441 w 203372"/>
              <a:gd name="connsiteY53" fmla="*/ 36067 h 246003"/>
              <a:gd name="connsiteX54" fmla="*/ 85630 w 203372"/>
              <a:gd name="connsiteY54" fmla="*/ 44281 h 246003"/>
              <a:gd name="connsiteX55" fmla="*/ 97199 w 203372"/>
              <a:gd name="connsiteY55" fmla="*/ 47983 h 246003"/>
              <a:gd name="connsiteX56" fmla="*/ 100380 w 203372"/>
              <a:gd name="connsiteY56" fmla="*/ 47231 h 246003"/>
              <a:gd name="connsiteX57" fmla="*/ 111197 w 203372"/>
              <a:gd name="connsiteY57" fmla="*/ 43760 h 246003"/>
              <a:gd name="connsiteX58" fmla="*/ 121146 w 203372"/>
              <a:gd name="connsiteY58" fmla="*/ 53010 h 246003"/>
              <a:gd name="connsiteX59" fmla="*/ 121146 w 203372"/>
              <a:gd name="connsiteY59" fmla="*/ 53189 h 246003"/>
              <a:gd name="connsiteX60" fmla="*/ 126121 w 203372"/>
              <a:gd name="connsiteY60" fmla="*/ 64758 h 246003"/>
              <a:gd name="connsiteX61" fmla="*/ 129823 w 203372"/>
              <a:gd name="connsiteY61" fmla="*/ 74244 h 246003"/>
              <a:gd name="connsiteX62" fmla="*/ 119527 w 203372"/>
              <a:gd name="connsiteY62" fmla="*/ 81475 h 246003"/>
              <a:gd name="connsiteX63" fmla="*/ 108999 w 203372"/>
              <a:gd name="connsiteY63" fmla="*/ 86796 h 246003"/>
              <a:gd name="connsiteX64" fmla="*/ 124444 w 203372"/>
              <a:gd name="connsiteY64" fmla="*/ 100448 h 246003"/>
              <a:gd name="connsiteX65" fmla="*/ 138500 w 203372"/>
              <a:gd name="connsiteY65" fmla="*/ 112306 h 246003"/>
              <a:gd name="connsiteX66" fmla="*/ 145094 w 203372"/>
              <a:gd name="connsiteY66" fmla="*/ 124742 h 246003"/>
              <a:gd name="connsiteX67" fmla="*/ 152209 w 203372"/>
              <a:gd name="connsiteY67" fmla="*/ 136311 h 246003"/>
              <a:gd name="connsiteX68" fmla="*/ 162158 w 203372"/>
              <a:gd name="connsiteY68" fmla="*/ 148863 h 246003"/>
              <a:gd name="connsiteX69" fmla="*/ 174768 w 203372"/>
              <a:gd name="connsiteY69" fmla="*/ 165754 h 246003"/>
              <a:gd name="connsiteX70" fmla="*/ 189807 w 203372"/>
              <a:gd name="connsiteY70" fmla="*/ 180793 h 246003"/>
              <a:gd name="connsiteX71" fmla="*/ 196980 w 203372"/>
              <a:gd name="connsiteY71" fmla="*/ 186057 h 246003"/>
              <a:gd name="connsiteX72" fmla="*/ 202765 w 203372"/>
              <a:gd name="connsiteY72" fmla="*/ 214980 h 246003"/>
              <a:gd name="connsiteX73" fmla="*/ 202013 w 203372"/>
              <a:gd name="connsiteY73" fmla="*/ 225854 h 246003"/>
              <a:gd name="connsiteX74" fmla="*/ 201550 w 203372"/>
              <a:gd name="connsiteY74" fmla="*/ 226722 h 246003"/>
              <a:gd name="connsiteX75" fmla="*/ 187147 w 203372"/>
              <a:gd name="connsiteY75" fmla="*/ 231812 h 246003"/>
              <a:gd name="connsiteX76" fmla="*/ 181016 w 203372"/>
              <a:gd name="connsiteY76" fmla="*/ 230713 h 246003"/>
              <a:gd name="connsiteX77" fmla="*/ 172628 w 203372"/>
              <a:gd name="connsiteY77" fmla="*/ 229151 h 246003"/>
              <a:gd name="connsiteX78" fmla="*/ 163951 w 203372"/>
              <a:gd name="connsiteY78" fmla="*/ 235514 h 246003"/>
              <a:gd name="connsiteX79" fmla="*/ 156605 w 203372"/>
              <a:gd name="connsiteY79" fmla="*/ 245868 h 246003"/>
              <a:gd name="connsiteX80" fmla="*/ 145036 w 203372"/>
              <a:gd name="connsiteY80" fmla="*/ 234646 h 246003"/>
              <a:gd name="connsiteX81" fmla="*/ 150300 w 203372"/>
              <a:gd name="connsiteY81" fmla="*/ 236902 h 246003"/>
              <a:gd name="connsiteX82" fmla="*/ 156085 w 203372"/>
              <a:gd name="connsiteY82" fmla="*/ 242687 h 246003"/>
              <a:gd name="connsiteX83" fmla="*/ 156085 w 203372"/>
              <a:gd name="connsiteY83" fmla="*/ 243497 h 246003"/>
              <a:gd name="connsiteX84" fmla="*/ 156605 w 203372"/>
              <a:gd name="connsiteY84" fmla="*/ 243497 h 246003"/>
              <a:gd name="connsiteX85" fmla="*/ 162043 w 203372"/>
              <a:gd name="connsiteY85" fmla="*/ 235341 h 246003"/>
              <a:gd name="connsiteX86" fmla="*/ 172975 w 203372"/>
              <a:gd name="connsiteY86" fmla="*/ 226722 h 246003"/>
              <a:gd name="connsiteX87" fmla="*/ 182230 w 203372"/>
              <a:gd name="connsiteY87" fmla="*/ 228457 h 246003"/>
              <a:gd name="connsiteX88" fmla="*/ 187494 w 203372"/>
              <a:gd name="connsiteY88" fmla="*/ 229325 h 246003"/>
              <a:gd name="connsiteX89" fmla="*/ 200104 w 203372"/>
              <a:gd name="connsiteY89" fmla="*/ 225102 h 246003"/>
              <a:gd name="connsiteX90" fmla="*/ 200856 w 203372"/>
              <a:gd name="connsiteY90" fmla="*/ 214459 h 246003"/>
              <a:gd name="connsiteX91" fmla="*/ 195997 w 203372"/>
              <a:gd name="connsiteY91" fmla="*/ 187735 h 246003"/>
              <a:gd name="connsiteX92" fmla="*/ 189229 w 203372"/>
              <a:gd name="connsiteY92" fmla="*/ 182760 h 246003"/>
              <a:gd name="connsiteX93" fmla="*/ 173264 w 203372"/>
              <a:gd name="connsiteY93" fmla="*/ 166506 h 246003"/>
              <a:gd name="connsiteX94" fmla="*/ 161175 w 203372"/>
              <a:gd name="connsiteY94" fmla="*/ 150483 h 246003"/>
              <a:gd name="connsiteX95" fmla="*/ 150763 w 203372"/>
              <a:gd name="connsiteY95" fmla="*/ 137179 h 246003"/>
              <a:gd name="connsiteX96" fmla="*/ 143937 w 203372"/>
              <a:gd name="connsiteY96" fmla="*/ 126304 h 246003"/>
              <a:gd name="connsiteX97" fmla="*/ 136881 w 203372"/>
              <a:gd name="connsiteY97" fmla="*/ 112537 h 246003"/>
              <a:gd name="connsiteX98" fmla="*/ 123923 w 203372"/>
              <a:gd name="connsiteY98" fmla="*/ 102646 h 246003"/>
              <a:gd name="connsiteX99" fmla="*/ 107553 w 203372"/>
              <a:gd name="connsiteY99" fmla="*/ 86160 h 246003"/>
              <a:gd name="connsiteX100" fmla="*/ 119758 w 203372"/>
              <a:gd name="connsiteY100" fmla="*/ 79450 h 246003"/>
              <a:gd name="connsiteX101" fmla="*/ 128204 w 203372"/>
              <a:gd name="connsiteY101" fmla="*/ 74476 h 246003"/>
              <a:gd name="connsiteX102" fmla="*/ 124964 w 203372"/>
              <a:gd name="connsiteY102" fmla="*/ 66378 h 246003"/>
              <a:gd name="connsiteX103" fmla="*/ 119585 w 203372"/>
              <a:gd name="connsiteY103" fmla="*/ 53883 h 246003"/>
              <a:gd name="connsiteX104" fmla="*/ 111833 w 203372"/>
              <a:gd name="connsiteY104" fmla="*/ 46363 h 246003"/>
              <a:gd name="connsiteX105" fmla="*/ 102289 w 203372"/>
              <a:gd name="connsiteY105" fmla="*/ 49429 h 246003"/>
              <a:gd name="connsiteX106" fmla="*/ 84936 w 203372"/>
              <a:gd name="connsiteY106" fmla="*/ 46537 h 246003"/>
              <a:gd name="connsiteX107" fmla="*/ 77705 w 203372"/>
              <a:gd name="connsiteY107" fmla="*/ 36414 h 246003"/>
              <a:gd name="connsiteX108" fmla="*/ 70590 w 203372"/>
              <a:gd name="connsiteY108" fmla="*/ 25655 h 246003"/>
              <a:gd name="connsiteX109" fmla="*/ 63938 w 203372"/>
              <a:gd name="connsiteY109" fmla="*/ 15648 h 246003"/>
              <a:gd name="connsiteX110" fmla="*/ 55899 w 203372"/>
              <a:gd name="connsiteY110" fmla="*/ 3732 h 246003"/>
              <a:gd name="connsiteX111" fmla="*/ 54857 w 203372"/>
              <a:gd name="connsiteY111" fmla="*/ 2575 h 246003"/>
              <a:gd name="connsiteX112" fmla="*/ 43288 w 203372"/>
              <a:gd name="connsiteY112" fmla="*/ 2575 h 246003"/>
              <a:gd name="connsiteX113" fmla="*/ 41148 w 203372"/>
              <a:gd name="connsiteY113" fmla="*/ 5178 h 246003"/>
              <a:gd name="connsiteX114" fmla="*/ 40570 w 203372"/>
              <a:gd name="connsiteY114" fmla="*/ 14954 h 246003"/>
              <a:gd name="connsiteX115" fmla="*/ 44098 w 203372"/>
              <a:gd name="connsiteY115" fmla="*/ 35546 h 246003"/>
              <a:gd name="connsiteX116" fmla="*/ 39933 w 203372"/>
              <a:gd name="connsiteY116" fmla="*/ 38612 h 246003"/>
              <a:gd name="connsiteX117" fmla="*/ 38429 w 203372"/>
              <a:gd name="connsiteY117" fmla="*/ 38612 h 246003"/>
              <a:gd name="connsiteX118" fmla="*/ 29232 w 203372"/>
              <a:gd name="connsiteY118" fmla="*/ 29878 h 246003"/>
              <a:gd name="connsiteX119" fmla="*/ 25357 w 203372"/>
              <a:gd name="connsiteY119" fmla="*/ 25597 h 246003"/>
              <a:gd name="connsiteX120" fmla="*/ 25357 w 203372"/>
              <a:gd name="connsiteY120" fmla="*/ 25597 h 246003"/>
              <a:gd name="connsiteX121" fmla="*/ 11878 w 203372"/>
              <a:gd name="connsiteY121" fmla="*/ 47173 h 246003"/>
              <a:gd name="connsiteX122" fmla="*/ 3954 w 203372"/>
              <a:gd name="connsiteY122" fmla="*/ 55098 h 246003"/>
              <a:gd name="connsiteX123" fmla="*/ 3202 w 203372"/>
              <a:gd name="connsiteY123" fmla="*/ 55445 h 246003"/>
              <a:gd name="connsiteX124" fmla="*/ 7483 w 203372"/>
              <a:gd name="connsiteY124" fmla="*/ 59841 h 246003"/>
              <a:gd name="connsiteX125" fmla="*/ 8466 w 203372"/>
              <a:gd name="connsiteY125" fmla="*/ 68055 h 246003"/>
              <a:gd name="connsiteX126" fmla="*/ 9912 w 203372"/>
              <a:gd name="connsiteY126" fmla="*/ 81012 h 246003"/>
              <a:gd name="connsiteX127" fmla="*/ 13325 w 203372"/>
              <a:gd name="connsiteY127" fmla="*/ 83210 h 246003"/>
              <a:gd name="connsiteX128" fmla="*/ 17027 w 203372"/>
              <a:gd name="connsiteY128" fmla="*/ 82689 h 246003"/>
              <a:gd name="connsiteX129" fmla="*/ 21423 w 203372"/>
              <a:gd name="connsiteY129" fmla="*/ 82111 h 246003"/>
              <a:gd name="connsiteX130" fmla="*/ 28595 w 203372"/>
              <a:gd name="connsiteY130" fmla="*/ 87895 h 246003"/>
              <a:gd name="connsiteX131" fmla="*/ 28133 w 203372"/>
              <a:gd name="connsiteY131" fmla="*/ 105654 h 246003"/>
              <a:gd name="connsiteX132" fmla="*/ 26339 w 203372"/>
              <a:gd name="connsiteY132" fmla="*/ 117223 h 246003"/>
              <a:gd name="connsiteX133" fmla="*/ 21886 w 203372"/>
              <a:gd name="connsiteY133" fmla="*/ 128791 h 246003"/>
              <a:gd name="connsiteX134" fmla="*/ 19341 w 203372"/>
              <a:gd name="connsiteY134" fmla="*/ 138162 h 246003"/>
              <a:gd name="connsiteX135" fmla="*/ 22117 w 203372"/>
              <a:gd name="connsiteY135" fmla="*/ 141228 h 246003"/>
              <a:gd name="connsiteX136" fmla="*/ 37099 w 203372"/>
              <a:gd name="connsiteY136" fmla="*/ 132031 h 246003"/>
              <a:gd name="connsiteX137" fmla="*/ 42016 w 203372"/>
              <a:gd name="connsiteY137" fmla="*/ 128155 h 246003"/>
              <a:gd name="connsiteX138" fmla="*/ 54799 w 203372"/>
              <a:gd name="connsiteY138" fmla="*/ 122949 h 246003"/>
              <a:gd name="connsiteX139" fmla="*/ 63418 w 203372"/>
              <a:gd name="connsiteY139" fmla="*/ 127230 h 246003"/>
              <a:gd name="connsiteX140" fmla="*/ 67814 w 203372"/>
              <a:gd name="connsiteY140" fmla="*/ 128965 h 246003"/>
              <a:gd name="connsiteX141" fmla="*/ 78920 w 203372"/>
              <a:gd name="connsiteY141" fmla="*/ 122776 h 246003"/>
              <a:gd name="connsiteX142" fmla="*/ 93670 w 203372"/>
              <a:gd name="connsiteY142" fmla="*/ 116586 h 246003"/>
              <a:gd name="connsiteX143" fmla="*/ 106512 w 203372"/>
              <a:gd name="connsiteY143" fmla="*/ 121330 h 246003"/>
              <a:gd name="connsiteX144" fmla="*/ 109289 w 203372"/>
              <a:gd name="connsiteY144" fmla="*/ 124742 h 246003"/>
              <a:gd name="connsiteX145" fmla="*/ 126006 w 203372"/>
              <a:gd name="connsiteY145" fmla="*/ 140939 h 246003"/>
              <a:gd name="connsiteX146" fmla="*/ 127683 w 203372"/>
              <a:gd name="connsiteY146" fmla="*/ 159565 h 246003"/>
              <a:gd name="connsiteX147" fmla="*/ 128088 w 203372"/>
              <a:gd name="connsiteY147" fmla="*/ 173447 h 246003"/>
              <a:gd name="connsiteX148" fmla="*/ 147582 w 203372"/>
              <a:gd name="connsiteY148" fmla="*/ 203815 h 246003"/>
              <a:gd name="connsiteX149" fmla="*/ 148276 w 203372"/>
              <a:gd name="connsiteY149" fmla="*/ 214690 h 246003"/>
              <a:gd name="connsiteX150" fmla="*/ 145036 w 203372"/>
              <a:gd name="connsiteY150" fmla="*/ 234646 h 24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203372" h="246003">
                <a:moveTo>
                  <a:pt x="156605" y="245868"/>
                </a:moveTo>
                <a:cubicBezTo>
                  <a:pt x="155738" y="245926"/>
                  <a:pt x="154870" y="245562"/>
                  <a:pt x="154349" y="244885"/>
                </a:cubicBezTo>
                <a:cubicBezTo>
                  <a:pt x="153771" y="244116"/>
                  <a:pt x="153597" y="243092"/>
                  <a:pt x="153886" y="242166"/>
                </a:cubicBezTo>
                <a:cubicBezTo>
                  <a:pt x="153886" y="240952"/>
                  <a:pt x="153192" y="240373"/>
                  <a:pt x="149490" y="238985"/>
                </a:cubicBezTo>
                <a:cubicBezTo>
                  <a:pt x="147118" y="238239"/>
                  <a:pt x="144863" y="237186"/>
                  <a:pt x="142723" y="235861"/>
                </a:cubicBezTo>
                <a:cubicBezTo>
                  <a:pt x="142433" y="235688"/>
                  <a:pt x="142260" y="235387"/>
                  <a:pt x="142202" y="235051"/>
                </a:cubicBezTo>
                <a:cubicBezTo>
                  <a:pt x="142086" y="234780"/>
                  <a:pt x="142086" y="234455"/>
                  <a:pt x="142202" y="234184"/>
                </a:cubicBezTo>
                <a:cubicBezTo>
                  <a:pt x="146714" y="229007"/>
                  <a:pt x="148160" y="221869"/>
                  <a:pt x="146135" y="215327"/>
                </a:cubicBezTo>
                <a:cubicBezTo>
                  <a:pt x="145441" y="211509"/>
                  <a:pt x="145210" y="207627"/>
                  <a:pt x="145441" y="203758"/>
                </a:cubicBezTo>
                <a:cubicBezTo>
                  <a:pt x="145846" y="191639"/>
                  <a:pt x="138731" y="180533"/>
                  <a:pt x="127567" y="175819"/>
                </a:cubicBezTo>
                <a:cubicBezTo>
                  <a:pt x="122535" y="174373"/>
                  <a:pt x="124039" y="167026"/>
                  <a:pt x="125600" y="159333"/>
                </a:cubicBezTo>
                <a:cubicBezTo>
                  <a:pt x="126931" y="152623"/>
                  <a:pt x="128435" y="144988"/>
                  <a:pt x="125022" y="143021"/>
                </a:cubicBezTo>
                <a:cubicBezTo>
                  <a:pt x="118254" y="138579"/>
                  <a:pt x="112412" y="132933"/>
                  <a:pt x="107669" y="126362"/>
                </a:cubicBezTo>
                <a:lnTo>
                  <a:pt x="104892" y="122949"/>
                </a:lnTo>
                <a:cubicBezTo>
                  <a:pt x="101884" y="120138"/>
                  <a:pt x="97894" y="118727"/>
                  <a:pt x="93786" y="119074"/>
                </a:cubicBezTo>
                <a:cubicBezTo>
                  <a:pt x="88002" y="119074"/>
                  <a:pt x="82217" y="121156"/>
                  <a:pt x="81119" y="123817"/>
                </a:cubicBezTo>
                <a:cubicBezTo>
                  <a:pt x="78399" y="128537"/>
                  <a:pt x="73367" y="131429"/>
                  <a:pt x="67930" y="131394"/>
                </a:cubicBezTo>
                <a:cubicBezTo>
                  <a:pt x="65558" y="131545"/>
                  <a:pt x="63244" y="130585"/>
                  <a:pt x="61683" y="128791"/>
                </a:cubicBezTo>
                <a:cubicBezTo>
                  <a:pt x="58154" y="123932"/>
                  <a:pt x="51097" y="124395"/>
                  <a:pt x="43462" y="130122"/>
                </a:cubicBezTo>
                <a:lnTo>
                  <a:pt x="38660" y="133940"/>
                </a:lnTo>
                <a:cubicBezTo>
                  <a:pt x="32876" y="138740"/>
                  <a:pt x="26571" y="143657"/>
                  <a:pt x="22233" y="143657"/>
                </a:cubicBezTo>
                <a:cubicBezTo>
                  <a:pt x="20440" y="143657"/>
                  <a:pt x="18126" y="142848"/>
                  <a:pt x="17200" y="138798"/>
                </a:cubicBezTo>
                <a:cubicBezTo>
                  <a:pt x="15986" y="134674"/>
                  <a:pt x="17200" y="130214"/>
                  <a:pt x="20266" y="127230"/>
                </a:cubicBezTo>
                <a:cubicBezTo>
                  <a:pt x="22869" y="124580"/>
                  <a:pt x="24315" y="120994"/>
                  <a:pt x="24199" y="117280"/>
                </a:cubicBezTo>
                <a:cubicBezTo>
                  <a:pt x="24257" y="113110"/>
                  <a:pt x="24893" y="108968"/>
                  <a:pt x="26051" y="104960"/>
                </a:cubicBezTo>
                <a:cubicBezTo>
                  <a:pt x="27901" y="99649"/>
                  <a:pt x="28133" y="93888"/>
                  <a:pt x="26571" y="88474"/>
                </a:cubicBezTo>
                <a:cubicBezTo>
                  <a:pt x="25414" y="84598"/>
                  <a:pt x="23390" y="84078"/>
                  <a:pt x="21539" y="84078"/>
                </a:cubicBezTo>
                <a:cubicBezTo>
                  <a:pt x="20208" y="84147"/>
                  <a:pt x="18878" y="84321"/>
                  <a:pt x="17606" y="84598"/>
                </a:cubicBezTo>
                <a:cubicBezTo>
                  <a:pt x="16217" y="84928"/>
                  <a:pt x="14829" y="85125"/>
                  <a:pt x="13440" y="85177"/>
                </a:cubicBezTo>
                <a:cubicBezTo>
                  <a:pt x="10896" y="85483"/>
                  <a:pt x="8524" y="83997"/>
                  <a:pt x="7656" y="81590"/>
                </a:cubicBezTo>
                <a:cubicBezTo>
                  <a:pt x="6094" y="77125"/>
                  <a:pt x="5516" y="72359"/>
                  <a:pt x="6037" y="67650"/>
                </a:cubicBezTo>
                <a:cubicBezTo>
                  <a:pt x="6441" y="65359"/>
                  <a:pt x="6210" y="63005"/>
                  <a:pt x="5400" y="60824"/>
                </a:cubicBezTo>
                <a:cubicBezTo>
                  <a:pt x="3839" y="58956"/>
                  <a:pt x="2103" y="57232"/>
                  <a:pt x="252" y="55676"/>
                </a:cubicBezTo>
                <a:cubicBezTo>
                  <a:pt x="-37" y="55433"/>
                  <a:pt x="-153" y="55057"/>
                  <a:pt x="-95" y="54693"/>
                </a:cubicBezTo>
                <a:cubicBezTo>
                  <a:pt x="-37" y="54340"/>
                  <a:pt x="194" y="54022"/>
                  <a:pt x="483" y="53825"/>
                </a:cubicBezTo>
                <a:lnTo>
                  <a:pt x="2855" y="52726"/>
                </a:lnTo>
                <a:cubicBezTo>
                  <a:pt x="6268" y="51222"/>
                  <a:pt x="9449" y="49776"/>
                  <a:pt x="9449" y="46942"/>
                </a:cubicBezTo>
                <a:cubicBezTo>
                  <a:pt x="9449" y="40290"/>
                  <a:pt x="22291" y="25250"/>
                  <a:pt x="23737" y="23804"/>
                </a:cubicBezTo>
                <a:cubicBezTo>
                  <a:pt x="23910" y="23613"/>
                  <a:pt x="24142" y="23486"/>
                  <a:pt x="24373" y="23457"/>
                </a:cubicBezTo>
                <a:cubicBezTo>
                  <a:pt x="27613" y="22763"/>
                  <a:pt x="29347" y="25713"/>
                  <a:pt x="31083" y="28779"/>
                </a:cubicBezTo>
                <a:cubicBezTo>
                  <a:pt x="32471" y="32319"/>
                  <a:pt x="35306" y="35095"/>
                  <a:pt x="38892" y="36414"/>
                </a:cubicBezTo>
                <a:lnTo>
                  <a:pt x="39818" y="36414"/>
                </a:lnTo>
                <a:cubicBezTo>
                  <a:pt x="40396" y="36414"/>
                  <a:pt x="41264" y="36414"/>
                  <a:pt x="41900" y="34794"/>
                </a:cubicBezTo>
                <a:cubicBezTo>
                  <a:pt x="43114" y="28576"/>
                  <a:pt x="42016" y="22127"/>
                  <a:pt x="38892" y="16631"/>
                </a:cubicBezTo>
                <a:cubicBezTo>
                  <a:pt x="36405" y="14144"/>
                  <a:pt x="37446" y="8013"/>
                  <a:pt x="38892" y="4368"/>
                </a:cubicBezTo>
                <a:cubicBezTo>
                  <a:pt x="39702" y="2459"/>
                  <a:pt x="41032" y="204"/>
                  <a:pt x="42941" y="204"/>
                </a:cubicBezTo>
                <a:cubicBezTo>
                  <a:pt x="43636" y="209"/>
                  <a:pt x="44330" y="498"/>
                  <a:pt x="44792" y="1013"/>
                </a:cubicBezTo>
                <a:cubicBezTo>
                  <a:pt x="45602" y="1679"/>
                  <a:pt x="46701" y="2008"/>
                  <a:pt x="47742" y="1939"/>
                </a:cubicBezTo>
                <a:cubicBezTo>
                  <a:pt x="50056" y="1835"/>
                  <a:pt x="52312" y="1204"/>
                  <a:pt x="54337" y="88"/>
                </a:cubicBezTo>
                <a:cubicBezTo>
                  <a:pt x="54741" y="-201"/>
                  <a:pt x="55320" y="-201"/>
                  <a:pt x="55725" y="88"/>
                </a:cubicBezTo>
                <a:lnTo>
                  <a:pt x="57287" y="1881"/>
                </a:lnTo>
                <a:cubicBezTo>
                  <a:pt x="61683" y="6740"/>
                  <a:pt x="65848" y="11310"/>
                  <a:pt x="65848" y="15301"/>
                </a:cubicBezTo>
                <a:cubicBezTo>
                  <a:pt x="65848" y="18077"/>
                  <a:pt x="68798" y="20796"/>
                  <a:pt x="71632" y="23688"/>
                </a:cubicBezTo>
                <a:cubicBezTo>
                  <a:pt x="75797" y="26592"/>
                  <a:pt x="78631" y="31058"/>
                  <a:pt x="79441" y="36067"/>
                </a:cubicBezTo>
                <a:cubicBezTo>
                  <a:pt x="80019" y="39665"/>
                  <a:pt x="82333" y="42748"/>
                  <a:pt x="85630" y="44281"/>
                </a:cubicBezTo>
                <a:cubicBezTo>
                  <a:pt x="89101" y="46525"/>
                  <a:pt x="93092" y="47804"/>
                  <a:pt x="97199" y="47983"/>
                </a:cubicBezTo>
                <a:cubicBezTo>
                  <a:pt x="98298" y="48041"/>
                  <a:pt x="99397" y="47780"/>
                  <a:pt x="100380" y="47231"/>
                </a:cubicBezTo>
                <a:cubicBezTo>
                  <a:pt x="103620" y="45114"/>
                  <a:pt x="107321" y="43911"/>
                  <a:pt x="111197" y="43760"/>
                </a:cubicBezTo>
                <a:cubicBezTo>
                  <a:pt x="116519" y="43569"/>
                  <a:pt x="120973" y="47711"/>
                  <a:pt x="121146" y="53010"/>
                </a:cubicBezTo>
                <a:cubicBezTo>
                  <a:pt x="121146" y="53067"/>
                  <a:pt x="121146" y="53131"/>
                  <a:pt x="121146" y="53189"/>
                </a:cubicBezTo>
                <a:cubicBezTo>
                  <a:pt x="121667" y="57446"/>
                  <a:pt x="123402" y="61467"/>
                  <a:pt x="126121" y="64758"/>
                </a:cubicBezTo>
                <a:cubicBezTo>
                  <a:pt x="128493" y="67355"/>
                  <a:pt x="129823" y="70733"/>
                  <a:pt x="129823" y="74244"/>
                </a:cubicBezTo>
                <a:cubicBezTo>
                  <a:pt x="129823" y="79566"/>
                  <a:pt x="124618" y="80549"/>
                  <a:pt x="119527" y="81475"/>
                </a:cubicBezTo>
                <a:cubicBezTo>
                  <a:pt x="114437" y="82400"/>
                  <a:pt x="110445" y="83152"/>
                  <a:pt x="108999" y="86796"/>
                </a:cubicBezTo>
                <a:cubicBezTo>
                  <a:pt x="107553" y="90441"/>
                  <a:pt x="116866" y="96109"/>
                  <a:pt x="124444" y="100448"/>
                </a:cubicBezTo>
                <a:cubicBezTo>
                  <a:pt x="132021" y="104786"/>
                  <a:pt x="138500" y="108604"/>
                  <a:pt x="138500" y="112306"/>
                </a:cubicBezTo>
                <a:cubicBezTo>
                  <a:pt x="139541" y="116974"/>
                  <a:pt x="141797" y="121277"/>
                  <a:pt x="145094" y="124742"/>
                </a:cubicBezTo>
                <a:cubicBezTo>
                  <a:pt x="147986" y="128259"/>
                  <a:pt x="150358" y="132152"/>
                  <a:pt x="152209" y="136311"/>
                </a:cubicBezTo>
                <a:cubicBezTo>
                  <a:pt x="154870" y="140991"/>
                  <a:pt x="158225" y="145231"/>
                  <a:pt x="162158" y="148863"/>
                </a:cubicBezTo>
                <a:cubicBezTo>
                  <a:pt x="167480" y="153566"/>
                  <a:pt x="171760" y="159316"/>
                  <a:pt x="174768" y="165754"/>
                </a:cubicBezTo>
                <a:cubicBezTo>
                  <a:pt x="178008" y="172296"/>
                  <a:pt x="183271" y="177583"/>
                  <a:pt x="189807" y="180793"/>
                </a:cubicBezTo>
                <a:cubicBezTo>
                  <a:pt x="192353" y="182332"/>
                  <a:pt x="194725" y="184096"/>
                  <a:pt x="196980" y="186057"/>
                </a:cubicBezTo>
                <a:cubicBezTo>
                  <a:pt x="202765" y="191842"/>
                  <a:pt x="204153" y="204914"/>
                  <a:pt x="202765" y="214980"/>
                </a:cubicBezTo>
                <a:cubicBezTo>
                  <a:pt x="202244" y="218577"/>
                  <a:pt x="202013" y="222216"/>
                  <a:pt x="202013" y="225854"/>
                </a:cubicBezTo>
                <a:cubicBezTo>
                  <a:pt x="202013" y="226195"/>
                  <a:pt x="201840" y="226513"/>
                  <a:pt x="201550" y="226722"/>
                </a:cubicBezTo>
                <a:cubicBezTo>
                  <a:pt x="197443" y="229967"/>
                  <a:pt x="192353" y="231754"/>
                  <a:pt x="187147" y="231812"/>
                </a:cubicBezTo>
                <a:cubicBezTo>
                  <a:pt x="185065" y="231829"/>
                  <a:pt x="182982" y="231453"/>
                  <a:pt x="181016" y="230713"/>
                </a:cubicBezTo>
                <a:cubicBezTo>
                  <a:pt x="178354" y="229695"/>
                  <a:pt x="175520" y="229168"/>
                  <a:pt x="172628" y="229151"/>
                </a:cubicBezTo>
                <a:cubicBezTo>
                  <a:pt x="168637" y="229151"/>
                  <a:pt x="163951" y="230250"/>
                  <a:pt x="163951" y="235514"/>
                </a:cubicBezTo>
                <a:cubicBezTo>
                  <a:pt x="164472" y="240333"/>
                  <a:pt x="161349" y="244781"/>
                  <a:pt x="156605" y="245868"/>
                </a:cubicBezTo>
                <a:close/>
                <a:moveTo>
                  <a:pt x="145036" y="234646"/>
                </a:moveTo>
                <a:cubicBezTo>
                  <a:pt x="146714" y="235526"/>
                  <a:pt x="148507" y="236278"/>
                  <a:pt x="150300" y="236902"/>
                </a:cubicBezTo>
                <a:cubicBezTo>
                  <a:pt x="153713" y="238175"/>
                  <a:pt x="156952" y="239332"/>
                  <a:pt x="156085" y="242687"/>
                </a:cubicBezTo>
                <a:cubicBezTo>
                  <a:pt x="155969" y="242947"/>
                  <a:pt x="155969" y="243236"/>
                  <a:pt x="156085" y="243497"/>
                </a:cubicBezTo>
                <a:lnTo>
                  <a:pt x="156605" y="243497"/>
                </a:lnTo>
                <a:cubicBezTo>
                  <a:pt x="158225" y="243497"/>
                  <a:pt x="162043" y="241183"/>
                  <a:pt x="162043" y="235341"/>
                </a:cubicBezTo>
                <a:cubicBezTo>
                  <a:pt x="162043" y="229498"/>
                  <a:pt x="166034" y="226722"/>
                  <a:pt x="172975" y="226722"/>
                </a:cubicBezTo>
                <a:cubicBezTo>
                  <a:pt x="176156" y="226727"/>
                  <a:pt x="179280" y="227318"/>
                  <a:pt x="182230" y="228457"/>
                </a:cubicBezTo>
                <a:cubicBezTo>
                  <a:pt x="183908" y="229070"/>
                  <a:pt x="185701" y="229359"/>
                  <a:pt x="187494" y="229325"/>
                </a:cubicBezTo>
                <a:cubicBezTo>
                  <a:pt x="192063" y="229313"/>
                  <a:pt x="196460" y="227832"/>
                  <a:pt x="200104" y="225102"/>
                </a:cubicBezTo>
                <a:cubicBezTo>
                  <a:pt x="200104" y="221539"/>
                  <a:pt x="200336" y="217982"/>
                  <a:pt x="200856" y="214459"/>
                </a:cubicBezTo>
                <a:cubicBezTo>
                  <a:pt x="202649" y="203815"/>
                  <a:pt x="200856" y="192304"/>
                  <a:pt x="195997" y="187735"/>
                </a:cubicBezTo>
                <a:cubicBezTo>
                  <a:pt x="193915" y="185872"/>
                  <a:pt x="191659" y="184206"/>
                  <a:pt x="189229" y="182760"/>
                </a:cubicBezTo>
                <a:cubicBezTo>
                  <a:pt x="182288" y="179237"/>
                  <a:pt x="176677" y="173528"/>
                  <a:pt x="173264" y="166506"/>
                </a:cubicBezTo>
                <a:cubicBezTo>
                  <a:pt x="170372" y="160409"/>
                  <a:pt x="166207" y="154966"/>
                  <a:pt x="161175" y="150483"/>
                </a:cubicBezTo>
                <a:cubicBezTo>
                  <a:pt x="157010" y="146654"/>
                  <a:pt x="153482" y="142159"/>
                  <a:pt x="150763" y="137179"/>
                </a:cubicBezTo>
                <a:cubicBezTo>
                  <a:pt x="148912" y="133292"/>
                  <a:pt x="146656" y="129642"/>
                  <a:pt x="143937" y="126304"/>
                </a:cubicBezTo>
                <a:cubicBezTo>
                  <a:pt x="140293" y="122498"/>
                  <a:pt x="137863" y="117714"/>
                  <a:pt x="136881" y="112537"/>
                </a:cubicBezTo>
                <a:cubicBezTo>
                  <a:pt x="136881" y="110108"/>
                  <a:pt x="129708" y="106001"/>
                  <a:pt x="123923" y="102646"/>
                </a:cubicBezTo>
                <a:cubicBezTo>
                  <a:pt x="114726" y="97382"/>
                  <a:pt x="105239" y="91887"/>
                  <a:pt x="107553" y="86160"/>
                </a:cubicBezTo>
                <a:cubicBezTo>
                  <a:pt x="109462" y="81359"/>
                  <a:pt x="114957" y="80376"/>
                  <a:pt x="119758" y="79450"/>
                </a:cubicBezTo>
                <a:cubicBezTo>
                  <a:pt x="124560" y="78525"/>
                  <a:pt x="128204" y="77773"/>
                  <a:pt x="128204" y="74476"/>
                </a:cubicBezTo>
                <a:cubicBezTo>
                  <a:pt x="128146" y="71468"/>
                  <a:pt x="126989" y="68581"/>
                  <a:pt x="124964" y="66378"/>
                </a:cubicBezTo>
                <a:cubicBezTo>
                  <a:pt x="122014" y="62809"/>
                  <a:pt x="120163" y="58476"/>
                  <a:pt x="119585" y="53883"/>
                </a:cubicBezTo>
                <a:cubicBezTo>
                  <a:pt x="118890" y="48908"/>
                  <a:pt x="116288" y="46363"/>
                  <a:pt x="111833" y="46363"/>
                </a:cubicBezTo>
                <a:cubicBezTo>
                  <a:pt x="108421" y="46514"/>
                  <a:pt x="105124" y="47572"/>
                  <a:pt x="102289" y="49429"/>
                </a:cubicBezTo>
                <a:cubicBezTo>
                  <a:pt x="98934" y="51685"/>
                  <a:pt x="91125" y="50239"/>
                  <a:pt x="84936" y="46537"/>
                </a:cubicBezTo>
                <a:cubicBezTo>
                  <a:pt x="80945" y="44622"/>
                  <a:pt x="78226" y="40804"/>
                  <a:pt x="77705" y="36414"/>
                </a:cubicBezTo>
                <a:cubicBezTo>
                  <a:pt x="77705" y="32365"/>
                  <a:pt x="74119" y="28952"/>
                  <a:pt x="70590" y="25655"/>
                </a:cubicBezTo>
                <a:cubicBezTo>
                  <a:pt x="67062" y="22358"/>
                  <a:pt x="63938" y="19408"/>
                  <a:pt x="63938" y="15648"/>
                </a:cubicBezTo>
                <a:cubicBezTo>
                  <a:pt x="63938" y="11888"/>
                  <a:pt x="59832" y="8070"/>
                  <a:pt x="55899" y="3732"/>
                </a:cubicBezTo>
                <a:lnTo>
                  <a:pt x="54857" y="2575"/>
                </a:lnTo>
                <a:cubicBezTo>
                  <a:pt x="51329" y="4825"/>
                  <a:pt x="46817" y="4825"/>
                  <a:pt x="43288" y="2575"/>
                </a:cubicBezTo>
                <a:cubicBezTo>
                  <a:pt x="42768" y="2575"/>
                  <a:pt x="42016" y="3096"/>
                  <a:pt x="41148" y="5178"/>
                </a:cubicBezTo>
                <a:cubicBezTo>
                  <a:pt x="39586" y="8938"/>
                  <a:pt x="39297" y="13681"/>
                  <a:pt x="40570" y="14954"/>
                </a:cubicBezTo>
                <a:cubicBezTo>
                  <a:pt x="44388" y="21091"/>
                  <a:pt x="45660" y="28484"/>
                  <a:pt x="44098" y="35546"/>
                </a:cubicBezTo>
                <a:cubicBezTo>
                  <a:pt x="43520" y="37374"/>
                  <a:pt x="41842" y="38618"/>
                  <a:pt x="39933" y="38612"/>
                </a:cubicBezTo>
                <a:lnTo>
                  <a:pt x="38429" y="38612"/>
                </a:lnTo>
                <a:cubicBezTo>
                  <a:pt x="34265" y="37155"/>
                  <a:pt x="30909" y="33973"/>
                  <a:pt x="29232" y="29878"/>
                </a:cubicBezTo>
                <a:cubicBezTo>
                  <a:pt x="27786" y="27217"/>
                  <a:pt x="26803" y="25597"/>
                  <a:pt x="25357" y="25597"/>
                </a:cubicBezTo>
                <a:lnTo>
                  <a:pt x="25357" y="25597"/>
                </a:lnTo>
                <a:cubicBezTo>
                  <a:pt x="21307" y="30282"/>
                  <a:pt x="11878" y="42372"/>
                  <a:pt x="11878" y="47173"/>
                </a:cubicBezTo>
                <a:cubicBezTo>
                  <a:pt x="11878" y="51974"/>
                  <a:pt x="7656" y="53420"/>
                  <a:pt x="3954" y="55098"/>
                </a:cubicBezTo>
                <a:lnTo>
                  <a:pt x="3202" y="55445"/>
                </a:lnTo>
                <a:cubicBezTo>
                  <a:pt x="4764" y="56758"/>
                  <a:pt x="6210" y="58227"/>
                  <a:pt x="7483" y="59841"/>
                </a:cubicBezTo>
                <a:cubicBezTo>
                  <a:pt x="8582" y="62427"/>
                  <a:pt x="8929" y="65278"/>
                  <a:pt x="8466" y="68055"/>
                </a:cubicBezTo>
                <a:cubicBezTo>
                  <a:pt x="7945" y="72428"/>
                  <a:pt x="8466" y="76859"/>
                  <a:pt x="9912" y="81012"/>
                </a:cubicBezTo>
                <a:cubicBezTo>
                  <a:pt x="10375" y="82452"/>
                  <a:pt x="11821" y="83372"/>
                  <a:pt x="13325" y="83210"/>
                </a:cubicBezTo>
                <a:cubicBezTo>
                  <a:pt x="14598" y="83164"/>
                  <a:pt x="15812" y="82990"/>
                  <a:pt x="17027" y="82689"/>
                </a:cubicBezTo>
                <a:cubicBezTo>
                  <a:pt x="18473" y="82354"/>
                  <a:pt x="19919" y="82163"/>
                  <a:pt x="21423" y="82111"/>
                </a:cubicBezTo>
                <a:cubicBezTo>
                  <a:pt x="24893" y="82019"/>
                  <a:pt x="27959" y="84471"/>
                  <a:pt x="28595" y="87895"/>
                </a:cubicBezTo>
                <a:cubicBezTo>
                  <a:pt x="30273" y="93720"/>
                  <a:pt x="30099" y="99921"/>
                  <a:pt x="28133" y="105654"/>
                </a:cubicBezTo>
                <a:cubicBezTo>
                  <a:pt x="27034" y="109419"/>
                  <a:pt x="26455" y="113306"/>
                  <a:pt x="26339" y="117223"/>
                </a:cubicBezTo>
                <a:cubicBezTo>
                  <a:pt x="26513" y="121526"/>
                  <a:pt x="24893" y="125708"/>
                  <a:pt x="21886" y="128791"/>
                </a:cubicBezTo>
                <a:cubicBezTo>
                  <a:pt x="19283" y="131146"/>
                  <a:pt x="18300" y="134807"/>
                  <a:pt x="19341" y="138162"/>
                </a:cubicBezTo>
                <a:cubicBezTo>
                  <a:pt x="19919" y="140881"/>
                  <a:pt x="21134" y="141228"/>
                  <a:pt x="22117" y="141228"/>
                </a:cubicBezTo>
                <a:cubicBezTo>
                  <a:pt x="25645" y="141228"/>
                  <a:pt x="31777" y="136311"/>
                  <a:pt x="37099" y="132031"/>
                </a:cubicBezTo>
                <a:cubicBezTo>
                  <a:pt x="38834" y="130642"/>
                  <a:pt x="40454" y="129312"/>
                  <a:pt x="42016" y="128155"/>
                </a:cubicBezTo>
                <a:cubicBezTo>
                  <a:pt x="45602" y="125101"/>
                  <a:pt x="50114" y="123273"/>
                  <a:pt x="54799" y="122949"/>
                </a:cubicBezTo>
                <a:cubicBezTo>
                  <a:pt x="58212" y="122932"/>
                  <a:pt x="61393" y="124517"/>
                  <a:pt x="63418" y="127230"/>
                </a:cubicBezTo>
                <a:cubicBezTo>
                  <a:pt x="64517" y="128467"/>
                  <a:pt x="66136" y="129115"/>
                  <a:pt x="67814" y="128965"/>
                </a:cubicBezTo>
                <a:cubicBezTo>
                  <a:pt x="72384" y="129034"/>
                  <a:pt x="76607" y="126674"/>
                  <a:pt x="78920" y="122776"/>
                </a:cubicBezTo>
                <a:cubicBezTo>
                  <a:pt x="80540" y="118727"/>
                  <a:pt x="87597" y="116586"/>
                  <a:pt x="93670" y="116586"/>
                </a:cubicBezTo>
                <a:cubicBezTo>
                  <a:pt x="98414" y="116233"/>
                  <a:pt x="103099" y="117963"/>
                  <a:pt x="106512" y="121330"/>
                </a:cubicBezTo>
                <a:lnTo>
                  <a:pt x="109289" y="124742"/>
                </a:lnTo>
                <a:cubicBezTo>
                  <a:pt x="113858" y="131111"/>
                  <a:pt x="119469" y="136600"/>
                  <a:pt x="126006" y="140939"/>
                </a:cubicBezTo>
                <a:cubicBezTo>
                  <a:pt x="130864" y="143657"/>
                  <a:pt x="129245" y="151755"/>
                  <a:pt x="127683" y="159565"/>
                </a:cubicBezTo>
                <a:cubicBezTo>
                  <a:pt x="126410" y="165985"/>
                  <a:pt x="125080" y="172580"/>
                  <a:pt x="128088" y="173447"/>
                </a:cubicBezTo>
                <a:cubicBezTo>
                  <a:pt x="140235" y="178561"/>
                  <a:pt x="147986" y="190633"/>
                  <a:pt x="147582" y="203815"/>
                </a:cubicBezTo>
                <a:cubicBezTo>
                  <a:pt x="147350" y="207454"/>
                  <a:pt x="147582" y="211110"/>
                  <a:pt x="148276" y="214690"/>
                </a:cubicBezTo>
                <a:cubicBezTo>
                  <a:pt x="150474" y="221475"/>
                  <a:pt x="149259" y="228903"/>
                  <a:pt x="145036" y="23464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7" name="Forma libre: forma 336">
            <a:extLst>
              <a:ext uri="{FF2B5EF4-FFF2-40B4-BE49-F238E27FC236}">
                <a16:creationId xmlns:a16="http://schemas.microsoft.com/office/drawing/2014/main" id="{D559E215-4E70-CE1C-5540-499BD198010A}"/>
              </a:ext>
            </a:extLst>
          </p:cNvPr>
          <p:cNvSpPr/>
          <p:nvPr/>
        </p:nvSpPr>
        <p:spPr>
          <a:xfrm>
            <a:off x="8817962" y="3910703"/>
            <a:ext cx="219610" cy="416011"/>
          </a:xfrm>
          <a:custGeom>
            <a:avLst/>
            <a:gdLst>
              <a:gd name="connsiteX0" fmla="*/ 104935 w 219610"/>
              <a:gd name="connsiteY0" fmla="*/ 415883 h 416011"/>
              <a:gd name="connsiteX1" fmla="*/ 93366 w 219610"/>
              <a:gd name="connsiteY1" fmla="*/ 411140 h 416011"/>
              <a:gd name="connsiteX2" fmla="*/ 80872 w 219610"/>
              <a:gd name="connsiteY2" fmla="*/ 396158 h 416011"/>
              <a:gd name="connsiteX3" fmla="*/ 65312 w 219610"/>
              <a:gd name="connsiteY3" fmla="*/ 395117 h 416011"/>
              <a:gd name="connsiteX4" fmla="*/ 64213 w 219610"/>
              <a:gd name="connsiteY4" fmla="*/ 394423 h 416011"/>
              <a:gd name="connsiteX5" fmla="*/ 56173 w 219610"/>
              <a:gd name="connsiteY5" fmla="*/ 381176 h 416011"/>
              <a:gd name="connsiteX6" fmla="*/ 21003 w 219610"/>
              <a:gd name="connsiteY6" fmla="*/ 346470 h 416011"/>
              <a:gd name="connsiteX7" fmla="*/ 16665 w 219610"/>
              <a:gd name="connsiteY7" fmla="*/ 343982 h 416011"/>
              <a:gd name="connsiteX8" fmla="*/ 18400 w 219610"/>
              <a:gd name="connsiteY8" fmla="*/ 320845 h 416011"/>
              <a:gd name="connsiteX9" fmla="*/ 23722 w 219610"/>
              <a:gd name="connsiteY9" fmla="*/ 293774 h 416011"/>
              <a:gd name="connsiteX10" fmla="*/ 26093 w 219610"/>
              <a:gd name="connsiteY10" fmla="*/ 280643 h 416011"/>
              <a:gd name="connsiteX11" fmla="*/ 27367 w 219610"/>
              <a:gd name="connsiteY11" fmla="*/ 279764 h 416011"/>
              <a:gd name="connsiteX12" fmla="*/ 27424 w 219610"/>
              <a:gd name="connsiteY12" fmla="*/ 279775 h 416011"/>
              <a:gd name="connsiteX13" fmla="*/ 27887 w 219610"/>
              <a:gd name="connsiteY13" fmla="*/ 279775 h 416011"/>
              <a:gd name="connsiteX14" fmla="*/ 49521 w 219610"/>
              <a:gd name="connsiteY14" fmla="*/ 235640 h 416011"/>
              <a:gd name="connsiteX15" fmla="*/ 45066 w 219610"/>
              <a:gd name="connsiteY15" fmla="*/ 225055 h 416011"/>
              <a:gd name="connsiteX16" fmla="*/ 40902 w 219610"/>
              <a:gd name="connsiteY16" fmla="*/ 215337 h 416011"/>
              <a:gd name="connsiteX17" fmla="*/ 30432 w 219610"/>
              <a:gd name="connsiteY17" fmla="*/ 182713 h 416011"/>
              <a:gd name="connsiteX18" fmla="*/ 17590 w 219610"/>
              <a:gd name="connsiteY18" fmla="*/ 159228 h 416011"/>
              <a:gd name="connsiteX19" fmla="*/ 20772 w 219610"/>
              <a:gd name="connsiteY19" fmla="*/ 151881 h 416011"/>
              <a:gd name="connsiteX20" fmla="*/ 23664 w 219610"/>
              <a:gd name="connsiteY20" fmla="*/ 138404 h 416011"/>
              <a:gd name="connsiteX21" fmla="*/ 24301 w 219610"/>
              <a:gd name="connsiteY21" fmla="*/ 132620 h 416011"/>
              <a:gd name="connsiteX22" fmla="*/ 26151 w 219610"/>
              <a:gd name="connsiteY22" fmla="*/ 132215 h 416011"/>
              <a:gd name="connsiteX23" fmla="*/ 26151 w 219610"/>
              <a:gd name="connsiteY23" fmla="*/ 132215 h 416011"/>
              <a:gd name="connsiteX24" fmla="*/ 28870 w 219610"/>
              <a:gd name="connsiteY24" fmla="*/ 128223 h 416011"/>
              <a:gd name="connsiteX25" fmla="*/ 26383 w 219610"/>
              <a:gd name="connsiteY25" fmla="*/ 121340 h 416011"/>
              <a:gd name="connsiteX26" fmla="*/ 22681 w 219610"/>
              <a:gd name="connsiteY26" fmla="*/ 110176 h 416011"/>
              <a:gd name="connsiteX27" fmla="*/ 21061 w 219610"/>
              <a:gd name="connsiteY27" fmla="*/ 103061 h 416011"/>
              <a:gd name="connsiteX28" fmla="*/ -110 w 219610"/>
              <a:gd name="connsiteY28" fmla="*/ 77205 h 416011"/>
              <a:gd name="connsiteX29" fmla="*/ 4865 w 219610"/>
              <a:gd name="connsiteY29" fmla="*/ 36714 h 416011"/>
              <a:gd name="connsiteX30" fmla="*/ 5270 w 219610"/>
              <a:gd name="connsiteY30" fmla="*/ 33879 h 416011"/>
              <a:gd name="connsiteX31" fmla="*/ 21466 w 219610"/>
              <a:gd name="connsiteY31" fmla="*/ 24219 h 416011"/>
              <a:gd name="connsiteX32" fmla="*/ 24995 w 219610"/>
              <a:gd name="connsiteY32" fmla="*/ 24219 h 416011"/>
              <a:gd name="connsiteX33" fmla="*/ 41018 w 219610"/>
              <a:gd name="connsiteY33" fmla="*/ 18435 h 416011"/>
              <a:gd name="connsiteX34" fmla="*/ 55941 w 219610"/>
              <a:gd name="connsiteY34" fmla="*/ 9758 h 416011"/>
              <a:gd name="connsiteX35" fmla="*/ 65774 w 219610"/>
              <a:gd name="connsiteY35" fmla="*/ 4552 h 416011"/>
              <a:gd name="connsiteX36" fmla="*/ 70750 w 219610"/>
              <a:gd name="connsiteY36" fmla="*/ 40 h 416011"/>
              <a:gd name="connsiteX37" fmla="*/ 72022 w 219610"/>
              <a:gd name="connsiteY37" fmla="*/ 40 h 416011"/>
              <a:gd name="connsiteX38" fmla="*/ 77807 w 219610"/>
              <a:gd name="connsiteY38" fmla="*/ 5825 h 416011"/>
              <a:gd name="connsiteX39" fmla="*/ 78789 w 219610"/>
              <a:gd name="connsiteY39" fmla="*/ 14039 h 416011"/>
              <a:gd name="connsiteX40" fmla="*/ 80236 w 219610"/>
              <a:gd name="connsiteY40" fmla="*/ 26996 h 416011"/>
              <a:gd name="connsiteX41" fmla="*/ 83649 w 219610"/>
              <a:gd name="connsiteY41" fmla="*/ 29194 h 416011"/>
              <a:gd name="connsiteX42" fmla="*/ 87351 w 219610"/>
              <a:gd name="connsiteY42" fmla="*/ 28673 h 416011"/>
              <a:gd name="connsiteX43" fmla="*/ 91747 w 219610"/>
              <a:gd name="connsiteY43" fmla="*/ 28095 h 416011"/>
              <a:gd name="connsiteX44" fmla="*/ 98920 w 219610"/>
              <a:gd name="connsiteY44" fmla="*/ 33879 h 416011"/>
              <a:gd name="connsiteX45" fmla="*/ 98457 w 219610"/>
              <a:gd name="connsiteY45" fmla="*/ 51638 h 416011"/>
              <a:gd name="connsiteX46" fmla="*/ 96664 w 219610"/>
              <a:gd name="connsiteY46" fmla="*/ 63206 h 416011"/>
              <a:gd name="connsiteX47" fmla="*/ 92210 w 219610"/>
              <a:gd name="connsiteY47" fmla="*/ 74775 h 416011"/>
              <a:gd name="connsiteX48" fmla="*/ 89664 w 219610"/>
              <a:gd name="connsiteY48" fmla="*/ 84146 h 416011"/>
              <a:gd name="connsiteX49" fmla="*/ 92441 w 219610"/>
              <a:gd name="connsiteY49" fmla="*/ 87212 h 416011"/>
              <a:gd name="connsiteX50" fmla="*/ 107423 w 219610"/>
              <a:gd name="connsiteY50" fmla="*/ 78015 h 416011"/>
              <a:gd name="connsiteX51" fmla="*/ 112339 w 219610"/>
              <a:gd name="connsiteY51" fmla="*/ 74139 h 416011"/>
              <a:gd name="connsiteX52" fmla="*/ 125123 w 219610"/>
              <a:gd name="connsiteY52" fmla="*/ 68933 h 416011"/>
              <a:gd name="connsiteX53" fmla="*/ 133742 w 219610"/>
              <a:gd name="connsiteY53" fmla="*/ 73213 h 416011"/>
              <a:gd name="connsiteX54" fmla="*/ 138138 w 219610"/>
              <a:gd name="connsiteY54" fmla="*/ 74949 h 416011"/>
              <a:gd name="connsiteX55" fmla="*/ 149244 w 219610"/>
              <a:gd name="connsiteY55" fmla="*/ 68759 h 416011"/>
              <a:gd name="connsiteX56" fmla="*/ 163995 w 219610"/>
              <a:gd name="connsiteY56" fmla="*/ 62570 h 416011"/>
              <a:gd name="connsiteX57" fmla="*/ 176836 w 219610"/>
              <a:gd name="connsiteY57" fmla="*/ 67313 h 416011"/>
              <a:gd name="connsiteX58" fmla="*/ 179612 w 219610"/>
              <a:gd name="connsiteY58" fmla="*/ 70726 h 416011"/>
              <a:gd name="connsiteX59" fmla="*/ 196329 w 219610"/>
              <a:gd name="connsiteY59" fmla="*/ 86922 h 416011"/>
              <a:gd name="connsiteX60" fmla="*/ 198007 w 219610"/>
              <a:gd name="connsiteY60" fmla="*/ 105548 h 416011"/>
              <a:gd name="connsiteX61" fmla="*/ 198412 w 219610"/>
              <a:gd name="connsiteY61" fmla="*/ 119431 h 416011"/>
              <a:gd name="connsiteX62" fmla="*/ 217905 w 219610"/>
              <a:gd name="connsiteY62" fmla="*/ 149799 h 416011"/>
              <a:gd name="connsiteX63" fmla="*/ 218599 w 219610"/>
              <a:gd name="connsiteY63" fmla="*/ 160674 h 416011"/>
              <a:gd name="connsiteX64" fmla="*/ 214087 w 219610"/>
              <a:gd name="connsiteY64" fmla="*/ 181382 h 416011"/>
              <a:gd name="connsiteX65" fmla="*/ 212641 w 219610"/>
              <a:gd name="connsiteY65" fmla="*/ 181382 h 416011"/>
              <a:gd name="connsiteX66" fmla="*/ 208881 w 219610"/>
              <a:gd name="connsiteY66" fmla="*/ 178201 h 416011"/>
              <a:gd name="connsiteX67" fmla="*/ 201536 w 219610"/>
              <a:gd name="connsiteY67" fmla="*/ 175887 h 416011"/>
              <a:gd name="connsiteX68" fmla="*/ 190545 w 219610"/>
              <a:gd name="connsiteY68" fmla="*/ 177044 h 416011"/>
              <a:gd name="connsiteX69" fmla="*/ 178513 w 219610"/>
              <a:gd name="connsiteY69" fmla="*/ 178258 h 416011"/>
              <a:gd name="connsiteX70" fmla="*/ 172092 w 219610"/>
              <a:gd name="connsiteY70" fmla="*/ 177391 h 416011"/>
              <a:gd name="connsiteX71" fmla="*/ 167523 w 219610"/>
              <a:gd name="connsiteY71" fmla="*/ 176697 h 416011"/>
              <a:gd name="connsiteX72" fmla="*/ 136055 w 219610"/>
              <a:gd name="connsiteY72" fmla="*/ 195670 h 416011"/>
              <a:gd name="connsiteX73" fmla="*/ 134031 w 219610"/>
              <a:gd name="connsiteY73" fmla="*/ 209147 h 416011"/>
              <a:gd name="connsiteX74" fmla="*/ 137444 w 219610"/>
              <a:gd name="connsiteY74" fmla="*/ 219444 h 416011"/>
              <a:gd name="connsiteX75" fmla="*/ 140047 w 219610"/>
              <a:gd name="connsiteY75" fmla="*/ 229624 h 416011"/>
              <a:gd name="connsiteX76" fmla="*/ 140914 w 219610"/>
              <a:gd name="connsiteY76" fmla="*/ 240846 h 416011"/>
              <a:gd name="connsiteX77" fmla="*/ 140625 w 219610"/>
              <a:gd name="connsiteY77" fmla="*/ 241540 h 416011"/>
              <a:gd name="connsiteX78" fmla="*/ 140047 w 219610"/>
              <a:gd name="connsiteY78" fmla="*/ 242234 h 416011"/>
              <a:gd name="connsiteX79" fmla="*/ 139121 w 219610"/>
              <a:gd name="connsiteY79" fmla="*/ 242234 h 416011"/>
              <a:gd name="connsiteX80" fmla="*/ 138427 w 219610"/>
              <a:gd name="connsiteY80" fmla="*/ 241887 h 416011"/>
              <a:gd name="connsiteX81" fmla="*/ 137444 w 219610"/>
              <a:gd name="connsiteY81" fmla="*/ 241482 h 416011"/>
              <a:gd name="connsiteX82" fmla="*/ 125181 w 219610"/>
              <a:gd name="connsiteY82" fmla="*/ 233384 h 416011"/>
              <a:gd name="connsiteX83" fmla="*/ 108637 w 219610"/>
              <a:gd name="connsiteY83" fmla="*/ 226096 h 416011"/>
              <a:gd name="connsiteX84" fmla="*/ 87119 w 219610"/>
              <a:gd name="connsiteY84" fmla="*/ 209495 h 416011"/>
              <a:gd name="connsiteX85" fmla="*/ 87119 w 219610"/>
              <a:gd name="connsiteY85" fmla="*/ 208685 h 416011"/>
              <a:gd name="connsiteX86" fmla="*/ 78963 w 219610"/>
              <a:gd name="connsiteY86" fmla="*/ 203768 h 416011"/>
              <a:gd name="connsiteX87" fmla="*/ 66296 w 219610"/>
              <a:gd name="connsiteY87" fmla="*/ 209552 h 416011"/>
              <a:gd name="connsiteX88" fmla="*/ 66296 w 219610"/>
              <a:gd name="connsiteY88" fmla="*/ 214643 h 416011"/>
              <a:gd name="connsiteX89" fmla="*/ 58139 w 219610"/>
              <a:gd name="connsiteY89" fmla="*/ 251374 h 416011"/>
              <a:gd name="connsiteX90" fmla="*/ 51487 w 219610"/>
              <a:gd name="connsiteY90" fmla="*/ 271041 h 416011"/>
              <a:gd name="connsiteX91" fmla="*/ 48595 w 219610"/>
              <a:gd name="connsiteY91" fmla="*/ 284461 h 416011"/>
              <a:gd name="connsiteX92" fmla="*/ 47612 w 219610"/>
              <a:gd name="connsiteY92" fmla="*/ 313383 h 416011"/>
              <a:gd name="connsiteX93" fmla="*/ 54206 w 219610"/>
              <a:gd name="connsiteY93" fmla="*/ 316102 h 416011"/>
              <a:gd name="connsiteX94" fmla="*/ 65774 w 219610"/>
              <a:gd name="connsiteY94" fmla="*/ 327323 h 416011"/>
              <a:gd name="connsiteX95" fmla="*/ 70402 w 219610"/>
              <a:gd name="connsiteY95" fmla="*/ 337967 h 416011"/>
              <a:gd name="connsiteX96" fmla="*/ 75839 w 219610"/>
              <a:gd name="connsiteY96" fmla="*/ 352890 h 416011"/>
              <a:gd name="connsiteX97" fmla="*/ 83128 w 219610"/>
              <a:gd name="connsiteY97" fmla="*/ 376375 h 416011"/>
              <a:gd name="connsiteX98" fmla="*/ 93772 w 219610"/>
              <a:gd name="connsiteY98" fmla="*/ 382738 h 416011"/>
              <a:gd name="connsiteX99" fmla="*/ 126048 w 219610"/>
              <a:gd name="connsiteY99" fmla="*/ 401538 h 416011"/>
              <a:gd name="connsiteX100" fmla="*/ 126048 w 219610"/>
              <a:gd name="connsiteY100" fmla="*/ 402579 h 416011"/>
              <a:gd name="connsiteX101" fmla="*/ 125354 w 219610"/>
              <a:gd name="connsiteY101" fmla="*/ 403273 h 416011"/>
              <a:gd name="connsiteX102" fmla="*/ 119050 w 219610"/>
              <a:gd name="connsiteY102" fmla="*/ 410793 h 416011"/>
              <a:gd name="connsiteX103" fmla="*/ 116794 w 219610"/>
              <a:gd name="connsiteY103" fmla="*/ 414321 h 416011"/>
              <a:gd name="connsiteX104" fmla="*/ 104935 w 219610"/>
              <a:gd name="connsiteY104" fmla="*/ 415883 h 416011"/>
              <a:gd name="connsiteX105" fmla="*/ 68667 w 219610"/>
              <a:gd name="connsiteY105" fmla="*/ 392745 h 416011"/>
              <a:gd name="connsiteX106" fmla="*/ 81335 w 219610"/>
              <a:gd name="connsiteY106" fmla="*/ 393960 h 416011"/>
              <a:gd name="connsiteX107" fmla="*/ 95680 w 219610"/>
              <a:gd name="connsiteY107" fmla="*/ 411313 h 416011"/>
              <a:gd name="connsiteX108" fmla="*/ 104935 w 219610"/>
              <a:gd name="connsiteY108" fmla="*/ 413801 h 416011"/>
              <a:gd name="connsiteX109" fmla="*/ 115868 w 219610"/>
              <a:gd name="connsiteY109" fmla="*/ 412875 h 416011"/>
              <a:gd name="connsiteX110" fmla="*/ 116273 w 219610"/>
              <a:gd name="connsiteY110" fmla="*/ 411198 h 416011"/>
              <a:gd name="connsiteX111" fmla="*/ 122694 w 219610"/>
              <a:gd name="connsiteY111" fmla="*/ 402463 h 416011"/>
              <a:gd name="connsiteX112" fmla="*/ 92962 w 219610"/>
              <a:gd name="connsiteY112" fmla="*/ 385804 h 416011"/>
              <a:gd name="connsiteX113" fmla="*/ 80699 w 219610"/>
              <a:gd name="connsiteY113" fmla="*/ 378631 h 416011"/>
              <a:gd name="connsiteX114" fmla="*/ 72947 w 219610"/>
              <a:gd name="connsiteY114" fmla="*/ 353411 h 416011"/>
              <a:gd name="connsiteX115" fmla="*/ 67915 w 219610"/>
              <a:gd name="connsiteY115" fmla="*/ 339991 h 416011"/>
              <a:gd name="connsiteX116" fmla="*/ 62882 w 219610"/>
              <a:gd name="connsiteY116" fmla="*/ 328133 h 416011"/>
              <a:gd name="connsiteX117" fmla="*/ 52875 w 219610"/>
              <a:gd name="connsiteY117" fmla="*/ 319052 h 416011"/>
              <a:gd name="connsiteX118" fmla="*/ 46166 w 219610"/>
              <a:gd name="connsiteY118" fmla="*/ 316217 h 416011"/>
              <a:gd name="connsiteX119" fmla="*/ 46166 w 219610"/>
              <a:gd name="connsiteY119" fmla="*/ 284634 h 416011"/>
              <a:gd name="connsiteX120" fmla="*/ 49000 w 219610"/>
              <a:gd name="connsiteY120" fmla="*/ 271503 h 416011"/>
              <a:gd name="connsiteX121" fmla="*/ 55825 w 219610"/>
              <a:gd name="connsiteY121" fmla="*/ 251258 h 416011"/>
              <a:gd name="connsiteX122" fmla="*/ 64097 w 219610"/>
              <a:gd name="connsiteY122" fmla="*/ 216551 h 416011"/>
              <a:gd name="connsiteX123" fmla="*/ 64097 w 219610"/>
              <a:gd name="connsiteY123" fmla="*/ 209205 h 416011"/>
              <a:gd name="connsiteX124" fmla="*/ 78732 w 219610"/>
              <a:gd name="connsiteY124" fmla="*/ 202206 h 416011"/>
              <a:gd name="connsiteX125" fmla="*/ 89086 w 219610"/>
              <a:gd name="connsiteY125" fmla="*/ 208800 h 416011"/>
              <a:gd name="connsiteX126" fmla="*/ 89086 w 219610"/>
              <a:gd name="connsiteY126" fmla="*/ 209552 h 416011"/>
              <a:gd name="connsiteX127" fmla="*/ 108349 w 219610"/>
              <a:gd name="connsiteY127" fmla="*/ 224534 h 416011"/>
              <a:gd name="connsiteX128" fmla="*/ 109795 w 219610"/>
              <a:gd name="connsiteY128" fmla="*/ 224534 h 416011"/>
              <a:gd name="connsiteX129" fmla="*/ 126569 w 219610"/>
              <a:gd name="connsiteY129" fmla="*/ 232516 h 416011"/>
              <a:gd name="connsiteX130" fmla="*/ 137791 w 219610"/>
              <a:gd name="connsiteY130" fmla="*/ 239979 h 416011"/>
              <a:gd name="connsiteX131" fmla="*/ 138774 w 219610"/>
              <a:gd name="connsiteY131" fmla="*/ 240326 h 416011"/>
              <a:gd name="connsiteX132" fmla="*/ 137849 w 219610"/>
              <a:gd name="connsiteY132" fmla="*/ 231302 h 416011"/>
              <a:gd name="connsiteX133" fmla="*/ 135015 w 219610"/>
              <a:gd name="connsiteY133" fmla="*/ 220080 h 416011"/>
              <a:gd name="connsiteX134" fmla="*/ 131949 w 219610"/>
              <a:gd name="connsiteY134" fmla="*/ 210999 h 416011"/>
              <a:gd name="connsiteX135" fmla="*/ 134147 w 219610"/>
              <a:gd name="connsiteY135" fmla="*/ 194860 h 416011"/>
              <a:gd name="connsiteX136" fmla="*/ 167349 w 219610"/>
              <a:gd name="connsiteY136" fmla="*/ 175077 h 416011"/>
              <a:gd name="connsiteX137" fmla="*/ 172671 w 219610"/>
              <a:gd name="connsiteY137" fmla="*/ 175887 h 416011"/>
              <a:gd name="connsiteX138" fmla="*/ 190025 w 219610"/>
              <a:gd name="connsiteY138" fmla="*/ 175424 h 416011"/>
              <a:gd name="connsiteX139" fmla="*/ 201593 w 219610"/>
              <a:gd name="connsiteY139" fmla="*/ 174267 h 416011"/>
              <a:gd name="connsiteX140" fmla="*/ 210675 w 219610"/>
              <a:gd name="connsiteY140" fmla="*/ 177391 h 416011"/>
              <a:gd name="connsiteX141" fmla="*/ 213104 w 219610"/>
              <a:gd name="connsiteY141" fmla="*/ 179589 h 416011"/>
              <a:gd name="connsiteX142" fmla="*/ 216401 w 219610"/>
              <a:gd name="connsiteY142" fmla="*/ 161484 h 416011"/>
              <a:gd name="connsiteX143" fmla="*/ 215707 w 219610"/>
              <a:gd name="connsiteY143" fmla="*/ 149915 h 416011"/>
              <a:gd name="connsiteX144" fmla="*/ 197833 w 219610"/>
              <a:gd name="connsiteY144" fmla="*/ 121976 h 416011"/>
              <a:gd name="connsiteX145" fmla="*/ 195866 w 219610"/>
              <a:gd name="connsiteY145" fmla="*/ 105491 h 416011"/>
              <a:gd name="connsiteX146" fmla="*/ 195288 w 219610"/>
              <a:gd name="connsiteY146" fmla="*/ 89178 h 416011"/>
              <a:gd name="connsiteX147" fmla="*/ 177935 w 219610"/>
              <a:gd name="connsiteY147" fmla="*/ 72519 h 416011"/>
              <a:gd name="connsiteX148" fmla="*/ 175158 w 219610"/>
              <a:gd name="connsiteY148" fmla="*/ 69106 h 416011"/>
              <a:gd name="connsiteX149" fmla="*/ 164052 w 219610"/>
              <a:gd name="connsiteY149" fmla="*/ 65231 h 416011"/>
              <a:gd name="connsiteX150" fmla="*/ 151384 w 219610"/>
              <a:gd name="connsiteY150" fmla="*/ 69974 h 416011"/>
              <a:gd name="connsiteX151" fmla="*/ 138196 w 219610"/>
              <a:gd name="connsiteY151" fmla="*/ 77552 h 416011"/>
              <a:gd name="connsiteX152" fmla="*/ 131949 w 219610"/>
              <a:gd name="connsiteY152" fmla="*/ 74949 h 416011"/>
              <a:gd name="connsiteX153" fmla="*/ 113728 w 219610"/>
              <a:gd name="connsiteY153" fmla="*/ 76279 h 416011"/>
              <a:gd name="connsiteX154" fmla="*/ 108927 w 219610"/>
              <a:gd name="connsiteY154" fmla="*/ 80097 h 416011"/>
              <a:gd name="connsiteX155" fmla="*/ 92499 w 219610"/>
              <a:gd name="connsiteY155" fmla="*/ 89815 h 416011"/>
              <a:gd name="connsiteX156" fmla="*/ 87466 w 219610"/>
              <a:gd name="connsiteY156" fmla="*/ 84956 h 416011"/>
              <a:gd name="connsiteX157" fmla="*/ 90532 w 219610"/>
              <a:gd name="connsiteY157" fmla="*/ 73387 h 416011"/>
              <a:gd name="connsiteX158" fmla="*/ 94466 w 219610"/>
              <a:gd name="connsiteY158" fmla="*/ 63438 h 416011"/>
              <a:gd name="connsiteX159" fmla="*/ 96316 w 219610"/>
              <a:gd name="connsiteY159" fmla="*/ 51117 h 416011"/>
              <a:gd name="connsiteX160" fmla="*/ 96837 w 219610"/>
              <a:gd name="connsiteY160" fmla="*/ 34631 h 416011"/>
              <a:gd name="connsiteX161" fmla="*/ 91804 w 219610"/>
              <a:gd name="connsiteY161" fmla="*/ 30235 h 416011"/>
              <a:gd name="connsiteX162" fmla="*/ 87871 w 219610"/>
              <a:gd name="connsiteY162" fmla="*/ 30756 h 416011"/>
              <a:gd name="connsiteX163" fmla="*/ 83707 w 219610"/>
              <a:gd name="connsiteY163" fmla="*/ 31334 h 416011"/>
              <a:gd name="connsiteX164" fmla="*/ 77922 w 219610"/>
              <a:gd name="connsiteY164" fmla="*/ 27748 h 416011"/>
              <a:gd name="connsiteX165" fmla="*/ 76303 w 219610"/>
              <a:gd name="connsiteY165" fmla="*/ 13807 h 416011"/>
              <a:gd name="connsiteX166" fmla="*/ 75666 w 219610"/>
              <a:gd name="connsiteY166" fmla="*/ 6982 h 416011"/>
              <a:gd name="connsiteX167" fmla="*/ 71096 w 219610"/>
              <a:gd name="connsiteY167" fmla="*/ 2354 h 416011"/>
              <a:gd name="connsiteX168" fmla="*/ 67858 w 219610"/>
              <a:gd name="connsiteY168" fmla="*/ 5362 h 416011"/>
              <a:gd name="connsiteX169" fmla="*/ 56693 w 219610"/>
              <a:gd name="connsiteY169" fmla="*/ 11841 h 416011"/>
              <a:gd name="connsiteX170" fmla="*/ 42984 w 219610"/>
              <a:gd name="connsiteY170" fmla="*/ 19534 h 416011"/>
              <a:gd name="connsiteX171" fmla="*/ 24995 w 219610"/>
              <a:gd name="connsiteY171" fmla="*/ 26591 h 416011"/>
              <a:gd name="connsiteX172" fmla="*/ 21466 w 219610"/>
              <a:gd name="connsiteY172" fmla="*/ 26591 h 416011"/>
              <a:gd name="connsiteX173" fmla="*/ 7526 w 219610"/>
              <a:gd name="connsiteY173" fmla="*/ 34284 h 416011"/>
              <a:gd name="connsiteX174" fmla="*/ 7121 w 219610"/>
              <a:gd name="connsiteY174" fmla="*/ 37176 h 416011"/>
              <a:gd name="connsiteX175" fmla="*/ 2146 w 219610"/>
              <a:gd name="connsiteY175" fmla="*/ 77263 h 416011"/>
              <a:gd name="connsiteX176" fmla="*/ 21929 w 219610"/>
              <a:gd name="connsiteY176" fmla="*/ 101036 h 416011"/>
              <a:gd name="connsiteX177" fmla="*/ 24937 w 219610"/>
              <a:gd name="connsiteY177" fmla="*/ 110349 h 416011"/>
              <a:gd name="connsiteX178" fmla="*/ 27424 w 219610"/>
              <a:gd name="connsiteY178" fmla="*/ 119373 h 416011"/>
              <a:gd name="connsiteX179" fmla="*/ 31068 w 219610"/>
              <a:gd name="connsiteY179" fmla="*/ 128802 h 416011"/>
              <a:gd name="connsiteX180" fmla="*/ 25862 w 219610"/>
              <a:gd name="connsiteY180" fmla="*/ 134586 h 416011"/>
              <a:gd name="connsiteX181" fmla="*/ 25862 w 219610"/>
              <a:gd name="connsiteY181" fmla="*/ 138404 h 416011"/>
              <a:gd name="connsiteX182" fmla="*/ 22160 w 219610"/>
              <a:gd name="connsiteY182" fmla="*/ 153733 h 416011"/>
              <a:gd name="connsiteX183" fmla="*/ 19789 w 219610"/>
              <a:gd name="connsiteY183" fmla="*/ 159517 h 416011"/>
              <a:gd name="connsiteX184" fmla="*/ 31936 w 219610"/>
              <a:gd name="connsiteY184" fmla="*/ 181266 h 416011"/>
              <a:gd name="connsiteX185" fmla="*/ 43100 w 219610"/>
              <a:gd name="connsiteY185" fmla="*/ 215568 h 416011"/>
              <a:gd name="connsiteX186" fmla="*/ 46802 w 219610"/>
              <a:gd name="connsiteY186" fmla="*/ 223840 h 416011"/>
              <a:gd name="connsiteX187" fmla="*/ 51603 w 219610"/>
              <a:gd name="connsiteY187" fmla="*/ 235871 h 416011"/>
              <a:gd name="connsiteX188" fmla="*/ 51603 w 219610"/>
              <a:gd name="connsiteY188" fmla="*/ 235871 h 416011"/>
              <a:gd name="connsiteX189" fmla="*/ 28003 w 219610"/>
              <a:gd name="connsiteY189" fmla="*/ 281800 h 416011"/>
              <a:gd name="connsiteX190" fmla="*/ 25805 w 219610"/>
              <a:gd name="connsiteY190" fmla="*/ 293889 h 416011"/>
              <a:gd name="connsiteX191" fmla="*/ 20483 w 219610"/>
              <a:gd name="connsiteY191" fmla="*/ 321134 h 416011"/>
              <a:gd name="connsiteX192" fmla="*/ 18400 w 219610"/>
              <a:gd name="connsiteY192" fmla="*/ 342421 h 416011"/>
              <a:gd name="connsiteX193" fmla="*/ 21119 w 219610"/>
              <a:gd name="connsiteY193" fmla="*/ 343925 h 416011"/>
              <a:gd name="connsiteX194" fmla="*/ 57792 w 219610"/>
              <a:gd name="connsiteY194" fmla="*/ 379499 h 416011"/>
              <a:gd name="connsiteX195" fmla="*/ 65832 w 219610"/>
              <a:gd name="connsiteY195" fmla="*/ 392514 h 41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9610" h="416011">
                <a:moveTo>
                  <a:pt x="104935" y="415883"/>
                </a:moveTo>
                <a:cubicBezTo>
                  <a:pt x="97300" y="415883"/>
                  <a:pt x="93366" y="414321"/>
                  <a:pt x="93366" y="411140"/>
                </a:cubicBezTo>
                <a:cubicBezTo>
                  <a:pt x="93540" y="403718"/>
                  <a:pt x="88218" y="397315"/>
                  <a:pt x="80872" y="396158"/>
                </a:cubicBezTo>
                <a:cubicBezTo>
                  <a:pt x="75724" y="395186"/>
                  <a:pt x="70518" y="394834"/>
                  <a:pt x="65312" y="395117"/>
                </a:cubicBezTo>
                <a:cubicBezTo>
                  <a:pt x="64849" y="395117"/>
                  <a:pt x="64386" y="394845"/>
                  <a:pt x="64213" y="394423"/>
                </a:cubicBezTo>
                <a:cubicBezTo>
                  <a:pt x="62073" y="389708"/>
                  <a:pt x="59354" y="385260"/>
                  <a:pt x="56173" y="381176"/>
                </a:cubicBezTo>
                <a:cubicBezTo>
                  <a:pt x="49521" y="372789"/>
                  <a:pt x="29333" y="347395"/>
                  <a:pt x="21003" y="346470"/>
                </a:cubicBezTo>
                <a:cubicBezTo>
                  <a:pt x="19268" y="346343"/>
                  <a:pt x="17648" y="345429"/>
                  <a:pt x="16665" y="343982"/>
                </a:cubicBezTo>
                <a:cubicBezTo>
                  <a:pt x="13773" y="339818"/>
                  <a:pt x="15682" y="331430"/>
                  <a:pt x="18400" y="320845"/>
                </a:cubicBezTo>
                <a:cubicBezTo>
                  <a:pt x="20136" y="314135"/>
                  <a:pt x="22045" y="303491"/>
                  <a:pt x="23722" y="293774"/>
                </a:cubicBezTo>
                <a:cubicBezTo>
                  <a:pt x="24531" y="289030"/>
                  <a:pt x="25341" y="284518"/>
                  <a:pt x="26093" y="280643"/>
                </a:cubicBezTo>
                <a:cubicBezTo>
                  <a:pt x="26209" y="280047"/>
                  <a:pt x="26787" y="279654"/>
                  <a:pt x="27367" y="279764"/>
                </a:cubicBezTo>
                <a:cubicBezTo>
                  <a:pt x="27367" y="279769"/>
                  <a:pt x="27424" y="279769"/>
                  <a:pt x="27424" y="279775"/>
                </a:cubicBezTo>
                <a:lnTo>
                  <a:pt x="27887" y="279775"/>
                </a:lnTo>
                <a:cubicBezTo>
                  <a:pt x="34770" y="279775"/>
                  <a:pt x="44777" y="252762"/>
                  <a:pt x="49521" y="235640"/>
                </a:cubicBezTo>
                <a:cubicBezTo>
                  <a:pt x="49463" y="231666"/>
                  <a:pt x="47843" y="227877"/>
                  <a:pt x="45066" y="225055"/>
                </a:cubicBezTo>
                <a:cubicBezTo>
                  <a:pt x="42522" y="222440"/>
                  <a:pt x="41076" y="218981"/>
                  <a:pt x="40902" y="215337"/>
                </a:cubicBezTo>
                <a:cubicBezTo>
                  <a:pt x="40902" y="206660"/>
                  <a:pt x="40902" y="192199"/>
                  <a:pt x="30432" y="182713"/>
                </a:cubicBezTo>
                <a:cubicBezTo>
                  <a:pt x="23201" y="176882"/>
                  <a:pt x="18632" y="168443"/>
                  <a:pt x="17590" y="159228"/>
                </a:cubicBezTo>
                <a:cubicBezTo>
                  <a:pt x="17533" y="156434"/>
                  <a:pt x="18690" y="153750"/>
                  <a:pt x="20772" y="151881"/>
                </a:cubicBezTo>
                <a:cubicBezTo>
                  <a:pt x="24185" y="149047"/>
                  <a:pt x="23837" y="142916"/>
                  <a:pt x="23664" y="138404"/>
                </a:cubicBezTo>
                <a:cubicBezTo>
                  <a:pt x="23664" y="135396"/>
                  <a:pt x="23664" y="133603"/>
                  <a:pt x="24301" y="132620"/>
                </a:cubicBezTo>
                <a:cubicBezTo>
                  <a:pt x="24763" y="132116"/>
                  <a:pt x="25515" y="131954"/>
                  <a:pt x="26151" y="132215"/>
                </a:cubicBezTo>
                <a:lnTo>
                  <a:pt x="26151" y="132215"/>
                </a:lnTo>
                <a:cubicBezTo>
                  <a:pt x="26961" y="132215"/>
                  <a:pt x="28292" y="130653"/>
                  <a:pt x="28870" y="128223"/>
                </a:cubicBezTo>
                <a:cubicBezTo>
                  <a:pt x="29796" y="125632"/>
                  <a:pt x="28755" y="122751"/>
                  <a:pt x="26383" y="121340"/>
                </a:cubicBezTo>
                <a:cubicBezTo>
                  <a:pt x="22333" y="119315"/>
                  <a:pt x="22507" y="114456"/>
                  <a:pt x="22681" y="110176"/>
                </a:cubicBezTo>
                <a:cubicBezTo>
                  <a:pt x="22854" y="105896"/>
                  <a:pt x="22681" y="103755"/>
                  <a:pt x="21061" y="103061"/>
                </a:cubicBezTo>
                <a:cubicBezTo>
                  <a:pt x="15682" y="100921"/>
                  <a:pt x="-110" y="83452"/>
                  <a:pt x="-110" y="77205"/>
                </a:cubicBezTo>
                <a:cubicBezTo>
                  <a:pt x="-110" y="72288"/>
                  <a:pt x="3419" y="47415"/>
                  <a:pt x="4865" y="36714"/>
                </a:cubicBezTo>
                <a:lnTo>
                  <a:pt x="5270" y="33879"/>
                </a:lnTo>
                <a:cubicBezTo>
                  <a:pt x="6658" y="24335"/>
                  <a:pt x="20887" y="24219"/>
                  <a:pt x="21466" y="24219"/>
                </a:cubicBezTo>
                <a:lnTo>
                  <a:pt x="24995" y="24219"/>
                </a:lnTo>
                <a:cubicBezTo>
                  <a:pt x="33382" y="24219"/>
                  <a:pt x="38762" y="22253"/>
                  <a:pt x="41018" y="18435"/>
                </a:cubicBezTo>
                <a:cubicBezTo>
                  <a:pt x="44951" y="14021"/>
                  <a:pt x="50157" y="10979"/>
                  <a:pt x="55941" y="9758"/>
                </a:cubicBezTo>
                <a:cubicBezTo>
                  <a:pt x="60395" y="8196"/>
                  <a:pt x="64965" y="6635"/>
                  <a:pt x="65774" y="4552"/>
                </a:cubicBezTo>
                <a:cubicBezTo>
                  <a:pt x="66816" y="2505"/>
                  <a:pt x="68609" y="902"/>
                  <a:pt x="70750" y="40"/>
                </a:cubicBezTo>
                <a:cubicBezTo>
                  <a:pt x="71154" y="-185"/>
                  <a:pt x="71617" y="-185"/>
                  <a:pt x="72022" y="40"/>
                </a:cubicBezTo>
                <a:cubicBezTo>
                  <a:pt x="74162" y="1735"/>
                  <a:pt x="76129" y="3679"/>
                  <a:pt x="77807" y="5825"/>
                </a:cubicBezTo>
                <a:cubicBezTo>
                  <a:pt x="78905" y="8410"/>
                  <a:pt x="79253" y="11262"/>
                  <a:pt x="78789" y="14039"/>
                </a:cubicBezTo>
                <a:cubicBezTo>
                  <a:pt x="78269" y="18412"/>
                  <a:pt x="78789" y="22843"/>
                  <a:pt x="80236" y="26996"/>
                </a:cubicBezTo>
                <a:cubicBezTo>
                  <a:pt x="80699" y="28436"/>
                  <a:pt x="82145" y="29350"/>
                  <a:pt x="83649" y="29194"/>
                </a:cubicBezTo>
                <a:cubicBezTo>
                  <a:pt x="84921" y="29148"/>
                  <a:pt x="86136" y="28974"/>
                  <a:pt x="87351" y="28673"/>
                </a:cubicBezTo>
                <a:cubicBezTo>
                  <a:pt x="88797" y="28338"/>
                  <a:pt x="90243" y="28147"/>
                  <a:pt x="91747" y="28095"/>
                </a:cubicBezTo>
                <a:cubicBezTo>
                  <a:pt x="95218" y="28002"/>
                  <a:pt x="98283" y="30455"/>
                  <a:pt x="98920" y="33879"/>
                </a:cubicBezTo>
                <a:cubicBezTo>
                  <a:pt x="100597" y="39704"/>
                  <a:pt x="100423" y="45905"/>
                  <a:pt x="98457" y="51638"/>
                </a:cubicBezTo>
                <a:cubicBezTo>
                  <a:pt x="97358" y="55403"/>
                  <a:pt x="96780" y="59290"/>
                  <a:pt x="96664" y="63206"/>
                </a:cubicBezTo>
                <a:cubicBezTo>
                  <a:pt x="96837" y="67510"/>
                  <a:pt x="95218" y="71692"/>
                  <a:pt x="92210" y="74775"/>
                </a:cubicBezTo>
                <a:cubicBezTo>
                  <a:pt x="89606" y="77129"/>
                  <a:pt x="88623" y="80791"/>
                  <a:pt x="89664" y="84146"/>
                </a:cubicBezTo>
                <a:cubicBezTo>
                  <a:pt x="90243" y="86865"/>
                  <a:pt x="91458" y="87212"/>
                  <a:pt x="92441" y="87212"/>
                </a:cubicBezTo>
                <a:cubicBezTo>
                  <a:pt x="95970" y="87212"/>
                  <a:pt x="102101" y="82295"/>
                  <a:pt x="107423" y="78015"/>
                </a:cubicBezTo>
                <a:cubicBezTo>
                  <a:pt x="109158" y="76626"/>
                  <a:pt x="110778" y="75296"/>
                  <a:pt x="112339" y="74139"/>
                </a:cubicBezTo>
                <a:cubicBezTo>
                  <a:pt x="115926" y="71085"/>
                  <a:pt x="120438" y="69257"/>
                  <a:pt x="125123" y="68933"/>
                </a:cubicBezTo>
                <a:cubicBezTo>
                  <a:pt x="128536" y="68916"/>
                  <a:pt x="131717" y="70501"/>
                  <a:pt x="133742" y="73213"/>
                </a:cubicBezTo>
                <a:cubicBezTo>
                  <a:pt x="134841" y="74451"/>
                  <a:pt x="136461" y="75099"/>
                  <a:pt x="138138" y="74949"/>
                </a:cubicBezTo>
                <a:cubicBezTo>
                  <a:pt x="142650" y="75012"/>
                  <a:pt x="146930" y="72658"/>
                  <a:pt x="149244" y="68759"/>
                </a:cubicBezTo>
                <a:cubicBezTo>
                  <a:pt x="150864" y="64710"/>
                  <a:pt x="157921" y="62570"/>
                  <a:pt x="163995" y="62570"/>
                </a:cubicBezTo>
                <a:cubicBezTo>
                  <a:pt x="168738" y="62217"/>
                  <a:pt x="173423" y="63947"/>
                  <a:pt x="176836" y="67313"/>
                </a:cubicBezTo>
                <a:lnTo>
                  <a:pt x="179612" y="70726"/>
                </a:lnTo>
                <a:cubicBezTo>
                  <a:pt x="184182" y="77095"/>
                  <a:pt x="189793" y="82584"/>
                  <a:pt x="196329" y="86922"/>
                </a:cubicBezTo>
                <a:cubicBezTo>
                  <a:pt x="201188" y="89641"/>
                  <a:pt x="199568" y="97739"/>
                  <a:pt x="198007" y="105548"/>
                </a:cubicBezTo>
                <a:cubicBezTo>
                  <a:pt x="196734" y="111969"/>
                  <a:pt x="195404" y="118563"/>
                  <a:pt x="198412" y="119431"/>
                </a:cubicBezTo>
                <a:cubicBezTo>
                  <a:pt x="210559" y="124545"/>
                  <a:pt x="218310" y="136616"/>
                  <a:pt x="217905" y="149799"/>
                </a:cubicBezTo>
                <a:cubicBezTo>
                  <a:pt x="217674" y="153438"/>
                  <a:pt x="217905" y="157093"/>
                  <a:pt x="218599" y="160674"/>
                </a:cubicBezTo>
                <a:cubicBezTo>
                  <a:pt x="220740" y="167893"/>
                  <a:pt x="219004" y="175702"/>
                  <a:pt x="214087" y="181382"/>
                </a:cubicBezTo>
                <a:cubicBezTo>
                  <a:pt x="213683" y="181718"/>
                  <a:pt x="213047" y="181718"/>
                  <a:pt x="212641" y="181382"/>
                </a:cubicBezTo>
                <a:cubicBezTo>
                  <a:pt x="211253" y="180520"/>
                  <a:pt x="209981" y="179444"/>
                  <a:pt x="208881" y="178201"/>
                </a:cubicBezTo>
                <a:cubicBezTo>
                  <a:pt x="206915" y="176361"/>
                  <a:pt x="204196" y="175511"/>
                  <a:pt x="201536" y="175887"/>
                </a:cubicBezTo>
                <a:cubicBezTo>
                  <a:pt x="197833" y="176026"/>
                  <a:pt x="194189" y="176413"/>
                  <a:pt x="190545" y="177044"/>
                </a:cubicBezTo>
                <a:cubicBezTo>
                  <a:pt x="186553" y="177721"/>
                  <a:pt x="182562" y="178126"/>
                  <a:pt x="178513" y="178258"/>
                </a:cubicBezTo>
                <a:cubicBezTo>
                  <a:pt x="176316" y="178305"/>
                  <a:pt x="174175" y="178016"/>
                  <a:pt x="172092" y="177391"/>
                </a:cubicBezTo>
                <a:cubicBezTo>
                  <a:pt x="170588" y="176911"/>
                  <a:pt x="169085" y="176680"/>
                  <a:pt x="167523" y="176697"/>
                </a:cubicBezTo>
                <a:cubicBezTo>
                  <a:pt x="158094" y="176697"/>
                  <a:pt x="145195" y="184506"/>
                  <a:pt x="136055" y="195670"/>
                </a:cubicBezTo>
                <a:cubicBezTo>
                  <a:pt x="130271" y="202900"/>
                  <a:pt x="131659" y="205387"/>
                  <a:pt x="134031" y="209147"/>
                </a:cubicBezTo>
                <a:cubicBezTo>
                  <a:pt x="136171" y="212149"/>
                  <a:pt x="137386" y="215742"/>
                  <a:pt x="137444" y="219444"/>
                </a:cubicBezTo>
                <a:cubicBezTo>
                  <a:pt x="137386" y="223007"/>
                  <a:pt x="138254" y="226524"/>
                  <a:pt x="140047" y="229624"/>
                </a:cubicBezTo>
                <a:cubicBezTo>
                  <a:pt x="142245" y="232962"/>
                  <a:pt x="142592" y="237208"/>
                  <a:pt x="140914" y="240846"/>
                </a:cubicBezTo>
                <a:lnTo>
                  <a:pt x="140625" y="241540"/>
                </a:lnTo>
                <a:cubicBezTo>
                  <a:pt x="140567" y="241864"/>
                  <a:pt x="140336" y="242130"/>
                  <a:pt x="140047" y="242234"/>
                </a:cubicBezTo>
                <a:cubicBezTo>
                  <a:pt x="139758" y="242379"/>
                  <a:pt x="139411" y="242379"/>
                  <a:pt x="139121" y="242234"/>
                </a:cubicBezTo>
                <a:lnTo>
                  <a:pt x="138427" y="241887"/>
                </a:lnTo>
                <a:cubicBezTo>
                  <a:pt x="138138" y="241702"/>
                  <a:pt x="137791" y="241569"/>
                  <a:pt x="137444" y="241482"/>
                </a:cubicBezTo>
                <a:cubicBezTo>
                  <a:pt x="132701" y="239990"/>
                  <a:pt x="128420" y="237185"/>
                  <a:pt x="125181" y="233384"/>
                </a:cubicBezTo>
                <a:cubicBezTo>
                  <a:pt x="121248" y="228288"/>
                  <a:pt x="115058" y="225540"/>
                  <a:pt x="108637" y="226096"/>
                </a:cubicBezTo>
                <a:cubicBezTo>
                  <a:pt x="91804" y="227021"/>
                  <a:pt x="90185" y="220311"/>
                  <a:pt x="87119" y="209495"/>
                </a:cubicBezTo>
                <a:lnTo>
                  <a:pt x="87119" y="208685"/>
                </a:lnTo>
                <a:cubicBezTo>
                  <a:pt x="85847" y="205358"/>
                  <a:pt x="82492" y="203322"/>
                  <a:pt x="78963" y="203768"/>
                </a:cubicBezTo>
                <a:cubicBezTo>
                  <a:pt x="74047" y="203623"/>
                  <a:pt x="69361" y="205758"/>
                  <a:pt x="66296" y="209552"/>
                </a:cubicBezTo>
                <a:cubicBezTo>
                  <a:pt x="65312" y="211114"/>
                  <a:pt x="65312" y="213081"/>
                  <a:pt x="66296" y="214643"/>
                </a:cubicBezTo>
                <a:cubicBezTo>
                  <a:pt x="70113" y="221700"/>
                  <a:pt x="63750" y="237780"/>
                  <a:pt x="58139" y="251374"/>
                </a:cubicBezTo>
                <a:cubicBezTo>
                  <a:pt x="55247" y="257685"/>
                  <a:pt x="53049" y="264273"/>
                  <a:pt x="51487" y="271041"/>
                </a:cubicBezTo>
                <a:cubicBezTo>
                  <a:pt x="50793" y="275570"/>
                  <a:pt x="49867" y="280053"/>
                  <a:pt x="48595" y="284461"/>
                </a:cubicBezTo>
                <a:cubicBezTo>
                  <a:pt x="45587" y="296030"/>
                  <a:pt x="41885" y="310722"/>
                  <a:pt x="47612" y="313383"/>
                </a:cubicBezTo>
                <a:cubicBezTo>
                  <a:pt x="49925" y="314482"/>
                  <a:pt x="52123" y="315292"/>
                  <a:pt x="54206" y="316102"/>
                </a:cubicBezTo>
                <a:cubicBezTo>
                  <a:pt x="60337" y="318473"/>
                  <a:pt x="65774" y="320498"/>
                  <a:pt x="65774" y="327323"/>
                </a:cubicBezTo>
                <a:cubicBezTo>
                  <a:pt x="66353" y="331222"/>
                  <a:pt x="67915" y="334895"/>
                  <a:pt x="70402" y="337967"/>
                </a:cubicBezTo>
                <a:cubicBezTo>
                  <a:pt x="73931" y="342143"/>
                  <a:pt x="75839" y="347430"/>
                  <a:pt x="75839" y="352890"/>
                </a:cubicBezTo>
                <a:cubicBezTo>
                  <a:pt x="75435" y="361336"/>
                  <a:pt x="77980" y="369654"/>
                  <a:pt x="83128" y="376375"/>
                </a:cubicBezTo>
                <a:cubicBezTo>
                  <a:pt x="85615" y="379910"/>
                  <a:pt x="89491" y="382223"/>
                  <a:pt x="93772" y="382738"/>
                </a:cubicBezTo>
                <a:cubicBezTo>
                  <a:pt x="106497" y="384797"/>
                  <a:pt x="118008" y="391496"/>
                  <a:pt x="126048" y="401538"/>
                </a:cubicBezTo>
                <a:cubicBezTo>
                  <a:pt x="126222" y="401867"/>
                  <a:pt x="126222" y="402249"/>
                  <a:pt x="126048" y="402579"/>
                </a:cubicBezTo>
                <a:cubicBezTo>
                  <a:pt x="125933" y="402903"/>
                  <a:pt x="125702" y="403157"/>
                  <a:pt x="125354" y="403273"/>
                </a:cubicBezTo>
                <a:cubicBezTo>
                  <a:pt x="121768" y="404037"/>
                  <a:pt x="119165" y="407137"/>
                  <a:pt x="119050" y="410793"/>
                </a:cubicBezTo>
                <a:cubicBezTo>
                  <a:pt x="119050" y="412354"/>
                  <a:pt x="118471" y="413974"/>
                  <a:pt x="116794" y="414321"/>
                </a:cubicBezTo>
                <a:cubicBezTo>
                  <a:pt x="112860" y="415154"/>
                  <a:pt x="108927" y="415675"/>
                  <a:pt x="104935" y="415883"/>
                </a:cubicBezTo>
                <a:close/>
                <a:moveTo>
                  <a:pt x="68667" y="392745"/>
                </a:moveTo>
                <a:cubicBezTo>
                  <a:pt x="72947" y="392745"/>
                  <a:pt x="77170" y="393150"/>
                  <a:pt x="81335" y="393960"/>
                </a:cubicBezTo>
                <a:cubicBezTo>
                  <a:pt x="89838" y="395273"/>
                  <a:pt x="95970" y="402729"/>
                  <a:pt x="95680" y="411313"/>
                </a:cubicBezTo>
                <a:cubicBezTo>
                  <a:pt x="95680" y="412528"/>
                  <a:pt x="98110" y="413801"/>
                  <a:pt x="104935" y="413801"/>
                </a:cubicBezTo>
                <a:cubicBezTo>
                  <a:pt x="108579" y="413806"/>
                  <a:pt x="112282" y="413494"/>
                  <a:pt x="115868" y="412875"/>
                </a:cubicBezTo>
                <a:cubicBezTo>
                  <a:pt x="116042" y="412331"/>
                  <a:pt x="116215" y="411770"/>
                  <a:pt x="116273" y="411198"/>
                </a:cubicBezTo>
                <a:cubicBezTo>
                  <a:pt x="116562" y="407305"/>
                  <a:pt x="119050" y="403921"/>
                  <a:pt x="122694" y="402463"/>
                </a:cubicBezTo>
                <a:cubicBezTo>
                  <a:pt x="115058" y="393607"/>
                  <a:pt x="104531" y="387718"/>
                  <a:pt x="92962" y="385804"/>
                </a:cubicBezTo>
                <a:cubicBezTo>
                  <a:pt x="88045" y="385202"/>
                  <a:pt x="83649" y="382611"/>
                  <a:pt x="80699" y="378631"/>
                </a:cubicBezTo>
                <a:cubicBezTo>
                  <a:pt x="75261" y="371383"/>
                  <a:pt x="72485" y="362464"/>
                  <a:pt x="72947" y="353411"/>
                </a:cubicBezTo>
                <a:cubicBezTo>
                  <a:pt x="72832" y="348494"/>
                  <a:pt x="71096" y="343757"/>
                  <a:pt x="67915" y="339991"/>
                </a:cubicBezTo>
                <a:cubicBezTo>
                  <a:pt x="65138" y="336596"/>
                  <a:pt x="63403" y="332483"/>
                  <a:pt x="62882" y="328133"/>
                </a:cubicBezTo>
                <a:cubicBezTo>
                  <a:pt x="62882" y="323101"/>
                  <a:pt x="59412" y="321539"/>
                  <a:pt x="52875" y="319052"/>
                </a:cubicBezTo>
                <a:cubicBezTo>
                  <a:pt x="50851" y="318242"/>
                  <a:pt x="48537" y="317374"/>
                  <a:pt x="46166" y="316217"/>
                </a:cubicBezTo>
                <a:cubicBezTo>
                  <a:pt x="38704" y="312689"/>
                  <a:pt x="42522" y="297765"/>
                  <a:pt x="46166" y="284634"/>
                </a:cubicBezTo>
                <a:cubicBezTo>
                  <a:pt x="47380" y="280319"/>
                  <a:pt x="48306" y="275935"/>
                  <a:pt x="49000" y="271503"/>
                </a:cubicBezTo>
                <a:cubicBezTo>
                  <a:pt x="50504" y="264516"/>
                  <a:pt x="52817" y="257725"/>
                  <a:pt x="55825" y="251258"/>
                </a:cubicBezTo>
                <a:cubicBezTo>
                  <a:pt x="60974" y="238475"/>
                  <a:pt x="67394" y="222336"/>
                  <a:pt x="64097" y="216551"/>
                </a:cubicBezTo>
                <a:cubicBezTo>
                  <a:pt x="62709" y="214290"/>
                  <a:pt x="62709" y="211467"/>
                  <a:pt x="64097" y="209205"/>
                </a:cubicBezTo>
                <a:cubicBezTo>
                  <a:pt x="67568" y="204670"/>
                  <a:pt x="73005" y="202073"/>
                  <a:pt x="78732" y="202206"/>
                </a:cubicBezTo>
                <a:cubicBezTo>
                  <a:pt x="83301" y="201645"/>
                  <a:pt x="87640" y="204410"/>
                  <a:pt x="89086" y="208800"/>
                </a:cubicBezTo>
                <a:lnTo>
                  <a:pt x="89086" y="209552"/>
                </a:lnTo>
                <a:cubicBezTo>
                  <a:pt x="92152" y="220658"/>
                  <a:pt x="93424" y="225170"/>
                  <a:pt x="108349" y="224534"/>
                </a:cubicBezTo>
                <a:lnTo>
                  <a:pt x="109795" y="224534"/>
                </a:lnTo>
                <a:cubicBezTo>
                  <a:pt x="116330" y="224476"/>
                  <a:pt x="122520" y="227420"/>
                  <a:pt x="126569" y="232516"/>
                </a:cubicBezTo>
                <a:cubicBezTo>
                  <a:pt x="129577" y="235970"/>
                  <a:pt x="133453" y="238550"/>
                  <a:pt x="137791" y="239979"/>
                </a:cubicBezTo>
                <a:cubicBezTo>
                  <a:pt x="138138" y="240030"/>
                  <a:pt x="138485" y="240152"/>
                  <a:pt x="138774" y="240326"/>
                </a:cubicBezTo>
                <a:cubicBezTo>
                  <a:pt x="139989" y="237352"/>
                  <a:pt x="139642" y="233957"/>
                  <a:pt x="137849" y="231302"/>
                </a:cubicBezTo>
                <a:cubicBezTo>
                  <a:pt x="135940" y="227872"/>
                  <a:pt x="134957" y="224002"/>
                  <a:pt x="135015" y="220080"/>
                </a:cubicBezTo>
                <a:cubicBezTo>
                  <a:pt x="134957" y="216806"/>
                  <a:pt x="133915" y="213631"/>
                  <a:pt x="131949" y="210999"/>
                </a:cubicBezTo>
                <a:cubicBezTo>
                  <a:pt x="129461" y="207065"/>
                  <a:pt x="127148" y="203363"/>
                  <a:pt x="134147" y="194860"/>
                </a:cubicBezTo>
                <a:cubicBezTo>
                  <a:pt x="143633" y="183291"/>
                  <a:pt x="157285" y="175077"/>
                  <a:pt x="167349" y="175077"/>
                </a:cubicBezTo>
                <a:cubicBezTo>
                  <a:pt x="169142" y="175071"/>
                  <a:pt x="170936" y="175343"/>
                  <a:pt x="172671" y="175887"/>
                </a:cubicBezTo>
                <a:cubicBezTo>
                  <a:pt x="178456" y="176830"/>
                  <a:pt x="184297" y="176674"/>
                  <a:pt x="190025" y="175424"/>
                </a:cubicBezTo>
                <a:cubicBezTo>
                  <a:pt x="193842" y="174771"/>
                  <a:pt x="197718" y="174383"/>
                  <a:pt x="201593" y="174267"/>
                </a:cubicBezTo>
                <a:cubicBezTo>
                  <a:pt x="204948" y="173851"/>
                  <a:pt x="208303" y="175002"/>
                  <a:pt x="210675" y="177391"/>
                </a:cubicBezTo>
                <a:cubicBezTo>
                  <a:pt x="211427" y="178195"/>
                  <a:pt x="212237" y="178930"/>
                  <a:pt x="213104" y="179589"/>
                </a:cubicBezTo>
                <a:cubicBezTo>
                  <a:pt x="217095" y="174441"/>
                  <a:pt x="218310" y="167696"/>
                  <a:pt x="216401" y="161484"/>
                </a:cubicBezTo>
                <a:cubicBezTo>
                  <a:pt x="215707" y="157666"/>
                  <a:pt x="215476" y="153785"/>
                  <a:pt x="215707" y="149915"/>
                </a:cubicBezTo>
                <a:cubicBezTo>
                  <a:pt x="216112" y="137796"/>
                  <a:pt x="208997" y="126690"/>
                  <a:pt x="197833" y="121976"/>
                </a:cubicBezTo>
                <a:cubicBezTo>
                  <a:pt x="192801" y="120530"/>
                  <a:pt x="194305" y="113184"/>
                  <a:pt x="195866" y="105491"/>
                </a:cubicBezTo>
                <a:cubicBezTo>
                  <a:pt x="197197" y="98780"/>
                  <a:pt x="198701" y="91145"/>
                  <a:pt x="195288" y="89178"/>
                </a:cubicBezTo>
                <a:cubicBezTo>
                  <a:pt x="188521" y="84736"/>
                  <a:pt x="182678" y="79090"/>
                  <a:pt x="177935" y="72519"/>
                </a:cubicBezTo>
                <a:lnTo>
                  <a:pt x="175158" y="69106"/>
                </a:lnTo>
                <a:cubicBezTo>
                  <a:pt x="172150" y="66295"/>
                  <a:pt x="168159" y="64884"/>
                  <a:pt x="164052" y="65231"/>
                </a:cubicBezTo>
                <a:cubicBezTo>
                  <a:pt x="158267" y="65231"/>
                  <a:pt x="152483" y="67313"/>
                  <a:pt x="151384" y="69974"/>
                </a:cubicBezTo>
                <a:cubicBezTo>
                  <a:pt x="148666" y="74694"/>
                  <a:pt x="143633" y="77586"/>
                  <a:pt x="138196" y="77552"/>
                </a:cubicBezTo>
                <a:cubicBezTo>
                  <a:pt x="135825" y="77702"/>
                  <a:pt x="133511" y="76742"/>
                  <a:pt x="131949" y="74949"/>
                </a:cubicBezTo>
                <a:cubicBezTo>
                  <a:pt x="128420" y="70090"/>
                  <a:pt x="121363" y="70552"/>
                  <a:pt x="113728" y="76279"/>
                </a:cubicBezTo>
                <a:lnTo>
                  <a:pt x="108927" y="80097"/>
                </a:lnTo>
                <a:cubicBezTo>
                  <a:pt x="103142" y="84898"/>
                  <a:pt x="96837" y="89815"/>
                  <a:pt x="92499" y="89815"/>
                </a:cubicBezTo>
                <a:cubicBezTo>
                  <a:pt x="90706" y="89815"/>
                  <a:pt x="88392" y="89005"/>
                  <a:pt x="87466" y="84956"/>
                </a:cubicBezTo>
                <a:cubicBezTo>
                  <a:pt x="86252" y="80832"/>
                  <a:pt x="87466" y="76372"/>
                  <a:pt x="90532" y="73387"/>
                </a:cubicBezTo>
                <a:cubicBezTo>
                  <a:pt x="93135" y="70738"/>
                  <a:pt x="94582" y="67151"/>
                  <a:pt x="94466" y="63438"/>
                </a:cubicBezTo>
                <a:cubicBezTo>
                  <a:pt x="94524" y="59267"/>
                  <a:pt x="95160" y="55125"/>
                  <a:pt x="96316" y="51117"/>
                </a:cubicBezTo>
                <a:cubicBezTo>
                  <a:pt x="98168" y="45807"/>
                  <a:pt x="98399" y="40045"/>
                  <a:pt x="96837" y="34631"/>
                </a:cubicBezTo>
                <a:cubicBezTo>
                  <a:pt x="95680" y="30756"/>
                  <a:pt x="93656" y="30235"/>
                  <a:pt x="91804" y="30235"/>
                </a:cubicBezTo>
                <a:cubicBezTo>
                  <a:pt x="90474" y="30304"/>
                  <a:pt x="89144" y="30478"/>
                  <a:pt x="87871" y="30756"/>
                </a:cubicBezTo>
                <a:cubicBezTo>
                  <a:pt x="86483" y="31085"/>
                  <a:pt x="85095" y="31282"/>
                  <a:pt x="83707" y="31334"/>
                </a:cubicBezTo>
                <a:cubicBezTo>
                  <a:pt x="81161" y="31641"/>
                  <a:pt x="78789" y="30154"/>
                  <a:pt x="77922" y="27748"/>
                </a:cubicBezTo>
                <a:cubicBezTo>
                  <a:pt x="76360" y="23282"/>
                  <a:pt x="75782" y="18516"/>
                  <a:pt x="76303" y="13807"/>
                </a:cubicBezTo>
                <a:cubicBezTo>
                  <a:pt x="76707" y="11517"/>
                  <a:pt x="76476" y="9162"/>
                  <a:pt x="75666" y="6982"/>
                </a:cubicBezTo>
                <a:cubicBezTo>
                  <a:pt x="74278" y="5298"/>
                  <a:pt x="72774" y="3748"/>
                  <a:pt x="71096" y="2354"/>
                </a:cubicBezTo>
                <a:cubicBezTo>
                  <a:pt x="69708" y="2973"/>
                  <a:pt x="68552" y="4031"/>
                  <a:pt x="67858" y="5362"/>
                </a:cubicBezTo>
                <a:cubicBezTo>
                  <a:pt x="66642" y="8370"/>
                  <a:pt x="62073" y="9932"/>
                  <a:pt x="56693" y="11841"/>
                </a:cubicBezTo>
                <a:cubicBezTo>
                  <a:pt x="51313" y="13749"/>
                  <a:pt x="45124" y="15832"/>
                  <a:pt x="42984" y="19534"/>
                </a:cubicBezTo>
                <a:cubicBezTo>
                  <a:pt x="40324" y="24219"/>
                  <a:pt x="34250" y="26591"/>
                  <a:pt x="24995" y="26591"/>
                </a:cubicBezTo>
                <a:lnTo>
                  <a:pt x="21466" y="26591"/>
                </a:lnTo>
                <a:cubicBezTo>
                  <a:pt x="21466" y="26591"/>
                  <a:pt x="8624" y="26591"/>
                  <a:pt x="7526" y="34284"/>
                </a:cubicBezTo>
                <a:lnTo>
                  <a:pt x="7121" y="37176"/>
                </a:lnTo>
                <a:cubicBezTo>
                  <a:pt x="5732" y="46836"/>
                  <a:pt x="2146" y="72519"/>
                  <a:pt x="2146" y="77263"/>
                </a:cubicBezTo>
                <a:cubicBezTo>
                  <a:pt x="2146" y="82006"/>
                  <a:pt x="16838" y="99012"/>
                  <a:pt x="21929" y="101036"/>
                </a:cubicBezTo>
                <a:cubicBezTo>
                  <a:pt x="25226" y="102367"/>
                  <a:pt x="25053" y="106416"/>
                  <a:pt x="24937" y="110349"/>
                </a:cubicBezTo>
                <a:cubicBezTo>
                  <a:pt x="24821" y="114283"/>
                  <a:pt x="24647" y="117985"/>
                  <a:pt x="27424" y="119373"/>
                </a:cubicBezTo>
                <a:cubicBezTo>
                  <a:pt x="30721" y="121230"/>
                  <a:pt x="32283" y="125192"/>
                  <a:pt x="31068" y="128802"/>
                </a:cubicBezTo>
                <a:cubicBezTo>
                  <a:pt x="30374" y="131810"/>
                  <a:pt x="28234" y="134586"/>
                  <a:pt x="25862" y="134586"/>
                </a:cubicBezTo>
                <a:cubicBezTo>
                  <a:pt x="25747" y="135859"/>
                  <a:pt x="25747" y="137131"/>
                  <a:pt x="25862" y="138404"/>
                </a:cubicBezTo>
                <a:cubicBezTo>
                  <a:pt x="25862" y="143089"/>
                  <a:pt x="26441" y="149973"/>
                  <a:pt x="22160" y="153733"/>
                </a:cubicBezTo>
                <a:cubicBezTo>
                  <a:pt x="20541" y="155190"/>
                  <a:pt x="19673" y="157325"/>
                  <a:pt x="19789" y="159517"/>
                </a:cubicBezTo>
                <a:cubicBezTo>
                  <a:pt x="20830" y="168084"/>
                  <a:pt x="25168" y="175899"/>
                  <a:pt x="31936" y="181266"/>
                </a:cubicBezTo>
                <a:cubicBezTo>
                  <a:pt x="43100" y="191331"/>
                  <a:pt x="43100" y="207123"/>
                  <a:pt x="43100" y="215568"/>
                </a:cubicBezTo>
                <a:cubicBezTo>
                  <a:pt x="43216" y="218703"/>
                  <a:pt x="44546" y="221677"/>
                  <a:pt x="46802" y="223840"/>
                </a:cubicBezTo>
                <a:cubicBezTo>
                  <a:pt x="49867" y="227114"/>
                  <a:pt x="51545" y="231400"/>
                  <a:pt x="51603" y="235871"/>
                </a:cubicBezTo>
                <a:lnTo>
                  <a:pt x="51603" y="235871"/>
                </a:lnTo>
                <a:cubicBezTo>
                  <a:pt x="50331" y="240499"/>
                  <a:pt x="38877" y="281164"/>
                  <a:pt x="28003" y="281800"/>
                </a:cubicBezTo>
                <a:cubicBezTo>
                  <a:pt x="27309" y="285386"/>
                  <a:pt x="26557" y="289551"/>
                  <a:pt x="25805" y="293889"/>
                </a:cubicBezTo>
                <a:cubicBezTo>
                  <a:pt x="24069" y="303954"/>
                  <a:pt x="22218" y="314308"/>
                  <a:pt x="20483" y="321134"/>
                </a:cubicBezTo>
                <a:cubicBezTo>
                  <a:pt x="18053" y="330447"/>
                  <a:pt x="16086" y="339066"/>
                  <a:pt x="18400" y="342421"/>
                </a:cubicBezTo>
                <a:cubicBezTo>
                  <a:pt x="19037" y="343317"/>
                  <a:pt x="20020" y="343873"/>
                  <a:pt x="21119" y="343925"/>
                </a:cubicBezTo>
                <a:cubicBezTo>
                  <a:pt x="27540" y="344619"/>
                  <a:pt x="38877" y="355493"/>
                  <a:pt x="57792" y="379499"/>
                </a:cubicBezTo>
                <a:cubicBezTo>
                  <a:pt x="60974" y="383502"/>
                  <a:pt x="63692" y="387875"/>
                  <a:pt x="65832" y="39251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8" name="Forma libre: forma 337">
            <a:extLst>
              <a:ext uri="{FF2B5EF4-FFF2-40B4-BE49-F238E27FC236}">
                <a16:creationId xmlns:a16="http://schemas.microsoft.com/office/drawing/2014/main" id="{4669E8DC-17D1-BBAE-B980-36D590270B5A}"/>
              </a:ext>
            </a:extLst>
          </p:cNvPr>
          <p:cNvSpPr/>
          <p:nvPr/>
        </p:nvSpPr>
        <p:spPr>
          <a:xfrm>
            <a:off x="6574240" y="2792568"/>
            <a:ext cx="261671" cy="213908"/>
          </a:xfrm>
          <a:custGeom>
            <a:avLst/>
            <a:gdLst>
              <a:gd name="connsiteX0" fmla="*/ 223575 w 261671"/>
              <a:gd name="connsiteY0" fmla="*/ 213779 h 213908"/>
              <a:gd name="connsiteX1" fmla="*/ 223575 w 261671"/>
              <a:gd name="connsiteY1" fmla="*/ 213779 h 213908"/>
              <a:gd name="connsiteX2" fmla="*/ 206973 w 261671"/>
              <a:gd name="connsiteY2" fmla="*/ 209557 h 213908"/>
              <a:gd name="connsiteX3" fmla="*/ 184414 w 261671"/>
              <a:gd name="connsiteY3" fmla="*/ 204582 h 213908"/>
              <a:gd name="connsiteX4" fmla="*/ 173655 w 261671"/>
              <a:gd name="connsiteY4" fmla="*/ 203136 h 213908"/>
              <a:gd name="connsiteX5" fmla="*/ 163937 w 261671"/>
              <a:gd name="connsiteY5" fmla="*/ 202673 h 213908"/>
              <a:gd name="connsiteX6" fmla="*/ 156359 w 261671"/>
              <a:gd name="connsiteY6" fmla="*/ 203830 h 213908"/>
              <a:gd name="connsiteX7" fmla="*/ 139527 w 261671"/>
              <a:gd name="connsiteY7" fmla="*/ 199897 h 213908"/>
              <a:gd name="connsiteX8" fmla="*/ 133742 w 261671"/>
              <a:gd name="connsiteY8" fmla="*/ 200880 h 213908"/>
              <a:gd name="connsiteX9" fmla="*/ 127322 w 261671"/>
              <a:gd name="connsiteY9" fmla="*/ 202789 h 213908"/>
              <a:gd name="connsiteX10" fmla="*/ 123272 w 261671"/>
              <a:gd name="connsiteY10" fmla="*/ 201690 h 213908"/>
              <a:gd name="connsiteX11" fmla="*/ 115406 w 261671"/>
              <a:gd name="connsiteY11" fmla="*/ 191914 h 213908"/>
              <a:gd name="connsiteX12" fmla="*/ 110662 w 261671"/>
              <a:gd name="connsiteY12" fmla="*/ 185436 h 213908"/>
              <a:gd name="connsiteX13" fmla="*/ 101986 w 261671"/>
              <a:gd name="connsiteY13" fmla="*/ 183758 h 213908"/>
              <a:gd name="connsiteX14" fmla="*/ 92094 w 261671"/>
              <a:gd name="connsiteY14" fmla="*/ 180229 h 213908"/>
              <a:gd name="connsiteX15" fmla="*/ 91805 w 261671"/>
              <a:gd name="connsiteY15" fmla="*/ 179131 h 213908"/>
              <a:gd name="connsiteX16" fmla="*/ 86021 w 261671"/>
              <a:gd name="connsiteY16" fmla="*/ 171148 h 213908"/>
              <a:gd name="connsiteX17" fmla="*/ 81277 w 261671"/>
              <a:gd name="connsiteY17" fmla="*/ 170627 h 213908"/>
              <a:gd name="connsiteX18" fmla="*/ 76766 w 261671"/>
              <a:gd name="connsiteY18" fmla="*/ 170165 h 213908"/>
              <a:gd name="connsiteX19" fmla="*/ 71733 w 261671"/>
              <a:gd name="connsiteY19" fmla="*/ 173172 h 213908"/>
              <a:gd name="connsiteX20" fmla="*/ 67221 w 261671"/>
              <a:gd name="connsiteY20" fmla="*/ 176180 h 213908"/>
              <a:gd name="connsiteX21" fmla="*/ 67221 w 261671"/>
              <a:gd name="connsiteY21" fmla="*/ 176180 h 213908"/>
              <a:gd name="connsiteX22" fmla="*/ 55132 w 261671"/>
              <a:gd name="connsiteY22" fmla="*/ 166636 h 213908"/>
              <a:gd name="connsiteX23" fmla="*/ 37778 w 261671"/>
              <a:gd name="connsiteY23" fmla="*/ 155067 h 213908"/>
              <a:gd name="connsiteX24" fmla="*/ 21698 w 261671"/>
              <a:gd name="connsiteY24" fmla="*/ 145754 h 213908"/>
              <a:gd name="connsiteX25" fmla="*/ 21293 w 261671"/>
              <a:gd name="connsiteY25" fmla="*/ 144424 h 213908"/>
              <a:gd name="connsiteX26" fmla="*/ 20657 w 261671"/>
              <a:gd name="connsiteY26" fmla="*/ 133318 h 213908"/>
              <a:gd name="connsiteX27" fmla="*/ 13715 w 261671"/>
              <a:gd name="connsiteY27" fmla="*/ 110874 h 213908"/>
              <a:gd name="connsiteX28" fmla="*/ 11401 w 261671"/>
              <a:gd name="connsiteY28" fmla="*/ 101214 h 213908"/>
              <a:gd name="connsiteX29" fmla="*/ 10071 w 261671"/>
              <a:gd name="connsiteY29" fmla="*/ 96240 h 213908"/>
              <a:gd name="connsiteX30" fmla="*/ 4634 w 261671"/>
              <a:gd name="connsiteY30" fmla="*/ 83919 h 213908"/>
              <a:gd name="connsiteX31" fmla="*/ -52 w 261671"/>
              <a:gd name="connsiteY31" fmla="*/ 79175 h 213908"/>
              <a:gd name="connsiteX32" fmla="*/ 2378 w 261671"/>
              <a:gd name="connsiteY32" fmla="*/ 71424 h 213908"/>
              <a:gd name="connsiteX33" fmla="*/ 2899 w 261671"/>
              <a:gd name="connsiteY33" fmla="*/ 43948 h 213908"/>
              <a:gd name="connsiteX34" fmla="*/ 2899 w 261671"/>
              <a:gd name="connsiteY34" fmla="*/ 40015 h 213908"/>
              <a:gd name="connsiteX35" fmla="*/ 3477 w 261671"/>
              <a:gd name="connsiteY35" fmla="*/ 39205 h 213908"/>
              <a:gd name="connsiteX36" fmla="*/ 4518 w 261671"/>
              <a:gd name="connsiteY36" fmla="*/ 39205 h 213908"/>
              <a:gd name="connsiteX37" fmla="*/ 10650 w 261671"/>
              <a:gd name="connsiteY37" fmla="*/ 33883 h 213908"/>
              <a:gd name="connsiteX38" fmla="*/ 25342 w 261671"/>
              <a:gd name="connsiteY38" fmla="*/ 28099 h 213908"/>
              <a:gd name="connsiteX39" fmla="*/ 53396 w 261671"/>
              <a:gd name="connsiteY39" fmla="*/ 18613 h 213908"/>
              <a:gd name="connsiteX40" fmla="*/ 109216 w 261671"/>
              <a:gd name="connsiteY40" fmla="*/ -129 h 213908"/>
              <a:gd name="connsiteX41" fmla="*/ 115001 w 261671"/>
              <a:gd name="connsiteY41" fmla="*/ 2358 h 213908"/>
              <a:gd name="connsiteX42" fmla="*/ 126570 w 261671"/>
              <a:gd name="connsiteY42" fmla="*/ 18265 h 213908"/>
              <a:gd name="connsiteX43" fmla="*/ 140510 w 261671"/>
              <a:gd name="connsiteY43" fmla="*/ 11151 h 213908"/>
              <a:gd name="connsiteX44" fmla="*/ 141898 w 261671"/>
              <a:gd name="connsiteY44" fmla="*/ 10630 h 213908"/>
              <a:gd name="connsiteX45" fmla="*/ 155723 w 261671"/>
              <a:gd name="connsiteY45" fmla="*/ 15720 h 213908"/>
              <a:gd name="connsiteX46" fmla="*/ 207783 w 261671"/>
              <a:gd name="connsiteY46" fmla="*/ 19827 h 213908"/>
              <a:gd name="connsiteX47" fmla="*/ 226120 w 261671"/>
              <a:gd name="connsiteY47" fmla="*/ 18670 h 213908"/>
              <a:gd name="connsiteX48" fmla="*/ 227392 w 261671"/>
              <a:gd name="connsiteY48" fmla="*/ 19359 h 213908"/>
              <a:gd name="connsiteX49" fmla="*/ 227450 w 261671"/>
              <a:gd name="connsiteY49" fmla="*/ 19480 h 213908"/>
              <a:gd name="connsiteX50" fmla="*/ 227450 w 261671"/>
              <a:gd name="connsiteY50" fmla="*/ 19943 h 213908"/>
              <a:gd name="connsiteX51" fmla="*/ 248448 w 261671"/>
              <a:gd name="connsiteY51" fmla="*/ 30471 h 213908"/>
              <a:gd name="connsiteX52" fmla="*/ 249489 w 261671"/>
              <a:gd name="connsiteY52" fmla="*/ 36544 h 213908"/>
              <a:gd name="connsiteX53" fmla="*/ 253422 w 261671"/>
              <a:gd name="connsiteY53" fmla="*/ 55922 h 213908"/>
              <a:gd name="connsiteX54" fmla="*/ 258107 w 261671"/>
              <a:gd name="connsiteY54" fmla="*/ 74837 h 213908"/>
              <a:gd name="connsiteX55" fmla="*/ 254347 w 261671"/>
              <a:gd name="connsiteY55" fmla="*/ 81431 h 213908"/>
              <a:gd name="connsiteX56" fmla="*/ 239250 w 261671"/>
              <a:gd name="connsiteY56" fmla="*/ 94331 h 213908"/>
              <a:gd name="connsiteX57" fmla="*/ 243010 w 261671"/>
              <a:gd name="connsiteY57" fmla="*/ 98785 h 213908"/>
              <a:gd name="connsiteX58" fmla="*/ 248274 w 261671"/>
              <a:gd name="connsiteY58" fmla="*/ 108560 h 213908"/>
              <a:gd name="connsiteX59" fmla="*/ 249952 w 261671"/>
              <a:gd name="connsiteY59" fmla="*/ 131698 h 213908"/>
              <a:gd name="connsiteX60" fmla="*/ 260942 w 261671"/>
              <a:gd name="connsiteY60" fmla="*/ 159521 h 213908"/>
              <a:gd name="connsiteX61" fmla="*/ 253827 w 261671"/>
              <a:gd name="connsiteY61" fmla="*/ 165711 h 213908"/>
              <a:gd name="connsiteX62" fmla="*/ 248679 w 261671"/>
              <a:gd name="connsiteY62" fmla="*/ 169413 h 213908"/>
              <a:gd name="connsiteX63" fmla="*/ 239713 w 261671"/>
              <a:gd name="connsiteY63" fmla="*/ 178205 h 213908"/>
              <a:gd name="connsiteX64" fmla="*/ 223459 w 261671"/>
              <a:gd name="connsiteY64" fmla="*/ 194922 h 213908"/>
              <a:gd name="connsiteX65" fmla="*/ 224153 w 261671"/>
              <a:gd name="connsiteY65" fmla="*/ 200706 h 213908"/>
              <a:gd name="connsiteX66" fmla="*/ 224558 w 261671"/>
              <a:gd name="connsiteY66" fmla="*/ 212969 h 213908"/>
              <a:gd name="connsiteX67" fmla="*/ 223575 w 261671"/>
              <a:gd name="connsiteY67" fmla="*/ 213779 h 213908"/>
              <a:gd name="connsiteX68" fmla="*/ 187248 w 261671"/>
              <a:gd name="connsiteY68" fmla="*/ 202210 h 213908"/>
              <a:gd name="connsiteX69" fmla="*/ 208362 w 261671"/>
              <a:gd name="connsiteY69" fmla="*/ 207995 h 213908"/>
              <a:gd name="connsiteX70" fmla="*/ 222823 w 261671"/>
              <a:gd name="connsiteY70" fmla="*/ 211408 h 213908"/>
              <a:gd name="connsiteX71" fmla="*/ 221955 w 261671"/>
              <a:gd name="connsiteY71" fmla="*/ 201285 h 213908"/>
              <a:gd name="connsiteX72" fmla="*/ 221319 w 261671"/>
              <a:gd name="connsiteY72" fmla="*/ 194517 h 213908"/>
              <a:gd name="connsiteX73" fmla="*/ 238209 w 261671"/>
              <a:gd name="connsiteY73" fmla="*/ 176585 h 213908"/>
              <a:gd name="connsiteX74" fmla="*/ 247059 w 261671"/>
              <a:gd name="connsiteY74" fmla="*/ 167967 h 213908"/>
              <a:gd name="connsiteX75" fmla="*/ 252844 w 261671"/>
              <a:gd name="connsiteY75" fmla="*/ 163802 h 213908"/>
              <a:gd name="connsiteX76" fmla="*/ 259091 w 261671"/>
              <a:gd name="connsiteY76" fmla="*/ 158480 h 213908"/>
              <a:gd name="connsiteX77" fmla="*/ 248274 w 261671"/>
              <a:gd name="connsiteY77" fmla="*/ 133086 h 213908"/>
              <a:gd name="connsiteX78" fmla="*/ 246249 w 261671"/>
              <a:gd name="connsiteY78" fmla="*/ 107808 h 213908"/>
              <a:gd name="connsiteX79" fmla="*/ 241622 w 261671"/>
              <a:gd name="connsiteY79" fmla="*/ 100404 h 213908"/>
              <a:gd name="connsiteX80" fmla="*/ 237110 w 261671"/>
              <a:gd name="connsiteY80" fmla="*/ 94215 h 213908"/>
              <a:gd name="connsiteX81" fmla="*/ 253538 w 261671"/>
              <a:gd name="connsiteY81" fmla="*/ 79233 h 213908"/>
              <a:gd name="connsiteX82" fmla="*/ 256025 w 261671"/>
              <a:gd name="connsiteY82" fmla="*/ 74432 h 213908"/>
              <a:gd name="connsiteX83" fmla="*/ 252092 w 261671"/>
              <a:gd name="connsiteY83" fmla="*/ 57484 h 213908"/>
              <a:gd name="connsiteX84" fmla="*/ 247464 w 261671"/>
              <a:gd name="connsiteY84" fmla="*/ 35677 h 213908"/>
              <a:gd name="connsiteX85" fmla="*/ 246712 w 261671"/>
              <a:gd name="connsiteY85" fmla="*/ 31628 h 213908"/>
              <a:gd name="connsiteX86" fmla="*/ 227334 w 261671"/>
              <a:gd name="connsiteY86" fmla="*/ 22025 h 213908"/>
              <a:gd name="connsiteX87" fmla="*/ 225599 w 261671"/>
              <a:gd name="connsiteY87" fmla="*/ 20926 h 213908"/>
              <a:gd name="connsiteX88" fmla="*/ 207783 w 261671"/>
              <a:gd name="connsiteY88" fmla="*/ 21968 h 213908"/>
              <a:gd name="connsiteX89" fmla="*/ 155087 w 261671"/>
              <a:gd name="connsiteY89" fmla="*/ 17803 h 213908"/>
              <a:gd name="connsiteX90" fmla="*/ 142188 w 261671"/>
              <a:gd name="connsiteY90" fmla="*/ 13059 h 213908"/>
              <a:gd name="connsiteX91" fmla="*/ 126801 w 261671"/>
              <a:gd name="connsiteY91" fmla="*/ 20464 h 213908"/>
              <a:gd name="connsiteX92" fmla="*/ 112745 w 261671"/>
              <a:gd name="connsiteY92" fmla="*/ 2648 h 213908"/>
              <a:gd name="connsiteX93" fmla="*/ 109158 w 261671"/>
              <a:gd name="connsiteY93" fmla="*/ 2069 h 213908"/>
              <a:gd name="connsiteX94" fmla="*/ 54900 w 261671"/>
              <a:gd name="connsiteY94" fmla="*/ 20174 h 213908"/>
              <a:gd name="connsiteX95" fmla="*/ 25573 w 261671"/>
              <a:gd name="connsiteY95" fmla="*/ 30297 h 213908"/>
              <a:gd name="connsiteX96" fmla="*/ 12848 w 261671"/>
              <a:gd name="connsiteY96" fmla="*/ 33999 h 213908"/>
              <a:gd name="connsiteX97" fmla="*/ 4923 w 261671"/>
              <a:gd name="connsiteY97" fmla="*/ 41519 h 213908"/>
              <a:gd name="connsiteX98" fmla="*/ 4923 w 261671"/>
              <a:gd name="connsiteY98" fmla="*/ 42965 h 213908"/>
              <a:gd name="connsiteX99" fmla="*/ 4229 w 261671"/>
              <a:gd name="connsiteY99" fmla="*/ 72466 h 213908"/>
              <a:gd name="connsiteX100" fmla="*/ 2089 w 261671"/>
              <a:gd name="connsiteY100" fmla="*/ 78250 h 213908"/>
              <a:gd name="connsiteX101" fmla="*/ 5675 w 261671"/>
              <a:gd name="connsiteY101" fmla="*/ 81547 h 213908"/>
              <a:gd name="connsiteX102" fmla="*/ 12269 w 261671"/>
              <a:gd name="connsiteY102" fmla="*/ 95835 h 213908"/>
              <a:gd name="connsiteX103" fmla="*/ 13368 w 261671"/>
              <a:gd name="connsiteY103" fmla="*/ 99826 h 213908"/>
              <a:gd name="connsiteX104" fmla="*/ 15913 w 261671"/>
              <a:gd name="connsiteY104" fmla="*/ 110296 h 213908"/>
              <a:gd name="connsiteX105" fmla="*/ 22276 w 261671"/>
              <a:gd name="connsiteY105" fmla="*/ 131467 h 213908"/>
              <a:gd name="connsiteX106" fmla="*/ 23607 w 261671"/>
              <a:gd name="connsiteY106" fmla="*/ 144019 h 213908"/>
              <a:gd name="connsiteX107" fmla="*/ 38473 w 261671"/>
              <a:gd name="connsiteY107" fmla="*/ 152522 h 213908"/>
              <a:gd name="connsiteX108" fmla="*/ 57214 w 261671"/>
              <a:gd name="connsiteY108" fmla="*/ 166000 h 213908"/>
              <a:gd name="connsiteX109" fmla="*/ 67106 w 261671"/>
              <a:gd name="connsiteY109" fmla="*/ 173751 h 213908"/>
              <a:gd name="connsiteX110" fmla="*/ 67106 w 261671"/>
              <a:gd name="connsiteY110" fmla="*/ 173751 h 213908"/>
              <a:gd name="connsiteX111" fmla="*/ 69535 w 261671"/>
              <a:gd name="connsiteY111" fmla="*/ 172131 h 213908"/>
              <a:gd name="connsiteX112" fmla="*/ 76650 w 261671"/>
              <a:gd name="connsiteY112" fmla="*/ 167735 h 213908"/>
              <a:gd name="connsiteX113" fmla="*/ 81509 w 261671"/>
              <a:gd name="connsiteY113" fmla="*/ 168256 h 213908"/>
              <a:gd name="connsiteX114" fmla="*/ 85905 w 261671"/>
              <a:gd name="connsiteY114" fmla="*/ 168719 h 213908"/>
              <a:gd name="connsiteX115" fmla="*/ 93945 w 261671"/>
              <a:gd name="connsiteY115" fmla="*/ 178436 h 213908"/>
              <a:gd name="connsiteX116" fmla="*/ 93945 w 261671"/>
              <a:gd name="connsiteY116" fmla="*/ 179478 h 213908"/>
              <a:gd name="connsiteX117" fmla="*/ 101870 w 261671"/>
              <a:gd name="connsiteY117" fmla="*/ 181329 h 213908"/>
              <a:gd name="connsiteX118" fmla="*/ 111530 w 261671"/>
              <a:gd name="connsiteY118" fmla="*/ 183295 h 213908"/>
              <a:gd name="connsiteX119" fmla="*/ 117314 w 261671"/>
              <a:gd name="connsiteY119" fmla="*/ 190642 h 213908"/>
              <a:gd name="connsiteX120" fmla="*/ 124372 w 261671"/>
              <a:gd name="connsiteY120" fmla="*/ 199550 h 213908"/>
              <a:gd name="connsiteX121" fmla="*/ 132759 w 261671"/>
              <a:gd name="connsiteY121" fmla="*/ 198624 h 213908"/>
              <a:gd name="connsiteX122" fmla="*/ 137965 w 261671"/>
              <a:gd name="connsiteY122" fmla="*/ 197062 h 213908"/>
              <a:gd name="connsiteX123" fmla="*/ 140626 w 261671"/>
              <a:gd name="connsiteY123" fmla="*/ 197756 h 213908"/>
              <a:gd name="connsiteX124" fmla="*/ 156302 w 261671"/>
              <a:gd name="connsiteY124" fmla="*/ 201400 h 213908"/>
              <a:gd name="connsiteX125" fmla="*/ 163069 w 261671"/>
              <a:gd name="connsiteY125" fmla="*/ 200359 h 213908"/>
              <a:gd name="connsiteX126" fmla="*/ 174233 w 261671"/>
              <a:gd name="connsiteY126" fmla="*/ 200764 h 213908"/>
              <a:gd name="connsiteX127" fmla="*/ 184125 w 261671"/>
              <a:gd name="connsiteY127" fmla="*/ 202152 h 213908"/>
              <a:gd name="connsiteX128" fmla="*/ 187248 w 261671"/>
              <a:gd name="connsiteY128" fmla="*/ 202152 h 21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61671" h="213908">
                <a:moveTo>
                  <a:pt x="223575" y="213779"/>
                </a:moveTo>
                <a:lnTo>
                  <a:pt x="223575" y="213779"/>
                </a:lnTo>
                <a:cubicBezTo>
                  <a:pt x="208998" y="211697"/>
                  <a:pt x="207494" y="210135"/>
                  <a:pt x="206973" y="209557"/>
                </a:cubicBezTo>
                <a:cubicBezTo>
                  <a:pt x="200147" y="205600"/>
                  <a:pt x="192281" y="203865"/>
                  <a:pt x="184414" y="204582"/>
                </a:cubicBezTo>
                <a:cubicBezTo>
                  <a:pt x="180770" y="204825"/>
                  <a:pt x="177125" y="204333"/>
                  <a:pt x="173655" y="203136"/>
                </a:cubicBezTo>
                <a:cubicBezTo>
                  <a:pt x="170531" y="201892"/>
                  <a:pt x="167119" y="201730"/>
                  <a:pt x="163937" y="202673"/>
                </a:cubicBezTo>
                <a:cubicBezTo>
                  <a:pt x="161507" y="203489"/>
                  <a:pt x="158904" y="203876"/>
                  <a:pt x="156359" y="203830"/>
                </a:cubicBezTo>
                <a:cubicBezTo>
                  <a:pt x="150517" y="203847"/>
                  <a:pt x="144733" y="202500"/>
                  <a:pt x="139527" y="199897"/>
                </a:cubicBezTo>
                <a:cubicBezTo>
                  <a:pt x="138023" y="199029"/>
                  <a:pt x="135998" y="199897"/>
                  <a:pt x="133742" y="200880"/>
                </a:cubicBezTo>
                <a:cubicBezTo>
                  <a:pt x="131758" y="201962"/>
                  <a:pt x="129572" y="202615"/>
                  <a:pt x="127322" y="202789"/>
                </a:cubicBezTo>
                <a:cubicBezTo>
                  <a:pt x="125898" y="202766"/>
                  <a:pt x="124510" y="202390"/>
                  <a:pt x="123272" y="201690"/>
                </a:cubicBezTo>
                <a:cubicBezTo>
                  <a:pt x="119819" y="199197"/>
                  <a:pt x="117100" y="195819"/>
                  <a:pt x="115406" y="191914"/>
                </a:cubicBezTo>
                <a:cubicBezTo>
                  <a:pt x="114341" y="189421"/>
                  <a:pt x="112722" y="187206"/>
                  <a:pt x="110662" y="185436"/>
                </a:cubicBezTo>
                <a:cubicBezTo>
                  <a:pt x="107892" y="184360"/>
                  <a:pt x="104953" y="183793"/>
                  <a:pt x="101986" y="183758"/>
                </a:cubicBezTo>
                <a:cubicBezTo>
                  <a:pt x="97011" y="183353"/>
                  <a:pt x="92788" y="183006"/>
                  <a:pt x="92094" y="180229"/>
                </a:cubicBezTo>
                <a:lnTo>
                  <a:pt x="91805" y="179131"/>
                </a:lnTo>
                <a:cubicBezTo>
                  <a:pt x="90822" y="174792"/>
                  <a:pt x="89665" y="171148"/>
                  <a:pt x="86021" y="171148"/>
                </a:cubicBezTo>
                <a:cubicBezTo>
                  <a:pt x="84430" y="171113"/>
                  <a:pt x="82839" y="170940"/>
                  <a:pt x="81277" y="170627"/>
                </a:cubicBezTo>
                <a:cubicBezTo>
                  <a:pt x="79785" y="170367"/>
                  <a:pt x="78281" y="170211"/>
                  <a:pt x="76766" y="170165"/>
                </a:cubicBezTo>
                <a:cubicBezTo>
                  <a:pt x="74597" y="169887"/>
                  <a:pt x="72514" y="171131"/>
                  <a:pt x="71733" y="173172"/>
                </a:cubicBezTo>
                <a:cubicBezTo>
                  <a:pt x="71022" y="175029"/>
                  <a:pt x="69211" y="176238"/>
                  <a:pt x="67221" y="176180"/>
                </a:cubicBezTo>
                <a:lnTo>
                  <a:pt x="67221" y="176180"/>
                </a:lnTo>
                <a:cubicBezTo>
                  <a:pt x="61772" y="175388"/>
                  <a:pt x="57162" y="171750"/>
                  <a:pt x="55132" y="166636"/>
                </a:cubicBezTo>
                <a:cubicBezTo>
                  <a:pt x="54264" y="162356"/>
                  <a:pt x="49347" y="158943"/>
                  <a:pt x="37778" y="155067"/>
                </a:cubicBezTo>
                <a:cubicBezTo>
                  <a:pt x="32017" y="152719"/>
                  <a:pt x="26603" y="149584"/>
                  <a:pt x="21698" y="145754"/>
                </a:cubicBezTo>
                <a:cubicBezTo>
                  <a:pt x="21264" y="145465"/>
                  <a:pt x="21096" y="144910"/>
                  <a:pt x="21293" y="144424"/>
                </a:cubicBezTo>
                <a:cubicBezTo>
                  <a:pt x="22994" y="140855"/>
                  <a:pt x="22751" y="136667"/>
                  <a:pt x="20657" y="133318"/>
                </a:cubicBezTo>
                <a:cubicBezTo>
                  <a:pt x="16058" y="126741"/>
                  <a:pt x="13635" y="118897"/>
                  <a:pt x="13715" y="110874"/>
                </a:cubicBezTo>
                <a:cubicBezTo>
                  <a:pt x="13710" y="107519"/>
                  <a:pt x="12917" y="104211"/>
                  <a:pt x="11401" y="101214"/>
                </a:cubicBezTo>
                <a:cubicBezTo>
                  <a:pt x="10522" y="99704"/>
                  <a:pt x="10060" y="97987"/>
                  <a:pt x="10071" y="96240"/>
                </a:cubicBezTo>
                <a:cubicBezTo>
                  <a:pt x="10401" y="91491"/>
                  <a:pt x="8365" y="86880"/>
                  <a:pt x="4634" y="83919"/>
                </a:cubicBezTo>
                <a:cubicBezTo>
                  <a:pt x="2436" y="82704"/>
                  <a:pt x="469" y="81374"/>
                  <a:pt x="-52" y="79175"/>
                </a:cubicBezTo>
                <a:cubicBezTo>
                  <a:pt x="-352" y="76364"/>
                  <a:pt x="527" y="73559"/>
                  <a:pt x="2378" y="71424"/>
                </a:cubicBezTo>
                <a:cubicBezTo>
                  <a:pt x="6254" y="65351"/>
                  <a:pt x="4692" y="48807"/>
                  <a:pt x="2899" y="43948"/>
                </a:cubicBezTo>
                <a:cubicBezTo>
                  <a:pt x="2534" y="42664"/>
                  <a:pt x="2534" y="41299"/>
                  <a:pt x="2899" y="40015"/>
                </a:cubicBezTo>
                <a:cubicBezTo>
                  <a:pt x="2916" y="39656"/>
                  <a:pt x="3141" y="39338"/>
                  <a:pt x="3477" y="39205"/>
                </a:cubicBezTo>
                <a:cubicBezTo>
                  <a:pt x="3807" y="39066"/>
                  <a:pt x="4183" y="39066"/>
                  <a:pt x="4518" y="39205"/>
                </a:cubicBezTo>
                <a:cubicBezTo>
                  <a:pt x="6543" y="40246"/>
                  <a:pt x="10302" y="38048"/>
                  <a:pt x="10650" y="33883"/>
                </a:cubicBezTo>
                <a:cubicBezTo>
                  <a:pt x="10997" y="29719"/>
                  <a:pt x="17070" y="29256"/>
                  <a:pt x="25342" y="28099"/>
                </a:cubicBezTo>
                <a:cubicBezTo>
                  <a:pt x="34829" y="26884"/>
                  <a:pt x="46629" y="25380"/>
                  <a:pt x="53396" y="18613"/>
                </a:cubicBezTo>
                <a:cubicBezTo>
                  <a:pt x="63635" y="8374"/>
                  <a:pt x="96664" y="-129"/>
                  <a:pt x="109216" y="-129"/>
                </a:cubicBezTo>
                <a:cubicBezTo>
                  <a:pt x="110778" y="-129"/>
                  <a:pt x="115001" y="-129"/>
                  <a:pt x="115001" y="2358"/>
                </a:cubicBezTo>
                <a:cubicBezTo>
                  <a:pt x="115637" y="10688"/>
                  <a:pt x="117546" y="18265"/>
                  <a:pt x="126570" y="18265"/>
                </a:cubicBezTo>
                <a:cubicBezTo>
                  <a:pt x="132146" y="18526"/>
                  <a:pt x="137450" y="15819"/>
                  <a:pt x="140510" y="11151"/>
                </a:cubicBezTo>
                <a:cubicBezTo>
                  <a:pt x="140811" y="10700"/>
                  <a:pt x="141372" y="10485"/>
                  <a:pt x="141898" y="10630"/>
                </a:cubicBezTo>
                <a:cubicBezTo>
                  <a:pt x="146699" y="12365"/>
                  <a:pt x="153467" y="14737"/>
                  <a:pt x="155723" y="15720"/>
                </a:cubicBezTo>
                <a:cubicBezTo>
                  <a:pt x="172961" y="18451"/>
                  <a:pt x="190372" y="19822"/>
                  <a:pt x="207783" y="19827"/>
                </a:cubicBezTo>
                <a:cubicBezTo>
                  <a:pt x="213914" y="19937"/>
                  <a:pt x="220046" y="19556"/>
                  <a:pt x="226120" y="18670"/>
                </a:cubicBezTo>
                <a:cubicBezTo>
                  <a:pt x="226698" y="18503"/>
                  <a:pt x="227276" y="18809"/>
                  <a:pt x="227392" y="19359"/>
                </a:cubicBezTo>
                <a:cubicBezTo>
                  <a:pt x="227450" y="19399"/>
                  <a:pt x="227450" y="19440"/>
                  <a:pt x="227450" y="19480"/>
                </a:cubicBezTo>
                <a:cubicBezTo>
                  <a:pt x="227450" y="19636"/>
                  <a:pt x="227450" y="19787"/>
                  <a:pt x="227450" y="19943"/>
                </a:cubicBezTo>
                <a:cubicBezTo>
                  <a:pt x="230631" y="19943"/>
                  <a:pt x="244051" y="24281"/>
                  <a:pt x="248448" y="30471"/>
                </a:cubicBezTo>
                <a:cubicBezTo>
                  <a:pt x="249836" y="32183"/>
                  <a:pt x="250183" y="34473"/>
                  <a:pt x="249489" y="36544"/>
                </a:cubicBezTo>
                <a:cubicBezTo>
                  <a:pt x="246712" y="43202"/>
                  <a:pt x="248274" y="50867"/>
                  <a:pt x="253422" y="55922"/>
                </a:cubicBezTo>
                <a:cubicBezTo>
                  <a:pt x="257471" y="61325"/>
                  <a:pt x="259207" y="68156"/>
                  <a:pt x="258107" y="74837"/>
                </a:cubicBezTo>
                <a:cubicBezTo>
                  <a:pt x="258050" y="77533"/>
                  <a:pt x="256661" y="80026"/>
                  <a:pt x="254347" y="81431"/>
                </a:cubicBezTo>
                <a:cubicBezTo>
                  <a:pt x="248563" y="84035"/>
                  <a:pt x="239250" y="90976"/>
                  <a:pt x="239250" y="94331"/>
                </a:cubicBezTo>
                <a:cubicBezTo>
                  <a:pt x="239250" y="95603"/>
                  <a:pt x="241159" y="97223"/>
                  <a:pt x="243010" y="98785"/>
                </a:cubicBezTo>
                <a:cubicBezTo>
                  <a:pt x="245902" y="101272"/>
                  <a:pt x="249547" y="104569"/>
                  <a:pt x="248274" y="108560"/>
                </a:cubicBezTo>
                <a:cubicBezTo>
                  <a:pt x="246828" y="116288"/>
                  <a:pt x="247406" y="124259"/>
                  <a:pt x="249952" y="131698"/>
                </a:cubicBezTo>
                <a:cubicBezTo>
                  <a:pt x="259496" y="146159"/>
                  <a:pt x="263140" y="155530"/>
                  <a:pt x="260942" y="159521"/>
                </a:cubicBezTo>
                <a:cubicBezTo>
                  <a:pt x="259264" y="162257"/>
                  <a:pt x="256777" y="164415"/>
                  <a:pt x="253827" y="165711"/>
                </a:cubicBezTo>
                <a:cubicBezTo>
                  <a:pt x="251860" y="166596"/>
                  <a:pt x="250125" y="167851"/>
                  <a:pt x="248679" y="169413"/>
                </a:cubicBezTo>
                <a:cubicBezTo>
                  <a:pt x="247349" y="170975"/>
                  <a:pt x="243820" y="174329"/>
                  <a:pt x="239713" y="178205"/>
                </a:cubicBezTo>
                <a:cubicBezTo>
                  <a:pt x="233871" y="183347"/>
                  <a:pt x="228433" y="188935"/>
                  <a:pt x="223459" y="194922"/>
                </a:cubicBezTo>
                <a:cubicBezTo>
                  <a:pt x="223517" y="196871"/>
                  <a:pt x="223748" y="198809"/>
                  <a:pt x="224153" y="200706"/>
                </a:cubicBezTo>
                <a:cubicBezTo>
                  <a:pt x="225252" y="204703"/>
                  <a:pt x="225368" y="208909"/>
                  <a:pt x="224558" y="212969"/>
                </a:cubicBezTo>
                <a:cubicBezTo>
                  <a:pt x="224384" y="213403"/>
                  <a:pt x="224037" y="213716"/>
                  <a:pt x="223575" y="213779"/>
                </a:cubicBezTo>
                <a:close/>
                <a:moveTo>
                  <a:pt x="187248" y="202210"/>
                </a:moveTo>
                <a:cubicBezTo>
                  <a:pt x="194710" y="202019"/>
                  <a:pt x="202056" y="204033"/>
                  <a:pt x="208362" y="207995"/>
                </a:cubicBezTo>
                <a:cubicBezTo>
                  <a:pt x="208709" y="208342"/>
                  <a:pt x="210791" y="209614"/>
                  <a:pt x="222823" y="211408"/>
                </a:cubicBezTo>
                <a:cubicBezTo>
                  <a:pt x="222996" y="208012"/>
                  <a:pt x="222707" y="204599"/>
                  <a:pt x="221955" y="201285"/>
                </a:cubicBezTo>
                <a:cubicBezTo>
                  <a:pt x="221434" y="199064"/>
                  <a:pt x="221261" y="196790"/>
                  <a:pt x="221319" y="194517"/>
                </a:cubicBezTo>
                <a:cubicBezTo>
                  <a:pt x="221724" y="192550"/>
                  <a:pt x="227103" y="187402"/>
                  <a:pt x="238209" y="176585"/>
                </a:cubicBezTo>
                <a:cubicBezTo>
                  <a:pt x="242258" y="172768"/>
                  <a:pt x="245787" y="169471"/>
                  <a:pt x="247059" y="167967"/>
                </a:cubicBezTo>
                <a:cubicBezTo>
                  <a:pt x="248679" y="166191"/>
                  <a:pt x="250646" y="164773"/>
                  <a:pt x="252844" y="163802"/>
                </a:cubicBezTo>
                <a:cubicBezTo>
                  <a:pt x="255389" y="162703"/>
                  <a:pt x="257587" y="160846"/>
                  <a:pt x="259091" y="158480"/>
                </a:cubicBezTo>
                <a:cubicBezTo>
                  <a:pt x="259901" y="157034"/>
                  <a:pt x="260421" y="151655"/>
                  <a:pt x="248274" y="133086"/>
                </a:cubicBezTo>
                <a:cubicBezTo>
                  <a:pt x="245266" y="125011"/>
                  <a:pt x="244572" y="116260"/>
                  <a:pt x="246249" y="107808"/>
                </a:cubicBezTo>
                <a:cubicBezTo>
                  <a:pt x="247059" y="105032"/>
                  <a:pt x="244341" y="102660"/>
                  <a:pt x="241622" y="100404"/>
                </a:cubicBezTo>
                <a:cubicBezTo>
                  <a:pt x="238903" y="98149"/>
                  <a:pt x="237110" y="96529"/>
                  <a:pt x="237110" y="94215"/>
                </a:cubicBezTo>
                <a:cubicBezTo>
                  <a:pt x="237110" y="88893"/>
                  <a:pt x="249026" y="81258"/>
                  <a:pt x="253538" y="79233"/>
                </a:cubicBezTo>
                <a:cubicBezTo>
                  <a:pt x="254752" y="78713"/>
                  <a:pt x="255620" y="76978"/>
                  <a:pt x="256025" y="74432"/>
                </a:cubicBezTo>
                <a:cubicBezTo>
                  <a:pt x="256951" y="68486"/>
                  <a:pt x="255504" y="62424"/>
                  <a:pt x="252092" y="57484"/>
                </a:cubicBezTo>
                <a:cubicBezTo>
                  <a:pt x="246249" y="51850"/>
                  <a:pt x="244398" y="43208"/>
                  <a:pt x="247464" y="35677"/>
                </a:cubicBezTo>
                <a:cubicBezTo>
                  <a:pt x="247927" y="34288"/>
                  <a:pt x="247638" y="32761"/>
                  <a:pt x="246712" y="31628"/>
                </a:cubicBezTo>
                <a:cubicBezTo>
                  <a:pt x="241332" y="26584"/>
                  <a:pt x="234623" y="23240"/>
                  <a:pt x="227334" y="22025"/>
                </a:cubicBezTo>
                <a:cubicBezTo>
                  <a:pt x="226582" y="22025"/>
                  <a:pt x="225888" y="21597"/>
                  <a:pt x="225599" y="20926"/>
                </a:cubicBezTo>
                <a:cubicBezTo>
                  <a:pt x="219699" y="21719"/>
                  <a:pt x="213741" y="22066"/>
                  <a:pt x="207783" y="21968"/>
                </a:cubicBezTo>
                <a:cubicBezTo>
                  <a:pt x="190140" y="21973"/>
                  <a:pt x="172498" y="20579"/>
                  <a:pt x="155087" y="17803"/>
                </a:cubicBezTo>
                <a:cubicBezTo>
                  <a:pt x="152831" y="16819"/>
                  <a:pt x="146873" y="14679"/>
                  <a:pt x="142188" y="13059"/>
                </a:cubicBezTo>
                <a:cubicBezTo>
                  <a:pt x="138613" y="17936"/>
                  <a:pt x="132840" y="20712"/>
                  <a:pt x="126801" y="20464"/>
                </a:cubicBezTo>
                <a:cubicBezTo>
                  <a:pt x="114133" y="20464"/>
                  <a:pt x="113208" y="7969"/>
                  <a:pt x="112745" y="2648"/>
                </a:cubicBezTo>
                <a:cubicBezTo>
                  <a:pt x="112745" y="2648"/>
                  <a:pt x="112282" y="2069"/>
                  <a:pt x="109158" y="2069"/>
                </a:cubicBezTo>
                <a:cubicBezTo>
                  <a:pt x="96953" y="2069"/>
                  <a:pt x="64792" y="10283"/>
                  <a:pt x="54900" y="20174"/>
                </a:cubicBezTo>
                <a:cubicBezTo>
                  <a:pt x="47612" y="27463"/>
                  <a:pt x="35407" y="29025"/>
                  <a:pt x="25573" y="30297"/>
                </a:cubicBezTo>
                <a:cubicBezTo>
                  <a:pt x="19153" y="31107"/>
                  <a:pt x="13079" y="31859"/>
                  <a:pt x="12848" y="33999"/>
                </a:cubicBezTo>
                <a:cubicBezTo>
                  <a:pt x="12634" y="38216"/>
                  <a:pt x="9146" y="41525"/>
                  <a:pt x="4923" y="41519"/>
                </a:cubicBezTo>
                <a:cubicBezTo>
                  <a:pt x="4854" y="41999"/>
                  <a:pt x="4854" y="42485"/>
                  <a:pt x="4923" y="42965"/>
                </a:cubicBezTo>
                <a:cubicBezTo>
                  <a:pt x="6890" y="48113"/>
                  <a:pt x="8683" y="65409"/>
                  <a:pt x="4229" y="72466"/>
                </a:cubicBezTo>
                <a:cubicBezTo>
                  <a:pt x="2436" y="75242"/>
                  <a:pt x="1742" y="77151"/>
                  <a:pt x="2089" y="78250"/>
                </a:cubicBezTo>
                <a:cubicBezTo>
                  <a:pt x="2436" y="79349"/>
                  <a:pt x="3593" y="80390"/>
                  <a:pt x="5675" y="81547"/>
                </a:cubicBezTo>
                <a:cubicBezTo>
                  <a:pt x="10135" y="84896"/>
                  <a:pt x="12611" y="90264"/>
                  <a:pt x="12269" y="95835"/>
                </a:cubicBezTo>
                <a:cubicBezTo>
                  <a:pt x="12275" y="97240"/>
                  <a:pt x="12651" y="98617"/>
                  <a:pt x="13368" y="99826"/>
                </a:cubicBezTo>
                <a:cubicBezTo>
                  <a:pt x="15052" y="103060"/>
                  <a:pt x="15925" y="106652"/>
                  <a:pt x="15913" y="110296"/>
                </a:cubicBezTo>
                <a:cubicBezTo>
                  <a:pt x="15827" y="117839"/>
                  <a:pt x="18048" y="125220"/>
                  <a:pt x="22276" y="131467"/>
                </a:cubicBezTo>
                <a:cubicBezTo>
                  <a:pt x="24920" y="135117"/>
                  <a:pt x="25429" y="139895"/>
                  <a:pt x="23607" y="144019"/>
                </a:cubicBezTo>
                <a:cubicBezTo>
                  <a:pt x="28153" y="147513"/>
                  <a:pt x="33157" y="150370"/>
                  <a:pt x="38473" y="152522"/>
                </a:cubicBezTo>
                <a:cubicBezTo>
                  <a:pt x="50967" y="156976"/>
                  <a:pt x="56173" y="160794"/>
                  <a:pt x="57214" y="166000"/>
                </a:cubicBezTo>
                <a:cubicBezTo>
                  <a:pt x="59030" y="170055"/>
                  <a:pt x="62733" y="172959"/>
                  <a:pt x="67106" y="173751"/>
                </a:cubicBezTo>
                <a:lnTo>
                  <a:pt x="67106" y="173751"/>
                </a:lnTo>
                <a:cubicBezTo>
                  <a:pt x="68187" y="173815"/>
                  <a:pt x="69177" y="173149"/>
                  <a:pt x="69535" y="172131"/>
                </a:cubicBezTo>
                <a:cubicBezTo>
                  <a:pt x="70675" y="169257"/>
                  <a:pt x="73567" y="167469"/>
                  <a:pt x="76650" y="167735"/>
                </a:cubicBezTo>
                <a:cubicBezTo>
                  <a:pt x="78281" y="167770"/>
                  <a:pt x="79907" y="167943"/>
                  <a:pt x="81509" y="168256"/>
                </a:cubicBezTo>
                <a:cubicBezTo>
                  <a:pt x="82961" y="168510"/>
                  <a:pt x="84430" y="168666"/>
                  <a:pt x="85905" y="168719"/>
                </a:cubicBezTo>
                <a:cubicBezTo>
                  <a:pt x="91689" y="168719"/>
                  <a:pt x="93135" y="174792"/>
                  <a:pt x="93945" y="178436"/>
                </a:cubicBezTo>
                <a:lnTo>
                  <a:pt x="93945" y="179478"/>
                </a:lnTo>
                <a:cubicBezTo>
                  <a:pt x="94292" y="180692"/>
                  <a:pt x="98862" y="181097"/>
                  <a:pt x="101870" y="181329"/>
                </a:cubicBezTo>
                <a:cubicBezTo>
                  <a:pt x="105184" y="181363"/>
                  <a:pt x="108464" y="182034"/>
                  <a:pt x="111530" y="183295"/>
                </a:cubicBezTo>
                <a:cubicBezTo>
                  <a:pt x="114046" y="185216"/>
                  <a:pt x="116036" y="187744"/>
                  <a:pt x="117314" y="190642"/>
                </a:cubicBezTo>
                <a:cubicBezTo>
                  <a:pt x="118842" y="194182"/>
                  <a:pt x="121277" y="197253"/>
                  <a:pt x="124372" y="199550"/>
                </a:cubicBezTo>
                <a:cubicBezTo>
                  <a:pt x="127148" y="200660"/>
                  <a:pt x="130295" y="200313"/>
                  <a:pt x="132759" y="198624"/>
                </a:cubicBezTo>
                <a:cubicBezTo>
                  <a:pt x="134367" y="197745"/>
                  <a:pt x="136137" y="197213"/>
                  <a:pt x="137965" y="197062"/>
                </a:cubicBezTo>
                <a:cubicBezTo>
                  <a:pt x="138896" y="197057"/>
                  <a:pt x="139816" y="197299"/>
                  <a:pt x="140626" y="197756"/>
                </a:cubicBezTo>
                <a:cubicBezTo>
                  <a:pt x="145485" y="200163"/>
                  <a:pt x="150864" y="201406"/>
                  <a:pt x="156302" y="201400"/>
                </a:cubicBezTo>
                <a:cubicBezTo>
                  <a:pt x="158615" y="201458"/>
                  <a:pt x="160871" y="201106"/>
                  <a:pt x="163069" y="200359"/>
                </a:cubicBezTo>
                <a:cubicBezTo>
                  <a:pt x="166714" y="199260"/>
                  <a:pt x="170647" y="199405"/>
                  <a:pt x="174233" y="200764"/>
                </a:cubicBezTo>
                <a:cubicBezTo>
                  <a:pt x="177415" y="201886"/>
                  <a:pt x="180770" y="202361"/>
                  <a:pt x="184125" y="202152"/>
                </a:cubicBezTo>
                <a:cubicBezTo>
                  <a:pt x="185166" y="202100"/>
                  <a:pt x="186207" y="202100"/>
                  <a:pt x="187248" y="20215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39" name="Forma libre: forma 338">
            <a:extLst>
              <a:ext uri="{FF2B5EF4-FFF2-40B4-BE49-F238E27FC236}">
                <a16:creationId xmlns:a16="http://schemas.microsoft.com/office/drawing/2014/main" id="{F1878075-BFAA-F890-293A-70533028CD71}"/>
              </a:ext>
            </a:extLst>
          </p:cNvPr>
          <p:cNvSpPr/>
          <p:nvPr/>
        </p:nvSpPr>
        <p:spPr>
          <a:xfrm>
            <a:off x="6611524" y="3140675"/>
            <a:ext cx="99430" cy="94691"/>
          </a:xfrm>
          <a:custGeom>
            <a:avLst/>
            <a:gdLst>
              <a:gd name="connsiteX0" fmla="*/ 72395 w 99430"/>
              <a:gd name="connsiteY0" fmla="*/ 94562 h 94691"/>
              <a:gd name="connsiteX1" fmla="*/ 71701 w 99430"/>
              <a:gd name="connsiteY1" fmla="*/ 94273 h 94691"/>
              <a:gd name="connsiteX2" fmla="*/ 57760 w 99430"/>
              <a:gd name="connsiteY2" fmla="*/ 84035 h 94691"/>
              <a:gd name="connsiteX3" fmla="*/ 57413 w 99430"/>
              <a:gd name="connsiteY3" fmla="*/ 83688 h 94691"/>
              <a:gd name="connsiteX4" fmla="*/ 42605 w 99430"/>
              <a:gd name="connsiteY4" fmla="*/ 67491 h 94691"/>
              <a:gd name="connsiteX5" fmla="*/ 35028 w 99430"/>
              <a:gd name="connsiteY5" fmla="*/ 57947 h 94691"/>
              <a:gd name="connsiteX6" fmla="*/ 26698 w 99430"/>
              <a:gd name="connsiteY6" fmla="*/ 48923 h 94691"/>
              <a:gd name="connsiteX7" fmla="*/ 12700 w 99430"/>
              <a:gd name="connsiteY7" fmla="*/ 30934 h 94691"/>
              <a:gd name="connsiteX8" fmla="*/ 5816 w 99430"/>
              <a:gd name="connsiteY8" fmla="*/ 20117 h 94691"/>
              <a:gd name="connsiteX9" fmla="*/ 32 w 99430"/>
              <a:gd name="connsiteY9" fmla="*/ 12481 h 94691"/>
              <a:gd name="connsiteX10" fmla="*/ 1825 w 99430"/>
              <a:gd name="connsiteY10" fmla="*/ 5887 h 94691"/>
              <a:gd name="connsiteX11" fmla="*/ 13914 w 99430"/>
              <a:gd name="connsiteY11" fmla="*/ 4094 h 94691"/>
              <a:gd name="connsiteX12" fmla="*/ 21666 w 99430"/>
              <a:gd name="connsiteY12" fmla="*/ 2648 h 94691"/>
              <a:gd name="connsiteX13" fmla="*/ 28780 w 99430"/>
              <a:gd name="connsiteY13" fmla="*/ -129 h 94691"/>
              <a:gd name="connsiteX14" fmla="*/ 31152 w 99430"/>
              <a:gd name="connsiteY14" fmla="*/ 334 h 94691"/>
              <a:gd name="connsiteX15" fmla="*/ 72973 w 99430"/>
              <a:gd name="connsiteY15" fmla="*/ 4499 h 94691"/>
              <a:gd name="connsiteX16" fmla="*/ 98193 w 99430"/>
              <a:gd name="connsiteY16" fmla="*/ 17167 h 94691"/>
              <a:gd name="connsiteX17" fmla="*/ 98714 w 99430"/>
              <a:gd name="connsiteY17" fmla="*/ 17919 h 94691"/>
              <a:gd name="connsiteX18" fmla="*/ 95822 w 99430"/>
              <a:gd name="connsiteY18" fmla="*/ 54823 h 94691"/>
              <a:gd name="connsiteX19" fmla="*/ 94144 w 99430"/>
              <a:gd name="connsiteY19" fmla="*/ 55633 h 94691"/>
              <a:gd name="connsiteX20" fmla="*/ 87666 w 99430"/>
              <a:gd name="connsiteY20" fmla="*/ 61417 h 94691"/>
              <a:gd name="connsiteX21" fmla="*/ 74593 w 99430"/>
              <a:gd name="connsiteY21" fmla="*/ 84555 h 94691"/>
              <a:gd name="connsiteX22" fmla="*/ 73494 w 99430"/>
              <a:gd name="connsiteY22" fmla="*/ 93521 h 94691"/>
              <a:gd name="connsiteX23" fmla="*/ 72742 w 99430"/>
              <a:gd name="connsiteY23" fmla="*/ 94331 h 94691"/>
              <a:gd name="connsiteX24" fmla="*/ 59149 w 99430"/>
              <a:gd name="connsiteY24" fmla="*/ 82241 h 94691"/>
              <a:gd name="connsiteX25" fmla="*/ 71527 w 99430"/>
              <a:gd name="connsiteY25" fmla="*/ 91381 h 94691"/>
              <a:gd name="connsiteX26" fmla="*/ 72221 w 99430"/>
              <a:gd name="connsiteY26" fmla="*/ 85191 h 94691"/>
              <a:gd name="connsiteX27" fmla="*/ 85757 w 99430"/>
              <a:gd name="connsiteY27" fmla="*/ 60260 h 94691"/>
              <a:gd name="connsiteX28" fmla="*/ 93971 w 99430"/>
              <a:gd name="connsiteY28" fmla="*/ 53377 h 94691"/>
              <a:gd name="connsiteX29" fmla="*/ 96342 w 99430"/>
              <a:gd name="connsiteY29" fmla="*/ 18670 h 94691"/>
              <a:gd name="connsiteX30" fmla="*/ 72395 w 99430"/>
              <a:gd name="connsiteY30" fmla="*/ 6639 h 94691"/>
              <a:gd name="connsiteX31" fmla="*/ 30111 w 99430"/>
              <a:gd name="connsiteY31" fmla="*/ 2358 h 94691"/>
              <a:gd name="connsiteX32" fmla="*/ 22649 w 99430"/>
              <a:gd name="connsiteY32" fmla="*/ 4499 h 94691"/>
              <a:gd name="connsiteX33" fmla="*/ 15939 w 99430"/>
              <a:gd name="connsiteY33" fmla="*/ 7102 h 94691"/>
              <a:gd name="connsiteX34" fmla="*/ 12353 w 99430"/>
              <a:gd name="connsiteY34" fmla="*/ 5829 h 94691"/>
              <a:gd name="connsiteX35" fmla="*/ 3387 w 99430"/>
              <a:gd name="connsiteY35" fmla="*/ 7217 h 94691"/>
              <a:gd name="connsiteX36" fmla="*/ 2114 w 99430"/>
              <a:gd name="connsiteY36" fmla="*/ 11961 h 94691"/>
              <a:gd name="connsiteX37" fmla="*/ 7147 w 99430"/>
              <a:gd name="connsiteY37" fmla="*/ 18323 h 94691"/>
              <a:gd name="connsiteX38" fmla="*/ 14782 w 99430"/>
              <a:gd name="connsiteY38" fmla="*/ 30876 h 94691"/>
              <a:gd name="connsiteX39" fmla="*/ 27970 w 99430"/>
              <a:gd name="connsiteY39" fmla="*/ 47188 h 94691"/>
              <a:gd name="connsiteX40" fmla="*/ 37110 w 99430"/>
              <a:gd name="connsiteY40" fmla="*/ 58178 h 94691"/>
              <a:gd name="connsiteX41" fmla="*/ 43935 w 99430"/>
              <a:gd name="connsiteY41" fmla="*/ 65814 h 94691"/>
              <a:gd name="connsiteX42" fmla="*/ 59149 w 99430"/>
              <a:gd name="connsiteY42" fmla="*/ 82241 h 94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9430" h="94691">
                <a:moveTo>
                  <a:pt x="72395" y="94562"/>
                </a:moveTo>
                <a:cubicBezTo>
                  <a:pt x="72135" y="94556"/>
                  <a:pt x="71886" y="94452"/>
                  <a:pt x="71701" y="94273"/>
                </a:cubicBezTo>
                <a:cubicBezTo>
                  <a:pt x="67363" y="90860"/>
                  <a:pt x="62330" y="86927"/>
                  <a:pt x="57760" y="84035"/>
                </a:cubicBezTo>
                <a:lnTo>
                  <a:pt x="57413" y="83688"/>
                </a:lnTo>
                <a:cubicBezTo>
                  <a:pt x="53063" y="77782"/>
                  <a:pt x="48100" y="72356"/>
                  <a:pt x="42605" y="67491"/>
                </a:cubicBezTo>
                <a:cubicBezTo>
                  <a:pt x="37284" y="62516"/>
                  <a:pt x="34738" y="60029"/>
                  <a:pt x="35028" y="57947"/>
                </a:cubicBezTo>
                <a:cubicBezTo>
                  <a:pt x="35317" y="55864"/>
                  <a:pt x="30458" y="52162"/>
                  <a:pt x="26698" y="48923"/>
                </a:cubicBezTo>
                <a:cubicBezTo>
                  <a:pt x="20104" y="43139"/>
                  <a:pt x="12700" y="36544"/>
                  <a:pt x="12700" y="30934"/>
                </a:cubicBezTo>
                <a:cubicBezTo>
                  <a:pt x="12087" y="26497"/>
                  <a:pt x="9576" y="22552"/>
                  <a:pt x="5816" y="20117"/>
                </a:cubicBezTo>
                <a:cubicBezTo>
                  <a:pt x="3144" y="18231"/>
                  <a:pt x="1125" y="15564"/>
                  <a:pt x="32" y="12481"/>
                </a:cubicBezTo>
                <a:cubicBezTo>
                  <a:pt x="-425" y="10127"/>
                  <a:pt x="240" y="7686"/>
                  <a:pt x="1825" y="5887"/>
                </a:cubicBezTo>
                <a:cubicBezTo>
                  <a:pt x="4746" y="2185"/>
                  <a:pt x="10044" y="1398"/>
                  <a:pt x="13914" y="4094"/>
                </a:cubicBezTo>
                <a:cubicBezTo>
                  <a:pt x="16055" y="5829"/>
                  <a:pt x="18715" y="4383"/>
                  <a:pt x="21666" y="2648"/>
                </a:cubicBezTo>
                <a:cubicBezTo>
                  <a:pt x="23742" y="1097"/>
                  <a:pt x="26201" y="137"/>
                  <a:pt x="28780" y="-129"/>
                </a:cubicBezTo>
                <a:cubicBezTo>
                  <a:pt x="29590" y="-123"/>
                  <a:pt x="30394" y="39"/>
                  <a:pt x="31152" y="334"/>
                </a:cubicBezTo>
                <a:cubicBezTo>
                  <a:pt x="44971" y="2758"/>
                  <a:pt x="58946" y="4146"/>
                  <a:pt x="72973" y="4499"/>
                </a:cubicBezTo>
                <a:cubicBezTo>
                  <a:pt x="81985" y="7391"/>
                  <a:pt x="90494" y="11660"/>
                  <a:pt x="98193" y="17167"/>
                </a:cubicBezTo>
                <a:cubicBezTo>
                  <a:pt x="98460" y="17334"/>
                  <a:pt x="98651" y="17606"/>
                  <a:pt x="98714" y="17919"/>
                </a:cubicBezTo>
                <a:cubicBezTo>
                  <a:pt x="100045" y="29082"/>
                  <a:pt x="99235" y="50948"/>
                  <a:pt x="95822" y="54823"/>
                </a:cubicBezTo>
                <a:cubicBezTo>
                  <a:pt x="95411" y="55326"/>
                  <a:pt x="94798" y="55627"/>
                  <a:pt x="94144" y="55633"/>
                </a:cubicBezTo>
                <a:cubicBezTo>
                  <a:pt x="94144" y="55633"/>
                  <a:pt x="92583" y="55633"/>
                  <a:pt x="87666" y="61417"/>
                </a:cubicBezTo>
                <a:cubicBezTo>
                  <a:pt x="80667" y="69978"/>
                  <a:pt x="74072" y="81605"/>
                  <a:pt x="74593" y="84555"/>
                </a:cubicBezTo>
                <a:cubicBezTo>
                  <a:pt x="74732" y="87586"/>
                  <a:pt x="74362" y="90617"/>
                  <a:pt x="73494" y="93521"/>
                </a:cubicBezTo>
                <a:cubicBezTo>
                  <a:pt x="73378" y="93891"/>
                  <a:pt x="73101" y="94192"/>
                  <a:pt x="72742" y="94331"/>
                </a:cubicBezTo>
                <a:close/>
                <a:moveTo>
                  <a:pt x="59149" y="82241"/>
                </a:moveTo>
                <a:cubicBezTo>
                  <a:pt x="63429" y="85070"/>
                  <a:pt x="67565" y="88118"/>
                  <a:pt x="71527" y="91381"/>
                </a:cubicBezTo>
                <a:cubicBezTo>
                  <a:pt x="72077" y="89368"/>
                  <a:pt x="72314" y="87280"/>
                  <a:pt x="72221" y="85191"/>
                </a:cubicBezTo>
                <a:cubicBezTo>
                  <a:pt x="71354" y="80795"/>
                  <a:pt x="79683" y="67838"/>
                  <a:pt x="85757" y="60260"/>
                </a:cubicBezTo>
                <a:cubicBezTo>
                  <a:pt x="91831" y="52683"/>
                  <a:pt x="93335" y="53377"/>
                  <a:pt x="93971" y="53377"/>
                </a:cubicBezTo>
                <a:cubicBezTo>
                  <a:pt x="96111" y="52104"/>
                  <a:pt x="97846" y="32033"/>
                  <a:pt x="96342" y="18670"/>
                </a:cubicBezTo>
                <a:cubicBezTo>
                  <a:pt x="88979" y="13534"/>
                  <a:pt x="80910" y="9479"/>
                  <a:pt x="72395" y="6639"/>
                </a:cubicBezTo>
                <a:cubicBezTo>
                  <a:pt x="71180" y="6639"/>
                  <a:pt x="36242" y="4846"/>
                  <a:pt x="30111" y="2358"/>
                </a:cubicBezTo>
                <a:cubicBezTo>
                  <a:pt x="27913" y="1491"/>
                  <a:pt x="25194" y="2995"/>
                  <a:pt x="22649" y="4499"/>
                </a:cubicBezTo>
                <a:cubicBezTo>
                  <a:pt x="20671" y="5927"/>
                  <a:pt x="18363" y="6818"/>
                  <a:pt x="15939" y="7102"/>
                </a:cubicBezTo>
                <a:cubicBezTo>
                  <a:pt x="14632" y="7096"/>
                  <a:pt x="13371" y="6645"/>
                  <a:pt x="12353" y="5829"/>
                </a:cubicBezTo>
                <a:cubicBezTo>
                  <a:pt x="9472" y="3833"/>
                  <a:pt x="5533" y="4447"/>
                  <a:pt x="3387" y="7217"/>
                </a:cubicBezTo>
                <a:cubicBezTo>
                  <a:pt x="2282" y="8530"/>
                  <a:pt x="1813" y="10271"/>
                  <a:pt x="2114" y="11961"/>
                </a:cubicBezTo>
                <a:cubicBezTo>
                  <a:pt x="3132" y="14529"/>
                  <a:pt x="4879" y="16744"/>
                  <a:pt x="7147" y="18323"/>
                </a:cubicBezTo>
                <a:cubicBezTo>
                  <a:pt x="11427" y="21169"/>
                  <a:pt x="14221" y="25768"/>
                  <a:pt x="14782" y="30876"/>
                </a:cubicBezTo>
                <a:cubicBezTo>
                  <a:pt x="14782" y="35503"/>
                  <a:pt x="22071" y="41982"/>
                  <a:pt x="27970" y="47188"/>
                </a:cubicBezTo>
                <a:cubicBezTo>
                  <a:pt x="33871" y="52394"/>
                  <a:pt x="37399" y="55633"/>
                  <a:pt x="37110" y="58178"/>
                </a:cubicBezTo>
                <a:cubicBezTo>
                  <a:pt x="37110" y="59219"/>
                  <a:pt x="40812" y="62864"/>
                  <a:pt x="43935" y="65814"/>
                </a:cubicBezTo>
                <a:cubicBezTo>
                  <a:pt x="49593" y="70713"/>
                  <a:pt x="54700" y="76220"/>
                  <a:pt x="59149" y="8224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0" name="Forma libre: forma 339">
            <a:extLst>
              <a:ext uri="{FF2B5EF4-FFF2-40B4-BE49-F238E27FC236}">
                <a16:creationId xmlns:a16="http://schemas.microsoft.com/office/drawing/2014/main" id="{689042B8-0496-AD76-B5B5-F957FA4D471C}"/>
              </a:ext>
            </a:extLst>
          </p:cNvPr>
          <p:cNvSpPr/>
          <p:nvPr/>
        </p:nvSpPr>
        <p:spPr>
          <a:xfrm>
            <a:off x="6561721" y="3095492"/>
            <a:ext cx="148301" cy="129925"/>
          </a:xfrm>
          <a:custGeom>
            <a:avLst/>
            <a:gdLst>
              <a:gd name="connsiteX0" fmla="*/ 108142 w 148301"/>
              <a:gd name="connsiteY0" fmla="*/ 129392 h 129925"/>
              <a:gd name="connsiteX1" fmla="*/ 107563 w 148301"/>
              <a:gd name="connsiteY1" fmla="*/ 129392 h 129925"/>
              <a:gd name="connsiteX2" fmla="*/ 96573 w 148301"/>
              <a:gd name="connsiteY2" fmla="*/ 124764 h 129925"/>
              <a:gd name="connsiteX3" fmla="*/ 72105 w 148301"/>
              <a:gd name="connsiteY3" fmla="*/ 111286 h 129925"/>
              <a:gd name="connsiteX4" fmla="*/ 63949 w 148301"/>
              <a:gd name="connsiteY4" fmla="*/ 106717 h 129925"/>
              <a:gd name="connsiteX5" fmla="*/ 50529 w 148301"/>
              <a:gd name="connsiteY5" fmla="*/ 100122 h 129925"/>
              <a:gd name="connsiteX6" fmla="*/ 26061 w 148301"/>
              <a:gd name="connsiteY6" fmla="*/ 61078 h 129925"/>
              <a:gd name="connsiteX7" fmla="*/ 9459 w 148301"/>
              <a:gd name="connsiteY7" fmla="*/ 53211 h 129925"/>
              <a:gd name="connsiteX8" fmla="*/ 6162 w 148301"/>
              <a:gd name="connsiteY8" fmla="*/ 53211 h 129925"/>
              <a:gd name="connsiteX9" fmla="*/ 378 w 148301"/>
              <a:gd name="connsiteY9" fmla="*/ 43666 h 129925"/>
              <a:gd name="connsiteX10" fmla="*/ -27 w 148301"/>
              <a:gd name="connsiteY10" fmla="*/ 40601 h 129925"/>
              <a:gd name="connsiteX11" fmla="*/ -27 w 148301"/>
              <a:gd name="connsiteY11" fmla="*/ 39791 h 129925"/>
              <a:gd name="connsiteX12" fmla="*/ 725 w 148301"/>
              <a:gd name="connsiteY12" fmla="*/ 39328 h 129925"/>
              <a:gd name="connsiteX13" fmla="*/ 19698 w 148301"/>
              <a:gd name="connsiteY13" fmla="*/ 35684 h 129925"/>
              <a:gd name="connsiteX14" fmla="*/ 29531 w 148301"/>
              <a:gd name="connsiteY14" fmla="*/ 36436 h 129925"/>
              <a:gd name="connsiteX15" fmla="*/ 34795 w 148301"/>
              <a:gd name="connsiteY15" fmla="*/ 37361 h 129925"/>
              <a:gd name="connsiteX16" fmla="*/ 36010 w 148301"/>
              <a:gd name="connsiteY16" fmla="*/ 36956 h 129925"/>
              <a:gd name="connsiteX17" fmla="*/ 46769 w 148301"/>
              <a:gd name="connsiteY17" fmla="*/ 24115 h 129925"/>
              <a:gd name="connsiteX18" fmla="*/ 48967 w 148301"/>
              <a:gd name="connsiteY18" fmla="*/ 18620 h 129925"/>
              <a:gd name="connsiteX19" fmla="*/ 53305 w 148301"/>
              <a:gd name="connsiteY19" fmla="*/ 10753 h 129925"/>
              <a:gd name="connsiteX20" fmla="*/ 69039 w 148301"/>
              <a:gd name="connsiteY20" fmla="*/ 110 h 129925"/>
              <a:gd name="connsiteX21" fmla="*/ 70369 w 148301"/>
              <a:gd name="connsiteY21" fmla="*/ 110 h 129925"/>
              <a:gd name="connsiteX22" fmla="*/ 93507 w 148301"/>
              <a:gd name="connsiteY22" fmla="*/ 17463 h 129925"/>
              <a:gd name="connsiteX23" fmla="*/ 113001 w 148301"/>
              <a:gd name="connsiteY23" fmla="*/ 24115 h 129925"/>
              <a:gd name="connsiteX24" fmla="*/ 120289 w 148301"/>
              <a:gd name="connsiteY24" fmla="*/ 23363 h 129925"/>
              <a:gd name="connsiteX25" fmla="*/ 129660 w 148301"/>
              <a:gd name="connsiteY25" fmla="*/ 20587 h 129925"/>
              <a:gd name="connsiteX26" fmla="*/ 130643 w 148301"/>
              <a:gd name="connsiteY26" fmla="*/ 20587 h 129925"/>
              <a:gd name="connsiteX27" fmla="*/ 131106 w 148301"/>
              <a:gd name="connsiteY27" fmla="*/ 21454 h 129925"/>
              <a:gd name="connsiteX28" fmla="*/ 137527 w 148301"/>
              <a:gd name="connsiteY28" fmla="*/ 37014 h 129925"/>
              <a:gd name="connsiteX29" fmla="*/ 145162 w 148301"/>
              <a:gd name="connsiteY29" fmla="*/ 49509 h 129925"/>
              <a:gd name="connsiteX30" fmla="*/ 146839 w 148301"/>
              <a:gd name="connsiteY30" fmla="*/ 57202 h 129925"/>
              <a:gd name="connsiteX31" fmla="*/ 148170 w 148301"/>
              <a:gd name="connsiteY31" fmla="*/ 62986 h 129925"/>
              <a:gd name="connsiteX32" fmla="*/ 148170 w 148301"/>
              <a:gd name="connsiteY32" fmla="*/ 63507 h 129925"/>
              <a:gd name="connsiteX33" fmla="*/ 147013 w 148301"/>
              <a:gd name="connsiteY33" fmla="*/ 64606 h 129925"/>
              <a:gd name="connsiteX34" fmla="*/ 147013 w 148301"/>
              <a:gd name="connsiteY34" fmla="*/ 64606 h 129925"/>
              <a:gd name="connsiteX35" fmla="*/ 146319 w 148301"/>
              <a:gd name="connsiteY35" fmla="*/ 64606 h 129925"/>
              <a:gd name="connsiteX36" fmla="*/ 121966 w 148301"/>
              <a:gd name="connsiteY36" fmla="*/ 52285 h 129925"/>
              <a:gd name="connsiteX37" fmla="*/ 79682 w 148301"/>
              <a:gd name="connsiteY37" fmla="*/ 48005 h 129925"/>
              <a:gd name="connsiteX38" fmla="*/ 72221 w 148301"/>
              <a:gd name="connsiteY38" fmla="*/ 50145 h 129925"/>
              <a:gd name="connsiteX39" fmla="*/ 65510 w 148301"/>
              <a:gd name="connsiteY39" fmla="*/ 52748 h 129925"/>
              <a:gd name="connsiteX40" fmla="*/ 61924 w 148301"/>
              <a:gd name="connsiteY40" fmla="*/ 51475 h 129925"/>
              <a:gd name="connsiteX41" fmla="*/ 52958 w 148301"/>
              <a:gd name="connsiteY41" fmla="*/ 52864 h 129925"/>
              <a:gd name="connsiteX42" fmla="*/ 51686 w 148301"/>
              <a:gd name="connsiteY42" fmla="*/ 57607 h 129925"/>
              <a:gd name="connsiteX43" fmla="*/ 56718 w 148301"/>
              <a:gd name="connsiteY43" fmla="*/ 63970 h 129925"/>
              <a:gd name="connsiteX44" fmla="*/ 64354 w 148301"/>
              <a:gd name="connsiteY44" fmla="*/ 76522 h 129925"/>
              <a:gd name="connsiteX45" fmla="*/ 77542 w 148301"/>
              <a:gd name="connsiteY45" fmla="*/ 92834 h 129925"/>
              <a:gd name="connsiteX46" fmla="*/ 86682 w 148301"/>
              <a:gd name="connsiteY46" fmla="*/ 103824 h 129925"/>
              <a:gd name="connsiteX47" fmla="*/ 93507 w 148301"/>
              <a:gd name="connsiteY47" fmla="*/ 111460 h 129925"/>
              <a:gd name="connsiteX48" fmla="*/ 108662 w 148301"/>
              <a:gd name="connsiteY48" fmla="*/ 128003 h 129925"/>
              <a:gd name="connsiteX49" fmla="*/ 108333 w 148301"/>
              <a:gd name="connsiteY49" fmla="*/ 129606 h 129925"/>
              <a:gd name="connsiteX50" fmla="*/ 107737 w 148301"/>
              <a:gd name="connsiteY50" fmla="*/ 129797 h 129925"/>
              <a:gd name="connsiteX51" fmla="*/ 9459 w 148301"/>
              <a:gd name="connsiteY51" fmla="*/ 50781 h 129925"/>
              <a:gd name="connsiteX52" fmla="*/ 28317 w 148301"/>
              <a:gd name="connsiteY52" fmla="*/ 60788 h 129925"/>
              <a:gd name="connsiteX53" fmla="*/ 52264 w 148301"/>
              <a:gd name="connsiteY53" fmla="*/ 98445 h 129925"/>
              <a:gd name="connsiteX54" fmla="*/ 64527 w 148301"/>
              <a:gd name="connsiteY54" fmla="*/ 104229 h 129925"/>
              <a:gd name="connsiteX55" fmla="*/ 74303 w 148301"/>
              <a:gd name="connsiteY55" fmla="*/ 110592 h 129925"/>
              <a:gd name="connsiteX56" fmla="*/ 96746 w 148301"/>
              <a:gd name="connsiteY56" fmla="*/ 122161 h 129925"/>
              <a:gd name="connsiteX57" fmla="*/ 103977 w 148301"/>
              <a:gd name="connsiteY57" fmla="*/ 124417 h 129925"/>
              <a:gd name="connsiteX58" fmla="*/ 92408 w 148301"/>
              <a:gd name="connsiteY58" fmla="*/ 112501 h 129925"/>
              <a:gd name="connsiteX59" fmla="*/ 84831 w 148301"/>
              <a:gd name="connsiteY59" fmla="*/ 102957 h 129925"/>
              <a:gd name="connsiteX60" fmla="*/ 76501 w 148301"/>
              <a:gd name="connsiteY60" fmla="*/ 93933 h 129925"/>
              <a:gd name="connsiteX61" fmla="*/ 62503 w 148301"/>
              <a:gd name="connsiteY61" fmla="*/ 75944 h 129925"/>
              <a:gd name="connsiteX62" fmla="*/ 55619 w 148301"/>
              <a:gd name="connsiteY62" fmla="*/ 65127 h 129925"/>
              <a:gd name="connsiteX63" fmla="*/ 49835 w 148301"/>
              <a:gd name="connsiteY63" fmla="*/ 57491 h 129925"/>
              <a:gd name="connsiteX64" fmla="*/ 51628 w 148301"/>
              <a:gd name="connsiteY64" fmla="*/ 50897 h 129925"/>
              <a:gd name="connsiteX65" fmla="*/ 63717 w 148301"/>
              <a:gd name="connsiteY65" fmla="*/ 49104 h 129925"/>
              <a:gd name="connsiteX66" fmla="*/ 71469 w 148301"/>
              <a:gd name="connsiteY66" fmla="*/ 47658 h 129925"/>
              <a:gd name="connsiteX67" fmla="*/ 78583 w 148301"/>
              <a:gd name="connsiteY67" fmla="*/ 44881 h 129925"/>
              <a:gd name="connsiteX68" fmla="*/ 80955 w 148301"/>
              <a:gd name="connsiteY68" fmla="*/ 45344 h 129925"/>
              <a:gd name="connsiteX69" fmla="*/ 122776 w 148301"/>
              <a:gd name="connsiteY69" fmla="*/ 49509 h 129925"/>
              <a:gd name="connsiteX70" fmla="*/ 145914 w 148301"/>
              <a:gd name="connsiteY70" fmla="*/ 60730 h 129925"/>
              <a:gd name="connsiteX71" fmla="*/ 145046 w 148301"/>
              <a:gd name="connsiteY71" fmla="*/ 57722 h 129925"/>
              <a:gd name="connsiteX72" fmla="*/ 143196 w 148301"/>
              <a:gd name="connsiteY72" fmla="*/ 49393 h 129925"/>
              <a:gd name="connsiteX73" fmla="*/ 137006 w 148301"/>
              <a:gd name="connsiteY73" fmla="*/ 38750 h 129925"/>
              <a:gd name="connsiteX74" fmla="*/ 129313 w 148301"/>
              <a:gd name="connsiteY74" fmla="*/ 22611 h 129925"/>
              <a:gd name="connsiteX75" fmla="*/ 121157 w 148301"/>
              <a:gd name="connsiteY75" fmla="*/ 25040 h 129925"/>
              <a:gd name="connsiteX76" fmla="*/ 113290 w 148301"/>
              <a:gd name="connsiteY76" fmla="*/ 25850 h 129925"/>
              <a:gd name="connsiteX77" fmla="*/ 92003 w 148301"/>
              <a:gd name="connsiteY77" fmla="*/ 18273 h 129925"/>
              <a:gd name="connsiteX78" fmla="*/ 70312 w 148301"/>
              <a:gd name="connsiteY78" fmla="*/ 2076 h 129925"/>
              <a:gd name="connsiteX79" fmla="*/ 53942 w 148301"/>
              <a:gd name="connsiteY79" fmla="*/ 12720 h 129925"/>
              <a:gd name="connsiteX80" fmla="*/ 51628 w 148301"/>
              <a:gd name="connsiteY80" fmla="*/ 18504 h 129925"/>
              <a:gd name="connsiteX81" fmla="*/ 47174 w 148301"/>
              <a:gd name="connsiteY81" fmla="*/ 25966 h 129925"/>
              <a:gd name="connsiteX82" fmla="*/ 38555 w 148301"/>
              <a:gd name="connsiteY82" fmla="*/ 37535 h 129925"/>
              <a:gd name="connsiteX83" fmla="*/ 35200 w 148301"/>
              <a:gd name="connsiteY83" fmla="*/ 39502 h 129925"/>
              <a:gd name="connsiteX84" fmla="*/ 29416 w 148301"/>
              <a:gd name="connsiteY84" fmla="*/ 38460 h 129925"/>
              <a:gd name="connsiteX85" fmla="*/ 20913 w 148301"/>
              <a:gd name="connsiteY85" fmla="*/ 37650 h 129925"/>
              <a:gd name="connsiteX86" fmla="*/ 2518 w 148301"/>
              <a:gd name="connsiteY86" fmla="*/ 41237 h 129925"/>
              <a:gd name="connsiteX87" fmla="*/ 2518 w 148301"/>
              <a:gd name="connsiteY87" fmla="*/ 43261 h 129925"/>
              <a:gd name="connsiteX88" fmla="*/ 5873 w 148301"/>
              <a:gd name="connsiteY88" fmla="*/ 50781 h 12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48301" h="129925">
                <a:moveTo>
                  <a:pt x="108142" y="129392"/>
                </a:moveTo>
                <a:cubicBezTo>
                  <a:pt x="107951" y="129450"/>
                  <a:pt x="107754" y="129450"/>
                  <a:pt x="107563" y="129392"/>
                </a:cubicBezTo>
                <a:cubicBezTo>
                  <a:pt x="104312" y="127014"/>
                  <a:pt x="100547" y="125429"/>
                  <a:pt x="96573" y="124764"/>
                </a:cubicBezTo>
                <a:cubicBezTo>
                  <a:pt x="83789" y="123896"/>
                  <a:pt x="73030" y="117938"/>
                  <a:pt x="72105" y="111286"/>
                </a:cubicBezTo>
                <a:cubicBezTo>
                  <a:pt x="72105" y="108915"/>
                  <a:pt x="68171" y="107931"/>
                  <a:pt x="63949" y="106717"/>
                </a:cubicBezTo>
                <a:cubicBezTo>
                  <a:pt x="58934" y="105855"/>
                  <a:pt x="54277" y="103564"/>
                  <a:pt x="50529" y="100122"/>
                </a:cubicBezTo>
                <a:cubicBezTo>
                  <a:pt x="50529" y="99833"/>
                  <a:pt x="26523" y="72993"/>
                  <a:pt x="26061" y="61078"/>
                </a:cubicBezTo>
                <a:cubicBezTo>
                  <a:pt x="26061" y="54194"/>
                  <a:pt x="17905" y="53211"/>
                  <a:pt x="9459" y="53211"/>
                </a:cubicBezTo>
                <a:lnTo>
                  <a:pt x="6162" y="53211"/>
                </a:lnTo>
                <a:cubicBezTo>
                  <a:pt x="1593" y="53211"/>
                  <a:pt x="1072" y="48352"/>
                  <a:pt x="378" y="43666"/>
                </a:cubicBezTo>
                <a:cubicBezTo>
                  <a:pt x="378" y="42683"/>
                  <a:pt x="378" y="41642"/>
                  <a:pt x="-27" y="40601"/>
                </a:cubicBezTo>
                <a:cubicBezTo>
                  <a:pt x="-137" y="40340"/>
                  <a:pt x="-137" y="40051"/>
                  <a:pt x="-27" y="39791"/>
                </a:cubicBezTo>
                <a:cubicBezTo>
                  <a:pt x="152" y="39542"/>
                  <a:pt x="424" y="39374"/>
                  <a:pt x="725" y="39328"/>
                </a:cubicBezTo>
                <a:cubicBezTo>
                  <a:pt x="7128" y="38582"/>
                  <a:pt x="13474" y="37361"/>
                  <a:pt x="19698" y="35684"/>
                </a:cubicBezTo>
                <a:cubicBezTo>
                  <a:pt x="22989" y="35105"/>
                  <a:pt x="26367" y="35366"/>
                  <a:pt x="29531" y="36436"/>
                </a:cubicBezTo>
                <a:cubicBezTo>
                  <a:pt x="31249" y="36939"/>
                  <a:pt x="33014" y="37251"/>
                  <a:pt x="34795" y="37361"/>
                </a:cubicBezTo>
                <a:cubicBezTo>
                  <a:pt x="35894" y="37361"/>
                  <a:pt x="36010" y="37072"/>
                  <a:pt x="36010" y="36956"/>
                </a:cubicBezTo>
                <a:cubicBezTo>
                  <a:pt x="36704" y="34816"/>
                  <a:pt x="40637" y="24115"/>
                  <a:pt x="46769" y="24115"/>
                </a:cubicBezTo>
                <a:cubicBezTo>
                  <a:pt x="48100" y="24115"/>
                  <a:pt x="48504" y="21801"/>
                  <a:pt x="48967" y="18620"/>
                </a:cubicBezTo>
                <a:cubicBezTo>
                  <a:pt x="49430" y="15438"/>
                  <a:pt x="50008" y="11158"/>
                  <a:pt x="53305" y="10753"/>
                </a:cubicBezTo>
                <a:cubicBezTo>
                  <a:pt x="59165" y="8219"/>
                  <a:pt x="64504" y="4604"/>
                  <a:pt x="69039" y="110"/>
                </a:cubicBezTo>
                <a:cubicBezTo>
                  <a:pt x="69426" y="-209"/>
                  <a:pt x="69982" y="-209"/>
                  <a:pt x="70369" y="110"/>
                </a:cubicBezTo>
                <a:cubicBezTo>
                  <a:pt x="78907" y="4708"/>
                  <a:pt x="86705" y="10556"/>
                  <a:pt x="93507" y="17463"/>
                </a:cubicBezTo>
                <a:cubicBezTo>
                  <a:pt x="97209" y="22380"/>
                  <a:pt x="106001" y="24115"/>
                  <a:pt x="113001" y="24115"/>
                </a:cubicBezTo>
                <a:cubicBezTo>
                  <a:pt x="115453" y="24132"/>
                  <a:pt x="117894" y="23884"/>
                  <a:pt x="120289" y="23363"/>
                </a:cubicBezTo>
                <a:lnTo>
                  <a:pt x="129660" y="20587"/>
                </a:lnTo>
                <a:cubicBezTo>
                  <a:pt x="129972" y="20442"/>
                  <a:pt x="130331" y="20442"/>
                  <a:pt x="130643" y="20587"/>
                </a:cubicBezTo>
                <a:cubicBezTo>
                  <a:pt x="130909" y="20800"/>
                  <a:pt x="131077" y="21113"/>
                  <a:pt x="131106" y="21454"/>
                </a:cubicBezTo>
                <a:cubicBezTo>
                  <a:pt x="132089" y="30420"/>
                  <a:pt x="134345" y="35857"/>
                  <a:pt x="137527" y="37014"/>
                </a:cubicBezTo>
                <a:cubicBezTo>
                  <a:pt x="143832" y="39386"/>
                  <a:pt x="144526" y="44534"/>
                  <a:pt x="145162" y="49509"/>
                </a:cubicBezTo>
                <a:cubicBezTo>
                  <a:pt x="145353" y="52140"/>
                  <a:pt x="145920" y="54732"/>
                  <a:pt x="146839" y="57202"/>
                </a:cubicBezTo>
                <a:cubicBezTo>
                  <a:pt x="147551" y="59059"/>
                  <a:pt x="147996" y="61008"/>
                  <a:pt x="148170" y="62986"/>
                </a:cubicBezTo>
                <a:cubicBezTo>
                  <a:pt x="148199" y="63160"/>
                  <a:pt x="148199" y="63333"/>
                  <a:pt x="148170" y="63507"/>
                </a:cubicBezTo>
                <a:cubicBezTo>
                  <a:pt x="148141" y="64126"/>
                  <a:pt x="147632" y="64606"/>
                  <a:pt x="147013" y="64606"/>
                </a:cubicBezTo>
                <a:lnTo>
                  <a:pt x="147013" y="64606"/>
                </a:lnTo>
                <a:cubicBezTo>
                  <a:pt x="146788" y="64664"/>
                  <a:pt x="146545" y="64664"/>
                  <a:pt x="146319" y="64606"/>
                </a:cubicBezTo>
                <a:cubicBezTo>
                  <a:pt x="138846" y="59331"/>
                  <a:pt x="130643" y="55177"/>
                  <a:pt x="121966" y="52285"/>
                </a:cubicBezTo>
                <a:cubicBezTo>
                  <a:pt x="120752" y="52285"/>
                  <a:pt x="85814" y="50492"/>
                  <a:pt x="79682" y="48005"/>
                </a:cubicBezTo>
                <a:cubicBezTo>
                  <a:pt x="77484" y="47137"/>
                  <a:pt x="74766" y="48641"/>
                  <a:pt x="72221" y="50145"/>
                </a:cubicBezTo>
                <a:cubicBezTo>
                  <a:pt x="70242" y="51574"/>
                  <a:pt x="67934" y="52464"/>
                  <a:pt x="65510" y="52748"/>
                </a:cubicBezTo>
                <a:cubicBezTo>
                  <a:pt x="64203" y="52742"/>
                  <a:pt x="62942" y="52291"/>
                  <a:pt x="61924" y="51475"/>
                </a:cubicBezTo>
                <a:cubicBezTo>
                  <a:pt x="59044" y="49480"/>
                  <a:pt x="55105" y="50093"/>
                  <a:pt x="52958" y="52864"/>
                </a:cubicBezTo>
                <a:cubicBezTo>
                  <a:pt x="51854" y="54177"/>
                  <a:pt x="51385" y="55918"/>
                  <a:pt x="51686" y="57607"/>
                </a:cubicBezTo>
                <a:cubicBezTo>
                  <a:pt x="52704" y="60175"/>
                  <a:pt x="54451" y="62391"/>
                  <a:pt x="56718" y="63970"/>
                </a:cubicBezTo>
                <a:cubicBezTo>
                  <a:pt x="60999" y="66816"/>
                  <a:pt x="63792" y="71414"/>
                  <a:pt x="64354" y="76522"/>
                </a:cubicBezTo>
                <a:cubicBezTo>
                  <a:pt x="64354" y="81149"/>
                  <a:pt x="71642" y="87628"/>
                  <a:pt x="77542" y="92834"/>
                </a:cubicBezTo>
                <a:cubicBezTo>
                  <a:pt x="83442" y="98040"/>
                  <a:pt x="86971" y="101279"/>
                  <a:pt x="86682" y="103824"/>
                </a:cubicBezTo>
                <a:cubicBezTo>
                  <a:pt x="86682" y="104866"/>
                  <a:pt x="90384" y="108510"/>
                  <a:pt x="93507" y="111460"/>
                </a:cubicBezTo>
                <a:cubicBezTo>
                  <a:pt x="99159" y="116394"/>
                  <a:pt x="104243" y="121941"/>
                  <a:pt x="108662" y="128003"/>
                </a:cubicBezTo>
                <a:cubicBezTo>
                  <a:pt x="109015" y="128535"/>
                  <a:pt x="108865" y="129253"/>
                  <a:pt x="108333" y="129606"/>
                </a:cubicBezTo>
                <a:cubicBezTo>
                  <a:pt x="108153" y="129721"/>
                  <a:pt x="107951" y="129791"/>
                  <a:pt x="107737" y="129797"/>
                </a:cubicBezTo>
                <a:close/>
                <a:moveTo>
                  <a:pt x="9459" y="50781"/>
                </a:moveTo>
                <a:cubicBezTo>
                  <a:pt x="15244" y="50781"/>
                  <a:pt x="27912" y="50781"/>
                  <a:pt x="28317" y="60788"/>
                </a:cubicBezTo>
                <a:cubicBezTo>
                  <a:pt x="28722" y="70795"/>
                  <a:pt x="45670" y="91099"/>
                  <a:pt x="52264" y="98445"/>
                </a:cubicBezTo>
                <a:cubicBezTo>
                  <a:pt x="55741" y="101470"/>
                  <a:pt x="59987" y="103471"/>
                  <a:pt x="64527" y="104229"/>
                </a:cubicBezTo>
                <a:cubicBezTo>
                  <a:pt x="69502" y="105618"/>
                  <a:pt x="73840" y="106774"/>
                  <a:pt x="74303" y="110592"/>
                </a:cubicBezTo>
                <a:cubicBezTo>
                  <a:pt x="75113" y="116087"/>
                  <a:pt x="85351" y="121409"/>
                  <a:pt x="96746" y="122161"/>
                </a:cubicBezTo>
                <a:cubicBezTo>
                  <a:pt x="99280" y="122427"/>
                  <a:pt x="101738" y="123196"/>
                  <a:pt x="103977" y="124417"/>
                </a:cubicBezTo>
                <a:cubicBezTo>
                  <a:pt x="100385" y="120200"/>
                  <a:pt x="96521" y="116215"/>
                  <a:pt x="92408" y="112501"/>
                </a:cubicBezTo>
                <a:cubicBezTo>
                  <a:pt x="87087" y="107526"/>
                  <a:pt x="84541" y="105039"/>
                  <a:pt x="84831" y="102957"/>
                </a:cubicBezTo>
                <a:cubicBezTo>
                  <a:pt x="85120" y="100874"/>
                  <a:pt x="80261" y="97172"/>
                  <a:pt x="76501" y="93933"/>
                </a:cubicBezTo>
                <a:cubicBezTo>
                  <a:pt x="69907" y="88149"/>
                  <a:pt x="62503" y="81554"/>
                  <a:pt x="62503" y="75944"/>
                </a:cubicBezTo>
                <a:cubicBezTo>
                  <a:pt x="61889" y="71507"/>
                  <a:pt x="59379" y="67562"/>
                  <a:pt x="55619" y="65127"/>
                </a:cubicBezTo>
                <a:cubicBezTo>
                  <a:pt x="52947" y="63241"/>
                  <a:pt x="50928" y="60574"/>
                  <a:pt x="49835" y="57491"/>
                </a:cubicBezTo>
                <a:cubicBezTo>
                  <a:pt x="49378" y="55137"/>
                  <a:pt x="50043" y="52696"/>
                  <a:pt x="51628" y="50897"/>
                </a:cubicBezTo>
                <a:cubicBezTo>
                  <a:pt x="54549" y="47195"/>
                  <a:pt x="59847" y="46408"/>
                  <a:pt x="63717" y="49104"/>
                </a:cubicBezTo>
                <a:cubicBezTo>
                  <a:pt x="65857" y="50839"/>
                  <a:pt x="68518" y="49393"/>
                  <a:pt x="71469" y="47658"/>
                </a:cubicBezTo>
                <a:cubicBezTo>
                  <a:pt x="73545" y="46107"/>
                  <a:pt x="76004" y="45147"/>
                  <a:pt x="78583" y="44881"/>
                </a:cubicBezTo>
                <a:cubicBezTo>
                  <a:pt x="79393" y="44887"/>
                  <a:pt x="80197" y="45049"/>
                  <a:pt x="80955" y="45344"/>
                </a:cubicBezTo>
                <a:cubicBezTo>
                  <a:pt x="94774" y="47768"/>
                  <a:pt x="108749" y="49156"/>
                  <a:pt x="122776" y="49509"/>
                </a:cubicBezTo>
                <a:cubicBezTo>
                  <a:pt x="130990" y="52112"/>
                  <a:pt x="138782" y="55895"/>
                  <a:pt x="145914" y="60730"/>
                </a:cubicBezTo>
                <a:cubicBezTo>
                  <a:pt x="145758" y="59695"/>
                  <a:pt x="145463" y="58683"/>
                  <a:pt x="145046" y="57722"/>
                </a:cubicBezTo>
                <a:cubicBezTo>
                  <a:pt x="144057" y="55044"/>
                  <a:pt x="143432" y="52239"/>
                  <a:pt x="143196" y="49393"/>
                </a:cubicBezTo>
                <a:cubicBezTo>
                  <a:pt x="142559" y="44534"/>
                  <a:pt x="142097" y="40658"/>
                  <a:pt x="137006" y="38750"/>
                </a:cubicBezTo>
                <a:cubicBezTo>
                  <a:pt x="133073" y="37303"/>
                  <a:pt x="130528" y="31866"/>
                  <a:pt x="129313" y="22611"/>
                </a:cubicBezTo>
                <a:lnTo>
                  <a:pt x="121157" y="25040"/>
                </a:lnTo>
                <a:cubicBezTo>
                  <a:pt x="118571" y="25602"/>
                  <a:pt x="115934" y="25873"/>
                  <a:pt x="113290" y="25850"/>
                </a:cubicBezTo>
                <a:cubicBezTo>
                  <a:pt x="105770" y="25850"/>
                  <a:pt x="95937" y="23884"/>
                  <a:pt x="92003" y="18273"/>
                </a:cubicBezTo>
                <a:cubicBezTo>
                  <a:pt x="85577" y="11875"/>
                  <a:pt x="78271" y="6420"/>
                  <a:pt x="70312" y="2076"/>
                </a:cubicBezTo>
                <a:cubicBezTo>
                  <a:pt x="65597" y="6652"/>
                  <a:pt x="60033" y="10267"/>
                  <a:pt x="53942" y="12720"/>
                </a:cubicBezTo>
                <a:cubicBezTo>
                  <a:pt x="52380" y="12720"/>
                  <a:pt x="51975" y="15843"/>
                  <a:pt x="51628" y="18504"/>
                </a:cubicBezTo>
                <a:cubicBezTo>
                  <a:pt x="51281" y="21165"/>
                  <a:pt x="50587" y="25966"/>
                  <a:pt x="47174" y="25966"/>
                </a:cubicBezTo>
                <a:cubicBezTo>
                  <a:pt x="43761" y="25966"/>
                  <a:pt x="39943" y="33081"/>
                  <a:pt x="38555" y="37535"/>
                </a:cubicBezTo>
                <a:cubicBezTo>
                  <a:pt x="38266" y="38402"/>
                  <a:pt x="37456" y="39502"/>
                  <a:pt x="35200" y="39502"/>
                </a:cubicBezTo>
                <a:cubicBezTo>
                  <a:pt x="33239" y="39363"/>
                  <a:pt x="31301" y="39016"/>
                  <a:pt x="29416" y="38460"/>
                </a:cubicBezTo>
                <a:cubicBezTo>
                  <a:pt x="26680" y="37535"/>
                  <a:pt x="23770" y="37257"/>
                  <a:pt x="20913" y="37650"/>
                </a:cubicBezTo>
                <a:cubicBezTo>
                  <a:pt x="14868" y="39264"/>
                  <a:pt x="8725" y="40462"/>
                  <a:pt x="2518" y="41237"/>
                </a:cubicBezTo>
                <a:cubicBezTo>
                  <a:pt x="2518" y="41931"/>
                  <a:pt x="2518" y="42567"/>
                  <a:pt x="2518" y="43261"/>
                </a:cubicBezTo>
                <a:cubicBezTo>
                  <a:pt x="3039" y="48352"/>
                  <a:pt x="3559" y="50781"/>
                  <a:pt x="5873" y="5078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1" name="Forma libre: forma 340">
            <a:extLst>
              <a:ext uri="{FF2B5EF4-FFF2-40B4-BE49-F238E27FC236}">
                <a16:creationId xmlns:a16="http://schemas.microsoft.com/office/drawing/2014/main" id="{893F2401-5604-337C-FDD2-1CE451EA61D7}"/>
              </a:ext>
            </a:extLst>
          </p:cNvPr>
          <p:cNvSpPr/>
          <p:nvPr/>
        </p:nvSpPr>
        <p:spPr>
          <a:xfrm>
            <a:off x="6703735" y="3228714"/>
            <a:ext cx="51904" cy="102384"/>
          </a:xfrm>
          <a:custGeom>
            <a:avLst/>
            <a:gdLst>
              <a:gd name="connsiteX0" fmla="*/ 25591 w 51904"/>
              <a:gd name="connsiteY0" fmla="*/ 102255 h 102384"/>
              <a:gd name="connsiteX1" fmla="*/ 25129 w 51904"/>
              <a:gd name="connsiteY1" fmla="*/ 102255 h 102384"/>
              <a:gd name="connsiteX2" fmla="*/ 15122 w 51904"/>
              <a:gd name="connsiteY2" fmla="*/ 90340 h 102384"/>
              <a:gd name="connsiteX3" fmla="*/ 6676 w 51904"/>
              <a:gd name="connsiteY3" fmla="*/ 78771 h 102384"/>
              <a:gd name="connsiteX4" fmla="*/ 892 w 51904"/>
              <a:gd name="connsiteY4" fmla="*/ 62459 h 102384"/>
              <a:gd name="connsiteX5" fmla="*/ 7660 w 51904"/>
              <a:gd name="connsiteY5" fmla="*/ 36776 h 102384"/>
              <a:gd name="connsiteX6" fmla="*/ 10957 w 51904"/>
              <a:gd name="connsiteY6" fmla="*/ 30413 h 102384"/>
              <a:gd name="connsiteX7" fmla="*/ 487 w 51904"/>
              <a:gd name="connsiteY7" fmla="*/ 21563 h 102384"/>
              <a:gd name="connsiteX8" fmla="*/ -91 w 51904"/>
              <a:gd name="connsiteY8" fmla="*/ 20348 h 102384"/>
              <a:gd name="connsiteX9" fmla="*/ 14138 w 51904"/>
              <a:gd name="connsiteY9" fmla="*/ -129 h 102384"/>
              <a:gd name="connsiteX10" fmla="*/ 38491 w 51904"/>
              <a:gd name="connsiteY10" fmla="*/ 13349 h 102384"/>
              <a:gd name="connsiteX11" fmla="*/ 38896 w 51904"/>
              <a:gd name="connsiteY11" fmla="*/ 14621 h 102384"/>
              <a:gd name="connsiteX12" fmla="*/ 35945 w 51904"/>
              <a:gd name="connsiteY12" fmla="*/ 42329 h 102384"/>
              <a:gd name="connsiteX13" fmla="*/ 51332 w 51904"/>
              <a:gd name="connsiteY13" fmla="*/ 58699 h 102384"/>
              <a:gd name="connsiteX14" fmla="*/ 51795 w 51904"/>
              <a:gd name="connsiteY14" fmla="*/ 59624 h 102384"/>
              <a:gd name="connsiteX15" fmla="*/ 51274 w 51904"/>
              <a:gd name="connsiteY15" fmla="*/ 60550 h 102384"/>
              <a:gd name="connsiteX16" fmla="*/ 41209 w 51904"/>
              <a:gd name="connsiteY16" fmla="*/ 76920 h 102384"/>
              <a:gd name="connsiteX17" fmla="*/ 38953 w 51904"/>
              <a:gd name="connsiteY17" fmla="*/ 81836 h 102384"/>
              <a:gd name="connsiteX18" fmla="*/ 33921 w 51904"/>
              <a:gd name="connsiteY18" fmla="*/ 87621 h 102384"/>
              <a:gd name="connsiteX19" fmla="*/ 28137 w 51904"/>
              <a:gd name="connsiteY19" fmla="*/ 98322 h 102384"/>
              <a:gd name="connsiteX20" fmla="*/ 27095 w 51904"/>
              <a:gd name="connsiteY20" fmla="*/ 101619 h 102384"/>
              <a:gd name="connsiteX21" fmla="*/ 26459 w 51904"/>
              <a:gd name="connsiteY21" fmla="*/ 102255 h 102384"/>
              <a:gd name="connsiteX22" fmla="*/ 2454 w 51904"/>
              <a:gd name="connsiteY22" fmla="*/ 19885 h 102384"/>
              <a:gd name="connsiteX23" fmla="*/ 13386 w 51904"/>
              <a:gd name="connsiteY23" fmla="*/ 30008 h 102384"/>
              <a:gd name="connsiteX24" fmla="*/ 9395 w 51904"/>
              <a:gd name="connsiteY24" fmla="*/ 38280 h 102384"/>
              <a:gd name="connsiteX25" fmla="*/ 3611 w 51904"/>
              <a:gd name="connsiteY25" fmla="*/ 62285 h 102384"/>
              <a:gd name="connsiteX26" fmla="*/ 8816 w 51904"/>
              <a:gd name="connsiteY26" fmla="*/ 76978 h 102384"/>
              <a:gd name="connsiteX27" fmla="*/ 17783 w 51904"/>
              <a:gd name="connsiteY27" fmla="*/ 89067 h 102384"/>
              <a:gd name="connsiteX28" fmla="*/ 25649 w 51904"/>
              <a:gd name="connsiteY28" fmla="*/ 99421 h 102384"/>
              <a:gd name="connsiteX29" fmla="*/ 26286 w 51904"/>
              <a:gd name="connsiteY29" fmla="*/ 97454 h 102384"/>
              <a:gd name="connsiteX30" fmla="*/ 33921 w 51904"/>
              <a:gd name="connsiteY30" fmla="*/ 85249 h 102384"/>
              <a:gd name="connsiteX31" fmla="*/ 37218 w 51904"/>
              <a:gd name="connsiteY31" fmla="*/ 81374 h 102384"/>
              <a:gd name="connsiteX32" fmla="*/ 40052 w 51904"/>
              <a:gd name="connsiteY32" fmla="*/ 75242 h 102384"/>
              <a:gd name="connsiteX33" fmla="*/ 49423 w 51904"/>
              <a:gd name="connsiteY33" fmla="*/ 60029 h 102384"/>
              <a:gd name="connsiteX34" fmla="*/ 49423 w 51904"/>
              <a:gd name="connsiteY34" fmla="*/ 59740 h 102384"/>
              <a:gd name="connsiteX35" fmla="*/ 34094 w 51904"/>
              <a:gd name="connsiteY35" fmla="*/ 42907 h 102384"/>
              <a:gd name="connsiteX36" fmla="*/ 36813 w 51904"/>
              <a:gd name="connsiteY36" fmla="*/ 14679 h 102384"/>
              <a:gd name="connsiteX37" fmla="*/ 14485 w 51904"/>
              <a:gd name="connsiteY37" fmla="*/ 2069 h 102384"/>
              <a:gd name="connsiteX38" fmla="*/ 2454 w 51904"/>
              <a:gd name="connsiteY38" fmla="*/ 19885 h 10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904" h="102384">
                <a:moveTo>
                  <a:pt x="25591" y="102255"/>
                </a:moveTo>
                <a:lnTo>
                  <a:pt x="25129" y="102255"/>
                </a:lnTo>
                <a:cubicBezTo>
                  <a:pt x="20675" y="99386"/>
                  <a:pt x="17146" y="95233"/>
                  <a:pt x="15122" y="90340"/>
                </a:cubicBezTo>
                <a:cubicBezTo>
                  <a:pt x="13045" y="85995"/>
                  <a:pt x="10182" y="82074"/>
                  <a:pt x="6676" y="78771"/>
                </a:cubicBezTo>
                <a:cubicBezTo>
                  <a:pt x="2743" y="74270"/>
                  <a:pt x="672" y="68434"/>
                  <a:pt x="892" y="62459"/>
                </a:cubicBezTo>
                <a:cubicBezTo>
                  <a:pt x="429" y="53550"/>
                  <a:pt x="2570" y="41808"/>
                  <a:pt x="7660" y="36776"/>
                </a:cubicBezTo>
                <a:cubicBezTo>
                  <a:pt x="10147" y="34231"/>
                  <a:pt x="11246" y="32148"/>
                  <a:pt x="10957" y="30413"/>
                </a:cubicBezTo>
                <a:cubicBezTo>
                  <a:pt x="10552" y="27463"/>
                  <a:pt x="6445" y="24628"/>
                  <a:pt x="487" y="21563"/>
                </a:cubicBezTo>
                <a:cubicBezTo>
                  <a:pt x="53" y="21326"/>
                  <a:pt x="-178" y="20834"/>
                  <a:pt x="-91" y="20348"/>
                </a:cubicBezTo>
                <a:cubicBezTo>
                  <a:pt x="1702" y="10167"/>
                  <a:pt x="8932" y="-129"/>
                  <a:pt x="14138" y="-129"/>
                </a:cubicBezTo>
                <a:cubicBezTo>
                  <a:pt x="19344" y="-129"/>
                  <a:pt x="31492" y="8316"/>
                  <a:pt x="38491" y="13349"/>
                </a:cubicBezTo>
                <a:cubicBezTo>
                  <a:pt x="38838" y="13661"/>
                  <a:pt x="39011" y="14153"/>
                  <a:pt x="38896" y="14621"/>
                </a:cubicBezTo>
                <a:cubicBezTo>
                  <a:pt x="35772" y="23501"/>
                  <a:pt x="34731" y="32987"/>
                  <a:pt x="35945" y="42329"/>
                </a:cubicBezTo>
                <a:cubicBezTo>
                  <a:pt x="37623" y="48113"/>
                  <a:pt x="42887" y="52336"/>
                  <a:pt x="51332" y="58699"/>
                </a:cubicBezTo>
                <a:cubicBezTo>
                  <a:pt x="51621" y="58924"/>
                  <a:pt x="51795" y="59260"/>
                  <a:pt x="51795" y="59624"/>
                </a:cubicBezTo>
                <a:cubicBezTo>
                  <a:pt x="51737" y="59989"/>
                  <a:pt x="51563" y="60313"/>
                  <a:pt x="51274" y="60550"/>
                </a:cubicBezTo>
                <a:cubicBezTo>
                  <a:pt x="48960" y="66594"/>
                  <a:pt x="45548" y="72148"/>
                  <a:pt x="41209" y="76920"/>
                </a:cubicBezTo>
                <a:cubicBezTo>
                  <a:pt x="39937" y="78244"/>
                  <a:pt x="39127" y="79985"/>
                  <a:pt x="38953" y="81836"/>
                </a:cubicBezTo>
                <a:cubicBezTo>
                  <a:pt x="38953" y="84758"/>
                  <a:pt x="36813" y="87239"/>
                  <a:pt x="33921" y="87621"/>
                </a:cubicBezTo>
                <a:cubicBezTo>
                  <a:pt x="31260" y="88141"/>
                  <a:pt x="29583" y="93405"/>
                  <a:pt x="28137" y="98322"/>
                </a:cubicBezTo>
                <a:lnTo>
                  <a:pt x="27095" y="101619"/>
                </a:lnTo>
                <a:cubicBezTo>
                  <a:pt x="26980" y="101908"/>
                  <a:pt x="26748" y="102140"/>
                  <a:pt x="26459" y="102255"/>
                </a:cubicBezTo>
                <a:close/>
                <a:moveTo>
                  <a:pt x="2454" y="19885"/>
                </a:moveTo>
                <a:cubicBezTo>
                  <a:pt x="8816" y="23298"/>
                  <a:pt x="12866" y="26248"/>
                  <a:pt x="13386" y="30008"/>
                </a:cubicBezTo>
                <a:cubicBezTo>
                  <a:pt x="13502" y="33253"/>
                  <a:pt x="12009" y="36353"/>
                  <a:pt x="9395" y="38280"/>
                </a:cubicBezTo>
                <a:cubicBezTo>
                  <a:pt x="4652" y="45331"/>
                  <a:pt x="2598" y="53851"/>
                  <a:pt x="3611" y="62285"/>
                </a:cubicBezTo>
                <a:cubicBezTo>
                  <a:pt x="3339" y="67676"/>
                  <a:pt x="5213" y="72957"/>
                  <a:pt x="8816" y="76978"/>
                </a:cubicBezTo>
                <a:cubicBezTo>
                  <a:pt x="12536" y="80413"/>
                  <a:pt x="15584" y="84515"/>
                  <a:pt x="17783" y="89067"/>
                </a:cubicBezTo>
                <a:cubicBezTo>
                  <a:pt x="19576" y="93070"/>
                  <a:pt x="22294" y="96610"/>
                  <a:pt x="25649" y="99421"/>
                </a:cubicBezTo>
                <a:cubicBezTo>
                  <a:pt x="25649" y="98785"/>
                  <a:pt x="26054" y="98149"/>
                  <a:pt x="26286" y="97454"/>
                </a:cubicBezTo>
                <a:cubicBezTo>
                  <a:pt x="28137" y="91670"/>
                  <a:pt x="29930" y="85886"/>
                  <a:pt x="33921" y="85249"/>
                </a:cubicBezTo>
                <a:cubicBezTo>
                  <a:pt x="36582" y="84671"/>
                  <a:pt x="36813" y="83514"/>
                  <a:pt x="37218" y="81374"/>
                </a:cubicBezTo>
                <a:cubicBezTo>
                  <a:pt x="37449" y="79077"/>
                  <a:pt x="38491" y="76920"/>
                  <a:pt x="40052" y="75242"/>
                </a:cubicBezTo>
                <a:cubicBezTo>
                  <a:pt x="44160" y="70829"/>
                  <a:pt x="47341" y="65663"/>
                  <a:pt x="49423" y="60029"/>
                </a:cubicBezTo>
                <a:cubicBezTo>
                  <a:pt x="49423" y="60029"/>
                  <a:pt x="49423" y="60029"/>
                  <a:pt x="49423" y="59740"/>
                </a:cubicBezTo>
                <a:cubicBezTo>
                  <a:pt x="41904" y="53955"/>
                  <a:pt x="36003" y="49502"/>
                  <a:pt x="34094" y="42907"/>
                </a:cubicBezTo>
                <a:cubicBezTo>
                  <a:pt x="32822" y="33415"/>
                  <a:pt x="33747" y="23755"/>
                  <a:pt x="36813" y="14679"/>
                </a:cubicBezTo>
                <a:cubicBezTo>
                  <a:pt x="25765" y="6870"/>
                  <a:pt x="17204" y="2069"/>
                  <a:pt x="14485" y="2069"/>
                </a:cubicBezTo>
                <a:cubicBezTo>
                  <a:pt x="11767" y="2069"/>
                  <a:pt x="4074" y="10919"/>
                  <a:pt x="2454" y="1988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2" name="Forma libre: forma 341">
            <a:extLst>
              <a:ext uri="{FF2B5EF4-FFF2-40B4-BE49-F238E27FC236}">
                <a16:creationId xmlns:a16="http://schemas.microsoft.com/office/drawing/2014/main" id="{A7C16551-AA9C-E16D-AF73-EFE2EA351282}"/>
              </a:ext>
            </a:extLst>
          </p:cNvPr>
          <p:cNvSpPr/>
          <p:nvPr/>
        </p:nvSpPr>
        <p:spPr>
          <a:xfrm>
            <a:off x="6451790" y="3007633"/>
            <a:ext cx="203246" cy="93650"/>
          </a:xfrm>
          <a:custGeom>
            <a:avLst/>
            <a:gdLst>
              <a:gd name="connsiteX0" fmla="*/ 131711 w 203246"/>
              <a:gd name="connsiteY0" fmla="*/ 93521 h 93650"/>
              <a:gd name="connsiteX1" fmla="*/ 120142 w 203246"/>
              <a:gd name="connsiteY1" fmla="*/ 91381 h 93650"/>
              <a:gd name="connsiteX2" fmla="*/ 101285 w 203246"/>
              <a:gd name="connsiteY2" fmla="*/ 88026 h 93650"/>
              <a:gd name="connsiteX3" fmla="*/ 75950 w 203246"/>
              <a:gd name="connsiteY3" fmla="*/ 84266 h 93650"/>
              <a:gd name="connsiteX4" fmla="*/ 72074 w 203246"/>
              <a:gd name="connsiteY4" fmla="*/ 76515 h 93650"/>
              <a:gd name="connsiteX5" fmla="*/ 70801 w 203246"/>
              <a:gd name="connsiteY5" fmla="*/ 72871 h 93650"/>
              <a:gd name="connsiteX6" fmla="*/ 50035 w 203246"/>
              <a:gd name="connsiteY6" fmla="*/ 75647 h 93650"/>
              <a:gd name="connsiteX7" fmla="*/ 35690 w 203246"/>
              <a:gd name="connsiteY7" fmla="*/ 82299 h 93650"/>
              <a:gd name="connsiteX8" fmla="*/ 31699 w 203246"/>
              <a:gd name="connsiteY8" fmla="*/ 81201 h 93650"/>
              <a:gd name="connsiteX9" fmla="*/ 15791 w 203246"/>
              <a:gd name="connsiteY9" fmla="*/ 77672 h 93650"/>
              <a:gd name="connsiteX10" fmla="*/ 12899 w 203246"/>
              <a:gd name="connsiteY10" fmla="*/ 78250 h 93650"/>
              <a:gd name="connsiteX11" fmla="*/ 289 w 203246"/>
              <a:gd name="connsiteY11" fmla="*/ 69342 h 93650"/>
              <a:gd name="connsiteX12" fmla="*/ 289 w 203246"/>
              <a:gd name="connsiteY12" fmla="*/ 67434 h 93650"/>
              <a:gd name="connsiteX13" fmla="*/ 4454 w 203246"/>
              <a:gd name="connsiteY13" fmla="*/ 53667 h 93650"/>
              <a:gd name="connsiteX14" fmla="*/ 12378 w 203246"/>
              <a:gd name="connsiteY14" fmla="*/ 57079 h 93650"/>
              <a:gd name="connsiteX15" fmla="*/ 17585 w 203246"/>
              <a:gd name="connsiteY15" fmla="*/ 59740 h 93650"/>
              <a:gd name="connsiteX16" fmla="*/ 19378 w 203246"/>
              <a:gd name="connsiteY16" fmla="*/ 58468 h 93650"/>
              <a:gd name="connsiteX17" fmla="*/ 28980 w 203246"/>
              <a:gd name="connsiteY17" fmla="*/ 53493 h 93650"/>
              <a:gd name="connsiteX18" fmla="*/ 37252 w 203246"/>
              <a:gd name="connsiteY18" fmla="*/ 55633 h 93650"/>
              <a:gd name="connsiteX19" fmla="*/ 44366 w 203246"/>
              <a:gd name="connsiteY19" fmla="*/ 57600 h 93650"/>
              <a:gd name="connsiteX20" fmla="*/ 51655 w 203246"/>
              <a:gd name="connsiteY20" fmla="*/ 54592 h 93650"/>
              <a:gd name="connsiteX21" fmla="*/ 75545 w 203246"/>
              <a:gd name="connsiteY21" fmla="*/ 48229 h 93650"/>
              <a:gd name="connsiteX22" fmla="*/ 80750 w 203246"/>
              <a:gd name="connsiteY22" fmla="*/ 48923 h 93650"/>
              <a:gd name="connsiteX23" fmla="*/ 88097 w 203246"/>
              <a:gd name="connsiteY23" fmla="*/ 51063 h 93650"/>
              <a:gd name="connsiteX24" fmla="*/ 90411 w 203246"/>
              <a:gd name="connsiteY24" fmla="*/ 50196 h 93650"/>
              <a:gd name="connsiteX25" fmla="*/ 90411 w 203246"/>
              <a:gd name="connsiteY25" fmla="*/ 42387 h 93650"/>
              <a:gd name="connsiteX26" fmla="*/ 97063 w 203246"/>
              <a:gd name="connsiteY26" fmla="*/ 27810 h 93650"/>
              <a:gd name="connsiteX27" fmla="*/ 101285 w 203246"/>
              <a:gd name="connsiteY27" fmla="*/ 24744 h 93650"/>
              <a:gd name="connsiteX28" fmla="*/ 110540 w 203246"/>
              <a:gd name="connsiteY28" fmla="*/ 17803 h 93650"/>
              <a:gd name="connsiteX29" fmla="*/ 116325 w 203246"/>
              <a:gd name="connsiteY29" fmla="*/ 14390 h 93650"/>
              <a:gd name="connsiteX30" fmla="*/ 117482 w 203246"/>
              <a:gd name="connsiteY30" fmla="*/ 13985 h 93650"/>
              <a:gd name="connsiteX31" fmla="*/ 129745 w 203246"/>
              <a:gd name="connsiteY31" fmla="*/ 15489 h 93650"/>
              <a:gd name="connsiteX32" fmla="*/ 139983 w 203246"/>
              <a:gd name="connsiteY32" fmla="*/ 13002 h 93650"/>
              <a:gd name="connsiteX33" fmla="*/ 144379 w 203246"/>
              <a:gd name="connsiteY33" fmla="*/ 739 h 93650"/>
              <a:gd name="connsiteX34" fmla="*/ 145478 w 203246"/>
              <a:gd name="connsiteY34" fmla="*/ -129 h 93650"/>
              <a:gd name="connsiteX35" fmla="*/ 171624 w 203246"/>
              <a:gd name="connsiteY35" fmla="*/ 8374 h 93650"/>
              <a:gd name="connsiteX36" fmla="*/ 181920 w 203246"/>
              <a:gd name="connsiteY36" fmla="*/ 12424 h 93650"/>
              <a:gd name="connsiteX37" fmla="*/ 190770 w 203246"/>
              <a:gd name="connsiteY37" fmla="*/ 10977 h 93650"/>
              <a:gd name="connsiteX38" fmla="*/ 191696 w 203246"/>
              <a:gd name="connsiteY38" fmla="*/ 10977 h 93650"/>
              <a:gd name="connsiteX39" fmla="*/ 192274 w 203246"/>
              <a:gd name="connsiteY39" fmla="*/ 11672 h 93650"/>
              <a:gd name="connsiteX40" fmla="*/ 202860 w 203246"/>
              <a:gd name="connsiteY40" fmla="*/ 34115 h 93650"/>
              <a:gd name="connsiteX41" fmla="*/ 202860 w 203246"/>
              <a:gd name="connsiteY41" fmla="*/ 35619 h 93650"/>
              <a:gd name="connsiteX42" fmla="*/ 199505 w 203246"/>
              <a:gd name="connsiteY42" fmla="*/ 42040 h 93650"/>
              <a:gd name="connsiteX43" fmla="*/ 193258 w 203246"/>
              <a:gd name="connsiteY43" fmla="*/ 50445 h 93650"/>
              <a:gd name="connsiteX44" fmla="*/ 191002 w 203246"/>
              <a:gd name="connsiteY44" fmla="*/ 50427 h 93650"/>
              <a:gd name="connsiteX45" fmla="*/ 186258 w 203246"/>
              <a:gd name="connsiteY45" fmla="*/ 50080 h 93650"/>
              <a:gd name="connsiteX46" fmla="*/ 185044 w 203246"/>
              <a:gd name="connsiteY46" fmla="*/ 50080 h 93650"/>
              <a:gd name="connsiteX47" fmla="*/ 185044 w 203246"/>
              <a:gd name="connsiteY47" fmla="*/ 53088 h 93650"/>
              <a:gd name="connsiteX48" fmla="*/ 184061 w 203246"/>
              <a:gd name="connsiteY48" fmla="*/ 60261 h 93650"/>
              <a:gd name="connsiteX49" fmla="*/ 182614 w 203246"/>
              <a:gd name="connsiteY49" fmla="*/ 66045 h 93650"/>
              <a:gd name="connsiteX50" fmla="*/ 178912 w 203246"/>
              <a:gd name="connsiteY50" fmla="*/ 72639 h 93650"/>
              <a:gd name="connsiteX51" fmla="*/ 175441 w 203246"/>
              <a:gd name="connsiteY51" fmla="*/ 78424 h 93650"/>
              <a:gd name="connsiteX52" fmla="*/ 174169 w 203246"/>
              <a:gd name="connsiteY52" fmla="*/ 79292 h 93650"/>
              <a:gd name="connsiteX53" fmla="*/ 173706 w 203246"/>
              <a:gd name="connsiteY53" fmla="*/ 79292 h 93650"/>
              <a:gd name="connsiteX54" fmla="*/ 171450 w 203246"/>
              <a:gd name="connsiteY54" fmla="*/ 80564 h 93650"/>
              <a:gd name="connsiteX55" fmla="*/ 155428 w 203246"/>
              <a:gd name="connsiteY55" fmla="*/ 85423 h 93650"/>
              <a:gd name="connsiteX56" fmla="*/ 139636 w 203246"/>
              <a:gd name="connsiteY56" fmla="*/ 90802 h 93650"/>
              <a:gd name="connsiteX57" fmla="*/ 131711 w 203246"/>
              <a:gd name="connsiteY57" fmla="*/ 93521 h 93650"/>
              <a:gd name="connsiteX58" fmla="*/ 71091 w 203246"/>
              <a:gd name="connsiteY58" fmla="*/ 70383 h 93650"/>
              <a:gd name="connsiteX59" fmla="*/ 74272 w 203246"/>
              <a:gd name="connsiteY59" fmla="*/ 75647 h 93650"/>
              <a:gd name="connsiteX60" fmla="*/ 77164 w 203246"/>
              <a:gd name="connsiteY60" fmla="*/ 82068 h 93650"/>
              <a:gd name="connsiteX61" fmla="*/ 101459 w 203246"/>
              <a:gd name="connsiteY61" fmla="*/ 85539 h 93650"/>
              <a:gd name="connsiteX62" fmla="*/ 120721 w 203246"/>
              <a:gd name="connsiteY62" fmla="*/ 88952 h 93650"/>
              <a:gd name="connsiteX63" fmla="*/ 131711 w 203246"/>
              <a:gd name="connsiteY63" fmla="*/ 91034 h 93650"/>
              <a:gd name="connsiteX64" fmla="*/ 138363 w 203246"/>
              <a:gd name="connsiteY64" fmla="*/ 88142 h 93650"/>
              <a:gd name="connsiteX65" fmla="*/ 155254 w 203246"/>
              <a:gd name="connsiteY65" fmla="*/ 82357 h 93650"/>
              <a:gd name="connsiteX66" fmla="*/ 170178 w 203246"/>
              <a:gd name="connsiteY66" fmla="*/ 77788 h 93650"/>
              <a:gd name="connsiteX67" fmla="*/ 173301 w 203246"/>
              <a:gd name="connsiteY67" fmla="*/ 76284 h 93650"/>
              <a:gd name="connsiteX68" fmla="*/ 178450 w 203246"/>
              <a:gd name="connsiteY68" fmla="*/ 69979 h 93650"/>
              <a:gd name="connsiteX69" fmla="*/ 180185 w 203246"/>
              <a:gd name="connsiteY69" fmla="*/ 65467 h 93650"/>
              <a:gd name="connsiteX70" fmla="*/ 182152 w 203246"/>
              <a:gd name="connsiteY70" fmla="*/ 58352 h 93650"/>
              <a:gd name="connsiteX71" fmla="*/ 182614 w 203246"/>
              <a:gd name="connsiteY71" fmla="*/ 52915 h 93650"/>
              <a:gd name="connsiteX72" fmla="*/ 183135 w 203246"/>
              <a:gd name="connsiteY72" fmla="*/ 48114 h 93650"/>
              <a:gd name="connsiteX73" fmla="*/ 186316 w 203246"/>
              <a:gd name="connsiteY73" fmla="*/ 47188 h 93650"/>
              <a:gd name="connsiteX74" fmla="*/ 190770 w 203246"/>
              <a:gd name="connsiteY74" fmla="*/ 47535 h 93650"/>
              <a:gd name="connsiteX75" fmla="*/ 197018 w 203246"/>
              <a:gd name="connsiteY75" fmla="*/ 41404 h 93650"/>
              <a:gd name="connsiteX76" fmla="*/ 200372 w 203246"/>
              <a:gd name="connsiteY76" fmla="*/ 34000 h 93650"/>
              <a:gd name="connsiteX77" fmla="*/ 190423 w 203246"/>
              <a:gd name="connsiteY77" fmla="*/ 12829 h 93650"/>
              <a:gd name="connsiteX78" fmla="*/ 181515 w 203246"/>
              <a:gd name="connsiteY78" fmla="*/ 14275 h 93650"/>
              <a:gd name="connsiteX79" fmla="*/ 169484 w 203246"/>
              <a:gd name="connsiteY79" fmla="*/ 9473 h 93650"/>
              <a:gd name="connsiteX80" fmla="*/ 145999 w 203246"/>
              <a:gd name="connsiteY80" fmla="*/ 1722 h 93650"/>
              <a:gd name="connsiteX81" fmla="*/ 141545 w 203246"/>
              <a:gd name="connsiteY81" fmla="*/ 13812 h 93650"/>
              <a:gd name="connsiteX82" fmla="*/ 129340 w 203246"/>
              <a:gd name="connsiteY82" fmla="*/ 17340 h 93650"/>
              <a:gd name="connsiteX83" fmla="*/ 117193 w 203246"/>
              <a:gd name="connsiteY83" fmla="*/ 15894 h 93650"/>
              <a:gd name="connsiteX84" fmla="*/ 111408 w 203246"/>
              <a:gd name="connsiteY84" fmla="*/ 19423 h 93650"/>
              <a:gd name="connsiteX85" fmla="*/ 103310 w 203246"/>
              <a:gd name="connsiteY85" fmla="*/ 25207 h 93650"/>
              <a:gd name="connsiteX86" fmla="*/ 97872 w 203246"/>
              <a:gd name="connsiteY86" fmla="*/ 29603 h 93650"/>
              <a:gd name="connsiteX87" fmla="*/ 92493 w 203246"/>
              <a:gd name="connsiteY87" fmla="*/ 41461 h 93650"/>
              <a:gd name="connsiteX88" fmla="*/ 92493 w 203246"/>
              <a:gd name="connsiteY88" fmla="*/ 51237 h 93650"/>
              <a:gd name="connsiteX89" fmla="*/ 88386 w 203246"/>
              <a:gd name="connsiteY89" fmla="*/ 53030 h 93650"/>
              <a:gd name="connsiteX90" fmla="*/ 80288 w 203246"/>
              <a:gd name="connsiteY90" fmla="*/ 50774 h 93650"/>
              <a:gd name="connsiteX91" fmla="*/ 75834 w 203246"/>
              <a:gd name="connsiteY91" fmla="*/ 50196 h 93650"/>
              <a:gd name="connsiteX92" fmla="*/ 53564 w 203246"/>
              <a:gd name="connsiteY92" fmla="*/ 55980 h 93650"/>
              <a:gd name="connsiteX93" fmla="*/ 44656 w 203246"/>
              <a:gd name="connsiteY93" fmla="*/ 59625 h 93650"/>
              <a:gd name="connsiteX94" fmla="*/ 36442 w 203246"/>
              <a:gd name="connsiteY94" fmla="*/ 57369 h 93650"/>
              <a:gd name="connsiteX95" fmla="*/ 29269 w 203246"/>
              <a:gd name="connsiteY95" fmla="*/ 55518 h 93650"/>
              <a:gd name="connsiteX96" fmla="*/ 21634 w 203246"/>
              <a:gd name="connsiteY96" fmla="*/ 59393 h 93650"/>
              <a:gd name="connsiteX97" fmla="*/ 17874 w 203246"/>
              <a:gd name="connsiteY97" fmla="*/ 61765 h 93650"/>
              <a:gd name="connsiteX98" fmla="*/ 11395 w 203246"/>
              <a:gd name="connsiteY98" fmla="*/ 58699 h 93650"/>
              <a:gd name="connsiteX99" fmla="*/ 4975 w 203246"/>
              <a:gd name="connsiteY99" fmla="*/ 55691 h 93650"/>
              <a:gd name="connsiteX100" fmla="*/ 2776 w 203246"/>
              <a:gd name="connsiteY100" fmla="*/ 66913 h 93650"/>
              <a:gd name="connsiteX101" fmla="*/ 2776 w 203246"/>
              <a:gd name="connsiteY101" fmla="*/ 69111 h 93650"/>
              <a:gd name="connsiteX102" fmla="*/ 13130 w 203246"/>
              <a:gd name="connsiteY102" fmla="*/ 75763 h 93650"/>
              <a:gd name="connsiteX103" fmla="*/ 15097 w 203246"/>
              <a:gd name="connsiteY103" fmla="*/ 75358 h 93650"/>
              <a:gd name="connsiteX104" fmla="*/ 33087 w 203246"/>
              <a:gd name="connsiteY104" fmla="*/ 79060 h 93650"/>
              <a:gd name="connsiteX105" fmla="*/ 35921 w 203246"/>
              <a:gd name="connsiteY105" fmla="*/ 79812 h 93650"/>
              <a:gd name="connsiteX106" fmla="*/ 48705 w 203246"/>
              <a:gd name="connsiteY106" fmla="*/ 74028 h 93650"/>
              <a:gd name="connsiteX107" fmla="*/ 71091 w 203246"/>
              <a:gd name="connsiteY107" fmla="*/ 70615 h 9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03246" h="93650">
                <a:moveTo>
                  <a:pt x="131711" y="93521"/>
                </a:moveTo>
                <a:cubicBezTo>
                  <a:pt x="127801" y="93151"/>
                  <a:pt x="123931" y="92434"/>
                  <a:pt x="120142" y="91381"/>
                </a:cubicBezTo>
                <a:cubicBezTo>
                  <a:pt x="113947" y="89808"/>
                  <a:pt x="107643" y="88685"/>
                  <a:pt x="101285" y="88026"/>
                </a:cubicBezTo>
                <a:cubicBezTo>
                  <a:pt x="94922" y="87679"/>
                  <a:pt x="79767" y="86638"/>
                  <a:pt x="75950" y="84266"/>
                </a:cubicBezTo>
                <a:cubicBezTo>
                  <a:pt x="73867" y="83051"/>
                  <a:pt x="72884" y="79581"/>
                  <a:pt x="72074" y="76515"/>
                </a:cubicBezTo>
                <a:cubicBezTo>
                  <a:pt x="71767" y="75260"/>
                  <a:pt x="71345" y="74039"/>
                  <a:pt x="70801" y="72871"/>
                </a:cubicBezTo>
                <a:cubicBezTo>
                  <a:pt x="59985" y="72871"/>
                  <a:pt x="51655" y="73970"/>
                  <a:pt x="50035" y="75647"/>
                </a:cubicBezTo>
                <a:cubicBezTo>
                  <a:pt x="46113" y="79378"/>
                  <a:pt x="41075" y="81721"/>
                  <a:pt x="35690" y="82299"/>
                </a:cubicBezTo>
                <a:cubicBezTo>
                  <a:pt x="34284" y="82317"/>
                  <a:pt x="32896" y="81935"/>
                  <a:pt x="31699" y="81201"/>
                </a:cubicBezTo>
                <a:cubicBezTo>
                  <a:pt x="27273" y="77533"/>
                  <a:pt x="21350" y="76220"/>
                  <a:pt x="15791" y="77672"/>
                </a:cubicBezTo>
                <a:cubicBezTo>
                  <a:pt x="14883" y="78071"/>
                  <a:pt x="13894" y="78274"/>
                  <a:pt x="12899" y="78250"/>
                </a:cubicBezTo>
                <a:cubicBezTo>
                  <a:pt x="7115" y="78250"/>
                  <a:pt x="289" y="72466"/>
                  <a:pt x="289" y="69342"/>
                </a:cubicBezTo>
                <a:cubicBezTo>
                  <a:pt x="289" y="68937"/>
                  <a:pt x="289" y="68243"/>
                  <a:pt x="289" y="67434"/>
                </a:cubicBezTo>
                <a:cubicBezTo>
                  <a:pt x="-232" y="62806"/>
                  <a:pt x="-1157" y="54303"/>
                  <a:pt x="4454" y="53667"/>
                </a:cubicBezTo>
                <a:cubicBezTo>
                  <a:pt x="7410" y="53863"/>
                  <a:pt x="10209" y="55066"/>
                  <a:pt x="12378" y="57079"/>
                </a:cubicBezTo>
                <a:cubicBezTo>
                  <a:pt x="13865" y="58381"/>
                  <a:pt x="15658" y="59295"/>
                  <a:pt x="17585" y="59740"/>
                </a:cubicBezTo>
                <a:cubicBezTo>
                  <a:pt x="18047" y="59740"/>
                  <a:pt x="18684" y="59740"/>
                  <a:pt x="19378" y="58468"/>
                </a:cubicBezTo>
                <a:cubicBezTo>
                  <a:pt x="21443" y="55194"/>
                  <a:pt x="25116" y="53291"/>
                  <a:pt x="28980" y="53493"/>
                </a:cubicBezTo>
                <a:cubicBezTo>
                  <a:pt x="31872" y="53505"/>
                  <a:pt x="34718" y="54239"/>
                  <a:pt x="37252" y="55633"/>
                </a:cubicBezTo>
                <a:cubicBezTo>
                  <a:pt x="39415" y="56889"/>
                  <a:pt x="41868" y="57571"/>
                  <a:pt x="44366" y="57600"/>
                </a:cubicBezTo>
                <a:cubicBezTo>
                  <a:pt x="47108" y="57658"/>
                  <a:pt x="49752" y="56570"/>
                  <a:pt x="51655" y="54592"/>
                </a:cubicBezTo>
                <a:cubicBezTo>
                  <a:pt x="55762" y="50485"/>
                  <a:pt x="68372" y="48229"/>
                  <a:pt x="75545" y="48229"/>
                </a:cubicBezTo>
                <a:cubicBezTo>
                  <a:pt x="77309" y="48137"/>
                  <a:pt x="79073" y="48368"/>
                  <a:pt x="80750" y="48923"/>
                </a:cubicBezTo>
                <a:cubicBezTo>
                  <a:pt x="83047" y="50086"/>
                  <a:pt x="85534" y="50809"/>
                  <a:pt x="88097" y="51063"/>
                </a:cubicBezTo>
                <a:cubicBezTo>
                  <a:pt x="88965" y="51150"/>
                  <a:pt x="89820" y="50832"/>
                  <a:pt x="90411" y="50196"/>
                </a:cubicBezTo>
                <a:cubicBezTo>
                  <a:pt x="91047" y="49328"/>
                  <a:pt x="91567" y="47246"/>
                  <a:pt x="90411" y="42387"/>
                </a:cubicBezTo>
                <a:cubicBezTo>
                  <a:pt x="87403" y="31975"/>
                  <a:pt x="93013" y="29545"/>
                  <a:pt x="97063" y="27810"/>
                </a:cubicBezTo>
                <a:cubicBezTo>
                  <a:pt x="99087" y="26943"/>
                  <a:pt x="100823" y="26191"/>
                  <a:pt x="101285" y="24744"/>
                </a:cubicBezTo>
                <a:cubicBezTo>
                  <a:pt x="102327" y="21679"/>
                  <a:pt x="106549" y="19712"/>
                  <a:pt x="110540" y="17803"/>
                </a:cubicBezTo>
                <a:cubicBezTo>
                  <a:pt x="112634" y="16976"/>
                  <a:pt x="114590" y="15825"/>
                  <a:pt x="116325" y="14390"/>
                </a:cubicBezTo>
                <a:cubicBezTo>
                  <a:pt x="116602" y="14043"/>
                  <a:pt x="117048" y="13887"/>
                  <a:pt x="117482" y="13985"/>
                </a:cubicBezTo>
                <a:cubicBezTo>
                  <a:pt x="121490" y="15003"/>
                  <a:pt x="125609" y="15507"/>
                  <a:pt x="129745" y="15489"/>
                </a:cubicBezTo>
                <a:cubicBezTo>
                  <a:pt x="135066" y="15489"/>
                  <a:pt x="139115" y="14506"/>
                  <a:pt x="139983" y="13002"/>
                </a:cubicBezTo>
                <a:cubicBezTo>
                  <a:pt x="141973" y="9121"/>
                  <a:pt x="143454" y="5002"/>
                  <a:pt x="144379" y="739"/>
                </a:cubicBezTo>
                <a:cubicBezTo>
                  <a:pt x="144489" y="224"/>
                  <a:pt x="144952" y="-140"/>
                  <a:pt x="145478" y="-129"/>
                </a:cubicBezTo>
                <a:cubicBezTo>
                  <a:pt x="146230" y="-129"/>
                  <a:pt x="164104" y="-129"/>
                  <a:pt x="171624" y="8374"/>
                </a:cubicBezTo>
                <a:cubicBezTo>
                  <a:pt x="174279" y="11197"/>
                  <a:pt x="178056" y="12678"/>
                  <a:pt x="181920" y="12424"/>
                </a:cubicBezTo>
                <a:cubicBezTo>
                  <a:pt x="184928" y="12418"/>
                  <a:pt x="187919" y="11926"/>
                  <a:pt x="190770" y="10977"/>
                </a:cubicBezTo>
                <a:cubicBezTo>
                  <a:pt x="191071" y="10862"/>
                  <a:pt x="191401" y="10862"/>
                  <a:pt x="191696" y="10977"/>
                </a:cubicBezTo>
                <a:cubicBezTo>
                  <a:pt x="191979" y="11116"/>
                  <a:pt x="192188" y="11371"/>
                  <a:pt x="192274" y="11672"/>
                </a:cubicBezTo>
                <a:cubicBezTo>
                  <a:pt x="194848" y="19567"/>
                  <a:pt x="198406" y="27110"/>
                  <a:pt x="202860" y="34115"/>
                </a:cubicBezTo>
                <a:cubicBezTo>
                  <a:pt x="203230" y="34549"/>
                  <a:pt x="203230" y="35185"/>
                  <a:pt x="202860" y="35619"/>
                </a:cubicBezTo>
                <a:cubicBezTo>
                  <a:pt x="200887" y="37193"/>
                  <a:pt x="199673" y="39524"/>
                  <a:pt x="199505" y="42040"/>
                </a:cubicBezTo>
                <a:cubicBezTo>
                  <a:pt x="200101" y="46083"/>
                  <a:pt x="197301" y="49849"/>
                  <a:pt x="193258" y="50445"/>
                </a:cubicBezTo>
                <a:cubicBezTo>
                  <a:pt x="192512" y="50555"/>
                  <a:pt x="191748" y="50549"/>
                  <a:pt x="191002" y="50427"/>
                </a:cubicBezTo>
                <a:cubicBezTo>
                  <a:pt x="189417" y="50398"/>
                  <a:pt x="187832" y="50283"/>
                  <a:pt x="186258" y="50080"/>
                </a:cubicBezTo>
                <a:cubicBezTo>
                  <a:pt x="185865" y="49935"/>
                  <a:pt x="185437" y="49935"/>
                  <a:pt x="185044" y="50080"/>
                </a:cubicBezTo>
                <a:cubicBezTo>
                  <a:pt x="184697" y="50427"/>
                  <a:pt x="185044" y="51873"/>
                  <a:pt x="185044" y="53088"/>
                </a:cubicBezTo>
                <a:cubicBezTo>
                  <a:pt x="185767" y="55506"/>
                  <a:pt x="185408" y="58126"/>
                  <a:pt x="184061" y="60261"/>
                </a:cubicBezTo>
                <a:cubicBezTo>
                  <a:pt x="182990" y="61990"/>
                  <a:pt x="182487" y="64015"/>
                  <a:pt x="182614" y="66045"/>
                </a:cubicBezTo>
                <a:cubicBezTo>
                  <a:pt x="182614" y="68937"/>
                  <a:pt x="182267" y="72177"/>
                  <a:pt x="178912" y="72639"/>
                </a:cubicBezTo>
                <a:cubicBezTo>
                  <a:pt x="177408" y="72639"/>
                  <a:pt x="176309" y="74722"/>
                  <a:pt x="175441" y="78424"/>
                </a:cubicBezTo>
                <a:cubicBezTo>
                  <a:pt x="175297" y="78997"/>
                  <a:pt x="174753" y="79367"/>
                  <a:pt x="174169" y="79292"/>
                </a:cubicBezTo>
                <a:lnTo>
                  <a:pt x="173706" y="79292"/>
                </a:lnTo>
                <a:lnTo>
                  <a:pt x="171450" y="80564"/>
                </a:lnTo>
                <a:cubicBezTo>
                  <a:pt x="166655" y="83624"/>
                  <a:pt x="161114" y="85307"/>
                  <a:pt x="155428" y="85423"/>
                </a:cubicBezTo>
                <a:cubicBezTo>
                  <a:pt x="149782" y="85793"/>
                  <a:pt x="144333" y="87650"/>
                  <a:pt x="139636" y="90802"/>
                </a:cubicBezTo>
                <a:cubicBezTo>
                  <a:pt x="137247" y="92318"/>
                  <a:pt x="134528" y="93249"/>
                  <a:pt x="131711" y="93521"/>
                </a:cubicBezTo>
                <a:close/>
                <a:moveTo>
                  <a:pt x="71091" y="70383"/>
                </a:moveTo>
                <a:cubicBezTo>
                  <a:pt x="72768" y="70383"/>
                  <a:pt x="73404" y="72466"/>
                  <a:pt x="74272" y="75647"/>
                </a:cubicBezTo>
                <a:cubicBezTo>
                  <a:pt x="75140" y="78829"/>
                  <a:pt x="75892" y="81432"/>
                  <a:pt x="77164" y="82068"/>
                </a:cubicBezTo>
                <a:cubicBezTo>
                  <a:pt x="85042" y="84428"/>
                  <a:pt x="93233" y="85597"/>
                  <a:pt x="101459" y="85539"/>
                </a:cubicBezTo>
                <a:cubicBezTo>
                  <a:pt x="107955" y="86187"/>
                  <a:pt x="114399" y="87326"/>
                  <a:pt x="120721" y="88952"/>
                </a:cubicBezTo>
                <a:cubicBezTo>
                  <a:pt x="124325" y="89935"/>
                  <a:pt x="127998" y="90629"/>
                  <a:pt x="131711" y="91034"/>
                </a:cubicBezTo>
                <a:cubicBezTo>
                  <a:pt x="134106" y="90548"/>
                  <a:pt x="136374" y="89565"/>
                  <a:pt x="138363" y="88142"/>
                </a:cubicBezTo>
                <a:cubicBezTo>
                  <a:pt x="143396" y="84775"/>
                  <a:pt x="149215" y="82780"/>
                  <a:pt x="155254" y="82357"/>
                </a:cubicBezTo>
                <a:cubicBezTo>
                  <a:pt x="160553" y="82230"/>
                  <a:pt x="165718" y="80651"/>
                  <a:pt x="170178" y="77788"/>
                </a:cubicBezTo>
                <a:cubicBezTo>
                  <a:pt x="171149" y="77151"/>
                  <a:pt x="172197" y="76648"/>
                  <a:pt x="173301" y="76284"/>
                </a:cubicBezTo>
                <a:cubicBezTo>
                  <a:pt x="174053" y="73565"/>
                  <a:pt x="175441" y="70499"/>
                  <a:pt x="178450" y="69979"/>
                </a:cubicBezTo>
                <a:cubicBezTo>
                  <a:pt x="179780" y="69979"/>
                  <a:pt x="180011" y="68475"/>
                  <a:pt x="180185" y="65467"/>
                </a:cubicBezTo>
                <a:cubicBezTo>
                  <a:pt x="180075" y="62945"/>
                  <a:pt x="180763" y="60457"/>
                  <a:pt x="182152" y="58352"/>
                </a:cubicBezTo>
                <a:cubicBezTo>
                  <a:pt x="183025" y="56674"/>
                  <a:pt x="183187" y="54719"/>
                  <a:pt x="182614" y="52915"/>
                </a:cubicBezTo>
                <a:cubicBezTo>
                  <a:pt x="182614" y="51063"/>
                  <a:pt x="182094" y="49270"/>
                  <a:pt x="183135" y="48114"/>
                </a:cubicBezTo>
                <a:cubicBezTo>
                  <a:pt x="183962" y="47275"/>
                  <a:pt x="185165" y="46928"/>
                  <a:pt x="186316" y="47188"/>
                </a:cubicBezTo>
                <a:cubicBezTo>
                  <a:pt x="187791" y="47391"/>
                  <a:pt x="189278" y="47506"/>
                  <a:pt x="190770" y="47535"/>
                </a:cubicBezTo>
                <a:cubicBezTo>
                  <a:pt x="194530" y="47535"/>
                  <a:pt x="197018" y="46494"/>
                  <a:pt x="197018" y="41404"/>
                </a:cubicBezTo>
                <a:cubicBezTo>
                  <a:pt x="197139" y="38592"/>
                  <a:pt x="198336" y="35943"/>
                  <a:pt x="200372" y="34000"/>
                </a:cubicBezTo>
                <a:cubicBezTo>
                  <a:pt x="196237" y="27359"/>
                  <a:pt x="192899" y="20250"/>
                  <a:pt x="190423" y="12829"/>
                </a:cubicBezTo>
                <a:cubicBezTo>
                  <a:pt x="187548" y="13766"/>
                  <a:pt x="184540" y="14251"/>
                  <a:pt x="181515" y="14275"/>
                </a:cubicBezTo>
                <a:cubicBezTo>
                  <a:pt x="176998" y="14518"/>
                  <a:pt x="172596" y="12759"/>
                  <a:pt x="169484" y="9473"/>
                </a:cubicBezTo>
                <a:cubicBezTo>
                  <a:pt x="163699" y="2821"/>
                  <a:pt x="149643" y="1838"/>
                  <a:pt x="145999" y="1722"/>
                </a:cubicBezTo>
                <a:cubicBezTo>
                  <a:pt x="145033" y="5922"/>
                  <a:pt x="143535" y="9988"/>
                  <a:pt x="141545" y="13812"/>
                </a:cubicBezTo>
                <a:cubicBezTo>
                  <a:pt x="139636" y="16878"/>
                  <a:pt x="133100" y="17340"/>
                  <a:pt x="129340" y="17340"/>
                </a:cubicBezTo>
                <a:cubicBezTo>
                  <a:pt x="125250" y="17346"/>
                  <a:pt x="121172" y="16860"/>
                  <a:pt x="117193" y="15894"/>
                </a:cubicBezTo>
                <a:cubicBezTo>
                  <a:pt x="115434" y="17329"/>
                  <a:pt x="113490" y="18515"/>
                  <a:pt x="111408" y="19423"/>
                </a:cubicBezTo>
                <a:cubicBezTo>
                  <a:pt x="107937" y="21042"/>
                  <a:pt x="104062" y="22893"/>
                  <a:pt x="103310" y="25207"/>
                </a:cubicBezTo>
                <a:cubicBezTo>
                  <a:pt x="102558" y="27521"/>
                  <a:pt x="100186" y="28620"/>
                  <a:pt x="97872" y="29603"/>
                </a:cubicBezTo>
                <a:cubicBezTo>
                  <a:pt x="93823" y="31339"/>
                  <a:pt x="90006" y="32958"/>
                  <a:pt x="92493" y="41461"/>
                </a:cubicBezTo>
                <a:cubicBezTo>
                  <a:pt x="93823" y="46147"/>
                  <a:pt x="93823" y="49328"/>
                  <a:pt x="92493" y="51237"/>
                </a:cubicBezTo>
                <a:cubicBezTo>
                  <a:pt x="91515" y="52492"/>
                  <a:pt x="89971" y="53169"/>
                  <a:pt x="88386" y="53030"/>
                </a:cubicBezTo>
                <a:cubicBezTo>
                  <a:pt x="85569" y="52805"/>
                  <a:pt x="82815" y="52035"/>
                  <a:pt x="80288" y="50774"/>
                </a:cubicBezTo>
                <a:cubicBezTo>
                  <a:pt x="78853" y="50294"/>
                  <a:pt x="77343" y="50098"/>
                  <a:pt x="75834" y="50196"/>
                </a:cubicBezTo>
                <a:cubicBezTo>
                  <a:pt x="68198" y="50196"/>
                  <a:pt x="56745" y="52683"/>
                  <a:pt x="53564" y="55980"/>
                </a:cubicBezTo>
                <a:cubicBezTo>
                  <a:pt x="51198" y="58335"/>
                  <a:pt x="47993" y="59648"/>
                  <a:pt x="44656" y="59625"/>
                </a:cubicBezTo>
                <a:cubicBezTo>
                  <a:pt x="41769" y="59584"/>
                  <a:pt x="38941" y="58809"/>
                  <a:pt x="36442" y="57369"/>
                </a:cubicBezTo>
                <a:cubicBezTo>
                  <a:pt x="34232" y="56194"/>
                  <a:pt x="31774" y="55564"/>
                  <a:pt x="29269" y="55518"/>
                </a:cubicBezTo>
                <a:cubicBezTo>
                  <a:pt x="26215" y="55338"/>
                  <a:pt x="23294" y="56819"/>
                  <a:pt x="21634" y="59393"/>
                </a:cubicBezTo>
                <a:cubicBezTo>
                  <a:pt x="20922" y="60822"/>
                  <a:pt x="19470" y="61736"/>
                  <a:pt x="17874" y="61765"/>
                </a:cubicBezTo>
                <a:cubicBezTo>
                  <a:pt x="15462" y="61395"/>
                  <a:pt x="13212" y="60330"/>
                  <a:pt x="11395" y="58699"/>
                </a:cubicBezTo>
                <a:cubicBezTo>
                  <a:pt x="9197" y="57137"/>
                  <a:pt x="6999" y="55460"/>
                  <a:pt x="4975" y="55691"/>
                </a:cubicBezTo>
                <a:cubicBezTo>
                  <a:pt x="1619" y="56038"/>
                  <a:pt x="2429" y="63442"/>
                  <a:pt x="2776" y="66913"/>
                </a:cubicBezTo>
                <a:cubicBezTo>
                  <a:pt x="2776" y="67896"/>
                  <a:pt x="2776" y="68648"/>
                  <a:pt x="2776" y="69111"/>
                </a:cubicBezTo>
                <a:cubicBezTo>
                  <a:pt x="5032" y="72790"/>
                  <a:pt x="8844" y="75237"/>
                  <a:pt x="13130" y="75763"/>
                </a:cubicBezTo>
                <a:cubicBezTo>
                  <a:pt x="13807" y="75786"/>
                  <a:pt x="14484" y="75647"/>
                  <a:pt x="15097" y="75358"/>
                </a:cubicBezTo>
                <a:cubicBezTo>
                  <a:pt x="19783" y="73276"/>
                  <a:pt x="25914" y="74548"/>
                  <a:pt x="33087" y="79060"/>
                </a:cubicBezTo>
                <a:cubicBezTo>
                  <a:pt x="33949" y="79552"/>
                  <a:pt x="34926" y="79806"/>
                  <a:pt x="35921" y="79812"/>
                </a:cubicBezTo>
                <a:cubicBezTo>
                  <a:pt x="40682" y="79274"/>
                  <a:pt x="45159" y="77250"/>
                  <a:pt x="48705" y="74028"/>
                </a:cubicBezTo>
                <a:cubicBezTo>
                  <a:pt x="51423" y="71078"/>
                  <a:pt x="63918" y="70615"/>
                  <a:pt x="71091" y="7061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3" name="Forma libre: forma 342">
            <a:extLst>
              <a:ext uri="{FF2B5EF4-FFF2-40B4-BE49-F238E27FC236}">
                <a16:creationId xmlns:a16="http://schemas.microsoft.com/office/drawing/2014/main" id="{5CD76B7B-E58C-44BC-CC26-144D6E3C27F9}"/>
              </a:ext>
            </a:extLst>
          </p:cNvPr>
          <p:cNvSpPr/>
          <p:nvPr/>
        </p:nvSpPr>
        <p:spPr>
          <a:xfrm>
            <a:off x="6624825" y="3020186"/>
            <a:ext cx="178455" cy="101458"/>
          </a:xfrm>
          <a:custGeom>
            <a:avLst/>
            <a:gdLst>
              <a:gd name="connsiteX0" fmla="*/ 50186 w 178455"/>
              <a:gd name="connsiteY0" fmla="*/ 101330 h 101458"/>
              <a:gd name="connsiteX1" fmla="*/ 28899 w 178455"/>
              <a:gd name="connsiteY1" fmla="*/ 93752 h 101458"/>
              <a:gd name="connsiteX2" fmla="*/ 6514 w 178455"/>
              <a:gd name="connsiteY2" fmla="*/ 77093 h 101458"/>
              <a:gd name="connsiteX3" fmla="*/ 5935 w 178455"/>
              <a:gd name="connsiteY3" fmla="*/ 76226 h 101458"/>
              <a:gd name="connsiteX4" fmla="*/ 6283 w 178455"/>
              <a:gd name="connsiteY4" fmla="*/ 75300 h 101458"/>
              <a:gd name="connsiteX5" fmla="*/ 498 w 178455"/>
              <a:gd name="connsiteY5" fmla="*/ 66392 h 101458"/>
              <a:gd name="connsiteX6" fmla="*/ -81 w 178455"/>
              <a:gd name="connsiteY6" fmla="*/ 65119 h 101458"/>
              <a:gd name="connsiteX7" fmla="*/ 5299 w 178455"/>
              <a:gd name="connsiteY7" fmla="*/ 57831 h 101458"/>
              <a:gd name="connsiteX8" fmla="*/ 7035 w 178455"/>
              <a:gd name="connsiteY8" fmla="*/ 53319 h 101458"/>
              <a:gd name="connsiteX9" fmla="*/ 9001 w 178455"/>
              <a:gd name="connsiteY9" fmla="*/ 46204 h 101458"/>
              <a:gd name="connsiteX10" fmla="*/ 9464 w 178455"/>
              <a:gd name="connsiteY10" fmla="*/ 40767 h 101458"/>
              <a:gd name="connsiteX11" fmla="*/ 9984 w 178455"/>
              <a:gd name="connsiteY11" fmla="*/ 35966 h 101458"/>
              <a:gd name="connsiteX12" fmla="*/ 13166 w 178455"/>
              <a:gd name="connsiteY12" fmla="*/ 35040 h 101458"/>
              <a:gd name="connsiteX13" fmla="*/ 17620 w 178455"/>
              <a:gd name="connsiteY13" fmla="*/ 35387 h 101458"/>
              <a:gd name="connsiteX14" fmla="*/ 23867 w 178455"/>
              <a:gd name="connsiteY14" fmla="*/ 29256 h 101458"/>
              <a:gd name="connsiteX15" fmla="*/ 27916 w 178455"/>
              <a:gd name="connsiteY15" fmla="*/ 21158 h 101458"/>
              <a:gd name="connsiteX16" fmla="*/ 28784 w 178455"/>
              <a:gd name="connsiteY16" fmla="*/ 20869 h 101458"/>
              <a:gd name="connsiteX17" fmla="*/ 29594 w 178455"/>
              <a:gd name="connsiteY17" fmla="*/ 21331 h 101458"/>
              <a:gd name="connsiteX18" fmla="*/ 33122 w 178455"/>
              <a:gd name="connsiteY18" fmla="*/ 25438 h 101458"/>
              <a:gd name="connsiteX19" fmla="*/ 53078 w 178455"/>
              <a:gd name="connsiteY19" fmla="*/ 30239 h 101458"/>
              <a:gd name="connsiteX20" fmla="*/ 68234 w 178455"/>
              <a:gd name="connsiteY20" fmla="*/ 26248 h 101458"/>
              <a:gd name="connsiteX21" fmla="*/ 98255 w 178455"/>
              <a:gd name="connsiteY21" fmla="*/ 16183 h 101458"/>
              <a:gd name="connsiteX22" fmla="*/ 112542 w 178455"/>
              <a:gd name="connsiteY22" fmla="*/ 6870 h 101458"/>
              <a:gd name="connsiteX23" fmla="*/ 123244 w 178455"/>
              <a:gd name="connsiteY23" fmla="*/ -129 h 101458"/>
              <a:gd name="connsiteX24" fmla="*/ 123880 w 178455"/>
              <a:gd name="connsiteY24" fmla="*/ -129 h 101458"/>
              <a:gd name="connsiteX25" fmla="*/ 127640 w 178455"/>
              <a:gd name="connsiteY25" fmla="*/ 739 h 101458"/>
              <a:gd name="connsiteX26" fmla="*/ 149563 w 178455"/>
              <a:gd name="connsiteY26" fmla="*/ 8258 h 101458"/>
              <a:gd name="connsiteX27" fmla="*/ 166164 w 178455"/>
              <a:gd name="connsiteY27" fmla="*/ 14043 h 101458"/>
              <a:gd name="connsiteX28" fmla="*/ 166627 w 178455"/>
              <a:gd name="connsiteY28" fmla="*/ 14043 h 101458"/>
              <a:gd name="connsiteX29" fmla="*/ 172411 w 178455"/>
              <a:gd name="connsiteY29" fmla="*/ 17687 h 101458"/>
              <a:gd name="connsiteX30" fmla="*/ 178196 w 178455"/>
              <a:gd name="connsiteY30" fmla="*/ 22720 h 101458"/>
              <a:gd name="connsiteX31" fmla="*/ 174783 w 178455"/>
              <a:gd name="connsiteY31" fmla="*/ 28793 h 101458"/>
              <a:gd name="connsiteX32" fmla="*/ 162346 w 178455"/>
              <a:gd name="connsiteY32" fmla="*/ 36776 h 101458"/>
              <a:gd name="connsiteX33" fmla="*/ 156562 w 178455"/>
              <a:gd name="connsiteY33" fmla="*/ 40304 h 101458"/>
              <a:gd name="connsiteX34" fmla="*/ 148174 w 178455"/>
              <a:gd name="connsiteY34" fmla="*/ 54707 h 101458"/>
              <a:gd name="connsiteX35" fmla="*/ 131862 w 178455"/>
              <a:gd name="connsiteY35" fmla="*/ 81374 h 101458"/>
              <a:gd name="connsiteX36" fmla="*/ 119484 w 178455"/>
              <a:gd name="connsiteY36" fmla="*/ 90397 h 101458"/>
              <a:gd name="connsiteX37" fmla="*/ 115724 w 178455"/>
              <a:gd name="connsiteY37" fmla="*/ 92827 h 101458"/>
              <a:gd name="connsiteX38" fmla="*/ 114683 w 178455"/>
              <a:gd name="connsiteY38" fmla="*/ 93174 h 101458"/>
              <a:gd name="connsiteX39" fmla="*/ 106989 w 178455"/>
              <a:gd name="connsiteY39" fmla="*/ 91901 h 101458"/>
              <a:gd name="connsiteX40" fmla="*/ 95420 w 178455"/>
              <a:gd name="connsiteY40" fmla="*/ 88431 h 101458"/>
              <a:gd name="connsiteX41" fmla="*/ 57764 w 178455"/>
              <a:gd name="connsiteY41" fmla="*/ 99999 h 101458"/>
              <a:gd name="connsiteX42" fmla="*/ 50186 w 178455"/>
              <a:gd name="connsiteY42" fmla="*/ 101330 h 101458"/>
              <a:gd name="connsiteX43" fmla="*/ 8828 w 178455"/>
              <a:gd name="connsiteY43" fmla="*/ 75878 h 101458"/>
              <a:gd name="connsiteX44" fmla="*/ 30693 w 178455"/>
              <a:gd name="connsiteY44" fmla="*/ 92422 h 101458"/>
              <a:gd name="connsiteX45" fmla="*/ 50186 w 178455"/>
              <a:gd name="connsiteY45" fmla="*/ 99074 h 101458"/>
              <a:gd name="connsiteX46" fmla="*/ 57475 w 178455"/>
              <a:gd name="connsiteY46" fmla="*/ 98322 h 101458"/>
              <a:gd name="connsiteX47" fmla="*/ 95305 w 178455"/>
              <a:gd name="connsiteY47" fmla="*/ 86753 h 101458"/>
              <a:gd name="connsiteX48" fmla="*/ 96057 w 178455"/>
              <a:gd name="connsiteY48" fmla="*/ 86753 h 101458"/>
              <a:gd name="connsiteX49" fmla="*/ 107625 w 178455"/>
              <a:gd name="connsiteY49" fmla="*/ 90282 h 101458"/>
              <a:gd name="connsiteX50" fmla="*/ 114741 w 178455"/>
              <a:gd name="connsiteY50" fmla="*/ 91438 h 101458"/>
              <a:gd name="connsiteX51" fmla="*/ 118616 w 178455"/>
              <a:gd name="connsiteY51" fmla="*/ 89009 h 101458"/>
              <a:gd name="connsiteX52" fmla="*/ 130532 w 178455"/>
              <a:gd name="connsiteY52" fmla="*/ 80332 h 101458"/>
              <a:gd name="connsiteX53" fmla="*/ 146439 w 178455"/>
              <a:gd name="connsiteY53" fmla="*/ 54245 h 101458"/>
              <a:gd name="connsiteX54" fmla="*/ 155521 w 178455"/>
              <a:gd name="connsiteY54" fmla="*/ 39032 h 101458"/>
              <a:gd name="connsiteX55" fmla="*/ 161305 w 178455"/>
              <a:gd name="connsiteY55" fmla="*/ 35387 h 101458"/>
              <a:gd name="connsiteX56" fmla="*/ 173510 w 178455"/>
              <a:gd name="connsiteY56" fmla="*/ 27521 h 101458"/>
              <a:gd name="connsiteX57" fmla="*/ 176113 w 178455"/>
              <a:gd name="connsiteY57" fmla="*/ 23645 h 101458"/>
              <a:gd name="connsiteX58" fmla="*/ 172006 w 178455"/>
              <a:gd name="connsiteY58" fmla="*/ 20406 h 101458"/>
              <a:gd name="connsiteX59" fmla="*/ 165470 w 178455"/>
              <a:gd name="connsiteY59" fmla="*/ 16530 h 101458"/>
              <a:gd name="connsiteX60" fmla="*/ 148116 w 178455"/>
              <a:gd name="connsiteY60" fmla="*/ 10109 h 101458"/>
              <a:gd name="connsiteX61" fmla="*/ 127351 w 178455"/>
              <a:gd name="connsiteY61" fmla="*/ 3168 h 101458"/>
              <a:gd name="connsiteX62" fmla="*/ 123301 w 178455"/>
              <a:gd name="connsiteY62" fmla="*/ 2243 h 101458"/>
              <a:gd name="connsiteX63" fmla="*/ 114104 w 178455"/>
              <a:gd name="connsiteY63" fmla="*/ 8779 h 101458"/>
              <a:gd name="connsiteX64" fmla="*/ 98428 w 178455"/>
              <a:gd name="connsiteY64" fmla="*/ 18555 h 101458"/>
              <a:gd name="connsiteX65" fmla="*/ 70663 w 178455"/>
              <a:gd name="connsiteY65" fmla="*/ 26364 h 101458"/>
              <a:gd name="connsiteX66" fmla="*/ 53310 w 178455"/>
              <a:gd name="connsiteY66" fmla="*/ 32611 h 101458"/>
              <a:gd name="connsiteX67" fmla="*/ 31850 w 178455"/>
              <a:gd name="connsiteY67" fmla="*/ 27231 h 101458"/>
              <a:gd name="connsiteX68" fmla="*/ 28784 w 178455"/>
              <a:gd name="connsiteY68" fmla="*/ 23819 h 101458"/>
              <a:gd name="connsiteX69" fmla="*/ 26354 w 178455"/>
              <a:gd name="connsiteY69" fmla="*/ 29603 h 101458"/>
              <a:gd name="connsiteX70" fmla="*/ 20107 w 178455"/>
              <a:gd name="connsiteY70" fmla="*/ 38008 h 101458"/>
              <a:gd name="connsiteX71" fmla="*/ 17851 w 178455"/>
              <a:gd name="connsiteY71" fmla="*/ 37990 h 101458"/>
              <a:gd name="connsiteX72" fmla="*/ 13108 w 178455"/>
              <a:gd name="connsiteY72" fmla="*/ 37643 h 101458"/>
              <a:gd name="connsiteX73" fmla="*/ 11893 w 178455"/>
              <a:gd name="connsiteY73" fmla="*/ 37643 h 101458"/>
              <a:gd name="connsiteX74" fmla="*/ 11893 w 178455"/>
              <a:gd name="connsiteY74" fmla="*/ 40651 h 101458"/>
              <a:gd name="connsiteX75" fmla="*/ 10910 w 178455"/>
              <a:gd name="connsiteY75" fmla="*/ 47824 h 101458"/>
              <a:gd name="connsiteX76" fmla="*/ 9464 w 178455"/>
              <a:gd name="connsiteY76" fmla="*/ 53608 h 101458"/>
              <a:gd name="connsiteX77" fmla="*/ 5762 w 178455"/>
              <a:gd name="connsiteY77" fmla="*/ 60203 h 101458"/>
              <a:gd name="connsiteX78" fmla="*/ 2465 w 178455"/>
              <a:gd name="connsiteY78" fmla="*/ 65119 h 101458"/>
              <a:gd name="connsiteX79" fmla="*/ 8770 w 178455"/>
              <a:gd name="connsiteY79" fmla="*/ 75242 h 101458"/>
              <a:gd name="connsiteX80" fmla="*/ 8828 w 178455"/>
              <a:gd name="connsiteY80" fmla="*/ 75878 h 10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78455" h="101458">
                <a:moveTo>
                  <a:pt x="50186" y="101330"/>
                </a:moveTo>
                <a:cubicBezTo>
                  <a:pt x="42666" y="101330"/>
                  <a:pt x="32833" y="99363"/>
                  <a:pt x="28899" y="93752"/>
                </a:cubicBezTo>
                <a:cubicBezTo>
                  <a:pt x="22242" y="87198"/>
                  <a:pt x="14705" y="81588"/>
                  <a:pt x="6514" y="77093"/>
                </a:cubicBezTo>
                <a:cubicBezTo>
                  <a:pt x="6196" y="76914"/>
                  <a:pt x="5982" y="76590"/>
                  <a:pt x="5935" y="76226"/>
                </a:cubicBezTo>
                <a:cubicBezTo>
                  <a:pt x="5929" y="75884"/>
                  <a:pt x="6051" y="75555"/>
                  <a:pt x="6283" y="75300"/>
                </a:cubicBezTo>
                <a:cubicBezTo>
                  <a:pt x="4813" y="72055"/>
                  <a:pt x="2864" y="69053"/>
                  <a:pt x="498" y="66392"/>
                </a:cubicBezTo>
                <a:cubicBezTo>
                  <a:pt x="41" y="66143"/>
                  <a:pt x="-196" y="65623"/>
                  <a:pt x="-81" y="65119"/>
                </a:cubicBezTo>
                <a:cubicBezTo>
                  <a:pt x="614" y="62227"/>
                  <a:pt x="1944" y="58294"/>
                  <a:pt x="5299" y="57831"/>
                </a:cubicBezTo>
                <a:cubicBezTo>
                  <a:pt x="6630" y="57831"/>
                  <a:pt x="6861" y="56327"/>
                  <a:pt x="7035" y="53319"/>
                </a:cubicBezTo>
                <a:cubicBezTo>
                  <a:pt x="6924" y="50797"/>
                  <a:pt x="7613" y="48310"/>
                  <a:pt x="9001" y="46204"/>
                </a:cubicBezTo>
                <a:cubicBezTo>
                  <a:pt x="9874" y="44527"/>
                  <a:pt x="10037" y="42572"/>
                  <a:pt x="9464" y="40767"/>
                </a:cubicBezTo>
                <a:cubicBezTo>
                  <a:pt x="9464" y="38916"/>
                  <a:pt x="8943" y="37123"/>
                  <a:pt x="9984" y="35966"/>
                </a:cubicBezTo>
                <a:cubicBezTo>
                  <a:pt x="10812" y="35127"/>
                  <a:pt x="12015" y="34780"/>
                  <a:pt x="13166" y="35040"/>
                </a:cubicBezTo>
                <a:cubicBezTo>
                  <a:pt x="14641" y="35243"/>
                  <a:pt x="16127" y="35359"/>
                  <a:pt x="17620" y="35387"/>
                </a:cubicBezTo>
                <a:cubicBezTo>
                  <a:pt x="21380" y="35387"/>
                  <a:pt x="23867" y="34346"/>
                  <a:pt x="23867" y="29256"/>
                </a:cubicBezTo>
                <a:cubicBezTo>
                  <a:pt x="24017" y="26109"/>
                  <a:pt x="25487" y="23171"/>
                  <a:pt x="27916" y="21158"/>
                </a:cubicBezTo>
                <a:cubicBezTo>
                  <a:pt x="28159" y="20950"/>
                  <a:pt x="28466" y="20845"/>
                  <a:pt x="28784" y="20869"/>
                </a:cubicBezTo>
                <a:cubicBezTo>
                  <a:pt x="29113" y="20886"/>
                  <a:pt x="29414" y="21059"/>
                  <a:pt x="29594" y="21331"/>
                </a:cubicBezTo>
                <a:cubicBezTo>
                  <a:pt x="30606" y="22835"/>
                  <a:pt x="31792" y="24212"/>
                  <a:pt x="33122" y="25438"/>
                </a:cubicBezTo>
                <a:cubicBezTo>
                  <a:pt x="39109" y="29082"/>
                  <a:pt x="46091" y="30766"/>
                  <a:pt x="53078" y="30239"/>
                </a:cubicBezTo>
                <a:cubicBezTo>
                  <a:pt x="62160" y="30239"/>
                  <a:pt x="68234" y="28215"/>
                  <a:pt x="68234" y="26248"/>
                </a:cubicBezTo>
                <a:cubicBezTo>
                  <a:pt x="68234" y="18323"/>
                  <a:pt x="94668" y="16183"/>
                  <a:pt x="98255" y="16183"/>
                </a:cubicBezTo>
                <a:cubicBezTo>
                  <a:pt x="103519" y="13956"/>
                  <a:pt x="108377" y="10804"/>
                  <a:pt x="112542" y="6870"/>
                </a:cubicBezTo>
                <a:cubicBezTo>
                  <a:pt x="118327" y="2416"/>
                  <a:pt x="121450" y="-129"/>
                  <a:pt x="123244" y="-129"/>
                </a:cubicBezTo>
                <a:lnTo>
                  <a:pt x="123880" y="-129"/>
                </a:lnTo>
                <a:lnTo>
                  <a:pt x="127640" y="739"/>
                </a:lnTo>
                <a:cubicBezTo>
                  <a:pt x="136432" y="2590"/>
                  <a:pt x="146092" y="4846"/>
                  <a:pt x="149563" y="8258"/>
                </a:cubicBezTo>
                <a:cubicBezTo>
                  <a:pt x="154653" y="11237"/>
                  <a:pt x="160322" y="13204"/>
                  <a:pt x="166164" y="14043"/>
                </a:cubicBezTo>
                <a:lnTo>
                  <a:pt x="166627" y="14043"/>
                </a:lnTo>
                <a:cubicBezTo>
                  <a:pt x="168304" y="15593"/>
                  <a:pt x="170271" y="16831"/>
                  <a:pt x="172411" y="17687"/>
                </a:cubicBezTo>
                <a:cubicBezTo>
                  <a:pt x="176576" y="19133"/>
                  <a:pt x="177733" y="21216"/>
                  <a:pt x="178196" y="22720"/>
                </a:cubicBezTo>
                <a:cubicBezTo>
                  <a:pt x="178658" y="24223"/>
                  <a:pt x="178196" y="26306"/>
                  <a:pt x="174783" y="28793"/>
                </a:cubicBezTo>
                <a:cubicBezTo>
                  <a:pt x="171370" y="31280"/>
                  <a:pt x="166511" y="34231"/>
                  <a:pt x="162346" y="36776"/>
                </a:cubicBezTo>
                <a:cubicBezTo>
                  <a:pt x="159975" y="38164"/>
                  <a:pt x="157892" y="39436"/>
                  <a:pt x="156562" y="40304"/>
                </a:cubicBezTo>
                <a:cubicBezTo>
                  <a:pt x="153265" y="44810"/>
                  <a:pt x="150488" y="49640"/>
                  <a:pt x="148174" y="54707"/>
                </a:cubicBezTo>
                <a:cubicBezTo>
                  <a:pt x="143778" y="64194"/>
                  <a:pt x="138283" y="73142"/>
                  <a:pt x="131862" y="81374"/>
                </a:cubicBezTo>
                <a:cubicBezTo>
                  <a:pt x="128218" y="84977"/>
                  <a:pt x="124053" y="88014"/>
                  <a:pt x="119484" y="90397"/>
                </a:cubicBezTo>
                <a:cubicBezTo>
                  <a:pt x="118153" y="91051"/>
                  <a:pt x="116881" y="91867"/>
                  <a:pt x="115724" y="92827"/>
                </a:cubicBezTo>
                <a:cubicBezTo>
                  <a:pt x="115435" y="93122"/>
                  <a:pt x="115088" y="93255"/>
                  <a:pt x="114683" y="93174"/>
                </a:cubicBezTo>
                <a:cubicBezTo>
                  <a:pt x="110981" y="92595"/>
                  <a:pt x="108030" y="92133"/>
                  <a:pt x="106989" y="91901"/>
                </a:cubicBezTo>
                <a:cubicBezTo>
                  <a:pt x="103056" y="91016"/>
                  <a:pt x="99180" y="89859"/>
                  <a:pt x="95420" y="88431"/>
                </a:cubicBezTo>
                <a:cubicBezTo>
                  <a:pt x="91718" y="89588"/>
                  <a:pt x="64589" y="98322"/>
                  <a:pt x="57764" y="99999"/>
                </a:cubicBezTo>
                <a:cubicBezTo>
                  <a:pt x="55294" y="100723"/>
                  <a:pt x="52755" y="101168"/>
                  <a:pt x="50186" y="101330"/>
                </a:cubicBezTo>
                <a:close/>
                <a:moveTo>
                  <a:pt x="8828" y="75878"/>
                </a:moveTo>
                <a:cubicBezTo>
                  <a:pt x="16903" y="80269"/>
                  <a:pt x="24272" y="85845"/>
                  <a:pt x="30693" y="92422"/>
                </a:cubicBezTo>
                <a:cubicBezTo>
                  <a:pt x="34395" y="97339"/>
                  <a:pt x="43187" y="99074"/>
                  <a:pt x="50186" y="99074"/>
                </a:cubicBezTo>
                <a:cubicBezTo>
                  <a:pt x="52639" y="99091"/>
                  <a:pt x="55080" y="98843"/>
                  <a:pt x="57475" y="98322"/>
                </a:cubicBezTo>
                <a:cubicBezTo>
                  <a:pt x="64532" y="96529"/>
                  <a:pt x="95015" y="86753"/>
                  <a:pt x="95305" y="86753"/>
                </a:cubicBezTo>
                <a:cubicBezTo>
                  <a:pt x="95536" y="86637"/>
                  <a:pt x="95825" y="86637"/>
                  <a:pt x="96057" y="86753"/>
                </a:cubicBezTo>
                <a:cubicBezTo>
                  <a:pt x="99817" y="88147"/>
                  <a:pt x="103692" y="89327"/>
                  <a:pt x="107625" y="90282"/>
                </a:cubicBezTo>
                <a:lnTo>
                  <a:pt x="114741" y="91438"/>
                </a:lnTo>
                <a:cubicBezTo>
                  <a:pt x="115955" y="90496"/>
                  <a:pt x="117228" y="89680"/>
                  <a:pt x="118616" y="89009"/>
                </a:cubicBezTo>
                <a:cubicBezTo>
                  <a:pt x="123012" y="86718"/>
                  <a:pt x="127004" y="83797"/>
                  <a:pt x="130532" y="80332"/>
                </a:cubicBezTo>
                <a:cubicBezTo>
                  <a:pt x="136779" y="72252"/>
                  <a:pt x="142101" y="63500"/>
                  <a:pt x="146439" y="54245"/>
                </a:cubicBezTo>
                <a:cubicBezTo>
                  <a:pt x="148753" y="48784"/>
                  <a:pt x="151819" y="43665"/>
                  <a:pt x="155521" y="39032"/>
                </a:cubicBezTo>
                <a:lnTo>
                  <a:pt x="161305" y="35387"/>
                </a:lnTo>
                <a:cubicBezTo>
                  <a:pt x="165412" y="32900"/>
                  <a:pt x="170502" y="29603"/>
                  <a:pt x="173510" y="27521"/>
                </a:cubicBezTo>
                <a:cubicBezTo>
                  <a:pt x="175361" y="26190"/>
                  <a:pt x="176287" y="24802"/>
                  <a:pt x="176113" y="23645"/>
                </a:cubicBezTo>
                <a:cubicBezTo>
                  <a:pt x="175940" y="22488"/>
                  <a:pt x="174436" y="21216"/>
                  <a:pt x="172006" y="20406"/>
                </a:cubicBezTo>
                <a:cubicBezTo>
                  <a:pt x="169577" y="19538"/>
                  <a:pt x="167379" y="18225"/>
                  <a:pt x="165470" y="16530"/>
                </a:cubicBezTo>
                <a:cubicBezTo>
                  <a:pt x="159338" y="15483"/>
                  <a:pt x="153438" y="13308"/>
                  <a:pt x="148116" y="10109"/>
                </a:cubicBezTo>
                <a:cubicBezTo>
                  <a:pt x="144877" y="6870"/>
                  <a:pt x="133019" y="4325"/>
                  <a:pt x="127351" y="3168"/>
                </a:cubicBezTo>
                <a:cubicBezTo>
                  <a:pt x="125384" y="2763"/>
                  <a:pt x="123996" y="2474"/>
                  <a:pt x="123301" y="2243"/>
                </a:cubicBezTo>
                <a:cubicBezTo>
                  <a:pt x="120004" y="4088"/>
                  <a:pt x="116939" y="6280"/>
                  <a:pt x="114104" y="8779"/>
                </a:cubicBezTo>
                <a:cubicBezTo>
                  <a:pt x="106873" y="14563"/>
                  <a:pt x="101494" y="18555"/>
                  <a:pt x="98428" y="18555"/>
                </a:cubicBezTo>
                <a:cubicBezTo>
                  <a:pt x="91487" y="18555"/>
                  <a:pt x="70663" y="21736"/>
                  <a:pt x="70663" y="26364"/>
                </a:cubicBezTo>
                <a:cubicBezTo>
                  <a:pt x="70663" y="30991"/>
                  <a:pt x="61293" y="32611"/>
                  <a:pt x="53310" y="32611"/>
                </a:cubicBezTo>
                <a:cubicBezTo>
                  <a:pt x="45773" y="33103"/>
                  <a:pt x="38265" y="31223"/>
                  <a:pt x="31850" y="27231"/>
                </a:cubicBezTo>
                <a:cubicBezTo>
                  <a:pt x="30704" y="26208"/>
                  <a:pt x="29675" y="25068"/>
                  <a:pt x="28784" y="23819"/>
                </a:cubicBezTo>
                <a:cubicBezTo>
                  <a:pt x="27245" y="25351"/>
                  <a:pt x="26372" y="27428"/>
                  <a:pt x="26354" y="29603"/>
                </a:cubicBezTo>
                <a:cubicBezTo>
                  <a:pt x="26950" y="33646"/>
                  <a:pt x="24151" y="37412"/>
                  <a:pt x="20107" y="38008"/>
                </a:cubicBezTo>
                <a:cubicBezTo>
                  <a:pt x="19361" y="38118"/>
                  <a:pt x="18597" y="38112"/>
                  <a:pt x="17851" y="37990"/>
                </a:cubicBezTo>
                <a:cubicBezTo>
                  <a:pt x="16266" y="37961"/>
                  <a:pt x="14681" y="37846"/>
                  <a:pt x="13108" y="37643"/>
                </a:cubicBezTo>
                <a:cubicBezTo>
                  <a:pt x="12715" y="37499"/>
                  <a:pt x="12287" y="37499"/>
                  <a:pt x="11893" y="37643"/>
                </a:cubicBezTo>
                <a:cubicBezTo>
                  <a:pt x="11546" y="37990"/>
                  <a:pt x="11893" y="39436"/>
                  <a:pt x="11893" y="40651"/>
                </a:cubicBezTo>
                <a:cubicBezTo>
                  <a:pt x="12616" y="43069"/>
                  <a:pt x="12258" y="45689"/>
                  <a:pt x="10910" y="47824"/>
                </a:cubicBezTo>
                <a:cubicBezTo>
                  <a:pt x="9840" y="49553"/>
                  <a:pt x="9336" y="51578"/>
                  <a:pt x="9464" y="53608"/>
                </a:cubicBezTo>
                <a:cubicBezTo>
                  <a:pt x="9464" y="56501"/>
                  <a:pt x="9117" y="59740"/>
                  <a:pt x="5762" y="60203"/>
                </a:cubicBezTo>
                <a:cubicBezTo>
                  <a:pt x="4374" y="60203"/>
                  <a:pt x="3275" y="61996"/>
                  <a:pt x="2465" y="65119"/>
                </a:cubicBezTo>
                <a:cubicBezTo>
                  <a:pt x="4952" y="68237"/>
                  <a:pt x="7069" y="71633"/>
                  <a:pt x="8770" y="75242"/>
                </a:cubicBezTo>
                <a:cubicBezTo>
                  <a:pt x="8839" y="75445"/>
                  <a:pt x="8862" y="75664"/>
                  <a:pt x="8828" y="7587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4" name="Forma libre: forma 343">
            <a:extLst>
              <a:ext uri="{FF2B5EF4-FFF2-40B4-BE49-F238E27FC236}">
                <a16:creationId xmlns:a16="http://schemas.microsoft.com/office/drawing/2014/main" id="{6E9BDF1C-DDE4-2DA6-FB55-15DB0D09DEC6}"/>
              </a:ext>
            </a:extLst>
          </p:cNvPr>
          <p:cNvSpPr/>
          <p:nvPr/>
        </p:nvSpPr>
        <p:spPr>
          <a:xfrm>
            <a:off x="6524475" y="2936239"/>
            <a:ext cx="170651" cy="89962"/>
          </a:xfrm>
          <a:custGeom>
            <a:avLst/>
            <a:gdLst>
              <a:gd name="connsiteX0" fmla="*/ 120399 w 170651"/>
              <a:gd name="connsiteY0" fmla="*/ 89833 h 89962"/>
              <a:gd name="connsiteX1" fmla="*/ 119357 w 170651"/>
              <a:gd name="connsiteY1" fmla="*/ 89081 h 89962"/>
              <a:gd name="connsiteX2" fmla="*/ 117738 w 170651"/>
              <a:gd name="connsiteY2" fmla="*/ 84627 h 89962"/>
              <a:gd name="connsiteX3" fmla="*/ 108830 w 170651"/>
              <a:gd name="connsiteY3" fmla="*/ 86073 h 89962"/>
              <a:gd name="connsiteX4" fmla="*/ 96798 w 170651"/>
              <a:gd name="connsiteY4" fmla="*/ 81272 h 89962"/>
              <a:gd name="connsiteX5" fmla="*/ 73313 w 170651"/>
              <a:gd name="connsiteY5" fmla="*/ 73521 h 89962"/>
              <a:gd name="connsiteX6" fmla="*/ 68859 w 170651"/>
              <a:gd name="connsiteY6" fmla="*/ 85611 h 89962"/>
              <a:gd name="connsiteX7" fmla="*/ 56654 w 170651"/>
              <a:gd name="connsiteY7" fmla="*/ 89139 h 89962"/>
              <a:gd name="connsiteX8" fmla="*/ 43813 w 170651"/>
              <a:gd name="connsiteY8" fmla="*/ 87577 h 89962"/>
              <a:gd name="connsiteX9" fmla="*/ 43061 w 170651"/>
              <a:gd name="connsiteY9" fmla="*/ 86825 h 89962"/>
              <a:gd name="connsiteX10" fmla="*/ 43061 w 170651"/>
              <a:gd name="connsiteY10" fmla="*/ 85784 h 89962"/>
              <a:gd name="connsiteX11" fmla="*/ 43350 w 170651"/>
              <a:gd name="connsiteY11" fmla="*/ 84917 h 89962"/>
              <a:gd name="connsiteX12" fmla="*/ 20212 w 170651"/>
              <a:gd name="connsiteY12" fmla="*/ 67563 h 89962"/>
              <a:gd name="connsiteX13" fmla="*/ 15006 w 170651"/>
              <a:gd name="connsiteY13" fmla="*/ 64035 h 89962"/>
              <a:gd name="connsiteX14" fmla="*/ 8065 w 170651"/>
              <a:gd name="connsiteY14" fmla="*/ 48822 h 89962"/>
              <a:gd name="connsiteX15" fmla="*/ 5520 w 170651"/>
              <a:gd name="connsiteY15" fmla="*/ 40666 h 89962"/>
              <a:gd name="connsiteX16" fmla="*/ 3669 w 170651"/>
              <a:gd name="connsiteY16" fmla="*/ 37542 h 89962"/>
              <a:gd name="connsiteX17" fmla="*/ 198 w 170651"/>
              <a:gd name="connsiteY17" fmla="*/ 27419 h 89962"/>
              <a:gd name="connsiteX18" fmla="*/ 4479 w 170651"/>
              <a:gd name="connsiteY18" fmla="*/ 24469 h 89962"/>
              <a:gd name="connsiteX19" fmla="*/ 5346 w 170651"/>
              <a:gd name="connsiteY19" fmla="*/ 24469 h 89962"/>
              <a:gd name="connsiteX20" fmla="*/ 32418 w 170651"/>
              <a:gd name="connsiteY20" fmla="*/ 14057 h 89962"/>
              <a:gd name="connsiteX21" fmla="*/ 46705 w 170651"/>
              <a:gd name="connsiteY21" fmla="*/ 7289 h 89962"/>
              <a:gd name="connsiteX22" fmla="*/ 54803 w 170651"/>
              <a:gd name="connsiteY22" fmla="*/ 3761 h 89962"/>
              <a:gd name="connsiteX23" fmla="*/ 58737 w 170651"/>
              <a:gd name="connsiteY23" fmla="*/ 2315 h 89962"/>
              <a:gd name="connsiteX24" fmla="*/ 63769 w 170651"/>
              <a:gd name="connsiteY24" fmla="*/ 3183 h 89962"/>
              <a:gd name="connsiteX25" fmla="*/ 67645 w 170651"/>
              <a:gd name="connsiteY25" fmla="*/ 3935 h 89962"/>
              <a:gd name="connsiteX26" fmla="*/ 69206 w 170651"/>
              <a:gd name="connsiteY26" fmla="*/ 3298 h 89962"/>
              <a:gd name="connsiteX27" fmla="*/ 70537 w 170651"/>
              <a:gd name="connsiteY27" fmla="*/ 695 h 89962"/>
              <a:gd name="connsiteX28" fmla="*/ 71231 w 170651"/>
              <a:gd name="connsiteY28" fmla="*/ 1 h 89962"/>
              <a:gd name="connsiteX29" fmla="*/ 72272 w 170651"/>
              <a:gd name="connsiteY29" fmla="*/ 1 h 89962"/>
              <a:gd name="connsiteX30" fmla="*/ 87775 w 170651"/>
              <a:gd name="connsiteY30" fmla="*/ 8967 h 89962"/>
              <a:gd name="connsiteX31" fmla="*/ 106516 w 170651"/>
              <a:gd name="connsiteY31" fmla="*/ 22445 h 89962"/>
              <a:gd name="connsiteX32" fmla="*/ 116408 w 170651"/>
              <a:gd name="connsiteY32" fmla="*/ 30196 h 89962"/>
              <a:gd name="connsiteX33" fmla="*/ 118837 w 170651"/>
              <a:gd name="connsiteY33" fmla="*/ 28576 h 89962"/>
              <a:gd name="connsiteX34" fmla="*/ 125952 w 170651"/>
              <a:gd name="connsiteY34" fmla="*/ 24180 h 89962"/>
              <a:gd name="connsiteX35" fmla="*/ 130811 w 170651"/>
              <a:gd name="connsiteY35" fmla="*/ 24701 h 89962"/>
              <a:gd name="connsiteX36" fmla="*/ 135207 w 170651"/>
              <a:gd name="connsiteY36" fmla="*/ 25163 h 89962"/>
              <a:gd name="connsiteX37" fmla="*/ 143247 w 170651"/>
              <a:gd name="connsiteY37" fmla="*/ 34881 h 89962"/>
              <a:gd name="connsiteX38" fmla="*/ 143247 w 170651"/>
              <a:gd name="connsiteY38" fmla="*/ 35922 h 89962"/>
              <a:gd name="connsiteX39" fmla="*/ 151172 w 170651"/>
              <a:gd name="connsiteY39" fmla="*/ 37773 h 89962"/>
              <a:gd name="connsiteX40" fmla="*/ 160832 w 170651"/>
              <a:gd name="connsiteY40" fmla="*/ 39740 h 89962"/>
              <a:gd name="connsiteX41" fmla="*/ 166616 w 170651"/>
              <a:gd name="connsiteY41" fmla="*/ 47029 h 89962"/>
              <a:gd name="connsiteX42" fmla="*/ 170434 w 170651"/>
              <a:gd name="connsiteY42" fmla="*/ 52813 h 89962"/>
              <a:gd name="connsiteX43" fmla="*/ 170434 w 170651"/>
              <a:gd name="connsiteY43" fmla="*/ 53738 h 89962"/>
              <a:gd name="connsiteX44" fmla="*/ 169913 w 170651"/>
              <a:gd name="connsiteY44" fmla="*/ 54490 h 89962"/>
              <a:gd name="connsiteX45" fmla="*/ 154469 w 170651"/>
              <a:gd name="connsiteY45" fmla="*/ 67216 h 89962"/>
              <a:gd name="connsiteX46" fmla="*/ 128497 w 170651"/>
              <a:gd name="connsiteY46" fmla="*/ 80578 h 89962"/>
              <a:gd name="connsiteX47" fmla="*/ 127629 w 170651"/>
              <a:gd name="connsiteY47" fmla="*/ 80578 h 89962"/>
              <a:gd name="connsiteX48" fmla="*/ 120919 w 170651"/>
              <a:gd name="connsiteY48" fmla="*/ 88734 h 89962"/>
              <a:gd name="connsiteX49" fmla="*/ 120399 w 170651"/>
              <a:gd name="connsiteY49" fmla="*/ 89833 h 89962"/>
              <a:gd name="connsiteX50" fmla="*/ 45722 w 170651"/>
              <a:gd name="connsiteY50" fmla="*/ 85669 h 89962"/>
              <a:gd name="connsiteX51" fmla="*/ 56654 w 170651"/>
              <a:gd name="connsiteY51" fmla="*/ 86883 h 89962"/>
              <a:gd name="connsiteX52" fmla="*/ 66893 w 170651"/>
              <a:gd name="connsiteY52" fmla="*/ 84396 h 89962"/>
              <a:gd name="connsiteX53" fmla="*/ 71289 w 170651"/>
              <a:gd name="connsiteY53" fmla="*/ 72133 h 89962"/>
              <a:gd name="connsiteX54" fmla="*/ 72388 w 170651"/>
              <a:gd name="connsiteY54" fmla="*/ 71265 h 89962"/>
              <a:gd name="connsiteX55" fmla="*/ 98533 w 170651"/>
              <a:gd name="connsiteY55" fmla="*/ 79768 h 89962"/>
              <a:gd name="connsiteX56" fmla="*/ 108830 w 170651"/>
              <a:gd name="connsiteY56" fmla="*/ 83817 h 89962"/>
              <a:gd name="connsiteX57" fmla="*/ 118085 w 170651"/>
              <a:gd name="connsiteY57" fmla="*/ 82371 h 89962"/>
              <a:gd name="connsiteX58" fmla="*/ 119010 w 170651"/>
              <a:gd name="connsiteY58" fmla="*/ 82371 h 89962"/>
              <a:gd name="connsiteX59" fmla="*/ 119589 w 170651"/>
              <a:gd name="connsiteY59" fmla="*/ 83065 h 89962"/>
              <a:gd name="connsiteX60" fmla="*/ 120630 w 170651"/>
              <a:gd name="connsiteY60" fmla="*/ 86016 h 89962"/>
              <a:gd name="connsiteX61" fmla="*/ 127918 w 170651"/>
              <a:gd name="connsiteY61" fmla="*/ 79016 h 89962"/>
              <a:gd name="connsiteX62" fmla="*/ 128844 w 170651"/>
              <a:gd name="connsiteY62" fmla="*/ 79016 h 89962"/>
              <a:gd name="connsiteX63" fmla="*/ 153254 w 170651"/>
              <a:gd name="connsiteY63" fmla="*/ 66580 h 89962"/>
              <a:gd name="connsiteX64" fmla="*/ 168294 w 170651"/>
              <a:gd name="connsiteY64" fmla="*/ 53854 h 89962"/>
              <a:gd name="connsiteX65" fmla="*/ 165054 w 170651"/>
              <a:gd name="connsiteY65" fmla="*/ 48590 h 89962"/>
              <a:gd name="connsiteX66" fmla="*/ 160369 w 170651"/>
              <a:gd name="connsiteY66" fmla="*/ 42170 h 89962"/>
              <a:gd name="connsiteX67" fmla="*/ 151692 w 170651"/>
              <a:gd name="connsiteY67" fmla="*/ 40492 h 89962"/>
              <a:gd name="connsiteX68" fmla="*/ 141801 w 170651"/>
              <a:gd name="connsiteY68" fmla="*/ 36964 h 89962"/>
              <a:gd name="connsiteX69" fmla="*/ 141512 w 170651"/>
              <a:gd name="connsiteY69" fmla="*/ 35865 h 89962"/>
              <a:gd name="connsiteX70" fmla="*/ 135727 w 170651"/>
              <a:gd name="connsiteY70" fmla="*/ 27882 h 89962"/>
              <a:gd name="connsiteX71" fmla="*/ 130984 w 170651"/>
              <a:gd name="connsiteY71" fmla="*/ 27361 h 89962"/>
              <a:gd name="connsiteX72" fmla="*/ 126472 w 170651"/>
              <a:gd name="connsiteY72" fmla="*/ 26899 h 89962"/>
              <a:gd name="connsiteX73" fmla="*/ 121440 w 170651"/>
              <a:gd name="connsiteY73" fmla="*/ 29907 h 89962"/>
              <a:gd name="connsiteX74" fmla="*/ 116928 w 170651"/>
              <a:gd name="connsiteY74" fmla="*/ 32915 h 89962"/>
              <a:gd name="connsiteX75" fmla="*/ 104839 w 170651"/>
              <a:gd name="connsiteY75" fmla="*/ 23370 h 89962"/>
              <a:gd name="connsiteX76" fmla="*/ 87485 w 170651"/>
              <a:gd name="connsiteY76" fmla="*/ 11801 h 89962"/>
              <a:gd name="connsiteX77" fmla="*/ 72561 w 170651"/>
              <a:gd name="connsiteY77" fmla="*/ 3356 h 89962"/>
              <a:gd name="connsiteX78" fmla="*/ 71520 w 170651"/>
              <a:gd name="connsiteY78" fmla="*/ 5091 h 89962"/>
              <a:gd name="connsiteX79" fmla="*/ 68107 w 170651"/>
              <a:gd name="connsiteY79" fmla="*/ 6711 h 89962"/>
              <a:gd name="connsiteX80" fmla="*/ 63654 w 170651"/>
              <a:gd name="connsiteY80" fmla="*/ 5901 h 89962"/>
              <a:gd name="connsiteX81" fmla="*/ 56886 w 170651"/>
              <a:gd name="connsiteY81" fmla="*/ 5901 h 89962"/>
              <a:gd name="connsiteX82" fmla="*/ 47804 w 170651"/>
              <a:gd name="connsiteY82" fmla="*/ 9950 h 89962"/>
              <a:gd name="connsiteX83" fmla="*/ 34442 w 170651"/>
              <a:gd name="connsiteY83" fmla="*/ 16197 h 89962"/>
              <a:gd name="connsiteX84" fmla="*/ 6330 w 170651"/>
              <a:gd name="connsiteY84" fmla="*/ 27188 h 89962"/>
              <a:gd name="connsiteX85" fmla="*/ 5404 w 170651"/>
              <a:gd name="connsiteY85" fmla="*/ 27188 h 89962"/>
              <a:gd name="connsiteX86" fmla="*/ 2743 w 170651"/>
              <a:gd name="connsiteY86" fmla="*/ 28807 h 89962"/>
              <a:gd name="connsiteX87" fmla="*/ 5983 w 170651"/>
              <a:gd name="connsiteY87" fmla="*/ 36848 h 89962"/>
              <a:gd name="connsiteX88" fmla="*/ 8007 w 170651"/>
              <a:gd name="connsiteY88" fmla="*/ 40087 h 89962"/>
              <a:gd name="connsiteX89" fmla="*/ 10726 w 170651"/>
              <a:gd name="connsiteY89" fmla="*/ 48822 h 89962"/>
              <a:gd name="connsiteX90" fmla="*/ 16510 w 170651"/>
              <a:gd name="connsiteY90" fmla="*/ 62704 h 89962"/>
              <a:gd name="connsiteX91" fmla="*/ 21716 w 170651"/>
              <a:gd name="connsiteY91" fmla="*/ 66233 h 89962"/>
              <a:gd name="connsiteX92" fmla="*/ 45317 w 170651"/>
              <a:gd name="connsiteY92" fmla="*/ 84222 h 89962"/>
              <a:gd name="connsiteX93" fmla="*/ 45722 w 170651"/>
              <a:gd name="connsiteY93" fmla="*/ 85669 h 8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70651" h="89962">
                <a:moveTo>
                  <a:pt x="120399" y="89833"/>
                </a:moveTo>
                <a:cubicBezTo>
                  <a:pt x="119924" y="89833"/>
                  <a:pt x="119508" y="89533"/>
                  <a:pt x="119357" y="89081"/>
                </a:cubicBezTo>
                <a:cubicBezTo>
                  <a:pt x="118606" y="87172"/>
                  <a:pt x="118027" y="85611"/>
                  <a:pt x="117738" y="84627"/>
                </a:cubicBezTo>
                <a:cubicBezTo>
                  <a:pt x="114863" y="85564"/>
                  <a:pt x="111855" y="86050"/>
                  <a:pt x="108830" y="86073"/>
                </a:cubicBezTo>
                <a:cubicBezTo>
                  <a:pt x="104312" y="86316"/>
                  <a:pt x="99910" y="84558"/>
                  <a:pt x="96798" y="81272"/>
                </a:cubicBezTo>
                <a:cubicBezTo>
                  <a:pt x="91014" y="74620"/>
                  <a:pt x="76958" y="73637"/>
                  <a:pt x="73313" y="73521"/>
                </a:cubicBezTo>
                <a:cubicBezTo>
                  <a:pt x="72348" y="77721"/>
                  <a:pt x="70849" y="81787"/>
                  <a:pt x="68859" y="85611"/>
                </a:cubicBezTo>
                <a:cubicBezTo>
                  <a:pt x="66950" y="88676"/>
                  <a:pt x="60414" y="89139"/>
                  <a:pt x="56654" y="89139"/>
                </a:cubicBezTo>
                <a:cubicBezTo>
                  <a:pt x="52328" y="89139"/>
                  <a:pt x="48012" y="88613"/>
                  <a:pt x="43813" y="87577"/>
                </a:cubicBezTo>
                <a:cubicBezTo>
                  <a:pt x="43460" y="87456"/>
                  <a:pt x="43182" y="87178"/>
                  <a:pt x="43061" y="86825"/>
                </a:cubicBezTo>
                <a:cubicBezTo>
                  <a:pt x="42911" y="86496"/>
                  <a:pt x="42911" y="86114"/>
                  <a:pt x="43061" y="85784"/>
                </a:cubicBezTo>
                <a:cubicBezTo>
                  <a:pt x="43524" y="85206"/>
                  <a:pt x="43408" y="85090"/>
                  <a:pt x="43350" y="84917"/>
                </a:cubicBezTo>
                <a:cubicBezTo>
                  <a:pt x="36235" y="78380"/>
                  <a:pt x="28484" y="72567"/>
                  <a:pt x="20212" y="67563"/>
                </a:cubicBezTo>
                <a:lnTo>
                  <a:pt x="15006" y="64035"/>
                </a:lnTo>
                <a:cubicBezTo>
                  <a:pt x="11009" y="59916"/>
                  <a:pt x="8557" y="54542"/>
                  <a:pt x="8065" y="48822"/>
                </a:cubicBezTo>
                <a:cubicBezTo>
                  <a:pt x="7579" y="46005"/>
                  <a:pt x="6723" y="43263"/>
                  <a:pt x="5520" y="40666"/>
                </a:cubicBezTo>
                <a:cubicBezTo>
                  <a:pt x="4999" y="39624"/>
                  <a:pt x="4305" y="38583"/>
                  <a:pt x="3669" y="37542"/>
                </a:cubicBezTo>
                <a:cubicBezTo>
                  <a:pt x="1355" y="33956"/>
                  <a:pt x="-959" y="30254"/>
                  <a:pt x="198" y="27419"/>
                </a:cubicBezTo>
                <a:cubicBezTo>
                  <a:pt x="1077" y="25817"/>
                  <a:pt x="2668" y="24718"/>
                  <a:pt x="4479" y="24469"/>
                </a:cubicBezTo>
                <a:lnTo>
                  <a:pt x="5346" y="24469"/>
                </a:lnTo>
                <a:cubicBezTo>
                  <a:pt x="13155" y="22676"/>
                  <a:pt x="26228" y="19668"/>
                  <a:pt x="32418" y="14057"/>
                </a:cubicBezTo>
                <a:cubicBezTo>
                  <a:pt x="36634" y="10801"/>
                  <a:pt x="41511" y="8493"/>
                  <a:pt x="46705" y="7289"/>
                </a:cubicBezTo>
                <a:cubicBezTo>
                  <a:pt x="49609" y="6653"/>
                  <a:pt x="52362" y="5456"/>
                  <a:pt x="54803" y="3761"/>
                </a:cubicBezTo>
                <a:cubicBezTo>
                  <a:pt x="55862" y="2760"/>
                  <a:pt x="57285" y="2240"/>
                  <a:pt x="58737" y="2315"/>
                </a:cubicBezTo>
                <a:cubicBezTo>
                  <a:pt x="60443" y="2413"/>
                  <a:pt x="62132" y="2702"/>
                  <a:pt x="63769" y="3183"/>
                </a:cubicBezTo>
                <a:cubicBezTo>
                  <a:pt x="65024" y="3599"/>
                  <a:pt x="66326" y="3848"/>
                  <a:pt x="67645" y="3935"/>
                </a:cubicBezTo>
                <a:cubicBezTo>
                  <a:pt x="68628" y="3935"/>
                  <a:pt x="68975" y="3645"/>
                  <a:pt x="69206" y="3298"/>
                </a:cubicBezTo>
                <a:cubicBezTo>
                  <a:pt x="69733" y="2477"/>
                  <a:pt x="70178" y="1603"/>
                  <a:pt x="70537" y="695"/>
                </a:cubicBezTo>
                <a:cubicBezTo>
                  <a:pt x="70635" y="360"/>
                  <a:pt x="70895" y="99"/>
                  <a:pt x="71231" y="1"/>
                </a:cubicBezTo>
                <a:cubicBezTo>
                  <a:pt x="71555" y="-172"/>
                  <a:pt x="71948" y="-172"/>
                  <a:pt x="72272" y="1"/>
                </a:cubicBezTo>
                <a:cubicBezTo>
                  <a:pt x="77004" y="3680"/>
                  <a:pt x="82221" y="6699"/>
                  <a:pt x="87775" y="8967"/>
                </a:cubicBezTo>
                <a:cubicBezTo>
                  <a:pt x="100269" y="13421"/>
                  <a:pt x="105475" y="17239"/>
                  <a:pt x="106516" y="22445"/>
                </a:cubicBezTo>
                <a:cubicBezTo>
                  <a:pt x="108332" y="26500"/>
                  <a:pt x="112034" y="29403"/>
                  <a:pt x="116408" y="30196"/>
                </a:cubicBezTo>
                <a:cubicBezTo>
                  <a:pt x="117489" y="30259"/>
                  <a:pt x="118478" y="29594"/>
                  <a:pt x="118837" y="28576"/>
                </a:cubicBezTo>
                <a:cubicBezTo>
                  <a:pt x="119977" y="25701"/>
                  <a:pt x="122869" y="23914"/>
                  <a:pt x="125952" y="24180"/>
                </a:cubicBezTo>
                <a:cubicBezTo>
                  <a:pt x="127583" y="24215"/>
                  <a:pt x="129208" y="24388"/>
                  <a:pt x="130811" y="24701"/>
                </a:cubicBezTo>
                <a:cubicBezTo>
                  <a:pt x="132262" y="24955"/>
                  <a:pt x="133732" y="25111"/>
                  <a:pt x="135207" y="25163"/>
                </a:cubicBezTo>
                <a:cubicBezTo>
                  <a:pt x="140991" y="25163"/>
                  <a:pt x="142437" y="31237"/>
                  <a:pt x="143247" y="34881"/>
                </a:cubicBezTo>
                <a:lnTo>
                  <a:pt x="143247" y="35922"/>
                </a:lnTo>
                <a:cubicBezTo>
                  <a:pt x="143594" y="37137"/>
                  <a:pt x="148164" y="37542"/>
                  <a:pt x="151172" y="37773"/>
                </a:cubicBezTo>
                <a:cubicBezTo>
                  <a:pt x="154486" y="37808"/>
                  <a:pt x="157766" y="38479"/>
                  <a:pt x="160832" y="39740"/>
                </a:cubicBezTo>
                <a:cubicBezTo>
                  <a:pt x="163354" y="41632"/>
                  <a:pt x="165344" y="44142"/>
                  <a:pt x="166616" y="47029"/>
                </a:cubicBezTo>
                <a:cubicBezTo>
                  <a:pt x="167727" y="49059"/>
                  <a:pt x="169005" y="50991"/>
                  <a:pt x="170434" y="52813"/>
                </a:cubicBezTo>
                <a:cubicBezTo>
                  <a:pt x="170579" y="53102"/>
                  <a:pt x="170579" y="53449"/>
                  <a:pt x="170434" y="53738"/>
                </a:cubicBezTo>
                <a:cubicBezTo>
                  <a:pt x="170388" y="54057"/>
                  <a:pt x="170191" y="54334"/>
                  <a:pt x="169913" y="54490"/>
                </a:cubicBezTo>
                <a:cubicBezTo>
                  <a:pt x="163897" y="57556"/>
                  <a:pt x="158628" y="61900"/>
                  <a:pt x="154469" y="67216"/>
                </a:cubicBezTo>
                <a:cubicBezTo>
                  <a:pt x="148268" y="75355"/>
                  <a:pt x="138724" y="80266"/>
                  <a:pt x="128497" y="80578"/>
                </a:cubicBezTo>
                <a:lnTo>
                  <a:pt x="127629" y="80578"/>
                </a:lnTo>
                <a:cubicBezTo>
                  <a:pt x="126067" y="80578"/>
                  <a:pt x="123696" y="82371"/>
                  <a:pt x="120919" y="88734"/>
                </a:cubicBezTo>
                <a:cubicBezTo>
                  <a:pt x="120954" y="89168"/>
                  <a:pt x="120757" y="89585"/>
                  <a:pt x="120399" y="89833"/>
                </a:cubicBezTo>
                <a:close/>
                <a:moveTo>
                  <a:pt x="45722" y="85669"/>
                </a:moveTo>
                <a:cubicBezTo>
                  <a:pt x="49308" y="86490"/>
                  <a:pt x="52975" y="86901"/>
                  <a:pt x="56654" y="86883"/>
                </a:cubicBezTo>
                <a:cubicBezTo>
                  <a:pt x="61976" y="86883"/>
                  <a:pt x="66025" y="85900"/>
                  <a:pt x="66893" y="84396"/>
                </a:cubicBezTo>
                <a:cubicBezTo>
                  <a:pt x="68883" y="80514"/>
                  <a:pt x="70363" y="76396"/>
                  <a:pt x="71289" y="72133"/>
                </a:cubicBezTo>
                <a:cubicBezTo>
                  <a:pt x="71399" y="71618"/>
                  <a:pt x="71861" y="71254"/>
                  <a:pt x="72388" y="71265"/>
                </a:cubicBezTo>
                <a:cubicBezTo>
                  <a:pt x="73140" y="71265"/>
                  <a:pt x="91014" y="71265"/>
                  <a:pt x="98533" y="79768"/>
                </a:cubicBezTo>
                <a:cubicBezTo>
                  <a:pt x="101188" y="82591"/>
                  <a:pt x="104966" y="84072"/>
                  <a:pt x="108830" y="83817"/>
                </a:cubicBezTo>
                <a:cubicBezTo>
                  <a:pt x="111976" y="83858"/>
                  <a:pt x="115100" y="83366"/>
                  <a:pt x="118085" y="82371"/>
                </a:cubicBezTo>
                <a:cubicBezTo>
                  <a:pt x="118386" y="82285"/>
                  <a:pt x="118709" y="82285"/>
                  <a:pt x="119010" y="82371"/>
                </a:cubicBezTo>
                <a:cubicBezTo>
                  <a:pt x="119294" y="82510"/>
                  <a:pt x="119502" y="82765"/>
                  <a:pt x="119589" y="83065"/>
                </a:cubicBezTo>
                <a:lnTo>
                  <a:pt x="120630" y="86016"/>
                </a:lnTo>
                <a:cubicBezTo>
                  <a:pt x="122886" y="81677"/>
                  <a:pt x="125315" y="79364"/>
                  <a:pt x="127918" y="79016"/>
                </a:cubicBezTo>
                <a:lnTo>
                  <a:pt x="128844" y="79016"/>
                </a:lnTo>
                <a:cubicBezTo>
                  <a:pt x="138435" y="78750"/>
                  <a:pt x="147400" y="74181"/>
                  <a:pt x="153254" y="66580"/>
                </a:cubicBezTo>
                <a:cubicBezTo>
                  <a:pt x="157297" y="61310"/>
                  <a:pt x="162422" y="56966"/>
                  <a:pt x="168294" y="53854"/>
                </a:cubicBezTo>
                <a:cubicBezTo>
                  <a:pt x="167119" y="52159"/>
                  <a:pt x="166038" y="50401"/>
                  <a:pt x="165054" y="48590"/>
                </a:cubicBezTo>
                <a:cubicBezTo>
                  <a:pt x="164031" y="46103"/>
                  <a:pt x="162422" y="43905"/>
                  <a:pt x="160369" y="42170"/>
                </a:cubicBezTo>
                <a:cubicBezTo>
                  <a:pt x="157598" y="41094"/>
                  <a:pt x="154660" y="40527"/>
                  <a:pt x="151692" y="40492"/>
                </a:cubicBezTo>
                <a:cubicBezTo>
                  <a:pt x="146718" y="40087"/>
                  <a:pt x="142495" y="39740"/>
                  <a:pt x="141801" y="36964"/>
                </a:cubicBezTo>
                <a:lnTo>
                  <a:pt x="141512" y="35865"/>
                </a:lnTo>
                <a:cubicBezTo>
                  <a:pt x="140529" y="31526"/>
                  <a:pt x="139372" y="27882"/>
                  <a:pt x="135727" y="27882"/>
                </a:cubicBezTo>
                <a:cubicBezTo>
                  <a:pt x="134137" y="27847"/>
                  <a:pt x="132546" y="27674"/>
                  <a:pt x="130984" y="27361"/>
                </a:cubicBezTo>
                <a:cubicBezTo>
                  <a:pt x="129492" y="27101"/>
                  <a:pt x="127988" y="26945"/>
                  <a:pt x="126472" y="26899"/>
                </a:cubicBezTo>
                <a:cubicBezTo>
                  <a:pt x="124303" y="26621"/>
                  <a:pt x="122221" y="27865"/>
                  <a:pt x="121440" y="29907"/>
                </a:cubicBezTo>
                <a:cubicBezTo>
                  <a:pt x="120728" y="31763"/>
                  <a:pt x="118918" y="32972"/>
                  <a:pt x="116928" y="32915"/>
                </a:cubicBezTo>
                <a:cubicBezTo>
                  <a:pt x="111479" y="32122"/>
                  <a:pt x="106869" y="28484"/>
                  <a:pt x="104839" y="23370"/>
                </a:cubicBezTo>
                <a:cubicBezTo>
                  <a:pt x="103971" y="19090"/>
                  <a:pt x="99054" y="15677"/>
                  <a:pt x="87485" y="11801"/>
                </a:cubicBezTo>
                <a:cubicBezTo>
                  <a:pt x="82158" y="9661"/>
                  <a:pt x="77143" y="6821"/>
                  <a:pt x="72561" y="3356"/>
                </a:cubicBezTo>
                <a:cubicBezTo>
                  <a:pt x="72214" y="3975"/>
                  <a:pt x="71867" y="4553"/>
                  <a:pt x="71520" y="5091"/>
                </a:cubicBezTo>
                <a:cubicBezTo>
                  <a:pt x="70762" y="6214"/>
                  <a:pt x="69455" y="6838"/>
                  <a:pt x="68107" y="6711"/>
                </a:cubicBezTo>
                <a:cubicBezTo>
                  <a:pt x="66598" y="6624"/>
                  <a:pt x="65100" y="6352"/>
                  <a:pt x="63654" y="5901"/>
                </a:cubicBezTo>
                <a:cubicBezTo>
                  <a:pt x="60877" y="5207"/>
                  <a:pt x="57869" y="4629"/>
                  <a:pt x="56886" y="5901"/>
                </a:cubicBezTo>
                <a:cubicBezTo>
                  <a:pt x="54190" y="7891"/>
                  <a:pt x="51090" y="9274"/>
                  <a:pt x="47804" y="9950"/>
                </a:cubicBezTo>
                <a:cubicBezTo>
                  <a:pt x="42968" y="11090"/>
                  <a:pt x="38416" y="13213"/>
                  <a:pt x="34442" y="16197"/>
                </a:cubicBezTo>
                <a:cubicBezTo>
                  <a:pt x="27790" y="21982"/>
                  <a:pt x="14370" y="25337"/>
                  <a:pt x="6330" y="27188"/>
                </a:cubicBezTo>
                <a:lnTo>
                  <a:pt x="5404" y="27188"/>
                </a:lnTo>
                <a:cubicBezTo>
                  <a:pt x="3958" y="27477"/>
                  <a:pt x="3033" y="28055"/>
                  <a:pt x="2743" y="28807"/>
                </a:cubicBezTo>
                <a:cubicBezTo>
                  <a:pt x="2049" y="30543"/>
                  <a:pt x="4132" y="33898"/>
                  <a:pt x="5983" y="36848"/>
                </a:cubicBezTo>
                <a:cubicBezTo>
                  <a:pt x="6735" y="37947"/>
                  <a:pt x="7429" y="39046"/>
                  <a:pt x="8007" y="40087"/>
                </a:cubicBezTo>
                <a:cubicBezTo>
                  <a:pt x="9280" y="42875"/>
                  <a:pt x="10194" y="45808"/>
                  <a:pt x="10726" y="48822"/>
                </a:cubicBezTo>
                <a:cubicBezTo>
                  <a:pt x="11114" y="53952"/>
                  <a:pt x="13144" y="58817"/>
                  <a:pt x="16510" y="62704"/>
                </a:cubicBezTo>
                <a:lnTo>
                  <a:pt x="21716" y="66233"/>
                </a:lnTo>
                <a:cubicBezTo>
                  <a:pt x="33285" y="73810"/>
                  <a:pt x="43408" y="80925"/>
                  <a:pt x="45317" y="84222"/>
                </a:cubicBezTo>
                <a:cubicBezTo>
                  <a:pt x="45589" y="84656"/>
                  <a:pt x="45728" y="85159"/>
                  <a:pt x="45722" y="8566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5" name="Forma libre: forma 344">
            <a:extLst>
              <a:ext uri="{FF2B5EF4-FFF2-40B4-BE49-F238E27FC236}">
                <a16:creationId xmlns:a16="http://schemas.microsoft.com/office/drawing/2014/main" id="{7ACA3DA2-A3ED-02DF-5282-6CCF9A140C39}"/>
              </a:ext>
            </a:extLst>
          </p:cNvPr>
          <p:cNvSpPr/>
          <p:nvPr/>
        </p:nvSpPr>
        <p:spPr>
          <a:xfrm>
            <a:off x="6643851" y="2989238"/>
            <a:ext cx="155244" cy="63648"/>
          </a:xfrm>
          <a:custGeom>
            <a:avLst/>
            <a:gdLst>
              <a:gd name="connsiteX0" fmla="*/ 34168 w 155244"/>
              <a:gd name="connsiteY0" fmla="*/ 63443 h 63648"/>
              <a:gd name="connsiteX1" fmla="*/ 12707 w 155244"/>
              <a:gd name="connsiteY1" fmla="*/ 58063 h 63648"/>
              <a:gd name="connsiteX2" fmla="*/ -18 w 155244"/>
              <a:gd name="connsiteY2" fmla="*/ 36082 h 63648"/>
              <a:gd name="connsiteX3" fmla="*/ -18 w 155244"/>
              <a:gd name="connsiteY3" fmla="*/ 35215 h 63648"/>
              <a:gd name="connsiteX4" fmla="*/ 8427 w 155244"/>
              <a:gd name="connsiteY4" fmla="*/ 25786 h 63648"/>
              <a:gd name="connsiteX5" fmla="*/ 9353 w 155244"/>
              <a:gd name="connsiteY5" fmla="*/ 25786 h 63648"/>
              <a:gd name="connsiteX6" fmla="*/ 33763 w 155244"/>
              <a:gd name="connsiteY6" fmla="*/ 13350 h 63648"/>
              <a:gd name="connsiteX7" fmla="*/ 49959 w 155244"/>
              <a:gd name="connsiteY7" fmla="*/ -12 h 63648"/>
              <a:gd name="connsiteX8" fmla="*/ 51347 w 155244"/>
              <a:gd name="connsiteY8" fmla="*/ 277 h 63648"/>
              <a:gd name="connsiteX9" fmla="*/ 54644 w 155244"/>
              <a:gd name="connsiteY9" fmla="*/ 3227 h 63648"/>
              <a:gd name="connsiteX10" fmla="*/ 63032 w 155244"/>
              <a:gd name="connsiteY10" fmla="*/ 2301 h 63648"/>
              <a:gd name="connsiteX11" fmla="*/ 68238 w 155244"/>
              <a:gd name="connsiteY11" fmla="*/ 739 h 63648"/>
              <a:gd name="connsiteX12" fmla="*/ 70899 w 155244"/>
              <a:gd name="connsiteY12" fmla="*/ 1434 h 63648"/>
              <a:gd name="connsiteX13" fmla="*/ 86575 w 155244"/>
              <a:gd name="connsiteY13" fmla="*/ 5078 h 63648"/>
              <a:gd name="connsiteX14" fmla="*/ 93342 w 155244"/>
              <a:gd name="connsiteY14" fmla="*/ 4037 h 63648"/>
              <a:gd name="connsiteX15" fmla="*/ 104506 w 155244"/>
              <a:gd name="connsiteY15" fmla="*/ 4442 h 63648"/>
              <a:gd name="connsiteX16" fmla="*/ 114398 w 155244"/>
              <a:gd name="connsiteY16" fmla="*/ 5830 h 63648"/>
              <a:gd name="connsiteX17" fmla="*/ 138750 w 155244"/>
              <a:gd name="connsiteY17" fmla="*/ 11614 h 63648"/>
              <a:gd name="connsiteX18" fmla="*/ 154137 w 155244"/>
              <a:gd name="connsiteY18" fmla="*/ 15201 h 63648"/>
              <a:gd name="connsiteX19" fmla="*/ 155005 w 155244"/>
              <a:gd name="connsiteY19" fmla="*/ 15779 h 63648"/>
              <a:gd name="connsiteX20" fmla="*/ 155005 w 155244"/>
              <a:gd name="connsiteY20" fmla="*/ 16820 h 63648"/>
              <a:gd name="connsiteX21" fmla="*/ 154137 w 155244"/>
              <a:gd name="connsiteY21" fmla="*/ 18093 h 63648"/>
              <a:gd name="connsiteX22" fmla="*/ 142568 w 155244"/>
              <a:gd name="connsiteY22" fmla="*/ 37181 h 63648"/>
              <a:gd name="connsiteX23" fmla="*/ 147889 w 155244"/>
              <a:gd name="connsiteY23" fmla="*/ 45742 h 63648"/>
              <a:gd name="connsiteX24" fmla="*/ 147889 w 155244"/>
              <a:gd name="connsiteY24" fmla="*/ 47073 h 63648"/>
              <a:gd name="connsiteX25" fmla="*/ 146675 w 155244"/>
              <a:gd name="connsiteY25" fmla="*/ 47651 h 63648"/>
              <a:gd name="connsiteX26" fmla="*/ 128917 w 155244"/>
              <a:gd name="connsiteY26" fmla="*/ 41230 h 63648"/>
              <a:gd name="connsiteX27" fmla="*/ 108150 w 155244"/>
              <a:gd name="connsiteY27" fmla="*/ 34289 h 63648"/>
              <a:gd name="connsiteX28" fmla="*/ 104101 w 155244"/>
              <a:gd name="connsiteY28" fmla="*/ 33364 h 63648"/>
              <a:gd name="connsiteX29" fmla="*/ 94904 w 155244"/>
              <a:gd name="connsiteY29" fmla="*/ 39900 h 63648"/>
              <a:gd name="connsiteX30" fmla="*/ 79228 w 155244"/>
              <a:gd name="connsiteY30" fmla="*/ 49676 h 63648"/>
              <a:gd name="connsiteX31" fmla="*/ 51463 w 155244"/>
              <a:gd name="connsiteY31" fmla="*/ 57485 h 63648"/>
              <a:gd name="connsiteX32" fmla="*/ 34168 w 155244"/>
              <a:gd name="connsiteY32" fmla="*/ 63443 h 63648"/>
              <a:gd name="connsiteX33" fmla="*/ 2238 w 155244"/>
              <a:gd name="connsiteY33" fmla="*/ 35735 h 63648"/>
              <a:gd name="connsiteX34" fmla="*/ 14211 w 155244"/>
              <a:gd name="connsiteY34" fmla="*/ 56386 h 63648"/>
              <a:gd name="connsiteX35" fmla="*/ 34168 w 155244"/>
              <a:gd name="connsiteY35" fmla="*/ 61187 h 63648"/>
              <a:gd name="connsiteX36" fmla="*/ 49323 w 155244"/>
              <a:gd name="connsiteY36" fmla="*/ 57196 h 63648"/>
              <a:gd name="connsiteX37" fmla="*/ 79344 w 155244"/>
              <a:gd name="connsiteY37" fmla="*/ 47131 h 63648"/>
              <a:gd name="connsiteX38" fmla="*/ 93631 w 155244"/>
              <a:gd name="connsiteY38" fmla="*/ 37818 h 63648"/>
              <a:gd name="connsiteX39" fmla="*/ 104333 w 155244"/>
              <a:gd name="connsiteY39" fmla="*/ 30819 h 63648"/>
              <a:gd name="connsiteX40" fmla="*/ 104969 w 155244"/>
              <a:gd name="connsiteY40" fmla="*/ 30819 h 63648"/>
              <a:gd name="connsiteX41" fmla="*/ 108729 w 155244"/>
              <a:gd name="connsiteY41" fmla="*/ 31686 h 63648"/>
              <a:gd name="connsiteX42" fmla="*/ 130652 w 155244"/>
              <a:gd name="connsiteY42" fmla="*/ 39206 h 63648"/>
              <a:gd name="connsiteX43" fmla="*/ 143551 w 155244"/>
              <a:gd name="connsiteY43" fmla="*/ 44181 h 63648"/>
              <a:gd name="connsiteX44" fmla="*/ 140196 w 155244"/>
              <a:gd name="connsiteY44" fmla="*/ 36777 h 63648"/>
              <a:gd name="connsiteX45" fmla="*/ 151765 w 155244"/>
              <a:gd name="connsiteY45" fmla="*/ 16705 h 63648"/>
              <a:gd name="connsiteX46" fmla="*/ 137130 w 155244"/>
              <a:gd name="connsiteY46" fmla="*/ 12771 h 63648"/>
              <a:gd name="connsiteX47" fmla="*/ 114571 w 155244"/>
              <a:gd name="connsiteY47" fmla="*/ 7796 h 63648"/>
              <a:gd name="connsiteX48" fmla="*/ 103812 w 155244"/>
              <a:gd name="connsiteY48" fmla="*/ 6350 h 63648"/>
              <a:gd name="connsiteX49" fmla="*/ 94094 w 155244"/>
              <a:gd name="connsiteY49" fmla="*/ 5888 h 63648"/>
              <a:gd name="connsiteX50" fmla="*/ 86517 w 155244"/>
              <a:gd name="connsiteY50" fmla="*/ 7045 h 63648"/>
              <a:gd name="connsiteX51" fmla="*/ 69684 w 155244"/>
              <a:gd name="connsiteY51" fmla="*/ 3111 h 63648"/>
              <a:gd name="connsiteX52" fmla="*/ 63900 w 155244"/>
              <a:gd name="connsiteY52" fmla="*/ 4095 h 63648"/>
              <a:gd name="connsiteX53" fmla="*/ 57479 w 155244"/>
              <a:gd name="connsiteY53" fmla="*/ 6003 h 63648"/>
              <a:gd name="connsiteX54" fmla="*/ 53430 w 155244"/>
              <a:gd name="connsiteY54" fmla="*/ 4904 h 63648"/>
              <a:gd name="connsiteX55" fmla="*/ 50191 w 155244"/>
              <a:gd name="connsiteY55" fmla="*/ 2128 h 63648"/>
              <a:gd name="connsiteX56" fmla="*/ 35556 w 155244"/>
              <a:gd name="connsiteY56" fmla="*/ 14391 h 63648"/>
              <a:gd name="connsiteX57" fmla="*/ 9584 w 155244"/>
              <a:gd name="connsiteY57" fmla="*/ 27753 h 63648"/>
              <a:gd name="connsiteX58" fmla="*/ 8716 w 155244"/>
              <a:gd name="connsiteY58" fmla="*/ 27753 h 63648"/>
              <a:gd name="connsiteX59" fmla="*/ 2238 w 155244"/>
              <a:gd name="connsiteY59" fmla="*/ 35735 h 6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5244" h="63648">
                <a:moveTo>
                  <a:pt x="34168" y="63443"/>
                </a:moveTo>
                <a:cubicBezTo>
                  <a:pt x="26631" y="63934"/>
                  <a:pt x="19122" y="62054"/>
                  <a:pt x="12707" y="58063"/>
                </a:cubicBezTo>
                <a:cubicBezTo>
                  <a:pt x="6975" y="51706"/>
                  <a:pt x="2643" y="44215"/>
                  <a:pt x="-18" y="36082"/>
                </a:cubicBezTo>
                <a:cubicBezTo>
                  <a:pt x="-140" y="35805"/>
                  <a:pt x="-140" y="35492"/>
                  <a:pt x="-18" y="35215"/>
                </a:cubicBezTo>
                <a:cubicBezTo>
                  <a:pt x="2585" y="29430"/>
                  <a:pt x="5361" y="26191"/>
                  <a:pt x="8427" y="25786"/>
                </a:cubicBezTo>
                <a:lnTo>
                  <a:pt x="9353" y="25786"/>
                </a:lnTo>
                <a:cubicBezTo>
                  <a:pt x="18943" y="25520"/>
                  <a:pt x="27909" y="20950"/>
                  <a:pt x="33763" y="13350"/>
                </a:cubicBezTo>
                <a:cubicBezTo>
                  <a:pt x="38113" y="7756"/>
                  <a:pt x="43643" y="3198"/>
                  <a:pt x="49959" y="-12"/>
                </a:cubicBezTo>
                <a:cubicBezTo>
                  <a:pt x="50434" y="-244"/>
                  <a:pt x="51006" y="-122"/>
                  <a:pt x="51347" y="277"/>
                </a:cubicBezTo>
                <a:cubicBezTo>
                  <a:pt x="52244" y="1463"/>
                  <a:pt x="53366" y="2463"/>
                  <a:pt x="54644" y="3227"/>
                </a:cubicBezTo>
                <a:cubicBezTo>
                  <a:pt x="57421" y="4337"/>
                  <a:pt x="60568" y="3990"/>
                  <a:pt x="63032" y="2301"/>
                </a:cubicBezTo>
                <a:cubicBezTo>
                  <a:pt x="64640" y="1422"/>
                  <a:pt x="66410" y="890"/>
                  <a:pt x="68238" y="739"/>
                </a:cubicBezTo>
                <a:cubicBezTo>
                  <a:pt x="69169" y="734"/>
                  <a:pt x="70089" y="977"/>
                  <a:pt x="70899" y="1434"/>
                </a:cubicBezTo>
                <a:cubicBezTo>
                  <a:pt x="75758" y="3840"/>
                  <a:pt x="81137" y="5084"/>
                  <a:pt x="86575" y="5078"/>
                </a:cubicBezTo>
                <a:cubicBezTo>
                  <a:pt x="88889" y="5136"/>
                  <a:pt x="91144" y="4783"/>
                  <a:pt x="93342" y="4037"/>
                </a:cubicBezTo>
                <a:cubicBezTo>
                  <a:pt x="96987" y="2938"/>
                  <a:pt x="100920" y="3082"/>
                  <a:pt x="104506" y="4442"/>
                </a:cubicBezTo>
                <a:cubicBezTo>
                  <a:pt x="107688" y="5564"/>
                  <a:pt x="111043" y="6038"/>
                  <a:pt x="114398" y="5830"/>
                </a:cubicBezTo>
                <a:cubicBezTo>
                  <a:pt x="122959" y="5037"/>
                  <a:pt x="131462" y="7068"/>
                  <a:pt x="138750" y="11614"/>
                </a:cubicBezTo>
                <a:cubicBezTo>
                  <a:pt x="139097" y="11961"/>
                  <a:pt x="141295" y="13292"/>
                  <a:pt x="154137" y="15201"/>
                </a:cubicBezTo>
                <a:cubicBezTo>
                  <a:pt x="154484" y="15270"/>
                  <a:pt x="154831" y="15478"/>
                  <a:pt x="155005" y="15779"/>
                </a:cubicBezTo>
                <a:cubicBezTo>
                  <a:pt x="155178" y="16109"/>
                  <a:pt x="155178" y="16491"/>
                  <a:pt x="155005" y="16820"/>
                </a:cubicBezTo>
                <a:cubicBezTo>
                  <a:pt x="154831" y="17318"/>
                  <a:pt x="154542" y="17757"/>
                  <a:pt x="154137" y="18093"/>
                </a:cubicBezTo>
                <a:cubicBezTo>
                  <a:pt x="151418" y="20291"/>
                  <a:pt x="142568" y="32785"/>
                  <a:pt x="142568" y="37181"/>
                </a:cubicBezTo>
                <a:cubicBezTo>
                  <a:pt x="143204" y="40606"/>
                  <a:pt x="145113" y="43660"/>
                  <a:pt x="147889" y="45742"/>
                </a:cubicBezTo>
                <a:cubicBezTo>
                  <a:pt x="148179" y="46141"/>
                  <a:pt x="148179" y="46674"/>
                  <a:pt x="147889" y="47073"/>
                </a:cubicBezTo>
                <a:cubicBezTo>
                  <a:pt x="147658" y="47518"/>
                  <a:pt x="147137" y="47755"/>
                  <a:pt x="146675" y="47651"/>
                </a:cubicBezTo>
                <a:cubicBezTo>
                  <a:pt x="140370" y="46674"/>
                  <a:pt x="134354" y="44493"/>
                  <a:pt x="128917" y="41230"/>
                </a:cubicBezTo>
                <a:cubicBezTo>
                  <a:pt x="125677" y="37991"/>
                  <a:pt x="113819" y="35446"/>
                  <a:pt x="108150" y="34289"/>
                </a:cubicBezTo>
                <a:cubicBezTo>
                  <a:pt x="106184" y="33884"/>
                  <a:pt x="104796" y="33595"/>
                  <a:pt x="104101" y="33364"/>
                </a:cubicBezTo>
                <a:cubicBezTo>
                  <a:pt x="100804" y="35209"/>
                  <a:pt x="97739" y="37401"/>
                  <a:pt x="94904" y="39900"/>
                </a:cubicBezTo>
                <a:cubicBezTo>
                  <a:pt x="87674" y="45685"/>
                  <a:pt x="82294" y="49676"/>
                  <a:pt x="79228" y="49676"/>
                </a:cubicBezTo>
                <a:cubicBezTo>
                  <a:pt x="72287" y="49676"/>
                  <a:pt x="51463" y="52857"/>
                  <a:pt x="51463" y="57485"/>
                </a:cubicBezTo>
                <a:cubicBezTo>
                  <a:pt x="51463" y="62112"/>
                  <a:pt x="42208" y="63443"/>
                  <a:pt x="34168" y="63443"/>
                </a:cubicBezTo>
                <a:close/>
                <a:moveTo>
                  <a:pt x="2238" y="35735"/>
                </a:moveTo>
                <a:cubicBezTo>
                  <a:pt x="4806" y="43353"/>
                  <a:pt x="8878" y="50376"/>
                  <a:pt x="14211" y="56386"/>
                </a:cubicBezTo>
                <a:cubicBezTo>
                  <a:pt x="20198" y="60030"/>
                  <a:pt x="27180" y="61713"/>
                  <a:pt x="34168" y="61187"/>
                </a:cubicBezTo>
                <a:cubicBezTo>
                  <a:pt x="43249" y="61187"/>
                  <a:pt x="49323" y="59162"/>
                  <a:pt x="49323" y="57196"/>
                </a:cubicBezTo>
                <a:cubicBezTo>
                  <a:pt x="49323" y="49271"/>
                  <a:pt x="75758" y="47131"/>
                  <a:pt x="79344" y="47131"/>
                </a:cubicBezTo>
                <a:cubicBezTo>
                  <a:pt x="84608" y="44904"/>
                  <a:pt x="89467" y="41751"/>
                  <a:pt x="93631" y="37818"/>
                </a:cubicBezTo>
                <a:cubicBezTo>
                  <a:pt x="99416" y="33364"/>
                  <a:pt x="102540" y="30819"/>
                  <a:pt x="104333" y="30819"/>
                </a:cubicBezTo>
                <a:lnTo>
                  <a:pt x="104969" y="30819"/>
                </a:lnTo>
                <a:lnTo>
                  <a:pt x="108729" y="31686"/>
                </a:lnTo>
                <a:cubicBezTo>
                  <a:pt x="117521" y="33537"/>
                  <a:pt x="127181" y="35793"/>
                  <a:pt x="130652" y="39206"/>
                </a:cubicBezTo>
                <a:cubicBezTo>
                  <a:pt x="134585" y="41711"/>
                  <a:pt x="138982" y="43405"/>
                  <a:pt x="143551" y="44181"/>
                </a:cubicBezTo>
                <a:cubicBezTo>
                  <a:pt x="141643" y="42150"/>
                  <a:pt x="140486" y="39547"/>
                  <a:pt x="140196" y="36777"/>
                </a:cubicBezTo>
                <a:cubicBezTo>
                  <a:pt x="140196" y="31918"/>
                  <a:pt x="148063" y="20522"/>
                  <a:pt x="151765" y="16705"/>
                </a:cubicBezTo>
                <a:cubicBezTo>
                  <a:pt x="139039" y="14738"/>
                  <a:pt x="137651" y="13350"/>
                  <a:pt x="137130" y="12771"/>
                </a:cubicBezTo>
                <a:cubicBezTo>
                  <a:pt x="130305" y="8815"/>
                  <a:pt x="122438" y="7079"/>
                  <a:pt x="114571" y="7796"/>
                </a:cubicBezTo>
                <a:cubicBezTo>
                  <a:pt x="110927" y="8040"/>
                  <a:pt x="107283" y="7548"/>
                  <a:pt x="103812" y="6350"/>
                </a:cubicBezTo>
                <a:cubicBezTo>
                  <a:pt x="100689" y="5107"/>
                  <a:pt x="97276" y="4945"/>
                  <a:pt x="94094" y="5888"/>
                </a:cubicBezTo>
                <a:cubicBezTo>
                  <a:pt x="91665" y="6703"/>
                  <a:pt x="89062" y="7091"/>
                  <a:pt x="86517" y="7045"/>
                </a:cubicBezTo>
                <a:cubicBezTo>
                  <a:pt x="80674" y="7062"/>
                  <a:pt x="74890" y="5714"/>
                  <a:pt x="69684" y="3111"/>
                </a:cubicBezTo>
                <a:cubicBezTo>
                  <a:pt x="68180" y="2243"/>
                  <a:pt x="66155" y="3111"/>
                  <a:pt x="63900" y="4095"/>
                </a:cubicBezTo>
                <a:cubicBezTo>
                  <a:pt x="61916" y="5176"/>
                  <a:pt x="59729" y="5830"/>
                  <a:pt x="57479" y="6003"/>
                </a:cubicBezTo>
                <a:cubicBezTo>
                  <a:pt x="56056" y="5980"/>
                  <a:pt x="54668" y="5604"/>
                  <a:pt x="53430" y="4904"/>
                </a:cubicBezTo>
                <a:cubicBezTo>
                  <a:pt x="52192" y="4181"/>
                  <a:pt x="51093" y="3244"/>
                  <a:pt x="50191" y="2128"/>
                </a:cubicBezTo>
                <a:cubicBezTo>
                  <a:pt x="44481" y="5107"/>
                  <a:pt x="39489" y="9295"/>
                  <a:pt x="35556" y="14391"/>
                </a:cubicBezTo>
                <a:cubicBezTo>
                  <a:pt x="29355" y="22529"/>
                  <a:pt x="19811" y="27440"/>
                  <a:pt x="9584" y="27753"/>
                </a:cubicBezTo>
                <a:lnTo>
                  <a:pt x="8716" y="27753"/>
                </a:lnTo>
                <a:cubicBezTo>
                  <a:pt x="7270" y="28215"/>
                  <a:pt x="4956" y="29720"/>
                  <a:pt x="2238" y="3573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6" name="Forma libre: forma 345">
            <a:extLst>
              <a:ext uri="{FF2B5EF4-FFF2-40B4-BE49-F238E27FC236}">
                <a16:creationId xmlns:a16="http://schemas.microsoft.com/office/drawing/2014/main" id="{CA16E8F0-705D-79A3-FC04-E33AAD529089}"/>
              </a:ext>
            </a:extLst>
          </p:cNvPr>
          <p:cNvSpPr/>
          <p:nvPr/>
        </p:nvSpPr>
        <p:spPr>
          <a:xfrm>
            <a:off x="5924475" y="3245663"/>
            <a:ext cx="93303" cy="169078"/>
          </a:xfrm>
          <a:custGeom>
            <a:avLst/>
            <a:gdLst>
              <a:gd name="connsiteX0" fmla="*/ 29391 w 93303"/>
              <a:gd name="connsiteY0" fmla="*/ 168950 h 169078"/>
              <a:gd name="connsiteX1" fmla="*/ 29391 w 93303"/>
              <a:gd name="connsiteY1" fmla="*/ 168950 h 169078"/>
              <a:gd name="connsiteX2" fmla="*/ 18400 w 93303"/>
              <a:gd name="connsiteY2" fmla="*/ 162298 h 169078"/>
              <a:gd name="connsiteX3" fmla="*/ 19153 w 93303"/>
              <a:gd name="connsiteY3" fmla="*/ 154547 h 169078"/>
              <a:gd name="connsiteX4" fmla="*/ 15161 w 93303"/>
              <a:gd name="connsiteY4" fmla="*/ 116716 h 169078"/>
              <a:gd name="connsiteX5" fmla="*/ 9955 w 93303"/>
              <a:gd name="connsiteY5" fmla="*/ 112899 h 169078"/>
              <a:gd name="connsiteX6" fmla="*/ -109 w 93303"/>
              <a:gd name="connsiteY6" fmla="*/ 101735 h 169078"/>
              <a:gd name="connsiteX7" fmla="*/ 4518 w 93303"/>
              <a:gd name="connsiteY7" fmla="*/ 91265 h 169078"/>
              <a:gd name="connsiteX8" fmla="*/ 21409 w 93303"/>
              <a:gd name="connsiteY8" fmla="*/ 27174 h 169078"/>
              <a:gd name="connsiteX9" fmla="*/ 20367 w 93303"/>
              <a:gd name="connsiteY9" fmla="*/ 8952 h 169078"/>
              <a:gd name="connsiteX10" fmla="*/ 20367 w 93303"/>
              <a:gd name="connsiteY10" fmla="*/ 7969 h 169078"/>
              <a:gd name="connsiteX11" fmla="*/ 21351 w 93303"/>
              <a:gd name="connsiteY11" fmla="*/ 6928 h 169078"/>
              <a:gd name="connsiteX12" fmla="*/ 27887 w 93303"/>
              <a:gd name="connsiteY12" fmla="*/ 4267 h 169078"/>
              <a:gd name="connsiteX13" fmla="*/ 35060 w 93303"/>
              <a:gd name="connsiteY13" fmla="*/ -129 h 169078"/>
              <a:gd name="connsiteX14" fmla="*/ 39687 w 93303"/>
              <a:gd name="connsiteY14" fmla="*/ 5655 h 169078"/>
              <a:gd name="connsiteX15" fmla="*/ 41481 w 93303"/>
              <a:gd name="connsiteY15" fmla="*/ 8085 h 169078"/>
              <a:gd name="connsiteX16" fmla="*/ 46860 w 93303"/>
              <a:gd name="connsiteY16" fmla="*/ 8779 h 169078"/>
              <a:gd name="connsiteX17" fmla="*/ 51488 w 93303"/>
              <a:gd name="connsiteY17" fmla="*/ 8779 h 169078"/>
              <a:gd name="connsiteX18" fmla="*/ 55305 w 93303"/>
              <a:gd name="connsiteY18" fmla="*/ 8779 h 169078"/>
              <a:gd name="connsiteX19" fmla="*/ 60280 w 93303"/>
              <a:gd name="connsiteY19" fmla="*/ 10341 h 169078"/>
              <a:gd name="connsiteX20" fmla="*/ 61552 w 93303"/>
              <a:gd name="connsiteY20" fmla="*/ 10977 h 169078"/>
              <a:gd name="connsiteX21" fmla="*/ 65486 w 93303"/>
              <a:gd name="connsiteY21" fmla="*/ 9010 h 169078"/>
              <a:gd name="connsiteX22" fmla="*/ 74741 w 93303"/>
              <a:gd name="connsiteY22" fmla="*/ 6002 h 169078"/>
              <a:gd name="connsiteX23" fmla="*/ 83938 w 93303"/>
              <a:gd name="connsiteY23" fmla="*/ 12828 h 169078"/>
              <a:gd name="connsiteX24" fmla="*/ 88334 w 93303"/>
              <a:gd name="connsiteY24" fmla="*/ 16009 h 169078"/>
              <a:gd name="connsiteX25" fmla="*/ 93078 w 93303"/>
              <a:gd name="connsiteY25" fmla="*/ 19307 h 169078"/>
              <a:gd name="connsiteX26" fmla="*/ 90475 w 93303"/>
              <a:gd name="connsiteY26" fmla="*/ 24455 h 169078"/>
              <a:gd name="connsiteX27" fmla="*/ 80352 w 93303"/>
              <a:gd name="connsiteY27" fmla="*/ 32032 h 169078"/>
              <a:gd name="connsiteX28" fmla="*/ 73121 w 93303"/>
              <a:gd name="connsiteY28" fmla="*/ 39379 h 169078"/>
              <a:gd name="connsiteX29" fmla="*/ 74972 w 93303"/>
              <a:gd name="connsiteY29" fmla="*/ 46320 h 169078"/>
              <a:gd name="connsiteX30" fmla="*/ 74972 w 93303"/>
              <a:gd name="connsiteY30" fmla="*/ 65698 h 169078"/>
              <a:gd name="connsiteX31" fmla="*/ 72890 w 93303"/>
              <a:gd name="connsiteY31" fmla="*/ 77267 h 169078"/>
              <a:gd name="connsiteX32" fmla="*/ 72311 w 93303"/>
              <a:gd name="connsiteY32" fmla="*/ 83803 h 169078"/>
              <a:gd name="connsiteX33" fmla="*/ 69304 w 93303"/>
              <a:gd name="connsiteY33" fmla="*/ 84960 h 169078"/>
              <a:gd name="connsiteX34" fmla="*/ 60396 w 93303"/>
              <a:gd name="connsiteY34" fmla="*/ 88026 h 169078"/>
              <a:gd name="connsiteX35" fmla="*/ 63172 w 93303"/>
              <a:gd name="connsiteY35" fmla="*/ 93810 h 169078"/>
              <a:gd name="connsiteX36" fmla="*/ 73584 w 93303"/>
              <a:gd name="connsiteY36" fmla="*/ 108792 h 169078"/>
              <a:gd name="connsiteX37" fmla="*/ 70287 w 93303"/>
              <a:gd name="connsiteY37" fmla="*/ 110469 h 169078"/>
              <a:gd name="connsiteX38" fmla="*/ 64503 w 93303"/>
              <a:gd name="connsiteY38" fmla="*/ 115964 h 169078"/>
              <a:gd name="connsiteX39" fmla="*/ 64156 w 93303"/>
              <a:gd name="connsiteY39" fmla="*/ 123253 h 169078"/>
              <a:gd name="connsiteX40" fmla="*/ 66527 w 93303"/>
              <a:gd name="connsiteY40" fmla="*/ 125335 h 169078"/>
              <a:gd name="connsiteX41" fmla="*/ 74336 w 93303"/>
              <a:gd name="connsiteY41" fmla="*/ 135747 h 169078"/>
              <a:gd name="connsiteX42" fmla="*/ 69419 w 93303"/>
              <a:gd name="connsiteY42" fmla="*/ 138929 h 169078"/>
              <a:gd name="connsiteX43" fmla="*/ 59528 w 93303"/>
              <a:gd name="connsiteY43" fmla="*/ 154489 h 169078"/>
              <a:gd name="connsiteX44" fmla="*/ 63346 w 93303"/>
              <a:gd name="connsiteY44" fmla="*/ 162818 h 169078"/>
              <a:gd name="connsiteX45" fmla="*/ 63346 w 93303"/>
              <a:gd name="connsiteY45" fmla="*/ 163859 h 169078"/>
              <a:gd name="connsiteX46" fmla="*/ 62536 w 93303"/>
              <a:gd name="connsiteY46" fmla="*/ 164554 h 169078"/>
              <a:gd name="connsiteX47" fmla="*/ 54264 w 93303"/>
              <a:gd name="connsiteY47" fmla="*/ 166405 h 169078"/>
              <a:gd name="connsiteX48" fmla="*/ 40497 w 93303"/>
              <a:gd name="connsiteY48" fmla="*/ 168834 h 169078"/>
              <a:gd name="connsiteX49" fmla="*/ 34366 w 93303"/>
              <a:gd name="connsiteY49" fmla="*/ 168834 h 169078"/>
              <a:gd name="connsiteX50" fmla="*/ 22681 w 93303"/>
              <a:gd name="connsiteY50" fmla="*/ 9068 h 169078"/>
              <a:gd name="connsiteX51" fmla="*/ 22681 w 93303"/>
              <a:gd name="connsiteY51" fmla="*/ 9068 h 169078"/>
              <a:gd name="connsiteX52" fmla="*/ 23375 w 93303"/>
              <a:gd name="connsiteY52" fmla="*/ 25901 h 169078"/>
              <a:gd name="connsiteX53" fmla="*/ 6311 w 93303"/>
              <a:gd name="connsiteY53" fmla="*/ 92653 h 169078"/>
              <a:gd name="connsiteX54" fmla="*/ 2204 w 93303"/>
              <a:gd name="connsiteY54" fmla="*/ 101388 h 169078"/>
              <a:gd name="connsiteX55" fmla="*/ 11286 w 93303"/>
              <a:gd name="connsiteY55" fmla="*/ 110932 h 169078"/>
              <a:gd name="connsiteX56" fmla="*/ 16607 w 93303"/>
              <a:gd name="connsiteY56" fmla="*/ 114865 h 169078"/>
              <a:gd name="connsiteX57" fmla="*/ 21466 w 93303"/>
              <a:gd name="connsiteY57" fmla="*/ 154720 h 169078"/>
              <a:gd name="connsiteX58" fmla="*/ 20714 w 93303"/>
              <a:gd name="connsiteY58" fmla="*/ 162182 h 169078"/>
              <a:gd name="connsiteX59" fmla="*/ 29449 w 93303"/>
              <a:gd name="connsiteY59" fmla="*/ 166520 h 169078"/>
              <a:gd name="connsiteX60" fmla="*/ 29449 w 93303"/>
              <a:gd name="connsiteY60" fmla="*/ 166520 h 169078"/>
              <a:gd name="connsiteX61" fmla="*/ 34366 w 93303"/>
              <a:gd name="connsiteY61" fmla="*/ 166520 h 169078"/>
              <a:gd name="connsiteX62" fmla="*/ 40555 w 93303"/>
              <a:gd name="connsiteY62" fmla="*/ 166520 h 169078"/>
              <a:gd name="connsiteX63" fmla="*/ 53801 w 93303"/>
              <a:gd name="connsiteY63" fmla="*/ 164149 h 169078"/>
              <a:gd name="connsiteX64" fmla="*/ 60511 w 93303"/>
              <a:gd name="connsiteY64" fmla="*/ 162529 h 169078"/>
              <a:gd name="connsiteX65" fmla="*/ 57272 w 93303"/>
              <a:gd name="connsiteY65" fmla="*/ 154431 h 169078"/>
              <a:gd name="connsiteX66" fmla="*/ 68841 w 93303"/>
              <a:gd name="connsiteY66" fmla="*/ 136673 h 169078"/>
              <a:gd name="connsiteX67" fmla="*/ 71906 w 93303"/>
              <a:gd name="connsiteY67" fmla="*/ 135111 h 169078"/>
              <a:gd name="connsiteX68" fmla="*/ 64908 w 93303"/>
              <a:gd name="connsiteY68" fmla="*/ 127013 h 169078"/>
              <a:gd name="connsiteX69" fmla="*/ 62304 w 93303"/>
              <a:gd name="connsiteY69" fmla="*/ 124757 h 169078"/>
              <a:gd name="connsiteX70" fmla="*/ 62304 w 93303"/>
              <a:gd name="connsiteY70" fmla="*/ 115039 h 169078"/>
              <a:gd name="connsiteX71" fmla="*/ 70113 w 93303"/>
              <a:gd name="connsiteY71" fmla="*/ 108156 h 169078"/>
              <a:gd name="connsiteX72" fmla="*/ 71328 w 93303"/>
              <a:gd name="connsiteY72" fmla="*/ 107866 h 169078"/>
              <a:gd name="connsiteX73" fmla="*/ 61437 w 93303"/>
              <a:gd name="connsiteY73" fmla="*/ 95314 h 169078"/>
              <a:gd name="connsiteX74" fmla="*/ 58139 w 93303"/>
              <a:gd name="connsiteY74" fmla="*/ 87042 h 169078"/>
              <a:gd name="connsiteX75" fmla="*/ 69130 w 93303"/>
              <a:gd name="connsiteY75" fmla="*/ 82588 h 169078"/>
              <a:gd name="connsiteX76" fmla="*/ 70460 w 93303"/>
              <a:gd name="connsiteY76" fmla="*/ 82241 h 169078"/>
              <a:gd name="connsiteX77" fmla="*/ 70460 w 93303"/>
              <a:gd name="connsiteY77" fmla="*/ 77440 h 169078"/>
              <a:gd name="connsiteX78" fmla="*/ 73121 w 93303"/>
              <a:gd name="connsiteY78" fmla="*/ 64252 h 169078"/>
              <a:gd name="connsiteX79" fmla="*/ 73121 w 93303"/>
              <a:gd name="connsiteY79" fmla="*/ 47188 h 169078"/>
              <a:gd name="connsiteX80" fmla="*/ 71154 w 93303"/>
              <a:gd name="connsiteY80" fmla="*/ 39494 h 169078"/>
              <a:gd name="connsiteX81" fmla="*/ 79427 w 93303"/>
              <a:gd name="connsiteY81" fmla="*/ 30239 h 169078"/>
              <a:gd name="connsiteX82" fmla="*/ 89202 w 93303"/>
              <a:gd name="connsiteY82" fmla="*/ 22951 h 169078"/>
              <a:gd name="connsiteX83" fmla="*/ 91169 w 93303"/>
              <a:gd name="connsiteY83" fmla="*/ 19943 h 169078"/>
              <a:gd name="connsiteX84" fmla="*/ 87929 w 93303"/>
              <a:gd name="connsiteY84" fmla="*/ 18265 h 169078"/>
              <a:gd name="connsiteX85" fmla="*/ 82145 w 93303"/>
              <a:gd name="connsiteY85" fmla="*/ 12944 h 169078"/>
              <a:gd name="connsiteX86" fmla="*/ 75204 w 93303"/>
              <a:gd name="connsiteY86" fmla="*/ 8374 h 169078"/>
              <a:gd name="connsiteX87" fmla="*/ 67221 w 93303"/>
              <a:gd name="connsiteY87" fmla="*/ 10919 h 169078"/>
              <a:gd name="connsiteX88" fmla="*/ 62015 w 93303"/>
              <a:gd name="connsiteY88" fmla="*/ 13349 h 169078"/>
              <a:gd name="connsiteX89" fmla="*/ 59412 w 93303"/>
              <a:gd name="connsiteY89" fmla="*/ 12365 h 169078"/>
              <a:gd name="connsiteX90" fmla="*/ 55768 w 93303"/>
              <a:gd name="connsiteY90" fmla="*/ 11151 h 169078"/>
              <a:gd name="connsiteX91" fmla="*/ 52066 w 93303"/>
              <a:gd name="connsiteY91" fmla="*/ 11151 h 169078"/>
              <a:gd name="connsiteX92" fmla="*/ 47323 w 93303"/>
              <a:gd name="connsiteY92" fmla="*/ 11151 h 169078"/>
              <a:gd name="connsiteX93" fmla="*/ 41133 w 93303"/>
              <a:gd name="connsiteY93" fmla="*/ 10225 h 169078"/>
              <a:gd name="connsiteX94" fmla="*/ 37894 w 93303"/>
              <a:gd name="connsiteY94" fmla="*/ 5713 h 169078"/>
              <a:gd name="connsiteX95" fmla="*/ 35523 w 93303"/>
              <a:gd name="connsiteY95" fmla="*/ 1895 h 169078"/>
              <a:gd name="connsiteX96" fmla="*/ 30085 w 93303"/>
              <a:gd name="connsiteY96" fmla="*/ 5482 h 169078"/>
              <a:gd name="connsiteX97" fmla="*/ 22681 w 93303"/>
              <a:gd name="connsiteY97" fmla="*/ 9068 h 169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3303" h="169078">
                <a:moveTo>
                  <a:pt x="29391" y="168950"/>
                </a:moveTo>
                <a:lnTo>
                  <a:pt x="29391" y="168950"/>
                </a:lnTo>
                <a:cubicBezTo>
                  <a:pt x="25516" y="168950"/>
                  <a:pt x="18400" y="168950"/>
                  <a:pt x="18400" y="162298"/>
                </a:cubicBezTo>
                <a:cubicBezTo>
                  <a:pt x="18400" y="160620"/>
                  <a:pt x="18748" y="157959"/>
                  <a:pt x="19153" y="154547"/>
                </a:cubicBezTo>
                <a:cubicBezTo>
                  <a:pt x="20657" y="142978"/>
                  <a:pt x="23202" y="122964"/>
                  <a:pt x="15161" y="116716"/>
                </a:cubicBezTo>
                <a:cubicBezTo>
                  <a:pt x="13351" y="115328"/>
                  <a:pt x="11616" y="114056"/>
                  <a:pt x="9955" y="112899"/>
                </a:cubicBezTo>
                <a:cubicBezTo>
                  <a:pt x="4634" y="109139"/>
                  <a:pt x="411" y="106189"/>
                  <a:pt x="-109" y="101735"/>
                </a:cubicBezTo>
                <a:cubicBezTo>
                  <a:pt x="-127" y="97743"/>
                  <a:pt x="1556" y="93937"/>
                  <a:pt x="4518" y="91265"/>
                </a:cubicBezTo>
                <a:cubicBezTo>
                  <a:pt x="14699" y="79696"/>
                  <a:pt x="26325" y="35214"/>
                  <a:pt x="21409" y="27174"/>
                </a:cubicBezTo>
                <a:cubicBezTo>
                  <a:pt x="19037" y="23356"/>
                  <a:pt x="19673" y="16704"/>
                  <a:pt x="20367" y="8952"/>
                </a:cubicBezTo>
                <a:lnTo>
                  <a:pt x="20367" y="7969"/>
                </a:lnTo>
                <a:cubicBezTo>
                  <a:pt x="20390" y="7425"/>
                  <a:pt x="20813" y="6986"/>
                  <a:pt x="21351" y="6928"/>
                </a:cubicBezTo>
                <a:cubicBezTo>
                  <a:pt x="23792" y="6922"/>
                  <a:pt x="26134" y="5968"/>
                  <a:pt x="27887" y="4267"/>
                </a:cubicBezTo>
                <a:cubicBezTo>
                  <a:pt x="29541" y="1849"/>
                  <a:pt x="32150" y="247"/>
                  <a:pt x="35060" y="-129"/>
                </a:cubicBezTo>
                <a:cubicBezTo>
                  <a:pt x="37894" y="-129"/>
                  <a:pt x="39687" y="2243"/>
                  <a:pt x="39687" y="5655"/>
                </a:cubicBezTo>
                <a:cubicBezTo>
                  <a:pt x="39670" y="6778"/>
                  <a:pt x="40405" y="7773"/>
                  <a:pt x="41481" y="8085"/>
                </a:cubicBezTo>
                <a:cubicBezTo>
                  <a:pt x="43222" y="8628"/>
                  <a:pt x="45038" y="8860"/>
                  <a:pt x="46860" y="8779"/>
                </a:cubicBezTo>
                <a:lnTo>
                  <a:pt x="51488" y="8779"/>
                </a:lnTo>
                <a:lnTo>
                  <a:pt x="55305" y="8779"/>
                </a:lnTo>
                <a:cubicBezTo>
                  <a:pt x="57093" y="8733"/>
                  <a:pt x="58840" y="9282"/>
                  <a:pt x="60280" y="10341"/>
                </a:cubicBezTo>
                <a:cubicBezTo>
                  <a:pt x="60858" y="10746"/>
                  <a:pt x="61148" y="10977"/>
                  <a:pt x="61552" y="10977"/>
                </a:cubicBezTo>
                <a:cubicBezTo>
                  <a:pt x="63004" y="10659"/>
                  <a:pt x="64358" y="9982"/>
                  <a:pt x="65486" y="9010"/>
                </a:cubicBezTo>
                <a:cubicBezTo>
                  <a:pt x="68176" y="7049"/>
                  <a:pt x="71415" y="5997"/>
                  <a:pt x="74741" y="6002"/>
                </a:cubicBezTo>
                <a:cubicBezTo>
                  <a:pt x="80178" y="6002"/>
                  <a:pt x="83938" y="8779"/>
                  <a:pt x="83938" y="12828"/>
                </a:cubicBezTo>
                <a:cubicBezTo>
                  <a:pt x="83938" y="14448"/>
                  <a:pt x="85673" y="15142"/>
                  <a:pt x="88334" y="16009"/>
                </a:cubicBezTo>
                <a:cubicBezTo>
                  <a:pt x="90995" y="16877"/>
                  <a:pt x="92615" y="17456"/>
                  <a:pt x="93078" y="19307"/>
                </a:cubicBezTo>
                <a:cubicBezTo>
                  <a:pt x="93541" y="21158"/>
                  <a:pt x="92615" y="22314"/>
                  <a:pt x="90475" y="24455"/>
                </a:cubicBezTo>
                <a:cubicBezTo>
                  <a:pt x="87415" y="27376"/>
                  <a:pt x="84019" y="29921"/>
                  <a:pt x="80352" y="32032"/>
                </a:cubicBezTo>
                <a:cubicBezTo>
                  <a:pt x="76129" y="34635"/>
                  <a:pt x="73121" y="36544"/>
                  <a:pt x="73121" y="39379"/>
                </a:cubicBezTo>
                <a:cubicBezTo>
                  <a:pt x="73399" y="41768"/>
                  <a:pt x="74024" y="44110"/>
                  <a:pt x="74972" y="46320"/>
                </a:cubicBezTo>
                <a:cubicBezTo>
                  <a:pt x="77170" y="52625"/>
                  <a:pt x="79947" y="60492"/>
                  <a:pt x="74972" y="65698"/>
                </a:cubicBezTo>
                <a:cubicBezTo>
                  <a:pt x="72439" y="68989"/>
                  <a:pt x="71664" y="73299"/>
                  <a:pt x="72890" y="77267"/>
                </a:cubicBezTo>
                <a:cubicBezTo>
                  <a:pt x="73237" y="79985"/>
                  <a:pt x="73584" y="82357"/>
                  <a:pt x="72311" y="83803"/>
                </a:cubicBezTo>
                <a:cubicBezTo>
                  <a:pt x="71525" y="84607"/>
                  <a:pt x="70426" y="85029"/>
                  <a:pt x="69304" y="84960"/>
                </a:cubicBezTo>
                <a:cubicBezTo>
                  <a:pt x="64734" y="84960"/>
                  <a:pt x="61148" y="86175"/>
                  <a:pt x="60396" y="88026"/>
                </a:cubicBezTo>
                <a:cubicBezTo>
                  <a:pt x="59643" y="89877"/>
                  <a:pt x="61495" y="92190"/>
                  <a:pt x="63172" y="93810"/>
                </a:cubicBezTo>
                <a:cubicBezTo>
                  <a:pt x="71791" y="102371"/>
                  <a:pt x="74741" y="106420"/>
                  <a:pt x="73584" y="108792"/>
                </a:cubicBezTo>
                <a:cubicBezTo>
                  <a:pt x="73179" y="109891"/>
                  <a:pt x="72022" y="110469"/>
                  <a:pt x="70287" y="110469"/>
                </a:cubicBezTo>
                <a:cubicBezTo>
                  <a:pt x="68552" y="110469"/>
                  <a:pt x="65660" y="113304"/>
                  <a:pt x="64503" y="115964"/>
                </a:cubicBezTo>
                <a:cubicBezTo>
                  <a:pt x="63219" y="118197"/>
                  <a:pt x="63091" y="120910"/>
                  <a:pt x="64156" y="123253"/>
                </a:cubicBezTo>
                <a:cubicBezTo>
                  <a:pt x="64676" y="123773"/>
                  <a:pt x="65544" y="124525"/>
                  <a:pt x="66527" y="125335"/>
                </a:cubicBezTo>
                <a:cubicBezTo>
                  <a:pt x="71270" y="129211"/>
                  <a:pt x="75146" y="132681"/>
                  <a:pt x="74336" y="135747"/>
                </a:cubicBezTo>
                <a:cubicBezTo>
                  <a:pt x="73931" y="137367"/>
                  <a:pt x="72311" y="138408"/>
                  <a:pt x="69419" y="138929"/>
                </a:cubicBezTo>
                <a:cubicBezTo>
                  <a:pt x="59528" y="140722"/>
                  <a:pt x="59528" y="148704"/>
                  <a:pt x="59528" y="154489"/>
                </a:cubicBezTo>
                <a:cubicBezTo>
                  <a:pt x="60106" y="157531"/>
                  <a:pt x="61414" y="160395"/>
                  <a:pt x="63346" y="162818"/>
                </a:cubicBezTo>
                <a:cubicBezTo>
                  <a:pt x="63519" y="163142"/>
                  <a:pt x="63519" y="163536"/>
                  <a:pt x="63346" y="163859"/>
                </a:cubicBezTo>
                <a:cubicBezTo>
                  <a:pt x="63195" y="164201"/>
                  <a:pt x="62900" y="164461"/>
                  <a:pt x="62536" y="164554"/>
                </a:cubicBezTo>
                <a:cubicBezTo>
                  <a:pt x="59817" y="165016"/>
                  <a:pt x="56751" y="165710"/>
                  <a:pt x="54264" y="166405"/>
                </a:cubicBezTo>
                <a:cubicBezTo>
                  <a:pt x="49799" y="167793"/>
                  <a:pt x="45171" y="168609"/>
                  <a:pt x="40497" y="168834"/>
                </a:cubicBezTo>
                <a:lnTo>
                  <a:pt x="34366" y="168834"/>
                </a:lnTo>
                <a:close/>
                <a:moveTo>
                  <a:pt x="22681" y="9068"/>
                </a:moveTo>
                <a:lnTo>
                  <a:pt x="22681" y="9068"/>
                </a:lnTo>
                <a:cubicBezTo>
                  <a:pt x="21495" y="14650"/>
                  <a:pt x="21733" y="20440"/>
                  <a:pt x="23375" y="25901"/>
                </a:cubicBezTo>
                <a:cubicBezTo>
                  <a:pt x="28755" y="34578"/>
                  <a:pt x="17128" y="80159"/>
                  <a:pt x="6311" y="92653"/>
                </a:cubicBezTo>
                <a:cubicBezTo>
                  <a:pt x="3801" y="94874"/>
                  <a:pt x="2314" y="98033"/>
                  <a:pt x="2204" y="101388"/>
                </a:cubicBezTo>
                <a:cubicBezTo>
                  <a:pt x="2609" y="104800"/>
                  <a:pt x="6427" y="107519"/>
                  <a:pt x="11286" y="110932"/>
                </a:cubicBezTo>
                <a:cubicBezTo>
                  <a:pt x="13021" y="112147"/>
                  <a:pt x="14814" y="113419"/>
                  <a:pt x="16607" y="114865"/>
                </a:cubicBezTo>
                <a:cubicBezTo>
                  <a:pt x="25689" y="121865"/>
                  <a:pt x="23028" y="142399"/>
                  <a:pt x="21466" y="154720"/>
                </a:cubicBezTo>
                <a:cubicBezTo>
                  <a:pt x="21061" y="157901"/>
                  <a:pt x="20714" y="160505"/>
                  <a:pt x="20714" y="162182"/>
                </a:cubicBezTo>
                <a:cubicBezTo>
                  <a:pt x="20714" y="165421"/>
                  <a:pt x="22913" y="166520"/>
                  <a:pt x="29449" y="166520"/>
                </a:cubicBezTo>
                <a:lnTo>
                  <a:pt x="29449" y="166520"/>
                </a:lnTo>
                <a:lnTo>
                  <a:pt x="34366" y="166520"/>
                </a:lnTo>
                <a:lnTo>
                  <a:pt x="40555" y="166520"/>
                </a:lnTo>
                <a:cubicBezTo>
                  <a:pt x="45049" y="166272"/>
                  <a:pt x="49498" y="165473"/>
                  <a:pt x="53801" y="164149"/>
                </a:cubicBezTo>
                <a:lnTo>
                  <a:pt x="60511" y="162529"/>
                </a:lnTo>
                <a:cubicBezTo>
                  <a:pt x="58747" y="160157"/>
                  <a:pt x="57631" y="157364"/>
                  <a:pt x="57272" y="154431"/>
                </a:cubicBezTo>
                <a:cubicBezTo>
                  <a:pt x="57272" y="148647"/>
                  <a:pt x="57272" y="138813"/>
                  <a:pt x="68841" y="136673"/>
                </a:cubicBezTo>
                <a:cubicBezTo>
                  <a:pt x="70634" y="136326"/>
                  <a:pt x="71733" y="135747"/>
                  <a:pt x="71906" y="135111"/>
                </a:cubicBezTo>
                <a:cubicBezTo>
                  <a:pt x="72427" y="133202"/>
                  <a:pt x="67337" y="129326"/>
                  <a:pt x="64908" y="127013"/>
                </a:cubicBezTo>
                <a:cubicBezTo>
                  <a:pt x="63999" y="126307"/>
                  <a:pt x="63132" y="125555"/>
                  <a:pt x="62304" y="124757"/>
                </a:cubicBezTo>
                <a:cubicBezTo>
                  <a:pt x="60280" y="122790"/>
                  <a:pt x="60800" y="118452"/>
                  <a:pt x="62304" y="115039"/>
                </a:cubicBezTo>
                <a:cubicBezTo>
                  <a:pt x="64098" y="110701"/>
                  <a:pt x="66990" y="108156"/>
                  <a:pt x="70113" y="108156"/>
                </a:cubicBezTo>
                <a:cubicBezTo>
                  <a:pt x="71039" y="108156"/>
                  <a:pt x="71328" y="108156"/>
                  <a:pt x="71328" y="107866"/>
                </a:cubicBezTo>
                <a:cubicBezTo>
                  <a:pt x="71328" y="107577"/>
                  <a:pt x="71328" y="104974"/>
                  <a:pt x="61437" y="95314"/>
                </a:cubicBezTo>
                <a:cubicBezTo>
                  <a:pt x="58313" y="92190"/>
                  <a:pt x="57156" y="89530"/>
                  <a:pt x="58139" y="87042"/>
                </a:cubicBezTo>
                <a:cubicBezTo>
                  <a:pt x="59528" y="83745"/>
                  <a:pt x="64734" y="82588"/>
                  <a:pt x="69130" y="82588"/>
                </a:cubicBezTo>
                <a:cubicBezTo>
                  <a:pt x="69599" y="82640"/>
                  <a:pt x="70073" y="82519"/>
                  <a:pt x="70460" y="82241"/>
                </a:cubicBezTo>
                <a:cubicBezTo>
                  <a:pt x="71039" y="81547"/>
                  <a:pt x="70750" y="79465"/>
                  <a:pt x="70460" y="77440"/>
                </a:cubicBezTo>
                <a:cubicBezTo>
                  <a:pt x="69182" y="72870"/>
                  <a:pt x="70171" y="67965"/>
                  <a:pt x="73121" y="64252"/>
                </a:cubicBezTo>
                <a:cubicBezTo>
                  <a:pt x="77344" y="60029"/>
                  <a:pt x="74914" y="53203"/>
                  <a:pt x="73121" y="47188"/>
                </a:cubicBezTo>
                <a:cubicBezTo>
                  <a:pt x="72086" y="44735"/>
                  <a:pt x="71426" y="42144"/>
                  <a:pt x="71154" y="39494"/>
                </a:cubicBezTo>
                <a:cubicBezTo>
                  <a:pt x="71154" y="35387"/>
                  <a:pt x="74799" y="33131"/>
                  <a:pt x="79427" y="30239"/>
                </a:cubicBezTo>
                <a:cubicBezTo>
                  <a:pt x="82961" y="28203"/>
                  <a:pt x="86240" y="25756"/>
                  <a:pt x="89202" y="22951"/>
                </a:cubicBezTo>
                <a:cubicBezTo>
                  <a:pt x="91169" y="20926"/>
                  <a:pt x="91169" y="20117"/>
                  <a:pt x="91169" y="19943"/>
                </a:cubicBezTo>
                <a:cubicBezTo>
                  <a:pt x="91169" y="19769"/>
                  <a:pt x="89318" y="18728"/>
                  <a:pt x="87929" y="18265"/>
                </a:cubicBezTo>
                <a:cubicBezTo>
                  <a:pt x="85268" y="17398"/>
                  <a:pt x="82145" y="16299"/>
                  <a:pt x="82145" y="12944"/>
                </a:cubicBezTo>
                <a:cubicBezTo>
                  <a:pt x="82145" y="9589"/>
                  <a:pt x="78559" y="8374"/>
                  <a:pt x="75204" y="8374"/>
                </a:cubicBezTo>
                <a:cubicBezTo>
                  <a:pt x="72346" y="8391"/>
                  <a:pt x="69564" y="9276"/>
                  <a:pt x="67221" y="10919"/>
                </a:cubicBezTo>
                <a:cubicBezTo>
                  <a:pt x="65769" y="12238"/>
                  <a:pt x="63959" y="13088"/>
                  <a:pt x="62015" y="13349"/>
                </a:cubicBezTo>
                <a:cubicBezTo>
                  <a:pt x="61067" y="13314"/>
                  <a:pt x="60153" y="12967"/>
                  <a:pt x="59412" y="12365"/>
                </a:cubicBezTo>
                <a:cubicBezTo>
                  <a:pt x="58400" y="11498"/>
                  <a:pt x="57093" y="11064"/>
                  <a:pt x="55768" y="11151"/>
                </a:cubicBezTo>
                <a:lnTo>
                  <a:pt x="52066" y="11151"/>
                </a:lnTo>
                <a:lnTo>
                  <a:pt x="47323" y="11151"/>
                </a:lnTo>
                <a:cubicBezTo>
                  <a:pt x="45217" y="11261"/>
                  <a:pt x="43112" y="10948"/>
                  <a:pt x="41133" y="10225"/>
                </a:cubicBezTo>
                <a:cubicBezTo>
                  <a:pt x="39172" y="9606"/>
                  <a:pt x="37854" y="7773"/>
                  <a:pt x="37894" y="5713"/>
                </a:cubicBezTo>
                <a:cubicBezTo>
                  <a:pt x="37894" y="4556"/>
                  <a:pt x="37894" y="1895"/>
                  <a:pt x="35523" y="1895"/>
                </a:cubicBezTo>
                <a:cubicBezTo>
                  <a:pt x="33301" y="2318"/>
                  <a:pt x="31346" y="3608"/>
                  <a:pt x="30085" y="5482"/>
                </a:cubicBezTo>
                <a:cubicBezTo>
                  <a:pt x="28182" y="7599"/>
                  <a:pt x="25521" y="8889"/>
                  <a:pt x="22681" y="906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7" name="Forma libre: forma 346">
            <a:extLst>
              <a:ext uri="{FF2B5EF4-FFF2-40B4-BE49-F238E27FC236}">
                <a16:creationId xmlns:a16="http://schemas.microsoft.com/office/drawing/2014/main" id="{0877D540-59E2-BB1C-8F9C-1B4A1CAEBACF}"/>
              </a:ext>
            </a:extLst>
          </p:cNvPr>
          <p:cNvSpPr/>
          <p:nvPr/>
        </p:nvSpPr>
        <p:spPr>
          <a:xfrm>
            <a:off x="6274482" y="2847694"/>
            <a:ext cx="113911" cy="98277"/>
          </a:xfrm>
          <a:custGeom>
            <a:avLst/>
            <a:gdLst>
              <a:gd name="connsiteX0" fmla="*/ 80708 w 113911"/>
              <a:gd name="connsiteY0" fmla="*/ 98149 h 98277"/>
              <a:gd name="connsiteX1" fmla="*/ 80071 w 113911"/>
              <a:gd name="connsiteY1" fmla="*/ 97859 h 98277"/>
              <a:gd name="connsiteX2" fmla="*/ 73940 w 113911"/>
              <a:gd name="connsiteY2" fmla="*/ 92595 h 98277"/>
              <a:gd name="connsiteX3" fmla="*/ 62371 w 113911"/>
              <a:gd name="connsiteY3" fmla="*/ 84555 h 98277"/>
              <a:gd name="connsiteX4" fmla="*/ 54157 w 113911"/>
              <a:gd name="connsiteY4" fmla="*/ 78771 h 98277"/>
              <a:gd name="connsiteX5" fmla="*/ 43282 w 113911"/>
              <a:gd name="connsiteY5" fmla="*/ 73970 h 98277"/>
              <a:gd name="connsiteX6" fmla="*/ 37498 w 113911"/>
              <a:gd name="connsiteY6" fmla="*/ 76341 h 98277"/>
              <a:gd name="connsiteX7" fmla="*/ 10716 w 113911"/>
              <a:gd name="connsiteY7" fmla="*/ 85307 h 98277"/>
              <a:gd name="connsiteX8" fmla="*/ 535 w 113911"/>
              <a:gd name="connsiteY8" fmla="*/ 81721 h 98277"/>
              <a:gd name="connsiteX9" fmla="*/ -101 w 113911"/>
              <a:gd name="connsiteY9" fmla="*/ 80737 h 98277"/>
              <a:gd name="connsiteX10" fmla="*/ 478 w 113911"/>
              <a:gd name="connsiteY10" fmla="*/ 79754 h 98277"/>
              <a:gd name="connsiteX11" fmla="*/ 4700 w 113911"/>
              <a:gd name="connsiteY11" fmla="*/ 77267 h 98277"/>
              <a:gd name="connsiteX12" fmla="*/ 25987 w 113911"/>
              <a:gd name="connsiteY12" fmla="*/ 52856 h 98277"/>
              <a:gd name="connsiteX13" fmla="*/ 33044 w 113911"/>
              <a:gd name="connsiteY13" fmla="*/ 39610 h 98277"/>
              <a:gd name="connsiteX14" fmla="*/ 38481 w 113911"/>
              <a:gd name="connsiteY14" fmla="*/ 30702 h 98277"/>
              <a:gd name="connsiteX15" fmla="*/ 41026 w 113911"/>
              <a:gd name="connsiteY15" fmla="*/ 23356 h 98277"/>
              <a:gd name="connsiteX16" fmla="*/ 48199 w 113911"/>
              <a:gd name="connsiteY16" fmla="*/ 19885 h 98277"/>
              <a:gd name="connsiteX17" fmla="*/ 53231 w 113911"/>
              <a:gd name="connsiteY17" fmla="*/ 23934 h 98277"/>
              <a:gd name="connsiteX18" fmla="*/ 59016 w 113911"/>
              <a:gd name="connsiteY18" fmla="*/ 26942 h 98277"/>
              <a:gd name="connsiteX19" fmla="*/ 64453 w 113911"/>
              <a:gd name="connsiteY19" fmla="*/ 25149 h 98277"/>
              <a:gd name="connsiteX20" fmla="*/ 64048 w 113911"/>
              <a:gd name="connsiteY20" fmla="*/ 24050 h 98277"/>
              <a:gd name="connsiteX21" fmla="*/ 62544 w 113911"/>
              <a:gd name="connsiteY21" fmla="*/ 14217 h 98277"/>
              <a:gd name="connsiteX22" fmla="*/ 75964 w 113911"/>
              <a:gd name="connsiteY22" fmla="*/ 3226 h 98277"/>
              <a:gd name="connsiteX23" fmla="*/ 76890 w 113911"/>
              <a:gd name="connsiteY23" fmla="*/ 3226 h 98277"/>
              <a:gd name="connsiteX24" fmla="*/ 94995 w 113911"/>
              <a:gd name="connsiteY24" fmla="*/ 623 h 98277"/>
              <a:gd name="connsiteX25" fmla="*/ 104192 w 113911"/>
              <a:gd name="connsiteY25" fmla="*/ 2763 h 98277"/>
              <a:gd name="connsiteX26" fmla="*/ 106448 w 113911"/>
              <a:gd name="connsiteY26" fmla="*/ 3515 h 98277"/>
              <a:gd name="connsiteX27" fmla="*/ 109456 w 113911"/>
              <a:gd name="connsiteY27" fmla="*/ 623 h 98277"/>
              <a:gd name="connsiteX28" fmla="*/ 110555 w 113911"/>
              <a:gd name="connsiteY28" fmla="*/ -129 h 98277"/>
              <a:gd name="connsiteX29" fmla="*/ 110555 w 113911"/>
              <a:gd name="connsiteY29" fmla="*/ -129 h 98277"/>
              <a:gd name="connsiteX30" fmla="*/ 111596 w 113911"/>
              <a:gd name="connsiteY30" fmla="*/ 681 h 98277"/>
              <a:gd name="connsiteX31" fmla="*/ 112291 w 113911"/>
              <a:gd name="connsiteY31" fmla="*/ 20117 h 98277"/>
              <a:gd name="connsiteX32" fmla="*/ 100722 w 113911"/>
              <a:gd name="connsiteY32" fmla="*/ 30355 h 98277"/>
              <a:gd name="connsiteX33" fmla="*/ 98350 w 113911"/>
              <a:gd name="connsiteY33" fmla="*/ 31975 h 98277"/>
              <a:gd name="connsiteX34" fmla="*/ 100606 w 113911"/>
              <a:gd name="connsiteY34" fmla="*/ 34346 h 98277"/>
              <a:gd name="connsiteX35" fmla="*/ 107258 w 113911"/>
              <a:gd name="connsiteY35" fmla="*/ 47535 h 98277"/>
              <a:gd name="connsiteX36" fmla="*/ 104019 w 113911"/>
              <a:gd name="connsiteY36" fmla="*/ 50601 h 98277"/>
              <a:gd name="connsiteX37" fmla="*/ 101763 w 113911"/>
              <a:gd name="connsiteY37" fmla="*/ 55864 h 98277"/>
              <a:gd name="connsiteX38" fmla="*/ 85335 w 113911"/>
              <a:gd name="connsiteY38" fmla="*/ 64252 h 98277"/>
              <a:gd name="connsiteX39" fmla="*/ 84872 w 113911"/>
              <a:gd name="connsiteY39" fmla="*/ 64252 h 98277"/>
              <a:gd name="connsiteX40" fmla="*/ 84872 w 113911"/>
              <a:gd name="connsiteY40" fmla="*/ 67607 h 98277"/>
              <a:gd name="connsiteX41" fmla="*/ 84525 w 113911"/>
              <a:gd name="connsiteY41" fmla="*/ 76399 h 98277"/>
              <a:gd name="connsiteX42" fmla="*/ 82038 w 113911"/>
              <a:gd name="connsiteY42" fmla="*/ 91728 h 98277"/>
              <a:gd name="connsiteX43" fmla="*/ 81517 w 113911"/>
              <a:gd name="connsiteY43" fmla="*/ 97107 h 98277"/>
              <a:gd name="connsiteX44" fmla="*/ 80823 w 113911"/>
              <a:gd name="connsiteY44" fmla="*/ 97975 h 98277"/>
              <a:gd name="connsiteX45" fmla="*/ 43340 w 113911"/>
              <a:gd name="connsiteY45" fmla="*/ 71945 h 98277"/>
              <a:gd name="connsiteX46" fmla="*/ 55835 w 113911"/>
              <a:gd name="connsiteY46" fmla="*/ 77440 h 98277"/>
              <a:gd name="connsiteX47" fmla="*/ 63528 w 113911"/>
              <a:gd name="connsiteY47" fmla="*/ 82589 h 98277"/>
              <a:gd name="connsiteX48" fmla="*/ 75559 w 113911"/>
              <a:gd name="connsiteY48" fmla="*/ 90976 h 98277"/>
              <a:gd name="connsiteX49" fmla="*/ 79840 w 113911"/>
              <a:gd name="connsiteY49" fmla="*/ 94851 h 98277"/>
              <a:gd name="connsiteX50" fmla="*/ 80129 w 113911"/>
              <a:gd name="connsiteY50" fmla="*/ 91612 h 98277"/>
              <a:gd name="connsiteX51" fmla="*/ 82848 w 113911"/>
              <a:gd name="connsiteY51" fmla="*/ 75589 h 98277"/>
              <a:gd name="connsiteX52" fmla="*/ 82848 w 113911"/>
              <a:gd name="connsiteY52" fmla="*/ 68012 h 98277"/>
              <a:gd name="connsiteX53" fmla="*/ 82848 w 113911"/>
              <a:gd name="connsiteY53" fmla="*/ 62864 h 98277"/>
              <a:gd name="connsiteX54" fmla="*/ 85046 w 113911"/>
              <a:gd name="connsiteY54" fmla="*/ 61996 h 98277"/>
              <a:gd name="connsiteX55" fmla="*/ 99218 w 113911"/>
              <a:gd name="connsiteY55" fmla="*/ 55864 h 98277"/>
              <a:gd name="connsiteX56" fmla="*/ 102572 w 113911"/>
              <a:gd name="connsiteY56" fmla="*/ 48692 h 98277"/>
              <a:gd name="connsiteX57" fmla="*/ 105060 w 113911"/>
              <a:gd name="connsiteY57" fmla="*/ 46378 h 98277"/>
              <a:gd name="connsiteX58" fmla="*/ 98697 w 113911"/>
              <a:gd name="connsiteY58" fmla="*/ 35908 h 98277"/>
              <a:gd name="connsiteX59" fmla="*/ 96210 w 113911"/>
              <a:gd name="connsiteY59" fmla="*/ 33016 h 98277"/>
              <a:gd name="connsiteX60" fmla="*/ 95863 w 113911"/>
              <a:gd name="connsiteY60" fmla="*/ 31396 h 98277"/>
              <a:gd name="connsiteX61" fmla="*/ 99276 w 113911"/>
              <a:gd name="connsiteY61" fmla="*/ 28388 h 98277"/>
              <a:gd name="connsiteX62" fmla="*/ 109919 w 113911"/>
              <a:gd name="connsiteY62" fmla="*/ 18902 h 98277"/>
              <a:gd name="connsiteX63" fmla="*/ 109919 w 113911"/>
              <a:gd name="connsiteY63" fmla="*/ 3978 h 98277"/>
              <a:gd name="connsiteX64" fmla="*/ 102804 w 113911"/>
              <a:gd name="connsiteY64" fmla="*/ 4730 h 98277"/>
              <a:gd name="connsiteX65" fmla="*/ 94764 w 113911"/>
              <a:gd name="connsiteY65" fmla="*/ 2879 h 98277"/>
              <a:gd name="connsiteX66" fmla="*/ 77410 w 113911"/>
              <a:gd name="connsiteY66" fmla="*/ 5482 h 98277"/>
              <a:gd name="connsiteX67" fmla="*/ 76427 w 113911"/>
              <a:gd name="connsiteY67" fmla="*/ 5482 h 98277"/>
              <a:gd name="connsiteX68" fmla="*/ 64858 w 113911"/>
              <a:gd name="connsiteY68" fmla="*/ 15026 h 98277"/>
              <a:gd name="connsiteX69" fmla="*/ 65842 w 113911"/>
              <a:gd name="connsiteY69" fmla="*/ 22604 h 98277"/>
              <a:gd name="connsiteX70" fmla="*/ 66709 w 113911"/>
              <a:gd name="connsiteY70" fmla="*/ 26132 h 98277"/>
              <a:gd name="connsiteX71" fmla="*/ 59189 w 113911"/>
              <a:gd name="connsiteY71" fmla="*/ 29256 h 98277"/>
              <a:gd name="connsiteX72" fmla="*/ 51033 w 113911"/>
              <a:gd name="connsiteY72" fmla="*/ 24397 h 98277"/>
              <a:gd name="connsiteX73" fmla="*/ 48199 w 113911"/>
              <a:gd name="connsiteY73" fmla="*/ 22199 h 98277"/>
              <a:gd name="connsiteX74" fmla="*/ 42704 w 113911"/>
              <a:gd name="connsiteY74" fmla="*/ 24918 h 98277"/>
              <a:gd name="connsiteX75" fmla="*/ 40737 w 113911"/>
              <a:gd name="connsiteY75" fmla="*/ 30702 h 98277"/>
              <a:gd name="connsiteX76" fmla="*/ 34605 w 113911"/>
              <a:gd name="connsiteY76" fmla="*/ 41519 h 98277"/>
              <a:gd name="connsiteX77" fmla="*/ 28243 w 113911"/>
              <a:gd name="connsiteY77" fmla="*/ 53088 h 98277"/>
              <a:gd name="connsiteX78" fmla="*/ 5857 w 113911"/>
              <a:gd name="connsiteY78" fmla="*/ 79581 h 98277"/>
              <a:gd name="connsiteX79" fmla="*/ 3485 w 113911"/>
              <a:gd name="connsiteY79" fmla="*/ 81027 h 98277"/>
              <a:gd name="connsiteX80" fmla="*/ 10716 w 113911"/>
              <a:gd name="connsiteY80" fmla="*/ 83456 h 98277"/>
              <a:gd name="connsiteX81" fmla="*/ 35878 w 113911"/>
              <a:gd name="connsiteY81" fmla="*/ 75127 h 98277"/>
              <a:gd name="connsiteX82" fmla="*/ 43340 w 113911"/>
              <a:gd name="connsiteY82" fmla="*/ 71945 h 98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13911" h="98277">
                <a:moveTo>
                  <a:pt x="80708" y="98149"/>
                </a:moveTo>
                <a:cubicBezTo>
                  <a:pt x="80465" y="98137"/>
                  <a:pt x="80239" y="98033"/>
                  <a:pt x="80071" y="97859"/>
                </a:cubicBezTo>
                <a:cubicBezTo>
                  <a:pt x="77913" y="96246"/>
                  <a:pt x="75866" y="94487"/>
                  <a:pt x="73940" y="92595"/>
                </a:cubicBezTo>
                <a:cubicBezTo>
                  <a:pt x="70527" y="89327"/>
                  <a:pt x="66628" y="86609"/>
                  <a:pt x="62371" y="84555"/>
                </a:cubicBezTo>
                <a:cubicBezTo>
                  <a:pt x="59351" y="83063"/>
                  <a:pt x="56581" y="81113"/>
                  <a:pt x="54157" y="78771"/>
                </a:cubicBezTo>
                <a:cubicBezTo>
                  <a:pt x="51271" y="75855"/>
                  <a:pt x="47384" y="74137"/>
                  <a:pt x="43282" y="73970"/>
                </a:cubicBezTo>
                <a:cubicBezTo>
                  <a:pt x="41119" y="73970"/>
                  <a:pt x="39037" y="74820"/>
                  <a:pt x="37498" y="76341"/>
                </a:cubicBezTo>
                <a:cubicBezTo>
                  <a:pt x="29689" y="81975"/>
                  <a:pt x="20347" y="85105"/>
                  <a:pt x="10716" y="85307"/>
                </a:cubicBezTo>
                <a:cubicBezTo>
                  <a:pt x="7141" y="84717"/>
                  <a:pt x="3693" y="83502"/>
                  <a:pt x="535" y="81721"/>
                </a:cubicBezTo>
                <a:cubicBezTo>
                  <a:pt x="142" y="81553"/>
                  <a:pt x="-112" y="81166"/>
                  <a:pt x="-101" y="80737"/>
                </a:cubicBezTo>
                <a:cubicBezTo>
                  <a:pt x="-159" y="80315"/>
                  <a:pt x="84" y="79910"/>
                  <a:pt x="478" y="79754"/>
                </a:cubicBezTo>
                <a:lnTo>
                  <a:pt x="4700" y="77267"/>
                </a:lnTo>
                <a:cubicBezTo>
                  <a:pt x="14823" y="71482"/>
                  <a:pt x="26681" y="62227"/>
                  <a:pt x="25987" y="52856"/>
                </a:cubicBezTo>
                <a:cubicBezTo>
                  <a:pt x="26074" y="47564"/>
                  <a:pt x="28700" y="42635"/>
                  <a:pt x="33044" y="39610"/>
                </a:cubicBezTo>
                <a:cubicBezTo>
                  <a:pt x="36167" y="36718"/>
                  <a:pt x="38828" y="34173"/>
                  <a:pt x="38481" y="30702"/>
                </a:cubicBezTo>
                <a:cubicBezTo>
                  <a:pt x="38227" y="28001"/>
                  <a:pt x="39152" y="25323"/>
                  <a:pt x="41026" y="23356"/>
                </a:cubicBezTo>
                <a:cubicBezTo>
                  <a:pt x="42843" y="21268"/>
                  <a:pt x="45434" y="20012"/>
                  <a:pt x="48199" y="19885"/>
                </a:cubicBezTo>
                <a:cubicBezTo>
                  <a:pt x="50681" y="19706"/>
                  <a:pt x="52873" y="21476"/>
                  <a:pt x="53231" y="23934"/>
                </a:cubicBezTo>
                <a:cubicBezTo>
                  <a:pt x="53636" y="26132"/>
                  <a:pt x="56702" y="26942"/>
                  <a:pt x="59016" y="26942"/>
                </a:cubicBezTo>
                <a:cubicBezTo>
                  <a:pt x="61329" y="26942"/>
                  <a:pt x="64106" y="26017"/>
                  <a:pt x="64453" y="25149"/>
                </a:cubicBezTo>
                <a:cubicBezTo>
                  <a:pt x="64800" y="24281"/>
                  <a:pt x="64453" y="24513"/>
                  <a:pt x="64048" y="24050"/>
                </a:cubicBezTo>
                <a:cubicBezTo>
                  <a:pt x="61804" y="21285"/>
                  <a:pt x="61231" y="17525"/>
                  <a:pt x="62544" y="14217"/>
                </a:cubicBezTo>
                <a:cubicBezTo>
                  <a:pt x="64737" y="8420"/>
                  <a:pt x="69850" y="4233"/>
                  <a:pt x="75964" y="3226"/>
                </a:cubicBezTo>
                <a:lnTo>
                  <a:pt x="76890" y="3226"/>
                </a:lnTo>
                <a:cubicBezTo>
                  <a:pt x="82836" y="1815"/>
                  <a:pt x="88892" y="941"/>
                  <a:pt x="94995" y="623"/>
                </a:cubicBezTo>
                <a:cubicBezTo>
                  <a:pt x="98200" y="473"/>
                  <a:pt x="101381" y="1213"/>
                  <a:pt x="104192" y="2763"/>
                </a:cubicBezTo>
                <a:cubicBezTo>
                  <a:pt x="104863" y="3209"/>
                  <a:pt x="105644" y="3469"/>
                  <a:pt x="106448" y="3515"/>
                </a:cubicBezTo>
                <a:cubicBezTo>
                  <a:pt x="108068" y="3515"/>
                  <a:pt x="108993" y="1954"/>
                  <a:pt x="109456" y="623"/>
                </a:cubicBezTo>
                <a:cubicBezTo>
                  <a:pt x="109630" y="166"/>
                  <a:pt x="110069" y="-135"/>
                  <a:pt x="110555" y="-129"/>
                </a:cubicBezTo>
                <a:lnTo>
                  <a:pt x="110555" y="-129"/>
                </a:lnTo>
                <a:cubicBezTo>
                  <a:pt x="111041" y="-123"/>
                  <a:pt x="111469" y="207"/>
                  <a:pt x="111596" y="681"/>
                </a:cubicBezTo>
                <a:cubicBezTo>
                  <a:pt x="114315" y="10341"/>
                  <a:pt x="114488" y="16704"/>
                  <a:pt x="112291" y="20117"/>
                </a:cubicBezTo>
                <a:cubicBezTo>
                  <a:pt x="109312" y="24409"/>
                  <a:pt x="105343" y="27920"/>
                  <a:pt x="100722" y="30355"/>
                </a:cubicBezTo>
                <a:cubicBezTo>
                  <a:pt x="99738" y="30933"/>
                  <a:pt x="98466" y="31628"/>
                  <a:pt x="98350" y="31975"/>
                </a:cubicBezTo>
                <a:lnTo>
                  <a:pt x="100606" y="34346"/>
                </a:lnTo>
                <a:cubicBezTo>
                  <a:pt x="104366" y="38338"/>
                  <a:pt x="109572" y="43775"/>
                  <a:pt x="107258" y="47535"/>
                </a:cubicBezTo>
                <a:cubicBezTo>
                  <a:pt x="106495" y="48848"/>
                  <a:pt x="105372" y="49912"/>
                  <a:pt x="104019" y="50601"/>
                </a:cubicBezTo>
                <a:cubicBezTo>
                  <a:pt x="102630" y="51468"/>
                  <a:pt x="101763" y="51931"/>
                  <a:pt x="101763" y="55864"/>
                </a:cubicBezTo>
                <a:cubicBezTo>
                  <a:pt x="101763" y="64252"/>
                  <a:pt x="89384" y="64252"/>
                  <a:pt x="85335" y="64252"/>
                </a:cubicBezTo>
                <a:lnTo>
                  <a:pt x="84872" y="64252"/>
                </a:lnTo>
                <a:cubicBezTo>
                  <a:pt x="84658" y="65363"/>
                  <a:pt x="84658" y="66496"/>
                  <a:pt x="84872" y="67607"/>
                </a:cubicBezTo>
                <a:cubicBezTo>
                  <a:pt x="85647" y="70505"/>
                  <a:pt x="85532" y="73570"/>
                  <a:pt x="84525" y="76399"/>
                </a:cubicBezTo>
                <a:cubicBezTo>
                  <a:pt x="83021" y="81374"/>
                  <a:pt x="82183" y="86528"/>
                  <a:pt x="82038" y="91728"/>
                </a:cubicBezTo>
                <a:cubicBezTo>
                  <a:pt x="82038" y="93752"/>
                  <a:pt x="81691" y="95603"/>
                  <a:pt x="81517" y="97107"/>
                </a:cubicBezTo>
                <a:cubicBezTo>
                  <a:pt x="81431" y="97489"/>
                  <a:pt x="81176" y="97807"/>
                  <a:pt x="80823" y="97975"/>
                </a:cubicBezTo>
                <a:close/>
                <a:moveTo>
                  <a:pt x="43340" y="71945"/>
                </a:moveTo>
                <a:cubicBezTo>
                  <a:pt x="48054" y="72119"/>
                  <a:pt x="52520" y="74085"/>
                  <a:pt x="55835" y="77440"/>
                </a:cubicBezTo>
                <a:cubicBezTo>
                  <a:pt x="58137" y="79523"/>
                  <a:pt x="60728" y="81258"/>
                  <a:pt x="63528" y="82589"/>
                </a:cubicBezTo>
                <a:cubicBezTo>
                  <a:pt x="67947" y="84746"/>
                  <a:pt x="72008" y="87575"/>
                  <a:pt x="75559" y="90976"/>
                </a:cubicBezTo>
                <a:cubicBezTo>
                  <a:pt x="76832" y="92248"/>
                  <a:pt x="78162" y="93463"/>
                  <a:pt x="79840" y="94851"/>
                </a:cubicBezTo>
                <a:cubicBezTo>
                  <a:pt x="79840" y="93868"/>
                  <a:pt x="79840" y="92769"/>
                  <a:pt x="80129" y="91612"/>
                </a:cubicBezTo>
                <a:cubicBezTo>
                  <a:pt x="80274" y="86169"/>
                  <a:pt x="81193" y="80778"/>
                  <a:pt x="82848" y="75589"/>
                </a:cubicBezTo>
                <a:cubicBezTo>
                  <a:pt x="83513" y="73108"/>
                  <a:pt x="83513" y="70493"/>
                  <a:pt x="82848" y="68012"/>
                </a:cubicBezTo>
                <a:cubicBezTo>
                  <a:pt x="82501" y="65756"/>
                  <a:pt x="82212" y="64020"/>
                  <a:pt x="82848" y="62864"/>
                </a:cubicBezTo>
                <a:cubicBezTo>
                  <a:pt x="83415" y="62262"/>
                  <a:pt x="84219" y="61944"/>
                  <a:pt x="85046" y="61996"/>
                </a:cubicBezTo>
                <a:cubicBezTo>
                  <a:pt x="91119" y="61996"/>
                  <a:pt x="99218" y="61360"/>
                  <a:pt x="99218" y="55864"/>
                </a:cubicBezTo>
                <a:cubicBezTo>
                  <a:pt x="99218" y="50369"/>
                  <a:pt x="100606" y="50080"/>
                  <a:pt x="102572" y="48692"/>
                </a:cubicBezTo>
                <a:cubicBezTo>
                  <a:pt x="103602" y="48165"/>
                  <a:pt x="104464" y="47367"/>
                  <a:pt x="105060" y="46378"/>
                </a:cubicBezTo>
                <a:cubicBezTo>
                  <a:pt x="106448" y="44064"/>
                  <a:pt x="101416" y="38742"/>
                  <a:pt x="98697" y="35908"/>
                </a:cubicBezTo>
                <a:cubicBezTo>
                  <a:pt x="97777" y="35023"/>
                  <a:pt x="96944" y="34057"/>
                  <a:pt x="96210" y="33016"/>
                </a:cubicBezTo>
                <a:cubicBezTo>
                  <a:pt x="95845" y="32559"/>
                  <a:pt x="95718" y="31963"/>
                  <a:pt x="95863" y="31396"/>
                </a:cubicBezTo>
                <a:cubicBezTo>
                  <a:pt x="95863" y="30239"/>
                  <a:pt x="97367" y="29487"/>
                  <a:pt x="99276" y="28388"/>
                </a:cubicBezTo>
                <a:cubicBezTo>
                  <a:pt x="103539" y="26138"/>
                  <a:pt x="107194" y="22882"/>
                  <a:pt x="109919" y="18902"/>
                </a:cubicBezTo>
                <a:cubicBezTo>
                  <a:pt x="111076" y="17109"/>
                  <a:pt x="111886" y="13117"/>
                  <a:pt x="109919" y="3978"/>
                </a:cubicBezTo>
                <a:cubicBezTo>
                  <a:pt x="108137" y="6107"/>
                  <a:pt x="104991" y="6436"/>
                  <a:pt x="102804" y="4730"/>
                </a:cubicBezTo>
                <a:cubicBezTo>
                  <a:pt x="100346" y="3388"/>
                  <a:pt x="97563" y="2752"/>
                  <a:pt x="94764" y="2879"/>
                </a:cubicBezTo>
                <a:cubicBezTo>
                  <a:pt x="88916" y="3226"/>
                  <a:pt x="83108" y="4100"/>
                  <a:pt x="77410" y="5482"/>
                </a:cubicBezTo>
                <a:lnTo>
                  <a:pt x="76427" y="5482"/>
                </a:lnTo>
                <a:cubicBezTo>
                  <a:pt x="71140" y="6367"/>
                  <a:pt x="66732" y="10005"/>
                  <a:pt x="64858" y="15026"/>
                </a:cubicBezTo>
                <a:cubicBezTo>
                  <a:pt x="63857" y="17554"/>
                  <a:pt x="64228" y="20417"/>
                  <a:pt x="65842" y="22604"/>
                </a:cubicBezTo>
                <a:cubicBezTo>
                  <a:pt x="66871" y="23466"/>
                  <a:pt x="67224" y="24895"/>
                  <a:pt x="66709" y="26132"/>
                </a:cubicBezTo>
                <a:cubicBezTo>
                  <a:pt x="65784" y="28273"/>
                  <a:pt x="62255" y="29256"/>
                  <a:pt x="59189" y="29256"/>
                </a:cubicBezTo>
                <a:cubicBezTo>
                  <a:pt x="54678" y="29256"/>
                  <a:pt x="51554" y="27405"/>
                  <a:pt x="51033" y="24397"/>
                </a:cubicBezTo>
                <a:cubicBezTo>
                  <a:pt x="50825" y="23026"/>
                  <a:pt x="49576" y="22060"/>
                  <a:pt x="48199" y="22199"/>
                </a:cubicBezTo>
                <a:cubicBezTo>
                  <a:pt x="46076" y="22326"/>
                  <a:pt x="44092" y="23304"/>
                  <a:pt x="42704" y="24918"/>
                </a:cubicBezTo>
                <a:cubicBezTo>
                  <a:pt x="41217" y="26456"/>
                  <a:pt x="40500" y="28579"/>
                  <a:pt x="40737" y="30702"/>
                </a:cubicBezTo>
                <a:cubicBezTo>
                  <a:pt x="41200" y="35272"/>
                  <a:pt x="37845" y="38453"/>
                  <a:pt x="34605" y="41519"/>
                </a:cubicBezTo>
                <a:cubicBezTo>
                  <a:pt x="30753" y="44134"/>
                  <a:pt x="28387" y="48437"/>
                  <a:pt x="28243" y="53088"/>
                </a:cubicBezTo>
                <a:cubicBezTo>
                  <a:pt x="29053" y="63616"/>
                  <a:pt x="16674" y="73333"/>
                  <a:pt x="5857" y="79581"/>
                </a:cubicBezTo>
                <a:lnTo>
                  <a:pt x="3485" y="81027"/>
                </a:lnTo>
                <a:cubicBezTo>
                  <a:pt x="5770" y="82172"/>
                  <a:pt x="8206" y="82988"/>
                  <a:pt x="10716" y="83456"/>
                </a:cubicBezTo>
                <a:cubicBezTo>
                  <a:pt x="19740" y="83219"/>
                  <a:pt x="28497" y="80321"/>
                  <a:pt x="35878" y="75127"/>
                </a:cubicBezTo>
                <a:cubicBezTo>
                  <a:pt x="37845" y="73119"/>
                  <a:pt x="40529" y="71974"/>
                  <a:pt x="43340" y="7194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8" name="Forma libre: forma 347">
            <a:extLst>
              <a:ext uri="{FF2B5EF4-FFF2-40B4-BE49-F238E27FC236}">
                <a16:creationId xmlns:a16="http://schemas.microsoft.com/office/drawing/2014/main" id="{EAE5E330-A937-469E-239A-D99F9934F392}"/>
              </a:ext>
            </a:extLst>
          </p:cNvPr>
          <p:cNvSpPr/>
          <p:nvPr/>
        </p:nvSpPr>
        <p:spPr>
          <a:xfrm>
            <a:off x="6346490" y="2969404"/>
            <a:ext cx="20320" cy="27480"/>
          </a:xfrm>
          <a:custGeom>
            <a:avLst/>
            <a:gdLst>
              <a:gd name="connsiteX0" fmla="*/ 18881 w 20320"/>
              <a:gd name="connsiteY0" fmla="*/ 27341 h 27480"/>
              <a:gd name="connsiteX1" fmla="*/ 18418 w 20320"/>
              <a:gd name="connsiteY1" fmla="*/ 27341 h 27480"/>
              <a:gd name="connsiteX2" fmla="*/ 2395 w 20320"/>
              <a:gd name="connsiteY2" fmla="*/ 25375 h 27480"/>
              <a:gd name="connsiteX3" fmla="*/ 1065 w 20320"/>
              <a:gd name="connsiteY3" fmla="*/ 25375 h 27480"/>
              <a:gd name="connsiteX4" fmla="*/ -34 w 20320"/>
              <a:gd name="connsiteY4" fmla="*/ 24333 h 27480"/>
              <a:gd name="connsiteX5" fmla="*/ 10088 w 20320"/>
              <a:gd name="connsiteY5" fmla="*/ 97 h 27480"/>
              <a:gd name="connsiteX6" fmla="*/ 11419 w 20320"/>
              <a:gd name="connsiteY6" fmla="*/ 97 h 27480"/>
              <a:gd name="connsiteX7" fmla="*/ 11419 w 20320"/>
              <a:gd name="connsiteY7" fmla="*/ 1427 h 27480"/>
              <a:gd name="connsiteX8" fmla="*/ 11419 w 20320"/>
              <a:gd name="connsiteY8" fmla="*/ 3047 h 27480"/>
              <a:gd name="connsiteX9" fmla="*/ 12807 w 20320"/>
              <a:gd name="connsiteY9" fmla="*/ 5129 h 27480"/>
              <a:gd name="connsiteX10" fmla="*/ 20211 w 20320"/>
              <a:gd name="connsiteY10" fmla="*/ 26069 h 27480"/>
              <a:gd name="connsiteX11" fmla="*/ 19806 w 20320"/>
              <a:gd name="connsiteY11" fmla="*/ 27052 h 27480"/>
              <a:gd name="connsiteX12" fmla="*/ 18881 w 20320"/>
              <a:gd name="connsiteY12" fmla="*/ 27341 h 27480"/>
              <a:gd name="connsiteX13" fmla="*/ 2569 w 20320"/>
              <a:gd name="connsiteY13" fmla="*/ 23061 h 27480"/>
              <a:gd name="connsiteX14" fmla="*/ 17608 w 20320"/>
              <a:gd name="connsiteY14" fmla="*/ 24738 h 27480"/>
              <a:gd name="connsiteX15" fmla="*/ 10782 w 20320"/>
              <a:gd name="connsiteY15" fmla="*/ 6517 h 27480"/>
              <a:gd name="connsiteX16" fmla="*/ 9220 w 20320"/>
              <a:gd name="connsiteY16" fmla="*/ 4088 h 27480"/>
              <a:gd name="connsiteX17" fmla="*/ 9220 w 20320"/>
              <a:gd name="connsiteY17" fmla="*/ 3336 h 27480"/>
              <a:gd name="connsiteX18" fmla="*/ 2222 w 20320"/>
              <a:gd name="connsiteY18" fmla="*/ 23061 h 2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320" h="27480">
                <a:moveTo>
                  <a:pt x="18881" y="27341"/>
                </a:moveTo>
                <a:lnTo>
                  <a:pt x="18418" y="27341"/>
                </a:lnTo>
                <a:cubicBezTo>
                  <a:pt x="13183" y="26017"/>
                  <a:pt x="7798" y="25357"/>
                  <a:pt x="2395" y="25375"/>
                </a:cubicBezTo>
                <a:lnTo>
                  <a:pt x="1065" y="25375"/>
                </a:lnTo>
                <a:cubicBezTo>
                  <a:pt x="480" y="25375"/>
                  <a:pt x="-6" y="24918"/>
                  <a:pt x="-34" y="24333"/>
                </a:cubicBezTo>
                <a:cubicBezTo>
                  <a:pt x="-844" y="9409"/>
                  <a:pt x="5056" y="2873"/>
                  <a:pt x="10088" y="97"/>
                </a:cubicBezTo>
                <a:cubicBezTo>
                  <a:pt x="10482" y="-204"/>
                  <a:pt x="11025" y="-204"/>
                  <a:pt x="11419" y="97"/>
                </a:cubicBezTo>
                <a:cubicBezTo>
                  <a:pt x="11696" y="496"/>
                  <a:pt x="11696" y="1028"/>
                  <a:pt x="11419" y="1427"/>
                </a:cubicBezTo>
                <a:cubicBezTo>
                  <a:pt x="11170" y="1936"/>
                  <a:pt x="11170" y="2538"/>
                  <a:pt x="11419" y="3047"/>
                </a:cubicBezTo>
                <a:cubicBezTo>
                  <a:pt x="11812" y="3787"/>
                  <a:pt x="12275" y="4481"/>
                  <a:pt x="12807" y="5129"/>
                </a:cubicBezTo>
                <a:cubicBezTo>
                  <a:pt x="17290" y="11226"/>
                  <a:pt x="19864" y="18508"/>
                  <a:pt x="20211" y="26069"/>
                </a:cubicBezTo>
                <a:cubicBezTo>
                  <a:pt x="20188" y="26433"/>
                  <a:pt x="20049" y="26780"/>
                  <a:pt x="19806" y="27052"/>
                </a:cubicBezTo>
                <a:cubicBezTo>
                  <a:pt x="19558" y="27278"/>
                  <a:pt x="19216" y="27387"/>
                  <a:pt x="18881" y="27341"/>
                </a:cubicBezTo>
                <a:close/>
                <a:moveTo>
                  <a:pt x="2569" y="23061"/>
                </a:moveTo>
                <a:cubicBezTo>
                  <a:pt x="7630" y="23038"/>
                  <a:pt x="12674" y="23604"/>
                  <a:pt x="17608" y="24738"/>
                </a:cubicBezTo>
                <a:cubicBezTo>
                  <a:pt x="17099" y="18144"/>
                  <a:pt x="14733" y="11827"/>
                  <a:pt x="10782" y="6517"/>
                </a:cubicBezTo>
                <a:cubicBezTo>
                  <a:pt x="10221" y="5736"/>
                  <a:pt x="9701" y="4927"/>
                  <a:pt x="9220" y="4088"/>
                </a:cubicBezTo>
                <a:cubicBezTo>
                  <a:pt x="9198" y="3839"/>
                  <a:pt x="9198" y="3585"/>
                  <a:pt x="9220" y="3336"/>
                </a:cubicBezTo>
                <a:cubicBezTo>
                  <a:pt x="3801" y="8368"/>
                  <a:pt x="1186" y="15738"/>
                  <a:pt x="2222" y="2306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49" name="Forma libre: forma 348">
            <a:extLst>
              <a:ext uri="{FF2B5EF4-FFF2-40B4-BE49-F238E27FC236}">
                <a16:creationId xmlns:a16="http://schemas.microsoft.com/office/drawing/2014/main" id="{8FBBB78D-D552-87D0-4691-1F2C89CE9BC8}"/>
              </a:ext>
            </a:extLst>
          </p:cNvPr>
          <p:cNvSpPr/>
          <p:nvPr/>
        </p:nvSpPr>
        <p:spPr>
          <a:xfrm>
            <a:off x="6255833" y="2920112"/>
            <a:ext cx="107743" cy="75720"/>
          </a:xfrm>
          <a:custGeom>
            <a:avLst/>
            <a:gdLst>
              <a:gd name="connsiteX0" fmla="*/ 86284 w 107743"/>
              <a:gd name="connsiteY0" fmla="*/ 75360 h 75720"/>
              <a:gd name="connsiteX1" fmla="*/ 79284 w 107743"/>
              <a:gd name="connsiteY1" fmla="*/ 70328 h 75720"/>
              <a:gd name="connsiteX2" fmla="*/ 73500 w 107743"/>
              <a:gd name="connsiteY2" fmla="*/ 66221 h 75720"/>
              <a:gd name="connsiteX3" fmla="*/ 64245 w 107743"/>
              <a:gd name="connsiteY3" fmla="*/ 52396 h 75720"/>
              <a:gd name="connsiteX4" fmla="*/ 64245 w 107743"/>
              <a:gd name="connsiteY4" fmla="*/ 52107 h 75720"/>
              <a:gd name="connsiteX5" fmla="*/ 60427 w 107743"/>
              <a:gd name="connsiteY5" fmla="*/ 54883 h 75720"/>
              <a:gd name="connsiteX6" fmla="*/ 53775 w 107743"/>
              <a:gd name="connsiteY6" fmla="*/ 59453 h 75720"/>
              <a:gd name="connsiteX7" fmla="*/ 44289 w 107743"/>
              <a:gd name="connsiteY7" fmla="*/ 49504 h 75720"/>
              <a:gd name="connsiteX8" fmla="*/ 33645 w 107743"/>
              <a:gd name="connsiteY8" fmla="*/ 42794 h 75720"/>
              <a:gd name="connsiteX9" fmla="*/ 27861 w 107743"/>
              <a:gd name="connsiteY9" fmla="*/ 40018 h 75720"/>
              <a:gd name="connsiteX10" fmla="*/ 21556 w 107743"/>
              <a:gd name="connsiteY10" fmla="*/ 34811 h 75720"/>
              <a:gd name="connsiteX11" fmla="*/ 15771 w 107743"/>
              <a:gd name="connsiteY11" fmla="*/ 30647 h 75720"/>
              <a:gd name="connsiteX12" fmla="*/ 15135 w 107743"/>
              <a:gd name="connsiteY12" fmla="*/ 31110 h 75720"/>
              <a:gd name="connsiteX13" fmla="*/ 12706 w 107743"/>
              <a:gd name="connsiteY13" fmla="*/ 32671 h 75720"/>
              <a:gd name="connsiteX14" fmla="*/ 3393 w 107743"/>
              <a:gd name="connsiteY14" fmla="*/ 20408 h 75720"/>
              <a:gd name="connsiteX15" fmla="*/ 2178 w 107743"/>
              <a:gd name="connsiteY15" fmla="*/ 18847 h 75720"/>
              <a:gd name="connsiteX16" fmla="*/ 38 w 107743"/>
              <a:gd name="connsiteY16" fmla="*/ 17343 h 75720"/>
              <a:gd name="connsiteX17" fmla="*/ 38 w 107743"/>
              <a:gd name="connsiteY17" fmla="*/ 16244 h 75720"/>
              <a:gd name="connsiteX18" fmla="*/ 848 w 107743"/>
              <a:gd name="connsiteY18" fmla="*/ 15549 h 75720"/>
              <a:gd name="connsiteX19" fmla="*/ 18722 w 107743"/>
              <a:gd name="connsiteY19" fmla="*/ 7856 h 75720"/>
              <a:gd name="connsiteX20" fmla="*/ 19763 w 107743"/>
              <a:gd name="connsiteY20" fmla="*/ 7856 h 75720"/>
              <a:gd name="connsiteX21" fmla="*/ 29018 w 107743"/>
              <a:gd name="connsiteY21" fmla="*/ 11211 h 75720"/>
              <a:gd name="connsiteX22" fmla="*/ 54180 w 107743"/>
              <a:gd name="connsiteY22" fmla="*/ 2882 h 75720"/>
              <a:gd name="connsiteX23" fmla="*/ 61816 w 107743"/>
              <a:gd name="connsiteY23" fmla="*/ -126 h 75720"/>
              <a:gd name="connsiteX24" fmla="*/ 74310 w 107743"/>
              <a:gd name="connsiteY24" fmla="*/ 5369 h 75720"/>
              <a:gd name="connsiteX25" fmla="*/ 82003 w 107743"/>
              <a:gd name="connsiteY25" fmla="*/ 10517 h 75720"/>
              <a:gd name="connsiteX26" fmla="*/ 94035 w 107743"/>
              <a:gd name="connsiteY26" fmla="*/ 18904 h 75720"/>
              <a:gd name="connsiteX27" fmla="*/ 99819 w 107743"/>
              <a:gd name="connsiteY27" fmla="*/ 23995 h 75720"/>
              <a:gd name="connsiteX28" fmla="*/ 100282 w 107743"/>
              <a:gd name="connsiteY28" fmla="*/ 25036 h 75720"/>
              <a:gd name="connsiteX29" fmla="*/ 100282 w 107743"/>
              <a:gd name="connsiteY29" fmla="*/ 25904 h 75720"/>
              <a:gd name="connsiteX30" fmla="*/ 103984 w 107743"/>
              <a:gd name="connsiteY30" fmla="*/ 34291 h 75720"/>
              <a:gd name="connsiteX31" fmla="*/ 107570 w 107743"/>
              <a:gd name="connsiteY31" fmla="*/ 42968 h 75720"/>
              <a:gd name="connsiteX32" fmla="*/ 104100 w 107743"/>
              <a:gd name="connsiteY32" fmla="*/ 48752 h 75720"/>
              <a:gd name="connsiteX33" fmla="*/ 101960 w 107743"/>
              <a:gd name="connsiteY33" fmla="*/ 51471 h 75720"/>
              <a:gd name="connsiteX34" fmla="*/ 101497 w 107743"/>
              <a:gd name="connsiteY34" fmla="*/ 51934 h 75720"/>
              <a:gd name="connsiteX35" fmla="*/ 92531 w 107743"/>
              <a:gd name="connsiteY35" fmla="*/ 74088 h 75720"/>
              <a:gd name="connsiteX36" fmla="*/ 92531 w 107743"/>
              <a:gd name="connsiteY36" fmla="*/ 74898 h 75720"/>
              <a:gd name="connsiteX37" fmla="*/ 91721 w 107743"/>
              <a:gd name="connsiteY37" fmla="*/ 75245 h 75720"/>
              <a:gd name="connsiteX38" fmla="*/ 87498 w 107743"/>
              <a:gd name="connsiteY38" fmla="*/ 75592 h 75720"/>
              <a:gd name="connsiteX39" fmla="*/ 74136 w 107743"/>
              <a:gd name="connsiteY39" fmla="*/ 63792 h 75720"/>
              <a:gd name="connsiteX40" fmla="*/ 81078 w 107743"/>
              <a:gd name="connsiteY40" fmla="*/ 68882 h 75720"/>
              <a:gd name="connsiteX41" fmla="*/ 86862 w 107743"/>
              <a:gd name="connsiteY41" fmla="*/ 72989 h 75720"/>
              <a:gd name="connsiteX42" fmla="*/ 90275 w 107743"/>
              <a:gd name="connsiteY42" fmla="*/ 72642 h 75720"/>
              <a:gd name="connsiteX43" fmla="*/ 100166 w 107743"/>
              <a:gd name="connsiteY43" fmla="*/ 49504 h 75720"/>
              <a:gd name="connsiteX44" fmla="*/ 102480 w 107743"/>
              <a:gd name="connsiteY44" fmla="*/ 46670 h 75720"/>
              <a:gd name="connsiteX45" fmla="*/ 105372 w 107743"/>
              <a:gd name="connsiteY45" fmla="*/ 42216 h 75720"/>
              <a:gd name="connsiteX46" fmla="*/ 102133 w 107743"/>
              <a:gd name="connsiteY46" fmla="*/ 35216 h 75720"/>
              <a:gd name="connsiteX47" fmla="*/ 98142 w 107743"/>
              <a:gd name="connsiteY47" fmla="*/ 25325 h 75720"/>
              <a:gd name="connsiteX48" fmla="*/ 98142 w 107743"/>
              <a:gd name="connsiteY48" fmla="*/ 25325 h 75720"/>
              <a:gd name="connsiteX49" fmla="*/ 92357 w 107743"/>
              <a:gd name="connsiteY49" fmla="*/ 20408 h 75720"/>
              <a:gd name="connsiteX50" fmla="*/ 80788 w 107743"/>
              <a:gd name="connsiteY50" fmla="*/ 12368 h 75720"/>
              <a:gd name="connsiteX51" fmla="*/ 72575 w 107743"/>
              <a:gd name="connsiteY51" fmla="*/ 6583 h 75720"/>
              <a:gd name="connsiteX52" fmla="*/ 61700 w 107743"/>
              <a:gd name="connsiteY52" fmla="*/ 1782 h 75720"/>
              <a:gd name="connsiteX53" fmla="*/ 55915 w 107743"/>
              <a:gd name="connsiteY53" fmla="*/ 4154 h 75720"/>
              <a:gd name="connsiteX54" fmla="*/ 29133 w 107743"/>
              <a:gd name="connsiteY54" fmla="*/ 13120 h 75720"/>
              <a:gd name="connsiteX55" fmla="*/ 19474 w 107743"/>
              <a:gd name="connsiteY55" fmla="*/ 9823 h 75720"/>
              <a:gd name="connsiteX56" fmla="*/ 3971 w 107743"/>
              <a:gd name="connsiteY56" fmla="*/ 16822 h 75720"/>
              <a:gd name="connsiteX57" fmla="*/ 5880 w 107743"/>
              <a:gd name="connsiteY57" fmla="*/ 19772 h 75720"/>
              <a:gd name="connsiteX58" fmla="*/ 12937 w 107743"/>
              <a:gd name="connsiteY58" fmla="*/ 30126 h 75720"/>
              <a:gd name="connsiteX59" fmla="*/ 13400 w 107743"/>
              <a:gd name="connsiteY59" fmla="*/ 29721 h 75720"/>
              <a:gd name="connsiteX60" fmla="*/ 16003 w 107743"/>
              <a:gd name="connsiteY60" fmla="*/ 28102 h 75720"/>
              <a:gd name="connsiteX61" fmla="*/ 23118 w 107743"/>
              <a:gd name="connsiteY61" fmla="*/ 32903 h 75720"/>
              <a:gd name="connsiteX62" fmla="*/ 28902 w 107743"/>
              <a:gd name="connsiteY62" fmla="*/ 37762 h 75720"/>
              <a:gd name="connsiteX63" fmla="*/ 34687 w 107743"/>
              <a:gd name="connsiteY63" fmla="*/ 40480 h 75720"/>
              <a:gd name="connsiteX64" fmla="*/ 46603 w 107743"/>
              <a:gd name="connsiteY64" fmla="*/ 48868 h 75720"/>
              <a:gd name="connsiteX65" fmla="*/ 51404 w 107743"/>
              <a:gd name="connsiteY65" fmla="*/ 57429 h 75720"/>
              <a:gd name="connsiteX66" fmla="*/ 52907 w 107743"/>
              <a:gd name="connsiteY66" fmla="*/ 57082 h 75720"/>
              <a:gd name="connsiteX67" fmla="*/ 59097 w 107743"/>
              <a:gd name="connsiteY67" fmla="*/ 52801 h 75720"/>
              <a:gd name="connsiteX68" fmla="*/ 64592 w 107743"/>
              <a:gd name="connsiteY68" fmla="*/ 49446 h 75720"/>
              <a:gd name="connsiteX69" fmla="*/ 66559 w 107743"/>
              <a:gd name="connsiteY69" fmla="*/ 52107 h 75720"/>
              <a:gd name="connsiteX70" fmla="*/ 72343 w 107743"/>
              <a:gd name="connsiteY70" fmla="*/ 63676 h 75720"/>
              <a:gd name="connsiteX71" fmla="*/ 73153 w 107743"/>
              <a:gd name="connsiteY71" fmla="*/ 63676 h 75720"/>
              <a:gd name="connsiteX72" fmla="*/ 74368 w 107743"/>
              <a:gd name="connsiteY72" fmla="*/ 63792 h 7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07743" h="75720">
                <a:moveTo>
                  <a:pt x="86284" y="75360"/>
                </a:moveTo>
                <a:cubicBezTo>
                  <a:pt x="83160" y="75360"/>
                  <a:pt x="81193" y="72815"/>
                  <a:pt x="79284" y="70328"/>
                </a:cubicBezTo>
                <a:cubicBezTo>
                  <a:pt x="77376" y="67841"/>
                  <a:pt x="75698" y="65700"/>
                  <a:pt x="73500" y="66221"/>
                </a:cubicBezTo>
                <a:cubicBezTo>
                  <a:pt x="66616" y="67609"/>
                  <a:pt x="64245" y="58354"/>
                  <a:pt x="64245" y="52396"/>
                </a:cubicBezTo>
                <a:lnTo>
                  <a:pt x="64245" y="52107"/>
                </a:lnTo>
                <a:cubicBezTo>
                  <a:pt x="62886" y="52905"/>
                  <a:pt x="61607" y="53836"/>
                  <a:pt x="60427" y="54883"/>
                </a:cubicBezTo>
                <a:cubicBezTo>
                  <a:pt x="58380" y="56642"/>
                  <a:pt x="56147" y="58169"/>
                  <a:pt x="53775" y="59453"/>
                </a:cubicBezTo>
                <a:cubicBezTo>
                  <a:pt x="49206" y="61478"/>
                  <a:pt x="45677" y="57891"/>
                  <a:pt x="44289" y="49504"/>
                </a:cubicBezTo>
                <a:cubicBezTo>
                  <a:pt x="43942" y="47537"/>
                  <a:pt x="37984" y="44819"/>
                  <a:pt x="33645" y="42794"/>
                </a:cubicBezTo>
                <a:cubicBezTo>
                  <a:pt x="31661" y="41984"/>
                  <a:pt x="29729" y="41059"/>
                  <a:pt x="27861" y="40018"/>
                </a:cubicBezTo>
                <a:cubicBezTo>
                  <a:pt x="25559" y="38543"/>
                  <a:pt x="23442" y="36796"/>
                  <a:pt x="21556" y="34811"/>
                </a:cubicBezTo>
                <a:cubicBezTo>
                  <a:pt x="19531" y="32845"/>
                  <a:pt x="17218" y="30647"/>
                  <a:pt x="15771" y="30647"/>
                </a:cubicBezTo>
                <a:cubicBezTo>
                  <a:pt x="15771" y="30647"/>
                  <a:pt x="15424" y="30647"/>
                  <a:pt x="15135" y="31110"/>
                </a:cubicBezTo>
                <a:cubicBezTo>
                  <a:pt x="14690" y="32052"/>
                  <a:pt x="13747" y="32660"/>
                  <a:pt x="12706" y="32671"/>
                </a:cubicBezTo>
                <a:cubicBezTo>
                  <a:pt x="8888" y="32671"/>
                  <a:pt x="3913" y="24226"/>
                  <a:pt x="3393" y="20408"/>
                </a:cubicBezTo>
                <a:cubicBezTo>
                  <a:pt x="3410" y="19662"/>
                  <a:pt x="2901" y="19014"/>
                  <a:pt x="2178" y="18847"/>
                </a:cubicBezTo>
                <a:cubicBezTo>
                  <a:pt x="1322" y="18580"/>
                  <a:pt x="576" y="18054"/>
                  <a:pt x="38" y="17343"/>
                </a:cubicBezTo>
                <a:cubicBezTo>
                  <a:pt x="-159" y="17001"/>
                  <a:pt x="-159" y="16585"/>
                  <a:pt x="38" y="16244"/>
                </a:cubicBezTo>
                <a:cubicBezTo>
                  <a:pt x="148" y="15873"/>
                  <a:pt x="466" y="15601"/>
                  <a:pt x="848" y="15549"/>
                </a:cubicBezTo>
                <a:cubicBezTo>
                  <a:pt x="7170" y="13930"/>
                  <a:pt x="13197" y="11333"/>
                  <a:pt x="18722" y="7856"/>
                </a:cubicBezTo>
                <a:cubicBezTo>
                  <a:pt x="19045" y="7683"/>
                  <a:pt x="19439" y="7683"/>
                  <a:pt x="19763" y="7856"/>
                </a:cubicBezTo>
                <a:cubicBezTo>
                  <a:pt x="22667" y="9418"/>
                  <a:pt x="25784" y="10546"/>
                  <a:pt x="29018" y="11211"/>
                </a:cubicBezTo>
                <a:cubicBezTo>
                  <a:pt x="38041" y="10974"/>
                  <a:pt x="46799" y="8076"/>
                  <a:pt x="54180" y="2882"/>
                </a:cubicBezTo>
                <a:cubicBezTo>
                  <a:pt x="56216" y="892"/>
                  <a:pt x="58970" y="-190"/>
                  <a:pt x="61816" y="-126"/>
                </a:cubicBezTo>
                <a:cubicBezTo>
                  <a:pt x="66530" y="47"/>
                  <a:pt x="70995" y="2014"/>
                  <a:pt x="74310" y="5369"/>
                </a:cubicBezTo>
                <a:cubicBezTo>
                  <a:pt x="76612" y="7451"/>
                  <a:pt x="79203" y="9187"/>
                  <a:pt x="82003" y="10517"/>
                </a:cubicBezTo>
                <a:cubicBezTo>
                  <a:pt x="86422" y="12675"/>
                  <a:pt x="90483" y="15503"/>
                  <a:pt x="94035" y="18904"/>
                </a:cubicBezTo>
                <a:cubicBezTo>
                  <a:pt x="95828" y="20750"/>
                  <a:pt x="97760" y="22450"/>
                  <a:pt x="99819" y="23995"/>
                </a:cubicBezTo>
                <a:cubicBezTo>
                  <a:pt x="100143" y="24238"/>
                  <a:pt x="100322" y="24631"/>
                  <a:pt x="100282" y="25036"/>
                </a:cubicBezTo>
                <a:lnTo>
                  <a:pt x="100282" y="25904"/>
                </a:lnTo>
                <a:cubicBezTo>
                  <a:pt x="99935" y="28044"/>
                  <a:pt x="102075" y="31341"/>
                  <a:pt x="103984" y="34291"/>
                </a:cubicBezTo>
                <a:cubicBezTo>
                  <a:pt x="105893" y="37241"/>
                  <a:pt x="108033" y="40538"/>
                  <a:pt x="107570" y="42968"/>
                </a:cubicBezTo>
                <a:cubicBezTo>
                  <a:pt x="106905" y="45154"/>
                  <a:pt x="105714" y="47138"/>
                  <a:pt x="104100" y="48752"/>
                </a:cubicBezTo>
                <a:cubicBezTo>
                  <a:pt x="103290" y="49579"/>
                  <a:pt x="102572" y="50493"/>
                  <a:pt x="101960" y="51471"/>
                </a:cubicBezTo>
                <a:cubicBezTo>
                  <a:pt x="101855" y="51667"/>
                  <a:pt x="101693" y="51829"/>
                  <a:pt x="101497" y="51934"/>
                </a:cubicBezTo>
                <a:cubicBezTo>
                  <a:pt x="94960" y="55578"/>
                  <a:pt x="91952" y="63040"/>
                  <a:pt x="92531" y="74088"/>
                </a:cubicBezTo>
                <a:cubicBezTo>
                  <a:pt x="92612" y="74354"/>
                  <a:pt x="92612" y="74632"/>
                  <a:pt x="92531" y="74898"/>
                </a:cubicBezTo>
                <a:cubicBezTo>
                  <a:pt x="92317" y="75117"/>
                  <a:pt x="92027" y="75239"/>
                  <a:pt x="91721" y="75245"/>
                </a:cubicBezTo>
                <a:cubicBezTo>
                  <a:pt x="89986" y="75245"/>
                  <a:pt x="88482" y="75245"/>
                  <a:pt x="87498" y="75592"/>
                </a:cubicBezTo>
                <a:close/>
                <a:moveTo>
                  <a:pt x="74136" y="63792"/>
                </a:moveTo>
                <a:cubicBezTo>
                  <a:pt x="77202" y="63792"/>
                  <a:pt x="79169" y="66395"/>
                  <a:pt x="81078" y="68882"/>
                </a:cubicBezTo>
                <a:cubicBezTo>
                  <a:pt x="82986" y="71369"/>
                  <a:pt x="84664" y="73452"/>
                  <a:pt x="86862" y="72989"/>
                </a:cubicBezTo>
                <a:cubicBezTo>
                  <a:pt x="87730" y="72989"/>
                  <a:pt x="88887" y="72700"/>
                  <a:pt x="90275" y="72642"/>
                </a:cubicBezTo>
                <a:cubicBezTo>
                  <a:pt x="89870" y="58759"/>
                  <a:pt x="95307" y="52512"/>
                  <a:pt x="100166" y="49504"/>
                </a:cubicBezTo>
                <a:cubicBezTo>
                  <a:pt x="100843" y="48486"/>
                  <a:pt x="101618" y="47537"/>
                  <a:pt x="102480" y="46670"/>
                </a:cubicBezTo>
                <a:cubicBezTo>
                  <a:pt x="103793" y="45443"/>
                  <a:pt x="104782" y="43910"/>
                  <a:pt x="105372" y="42216"/>
                </a:cubicBezTo>
                <a:cubicBezTo>
                  <a:pt x="105372" y="40712"/>
                  <a:pt x="103811" y="37820"/>
                  <a:pt x="102133" y="35216"/>
                </a:cubicBezTo>
                <a:cubicBezTo>
                  <a:pt x="99738" y="32457"/>
                  <a:pt x="98333" y="28975"/>
                  <a:pt x="98142" y="25325"/>
                </a:cubicBezTo>
                <a:lnTo>
                  <a:pt x="98142" y="25325"/>
                </a:lnTo>
                <a:cubicBezTo>
                  <a:pt x="95886" y="23532"/>
                  <a:pt x="94150" y="21970"/>
                  <a:pt x="92357" y="20408"/>
                </a:cubicBezTo>
                <a:cubicBezTo>
                  <a:pt x="88945" y="17140"/>
                  <a:pt x="85046" y="14421"/>
                  <a:pt x="80788" y="12368"/>
                </a:cubicBezTo>
                <a:cubicBezTo>
                  <a:pt x="77769" y="10876"/>
                  <a:pt x="74998" y="8926"/>
                  <a:pt x="72575" y="6583"/>
                </a:cubicBezTo>
                <a:cubicBezTo>
                  <a:pt x="69688" y="3668"/>
                  <a:pt x="65801" y="1950"/>
                  <a:pt x="61700" y="1782"/>
                </a:cubicBezTo>
                <a:cubicBezTo>
                  <a:pt x="59536" y="1782"/>
                  <a:pt x="57454" y="2633"/>
                  <a:pt x="55915" y="4154"/>
                </a:cubicBezTo>
                <a:cubicBezTo>
                  <a:pt x="48107" y="9788"/>
                  <a:pt x="38764" y="12917"/>
                  <a:pt x="29133" y="13120"/>
                </a:cubicBezTo>
                <a:cubicBezTo>
                  <a:pt x="25755" y="12565"/>
                  <a:pt x="22487" y="11448"/>
                  <a:pt x="19474" y="9823"/>
                </a:cubicBezTo>
                <a:cubicBezTo>
                  <a:pt x="14603" y="12767"/>
                  <a:pt x="9403" y="15121"/>
                  <a:pt x="3971" y="16822"/>
                </a:cubicBezTo>
                <a:cubicBezTo>
                  <a:pt x="5059" y="17429"/>
                  <a:pt x="5770" y="18534"/>
                  <a:pt x="5880" y="19772"/>
                </a:cubicBezTo>
                <a:cubicBezTo>
                  <a:pt x="6343" y="23358"/>
                  <a:pt x="10970" y="30126"/>
                  <a:pt x="12937" y="30126"/>
                </a:cubicBezTo>
                <a:cubicBezTo>
                  <a:pt x="12937" y="30126"/>
                  <a:pt x="12937" y="30126"/>
                  <a:pt x="13400" y="29721"/>
                </a:cubicBezTo>
                <a:cubicBezTo>
                  <a:pt x="13897" y="28738"/>
                  <a:pt x="14898" y="28113"/>
                  <a:pt x="16003" y="28102"/>
                </a:cubicBezTo>
                <a:cubicBezTo>
                  <a:pt x="18085" y="28102"/>
                  <a:pt x="20399" y="30300"/>
                  <a:pt x="23118" y="32903"/>
                </a:cubicBezTo>
                <a:cubicBezTo>
                  <a:pt x="24824" y="34771"/>
                  <a:pt x="26768" y="36402"/>
                  <a:pt x="28902" y="37762"/>
                </a:cubicBezTo>
                <a:cubicBezTo>
                  <a:pt x="30406" y="38629"/>
                  <a:pt x="32373" y="39497"/>
                  <a:pt x="34687" y="40480"/>
                </a:cubicBezTo>
                <a:cubicBezTo>
                  <a:pt x="40471" y="43141"/>
                  <a:pt x="46255" y="45686"/>
                  <a:pt x="46603" y="48868"/>
                </a:cubicBezTo>
                <a:cubicBezTo>
                  <a:pt x="46950" y="52049"/>
                  <a:pt x="48338" y="57429"/>
                  <a:pt x="51404" y="57429"/>
                </a:cubicBezTo>
                <a:cubicBezTo>
                  <a:pt x="51924" y="57411"/>
                  <a:pt x="52433" y="57296"/>
                  <a:pt x="52907" y="57082"/>
                </a:cubicBezTo>
                <a:cubicBezTo>
                  <a:pt x="55140" y="55913"/>
                  <a:pt x="57217" y="54479"/>
                  <a:pt x="59097" y="52801"/>
                </a:cubicBezTo>
                <a:cubicBezTo>
                  <a:pt x="61700" y="50661"/>
                  <a:pt x="63262" y="49446"/>
                  <a:pt x="64592" y="49446"/>
                </a:cubicBezTo>
                <a:cubicBezTo>
                  <a:pt x="65922" y="49446"/>
                  <a:pt x="66559" y="49446"/>
                  <a:pt x="66559" y="52107"/>
                </a:cubicBezTo>
                <a:cubicBezTo>
                  <a:pt x="66559" y="55925"/>
                  <a:pt x="67947" y="63676"/>
                  <a:pt x="72343" y="63676"/>
                </a:cubicBezTo>
                <a:lnTo>
                  <a:pt x="73153" y="63676"/>
                </a:lnTo>
                <a:cubicBezTo>
                  <a:pt x="73564" y="63653"/>
                  <a:pt x="73969" y="63693"/>
                  <a:pt x="74368" y="6379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0" name="Forma libre: forma 349">
            <a:extLst>
              <a:ext uri="{FF2B5EF4-FFF2-40B4-BE49-F238E27FC236}">
                <a16:creationId xmlns:a16="http://schemas.microsoft.com/office/drawing/2014/main" id="{6FF01A13-904F-A130-E7DF-E5AFB535E67B}"/>
              </a:ext>
            </a:extLst>
          </p:cNvPr>
          <p:cNvSpPr/>
          <p:nvPr/>
        </p:nvSpPr>
        <p:spPr>
          <a:xfrm>
            <a:off x="6738241" y="3031876"/>
            <a:ext cx="248455" cy="162074"/>
          </a:xfrm>
          <a:custGeom>
            <a:avLst/>
            <a:gdLst>
              <a:gd name="connsiteX0" fmla="*/ 218992 w 248455"/>
              <a:gd name="connsiteY0" fmla="*/ 161714 h 162074"/>
              <a:gd name="connsiteX1" fmla="*/ 218645 w 248455"/>
              <a:gd name="connsiteY1" fmla="*/ 161714 h 162074"/>
              <a:gd name="connsiteX2" fmla="*/ 201291 w 248455"/>
              <a:gd name="connsiteY2" fmla="*/ 153442 h 162074"/>
              <a:gd name="connsiteX3" fmla="*/ 180352 w 248455"/>
              <a:gd name="connsiteY3" fmla="*/ 147657 h 162074"/>
              <a:gd name="connsiteX4" fmla="*/ 174915 w 248455"/>
              <a:gd name="connsiteY4" fmla="*/ 147657 h 162074"/>
              <a:gd name="connsiteX5" fmla="*/ 148885 w 248455"/>
              <a:gd name="connsiteY5" fmla="*/ 153442 h 162074"/>
              <a:gd name="connsiteX6" fmla="*/ 128582 w 248455"/>
              <a:gd name="connsiteY6" fmla="*/ 161887 h 162074"/>
              <a:gd name="connsiteX7" fmla="*/ 106311 w 248455"/>
              <a:gd name="connsiteY7" fmla="*/ 160730 h 162074"/>
              <a:gd name="connsiteX8" fmla="*/ 99891 w 248455"/>
              <a:gd name="connsiteY8" fmla="*/ 161077 h 162074"/>
              <a:gd name="connsiteX9" fmla="*/ 84273 w 248455"/>
              <a:gd name="connsiteY9" fmla="*/ 159400 h 162074"/>
              <a:gd name="connsiteX10" fmla="*/ 71663 w 248455"/>
              <a:gd name="connsiteY10" fmla="*/ 157780 h 162074"/>
              <a:gd name="connsiteX11" fmla="*/ 70911 w 248455"/>
              <a:gd name="connsiteY11" fmla="*/ 157780 h 162074"/>
              <a:gd name="connsiteX12" fmla="*/ 64663 w 248455"/>
              <a:gd name="connsiteY12" fmla="*/ 153962 h 162074"/>
              <a:gd name="connsiteX13" fmla="*/ 54830 w 248455"/>
              <a:gd name="connsiteY13" fmla="*/ 147310 h 162074"/>
              <a:gd name="connsiteX14" fmla="*/ 54078 w 248455"/>
              <a:gd name="connsiteY14" fmla="*/ 146790 h 162074"/>
              <a:gd name="connsiteX15" fmla="*/ 54078 w 248455"/>
              <a:gd name="connsiteY15" fmla="*/ 145806 h 162074"/>
              <a:gd name="connsiteX16" fmla="*/ 53499 w 248455"/>
              <a:gd name="connsiteY16" fmla="*/ 140369 h 162074"/>
              <a:gd name="connsiteX17" fmla="*/ 52400 w 248455"/>
              <a:gd name="connsiteY17" fmla="*/ 134238 h 162074"/>
              <a:gd name="connsiteX18" fmla="*/ 29263 w 248455"/>
              <a:gd name="connsiteY18" fmla="*/ 127296 h 162074"/>
              <a:gd name="connsiteX19" fmla="*/ 23074 w 248455"/>
              <a:gd name="connsiteY19" fmla="*/ 126255 h 162074"/>
              <a:gd name="connsiteX20" fmla="*/ 21223 w 248455"/>
              <a:gd name="connsiteY20" fmla="*/ 117405 h 162074"/>
              <a:gd name="connsiteX21" fmla="*/ 20933 w 248455"/>
              <a:gd name="connsiteY21" fmla="*/ 109769 h 162074"/>
              <a:gd name="connsiteX22" fmla="*/ 19776 w 248455"/>
              <a:gd name="connsiteY22" fmla="*/ 109307 h 162074"/>
              <a:gd name="connsiteX23" fmla="*/ 9538 w 248455"/>
              <a:gd name="connsiteY23" fmla="*/ 100005 h 162074"/>
              <a:gd name="connsiteX24" fmla="*/ 9596 w 248455"/>
              <a:gd name="connsiteY24" fmla="*/ 98490 h 162074"/>
              <a:gd name="connsiteX25" fmla="*/ 4274 w 248455"/>
              <a:gd name="connsiteY25" fmla="*/ 90102 h 162074"/>
              <a:gd name="connsiteX26" fmla="*/ -64 w 248455"/>
              <a:gd name="connsiteY26" fmla="*/ 82525 h 162074"/>
              <a:gd name="connsiteX27" fmla="*/ 5200 w 248455"/>
              <a:gd name="connsiteY27" fmla="*/ 77897 h 162074"/>
              <a:gd name="connsiteX28" fmla="*/ 17173 w 248455"/>
              <a:gd name="connsiteY28" fmla="*/ 69221 h 162074"/>
              <a:gd name="connsiteX29" fmla="*/ 33081 w 248455"/>
              <a:gd name="connsiteY29" fmla="*/ 43133 h 162074"/>
              <a:gd name="connsiteX30" fmla="*/ 42162 w 248455"/>
              <a:gd name="connsiteY30" fmla="*/ 27920 h 162074"/>
              <a:gd name="connsiteX31" fmla="*/ 47947 w 248455"/>
              <a:gd name="connsiteY31" fmla="*/ 24276 h 162074"/>
              <a:gd name="connsiteX32" fmla="*/ 60152 w 248455"/>
              <a:gd name="connsiteY32" fmla="*/ 16409 h 162074"/>
              <a:gd name="connsiteX33" fmla="*/ 62466 w 248455"/>
              <a:gd name="connsiteY33" fmla="*/ 11897 h 162074"/>
              <a:gd name="connsiteX34" fmla="*/ 62466 w 248455"/>
              <a:gd name="connsiteY34" fmla="*/ 10856 h 162074"/>
              <a:gd name="connsiteX35" fmla="*/ 63333 w 248455"/>
              <a:gd name="connsiteY35" fmla="*/ 10277 h 162074"/>
              <a:gd name="connsiteX36" fmla="*/ 73977 w 248455"/>
              <a:gd name="connsiteY36" fmla="*/ 9352 h 162074"/>
              <a:gd name="connsiteX37" fmla="*/ 85950 w 248455"/>
              <a:gd name="connsiteY37" fmla="*/ 11492 h 162074"/>
              <a:gd name="connsiteX38" fmla="*/ 101453 w 248455"/>
              <a:gd name="connsiteY38" fmla="*/ 14211 h 162074"/>
              <a:gd name="connsiteX39" fmla="*/ 118401 w 248455"/>
              <a:gd name="connsiteY39" fmla="*/ 19359 h 162074"/>
              <a:gd name="connsiteX40" fmla="*/ 120773 w 248455"/>
              <a:gd name="connsiteY40" fmla="*/ 20169 h 162074"/>
              <a:gd name="connsiteX41" fmla="*/ 128928 w 248455"/>
              <a:gd name="connsiteY41" fmla="*/ 16119 h 162074"/>
              <a:gd name="connsiteX42" fmla="*/ 135638 w 248455"/>
              <a:gd name="connsiteY42" fmla="*/ 13517 h 162074"/>
              <a:gd name="connsiteX43" fmla="*/ 139630 w 248455"/>
              <a:gd name="connsiteY43" fmla="*/ 13864 h 162074"/>
              <a:gd name="connsiteX44" fmla="*/ 143447 w 248455"/>
              <a:gd name="connsiteY44" fmla="*/ 14211 h 162074"/>
              <a:gd name="connsiteX45" fmla="*/ 157792 w 248455"/>
              <a:gd name="connsiteY45" fmla="*/ 6691 h 162074"/>
              <a:gd name="connsiteX46" fmla="*/ 171675 w 248455"/>
              <a:gd name="connsiteY46" fmla="*/ -77 h 162074"/>
              <a:gd name="connsiteX47" fmla="*/ 173006 w 248455"/>
              <a:gd name="connsiteY47" fmla="*/ 502 h 162074"/>
              <a:gd name="connsiteX48" fmla="*/ 190880 w 248455"/>
              <a:gd name="connsiteY48" fmla="*/ 31043 h 162074"/>
              <a:gd name="connsiteX49" fmla="*/ 208233 w 248455"/>
              <a:gd name="connsiteY49" fmla="*/ 70840 h 162074"/>
              <a:gd name="connsiteX50" fmla="*/ 205977 w 248455"/>
              <a:gd name="connsiteY50" fmla="*/ 81831 h 162074"/>
              <a:gd name="connsiteX51" fmla="*/ 212860 w 248455"/>
              <a:gd name="connsiteY51" fmla="*/ 99936 h 162074"/>
              <a:gd name="connsiteX52" fmla="*/ 212860 w 248455"/>
              <a:gd name="connsiteY52" fmla="*/ 101498 h 162074"/>
              <a:gd name="connsiteX53" fmla="*/ 212282 w 248455"/>
              <a:gd name="connsiteY53" fmla="*/ 102250 h 162074"/>
              <a:gd name="connsiteX54" fmla="*/ 212282 w 248455"/>
              <a:gd name="connsiteY54" fmla="*/ 102250 h 162074"/>
              <a:gd name="connsiteX55" fmla="*/ 212282 w 248455"/>
              <a:gd name="connsiteY55" fmla="*/ 103002 h 162074"/>
              <a:gd name="connsiteX56" fmla="*/ 222231 w 248455"/>
              <a:gd name="connsiteY56" fmla="*/ 106819 h 162074"/>
              <a:gd name="connsiteX57" fmla="*/ 222231 w 248455"/>
              <a:gd name="connsiteY57" fmla="*/ 106819 h 162074"/>
              <a:gd name="connsiteX58" fmla="*/ 228825 w 248455"/>
              <a:gd name="connsiteY58" fmla="*/ 103927 h 162074"/>
              <a:gd name="connsiteX59" fmla="*/ 237444 w 248455"/>
              <a:gd name="connsiteY59" fmla="*/ 100399 h 162074"/>
              <a:gd name="connsiteX60" fmla="*/ 247799 w 248455"/>
              <a:gd name="connsiteY60" fmla="*/ 107456 h 162074"/>
              <a:gd name="connsiteX61" fmla="*/ 248203 w 248455"/>
              <a:gd name="connsiteY61" fmla="*/ 108208 h 162074"/>
              <a:gd name="connsiteX62" fmla="*/ 248203 w 248455"/>
              <a:gd name="connsiteY62" fmla="*/ 109480 h 162074"/>
              <a:gd name="connsiteX63" fmla="*/ 234089 w 248455"/>
              <a:gd name="connsiteY63" fmla="*/ 125561 h 162074"/>
              <a:gd name="connsiteX64" fmla="*/ 233048 w 248455"/>
              <a:gd name="connsiteY64" fmla="*/ 125561 h 162074"/>
              <a:gd name="connsiteX65" fmla="*/ 220322 w 248455"/>
              <a:gd name="connsiteY65" fmla="*/ 146674 h 162074"/>
              <a:gd name="connsiteX66" fmla="*/ 220322 w 248455"/>
              <a:gd name="connsiteY66" fmla="*/ 152806 h 162074"/>
              <a:gd name="connsiteX67" fmla="*/ 220322 w 248455"/>
              <a:gd name="connsiteY67" fmla="*/ 161193 h 162074"/>
              <a:gd name="connsiteX68" fmla="*/ 219744 w 248455"/>
              <a:gd name="connsiteY68" fmla="*/ 161945 h 162074"/>
              <a:gd name="connsiteX69" fmla="*/ 175089 w 248455"/>
              <a:gd name="connsiteY69" fmla="*/ 144881 h 162074"/>
              <a:gd name="connsiteX70" fmla="*/ 180873 w 248455"/>
              <a:gd name="connsiteY70" fmla="*/ 145170 h 162074"/>
              <a:gd name="connsiteX71" fmla="*/ 203490 w 248455"/>
              <a:gd name="connsiteY71" fmla="*/ 152169 h 162074"/>
              <a:gd name="connsiteX72" fmla="*/ 218182 w 248455"/>
              <a:gd name="connsiteY72" fmla="*/ 159111 h 162074"/>
              <a:gd name="connsiteX73" fmla="*/ 218182 w 248455"/>
              <a:gd name="connsiteY73" fmla="*/ 152632 h 162074"/>
              <a:gd name="connsiteX74" fmla="*/ 218182 w 248455"/>
              <a:gd name="connsiteY74" fmla="*/ 146211 h 162074"/>
              <a:gd name="connsiteX75" fmla="*/ 232933 w 248455"/>
              <a:gd name="connsiteY75" fmla="*/ 123074 h 162074"/>
              <a:gd name="connsiteX76" fmla="*/ 234032 w 248455"/>
              <a:gd name="connsiteY76" fmla="*/ 123074 h 162074"/>
              <a:gd name="connsiteX77" fmla="*/ 246063 w 248455"/>
              <a:gd name="connsiteY77" fmla="*/ 109422 h 162074"/>
              <a:gd name="connsiteX78" fmla="*/ 246063 w 248455"/>
              <a:gd name="connsiteY78" fmla="*/ 108208 h 162074"/>
              <a:gd name="connsiteX79" fmla="*/ 237560 w 248455"/>
              <a:gd name="connsiteY79" fmla="*/ 102018 h 162074"/>
              <a:gd name="connsiteX80" fmla="*/ 229983 w 248455"/>
              <a:gd name="connsiteY80" fmla="*/ 105315 h 162074"/>
              <a:gd name="connsiteX81" fmla="*/ 222347 w 248455"/>
              <a:gd name="connsiteY81" fmla="*/ 108439 h 162074"/>
              <a:gd name="connsiteX82" fmla="*/ 222058 w 248455"/>
              <a:gd name="connsiteY82" fmla="*/ 108439 h 162074"/>
              <a:gd name="connsiteX83" fmla="*/ 210489 w 248455"/>
              <a:gd name="connsiteY83" fmla="*/ 103291 h 162074"/>
              <a:gd name="connsiteX84" fmla="*/ 210952 w 248455"/>
              <a:gd name="connsiteY84" fmla="*/ 100225 h 162074"/>
              <a:gd name="connsiteX85" fmla="*/ 210952 w 248455"/>
              <a:gd name="connsiteY85" fmla="*/ 100225 h 162074"/>
              <a:gd name="connsiteX86" fmla="*/ 204068 w 248455"/>
              <a:gd name="connsiteY86" fmla="*/ 81194 h 162074"/>
              <a:gd name="connsiteX87" fmla="*/ 206960 w 248455"/>
              <a:gd name="connsiteY87" fmla="*/ 68469 h 162074"/>
              <a:gd name="connsiteX88" fmla="*/ 189607 w 248455"/>
              <a:gd name="connsiteY88" fmla="*/ 31795 h 162074"/>
              <a:gd name="connsiteX89" fmla="*/ 171907 w 248455"/>
              <a:gd name="connsiteY89" fmla="*/ 1601 h 162074"/>
              <a:gd name="connsiteX90" fmla="*/ 160338 w 248455"/>
              <a:gd name="connsiteY90" fmla="*/ 7096 h 162074"/>
              <a:gd name="connsiteX91" fmla="*/ 144026 w 248455"/>
              <a:gd name="connsiteY91" fmla="*/ 15715 h 162074"/>
              <a:gd name="connsiteX92" fmla="*/ 139861 w 248455"/>
              <a:gd name="connsiteY92" fmla="*/ 15368 h 162074"/>
              <a:gd name="connsiteX93" fmla="*/ 136217 w 248455"/>
              <a:gd name="connsiteY93" fmla="*/ 15021 h 162074"/>
              <a:gd name="connsiteX94" fmla="*/ 131068 w 248455"/>
              <a:gd name="connsiteY94" fmla="*/ 16987 h 162074"/>
              <a:gd name="connsiteX95" fmla="*/ 117418 w 248455"/>
              <a:gd name="connsiteY95" fmla="*/ 20227 h 162074"/>
              <a:gd name="connsiteX96" fmla="*/ 102031 w 248455"/>
              <a:gd name="connsiteY96" fmla="*/ 15715 h 162074"/>
              <a:gd name="connsiteX97" fmla="*/ 86066 w 248455"/>
              <a:gd name="connsiteY97" fmla="*/ 12938 h 162074"/>
              <a:gd name="connsiteX98" fmla="*/ 74497 w 248455"/>
              <a:gd name="connsiteY98" fmla="*/ 10856 h 162074"/>
              <a:gd name="connsiteX99" fmla="*/ 65473 w 248455"/>
              <a:gd name="connsiteY99" fmla="*/ 11550 h 162074"/>
              <a:gd name="connsiteX100" fmla="*/ 62061 w 248455"/>
              <a:gd name="connsiteY100" fmla="*/ 17334 h 162074"/>
              <a:gd name="connsiteX101" fmla="*/ 49624 w 248455"/>
              <a:gd name="connsiteY101" fmla="*/ 25317 h 162074"/>
              <a:gd name="connsiteX102" fmla="*/ 43840 w 248455"/>
              <a:gd name="connsiteY102" fmla="*/ 28845 h 162074"/>
              <a:gd name="connsiteX103" fmla="*/ 35452 w 248455"/>
              <a:gd name="connsiteY103" fmla="*/ 43248 h 162074"/>
              <a:gd name="connsiteX104" fmla="*/ 19140 w 248455"/>
              <a:gd name="connsiteY104" fmla="*/ 69915 h 162074"/>
              <a:gd name="connsiteX105" fmla="*/ 6704 w 248455"/>
              <a:gd name="connsiteY105" fmla="*/ 78938 h 162074"/>
              <a:gd name="connsiteX106" fmla="*/ 2539 w 248455"/>
              <a:gd name="connsiteY106" fmla="*/ 82062 h 162074"/>
              <a:gd name="connsiteX107" fmla="*/ 6414 w 248455"/>
              <a:gd name="connsiteY107" fmla="*/ 87847 h 162074"/>
              <a:gd name="connsiteX108" fmla="*/ 12199 w 248455"/>
              <a:gd name="connsiteY108" fmla="*/ 97680 h 162074"/>
              <a:gd name="connsiteX109" fmla="*/ 18851 w 248455"/>
              <a:gd name="connsiteY109" fmla="*/ 106189 h 162074"/>
              <a:gd name="connsiteX110" fmla="*/ 20124 w 248455"/>
              <a:gd name="connsiteY110" fmla="*/ 106241 h 162074"/>
              <a:gd name="connsiteX111" fmla="*/ 23016 w 248455"/>
              <a:gd name="connsiteY111" fmla="*/ 107456 h 162074"/>
              <a:gd name="connsiteX112" fmla="*/ 23825 w 248455"/>
              <a:gd name="connsiteY112" fmla="*/ 116826 h 162074"/>
              <a:gd name="connsiteX113" fmla="*/ 23825 w 248455"/>
              <a:gd name="connsiteY113" fmla="*/ 123247 h 162074"/>
              <a:gd name="connsiteX114" fmla="*/ 29610 w 248455"/>
              <a:gd name="connsiteY114" fmla="*/ 124230 h 162074"/>
              <a:gd name="connsiteX115" fmla="*/ 54830 w 248455"/>
              <a:gd name="connsiteY115" fmla="*/ 133428 h 162074"/>
              <a:gd name="connsiteX116" fmla="*/ 55871 w 248455"/>
              <a:gd name="connsiteY116" fmla="*/ 138923 h 162074"/>
              <a:gd name="connsiteX117" fmla="*/ 56739 w 248455"/>
              <a:gd name="connsiteY117" fmla="*/ 144707 h 162074"/>
              <a:gd name="connsiteX118" fmla="*/ 66572 w 248455"/>
              <a:gd name="connsiteY118" fmla="*/ 151706 h 162074"/>
              <a:gd name="connsiteX119" fmla="*/ 70564 w 248455"/>
              <a:gd name="connsiteY119" fmla="*/ 154946 h 162074"/>
              <a:gd name="connsiteX120" fmla="*/ 71952 w 248455"/>
              <a:gd name="connsiteY120" fmla="*/ 154946 h 162074"/>
              <a:gd name="connsiteX121" fmla="*/ 84909 w 248455"/>
              <a:gd name="connsiteY121" fmla="*/ 156565 h 162074"/>
              <a:gd name="connsiteX122" fmla="*/ 99775 w 248455"/>
              <a:gd name="connsiteY122" fmla="*/ 158301 h 162074"/>
              <a:gd name="connsiteX123" fmla="*/ 106600 w 248455"/>
              <a:gd name="connsiteY123" fmla="*/ 157896 h 162074"/>
              <a:gd name="connsiteX124" fmla="*/ 129160 w 248455"/>
              <a:gd name="connsiteY124" fmla="*/ 159053 h 162074"/>
              <a:gd name="connsiteX125" fmla="*/ 147613 w 248455"/>
              <a:gd name="connsiteY125" fmla="*/ 151302 h 162074"/>
              <a:gd name="connsiteX126" fmla="*/ 175089 w 248455"/>
              <a:gd name="connsiteY126" fmla="*/ 144881 h 16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48455" h="162074">
                <a:moveTo>
                  <a:pt x="218992" y="161714"/>
                </a:moveTo>
                <a:lnTo>
                  <a:pt x="218645" y="161714"/>
                </a:lnTo>
                <a:cubicBezTo>
                  <a:pt x="212860" y="159863"/>
                  <a:pt x="203201" y="156276"/>
                  <a:pt x="201291" y="153442"/>
                </a:cubicBezTo>
                <a:cubicBezTo>
                  <a:pt x="199383" y="150607"/>
                  <a:pt x="185963" y="148178"/>
                  <a:pt x="180352" y="147657"/>
                </a:cubicBezTo>
                <a:cubicBezTo>
                  <a:pt x="178559" y="147548"/>
                  <a:pt x="176708" y="147548"/>
                  <a:pt x="174915" y="147657"/>
                </a:cubicBezTo>
                <a:cubicBezTo>
                  <a:pt x="165081" y="147657"/>
                  <a:pt x="152760" y="149393"/>
                  <a:pt x="148885" y="153442"/>
                </a:cubicBezTo>
                <a:cubicBezTo>
                  <a:pt x="143737" y="159192"/>
                  <a:pt x="136275" y="162298"/>
                  <a:pt x="128582" y="161887"/>
                </a:cubicBezTo>
                <a:cubicBezTo>
                  <a:pt x="124301" y="161367"/>
                  <a:pt x="113831" y="160730"/>
                  <a:pt x="106311" y="160730"/>
                </a:cubicBezTo>
                <a:cubicBezTo>
                  <a:pt x="104171" y="160672"/>
                  <a:pt x="102031" y="160788"/>
                  <a:pt x="99891" y="161077"/>
                </a:cubicBezTo>
                <a:cubicBezTo>
                  <a:pt x="94627" y="161054"/>
                  <a:pt x="89421" y="160487"/>
                  <a:pt x="84273" y="159400"/>
                </a:cubicBezTo>
                <a:cubicBezTo>
                  <a:pt x="80108" y="158625"/>
                  <a:pt x="75885" y="158081"/>
                  <a:pt x="71663" y="157780"/>
                </a:cubicBezTo>
                <a:lnTo>
                  <a:pt x="70911" y="157780"/>
                </a:lnTo>
                <a:cubicBezTo>
                  <a:pt x="69117" y="158185"/>
                  <a:pt x="67208" y="156450"/>
                  <a:pt x="64663" y="153962"/>
                </a:cubicBezTo>
                <a:cubicBezTo>
                  <a:pt x="62119" y="150827"/>
                  <a:pt x="58706" y="148513"/>
                  <a:pt x="54830" y="147310"/>
                </a:cubicBezTo>
                <a:cubicBezTo>
                  <a:pt x="54541" y="147247"/>
                  <a:pt x="54251" y="147062"/>
                  <a:pt x="54078" y="146790"/>
                </a:cubicBezTo>
                <a:cubicBezTo>
                  <a:pt x="53962" y="146477"/>
                  <a:pt x="53962" y="146119"/>
                  <a:pt x="54078" y="145806"/>
                </a:cubicBezTo>
                <a:cubicBezTo>
                  <a:pt x="54483" y="143978"/>
                  <a:pt x="54251" y="142076"/>
                  <a:pt x="53499" y="140369"/>
                </a:cubicBezTo>
                <a:cubicBezTo>
                  <a:pt x="52863" y="138391"/>
                  <a:pt x="52458" y="136326"/>
                  <a:pt x="52400" y="134238"/>
                </a:cubicBezTo>
                <a:cubicBezTo>
                  <a:pt x="52400" y="130593"/>
                  <a:pt x="35452" y="128164"/>
                  <a:pt x="29263" y="127296"/>
                </a:cubicBezTo>
                <a:cubicBezTo>
                  <a:pt x="26313" y="126891"/>
                  <a:pt x="24172" y="126544"/>
                  <a:pt x="23074" y="126255"/>
                </a:cubicBezTo>
                <a:cubicBezTo>
                  <a:pt x="20297" y="125445"/>
                  <a:pt x="20760" y="121512"/>
                  <a:pt x="21223" y="117405"/>
                </a:cubicBezTo>
                <a:cubicBezTo>
                  <a:pt x="21570" y="114513"/>
                  <a:pt x="21975" y="110926"/>
                  <a:pt x="20933" y="109769"/>
                </a:cubicBezTo>
                <a:cubicBezTo>
                  <a:pt x="20933" y="109769"/>
                  <a:pt x="20471" y="109307"/>
                  <a:pt x="19776" y="109307"/>
                </a:cubicBezTo>
                <a:cubicBezTo>
                  <a:pt x="14397" y="109561"/>
                  <a:pt x="9827" y="105396"/>
                  <a:pt x="9538" y="100005"/>
                </a:cubicBezTo>
                <a:cubicBezTo>
                  <a:pt x="9538" y="99496"/>
                  <a:pt x="9538" y="98993"/>
                  <a:pt x="9596" y="98490"/>
                </a:cubicBezTo>
                <a:cubicBezTo>
                  <a:pt x="9596" y="96350"/>
                  <a:pt x="6646" y="92705"/>
                  <a:pt x="4274" y="90102"/>
                </a:cubicBezTo>
                <a:cubicBezTo>
                  <a:pt x="1902" y="87499"/>
                  <a:pt x="-469" y="84318"/>
                  <a:pt x="-64" y="82525"/>
                </a:cubicBezTo>
                <a:cubicBezTo>
                  <a:pt x="341" y="80732"/>
                  <a:pt x="2249" y="79517"/>
                  <a:pt x="5200" y="77897"/>
                </a:cubicBezTo>
                <a:cubicBezTo>
                  <a:pt x="9596" y="75630"/>
                  <a:pt x="13645" y="72703"/>
                  <a:pt x="17173" y="69221"/>
                </a:cubicBezTo>
                <a:cubicBezTo>
                  <a:pt x="23421" y="61140"/>
                  <a:pt x="28742" y="52388"/>
                  <a:pt x="33081" y="43133"/>
                </a:cubicBezTo>
                <a:cubicBezTo>
                  <a:pt x="35394" y="37672"/>
                  <a:pt x="38460" y="32553"/>
                  <a:pt x="42162" y="27920"/>
                </a:cubicBezTo>
                <a:lnTo>
                  <a:pt x="47947" y="24276"/>
                </a:lnTo>
                <a:cubicBezTo>
                  <a:pt x="52053" y="21788"/>
                  <a:pt x="57144" y="18491"/>
                  <a:pt x="60152" y="16409"/>
                </a:cubicBezTo>
                <a:cubicBezTo>
                  <a:pt x="61714" y="15310"/>
                  <a:pt x="63391" y="13574"/>
                  <a:pt x="62466" y="11897"/>
                </a:cubicBezTo>
                <a:cubicBezTo>
                  <a:pt x="62292" y="11573"/>
                  <a:pt x="62292" y="11180"/>
                  <a:pt x="62466" y="10856"/>
                </a:cubicBezTo>
                <a:cubicBezTo>
                  <a:pt x="62639" y="10520"/>
                  <a:pt x="62986" y="10300"/>
                  <a:pt x="63333" y="10277"/>
                </a:cubicBezTo>
                <a:cubicBezTo>
                  <a:pt x="66861" y="9734"/>
                  <a:pt x="70390" y="9421"/>
                  <a:pt x="73977" y="9352"/>
                </a:cubicBezTo>
                <a:cubicBezTo>
                  <a:pt x="78026" y="9780"/>
                  <a:pt x="82017" y="10497"/>
                  <a:pt x="85950" y="11492"/>
                </a:cubicBezTo>
                <a:cubicBezTo>
                  <a:pt x="91041" y="12770"/>
                  <a:pt x="96246" y="13678"/>
                  <a:pt x="101453" y="14211"/>
                </a:cubicBezTo>
                <a:cubicBezTo>
                  <a:pt x="107468" y="14176"/>
                  <a:pt x="113426" y="15969"/>
                  <a:pt x="118401" y="19359"/>
                </a:cubicBezTo>
                <a:cubicBezTo>
                  <a:pt x="119037" y="19949"/>
                  <a:pt x="119905" y="20244"/>
                  <a:pt x="120773" y="20169"/>
                </a:cubicBezTo>
                <a:cubicBezTo>
                  <a:pt x="123896" y="19874"/>
                  <a:pt x="126788" y="18428"/>
                  <a:pt x="128928" y="16119"/>
                </a:cubicBezTo>
                <a:cubicBezTo>
                  <a:pt x="130722" y="14349"/>
                  <a:pt x="133151" y="13401"/>
                  <a:pt x="135638" y="13517"/>
                </a:cubicBezTo>
                <a:cubicBezTo>
                  <a:pt x="136969" y="13546"/>
                  <a:pt x="138299" y="13661"/>
                  <a:pt x="139630" y="13864"/>
                </a:cubicBezTo>
                <a:cubicBezTo>
                  <a:pt x="140902" y="14060"/>
                  <a:pt x="142175" y="14176"/>
                  <a:pt x="143447" y="14211"/>
                </a:cubicBezTo>
                <a:cubicBezTo>
                  <a:pt x="149059" y="13713"/>
                  <a:pt x="154206" y="11006"/>
                  <a:pt x="157792" y="6691"/>
                </a:cubicBezTo>
                <a:cubicBezTo>
                  <a:pt x="158256" y="5939"/>
                  <a:pt x="159528" y="3799"/>
                  <a:pt x="171675" y="-77"/>
                </a:cubicBezTo>
                <a:cubicBezTo>
                  <a:pt x="172196" y="-245"/>
                  <a:pt x="172775" y="4"/>
                  <a:pt x="173006" y="502"/>
                </a:cubicBezTo>
                <a:cubicBezTo>
                  <a:pt x="178212" y="11116"/>
                  <a:pt x="184170" y="21320"/>
                  <a:pt x="190880" y="31043"/>
                </a:cubicBezTo>
                <a:cubicBezTo>
                  <a:pt x="196085" y="36828"/>
                  <a:pt x="215522" y="63378"/>
                  <a:pt x="208233" y="70840"/>
                </a:cubicBezTo>
                <a:cubicBezTo>
                  <a:pt x="206151" y="74108"/>
                  <a:pt x="205341" y="78013"/>
                  <a:pt x="205977" y="81831"/>
                </a:cubicBezTo>
                <a:cubicBezTo>
                  <a:pt x="205977" y="88506"/>
                  <a:pt x="208406" y="94950"/>
                  <a:pt x="212860" y="99936"/>
                </a:cubicBezTo>
                <a:cubicBezTo>
                  <a:pt x="213266" y="100375"/>
                  <a:pt x="213266" y="101058"/>
                  <a:pt x="212860" y="101498"/>
                </a:cubicBezTo>
                <a:lnTo>
                  <a:pt x="212282" y="102250"/>
                </a:lnTo>
                <a:lnTo>
                  <a:pt x="212282" y="102250"/>
                </a:lnTo>
                <a:cubicBezTo>
                  <a:pt x="211935" y="102655"/>
                  <a:pt x="212282" y="102886"/>
                  <a:pt x="212282" y="103002"/>
                </a:cubicBezTo>
                <a:cubicBezTo>
                  <a:pt x="212860" y="104506"/>
                  <a:pt x="217257" y="106183"/>
                  <a:pt x="222231" y="106819"/>
                </a:cubicBezTo>
                <a:lnTo>
                  <a:pt x="222231" y="106819"/>
                </a:lnTo>
                <a:cubicBezTo>
                  <a:pt x="224545" y="106137"/>
                  <a:pt x="226743" y="105165"/>
                  <a:pt x="228825" y="103927"/>
                </a:cubicBezTo>
                <a:cubicBezTo>
                  <a:pt x="231429" y="102215"/>
                  <a:pt x="234379" y="101018"/>
                  <a:pt x="237444" y="100399"/>
                </a:cubicBezTo>
                <a:cubicBezTo>
                  <a:pt x="238138" y="100399"/>
                  <a:pt x="239584" y="100399"/>
                  <a:pt x="247799" y="107456"/>
                </a:cubicBezTo>
                <a:cubicBezTo>
                  <a:pt x="248030" y="107647"/>
                  <a:pt x="248145" y="107918"/>
                  <a:pt x="248203" y="108208"/>
                </a:cubicBezTo>
                <a:lnTo>
                  <a:pt x="248203" y="109480"/>
                </a:lnTo>
                <a:cubicBezTo>
                  <a:pt x="249476" y="124115"/>
                  <a:pt x="242014" y="124809"/>
                  <a:pt x="234089" y="125561"/>
                </a:cubicBezTo>
                <a:lnTo>
                  <a:pt x="233048" y="125561"/>
                </a:lnTo>
                <a:cubicBezTo>
                  <a:pt x="225413" y="126255"/>
                  <a:pt x="220727" y="138287"/>
                  <a:pt x="220322" y="146674"/>
                </a:cubicBezTo>
                <a:cubicBezTo>
                  <a:pt x="220207" y="148716"/>
                  <a:pt x="220207" y="150764"/>
                  <a:pt x="220322" y="152806"/>
                </a:cubicBezTo>
                <a:cubicBezTo>
                  <a:pt x="220727" y="155588"/>
                  <a:pt x="220727" y="158411"/>
                  <a:pt x="220322" y="161193"/>
                </a:cubicBezTo>
                <a:cubicBezTo>
                  <a:pt x="220265" y="161511"/>
                  <a:pt x="220033" y="161783"/>
                  <a:pt x="219744" y="161945"/>
                </a:cubicBezTo>
                <a:close/>
                <a:moveTo>
                  <a:pt x="175089" y="144881"/>
                </a:moveTo>
                <a:cubicBezTo>
                  <a:pt x="176997" y="144864"/>
                  <a:pt x="178964" y="144962"/>
                  <a:pt x="180873" y="145170"/>
                </a:cubicBezTo>
                <a:cubicBezTo>
                  <a:pt x="190533" y="146385"/>
                  <a:pt x="201003" y="148005"/>
                  <a:pt x="203490" y="152169"/>
                </a:cubicBezTo>
                <a:cubicBezTo>
                  <a:pt x="207886" y="155455"/>
                  <a:pt x="212860" y="157815"/>
                  <a:pt x="218182" y="159111"/>
                </a:cubicBezTo>
                <a:cubicBezTo>
                  <a:pt x="218356" y="156953"/>
                  <a:pt x="218356" y="154790"/>
                  <a:pt x="218182" y="152632"/>
                </a:cubicBezTo>
                <a:cubicBezTo>
                  <a:pt x="218066" y="150492"/>
                  <a:pt x="218066" y="148352"/>
                  <a:pt x="218182" y="146211"/>
                </a:cubicBezTo>
                <a:cubicBezTo>
                  <a:pt x="218645" y="137361"/>
                  <a:pt x="223619" y="123826"/>
                  <a:pt x="232933" y="123074"/>
                </a:cubicBezTo>
                <a:lnTo>
                  <a:pt x="234032" y="123074"/>
                </a:lnTo>
                <a:cubicBezTo>
                  <a:pt x="241898" y="122380"/>
                  <a:pt x="247104" y="121859"/>
                  <a:pt x="246063" y="109422"/>
                </a:cubicBezTo>
                <a:lnTo>
                  <a:pt x="246063" y="108208"/>
                </a:lnTo>
                <a:cubicBezTo>
                  <a:pt x="239296" y="102423"/>
                  <a:pt x="237792" y="102018"/>
                  <a:pt x="237560" y="102018"/>
                </a:cubicBezTo>
                <a:cubicBezTo>
                  <a:pt x="234899" y="102724"/>
                  <a:pt x="232296" y="103835"/>
                  <a:pt x="229983" y="105315"/>
                </a:cubicBezTo>
                <a:cubicBezTo>
                  <a:pt x="227669" y="106825"/>
                  <a:pt x="225065" y="107884"/>
                  <a:pt x="222347" y="108439"/>
                </a:cubicBezTo>
                <a:lnTo>
                  <a:pt x="222058" y="108439"/>
                </a:lnTo>
                <a:cubicBezTo>
                  <a:pt x="220322" y="108439"/>
                  <a:pt x="211820" y="106877"/>
                  <a:pt x="210489" y="103291"/>
                </a:cubicBezTo>
                <a:cubicBezTo>
                  <a:pt x="210084" y="102261"/>
                  <a:pt x="210258" y="101081"/>
                  <a:pt x="210952" y="100225"/>
                </a:cubicBezTo>
                <a:lnTo>
                  <a:pt x="210952" y="100225"/>
                </a:lnTo>
                <a:cubicBezTo>
                  <a:pt x="206613" y="94834"/>
                  <a:pt x="204184" y="88130"/>
                  <a:pt x="204068" y="81194"/>
                </a:cubicBezTo>
                <a:cubicBezTo>
                  <a:pt x="203374" y="76740"/>
                  <a:pt x="204415" y="72194"/>
                  <a:pt x="206960" y="68469"/>
                </a:cubicBezTo>
                <a:cubicBezTo>
                  <a:pt x="211935" y="63494"/>
                  <a:pt x="198341" y="41918"/>
                  <a:pt x="189607" y="31795"/>
                </a:cubicBezTo>
                <a:cubicBezTo>
                  <a:pt x="183070" y="22135"/>
                  <a:pt x="177113" y="12047"/>
                  <a:pt x="171907" y="1601"/>
                </a:cubicBezTo>
                <a:cubicBezTo>
                  <a:pt x="162189" y="4782"/>
                  <a:pt x="160338" y="6575"/>
                  <a:pt x="160338" y="7096"/>
                </a:cubicBezTo>
                <a:cubicBezTo>
                  <a:pt x="156346" y="12105"/>
                  <a:pt x="150447" y="15229"/>
                  <a:pt x="144026" y="15715"/>
                </a:cubicBezTo>
                <a:cubicBezTo>
                  <a:pt x="142637" y="15686"/>
                  <a:pt x="141249" y="15570"/>
                  <a:pt x="139861" y="15368"/>
                </a:cubicBezTo>
                <a:cubicBezTo>
                  <a:pt x="138646" y="15171"/>
                  <a:pt x="137432" y="15055"/>
                  <a:pt x="136217" y="15021"/>
                </a:cubicBezTo>
                <a:cubicBezTo>
                  <a:pt x="134308" y="14922"/>
                  <a:pt x="132457" y="15639"/>
                  <a:pt x="131068" y="16987"/>
                </a:cubicBezTo>
                <a:cubicBezTo>
                  <a:pt x="126672" y="21383"/>
                  <a:pt x="120194" y="22772"/>
                  <a:pt x="117418" y="20227"/>
                </a:cubicBezTo>
                <a:cubicBezTo>
                  <a:pt x="112790" y="17305"/>
                  <a:pt x="107468" y="15738"/>
                  <a:pt x="102031" y="15715"/>
                </a:cubicBezTo>
                <a:cubicBezTo>
                  <a:pt x="96651" y="15211"/>
                  <a:pt x="91330" y="14280"/>
                  <a:pt x="86066" y="12938"/>
                </a:cubicBezTo>
                <a:cubicBezTo>
                  <a:pt x="82248" y="11995"/>
                  <a:pt x="78373" y="11301"/>
                  <a:pt x="74497" y="10856"/>
                </a:cubicBezTo>
                <a:cubicBezTo>
                  <a:pt x="71489" y="10913"/>
                  <a:pt x="68481" y="11145"/>
                  <a:pt x="65473" y="11550"/>
                </a:cubicBezTo>
                <a:cubicBezTo>
                  <a:pt x="65473" y="13112"/>
                  <a:pt x="65126" y="15194"/>
                  <a:pt x="62061" y="17334"/>
                </a:cubicBezTo>
                <a:cubicBezTo>
                  <a:pt x="58995" y="19475"/>
                  <a:pt x="53789" y="22772"/>
                  <a:pt x="49624" y="25317"/>
                </a:cubicBezTo>
                <a:cubicBezTo>
                  <a:pt x="47252" y="26705"/>
                  <a:pt x="45170" y="27978"/>
                  <a:pt x="43840" y="28845"/>
                </a:cubicBezTo>
                <a:cubicBezTo>
                  <a:pt x="40542" y="33351"/>
                  <a:pt x="37766" y="38181"/>
                  <a:pt x="35452" y="43248"/>
                </a:cubicBezTo>
                <a:cubicBezTo>
                  <a:pt x="31056" y="52735"/>
                  <a:pt x="25561" y="61683"/>
                  <a:pt x="19140" y="69915"/>
                </a:cubicBezTo>
                <a:cubicBezTo>
                  <a:pt x="15496" y="73536"/>
                  <a:pt x="11273" y="76578"/>
                  <a:pt x="6704" y="78938"/>
                </a:cubicBezTo>
                <a:cubicBezTo>
                  <a:pt x="4563" y="80153"/>
                  <a:pt x="2712" y="81194"/>
                  <a:pt x="2539" y="82062"/>
                </a:cubicBezTo>
                <a:cubicBezTo>
                  <a:pt x="2365" y="82930"/>
                  <a:pt x="4795" y="85822"/>
                  <a:pt x="6414" y="87847"/>
                </a:cubicBezTo>
                <a:cubicBezTo>
                  <a:pt x="9307" y="91201"/>
                  <a:pt x="12199" y="94672"/>
                  <a:pt x="12199" y="97680"/>
                </a:cubicBezTo>
                <a:cubicBezTo>
                  <a:pt x="11678" y="101868"/>
                  <a:pt x="14686" y="105674"/>
                  <a:pt x="18851" y="106189"/>
                </a:cubicBezTo>
                <a:cubicBezTo>
                  <a:pt x="19256" y="106241"/>
                  <a:pt x="19719" y="106258"/>
                  <a:pt x="20124" y="106241"/>
                </a:cubicBezTo>
                <a:cubicBezTo>
                  <a:pt x="21223" y="106189"/>
                  <a:pt x="22264" y="106634"/>
                  <a:pt x="23016" y="107456"/>
                </a:cubicBezTo>
                <a:cubicBezTo>
                  <a:pt x="24693" y="109365"/>
                  <a:pt x="24288" y="113240"/>
                  <a:pt x="23825" y="116826"/>
                </a:cubicBezTo>
                <a:cubicBezTo>
                  <a:pt x="23536" y="119256"/>
                  <a:pt x="23074" y="123016"/>
                  <a:pt x="23825" y="123247"/>
                </a:cubicBezTo>
                <a:cubicBezTo>
                  <a:pt x="25734" y="123687"/>
                  <a:pt x="27643" y="124016"/>
                  <a:pt x="29610" y="124230"/>
                </a:cubicBezTo>
                <a:cubicBezTo>
                  <a:pt x="42914" y="126139"/>
                  <a:pt x="54830" y="128222"/>
                  <a:pt x="54830" y="133428"/>
                </a:cubicBezTo>
                <a:cubicBezTo>
                  <a:pt x="54888" y="135302"/>
                  <a:pt x="55235" y="137153"/>
                  <a:pt x="55871" y="138923"/>
                </a:cubicBezTo>
                <a:cubicBezTo>
                  <a:pt x="56565" y="140768"/>
                  <a:pt x="56854" y="142741"/>
                  <a:pt x="56739" y="144707"/>
                </a:cubicBezTo>
                <a:cubicBezTo>
                  <a:pt x="60557" y="146223"/>
                  <a:pt x="63912" y="148618"/>
                  <a:pt x="66572" y="151706"/>
                </a:cubicBezTo>
                <a:cubicBezTo>
                  <a:pt x="68018" y="153153"/>
                  <a:pt x="69812" y="154946"/>
                  <a:pt x="70564" y="154946"/>
                </a:cubicBezTo>
                <a:cubicBezTo>
                  <a:pt x="71026" y="154882"/>
                  <a:pt x="71489" y="154882"/>
                  <a:pt x="71952" y="154946"/>
                </a:cubicBezTo>
                <a:cubicBezTo>
                  <a:pt x="76290" y="155252"/>
                  <a:pt x="80628" y="155790"/>
                  <a:pt x="84909" y="156565"/>
                </a:cubicBezTo>
                <a:cubicBezTo>
                  <a:pt x="89826" y="157578"/>
                  <a:pt x="94800" y="158156"/>
                  <a:pt x="99775" y="158301"/>
                </a:cubicBezTo>
                <a:cubicBezTo>
                  <a:pt x="102031" y="157942"/>
                  <a:pt x="104345" y="157809"/>
                  <a:pt x="106600" y="157896"/>
                </a:cubicBezTo>
                <a:cubicBezTo>
                  <a:pt x="114178" y="157896"/>
                  <a:pt x="124764" y="158532"/>
                  <a:pt x="129160" y="159053"/>
                </a:cubicBezTo>
                <a:cubicBezTo>
                  <a:pt x="136159" y="159400"/>
                  <a:pt x="142927" y="156548"/>
                  <a:pt x="147613" y="151302"/>
                </a:cubicBezTo>
                <a:cubicBezTo>
                  <a:pt x="153570" y="145054"/>
                  <a:pt x="172890" y="144881"/>
                  <a:pt x="175089" y="14488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1" name="Forma libre: forma 350">
            <a:extLst>
              <a:ext uri="{FF2B5EF4-FFF2-40B4-BE49-F238E27FC236}">
                <a16:creationId xmlns:a16="http://schemas.microsoft.com/office/drawing/2014/main" id="{36B1E441-3780-2B8D-5639-A235750792B9}"/>
              </a:ext>
            </a:extLst>
          </p:cNvPr>
          <p:cNvSpPr/>
          <p:nvPr/>
        </p:nvSpPr>
        <p:spPr>
          <a:xfrm>
            <a:off x="6909245" y="3026317"/>
            <a:ext cx="86628" cy="106997"/>
          </a:xfrm>
          <a:custGeom>
            <a:avLst/>
            <a:gdLst>
              <a:gd name="connsiteX0" fmla="*/ 41047 w 86628"/>
              <a:gd name="connsiteY0" fmla="*/ 106825 h 106997"/>
              <a:gd name="connsiteX1" fmla="*/ 40295 w 86628"/>
              <a:gd name="connsiteY1" fmla="*/ 106825 h 106997"/>
              <a:gd name="connsiteX2" fmla="*/ 32602 w 86628"/>
              <a:gd name="connsiteY2" fmla="*/ 87042 h 106997"/>
              <a:gd name="connsiteX3" fmla="*/ 35494 w 86628"/>
              <a:gd name="connsiteY3" fmla="*/ 74317 h 106997"/>
              <a:gd name="connsiteX4" fmla="*/ 18141 w 86628"/>
              <a:gd name="connsiteY4" fmla="*/ 37643 h 106997"/>
              <a:gd name="connsiteX5" fmla="*/ -23 w 86628"/>
              <a:gd name="connsiteY5" fmla="*/ 6639 h 106997"/>
              <a:gd name="connsiteX6" fmla="*/ -23 w 86628"/>
              <a:gd name="connsiteY6" fmla="*/ 5655 h 106997"/>
              <a:gd name="connsiteX7" fmla="*/ 671 w 86628"/>
              <a:gd name="connsiteY7" fmla="*/ 5019 h 106997"/>
              <a:gd name="connsiteX8" fmla="*/ 20801 w 86628"/>
              <a:gd name="connsiteY8" fmla="*/ -129 h 106997"/>
              <a:gd name="connsiteX9" fmla="*/ 21553 w 86628"/>
              <a:gd name="connsiteY9" fmla="*/ -129 h 106997"/>
              <a:gd name="connsiteX10" fmla="*/ 33701 w 86628"/>
              <a:gd name="connsiteY10" fmla="*/ 6581 h 106997"/>
              <a:gd name="connsiteX11" fmla="*/ 42782 w 86628"/>
              <a:gd name="connsiteY11" fmla="*/ 12018 h 106997"/>
              <a:gd name="connsiteX12" fmla="*/ 63028 w 86628"/>
              <a:gd name="connsiteY12" fmla="*/ 27000 h 106997"/>
              <a:gd name="connsiteX13" fmla="*/ 79745 w 86628"/>
              <a:gd name="connsiteY13" fmla="*/ 54013 h 106997"/>
              <a:gd name="connsiteX14" fmla="*/ 86513 w 86628"/>
              <a:gd name="connsiteY14" fmla="*/ 72581 h 106997"/>
              <a:gd name="connsiteX15" fmla="*/ 85587 w 86628"/>
              <a:gd name="connsiteY15" fmla="*/ 74432 h 106997"/>
              <a:gd name="connsiteX16" fmla="*/ 83678 w 86628"/>
              <a:gd name="connsiteY16" fmla="*/ 74895 h 106997"/>
              <a:gd name="connsiteX17" fmla="*/ 83678 w 86628"/>
              <a:gd name="connsiteY17" fmla="*/ 74895 h 106997"/>
              <a:gd name="connsiteX18" fmla="*/ 74654 w 86628"/>
              <a:gd name="connsiteY18" fmla="*/ 72755 h 106997"/>
              <a:gd name="connsiteX19" fmla="*/ 66556 w 86628"/>
              <a:gd name="connsiteY19" fmla="*/ 70441 h 106997"/>
              <a:gd name="connsiteX20" fmla="*/ 57417 w 86628"/>
              <a:gd name="connsiteY20" fmla="*/ 81431 h 106997"/>
              <a:gd name="connsiteX21" fmla="*/ 42840 w 86628"/>
              <a:gd name="connsiteY21" fmla="*/ 104916 h 106997"/>
              <a:gd name="connsiteX22" fmla="*/ 41799 w 86628"/>
              <a:gd name="connsiteY22" fmla="*/ 106247 h 106997"/>
              <a:gd name="connsiteX23" fmla="*/ 41047 w 86628"/>
              <a:gd name="connsiteY23" fmla="*/ 106709 h 106997"/>
              <a:gd name="connsiteX24" fmla="*/ 2639 w 86628"/>
              <a:gd name="connsiteY24" fmla="*/ 6523 h 106997"/>
              <a:gd name="connsiteX25" fmla="*/ 19992 w 86628"/>
              <a:gd name="connsiteY25" fmla="*/ 35908 h 106997"/>
              <a:gd name="connsiteX26" fmla="*/ 37345 w 86628"/>
              <a:gd name="connsiteY26" fmla="*/ 75705 h 106997"/>
              <a:gd name="connsiteX27" fmla="*/ 35089 w 86628"/>
              <a:gd name="connsiteY27" fmla="*/ 86695 h 106997"/>
              <a:gd name="connsiteX28" fmla="*/ 40874 w 86628"/>
              <a:gd name="connsiteY28" fmla="*/ 104049 h 106997"/>
              <a:gd name="connsiteX29" fmla="*/ 40874 w 86628"/>
              <a:gd name="connsiteY29" fmla="*/ 103702 h 106997"/>
              <a:gd name="connsiteX30" fmla="*/ 54987 w 86628"/>
              <a:gd name="connsiteY30" fmla="*/ 81547 h 106997"/>
              <a:gd name="connsiteX31" fmla="*/ 63780 w 86628"/>
              <a:gd name="connsiteY31" fmla="*/ 67954 h 106997"/>
              <a:gd name="connsiteX32" fmla="*/ 66904 w 86628"/>
              <a:gd name="connsiteY32" fmla="*/ 68359 h 106997"/>
              <a:gd name="connsiteX33" fmla="*/ 75117 w 86628"/>
              <a:gd name="connsiteY33" fmla="*/ 70730 h 106997"/>
              <a:gd name="connsiteX34" fmla="*/ 83505 w 86628"/>
              <a:gd name="connsiteY34" fmla="*/ 72755 h 106997"/>
              <a:gd name="connsiteX35" fmla="*/ 83505 w 86628"/>
              <a:gd name="connsiteY35" fmla="*/ 72755 h 106997"/>
              <a:gd name="connsiteX36" fmla="*/ 84141 w 86628"/>
              <a:gd name="connsiteY36" fmla="*/ 72755 h 106997"/>
              <a:gd name="connsiteX37" fmla="*/ 77951 w 86628"/>
              <a:gd name="connsiteY37" fmla="*/ 55807 h 106997"/>
              <a:gd name="connsiteX38" fmla="*/ 60598 w 86628"/>
              <a:gd name="connsiteY38" fmla="*/ 27868 h 106997"/>
              <a:gd name="connsiteX39" fmla="*/ 42320 w 86628"/>
              <a:gd name="connsiteY39" fmla="*/ 14159 h 106997"/>
              <a:gd name="connsiteX40" fmla="*/ 31850 w 86628"/>
              <a:gd name="connsiteY40" fmla="*/ 8374 h 106997"/>
              <a:gd name="connsiteX41" fmla="*/ 20628 w 86628"/>
              <a:gd name="connsiteY41" fmla="*/ 2185 h 106997"/>
              <a:gd name="connsiteX42" fmla="*/ 2639 w 86628"/>
              <a:gd name="connsiteY42" fmla="*/ 6523 h 1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6628" h="106997">
                <a:moveTo>
                  <a:pt x="41047" y="106825"/>
                </a:moveTo>
                <a:cubicBezTo>
                  <a:pt x="40816" y="106883"/>
                  <a:pt x="40526" y="106883"/>
                  <a:pt x="40295" y="106825"/>
                </a:cubicBezTo>
                <a:cubicBezTo>
                  <a:pt x="35378" y="101405"/>
                  <a:pt x="32659" y="94360"/>
                  <a:pt x="32602" y="87042"/>
                </a:cubicBezTo>
                <a:cubicBezTo>
                  <a:pt x="31907" y="82588"/>
                  <a:pt x="32949" y="78042"/>
                  <a:pt x="35494" y="74317"/>
                </a:cubicBezTo>
                <a:cubicBezTo>
                  <a:pt x="40468" y="69342"/>
                  <a:pt x="26875" y="47766"/>
                  <a:pt x="18141" y="37643"/>
                </a:cubicBezTo>
                <a:cubicBezTo>
                  <a:pt x="11430" y="27723"/>
                  <a:pt x="5357" y="17363"/>
                  <a:pt x="-23" y="6639"/>
                </a:cubicBezTo>
                <a:cubicBezTo>
                  <a:pt x="-138" y="6321"/>
                  <a:pt x="-138" y="5974"/>
                  <a:pt x="-23" y="5655"/>
                </a:cubicBezTo>
                <a:cubicBezTo>
                  <a:pt x="151" y="5372"/>
                  <a:pt x="383" y="5146"/>
                  <a:pt x="671" y="5019"/>
                </a:cubicBezTo>
                <a:cubicBezTo>
                  <a:pt x="7266" y="2844"/>
                  <a:pt x="13976" y="1126"/>
                  <a:pt x="20801" y="-129"/>
                </a:cubicBezTo>
                <a:lnTo>
                  <a:pt x="21553" y="-129"/>
                </a:lnTo>
                <a:cubicBezTo>
                  <a:pt x="26181" y="854"/>
                  <a:pt x="30403" y="3191"/>
                  <a:pt x="33701" y="6581"/>
                </a:cubicBezTo>
                <a:cubicBezTo>
                  <a:pt x="36188" y="9143"/>
                  <a:pt x="39312" y="11018"/>
                  <a:pt x="42782" y="12018"/>
                </a:cubicBezTo>
                <a:cubicBezTo>
                  <a:pt x="51921" y="12446"/>
                  <a:pt x="59962" y="18364"/>
                  <a:pt x="63028" y="27000"/>
                </a:cubicBezTo>
                <a:cubicBezTo>
                  <a:pt x="66846" y="36984"/>
                  <a:pt x="72514" y="46146"/>
                  <a:pt x="79745" y="54013"/>
                </a:cubicBezTo>
                <a:cubicBezTo>
                  <a:pt x="83736" y="59427"/>
                  <a:pt x="86050" y="65871"/>
                  <a:pt x="86513" y="72581"/>
                </a:cubicBezTo>
                <a:cubicBezTo>
                  <a:pt x="86570" y="73322"/>
                  <a:pt x="86223" y="74022"/>
                  <a:pt x="85587" y="74432"/>
                </a:cubicBezTo>
                <a:cubicBezTo>
                  <a:pt x="85009" y="74756"/>
                  <a:pt x="84372" y="74918"/>
                  <a:pt x="83678" y="74895"/>
                </a:cubicBezTo>
                <a:lnTo>
                  <a:pt x="83678" y="74895"/>
                </a:lnTo>
                <a:cubicBezTo>
                  <a:pt x="80613" y="74548"/>
                  <a:pt x="77547" y="73831"/>
                  <a:pt x="74654" y="72755"/>
                </a:cubicBezTo>
                <a:cubicBezTo>
                  <a:pt x="72167" y="72003"/>
                  <a:pt x="69390" y="71135"/>
                  <a:pt x="66556" y="70441"/>
                </a:cubicBezTo>
                <a:cubicBezTo>
                  <a:pt x="60367" y="68879"/>
                  <a:pt x="57417" y="72523"/>
                  <a:pt x="57417" y="81431"/>
                </a:cubicBezTo>
                <a:cubicBezTo>
                  <a:pt x="57417" y="85480"/>
                  <a:pt x="50417" y="95083"/>
                  <a:pt x="42840" y="104916"/>
                </a:cubicBezTo>
                <a:lnTo>
                  <a:pt x="41799" y="106247"/>
                </a:lnTo>
                <a:cubicBezTo>
                  <a:pt x="41626" y="106507"/>
                  <a:pt x="41336" y="106675"/>
                  <a:pt x="41047" y="106709"/>
                </a:cubicBezTo>
                <a:close/>
                <a:moveTo>
                  <a:pt x="2639" y="6523"/>
                </a:moveTo>
                <a:cubicBezTo>
                  <a:pt x="7671" y="16744"/>
                  <a:pt x="13455" y="26566"/>
                  <a:pt x="19992" y="35908"/>
                </a:cubicBezTo>
                <a:cubicBezTo>
                  <a:pt x="25197" y="41692"/>
                  <a:pt x="44633" y="68243"/>
                  <a:pt x="37345" y="75705"/>
                </a:cubicBezTo>
                <a:cubicBezTo>
                  <a:pt x="35262" y="78973"/>
                  <a:pt x="34453" y="82878"/>
                  <a:pt x="35089" y="86695"/>
                </a:cubicBezTo>
                <a:cubicBezTo>
                  <a:pt x="35147" y="92948"/>
                  <a:pt x="37172" y="99028"/>
                  <a:pt x="40874" y="104049"/>
                </a:cubicBezTo>
                <a:lnTo>
                  <a:pt x="40874" y="103702"/>
                </a:lnTo>
                <a:cubicBezTo>
                  <a:pt x="44344" y="99132"/>
                  <a:pt x="54987" y="85365"/>
                  <a:pt x="54987" y="81547"/>
                </a:cubicBezTo>
                <a:cubicBezTo>
                  <a:pt x="54987" y="70325"/>
                  <a:pt x="59788" y="67954"/>
                  <a:pt x="63780" y="67954"/>
                </a:cubicBezTo>
                <a:cubicBezTo>
                  <a:pt x="64821" y="67954"/>
                  <a:pt x="65862" y="68087"/>
                  <a:pt x="66904" y="68359"/>
                </a:cubicBezTo>
                <a:cubicBezTo>
                  <a:pt x="69796" y="69111"/>
                  <a:pt x="72688" y="69921"/>
                  <a:pt x="75117" y="70730"/>
                </a:cubicBezTo>
                <a:cubicBezTo>
                  <a:pt x="77836" y="71708"/>
                  <a:pt x="80671" y="72390"/>
                  <a:pt x="83505" y="72755"/>
                </a:cubicBezTo>
                <a:lnTo>
                  <a:pt x="83505" y="72755"/>
                </a:lnTo>
                <a:cubicBezTo>
                  <a:pt x="84025" y="72755"/>
                  <a:pt x="84141" y="72755"/>
                  <a:pt x="84141" y="72755"/>
                </a:cubicBezTo>
                <a:cubicBezTo>
                  <a:pt x="83621" y="66658"/>
                  <a:pt x="81480" y="60810"/>
                  <a:pt x="77951" y="55807"/>
                </a:cubicBezTo>
                <a:cubicBezTo>
                  <a:pt x="70432" y="47703"/>
                  <a:pt x="64532" y="38216"/>
                  <a:pt x="60598" y="27868"/>
                </a:cubicBezTo>
                <a:cubicBezTo>
                  <a:pt x="57880" y="19995"/>
                  <a:pt x="50649" y="14575"/>
                  <a:pt x="42320" y="14159"/>
                </a:cubicBezTo>
                <a:cubicBezTo>
                  <a:pt x="38328" y="13262"/>
                  <a:pt x="34742" y="11261"/>
                  <a:pt x="31850" y="8374"/>
                </a:cubicBezTo>
                <a:cubicBezTo>
                  <a:pt x="28032" y="5308"/>
                  <a:pt x="23751" y="1780"/>
                  <a:pt x="20628" y="2185"/>
                </a:cubicBezTo>
                <a:cubicBezTo>
                  <a:pt x="14554" y="3220"/>
                  <a:pt x="8538" y="4666"/>
                  <a:pt x="2639" y="652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2" name="Forma libre: forma 351">
            <a:extLst>
              <a:ext uri="{FF2B5EF4-FFF2-40B4-BE49-F238E27FC236}">
                <a16:creationId xmlns:a16="http://schemas.microsoft.com/office/drawing/2014/main" id="{A000A42F-2966-6D79-B478-960D9F45736B}"/>
              </a:ext>
            </a:extLst>
          </p:cNvPr>
          <p:cNvSpPr/>
          <p:nvPr/>
        </p:nvSpPr>
        <p:spPr>
          <a:xfrm>
            <a:off x="6786034" y="3176568"/>
            <a:ext cx="172661" cy="95821"/>
          </a:xfrm>
          <a:custGeom>
            <a:avLst/>
            <a:gdLst>
              <a:gd name="connsiteX0" fmla="*/ 90854 w 172661"/>
              <a:gd name="connsiteY0" fmla="*/ 95574 h 95821"/>
              <a:gd name="connsiteX1" fmla="*/ 90854 w 172661"/>
              <a:gd name="connsiteY1" fmla="*/ 95574 h 95821"/>
              <a:gd name="connsiteX2" fmla="*/ 61353 w 172661"/>
              <a:gd name="connsiteY2" fmla="*/ 90658 h 95821"/>
              <a:gd name="connsiteX3" fmla="*/ 47934 w 172661"/>
              <a:gd name="connsiteY3" fmla="*/ 89327 h 95821"/>
              <a:gd name="connsiteX4" fmla="*/ 25316 w 172661"/>
              <a:gd name="connsiteY4" fmla="*/ 90310 h 95821"/>
              <a:gd name="connsiteX5" fmla="*/ 24391 w 172661"/>
              <a:gd name="connsiteY5" fmla="*/ 89963 h 95821"/>
              <a:gd name="connsiteX6" fmla="*/ 24391 w 172661"/>
              <a:gd name="connsiteY6" fmla="*/ 89038 h 95821"/>
              <a:gd name="connsiteX7" fmla="*/ 22251 w 172661"/>
              <a:gd name="connsiteY7" fmla="*/ 86261 h 95821"/>
              <a:gd name="connsiteX8" fmla="*/ 19011 w 172661"/>
              <a:gd name="connsiteY8" fmla="*/ 81749 h 95821"/>
              <a:gd name="connsiteX9" fmla="*/ 5071 w 172661"/>
              <a:gd name="connsiteY9" fmla="*/ 65669 h 95821"/>
              <a:gd name="connsiteX10" fmla="*/ 4203 w 172661"/>
              <a:gd name="connsiteY10" fmla="*/ 64801 h 95821"/>
              <a:gd name="connsiteX11" fmla="*/ 3567 w 172661"/>
              <a:gd name="connsiteY11" fmla="*/ 56529 h 95821"/>
              <a:gd name="connsiteX12" fmla="*/ 3567 w 172661"/>
              <a:gd name="connsiteY12" fmla="*/ 50745 h 95821"/>
              <a:gd name="connsiteX13" fmla="*/ 6691 w 172661"/>
              <a:gd name="connsiteY13" fmla="*/ 42242 h 95821"/>
              <a:gd name="connsiteX14" fmla="*/ 13805 w 172661"/>
              <a:gd name="connsiteY14" fmla="*/ 38482 h 95821"/>
              <a:gd name="connsiteX15" fmla="*/ 14441 w 172661"/>
              <a:gd name="connsiteY15" fmla="*/ 38482 h 95821"/>
              <a:gd name="connsiteX16" fmla="*/ 4550 w 172661"/>
              <a:gd name="connsiteY16" fmla="*/ 23153 h 95821"/>
              <a:gd name="connsiteX17" fmla="*/ -77 w 172661"/>
              <a:gd name="connsiteY17" fmla="*/ 11584 h 95821"/>
              <a:gd name="connsiteX18" fmla="*/ 4666 w 172661"/>
              <a:gd name="connsiteY18" fmla="*/ 2619 h 95821"/>
              <a:gd name="connsiteX19" fmla="*/ 6517 w 172661"/>
              <a:gd name="connsiteY19" fmla="*/ 536 h 95821"/>
              <a:gd name="connsiteX20" fmla="*/ 7732 w 172661"/>
              <a:gd name="connsiteY20" fmla="*/ -100 h 95821"/>
              <a:gd name="connsiteX21" fmla="*/ 18780 w 172661"/>
              <a:gd name="connsiteY21" fmla="*/ 7130 h 95821"/>
              <a:gd name="connsiteX22" fmla="*/ 22771 w 172661"/>
              <a:gd name="connsiteY22" fmla="*/ 10370 h 95821"/>
              <a:gd name="connsiteX23" fmla="*/ 24159 w 172661"/>
              <a:gd name="connsiteY23" fmla="*/ 10370 h 95821"/>
              <a:gd name="connsiteX24" fmla="*/ 37116 w 172661"/>
              <a:gd name="connsiteY24" fmla="*/ 11989 h 95821"/>
              <a:gd name="connsiteX25" fmla="*/ 51982 w 172661"/>
              <a:gd name="connsiteY25" fmla="*/ 13725 h 95821"/>
              <a:gd name="connsiteX26" fmla="*/ 58808 w 172661"/>
              <a:gd name="connsiteY26" fmla="*/ 13320 h 95821"/>
              <a:gd name="connsiteX27" fmla="*/ 81367 w 172661"/>
              <a:gd name="connsiteY27" fmla="*/ 14477 h 95821"/>
              <a:gd name="connsiteX28" fmla="*/ 99820 w 172661"/>
              <a:gd name="connsiteY28" fmla="*/ 6725 h 95821"/>
              <a:gd name="connsiteX29" fmla="*/ 127411 w 172661"/>
              <a:gd name="connsiteY29" fmla="*/ 478 h 95821"/>
              <a:gd name="connsiteX30" fmla="*/ 133196 w 172661"/>
              <a:gd name="connsiteY30" fmla="*/ 767 h 95821"/>
              <a:gd name="connsiteX31" fmla="*/ 155813 w 172661"/>
              <a:gd name="connsiteY31" fmla="*/ 7767 h 95821"/>
              <a:gd name="connsiteX32" fmla="*/ 171778 w 172661"/>
              <a:gd name="connsiteY32" fmla="*/ 15113 h 95821"/>
              <a:gd name="connsiteX33" fmla="*/ 172530 w 172661"/>
              <a:gd name="connsiteY33" fmla="*/ 16443 h 95821"/>
              <a:gd name="connsiteX34" fmla="*/ 166109 w 172661"/>
              <a:gd name="connsiteY34" fmla="*/ 23153 h 95821"/>
              <a:gd name="connsiteX35" fmla="*/ 153615 w 172661"/>
              <a:gd name="connsiteY35" fmla="*/ 36457 h 95821"/>
              <a:gd name="connsiteX36" fmla="*/ 144186 w 172661"/>
              <a:gd name="connsiteY36" fmla="*/ 46580 h 95821"/>
              <a:gd name="connsiteX37" fmla="*/ 142972 w 172661"/>
              <a:gd name="connsiteY37" fmla="*/ 49762 h 95821"/>
              <a:gd name="connsiteX38" fmla="*/ 149797 w 172661"/>
              <a:gd name="connsiteY38" fmla="*/ 64975 h 95821"/>
              <a:gd name="connsiteX39" fmla="*/ 154483 w 172661"/>
              <a:gd name="connsiteY39" fmla="*/ 72205 h 95821"/>
              <a:gd name="connsiteX40" fmla="*/ 154020 w 172661"/>
              <a:gd name="connsiteY40" fmla="*/ 73420 h 95821"/>
              <a:gd name="connsiteX41" fmla="*/ 141814 w 172661"/>
              <a:gd name="connsiteY41" fmla="*/ 75560 h 95821"/>
              <a:gd name="connsiteX42" fmla="*/ 130246 w 172661"/>
              <a:gd name="connsiteY42" fmla="*/ 73767 h 95821"/>
              <a:gd name="connsiteX43" fmla="*/ 114570 w 172661"/>
              <a:gd name="connsiteY43" fmla="*/ 75618 h 95821"/>
              <a:gd name="connsiteX44" fmla="*/ 115496 w 172661"/>
              <a:gd name="connsiteY44" fmla="*/ 81692 h 95821"/>
              <a:gd name="connsiteX45" fmla="*/ 115496 w 172661"/>
              <a:gd name="connsiteY45" fmla="*/ 82617 h 95821"/>
              <a:gd name="connsiteX46" fmla="*/ 114686 w 172661"/>
              <a:gd name="connsiteY46" fmla="*/ 83138 h 95821"/>
              <a:gd name="connsiteX47" fmla="*/ 102539 w 172661"/>
              <a:gd name="connsiteY47" fmla="*/ 87129 h 95821"/>
              <a:gd name="connsiteX48" fmla="*/ 102539 w 172661"/>
              <a:gd name="connsiteY48" fmla="*/ 87881 h 95821"/>
              <a:gd name="connsiteX49" fmla="*/ 102133 w 172661"/>
              <a:gd name="connsiteY49" fmla="*/ 91988 h 95821"/>
              <a:gd name="connsiteX50" fmla="*/ 90854 w 172661"/>
              <a:gd name="connsiteY50" fmla="*/ 95574 h 95821"/>
              <a:gd name="connsiteX51" fmla="*/ 47818 w 172661"/>
              <a:gd name="connsiteY51" fmla="*/ 87071 h 95821"/>
              <a:gd name="connsiteX52" fmla="*/ 62221 w 172661"/>
              <a:gd name="connsiteY52" fmla="*/ 88633 h 95821"/>
              <a:gd name="connsiteX53" fmla="*/ 91143 w 172661"/>
              <a:gd name="connsiteY53" fmla="*/ 93318 h 95821"/>
              <a:gd name="connsiteX54" fmla="*/ 100340 w 172661"/>
              <a:gd name="connsiteY54" fmla="*/ 90426 h 95821"/>
              <a:gd name="connsiteX55" fmla="*/ 100340 w 172661"/>
              <a:gd name="connsiteY55" fmla="*/ 88459 h 95821"/>
              <a:gd name="connsiteX56" fmla="*/ 100340 w 172661"/>
              <a:gd name="connsiteY56" fmla="*/ 85683 h 95821"/>
              <a:gd name="connsiteX57" fmla="*/ 112835 w 172661"/>
              <a:gd name="connsiteY57" fmla="*/ 80766 h 95821"/>
              <a:gd name="connsiteX58" fmla="*/ 113644 w 172661"/>
              <a:gd name="connsiteY58" fmla="*/ 73246 h 95821"/>
              <a:gd name="connsiteX59" fmla="*/ 130130 w 172661"/>
              <a:gd name="connsiteY59" fmla="*/ 71222 h 95821"/>
              <a:gd name="connsiteX60" fmla="*/ 142451 w 172661"/>
              <a:gd name="connsiteY60" fmla="*/ 73246 h 95821"/>
              <a:gd name="connsiteX61" fmla="*/ 151648 w 172661"/>
              <a:gd name="connsiteY61" fmla="*/ 71742 h 95821"/>
              <a:gd name="connsiteX62" fmla="*/ 148988 w 172661"/>
              <a:gd name="connsiteY62" fmla="*/ 66883 h 95821"/>
              <a:gd name="connsiteX63" fmla="*/ 140253 w 172661"/>
              <a:gd name="connsiteY63" fmla="*/ 49530 h 95821"/>
              <a:gd name="connsiteX64" fmla="*/ 143318 w 172661"/>
              <a:gd name="connsiteY64" fmla="*/ 44093 h 95821"/>
              <a:gd name="connsiteX65" fmla="*/ 151301 w 172661"/>
              <a:gd name="connsiteY65" fmla="*/ 34953 h 95821"/>
              <a:gd name="connsiteX66" fmla="*/ 165010 w 172661"/>
              <a:gd name="connsiteY66" fmla="*/ 20724 h 95821"/>
              <a:gd name="connsiteX67" fmla="*/ 169638 w 172661"/>
              <a:gd name="connsiteY67" fmla="*/ 16617 h 95821"/>
              <a:gd name="connsiteX68" fmla="*/ 153499 w 172661"/>
              <a:gd name="connsiteY68" fmla="*/ 8692 h 95821"/>
              <a:gd name="connsiteX69" fmla="*/ 132559 w 172661"/>
              <a:gd name="connsiteY69" fmla="*/ 2908 h 95821"/>
              <a:gd name="connsiteX70" fmla="*/ 127122 w 172661"/>
              <a:gd name="connsiteY70" fmla="*/ 2908 h 95821"/>
              <a:gd name="connsiteX71" fmla="*/ 101092 w 172661"/>
              <a:gd name="connsiteY71" fmla="*/ 8692 h 95821"/>
              <a:gd name="connsiteX72" fmla="*/ 80789 w 172661"/>
              <a:gd name="connsiteY72" fmla="*/ 17137 h 95821"/>
              <a:gd name="connsiteX73" fmla="*/ 58519 w 172661"/>
              <a:gd name="connsiteY73" fmla="*/ 15981 h 95821"/>
              <a:gd name="connsiteX74" fmla="*/ 52098 w 172661"/>
              <a:gd name="connsiteY74" fmla="*/ 16328 h 95821"/>
              <a:gd name="connsiteX75" fmla="*/ 36480 w 172661"/>
              <a:gd name="connsiteY75" fmla="*/ 14650 h 95821"/>
              <a:gd name="connsiteX76" fmla="*/ 23870 w 172661"/>
              <a:gd name="connsiteY76" fmla="*/ 13030 h 95821"/>
              <a:gd name="connsiteX77" fmla="*/ 23118 w 172661"/>
              <a:gd name="connsiteY77" fmla="*/ 13030 h 95821"/>
              <a:gd name="connsiteX78" fmla="*/ 16871 w 172661"/>
              <a:gd name="connsiteY78" fmla="*/ 9213 h 95821"/>
              <a:gd name="connsiteX79" fmla="*/ 7847 w 172661"/>
              <a:gd name="connsiteY79" fmla="*/ 2734 h 95821"/>
              <a:gd name="connsiteX80" fmla="*/ 5649 w 172661"/>
              <a:gd name="connsiteY80" fmla="*/ 4932 h 95821"/>
              <a:gd name="connsiteX81" fmla="*/ 1889 w 172661"/>
              <a:gd name="connsiteY81" fmla="*/ 12221 h 95821"/>
              <a:gd name="connsiteX82" fmla="*/ 5765 w 172661"/>
              <a:gd name="connsiteY82" fmla="*/ 21996 h 95821"/>
              <a:gd name="connsiteX83" fmla="*/ 16235 w 172661"/>
              <a:gd name="connsiteY83" fmla="*/ 39812 h 95821"/>
              <a:gd name="connsiteX84" fmla="*/ 13516 w 172661"/>
              <a:gd name="connsiteY84" fmla="*/ 41490 h 95821"/>
              <a:gd name="connsiteX85" fmla="*/ 8137 w 172661"/>
              <a:gd name="connsiteY85" fmla="*/ 44440 h 95821"/>
              <a:gd name="connsiteX86" fmla="*/ 5534 w 172661"/>
              <a:gd name="connsiteY86" fmla="*/ 51092 h 95821"/>
              <a:gd name="connsiteX87" fmla="*/ 5534 w 172661"/>
              <a:gd name="connsiteY87" fmla="*/ 57455 h 95821"/>
              <a:gd name="connsiteX88" fmla="*/ 5534 w 172661"/>
              <a:gd name="connsiteY88" fmla="*/ 63818 h 95821"/>
              <a:gd name="connsiteX89" fmla="*/ 6401 w 172661"/>
              <a:gd name="connsiteY89" fmla="*/ 64685 h 95821"/>
              <a:gd name="connsiteX90" fmla="*/ 20920 w 172661"/>
              <a:gd name="connsiteY90" fmla="*/ 82039 h 95821"/>
              <a:gd name="connsiteX91" fmla="*/ 23465 w 172661"/>
              <a:gd name="connsiteY91" fmla="*/ 85220 h 95821"/>
              <a:gd name="connsiteX92" fmla="*/ 26242 w 172661"/>
              <a:gd name="connsiteY92" fmla="*/ 88691 h 95821"/>
              <a:gd name="connsiteX93" fmla="*/ 47818 w 172661"/>
              <a:gd name="connsiteY93" fmla="*/ 87071 h 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72661" h="95821">
                <a:moveTo>
                  <a:pt x="90854" y="95574"/>
                </a:moveTo>
                <a:lnTo>
                  <a:pt x="90854" y="95574"/>
                </a:lnTo>
                <a:cubicBezTo>
                  <a:pt x="89928" y="95574"/>
                  <a:pt x="67716" y="93955"/>
                  <a:pt x="61353" y="90658"/>
                </a:cubicBezTo>
                <a:cubicBezTo>
                  <a:pt x="57015" y="89379"/>
                  <a:pt x="52445" y="88922"/>
                  <a:pt x="47934" y="89327"/>
                </a:cubicBezTo>
                <a:cubicBezTo>
                  <a:pt x="39257" y="89327"/>
                  <a:pt x="29192" y="90021"/>
                  <a:pt x="25316" y="90310"/>
                </a:cubicBezTo>
                <a:cubicBezTo>
                  <a:pt x="24969" y="90368"/>
                  <a:pt x="24622" y="90235"/>
                  <a:pt x="24391" y="89963"/>
                </a:cubicBezTo>
                <a:cubicBezTo>
                  <a:pt x="24217" y="89674"/>
                  <a:pt x="24217" y="89327"/>
                  <a:pt x="24391" y="89038"/>
                </a:cubicBezTo>
                <a:cubicBezTo>
                  <a:pt x="24391" y="88170"/>
                  <a:pt x="23407" y="87245"/>
                  <a:pt x="22251" y="86261"/>
                </a:cubicBezTo>
                <a:cubicBezTo>
                  <a:pt x="20689" y="85145"/>
                  <a:pt x="19590" y="83566"/>
                  <a:pt x="19011" y="81749"/>
                </a:cubicBezTo>
                <a:cubicBezTo>
                  <a:pt x="19011" y="80419"/>
                  <a:pt x="16177" y="76544"/>
                  <a:pt x="5071" y="65669"/>
                </a:cubicBezTo>
                <a:lnTo>
                  <a:pt x="4203" y="64801"/>
                </a:lnTo>
                <a:cubicBezTo>
                  <a:pt x="2757" y="63355"/>
                  <a:pt x="3162" y="60173"/>
                  <a:pt x="3567" y="56529"/>
                </a:cubicBezTo>
                <a:cubicBezTo>
                  <a:pt x="3798" y="54609"/>
                  <a:pt x="3798" y="52665"/>
                  <a:pt x="3567" y="50745"/>
                </a:cubicBezTo>
                <a:cubicBezTo>
                  <a:pt x="3451" y="47616"/>
                  <a:pt x="4608" y="44573"/>
                  <a:pt x="6691" y="42242"/>
                </a:cubicBezTo>
                <a:cubicBezTo>
                  <a:pt x="8368" y="39986"/>
                  <a:pt x="10971" y="38609"/>
                  <a:pt x="13805" y="38482"/>
                </a:cubicBezTo>
                <a:cubicBezTo>
                  <a:pt x="14326" y="38482"/>
                  <a:pt x="14384" y="38482"/>
                  <a:pt x="14441" y="38482"/>
                </a:cubicBezTo>
                <a:cubicBezTo>
                  <a:pt x="15193" y="36573"/>
                  <a:pt x="10103" y="28128"/>
                  <a:pt x="4550" y="23153"/>
                </a:cubicBezTo>
                <a:cubicBezTo>
                  <a:pt x="1311" y="20203"/>
                  <a:pt x="-367" y="15946"/>
                  <a:pt x="-77" y="11584"/>
                </a:cubicBezTo>
                <a:cubicBezTo>
                  <a:pt x="38" y="8027"/>
                  <a:pt x="1774" y="4718"/>
                  <a:pt x="4666" y="2619"/>
                </a:cubicBezTo>
                <a:cubicBezTo>
                  <a:pt x="5476" y="2121"/>
                  <a:pt x="6112" y="1398"/>
                  <a:pt x="6517" y="536"/>
                </a:cubicBezTo>
                <a:cubicBezTo>
                  <a:pt x="6691" y="50"/>
                  <a:pt x="7211" y="-222"/>
                  <a:pt x="7732" y="-100"/>
                </a:cubicBezTo>
                <a:cubicBezTo>
                  <a:pt x="12070" y="1167"/>
                  <a:pt x="15888" y="3683"/>
                  <a:pt x="18780" y="7130"/>
                </a:cubicBezTo>
                <a:cubicBezTo>
                  <a:pt x="20226" y="8576"/>
                  <a:pt x="22019" y="10370"/>
                  <a:pt x="22771" y="10370"/>
                </a:cubicBezTo>
                <a:cubicBezTo>
                  <a:pt x="23234" y="10306"/>
                  <a:pt x="23697" y="10306"/>
                  <a:pt x="24159" y="10370"/>
                </a:cubicBezTo>
                <a:cubicBezTo>
                  <a:pt x="28498" y="10676"/>
                  <a:pt x="32836" y="11214"/>
                  <a:pt x="37116" y="11989"/>
                </a:cubicBezTo>
                <a:cubicBezTo>
                  <a:pt x="42033" y="13001"/>
                  <a:pt x="47008" y="13580"/>
                  <a:pt x="51982" y="13725"/>
                </a:cubicBezTo>
                <a:cubicBezTo>
                  <a:pt x="54238" y="13366"/>
                  <a:pt x="56552" y="13233"/>
                  <a:pt x="58808" y="13320"/>
                </a:cubicBezTo>
                <a:cubicBezTo>
                  <a:pt x="66386" y="13320"/>
                  <a:pt x="76971" y="13956"/>
                  <a:pt x="81367" y="14477"/>
                </a:cubicBezTo>
                <a:cubicBezTo>
                  <a:pt x="88366" y="14824"/>
                  <a:pt x="95134" y="11972"/>
                  <a:pt x="99820" y="6725"/>
                </a:cubicBezTo>
                <a:cubicBezTo>
                  <a:pt x="105604" y="652"/>
                  <a:pt x="125213" y="478"/>
                  <a:pt x="127411" y="478"/>
                </a:cubicBezTo>
                <a:cubicBezTo>
                  <a:pt x="129321" y="461"/>
                  <a:pt x="131287" y="559"/>
                  <a:pt x="133196" y="767"/>
                </a:cubicBezTo>
                <a:cubicBezTo>
                  <a:pt x="142856" y="1982"/>
                  <a:pt x="153326" y="3602"/>
                  <a:pt x="155813" y="7767"/>
                </a:cubicBezTo>
                <a:cubicBezTo>
                  <a:pt x="160557" y="11266"/>
                  <a:pt x="165994" y="13765"/>
                  <a:pt x="171778" y="15113"/>
                </a:cubicBezTo>
                <a:cubicBezTo>
                  <a:pt x="172298" y="15304"/>
                  <a:pt x="172646" y="15876"/>
                  <a:pt x="172530" y="16443"/>
                </a:cubicBezTo>
                <a:cubicBezTo>
                  <a:pt x="171836" y="19729"/>
                  <a:pt x="169348" y="22332"/>
                  <a:pt x="166109" y="23153"/>
                </a:cubicBezTo>
                <a:cubicBezTo>
                  <a:pt x="161597" y="24541"/>
                  <a:pt x="157375" y="30904"/>
                  <a:pt x="153615" y="36457"/>
                </a:cubicBezTo>
                <a:cubicBezTo>
                  <a:pt x="149855" y="42010"/>
                  <a:pt x="147194" y="45944"/>
                  <a:pt x="144186" y="46580"/>
                </a:cubicBezTo>
                <a:cubicBezTo>
                  <a:pt x="143145" y="46580"/>
                  <a:pt x="142914" y="48431"/>
                  <a:pt x="142972" y="49762"/>
                </a:cubicBezTo>
                <a:cubicBezTo>
                  <a:pt x="142972" y="55546"/>
                  <a:pt x="147484" y="64570"/>
                  <a:pt x="149797" y="64975"/>
                </a:cubicBezTo>
                <a:cubicBezTo>
                  <a:pt x="152111" y="65379"/>
                  <a:pt x="153441" y="68503"/>
                  <a:pt x="154483" y="72205"/>
                </a:cubicBezTo>
                <a:cubicBezTo>
                  <a:pt x="154598" y="72668"/>
                  <a:pt x="154425" y="73159"/>
                  <a:pt x="154020" y="73420"/>
                </a:cubicBezTo>
                <a:cubicBezTo>
                  <a:pt x="150665" y="76358"/>
                  <a:pt x="145980" y="77186"/>
                  <a:pt x="141814" y="75560"/>
                </a:cubicBezTo>
                <a:cubicBezTo>
                  <a:pt x="138113" y="74137"/>
                  <a:pt x="134179" y="73524"/>
                  <a:pt x="130246" y="73767"/>
                </a:cubicBezTo>
                <a:cubicBezTo>
                  <a:pt x="124982" y="73692"/>
                  <a:pt x="119718" y="74316"/>
                  <a:pt x="114570" y="75618"/>
                </a:cubicBezTo>
                <a:cubicBezTo>
                  <a:pt x="114107" y="75618"/>
                  <a:pt x="114570" y="77874"/>
                  <a:pt x="115496" y="81692"/>
                </a:cubicBezTo>
                <a:cubicBezTo>
                  <a:pt x="115611" y="81992"/>
                  <a:pt x="115611" y="82316"/>
                  <a:pt x="115496" y="82617"/>
                </a:cubicBezTo>
                <a:cubicBezTo>
                  <a:pt x="115322" y="82906"/>
                  <a:pt x="115032" y="83097"/>
                  <a:pt x="114686" y="83138"/>
                </a:cubicBezTo>
                <a:cubicBezTo>
                  <a:pt x="110290" y="83138"/>
                  <a:pt x="106067" y="84538"/>
                  <a:pt x="102539" y="87129"/>
                </a:cubicBezTo>
                <a:cubicBezTo>
                  <a:pt x="102423" y="87366"/>
                  <a:pt x="102423" y="87644"/>
                  <a:pt x="102539" y="87881"/>
                </a:cubicBezTo>
                <a:cubicBezTo>
                  <a:pt x="103117" y="89223"/>
                  <a:pt x="103001" y="90785"/>
                  <a:pt x="102133" y="91988"/>
                </a:cubicBezTo>
                <a:cubicBezTo>
                  <a:pt x="99068" y="94799"/>
                  <a:pt x="94961" y="96112"/>
                  <a:pt x="90854" y="95574"/>
                </a:cubicBezTo>
                <a:close/>
                <a:moveTo>
                  <a:pt x="47818" y="87071"/>
                </a:moveTo>
                <a:cubicBezTo>
                  <a:pt x="52676" y="86713"/>
                  <a:pt x="57536" y="87239"/>
                  <a:pt x="62221" y="88633"/>
                </a:cubicBezTo>
                <a:cubicBezTo>
                  <a:pt x="68295" y="91699"/>
                  <a:pt x="89812" y="93260"/>
                  <a:pt x="91143" y="93318"/>
                </a:cubicBezTo>
                <a:cubicBezTo>
                  <a:pt x="94498" y="93689"/>
                  <a:pt x="97795" y="92636"/>
                  <a:pt x="100340" y="90426"/>
                </a:cubicBezTo>
                <a:cubicBezTo>
                  <a:pt x="100687" y="89819"/>
                  <a:pt x="100687" y="89067"/>
                  <a:pt x="100340" y="88459"/>
                </a:cubicBezTo>
                <a:cubicBezTo>
                  <a:pt x="99877" y="87592"/>
                  <a:pt x="99877" y="86550"/>
                  <a:pt x="100340" y="85683"/>
                </a:cubicBezTo>
                <a:cubicBezTo>
                  <a:pt x="102249" y="82559"/>
                  <a:pt x="109653" y="81171"/>
                  <a:pt x="112835" y="80766"/>
                </a:cubicBezTo>
                <a:cubicBezTo>
                  <a:pt x="111909" y="77411"/>
                  <a:pt x="111331" y="74172"/>
                  <a:pt x="113644" y="73246"/>
                </a:cubicBezTo>
                <a:cubicBezTo>
                  <a:pt x="119024" y="71835"/>
                  <a:pt x="124577" y="71152"/>
                  <a:pt x="130130" y="71222"/>
                </a:cubicBezTo>
                <a:cubicBezTo>
                  <a:pt x="134353" y="71002"/>
                  <a:pt x="138518" y="71696"/>
                  <a:pt x="142451" y="73246"/>
                </a:cubicBezTo>
                <a:cubicBezTo>
                  <a:pt x="145574" y="74438"/>
                  <a:pt x="149103" y="73865"/>
                  <a:pt x="151648" y="71742"/>
                </a:cubicBezTo>
                <a:cubicBezTo>
                  <a:pt x="151070" y="69776"/>
                  <a:pt x="150202" y="67115"/>
                  <a:pt x="148988" y="66883"/>
                </a:cubicBezTo>
                <a:cubicBezTo>
                  <a:pt x="144822" y="66131"/>
                  <a:pt x="140368" y="55315"/>
                  <a:pt x="140253" y="49530"/>
                </a:cubicBezTo>
                <a:cubicBezTo>
                  <a:pt x="140253" y="45365"/>
                  <a:pt x="142162" y="44324"/>
                  <a:pt x="143318" y="44093"/>
                </a:cubicBezTo>
                <a:cubicBezTo>
                  <a:pt x="145459" y="43630"/>
                  <a:pt x="148409" y="39234"/>
                  <a:pt x="151301" y="34953"/>
                </a:cubicBezTo>
                <a:cubicBezTo>
                  <a:pt x="155293" y="29169"/>
                  <a:pt x="159805" y="22343"/>
                  <a:pt x="165010" y="20724"/>
                </a:cubicBezTo>
                <a:cubicBezTo>
                  <a:pt x="167150" y="20221"/>
                  <a:pt x="168886" y="18676"/>
                  <a:pt x="169638" y="16617"/>
                </a:cubicBezTo>
                <a:cubicBezTo>
                  <a:pt x="163853" y="14650"/>
                  <a:pt x="155119" y="11353"/>
                  <a:pt x="153499" y="8692"/>
                </a:cubicBezTo>
                <a:cubicBezTo>
                  <a:pt x="151359" y="5106"/>
                  <a:pt x="138170" y="3428"/>
                  <a:pt x="132559" y="2908"/>
                </a:cubicBezTo>
                <a:cubicBezTo>
                  <a:pt x="130767" y="2798"/>
                  <a:pt x="128915" y="2798"/>
                  <a:pt x="127122" y="2908"/>
                </a:cubicBezTo>
                <a:cubicBezTo>
                  <a:pt x="117288" y="2908"/>
                  <a:pt x="104968" y="4643"/>
                  <a:pt x="101092" y="8692"/>
                </a:cubicBezTo>
                <a:cubicBezTo>
                  <a:pt x="95944" y="14442"/>
                  <a:pt x="88482" y="17548"/>
                  <a:pt x="80789" y="17137"/>
                </a:cubicBezTo>
                <a:cubicBezTo>
                  <a:pt x="76509" y="16617"/>
                  <a:pt x="66038" y="15981"/>
                  <a:pt x="58519" y="15981"/>
                </a:cubicBezTo>
                <a:cubicBezTo>
                  <a:pt x="56379" y="15923"/>
                  <a:pt x="54238" y="16038"/>
                  <a:pt x="52098" y="16328"/>
                </a:cubicBezTo>
                <a:cubicBezTo>
                  <a:pt x="46834" y="16304"/>
                  <a:pt x="41628" y="15738"/>
                  <a:pt x="36480" y="14650"/>
                </a:cubicBezTo>
                <a:cubicBezTo>
                  <a:pt x="32316" y="13875"/>
                  <a:pt x="28093" y="13331"/>
                  <a:pt x="23870" y="13030"/>
                </a:cubicBezTo>
                <a:lnTo>
                  <a:pt x="23118" y="13030"/>
                </a:lnTo>
                <a:cubicBezTo>
                  <a:pt x="21325" y="13435"/>
                  <a:pt x="19416" y="11700"/>
                  <a:pt x="16871" y="9213"/>
                </a:cubicBezTo>
                <a:cubicBezTo>
                  <a:pt x="14441" y="6338"/>
                  <a:pt x="11318" y="4111"/>
                  <a:pt x="7847" y="2734"/>
                </a:cubicBezTo>
                <a:cubicBezTo>
                  <a:pt x="7327" y="3631"/>
                  <a:pt x="6517" y="4383"/>
                  <a:pt x="5649" y="4932"/>
                </a:cubicBezTo>
                <a:cubicBezTo>
                  <a:pt x="3335" y="6644"/>
                  <a:pt x="1947" y="9340"/>
                  <a:pt x="1889" y="12221"/>
                </a:cubicBezTo>
                <a:cubicBezTo>
                  <a:pt x="1600" y="15905"/>
                  <a:pt x="3046" y="19515"/>
                  <a:pt x="5765" y="21996"/>
                </a:cubicBezTo>
                <a:cubicBezTo>
                  <a:pt x="10335" y="26045"/>
                  <a:pt x="17739" y="35937"/>
                  <a:pt x="16235" y="39812"/>
                </a:cubicBezTo>
                <a:cubicBezTo>
                  <a:pt x="15830" y="40911"/>
                  <a:pt x="14673" y="41600"/>
                  <a:pt x="13516" y="41490"/>
                </a:cubicBezTo>
                <a:cubicBezTo>
                  <a:pt x="11376" y="41669"/>
                  <a:pt x="9409" y="42745"/>
                  <a:pt x="8137" y="44440"/>
                </a:cubicBezTo>
                <a:cubicBezTo>
                  <a:pt x="6459" y="46245"/>
                  <a:pt x="5534" y="48622"/>
                  <a:pt x="5534" y="51092"/>
                </a:cubicBezTo>
                <a:cubicBezTo>
                  <a:pt x="5823" y="53203"/>
                  <a:pt x="5823" y="55344"/>
                  <a:pt x="5534" y="57455"/>
                </a:cubicBezTo>
                <a:cubicBezTo>
                  <a:pt x="5534" y="59711"/>
                  <a:pt x="4839" y="63239"/>
                  <a:pt x="5534" y="63818"/>
                </a:cubicBezTo>
                <a:lnTo>
                  <a:pt x="6401" y="64685"/>
                </a:lnTo>
                <a:cubicBezTo>
                  <a:pt x="16061" y="74172"/>
                  <a:pt x="20515" y="79493"/>
                  <a:pt x="20920" y="82039"/>
                </a:cubicBezTo>
                <a:cubicBezTo>
                  <a:pt x="21441" y="83334"/>
                  <a:pt x="22308" y="84445"/>
                  <a:pt x="23465" y="85220"/>
                </a:cubicBezTo>
                <a:cubicBezTo>
                  <a:pt x="24680" y="86088"/>
                  <a:pt x="25663" y="87297"/>
                  <a:pt x="26242" y="88691"/>
                </a:cubicBezTo>
                <a:cubicBezTo>
                  <a:pt x="30638" y="87650"/>
                  <a:pt x="39835" y="87071"/>
                  <a:pt x="47818" y="8707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3" name="Forma libre: forma 352">
            <a:extLst>
              <a:ext uri="{FF2B5EF4-FFF2-40B4-BE49-F238E27FC236}">
                <a16:creationId xmlns:a16="http://schemas.microsoft.com/office/drawing/2014/main" id="{7CBC4A43-D400-13FC-38DA-F5320889F2BD}"/>
              </a:ext>
            </a:extLst>
          </p:cNvPr>
          <p:cNvSpPr/>
          <p:nvPr/>
        </p:nvSpPr>
        <p:spPr>
          <a:xfrm>
            <a:off x="6736949" y="3234899"/>
            <a:ext cx="75526" cy="54670"/>
          </a:xfrm>
          <a:custGeom>
            <a:avLst/>
            <a:gdLst>
              <a:gd name="connsiteX0" fmla="*/ 17308 w 75526"/>
              <a:gd name="connsiteY0" fmla="*/ 54481 h 54670"/>
              <a:gd name="connsiteX1" fmla="*/ 16672 w 75526"/>
              <a:gd name="connsiteY1" fmla="*/ 54481 h 54670"/>
              <a:gd name="connsiteX2" fmla="*/ 418 w 75526"/>
              <a:gd name="connsiteY2" fmla="*/ 37127 h 54670"/>
              <a:gd name="connsiteX3" fmla="*/ 3426 w 75526"/>
              <a:gd name="connsiteY3" fmla="*/ 8205 h 54670"/>
              <a:gd name="connsiteX4" fmla="*/ 4120 w 75526"/>
              <a:gd name="connsiteY4" fmla="*/ 7511 h 54670"/>
              <a:gd name="connsiteX5" fmla="*/ 5161 w 75526"/>
              <a:gd name="connsiteY5" fmla="*/ 7511 h 54670"/>
              <a:gd name="connsiteX6" fmla="*/ 6318 w 75526"/>
              <a:gd name="connsiteY6" fmla="*/ 8379 h 54670"/>
              <a:gd name="connsiteX7" fmla="*/ 52998 w 75526"/>
              <a:gd name="connsiteY7" fmla="*/ -124 h 54670"/>
              <a:gd name="connsiteX8" fmla="*/ 53924 w 75526"/>
              <a:gd name="connsiteY8" fmla="*/ 165 h 54670"/>
              <a:gd name="connsiteX9" fmla="*/ 54271 w 75526"/>
              <a:gd name="connsiteY9" fmla="*/ 1090 h 54670"/>
              <a:gd name="connsiteX10" fmla="*/ 54271 w 75526"/>
              <a:gd name="connsiteY10" fmla="*/ 3925 h 54670"/>
              <a:gd name="connsiteX11" fmla="*/ 54560 w 75526"/>
              <a:gd name="connsiteY11" fmla="*/ 5255 h 54670"/>
              <a:gd name="connsiteX12" fmla="*/ 55485 w 75526"/>
              <a:gd name="connsiteY12" fmla="*/ 6123 h 54670"/>
              <a:gd name="connsiteX13" fmla="*/ 70004 w 75526"/>
              <a:gd name="connsiteY13" fmla="*/ 23476 h 54670"/>
              <a:gd name="connsiteX14" fmla="*/ 72550 w 75526"/>
              <a:gd name="connsiteY14" fmla="*/ 26658 h 54670"/>
              <a:gd name="connsiteX15" fmla="*/ 75384 w 75526"/>
              <a:gd name="connsiteY15" fmla="*/ 31459 h 54670"/>
              <a:gd name="connsiteX16" fmla="*/ 74690 w 75526"/>
              <a:gd name="connsiteY16" fmla="*/ 33252 h 54670"/>
              <a:gd name="connsiteX17" fmla="*/ 49528 w 75526"/>
              <a:gd name="connsiteY17" fmla="*/ 45631 h 54670"/>
              <a:gd name="connsiteX18" fmla="*/ 47792 w 75526"/>
              <a:gd name="connsiteY18" fmla="*/ 45284 h 54670"/>
              <a:gd name="connsiteX19" fmla="*/ 44264 w 75526"/>
              <a:gd name="connsiteY19" fmla="*/ 47539 h 54670"/>
              <a:gd name="connsiteX20" fmla="*/ 35877 w 75526"/>
              <a:gd name="connsiteY20" fmla="*/ 53324 h 54670"/>
              <a:gd name="connsiteX21" fmla="*/ 33042 w 75526"/>
              <a:gd name="connsiteY21" fmla="*/ 53845 h 54670"/>
              <a:gd name="connsiteX22" fmla="*/ 31133 w 75526"/>
              <a:gd name="connsiteY22" fmla="*/ 53845 h 54670"/>
              <a:gd name="connsiteX23" fmla="*/ 29918 w 75526"/>
              <a:gd name="connsiteY23" fmla="*/ 53845 h 54670"/>
              <a:gd name="connsiteX24" fmla="*/ 29166 w 75526"/>
              <a:gd name="connsiteY24" fmla="*/ 53845 h 54670"/>
              <a:gd name="connsiteX25" fmla="*/ 20548 w 75526"/>
              <a:gd name="connsiteY25" fmla="*/ 53845 h 54670"/>
              <a:gd name="connsiteX26" fmla="*/ 18986 w 75526"/>
              <a:gd name="connsiteY26" fmla="*/ 53845 h 54670"/>
              <a:gd name="connsiteX27" fmla="*/ 18986 w 75526"/>
              <a:gd name="connsiteY27" fmla="*/ 53845 h 54670"/>
              <a:gd name="connsiteX28" fmla="*/ 18350 w 75526"/>
              <a:gd name="connsiteY28" fmla="*/ 53845 h 54670"/>
              <a:gd name="connsiteX29" fmla="*/ 17308 w 75526"/>
              <a:gd name="connsiteY29" fmla="*/ 54481 h 54670"/>
              <a:gd name="connsiteX30" fmla="*/ 5103 w 75526"/>
              <a:gd name="connsiteY30" fmla="*/ 9883 h 54670"/>
              <a:gd name="connsiteX31" fmla="*/ 2616 w 75526"/>
              <a:gd name="connsiteY31" fmla="*/ 36086 h 54670"/>
              <a:gd name="connsiteX32" fmla="*/ 17424 w 75526"/>
              <a:gd name="connsiteY32" fmla="*/ 51994 h 54670"/>
              <a:gd name="connsiteX33" fmla="*/ 18060 w 75526"/>
              <a:gd name="connsiteY33" fmla="*/ 51994 h 54670"/>
              <a:gd name="connsiteX34" fmla="*/ 18060 w 75526"/>
              <a:gd name="connsiteY34" fmla="*/ 51994 h 54670"/>
              <a:gd name="connsiteX35" fmla="*/ 19738 w 75526"/>
              <a:gd name="connsiteY35" fmla="*/ 51994 h 54670"/>
              <a:gd name="connsiteX36" fmla="*/ 20027 w 75526"/>
              <a:gd name="connsiteY36" fmla="*/ 51994 h 54670"/>
              <a:gd name="connsiteX37" fmla="*/ 28761 w 75526"/>
              <a:gd name="connsiteY37" fmla="*/ 51994 h 54670"/>
              <a:gd name="connsiteX38" fmla="*/ 31538 w 75526"/>
              <a:gd name="connsiteY38" fmla="*/ 51994 h 54670"/>
              <a:gd name="connsiteX39" fmla="*/ 32117 w 75526"/>
              <a:gd name="connsiteY39" fmla="*/ 51994 h 54670"/>
              <a:gd name="connsiteX40" fmla="*/ 34893 w 75526"/>
              <a:gd name="connsiteY40" fmla="*/ 51473 h 54670"/>
              <a:gd name="connsiteX41" fmla="*/ 42181 w 75526"/>
              <a:gd name="connsiteY41" fmla="*/ 46441 h 54670"/>
              <a:gd name="connsiteX42" fmla="*/ 46867 w 75526"/>
              <a:gd name="connsiteY42" fmla="*/ 43317 h 54670"/>
              <a:gd name="connsiteX43" fmla="*/ 48429 w 75526"/>
              <a:gd name="connsiteY43" fmla="*/ 43722 h 54670"/>
              <a:gd name="connsiteX44" fmla="*/ 49123 w 75526"/>
              <a:gd name="connsiteY44" fmla="*/ 43722 h 54670"/>
              <a:gd name="connsiteX45" fmla="*/ 72260 w 75526"/>
              <a:gd name="connsiteY45" fmla="*/ 32153 h 54670"/>
              <a:gd name="connsiteX46" fmla="*/ 72608 w 75526"/>
              <a:gd name="connsiteY46" fmla="*/ 31401 h 54670"/>
              <a:gd name="connsiteX47" fmla="*/ 70467 w 75526"/>
              <a:gd name="connsiteY47" fmla="*/ 28566 h 54670"/>
              <a:gd name="connsiteX48" fmla="*/ 67228 w 75526"/>
              <a:gd name="connsiteY48" fmla="*/ 24055 h 54670"/>
              <a:gd name="connsiteX49" fmla="*/ 53288 w 75526"/>
              <a:gd name="connsiteY49" fmla="*/ 7974 h 54670"/>
              <a:gd name="connsiteX50" fmla="*/ 52420 w 75526"/>
              <a:gd name="connsiteY50" fmla="*/ 7106 h 54670"/>
              <a:gd name="connsiteX51" fmla="*/ 51494 w 75526"/>
              <a:gd name="connsiteY51" fmla="*/ 4503 h 54670"/>
              <a:gd name="connsiteX52" fmla="*/ 51494 w 75526"/>
              <a:gd name="connsiteY52" fmla="*/ 4214 h 54670"/>
              <a:gd name="connsiteX53" fmla="*/ 51494 w 75526"/>
              <a:gd name="connsiteY53" fmla="*/ 2537 h 54670"/>
              <a:gd name="connsiteX54" fmla="*/ 5913 w 75526"/>
              <a:gd name="connsiteY54" fmla="*/ 10924 h 54670"/>
              <a:gd name="connsiteX55" fmla="*/ 4988 w 75526"/>
              <a:gd name="connsiteY55" fmla="*/ 10924 h 54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5526" h="54670">
                <a:moveTo>
                  <a:pt x="17308" y="54481"/>
                </a:moveTo>
                <a:cubicBezTo>
                  <a:pt x="17077" y="54562"/>
                  <a:pt x="16903" y="54562"/>
                  <a:pt x="16672" y="54481"/>
                </a:cubicBezTo>
                <a:cubicBezTo>
                  <a:pt x="8690" y="48696"/>
                  <a:pt x="2384" y="43780"/>
                  <a:pt x="418" y="37127"/>
                </a:cubicBezTo>
                <a:cubicBezTo>
                  <a:pt x="-855" y="27387"/>
                  <a:pt x="186" y="17478"/>
                  <a:pt x="3426" y="8205"/>
                </a:cubicBezTo>
                <a:cubicBezTo>
                  <a:pt x="3541" y="7870"/>
                  <a:pt x="3773" y="7610"/>
                  <a:pt x="4120" y="7511"/>
                </a:cubicBezTo>
                <a:cubicBezTo>
                  <a:pt x="4467" y="7372"/>
                  <a:pt x="4814" y="7372"/>
                  <a:pt x="5161" y="7511"/>
                </a:cubicBezTo>
                <a:lnTo>
                  <a:pt x="6318" y="8379"/>
                </a:lnTo>
                <a:cubicBezTo>
                  <a:pt x="10194" y="7569"/>
                  <a:pt x="35587" y="2594"/>
                  <a:pt x="52998" y="-124"/>
                </a:cubicBezTo>
                <a:cubicBezTo>
                  <a:pt x="53345" y="-153"/>
                  <a:pt x="53692" y="-49"/>
                  <a:pt x="53924" y="165"/>
                </a:cubicBezTo>
                <a:cubicBezTo>
                  <a:pt x="54155" y="419"/>
                  <a:pt x="54271" y="749"/>
                  <a:pt x="54271" y="1090"/>
                </a:cubicBezTo>
                <a:cubicBezTo>
                  <a:pt x="54213" y="2033"/>
                  <a:pt x="54213" y="2982"/>
                  <a:pt x="54271" y="3925"/>
                </a:cubicBezTo>
                <a:cubicBezTo>
                  <a:pt x="54271" y="4382"/>
                  <a:pt x="54386" y="4839"/>
                  <a:pt x="54560" y="5255"/>
                </a:cubicBezTo>
                <a:lnTo>
                  <a:pt x="55485" y="6123"/>
                </a:lnTo>
                <a:cubicBezTo>
                  <a:pt x="65146" y="15609"/>
                  <a:pt x="69600" y="20931"/>
                  <a:pt x="70004" y="23476"/>
                </a:cubicBezTo>
                <a:cubicBezTo>
                  <a:pt x="70525" y="24772"/>
                  <a:pt x="71393" y="25883"/>
                  <a:pt x="72550" y="26658"/>
                </a:cubicBezTo>
                <a:cubicBezTo>
                  <a:pt x="73996" y="27988"/>
                  <a:pt x="75673" y="29434"/>
                  <a:pt x="75384" y="31459"/>
                </a:cubicBezTo>
                <a:cubicBezTo>
                  <a:pt x="75326" y="32112"/>
                  <a:pt x="75095" y="32731"/>
                  <a:pt x="74690" y="33252"/>
                </a:cubicBezTo>
                <a:cubicBezTo>
                  <a:pt x="67517" y="39464"/>
                  <a:pt x="58841" y="43727"/>
                  <a:pt x="49528" y="45631"/>
                </a:cubicBezTo>
                <a:cubicBezTo>
                  <a:pt x="48949" y="45648"/>
                  <a:pt x="48313" y="45532"/>
                  <a:pt x="47792" y="45284"/>
                </a:cubicBezTo>
                <a:cubicBezTo>
                  <a:pt x="46693" y="44705"/>
                  <a:pt x="45710" y="45978"/>
                  <a:pt x="44264" y="47539"/>
                </a:cubicBezTo>
                <a:cubicBezTo>
                  <a:pt x="42123" y="50281"/>
                  <a:pt x="39174" y="52300"/>
                  <a:pt x="35877" y="53324"/>
                </a:cubicBezTo>
                <a:cubicBezTo>
                  <a:pt x="34951" y="53561"/>
                  <a:pt x="34025" y="53735"/>
                  <a:pt x="33042" y="53845"/>
                </a:cubicBezTo>
                <a:lnTo>
                  <a:pt x="31133" y="53845"/>
                </a:lnTo>
                <a:lnTo>
                  <a:pt x="29918" y="53845"/>
                </a:lnTo>
                <a:lnTo>
                  <a:pt x="29166" y="53845"/>
                </a:lnTo>
                <a:cubicBezTo>
                  <a:pt x="26043" y="53845"/>
                  <a:pt x="22862" y="53845"/>
                  <a:pt x="20548" y="53845"/>
                </a:cubicBezTo>
                <a:cubicBezTo>
                  <a:pt x="20027" y="53793"/>
                  <a:pt x="19507" y="53793"/>
                  <a:pt x="18986" y="53845"/>
                </a:cubicBezTo>
                <a:lnTo>
                  <a:pt x="18986" y="53845"/>
                </a:lnTo>
                <a:lnTo>
                  <a:pt x="18350" y="53845"/>
                </a:lnTo>
                <a:cubicBezTo>
                  <a:pt x="18118" y="54203"/>
                  <a:pt x="17713" y="54440"/>
                  <a:pt x="17308" y="54481"/>
                </a:cubicBezTo>
                <a:close/>
                <a:moveTo>
                  <a:pt x="5103" y="9883"/>
                </a:moveTo>
                <a:cubicBezTo>
                  <a:pt x="2327" y="18317"/>
                  <a:pt x="1459" y="27277"/>
                  <a:pt x="2616" y="36086"/>
                </a:cubicBezTo>
                <a:cubicBezTo>
                  <a:pt x="4236" y="41871"/>
                  <a:pt x="9326" y="45920"/>
                  <a:pt x="17424" y="51994"/>
                </a:cubicBezTo>
                <a:lnTo>
                  <a:pt x="18060" y="51994"/>
                </a:lnTo>
                <a:lnTo>
                  <a:pt x="18060" y="51994"/>
                </a:lnTo>
                <a:cubicBezTo>
                  <a:pt x="18639" y="51918"/>
                  <a:pt x="19159" y="51918"/>
                  <a:pt x="19738" y="51994"/>
                </a:cubicBezTo>
                <a:lnTo>
                  <a:pt x="20027" y="51994"/>
                </a:lnTo>
                <a:cubicBezTo>
                  <a:pt x="22283" y="51994"/>
                  <a:pt x="25522" y="51994"/>
                  <a:pt x="28761" y="51994"/>
                </a:cubicBezTo>
                <a:lnTo>
                  <a:pt x="31538" y="51994"/>
                </a:lnTo>
                <a:lnTo>
                  <a:pt x="32117" y="51994"/>
                </a:lnTo>
                <a:cubicBezTo>
                  <a:pt x="33042" y="51901"/>
                  <a:pt x="33968" y="51727"/>
                  <a:pt x="34893" y="51473"/>
                </a:cubicBezTo>
                <a:cubicBezTo>
                  <a:pt x="37785" y="50611"/>
                  <a:pt x="40330" y="48847"/>
                  <a:pt x="42181" y="46441"/>
                </a:cubicBezTo>
                <a:cubicBezTo>
                  <a:pt x="43743" y="44763"/>
                  <a:pt x="45074" y="43317"/>
                  <a:pt x="46867" y="43317"/>
                </a:cubicBezTo>
                <a:cubicBezTo>
                  <a:pt x="47387" y="43311"/>
                  <a:pt x="47966" y="43450"/>
                  <a:pt x="48429" y="43722"/>
                </a:cubicBezTo>
                <a:cubicBezTo>
                  <a:pt x="48660" y="43762"/>
                  <a:pt x="48891" y="43762"/>
                  <a:pt x="49123" y="43722"/>
                </a:cubicBezTo>
                <a:cubicBezTo>
                  <a:pt x="57626" y="41732"/>
                  <a:pt x="65551" y="37770"/>
                  <a:pt x="72260" y="32153"/>
                </a:cubicBezTo>
                <a:cubicBezTo>
                  <a:pt x="72434" y="31922"/>
                  <a:pt x="72550" y="31667"/>
                  <a:pt x="72608" y="31401"/>
                </a:cubicBezTo>
                <a:cubicBezTo>
                  <a:pt x="72608" y="30475"/>
                  <a:pt x="71624" y="29550"/>
                  <a:pt x="70467" y="28566"/>
                </a:cubicBezTo>
                <a:cubicBezTo>
                  <a:pt x="68905" y="27450"/>
                  <a:pt x="67806" y="25871"/>
                  <a:pt x="67228" y="24055"/>
                </a:cubicBezTo>
                <a:cubicBezTo>
                  <a:pt x="67228" y="22724"/>
                  <a:pt x="64394" y="18849"/>
                  <a:pt x="53288" y="7974"/>
                </a:cubicBezTo>
                <a:lnTo>
                  <a:pt x="52420" y="7106"/>
                </a:lnTo>
                <a:cubicBezTo>
                  <a:pt x="51784" y="6377"/>
                  <a:pt x="51494" y="5452"/>
                  <a:pt x="51494" y="4503"/>
                </a:cubicBezTo>
                <a:cubicBezTo>
                  <a:pt x="51494" y="4411"/>
                  <a:pt x="51494" y="4307"/>
                  <a:pt x="51494" y="4214"/>
                </a:cubicBezTo>
                <a:lnTo>
                  <a:pt x="51494" y="2537"/>
                </a:lnTo>
                <a:cubicBezTo>
                  <a:pt x="32869" y="5371"/>
                  <a:pt x="6144" y="10866"/>
                  <a:pt x="5913" y="10924"/>
                </a:cubicBezTo>
                <a:cubicBezTo>
                  <a:pt x="5624" y="11045"/>
                  <a:pt x="5277" y="11045"/>
                  <a:pt x="4988" y="1092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4" name="Forma libre: forma 353">
            <a:extLst>
              <a:ext uri="{FF2B5EF4-FFF2-40B4-BE49-F238E27FC236}">
                <a16:creationId xmlns:a16="http://schemas.microsoft.com/office/drawing/2014/main" id="{DAA97447-4A29-3BDF-CBE4-E0ABAB0ABBD1}"/>
              </a:ext>
            </a:extLst>
          </p:cNvPr>
          <p:cNvSpPr/>
          <p:nvPr/>
        </p:nvSpPr>
        <p:spPr>
          <a:xfrm>
            <a:off x="6784157" y="2886662"/>
            <a:ext cx="488781" cy="281646"/>
          </a:xfrm>
          <a:custGeom>
            <a:avLst/>
            <a:gdLst>
              <a:gd name="connsiteX0" fmla="*/ 311903 w 488781"/>
              <a:gd name="connsiteY0" fmla="*/ 281476 h 281646"/>
              <a:gd name="connsiteX1" fmla="*/ 306118 w 488781"/>
              <a:gd name="connsiteY1" fmla="*/ 279278 h 281646"/>
              <a:gd name="connsiteX2" fmla="*/ 306118 w 488781"/>
              <a:gd name="connsiteY2" fmla="*/ 269907 h 281646"/>
              <a:gd name="connsiteX3" fmla="*/ 305077 w 488781"/>
              <a:gd name="connsiteY3" fmla="*/ 258338 h 281646"/>
              <a:gd name="connsiteX4" fmla="*/ 292235 w 488781"/>
              <a:gd name="connsiteY4" fmla="*/ 253421 h 281646"/>
              <a:gd name="connsiteX5" fmla="*/ 277370 w 488781"/>
              <a:gd name="connsiteY5" fmla="*/ 245554 h 281646"/>
              <a:gd name="connsiteX6" fmla="*/ 291715 w 488781"/>
              <a:gd name="connsiteY6" fmla="*/ 237456 h 281646"/>
              <a:gd name="connsiteX7" fmla="*/ 313695 w 488781"/>
              <a:gd name="connsiteY7" fmla="*/ 225367 h 281646"/>
              <a:gd name="connsiteX8" fmla="*/ 298830 w 488781"/>
              <a:gd name="connsiteY8" fmla="*/ 222127 h 281646"/>
              <a:gd name="connsiteX9" fmla="*/ 293566 w 488781"/>
              <a:gd name="connsiteY9" fmla="*/ 222127 h 281646"/>
              <a:gd name="connsiteX10" fmla="*/ 269850 w 488781"/>
              <a:gd name="connsiteY10" fmla="*/ 219582 h 281646"/>
              <a:gd name="connsiteX11" fmla="*/ 266495 w 488781"/>
              <a:gd name="connsiteY11" fmla="*/ 215822 h 281646"/>
              <a:gd name="connsiteX12" fmla="*/ 269560 w 488781"/>
              <a:gd name="connsiteY12" fmla="*/ 208245 h 281646"/>
              <a:gd name="connsiteX13" fmla="*/ 271816 w 488781"/>
              <a:gd name="connsiteY13" fmla="*/ 203791 h 281646"/>
              <a:gd name="connsiteX14" fmla="*/ 267362 w 488781"/>
              <a:gd name="connsiteY14" fmla="*/ 201940 h 281646"/>
              <a:gd name="connsiteX15" fmla="*/ 259785 w 488781"/>
              <a:gd name="connsiteY15" fmla="*/ 201303 h 281646"/>
              <a:gd name="connsiteX16" fmla="*/ 246134 w 488781"/>
              <a:gd name="connsiteY16" fmla="*/ 203964 h 281646"/>
              <a:gd name="connsiteX17" fmla="*/ 237457 w 488781"/>
              <a:gd name="connsiteY17" fmla="*/ 206394 h 281646"/>
              <a:gd name="connsiteX18" fmla="*/ 226235 w 488781"/>
              <a:gd name="connsiteY18" fmla="*/ 218367 h 281646"/>
              <a:gd name="connsiteX19" fmla="*/ 214666 w 488781"/>
              <a:gd name="connsiteY19" fmla="*/ 233696 h 281646"/>
              <a:gd name="connsiteX20" fmla="*/ 209807 w 488781"/>
              <a:gd name="connsiteY20" fmla="*/ 237225 h 281646"/>
              <a:gd name="connsiteX21" fmla="*/ 202056 w 488781"/>
              <a:gd name="connsiteY21" fmla="*/ 252843 h 281646"/>
              <a:gd name="connsiteX22" fmla="*/ 202056 w 488781"/>
              <a:gd name="connsiteY22" fmla="*/ 253305 h 281646"/>
              <a:gd name="connsiteX23" fmla="*/ 200899 w 488781"/>
              <a:gd name="connsiteY23" fmla="*/ 254405 h 281646"/>
              <a:gd name="connsiteX24" fmla="*/ 200899 w 488781"/>
              <a:gd name="connsiteY24" fmla="*/ 254405 h 281646"/>
              <a:gd name="connsiteX25" fmla="*/ 200089 w 488781"/>
              <a:gd name="connsiteY25" fmla="*/ 254115 h 281646"/>
              <a:gd name="connsiteX26" fmla="*/ 191239 w 488781"/>
              <a:gd name="connsiteY26" fmla="*/ 247637 h 281646"/>
              <a:gd name="connsiteX27" fmla="*/ 183662 w 488781"/>
              <a:gd name="connsiteY27" fmla="*/ 250934 h 281646"/>
              <a:gd name="connsiteX28" fmla="*/ 176026 w 488781"/>
              <a:gd name="connsiteY28" fmla="*/ 254057 h 281646"/>
              <a:gd name="connsiteX29" fmla="*/ 175737 w 488781"/>
              <a:gd name="connsiteY29" fmla="*/ 254057 h 281646"/>
              <a:gd name="connsiteX30" fmla="*/ 164168 w 488781"/>
              <a:gd name="connsiteY30" fmla="*/ 248909 h 281646"/>
              <a:gd name="connsiteX31" fmla="*/ 164631 w 488781"/>
              <a:gd name="connsiteY31" fmla="*/ 245844 h 281646"/>
              <a:gd name="connsiteX32" fmla="*/ 166135 w 488781"/>
              <a:gd name="connsiteY32" fmla="*/ 243877 h 281646"/>
              <a:gd name="connsiteX33" fmla="*/ 180538 w 488781"/>
              <a:gd name="connsiteY33" fmla="*/ 221433 h 281646"/>
              <a:gd name="connsiteX34" fmla="*/ 189330 w 488781"/>
              <a:gd name="connsiteY34" fmla="*/ 207840 h 281646"/>
              <a:gd name="connsiteX35" fmla="*/ 192454 w 488781"/>
              <a:gd name="connsiteY35" fmla="*/ 208245 h 281646"/>
              <a:gd name="connsiteX36" fmla="*/ 200668 w 488781"/>
              <a:gd name="connsiteY36" fmla="*/ 210616 h 281646"/>
              <a:gd name="connsiteX37" fmla="*/ 209055 w 488781"/>
              <a:gd name="connsiteY37" fmla="*/ 212641 h 281646"/>
              <a:gd name="connsiteX38" fmla="*/ 209691 w 488781"/>
              <a:gd name="connsiteY38" fmla="*/ 212641 h 281646"/>
              <a:gd name="connsiteX39" fmla="*/ 203502 w 488781"/>
              <a:gd name="connsiteY39" fmla="*/ 195692 h 281646"/>
              <a:gd name="connsiteX40" fmla="*/ 186149 w 488781"/>
              <a:gd name="connsiteY40" fmla="*/ 167754 h 281646"/>
              <a:gd name="connsiteX41" fmla="*/ 167870 w 488781"/>
              <a:gd name="connsiteY41" fmla="*/ 154045 h 281646"/>
              <a:gd name="connsiteX42" fmla="*/ 157400 w 488781"/>
              <a:gd name="connsiteY42" fmla="*/ 148260 h 281646"/>
              <a:gd name="connsiteX43" fmla="*/ 146179 w 488781"/>
              <a:gd name="connsiteY43" fmla="*/ 142071 h 281646"/>
              <a:gd name="connsiteX44" fmla="*/ 113902 w 488781"/>
              <a:gd name="connsiteY44" fmla="*/ 152888 h 281646"/>
              <a:gd name="connsiteX45" fmla="*/ 97589 w 488781"/>
              <a:gd name="connsiteY45" fmla="*/ 161506 h 281646"/>
              <a:gd name="connsiteX46" fmla="*/ 93425 w 488781"/>
              <a:gd name="connsiteY46" fmla="*/ 161159 h 281646"/>
              <a:gd name="connsiteX47" fmla="*/ 89780 w 488781"/>
              <a:gd name="connsiteY47" fmla="*/ 160812 h 281646"/>
              <a:gd name="connsiteX48" fmla="*/ 84632 w 488781"/>
              <a:gd name="connsiteY48" fmla="*/ 162779 h 281646"/>
              <a:gd name="connsiteX49" fmla="*/ 70981 w 488781"/>
              <a:gd name="connsiteY49" fmla="*/ 166018 h 281646"/>
              <a:gd name="connsiteX50" fmla="*/ 55595 w 488781"/>
              <a:gd name="connsiteY50" fmla="*/ 161506 h 281646"/>
              <a:gd name="connsiteX51" fmla="*/ 39629 w 488781"/>
              <a:gd name="connsiteY51" fmla="*/ 158730 h 281646"/>
              <a:gd name="connsiteX52" fmla="*/ 28061 w 488781"/>
              <a:gd name="connsiteY52" fmla="*/ 156648 h 281646"/>
              <a:gd name="connsiteX53" fmla="*/ 17706 w 488781"/>
              <a:gd name="connsiteY53" fmla="*/ 157515 h 281646"/>
              <a:gd name="connsiteX54" fmla="*/ 16607 w 488781"/>
              <a:gd name="connsiteY54" fmla="*/ 156937 h 281646"/>
              <a:gd name="connsiteX55" fmla="*/ 12732 w 488781"/>
              <a:gd name="connsiteY55" fmla="*/ 154334 h 281646"/>
              <a:gd name="connsiteX56" fmla="*/ -110 w 488781"/>
              <a:gd name="connsiteY56" fmla="*/ 139989 h 281646"/>
              <a:gd name="connsiteX57" fmla="*/ 12385 w 488781"/>
              <a:gd name="connsiteY57" fmla="*/ 119107 h 281646"/>
              <a:gd name="connsiteX58" fmla="*/ 12385 w 488781"/>
              <a:gd name="connsiteY58" fmla="*/ 107538 h 281646"/>
              <a:gd name="connsiteX59" fmla="*/ 11691 w 488781"/>
              <a:gd name="connsiteY59" fmla="*/ 100712 h 281646"/>
              <a:gd name="connsiteX60" fmla="*/ 28581 w 488781"/>
              <a:gd name="connsiteY60" fmla="*/ 82838 h 281646"/>
              <a:gd name="connsiteX61" fmla="*/ 37431 w 488781"/>
              <a:gd name="connsiteY61" fmla="*/ 74162 h 281646"/>
              <a:gd name="connsiteX62" fmla="*/ 43216 w 488781"/>
              <a:gd name="connsiteY62" fmla="*/ 69997 h 281646"/>
              <a:gd name="connsiteX63" fmla="*/ 49463 w 488781"/>
              <a:gd name="connsiteY63" fmla="*/ 64675 h 281646"/>
              <a:gd name="connsiteX64" fmla="*/ 38646 w 488781"/>
              <a:gd name="connsiteY64" fmla="*/ 39282 h 281646"/>
              <a:gd name="connsiteX65" fmla="*/ 36101 w 488781"/>
              <a:gd name="connsiteY65" fmla="*/ 29448 h 281646"/>
              <a:gd name="connsiteX66" fmla="*/ 36390 w 488781"/>
              <a:gd name="connsiteY66" fmla="*/ 28522 h 281646"/>
              <a:gd name="connsiteX67" fmla="*/ 37316 w 488781"/>
              <a:gd name="connsiteY67" fmla="*/ 28175 h 281646"/>
              <a:gd name="connsiteX68" fmla="*/ 39051 w 488781"/>
              <a:gd name="connsiteY68" fmla="*/ 28175 h 281646"/>
              <a:gd name="connsiteX69" fmla="*/ 42464 w 488781"/>
              <a:gd name="connsiteY69" fmla="*/ 28175 h 281646"/>
              <a:gd name="connsiteX70" fmla="*/ 51083 w 488781"/>
              <a:gd name="connsiteY70" fmla="*/ 25052 h 281646"/>
              <a:gd name="connsiteX71" fmla="*/ 53628 w 488781"/>
              <a:gd name="connsiteY71" fmla="*/ 22217 h 281646"/>
              <a:gd name="connsiteX72" fmla="*/ 69593 w 488781"/>
              <a:gd name="connsiteY72" fmla="*/ 14177 h 281646"/>
              <a:gd name="connsiteX73" fmla="*/ 117314 w 488781"/>
              <a:gd name="connsiteY73" fmla="*/ 20251 h 281646"/>
              <a:gd name="connsiteX74" fmla="*/ 129867 w 488781"/>
              <a:gd name="connsiteY74" fmla="*/ 22738 h 281646"/>
              <a:gd name="connsiteX75" fmla="*/ 133453 w 488781"/>
              <a:gd name="connsiteY75" fmla="*/ 22738 h 281646"/>
              <a:gd name="connsiteX76" fmla="*/ 141956 w 488781"/>
              <a:gd name="connsiteY76" fmla="*/ 24069 h 281646"/>
              <a:gd name="connsiteX77" fmla="*/ 156533 w 488781"/>
              <a:gd name="connsiteY77" fmla="*/ 28233 h 281646"/>
              <a:gd name="connsiteX78" fmla="*/ 158962 w 488781"/>
              <a:gd name="connsiteY78" fmla="*/ 27250 h 281646"/>
              <a:gd name="connsiteX79" fmla="*/ 161276 w 488781"/>
              <a:gd name="connsiteY79" fmla="*/ 25341 h 281646"/>
              <a:gd name="connsiteX80" fmla="*/ 165788 w 488781"/>
              <a:gd name="connsiteY80" fmla="*/ 26729 h 281646"/>
              <a:gd name="connsiteX81" fmla="*/ 173770 w 488781"/>
              <a:gd name="connsiteY81" fmla="*/ 28985 h 281646"/>
              <a:gd name="connsiteX82" fmla="*/ 177299 w 488781"/>
              <a:gd name="connsiteY82" fmla="*/ 28118 h 281646"/>
              <a:gd name="connsiteX83" fmla="*/ 180943 w 488781"/>
              <a:gd name="connsiteY83" fmla="*/ 27134 h 281646"/>
              <a:gd name="connsiteX84" fmla="*/ 189851 w 488781"/>
              <a:gd name="connsiteY84" fmla="*/ 31357 h 281646"/>
              <a:gd name="connsiteX85" fmla="*/ 195057 w 488781"/>
              <a:gd name="connsiteY85" fmla="*/ 33786 h 281646"/>
              <a:gd name="connsiteX86" fmla="*/ 206163 w 488781"/>
              <a:gd name="connsiteY86" fmla="*/ 31993 h 281646"/>
              <a:gd name="connsiteX87" fmla="*/ 221434 w 488781"/>
              <a:gd name="connsiteY87" fmla="*/ 35579 h 281646"/>
              <a:gd name="connsiteX88" fmla="*/ 222591 w 488781"/>
              <a:gd name="connsiteY88" fmla="*/ 36331 h 281646"/>
              <a:gd name="connsiteX89" fmla="*/ 224384 w 488781"/>
              <a:gd name="connsiteY89" fmla="*/ 27481 h 281646"/>
              <a:gd name="connsiteX90" fmla="*/ 240985 w 488781"/>
              <a:gd name="connsiteY90" fmla="*/ 8855 h 281646"/>
              <a:gd name="connsiteX91" fmla="*/ 241622 w 488781"/>
              <a:gd name="connsiteY91" fmla="*/ 8855 h 281646"/>
              <a:gd name="connsiteX92" fmla="*/ 258975 w 488781"/>
              <a:gd name="connsiteY92" fmla="*/ 5385 h 281646"/>
              <a:gd name="connsiteX93" fmla="*/ 260421 w 488781"/>
              <a:gd name="connsiteY93" fmla="*/ 5790 h 281646"/>
              <a:gd name="connsiteX94" fmla="*/ 266900 w 488781"/>
              <a:gd name="connsiteY94" fmla="*/ 8393 h 281646"/>
              <a:gd name="connsiteX95" fmla="*/ 275345 w 488781"/>
              <a:gd name="connsiteY95" fmla="*/ 4633 h 281646"/>
              <a:gd name="connsiteX96" fmla="*/ 279105 w 488781"/>
              <a:gd name="connsiteY96" fmla="*/ 1914 h 281646"/>
              <a:gd name="connsiteX97" fmla="*/ 284079 w 488781"/>
              <a:gd name="connsiteY97" fmla="*/ 873 h 281646"/>
              <a:gd name="connsiteX98" fmla="*/ 289459 w 488781"/>
              <a:gd name="connsiteY98" fmla="*/ 1278 h 281646"/>
              <a:gd name="connsiteX99" fmla="*/ 297384 w 488781"/>
              <a:gd name="connsiteY99" fmla="*/ 1278 h 281646"/>
              <a:gd name="connsiteX100" fmla="*/ 307448 w 488781"/>
              <a:gd name="connsiteY100" fmla="*/ -110 h 281646"/>
              <a:gd name="connsiteX101" fmla="*/ 321215 w 488781"/>
              <a:gd name="connsiteY101" fmla="*/ 4170 h 281646"/>
              <a:gd name="connsiteX102" fmla="*/ 324860 w 488781"/>
              <a:gd name="connsiteY102" fmla="*/ 25920 h 281646"/>
              <a:gd name="connsiteX103" fmla="*/ 327752 w 488781"/>
              <a:gd name="connsiteY103" fmla="*/ 34712 h 281646"/>
              <a:gd name="connsiteX104" fmla="*/ 330933 w 488781"/>
              <a:gd name="connsiteY104" fmla="*/ 39976 h 281646"/>
              <a:gd name="connsiteX105" fmla="*/ 343081 w 488781"/>
              <a:gd name="connsiteY105" fmla="*/ 43504 h 281646"/>
              <a:gd name="connsiteX106" fmla="*/ 350369 w 488781"/>
              <a:gd name="connsiteY106" fmla="*/ 44314 h 281646"/>
              <a:gd name="connsiteX107" fmla="*/ 363095 w 488781"/>
              <a:gd name="connsiteY107" fmla="*/ 66873 h 281646"/>
              <a:gd name="connsiteX108" fmla="*/ 363095 w 488781"/>
              <a:gd name="connsiteY108" fmla="*/ 69881 h 281646"/>
              <a:gd name="connsiteX109" fmla="*/ 367953 w 488781"/>
              <a:gd name="connsiteY109" fmla="*/ 71617 h 281646"/>
              <a:gd name="connsiteX110" fmla="*/ 371598 w 488781"/>
              <a:gd name="connsiteY110" fmla="*/ 70980 h 281646"/>
              <a:gd name="connsiteX111" fmla="*/ 373969 w 488781"/>
              <a:gd name="connsiteY111" fmla="*/ 70460 h 281646"/>
              <a:gd name="connsiteX112" fmla="*/ 382472 w 488781"/>
              <a:gd name="connsiteY112" fmla="*/ 74682 h 281646"/>
              <a:gd name="connsiteX113" fmla="*/ 385943 w 488781"/>
              <a:gd name="connsiteY113" fmla="*/ 77112 h 281646"/>
              <a:gd name="connsiteX114" fmla="*/ 398727 w 488781"/>
              <a:gd name="connsiteY114" fmla="*/ 75897 h 281646"/>
              <a:gd name="connsiteX115" fmla="*/ 409660 w 488781"/>
              <a:gd name="connsiteY115" fmla="*/ 72253 h 281646"/>
              <a:gd name="connsiteX116" fmla="*/ 415444 w 488781"/>
              <a:gd name="connsiteY116" fmla="*/ 75087 h 281646"/>
              <a:gd name="connsiteX117" fmla="*/ 421633 w 488781"/>
              <a:gd name="connsiteY117" fmla="*/ 82144 h 281646"/>
              <a:gd name="connsiteX118" fmla="*/ 427417 w 488781"/>
              <a:gd name="connsiteY118" fmla="*/ 89837 h 281646"/>
              <a:gd name="connsiteX119" fmla="*/ 433664 w 488781"/>
              <a:gd name="connsiteY119" fmla="*/ 90358 h 281646"/>
              <a:gd name="connsiteX120" fmla="*/ 449225 w 488781"/>
              <a:gd name="connsiteY120" fmla="*/ 92788 h 281646"/>
              <a:gd name="connsiteX121" fmla="*/ 459579 w 488781"/>
              <a:gd name="connsiteY121" fmla="*/ 95390 h 281646"/>
              <a:gd name="connsiteX122" fmla="*/ 472305 w 488781"/>
              <a:gd name="connsiteY122" fmla="*/ 98861 h 281646"/>
              <a:gd name="connsiteX123" fmla="*/ 479535 w 488781"/>
              <a:gd name="connsiteY123" fmla="*/ 102100 h 281646"/>
              <a:gd name="connsiteX124" fmla="*/ 488616 w 488781"/>
              <a:gd name="connsiteY124" fmla="*/ 109447 h 281646"/>
              <a:gd name="connsiteX125" fmla="*/ 483353 w 488781"/>
              <a:gd name="connsiteY125" fmla="*/ 118181 h 281646"/>
              <a:gd name="connsiteX126" fmla="*/ 480750 w 488781"/>
              <a:gd name="connsiteY126" fmla="*/ 121073 h 281646"/>
              <a:gd name="connsiteX127" fmla="*/ 483122 w 488781"/>
              <a:gd name="connsiteY127" fmla="*/ 123271 h 281646"/>
              <a:gd name="connsiteX128" fmla="*/ 487402 w 488781"/>
              <a:gd name="connsiteY128" fmla="*/ 129056 h 281646"/>
              <a:gd name="connsiteX129" fmla="*/ 481617 w 488781"/>
              <a:gd name="connsiteY129" fmla="*/ 133915 h 281646"/>
              <a:gd name="connsiteX130" fmla="*/ 477627 w 488781"/>
              <a:gd name="connsiteY130" fmla="*/ 136113 h 281646"/>
              <a:gd name="connsiteX131" fmla="*/ 480634 w 488781"/>
              <a:gd name="connsiteY131" fmla="*/ 141492 h 281646"/>
              <a:gd name="connsiteX132" fmla="*/ 483642 w 488781"/>
              <a:gd name="connsiteY132" fmla="*/ 145599 h 281646"/>
              <a:gd name="connsiteX133" fmla="*/ 480981 w 488781"/>
              <a:gd name="connsiteY133" fmla="*/ 156300 h 281646"/>
              <a:gd name="connsiteX134" fmla="*/ 478899 w 488781"/>
              <a:gd name="connsiteY134" fmla="*/ 162374 h 281646"/>
              <a:gd name="connsiteX135" fmla="*/ 473867 w 488781"/>
              <a:gd name="connsiteY135" fmla="*/ 164688 h 281646"/>
              <a:gd name="connsiteX136" fmla="*/ 461892 w 488781"/>
              <a:gd name="connsiteY136" fmla="*/ 163589 h 281646"/>
              <a:gd name="connsiteX137" fmla="*/ 455356 w 488781"/>
              <a:gd name="connsiteY137" fmla="*/ 162895 h 281646"/>
              <a:gd name="connsiteX138" fmla="*/ 444887 w 488781"/>
              <a:gd name="connsiteY138" fmla="*/ 170125 h 281646"/>
              <a:gd name="connsiteX139" fmla="*/ 434301 w 488781"/>
              <a:gd name="connsiteY139" fmla="*/ 177414 h 281646"/>
              <a:gd name="connsiteX140" fmla="*/ 433549 w 488781"/>
              <a:gd name="connsiteY140" fmla="*/ 177876 h 281646"/>
              <a:gd name="connsiteX141" fmla="*/ 434474 w 488781"/>
              <a:gd name="connsiteY141" fmla="*/ 188404 h 281646"/>
              <a:gd name="connsiteX142" fmla="*/ 434474 w 488781"/>
              <a:gd name="connsiteY142" fmla="*/ 188982 h 281646"/>
              <a:gd name="connsiteX143" fmla="*/ 434474 w 488781"/>
              <a:gd name="connsiteY143" fmla="*/ 189850 h 281646"/>
              <a:gd name="connsiteX144" fmla="*/ 433722 w 488781"/>
              <a:gd name="connsiteY144" fmla="*/ 190371 h 281646"/>
              <a:gd name="connsiteX145" fmla="*/ 411800 w 488781"/>
              <a:gd name="connsiteY145" fmla="*/ 196502 h 281646"/>
              <a:gd name="connsiteX146" fmla="*/ 376688 w 488781"/>
              <a:gd name="connsiteY146" fmla="*/ 207146 h 281646"/>
              <a:gd name="connsiteX147" fmla="*/ 343370 w 488781"/>
              <a:gd name="connsiteY147" fmla="*/ 227796 h 281646"/>
              <a:gd name="connsiteX148" fmla="*/ 362053 w 488781"/>
              <a:gd name="connsiteY148" fmla="*/ 248967 h 281646"/>
              <a:gd name="connsiteX149" fmla="*/ 364367 w 488781"/>
              <a:gd name="connsiteY149" fmla="*/ 248967 h 281646"/>
              <a:gd name="connsiteX150" fmla="*/ 372755 w 488781"/>
              <a:gd name="connsiteY150" fmla="*/ 248620 h 281646"/>
              <a:gd name="connsiteX151" fmla="*/ 393115 w 488781"/>
              <a:gd name="connsiteY151" fmla="*/ 254057 h 281646"/>
              <a:gd name="connsiteX152" fmla="*/ 393115 w 488781"/>
              <a:gd name="connsiteY152" fmla="*/ 257933 h 281646"/>
              <a:gd name="connsiteX153" fmla="*/ 384439 w 488781"/>
              <a:gd name="connsiteY153" fmla="*/ 260189 h 281646"/>
              <a:gd name="connsiteX154" fmla="*/ 379754 w 488781"/>
              <a:gd name="connsiteY154" fmla="*/ 260189 h 281646"/>
              <a:gd name="connsiteX155" fmla="*/ 373969 w 488781"/>
              <a:gd name="connsiteY155" fmla="*/ 260189 h 281646"/>
              <a:gd name="connsiteX156" fmla="*/ 356616 w 488781"/>
              <a:gd name="connsiteY156" fmla="*/ 263717 h 281646"/>
              <a:gd name="connsiteX157" fmla="*/ 341866 w 488781"/>
              <a:gd name="connsiteY157" fmla="*/ 270080 h 281646"/>
              <a:gd name="connsiteX158" fmla="*/ 330297 w 488781"/>
              <a:gd name="connsiteY158" fmla="*/ 274997 h 281646"/>
              <a:gd name="connsiteX159" fmla="*/ 311903 w 488781"/>
              <a:gd name="connsiteY159" fmla="*/ 281476 h 281646"/>
              <a:gd name="connsiteX160" fmla="*/ 298830 w 488781"/>
              <a:gd name="connsiteY160" fmla="*/ 219582 h 281646"/>
              <a:gd name="connsiteX161" fmla="*/ 316183 w 488781"/>
              <a:gd name="connsiteY161" fmla="*/ 224615 h 281646"/>
              <a:gd name="connsiteX162" fmla="*/ 293045 w 488781"/>
              <a:gd name="connsiteY162" fmla="*/ 239307 h 281646"/>
              <a:gd name="connsiteX163" fmla="*/ 280088 w 488781"/>
              <a:gd name="connsiteY163" fmla="*/ 245092 h 281646"/>
              <a:gd name="connsiteX164" fmla="*/ 293508 w 488781"/>
              <a:gd name="connsiteY164" fmla="*/ 250876 h 281646"/>
              <a:gd name="connsiteX165" fmla="*/ 307044 w 488781"/>
              <a:gd name="connsiteY165" fmla="*/ 256660 h 281646"/>
              <a:gd name="connsiteX166" fmla="*/ 309010 w 488781"/>
              <a:gd name="connsiteY166" fmla="*/ 270485 h 281646"/>
              <a:gd name="connsiteX167" fmla="*/ 308547 w 488781"/>
              <a:gd name="connsiteY167" fmla="*/ 277947 h 281646"/>
              <a:gd name="connsiteX168" fmla="*/ 312423 w 488781"/>
              <a:gd name="connsiteY168" fmla="*/ 279278 h 281646"/>
              <a:gd name="connsiteX169" fmla="*/ 329198 w 488781"/>
              <a:gd name="connsiteY169" fmla="*/ 272452 h 281646"/>
              <a:gd name="connsiteX170" fmla="*/ 341403 w 488781"/>
              <a:gd name="connsiteY170" fmla="*/ 267188 h 281646"/>
              <a:gd name="connsiteX171" fmla="*/ 355517 w 488781"/>
              <a:gd name="connsiteY171" fmla="*/ 261404 h 281646"/>
              <a:gd name="connsiteX172" fmla="*/ 374374 w 488781"/>
              <a:gd name="connsiteY172" fmla="*/ 257412 h 281646"/>
              <a:gd name="connsiteX173" fmla="*/ 380158 w 488781"/>
              <a:gd name="connsiteY173" fmla="*/ 257412 h 281646"/>
              <a:gd name="connsiteX174" fmla="*/ 384786 w 488781"/>
              <a:gd name="connsiteY174" fmla="*/ 257412 h 281646"/>
              <a:gd name="connsiteX175" fmla="*/ 391554 w 488781"/>
              <a:gd name="connsiteY175" fmla="*/ 256198 h 281646"/>
              <a:gd name="connsiteX176" fmla="*/ 391554 w 488781"/>
              <a:gd name="connsiteY176" fmla="*/ 254636 h 281646"/>
              <a:gd name="connsiteX177" fmla="*/ 373159 w 488781"/>
              <a:gd name="connsiteY177" fmla="*/ 250355 h 281646"/>
              <a:gd name="connsiteX178" fmla="*/ 364945 w 488781"/>
              <a:gd name="connsiteY178" fmla="*/ 250702 h 281646"/>
              <a:gd name="connsiteX179" fmla="*/ 362458 w 488781"/>
              <a:gd name="connsiteY179" fmla="*/ 250702 h 281646"/>
              <a:gd name="connsiteX180" fmla="*/ 341519 w 488781"/>
              <a:gd name="connsiteY180" fmla="*/ 227565 h 281646"/>
              <a:gd name="connsiteX181" fmla="*/ 376862 w 488781"/>
              <a:gd name="connsiteY181" fmla="*/ 204427 h 281646"/>
              <a:gd name="connsiteX182" fmla="*/ 411221 w 488781"/>
              <a:gd name="connsiteY182" fmla="*/ 194015 h 281646"/>
              <a:gd name="connsiteX183" fmla="*/ 432566 w 488781"/>
              <a:gd name="connsiteY183" fmla="*/ 187884 h 281646"/>
              <a:gd name="connsiteX184" fmla="*/ 432045 w 488781"/>
              <a:gd name="connsiteY184" fmla="*/ 176315 h 281646"/>
              <a:gd name="connsiteX185" fmla="*/ 434358 w 488781"/>
              <a:gd name="connsiteY185" fmla="*/ 174869 h 281646"/>
              <a:gd name="connsiteX186" fmla="*/ 443845 w 488781"/>
              <a:gd name="connsiteY186" fmla="*/ 168159 h 281646"/>
              <a:gd name="connsiteX187" fmla="*/ 455761 w 488781"/>
              <a:gd name="connsiteY187" fmla="*/ 160350 h 281646"/>
              <a:gd name="connsiteX188" fmla="*/ 462586 w 488781"/>
              <a:gd name="connsiteY188" fmla="*/ 161044 h 281646"/>
              <a:gd name="connsiteX189" fmla="*/ 474155 w 488781"/>
              <a:gd name="connsiteY189" fmla="*/ 162143 h 281646"/>
              <a:gd name="connsiteX190" fmla="*/ 476932 w 488781"/>
              <a:gd name="connsiteY190" fmla="*/ 161854 h 281646"/>
              <a:gd name="connsiteX191" fmla="*/ 479188 w 488781"/>
              <a:gd name="connsiteY191" fmla="*/ 155201 h 281646"/>
              <a:gd name="connsiteX192" fmla="*/ 481791 w 488781"/>
              <a:gd name="connsiteY192" fmla="*/ 146178 h 281646"/>
              <a:gd name="connsiteX193" fmla="*/ 479246 w 488781"/>
              <a:gd name="connsiteY193" fmla="*/ 142649 h 281646"/>
              <a:gd name="connsiteX194" fmla="*/ 475775 w 488781"/>
              <a:gd name="connsiteY194" fmla="*/ 135014 h 281646"/>
              <a:gd name="connsiteX195" fmla="*/ 481155 w 488781"/>
              <a:gd name="connsiteY195" fmla="*/ 131485 h 281646"/>
              <a:gd name="connsiteX196" fmla="*/ 485378 w 488781"/>
              <a:gd name="connsiteY196" fmla="*/ 128767 h 281646"/>
              <a:gd name="connsiteX197" fmla="*/ 482023 w 488781"/>
              <a:gd name="connsiteY197" fmla="*/ 124891 h 281646"/>
              <a:gd name="connsiteX198" fmla="*/ 478725 w 488781"/>
              <a:gd name="connsiteY198" fmla="*/ 120842 h 281646"/>
              <a:gd name="connsiteX199" fmla="*/ 482023 w 488781"/>
              <a:gd name="connsiteY199" fmla="*/ 116388 h 281646"/>
              <a:gd name="connsiteX200" fmla="*/ 486592 w 488781"/>
              <a:gd name="connsiteY200" fmla="*/ 109562 h 281646"/>
              <a:gd name="connsiteX201" fmla="*/ 478899 w 488781"/>
              <a:gd name="connsiteY201" fmla="*/ 103778 h 281646"/>
              <a:gd name="connsiteX202" fmla="*/ 471437 w 488781"/>
              <a:gd name="connsiteY202" fmla="*/ 100481 h 281646"/>
              <a:gd name="connsiteX203" fmla="*/ 459521 w 488781"/>
              <a:gd name="connsiteY203" fmla="*/ 97242 h 281646"/>
              <a:gd name="connsiteX204" fmla="*/ 448473 w 488781"/>
              <a:gd name="connsiteY204" fmla="*/ 94407 h 281646"/>
              <a:gd name="connsiteX205" fmla="*/ 433780 w 488781"/>
              <a:gd name="connsiteY205" fmla="*/ 92209 h 281646"/>
              <a:gd name="connsiteX206" fmla="*/ 425451 w 488781"/>
              <a:gd name="connsiteY206" fmla="*/ 89780 h 281646"/>
              <a:gd name="connsiteX207" fmla="*/ 419666 w 488781"/>
              <a:gd name="connsiteY207" fmla="*/ 83301 h 281646"/>
              <a:gd name="connsiteX208" fmla="*/ 413130 w 488781"/>
              <a:gd name="connsiteY208" fmla="*/ 75781 h 281646"/>
              <a:gd name="connsiteX209" fmla="*/ 409370 w 488781"/>
              <a:gd name="connsiteY209" fmla="*/ 74104 h 281646"/>
              <a:gd name="connsiteX210" fmla="*/ 399652 w 488781"/>
              <a:gd name="connsiteY210" fmla="*/ 77401 h 281646"/>
              <a:gd name="connsiteX211" fmla="*/ 384497 w 488781"/>
              <a:gd name="connsiteY211" fmla="*/ 78616 h 281646"/>
              <a:gd name="connsiteX212" fmla="*/ 380852 w 488781"/>
              <a:gd name="connsiteY212" fmla="*/ 76070 h 281646"/>
              <a:gd name="connsiteX213" fmla="*/ 372176 w 488781"/>
              <a:gd name="connsiteY213" fmla="*/ 72600 h 281646"/>
              <a:gd name="connsiteX214" fmla="*/ 367665 w 488781"/>
              <a:gd name="connsiteY214" fmla="*/ 73468 h 281646"/>
              <a:gd name="connsiteX215" fmla="*/ 361012 w 488781"/>
              <a:gd name="connsiteY215" fmla="*/ 70807 h 281646"/>
              <a:gd name="connsiteX216" fmla="*/ 360376 w 488781"/>
              <a:gd name="connsiteY216" fmla="*/ 65774 h 281646"/>
              <a:gd name="connsiteX217" fmla="*/ 348807 w 488781"/>
              <a:gd name="connsiteY217" fmla="*/ 45992 h 281646"/>
              <a:gd name="connsiteX218" fmla="*/ 342445 w 488781"/>
              <a:gd name="connsiteY218" fmla="*/ 45355 h 281646"/>
              <a:gd name="connsiteX219" fmla="*/ 328272 w 488781"/>
              <a:gd name="connsiteY219" fmla="*/ 40612 h 281646"/>
              <a:gd name="connsiteX220" fmla="*/ 325206 w 488781"/>
              <a:gd name="connsiteY220" fmla="*/ 35522 h 281646"/>
              <a:gd name="connsiteX221" fmla="*/ 322256 w 488781"/>
              <a:gd name="connsiteY221" fmla="*/ 24416 h 281646"/>
              <a:gd name="connsiteX222" fmla="*/ 318613 w 488781"/>
              <a:gd name="connsiteY222" fmla="*/ 4922 h 281646"/>
              <a:gd name="connsiteX223" fmla="*/ 307044 w 488781"/>
              <a:gd name="connsiteY223" fmla="*/ 1741 h 281646"/>
              <a:gd name="connsiteX224" fmla="*/ 297846 w 488781"/>
              <a:gd name="connsiteY224" fmla="*/ 2955 h 281646"/>
              <a:gd name="connsiteX225" fmla="*/ 288823 w 488781"/>
              <a:gd name="connsiteY225" fmla="*/ 2955 h 281646"/>
              <a:gd name="connsiteX226" fmla="*/ 283675 w 488781"/>
              <a:gd name="connsiteY226" fmla="*/ 2550 h 281646"/>
              <a:gd name="connsiteX227" fmla="*/ 279799 w 488781"/>
              <a:gd name="connsiteY227" fmla="*/ 3302 h 281646"/>
              <a:gd name="connsiteX228" fmla="*/ 276328 w 488781"/>
              <a:gd name="connsiteY228" fmla="*/ 5790 h 281646"/>
              <a:gd name="connsiteX229" fmla="*/ 266495 w 488781"/>
              <a:gd name="connsiteY229" fmla="*/ 10070 h 281646"/>
              <a:gd name="connsiteX230" fmla="*/ 258685 w 488781"/>
              <a:gd name="connsiteY230" fmla="*/ 7236 h 281646"/>
              <a:gd name="connsiteX231" fmla="*/ 241911 w 488781"/>
              <a:gd name="connsiteY231" fmla="*/ 10475 h 281646"/>
              <a:gd name="connsiteX232" fmla="*/ 226466 w 488781"/>
              <a:gd name="connsiteY232" fmla="*/ 27134 h 281646"/>
              <a:gd name="connsiteX233" fmla="*/ 222418 w 488781"/>
              <a:gd name="connsiteY233" fmla="*/ 38240 h 281646"/>
              <a:gd name="connsiteX234" fmla="*/ 219698 w 488781"/>
              <a:gd name="connsiteY234" fmla="*/ 36852 h 281646"/>
              <a:gd name="connsiteX235" fmla="*/ 205989 w 488781"/>
              <a:gd name="connsiteY235" fmla="*/ 33902 h 281646"/>
              <a:gd name="connsiteX236" fmla="*/ 196040 w 488781"/>
              <a:gd name="connsiteY236" fmla="*/ 35406 h 281646"/>
              <a:gd name="connsiteX237" fmla="*/ 194305 w 488781"/>
              <a:gd name="connsiteY237" fmla="*/ 35869 h 281646"/>
              <a:gd name="connsiteX238" fmla="*/ 188520 w 488781"/>
              <a:gd name="connsiteY238" fmla="*/ 32803 h 281646"/>
              <a:gd name="connsiteX239" fmla="*/ 180943 w 488781"/>
              <a:gd name="connsiteY239" fmla="*/ 29043 h 281646"/>
              <a:gd name="connsiteX240" fmla="*/ 178397 w 488781"/>
              <a:gd name="connsiteY240" fmla="*/ 29737 h 281646"/>
              <a:gd name="connsiteX241" fmla="*/ 173770 w 488781"/>
              <a:gd name="connsiteY241" fmla="*/ 30894 h 281646"/>
              <a:gd name="connsiteX242" fmla="*/ 164862 w 488781"/>
              <a:gd name="connsiteY242" fmla="*/ 28465 h 281646"/>
              <a:gd name="connsiteX243" fmla="*/ 161276 w 488781"/>
              <a:gd name="connsiteY243" fmla="*/ 27250 h 281646"/>
              <a:gd name="connsiteX244" fmla="*/ 156533 w 488781"/>
              <a:gd name="connsiteY244" fmla="*/ 30142 h 281646"/>
              <a:gd name="connsiteX245" fmla="*/ 141030 w 488781"/>
              <a:gd name="connsiteY245" fmla="*/ 25746 h 281646"/>
              <a:gd name="connsiteX246" fmla="*/ 133453 w 488781"/>
              <a:gd name="connsiteY246" fmla="*/ 24647 h 281646"/>
              <a:gd name="connsiteX247" fmla="*/ 129924 w 488781"/>
              <a:gd name="connsiteY247" fmla="*/ 24647 h 281646"/>
              <a:gd name="connsiteX248" fmla="*/ 115579 w 488781"/>
              <a:gd name="connsiteY248" fmla="*/ 21350 h 281646"/>
              <a:gd name="connsiteX249" fmla="*/ 69304 w 488781"/>
              <a:gd name="connsiteY249" fmla="*/ 16086 h 281646"/>
              <a:gd name="connsiteX250" fmla="*/ 55074 w 488781"/>
              <a:gd name="connsiteY250" fmla="*/ 23317 h 281646"/>
              <a:gd name="connsiteX251" fmla="*/ 52355 w 488781"/>
              <a:gd name="connsiteY251" fmla="*/ 26267 h 281646"/>
              <a:gd name="connsiteX252" fmla="*/ 42175 w 488781"/>
              <a:gd name="connsiteY252" fmla="*/ 30084 h 281646"/>
              <a:gd name="connsiteX253" fmla="*/ 38646 w 488781"/>
              <a:gd name="connsiteY253" fmla="*/ 30084 h 281646"/>
              <a:gd name="connsiteX254" fmla="*/ 38241 w 488781"/>
              <a:gd name="connsiteY254" fmla="*/ 30084 h 281646"/>
              <a:gd name="connsiteX255" fmla="*/ 40150 w 488781"/>
              <a:gd name="connsiteY255" fmla="*/ 37546 h 281646"/>
              <a:gd name="connsiteX256" fmla="*/ 51140 w 488781"/>
              <a:gd name="connsiteY256" fmla="*/ 65369 h 281646"/>
              <a:gd name="connsiteX257" fmla="*/ 44026 w 488781"/>
              <a:gd name="connsiteY257" fmla="*/ 71559 h 281646"/>
              <a:gd name="connsiteX258" fmla="*/ 38877 w 488781"/>
              <a:gd name="connsiteY258" fmla="*/ 75261 h 281646"/>
              <a:gd name="connsiteX259" fmla="*/ 29912 w 488781"/>
              <a:gd name="connsiteY259" fmla="*/ 84053 h 281646"/>
              <a:gd name="connsiteX260" fmla="*/ 13657 w 488781"/>
              <a:gd name="connsiteY260" fmla="*/ 100770 h 281646"/>
              <a:gd name="connsiteX261" fmla="*/ 14352 w 488781"/>
              <a:gd name="connsiteY261" fmla="*/ 106554 h 281646"/>
              <a:gd name="connsiteX262" fmla="*/ 13889 w 488781"/>
              <a:gd name="connsiteY262" fmla="*/ 120032 h 281646"/>
              <a:gd name="connsiteX263" fmla="*/ 2320 w 488781"/>
              <a:gd name="connsiteY263" fmla="*/ 139179 h 281646"/>
              <a:gd name="connsiteX264" fmla="*/ 13889 w 488781"/>
              <a:gd name="connsiteY264" fmla="*/ 151384 h 281646"/>
              <a:gd name="connsiteX265" fmla="*/ 18516 w 488781"/>
              <a:gd name="connsiteY265" fmla="*/ 154392 h 281646"/>
              <a:gd name="connsiteX266" fmla="*/ 40439 w 488781"/>
              <a:gd name="connsiteY266" fmla="*/ 155722 h 281646"/>
              <a:gd name="connsiteX267" fmla="*/ 55942 w 488781"/>
              <a:gd name="connsiteY267" fmla="*/ 158441 h 281646"/>
              <a:gd name="connsiteX268" fmla="*/ 72890 w 488781"/>
              <a:gd name="connsiteY268" fmla="*/ 163589 h 281646"/>
              <a:gd name="connsiteX269" fmla="*/ 75261 w 488781"/>
              <a:gd name="connsiteY269" fmla="*/ 164399 h 281646"/>
              <a:gd name="connsiteX270" fmla="*/ 83418 w 488781"/>
              <a:gd name="connsiteY270" fmla="*/ 160350 h 281646"/>
              <a:gd name="connsiteX271" fmla="*/ 90128 w 488781"/>
              <a:gd name="connsiteY271" fmla="*/ 157747 h 281646"/>
              <a:gd name="connsiteX272" fmla="*/ 94119 w 488781"/>
              <a:gd name="connsiteY272" fmla="*/ 158094 h 281646"/>
              <a:gd name="connsiteX273" fmla="*/ 97937 w 488781"/>
              <a:gd name="connsiteY273" fmla="*/ 158441 h 281646"/>
              <a:gd name="connsiteX274" fmla="*/ 112282 w 488781"/>
              <a:gd name="connsiteY274" fmla="*/ 150921 h 281646"/>
              <a:gd name="connsiteX275" fmla="*/ 146236 w 488781"/>
              <a:gd name="connsiteY275" fmla="*/ 139005 h 281646"/>
              <a:gd name="connsiteX276" fmla="*/ 146988 w 488781"/>
              <a:gd name="connsiteY276" fmla="*/ 139005 h 281646"/>
              <a:gd name="connsiteX277" fmla="*/ 159136 w 488781"/>
              <a:gd name="connsiteY277" fmla="*/ 145715 h 281646"/>
              <a:gd name="connsiteX278" fmla="*/ 168218 w 488781"/>
              <a:gd name="connsiteY278" fmla="*/ 151152 h 281646"/>
              <a:gd name="connsiteX279" fmla="*/ 188116 w 488781"/>
              <a:gd name="connsiteY279" fmla="*/ 166655 h 281646"/>
              <a:gd name="connsiteX280" fmla="*/ 204833 w 488781"/>
              <a:gd name="connsiteY280" fmla="*/ 193668 h 281646"/>
              <a:gd name="connsiteX281" fmla="*/ 211601 w 488781"/>
              <a:gd name="connsiteY281" fmla="*/ 212236 h 281646"/>
              <a:gd name="connsiteX282" fmla="*/ 208766 w 488781"/>
              <a:gd name="connsiteY282" fmla="*/ 214550 h 281646"/>
              <a:gd name="connsiteX283" fmla="*/ 199742 w 488781"/>
              <a:gd name="connsiteY283" fmla="*/ 212410 h 281646"/>
              <a:gd name="connsiteX284" fmla="*/ 191644 w 488781"/>
              <a:gd name="connsiteY284" fmla="*/ 210096 h 281646"/>
              <a:gd name="connsiteX285" fmla="*/ 182505 w 488781"/>
              <a:gd name="connsiteY285" fmla="*/ 221086 h 281646"/>
              <a:gd name="connsiteX286" fmla="*/ 167639 w 488781"/>
              <a:gd name="connsiteY286" fmla="*/ 244860 h 281646"/>
              <a:gd name="connsiteX287" fmla="*/ 166135 w 488781"/>
              <a:gd name="connsiteY287" fmla="*/ 246827 h 281646"/>
              <a:gd name="connsiteX288" fmla="*/ 166135 w 488781"/>
              <a:gd name="connsiteY288" fmla="*/ 247637 h 281646"/>
              <a:gd name="connsiteX289" fmla="*/ 176084 w 488781"/>
              <a:gd name="connsiteY289" fmla="*/ 251454 h 281646"/>
              <a:gd name="connsiteX290" fmla="*/ 176084 w 488781"/>
              <a:gd name="connsiteY290" fmla="*/ 251454 h 281646"/>
              <a:gd name="connsiteX291" fmla="*/ 182679 w 488781"/>
              <a:gd name="connsiteY291" fmla="*/ 248562 h 281646"/>
              <a:gd name="connsiteX292" fmla="*/ 191297 w 488781"/>
              <a:gd name="connsiteY292" fmla="*/ 245034 h 281646"/>
              <a:gd name="connsiteX293" fmla="*/ 199627 w 488781"/>
              <a:gd name="connsiteY293" fmla="*/ 250413 h 281646"/>
              <a:gd name="connsiteX294" fmla="*/ 208419 w 488781"/>
              <a:gd name="connsiteY294" fmla="*/ 235027 h 281646"/>
              <a:gd name="connsiteX295" fmla="*/ 213220 w 488781"/>
              <a:gd name="connsiteY295" fmla="*/ 231556 h 281646"/>
              <a:gd name="connsiteX296" fmla="*/ 224326 w 488781"/>
              <a:gd name="connsiteY296" fmla="*/ 216921 h 281646"/>
              <a:gd name="connsiteX297" fmla="*/ 237110 w 488781"/>
              <a:gd name="connsiteY297" fmla="*/ 203849 h 281646"/>
              <a:gd name="connsiteX298" fmla="*/ 245440 w 488781"/>
              <a:gd name="connsiteY298" fmla="*/ 201477 h 281646"/>
              <a:gd name="connsiteX299" fmla="*/ 259843 w 488781"/>
              <a:gd name="connsiteY299" fmla="*/ 198700 h 281646"/>
              <a:gd name="connsiteX300" fmla="*/ 267767 w 488781"/>
              <a:gd name="connsiteY300" fmla="*/ 199395 h 281646"/>
              <a:gd name="connsiteX301" fmla="*/ 273956 w 488781"/>
              <a:gd name="connsiteY301" fmla="*/ 202576 h 281646"/>
              <a:gd name="connsiteX302" fmla="*/ 271469 w 488781"/>
              <a:gd name="connsiteY302" fmla="*/ 209228 h 281646"/>
              <a:gd name="connsiteX303" fmla="*/ 268750 w 488781"/>
              <a:gd name="connsiteY303" fmla="*/ 215012 h 281646"/>
              <a:gd name="connsiteX304" fmla="*/ 270948 w 488781"/>
              <a:gd name="connsiteY304" fmla="*/ 217268 h 281646"/>
              <a:gd name="connsiteX305" fmla="*/ 288302 w 488781"/>
              <a:gd name="connsiteY305" fmla="*/ 219524 h 281646"/>
              <a:gd name="connsiteX306" fmla="*/ 299118 w 488781"/>
              <a:gd name="connsiteY306" fmla="*/ 219524 h 281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Lst>
            <a:rect l="l" t="t" r="r" b="b"/>
            <a:pathLst>
              <a:path w="488781" h="281646">
                <a:moveTo>
                  <a:pt x="311903" y="281476"/>
                </a:moveTo>
                <a:cubicBezTo>
                  <a:pt x="309704" y="281719"/>
                  <a:pt x="307564" y="280903"/>
                  <a:pt x="306118" y="279278"/>
                </a:cubicBezTo>
                <a:cubicBezTo>
                  <a:pt x="304440" y="277137"/>
                  <a:pt x="305308" y="273493"/>
                  <a:pt x="306118" y="269907"/>
                </a:cubicBezTo>
                <a:cubicBezTo>
                  <a:pt x="307217" y="265337"/>
                  <a:pt x="308374" y="260652"/>
                  <a:pt x="305077" y="258338"/>
                </a:cubicBezTo>
                <a:cubicBezTo>
                  <a:pt x="300970" y="256331"/>
                  <a:pt x="296632" y="254682"/>
                  <a:pt x="292235" y="253421"/>
                </a:cubicBezTo>
                <a:cubicBezTo>
                  <a:pt x="283385" y="250355"/>
                  <a:pt x="277890" y="248331"/>
                  <a:pt x="277370" y="245554"/>
                </a:cubicBezTo>
                <a:cubicBezTo>
                  <a:pt x="276849" y="242778"/>
                  <a:pt x="281361" y="241274"/>
                  <a:pt x="291715" y="237456"/>
                </a:cubicBezTo>
                <a:cubicBezTo>
                  <a:pt x="300796" y="234159"/>
                  <a:pt x="314447" y="229126"/>
                  <a:pt x="313695" y="225367"/>
                </a:cubicBezTo>
                <a:cubicBezTo>
                  <a:pt x="312943" y="221607"/>
                  <a:pt x="305887" y="222127"/>
                  <a:pt x="298830" y="222127"/>
                </a:cubicBezTo>
                <a:lnTo>
                  <a:pt x="293566" y="222127"/>
                </a:lnTo>
                <a:cubicBezTo>
                  <a:pt x="284715" y="222127"/>
                  <a:pt x="275114" y="222417"/>
                  <a:pt x="269850" y="219582"/>
                </a:cubicBezTo>
                <a:cubicBezTo>
                  <a:pt x="268230" y="218905"/>
                  <a:pt x="266957" y="217523"/>
                  <a:pt x="266495" y="215822"/>
                </a:cubicBezTo>
                <a:cubicBezTo>
                  <a:pt x="266437" y="212982"/>
                  <a:pt x="267536" y="210240"/>
                  <a:pt x="269560" y="208245"/>
                </a:cubicBezTo>
                <a:cubicBezTo>
                  <a:pt x="270775" y="206567"/>
                  <a:pt x="272221" y="204716"/>
                  <a:pt x="271816" y="203791"/>
                </a:cubicBezTo>
                <a:cubicBezTo>
                  <a:pt x="271412" y="202865"/>
                  <a:pt x="270833" y="202518"/>
                  <a:pt x="267362" y="201940"/>
                </a:cubicBezTo>
                <a:cubicBezTo>
                  <a:pt x="264875" y="201541"/>
                  <a:pt x="262330" y="201326"/>
                  <a:pt x="259785" y="201303"/>
                </a:cubicBezTo>
                <a:cubicBezTo>
                  <a:pt x="255099" y="201384"/>
                  <a:pt x="250472" y="202287"/>
                  <a:pt x="246134" y="203964"/>
                </a:cubicBezTo>
                <a:cubicBezTo>
                  <a:pt x="243299" y="204988"/>
                  <a:pt x="240407" y="205804"/>
                  <a:pt x="237457" y="206394"/>
                </a:cubicBezTo>
                <a:cubicBezTo>
                  <a:pt x="232309" y="207377"/>
                  <a:pt x="229474" y="212467"/>
                  <a:pt x="226235" y="218367"/>
                </a:cubicBezTo>
                <a:cubicBezTo>
                  <a:pt x="223516" y="224244"/>
                  <a:pt x="219583" y="229473"/>
                  <a:pt x="214666" y="233696"/>
                </a:cubicBezTo>
                <a:lnTo>
                  <a:pt x="209807" y="237225"/>
                </a:lnTo>
                <a:cubicBezTo>
                  <a:pt x="202750" y="242257"/>
                  <a:pt x="201420" y="243009"/>
                  <a:pt x="202056" y="252843"/>
                </a:cubicBezTo>
                <a:cubicBezTo>
                  <a:pt x="202114" y="252993"/>
                  <a:pt x="202114" y="253155"/>
                  <a:pt x="202056" y="253305"/>
                </a:cubicBezTo>
                <a:cubicBezTo>
                  <a:pt x="201998" y="253924"/>
                  <a:pt x="201535" y="254405"/>
                  <a:pt x="200899" y="254405"/>
                </a:cubicBezTo>
                <a:lnTo>
                  <a:pt x="200899" y="254405"/>
                </a:lnTo>
                <a:cubicBezTo>
                  <a:pt x="200610" y="254416"/>
                  <a:pt x="200321" y="254312"/>
                  <a:pt x="200089" y="254115"/>
                </a:cubicBezTo>
                <a:cubicBezTo>
                  <a:pt x="193032" y="248331"/>
                  <a:pt x="191470" y="247637"/>
                  <a:pt x="191239" y="247637"/>
                </a:cubicBezTo>
                <a:cubicBezTo>
                  <a:pt x="188578" y="248342"/>
                  <a:pt x="185975" y="249453"/>
                  <a:pt x="183662" y="250934"/>
                </a:cubicBezTo>
                <a:cubicBezTo>
                  <a:pt x="181348" y="252444"/>
                  <a:pt x="178745" y="253502"/>
                  <a:pt x="176026" y="254057"/>
                </a:cubicBezTo>
                <a:lnTo>
                  <a:pt x="175737" y="254057"/>
                </a:lnTo>
                <a:cubicBezTo>
                  <a:pt x="174002" y="254057"/>
                  <a:pt x="165498" y="252496"/>
                  <a:pt x="164168" y="248909"/>
                </a:cubicBezTo>
                <a:cubicBezTo>
                  <a:pt x="163763" y="247880"/>
                  <a:pt x="163936" y="246700"/>
                  <a:pt x="164631" y="245844"/>
                </a:cubicBezTo>
                <a:lnTo>
                  <a:pt x="166135" y="243877"/>
                </a:lnTo>
                <a:cubicBezTo>
                  <a:pt x="169721" y="239249"/>
                  <a:pt x="180538" y="225251"/>
                  <a:pt x="180538" y="221433"/>
                </a:cubicBezTo>
                <a:cubicBezTo>
                  <a:pt x="180538" y="210211"/>
                  <a:pt x="185339" y="207840"/>
                  <a:pt x="189330" y="207840"/>
                </a:cubicBezTo>
                <a:cubicBezTo>
                  <a:pt x="190372" y="207840"/>
                  <a:pt x="191412" y="207973"/>
                  <a:pt x="192454" y="208245"/>
                </a:cubicBezTo>
                <a:cubicBezTo>
                  <a:pt x="195346" y="208997"/>
                  <a:pt x="198238" y="209806"/>
                  <a:pt x="200668" y="210616"/>
                </a:cubicBezTo>
                <a:cubicBezTo>
                  <a:pt x="203387" y="211594"/>
                  <a:pt x="206221" y="212276"/>
                  <a:pt x="209055" y="212641"/>
                </a:cubicBezTo>
                <a:cubicBezTo>
                  <a:pt x="209576" y="212641"/>
                  <a:pt x="209691" y="212641"/>
                  <a:pt x="209691" y="212641"/>
                </a:cubicBezTo>
                <a:cubicBezTo>
                  <a:pt x="209171" y="206544"/>
                  <a:pt x="207031" y="200696"/>
                  <a:pt x="203502" y="195692"/>
                </a:cubicBezTo>
                <a:cubicBezTo>
                  <a:pt x="195982" y="187588"/>
                  <a:pt x="190082" y="178102"/>
                  <a:pt x="186149" y="167754"/>
                </a:cubicBezTo>
                <a:cubicBezTo>
                  <a:pt x="183430" y="159881"/>
                  <a:pt x="176199" y="154461"/>
                  <a:pt x="167870" y="154045"/>
                </a:cubicBezTo>
                <a:cubicBezTo>
                  <a:pt x="163879" y="153148"/>
                  <a:pt x="160292" y="151147"/>
                  <a:pt x="157400" y="148260"/>
                </a:cubicBezTo>
                <a:cubicBezTo>
                  <a:pt x="153583" y="145194"/>
                  <a:pt x="149302" y="141666"/>
                  <a:pt x="146179" y="142071"/>
                </a:cubicBezTo>
                <a:cubicBezTo>
                  <a:pt x="139180" y="142996"/>
                  <a:pt x="115984" y="149475"/>
                  <a:pt x="113902" y="152888"/>
                </a:cubicBezTo>
                <a:cubicBezTo>
                  <a:pt x="109910" y="157897"/>
                  <a:pt x="104010" y="161021"/>
                  <a:pt x="97589" y="161506"/>
                </a:cubicBezTo>
                <a:cubicBezTo>
                  <a:pt x="96201" y="161478"/>
                  <a:pt x="94813" y="161362"/>
                  <a:pt x="93425" y="161159"/>
                </a:cubicBezTo>
                <a:cubicBezTo>
                  <a:pt x="92210" y="160963"/>
                  <a:pt x="90995" y="160847"/>
                  <a:pt x="89780" y="160812"/>
                </a:cubicBezTo>
                <a:cubicBezTo>
                  <a:pt x="87872" y="160714"/>
                  <a:pt x="86020" y="161431"/>
                  <a:pt x="84632" y="162779"/>
                </a:cubicBezTo>
                <a:cubicBezTo>
                  <a:pt x="80236" y="167175"/>
                  <a:pt x="73757" y="168563"/>
                  <a:pt x="70981" y="166018"/>
                </a:cubicBezTo>
                <a:cubicBezTo>
                  <a:pt x="66353" y="163097"/>
                  <a:pt x="61032" y="161530"/>
                  <a:pt x="55595" y="161506"/>
                </a:cubicBezTo>
                <a:cubicBezTo>
                  <a:pt x="50215" y="161003"/>
                  <a:pt x="44893" y="160072"/>
                  <a:pt x="39629" y="158730"/>
                </a:cubicBezTo>
                <a:cubicBezTo>
                  <a:pt x="35812" y="157787"/>
                  <a:pt x="31936" y="157093"/>
                  <a:pt x="28061" y="156648"/>
                </a:cubicBezTo>
                <a:cubicBezTo>
                  <a:pt x="24590" y="156723"/>
                  <a:pt x="21119" y="157012"/>
                  <a:pt x="17706" y="157515"/>
                </a:cubicBezTo>
                <a:cubicBezTo>
                  <a:pt x="17244" y="157567"/>
                  <a:pt x="16839" y="157336"/>
                  <a:pt x="16607" y="156937"/>
                </a:cubicBezTo>
                <a:cubicBezTo>
                  <a:pt x="15624" y="155658"/>
                  <a:pt x="14294" y="154745"/>
                  <a:pt x="12732" y="154334"/>
                </a:cubicBezTo>
                <a:cubicBezTo>
                  <a:pt x="6947" y="152425"/>
                  <a:pt x="-110" y="145426"/>
                  <a:pt x="-110" y="139989"/>
                </a:cubicBezTo>
                <a:cubicBezTo>
                  <a:pt x="-110" y="134551"/>
                  <a:pt x="9203" y="121710"/>
                  <a:pt x="12385" y="119107"/>
                </a:cubicBezTo>
                <a:cubicBezTo>
                  <a:pt x="13831" y="117950"/>
                  <a:pt x="12732" y="111587"/>
                  <a:pt x="12385" y="107538"/>
                </a:cubicBezTo>
                <a:cubicBezTo>
                  <a:pt x="11864" y="105305"/>
                  <a:pt x="11633" y="103009"/>
                  <a:pt x="11691" y="100712"/>
                </a:cubicBezTo>
                <a:cubicBezTo>
                  <a:pt x="12096" y="98746"/>
                  <a:pt x="17475" y="93597"/>
                  <a:pt x="28581" y="82838"/>
                </a:cubicBezTo>
                <a:cubicBezTo>
                  <a:pt x="32630" y="78963"/>
                  <a:pt x="36159" y="75666"/>
                  <a:pt x="37431" y="74162"/>
                </a:cubicBezTo>
                <a:cubicBezTo>
                  <a:pt x="39051" y="72386"/>
                  <a:pt x="41018" y="70969"/>
                  <a:pt x="43216" y="69997"/>
                </a:cubicBezTo>
                <a:cubicBezTo>
                  <a:pt x="45761" y="68898"/>
                  <a:pt x="47959" y="67041"/>
                  <a:pt x="49463" y="64675"/>
                </a:cubicBezTo>
                <a:cubicBezTo>
                  <a:pt x="50273" y="63229"/>
                  <a:pt x="50793" y="57850"/>
                  <a:pt x="38646" y="39282"/>
                </a:cubicBezTo>
                <a:cubicBezTo>
                  <a:pt x="37142" y="36198"/>
                  <a:pt x="36274" y="32861"/>
                  <a:pt x="36101" y="29448"/>
                </a:cubicBezTo>
                <a:cubicBezTo>
                  <a:pt x="36043" y="29112"/>
                  <a:pt x="36159" y="28783"/>
                  <a:pt x="36390" y="28522"/>
                </a:cubicBezTo>
                <a:cubicBezTo>
                  <a:pt x="36621" y="28280"/>
                  <a:pt x="36969" y="28152"/>
                  <a:pt x="37316" y="28175"/>
                </a:cubicBezTo>
                <a:lnTo>
                  <a:pt x="39051" y="28175"/>
                </a:lnTo>
                <a:lnTo>
                  <a:pt x="42464" y="28175"/>
                </a:lnTo>
                <a:cubicBezTo>
                  <a:pt x="45645" y="28424"/>
                  <a:pt x="48769" y="27285"/>
                  <a:pt x="51083" y="25052"/>
                </a:cubicBezTo>
                <a:cubicBezTo>
                  <a:pt x="52008" y="24126"/>
                  <a:pt x="52818" y="23143"/>
                  <a:pt x="53628" y="22217"/>
                </a:cubicBezTo>
                <a:cubicBezTo>
                  <a:pt x="57214" y="16977"/>
                  <a:pt x="63230" y="13940"/>
                  <a:pt x="69593" y="14177"/>
                </a:cubicBezTo>
                <a:cubicBezTo>
                  <a:pt x="87872" y="14177"/>
                  <a:pt x="112686" y="14813"/>
                  <a:pt x="117314" y="20251"/>
                </a:cubicBezTo>
                <a:cubicBezTo>
                  <a:pt x="119859" y="23201"/>
                  <a:pt x="125065" y="22854"/>
                  <a:pt x="129867" y="22738"/>
                </a:cubicBezTo>
                <a:lnTo>
                  <a:pt x="133453" y="22738"/>
                </a:lnTo>
                <a:cubicBezTo>
                  <a:pt x="136345" y="22593"/>
                  <a:pt x="139238" y="23045"/>
                  <a:pt x="141956" y="24069"/>
                </a:cubicBezTo>
                <a:cubicBezTo>
                  <a:pt x="146526" y="26278"/>
                  <a:pt x="151500" y="27690"/>
                  <a:pt x="156533" y="28233"/>
                </a:cubicBezTo>
                <a:cubicBezTo>
                  <a:pt x="158037" y="28233"/>
                  <a:pt x="158846" y="27886"/>
                  <a:pt x="158962" y="27250"/>
                </a:cubicBezTo>
                <a:cubicBezTo>
                  <a:pt x="159136" y="26116"/>
                  <a:pt x="160119" y="25301"/>
                  <a:pt x="161276" y="25341"/>
                </a:cubicBezTo>
                <a:cubicBezTo>
                  <a:pt x="162838" y="25544"/>
                  <a:pt x="164400" y="26012"/>
                  <a:pt x="165788" y="26729"/>
                </a:cubicBezTo>
                <a:cubicBezTo>
                  <a:pt x="168275" y="28019"/>
                  <a:pt x="170994" y="28783"/>
                  <a:pt x="173770" y="28985"/>
                </a:cubicBezTo>
                <a:cubicBezTo>
                  <a:pt x="174985" y="29008"/>
                  <a:pt x="176199" y="28708"/>
                  <a:pt x="177299" y="28118"/>
                </a:cubicBezTo>
                <a:cubicBezTo>
                  <a:pt x="178397" y="27481"/>
                  <a:pt x="179671" y="27146"/>
                  <a:pt x="180943" y="27134"/>
                </a:cubicBezTo>
                <a:cubicBezTo>
                  <a:pt x="184298" y="27557"/>
                  <a:pt x="187422" y="29037"/>
                  <a:pt x="189851" y="31357"/>
                </a:cubicBezTo>
                <a:cubicBezTo>
                  <a:pt x="191991" y="32977"/>
                  <a:pt x="193900" y="34480"/>
                  <a:pt x="195057" y="33786"/>
                </a:cubicBezTo>
                <a:cubicBezTo>
                  <a:pt x="198586" y="32375"/>
                  <a:pt x="202345" y="31762"/>
                  <a:pt x="206163" y="31993"/>
                </a:cubicBezTo>
                <a:cubicBezTo>
                  <a:pt x="208882" y="31993"/>
                  <a:pt x="218079" y="31993"/>
                  <a:pt x="221434" y="35579"/>
                </a:cubicBezTo>
                <a:cubicBezTo>
                  <a:pt x="222186" y="36331"/>
                  <a:pt x="222533" y="36331"/>
                  <a:pt x="222591" y="36331"/>
                </a:cubicBezTo>
                <a:cubicBezTo>
                  <a:pt x="222649" y="36331"/>
                  <a:pt x="224384" y="33671"/>
                  <a:pt x="224384" y="27481"/>
                </a:cubicBezTo>
                <a:cubicBezTo>
                  <a:pt x="224384" y="22391"/>
                  <a:pt x="238209" y="11054"/>
                  <a:pt x="240985" y="8855"/>
                </a:cubicBezTo>
                <a:cubicBezTo>
                  <a:pt x="241217" y="8774"/>
                  <a:pt x="241390" y="8774"/>
                  <a:pt x="241622" y="8855"/>
                </a:cubicBezTo>
                <a:cubicBezTo>
                  <a:pt x="247522" y="8526"/>
                  <a:pt x="253364" y="7357"/>
                  <a:pt x="258975" y="5385"/>
                </a:cubicBezTo>
                <a:cubicBezTo>
                  <a:pt x="259495" y="5148"/>
                  <a:pt x="260131" y="5315"/>
                  <a:pt x="260421" y="5790"/>
                </a:cubicBezTo>
                <a:cubicBezTo>
                  <a:pt x="261925" y="7988"/>
                  <a:pt x="263603" y="8393"/>
                  <a:pt x="266900" y="8393"/>
                </a:cubicBezTo>
                <a:cubicBezTo>
                  <a:pt x="270081" y="8254"/>
                  <a:pt x="273089" y="6912"/>
                  <a:pt x="275345" y="4633"/>
                </a:cubicBezTo>
                <a:cubicBezTo>
                  <a:pt x="276502" y="3621"/>
                  <a:pt x="277774" y="2712"/>
                  <a:pt x="279105" y="1914"/>
                </a:cubicBezTo>
                <a:cubicBezTo>
                  <a:pt x="280667" y="1133"/>
                  <a:pt x="282344" y="775"/>
                  <a:pt x="284079" y="873"/>
                </a:cubicBezTo>
                <a:cubicBezTo>
                  <a:pt x="285757" y="873"/>
                  <a:pt x="287665" y="873"/>
                  <a:pt x="289459" y="1278"/>
                </a:cubicBezTo>
                <a:cubicBezTo>
                  <a:pt x="292062" y="1793"/>
                  <a:pt x="294780" y="1793"/>
                  <a:pt x="297384" y="1278"/>
                </a:cubicBezTo>
                <a:cubicBezTo>
                  <a:pt x="300623" y="242"/>
                  <a:pt x="304036" y="-232"/>
                  <a:pt x="307448" y="-110"/>
                </a:cubicBezTo>
                <a:cubicBezTo>
                  <a:pt x="311555" y="-110"/>
                  <a:pt x="319017" y="410"/>
                  <a:pt x="321215" y="4170"/>
                </a:cubicBezTo>
                <a:cubicBezTo>
                  <a:pt x="324166" y="8855"/>
                  <a:pt x="327636" y="21003"/>
                  <a:pt x="324860" y="25920"/>
                </a:cubicBezTo>
                <a:cubicBezTo>
                  <a:pt x="323587" y="28175"/>
                  <a:pt x="324860" y="30721"/>
                  <a:pt x="327752" y="34712"/>
                </a:cubicBezTo>
                <a:cubicBezTo>
                  <a:pt x="328908" y="36395"/>
                  <a:pt x="330008" y="38154"/>
                  <a:pt x="330933" y="39976"/>
                </a:cubicBezTo>
                <a:cubicBezTo>
                  <a:pt x="332553" y="43331"/>
                  <a:pt x="338163" y="43388"/>
                  <a:pt x="343081" y="43504"/>
                </a:cubicBezTo>
                <a:cubicBezTo>
                  <a:pt x="345510" y="43383"/>
                  <a:pt x="347997" y="43660"/>
                  <a:pt x="350369" y="44314"/>
                </a:cubicBezTo>
                <a:cubicBezTo>
                  <a:pt x="355112" y="46339"/>
                  <a:pt x="365119" y="60163"/>
                  <a:pt x="363095" y="66873"/>
                </a:cubicBezTo>
                <a:cubicBezTo>
                  <a:pt x="362632" y="67816"/>
                  <a:pt x="362632" y="68938"/>
                  <a:pt x="363095" y="69881"/>
                </a:cubicBezTo>
                <a:cubicBezTo>
                  <a:pt x="364367" y="71154"/>
                  <a:pt x="366161" y="71790"/>
                  <a:pt x="367953" y="71617"/>
                </a:cubicBezTo>
                <a:cubicBezTo>
                  <a:pt x="369169" y="71628"/>
                  <a:pt x="370441" y="71414"/>
                  <a:pt x="371598" y="70980"/>
                </a:cubicBezTo>
                <a:cubicBezTo>
                  <a:pt x="372350" y="70639"/>
                  <a:pt x="373159" y="70465"/>
                  <a:pt x="373969" y="70460"/>
                </a:cubicBezTo>
                <a:cubicBezTo>
                  <a:pt x="377151" y="70946"/>
                  <a:pt x="380158" y="72421"/>
                  <a:pt x="382472" y="74682"/>
                </a:cubicBezTo>
                <a:lnTo>
                  <a:pt x="385943" y="77112"/>
                </a:lnTo>
                <a:cubicBezTo>
                  <a:pt x="389934" y="79541"/>
                  <a:pt x="393289" y="79310"/>
                  <a:pt x="398727" y="75897"/>
                </a:cubicBezTo>
                <a:cubicBezTo>
                  <a:pt x="401966" y="73757"/>
                  <a:pt x="405784" y="72501"/>
                  <a:pt x="409660" y="72253"/>
                </a:cubicBezTo>
                <a:cubicBezTo>
                  <a:pt x="411973" y="71935"/>
                  <a:pt x="414287" y="73057"/>
                  <a:pt x="415444" y="75087"/>
                </a:cubicBezTo>
                <a:cubicBezTo>
                  <a:pt x="417295" y="77632"/>
                  <a:pt x="419377" y="79992"/>
                  <a:pt x="421633" y="82144"/>
                </a:cubicBezTo>
                <a:cubicBezTo>
                  <a:pt x="425277" y="85904"/>
                  <a:pt x="427417" y="88218"/>
                  <a:pt x="427417" y="89837"/>
                </a:cubicBezTo>
                <a:cubicBezTo>
                  <a:pt x="429500" y="90254"/>
                  <a:pt x="431582" y="90427"/>
                  <a:pt x="433664" y="90358"/>
                </a:cubicBezTo>
                <a:cubicBezTo>
                  <a:pt x="438986" y="90156"/>
                  <a:pt x="444250" y="90983"/>
                  <a:pt x="449225" y="92788"/>
                </a:cubicBezTo>
                <a:cubicBezTo>
                  <a:pt x="452522" y="94205"/>
                  <a:pt x="455993" y="95084"/>
                  <a:pt x="459579" y="95390"/>
                </a:cubicBezTo>
                <a:cubicBezTo>
                  <a:pt x="463975" y="95749"/>
                  <a:pt x="468313" y="96929"/>
                  <a:pt x="472305" y="98861"/>
                </a:cubicBezTo>
                <a:cubicBezTo>
                  <a:pt x="474619" y="100093"/>
                  <a:pt x="477048" y="101175"/>
                  <a:pt x="479535" y="102100"/>
                </a:cubicBezTo>
                <a:cubicBezTo>
                  <a:pt x="484336" y="104009"/>
                  <a:pt x="488096" y="105513"/>
                  <a:pt x="488616" y="109447"/>
                </a:cubicBezTo>
                <a:cubicBezTo>
                  <a:pt x="489138" y="113380"/>
                  <a:pt x="485898" y="115809"/>
                  <a:pt x="483353" y="118181"/>
                </a:cubicBezTo>
                <a:cubicBezTo>
                  <a:pt x="482312" y="119107"/>
                  <a:pt x="480808" y="120553"/>
                  <a:pt x="480750" y="121073"/>
                </a:cubicBezTo>
                <a:cubicBezTo>
                  <a:pt x="480692" y="121594"/>
                  <a:pt x="482196" y="122577"/>
                  <a:pt x="483122" y="123271"/>
                </a:cubicBezTo>
                <a:cubicBezTo>
                  <a:pt x="485030" y="124660"/>
                  <a:pt x="487402" y="126337"/>
                  <a:pt x="487402" y="129056"/>
                </a:cubicBezTo>
                <a:cubicBezTo>
                  <a:pt x="487402" y="131775"/>
                  <a:pt x="484394" y="132932"/>
                  <a:pt x="481617" y="133915"/>
                </a:cubicBezTo>
                <a:cubicBezTo>
                  <a:pt x="479940" y="134551"/>
                  <a:pt x="477973" y="135245"/>
                  <a:pt x="477627" y="136113"/>
                </a:cubicBezTo>
                <a:cubicBezTo>
                  <a:pt x="477279" y="136981"/>
                  <a:pt x="479073" y="139641"/>
                  <a:pt x="480634" y="141492"/>
                </a:cubicBezTo>
                <a:cubicBezTo>
                  <a:pt x="481849" y="142690"/>
                  <a:pt x="482890" y="144078"/>
                  <a:pt x="483642" y="145599"/>
                </a:cubicBezTo>
                <a:cubicBezTo>
                  <a:pt x="484452" y="147624"/>
                  <a:pt x="483122" y="151384"/>
                  <a:pt x="480981" y="156300"/>
                </a:cubicBezTo>
                <a:cubicBezTo>
                  <a:pt x="480056" y="158233"/>
                  <a:pt x="479361" y="160274"/>
                  <a:pt x="478899" y="162374"/>
                </a:cubicBezTo>
                <a:cubicBezTo>
                  <a:pt x="478899" y="164688"/>
                  <a:pt x="475371" y="164688"/>
                  <a:pt x="473867" y="164688"/>
                </a:cubicBezTo>
                <a:cubicBezTo>
                  <a:pt x="469875" y="164549"/>
                  <a:pt x="465884" y="164179"/>
                  <a:pt x="461892" y="163589"/>
                </a:cubicBezTo>
                <a:cubicBezTo>
                  <a:pt x="459000" y="163242"/>
                  <a:pt x="456513" y="162895"/>
                  <a:pt x="455356" y="162895"/>
                </a:cubicBezTo>
                <a:cubicBezTo>
                  <a:pt x="454199" y="162895"/>
                  <a:pt x="448762" y="166944"/>
                  <a:pt x="444887" y="170125"/>
                </a:cubicBezTo>
                <a:cubicBezTo>
                  <a:pt x="441878" y="173266"/>
                  <a:pt x="438292" y="175754"/>
                  <a:pt x="434301" y="177414"/>
                </a:cubicBezTo>
                <a:cubicBezTo>
                  <a:pt x="434012" y="177443"/>
                  <a:pt x="433722" y="177610"/>
                  <a:pt x="433549" y="177876"/>
                </a:cubicBezTo>
                <a:cubicBezTo>
                  <a:pt x="432450" y="179496"/>
                  <a:pt x="433549" y="184644"/>
                  <a:pt x="434474" y="188404"/>
                </a:cubicBezTo>
                <a:lnTo>
                  <a:pt x="434474" y="188982"/>
                </a:lnTo>
                <a:cubicBezTo>
                  <a:pt x="434590" y="189260"/>
                  <a:pt x="434590" y="189573"/>
                  <a:pt x="434474" y="189850"/>
                </a:cubicBezTo>
                <a:cubicBezTo>
                  <a:pt x="434301" y="190122"/>
                  <a:pt x="434012" y="190307"/>
                  <a:pt x="433722" y="190371"/>
                </a:cubicBezTo>
                <a:cubicBezTo>
                  <a:pt x="426203" y="191638"/>
                  <a:pt x="418857" y="193697"/>
                  <a:pt x="411800" y="196502"/>
                </a:cubicBezTo>
                <a:cubicBezTo>
                  <a:pt x="400809" y="202131"/>
                  <a:pt x="388951" y="205734"/>
                  <a:pt x="376688" y="207146"/>
                </a:cubicBezTo>
                <a:cubicBezTo>
                  <a:pt x="364425" y="208303"/>
                  <a:pt x="343370" y="224499"/>
                  <a:pt x="343370" y="227796"/>
                </a:cubicBezTo>
                <a:cubicBezTo>
                  <a:pt x="343370" y="231093"/>
                  <a:pt x="344237" y="248967"/>
                  <a:pt x="362053" y="248967"/>
                </a:cubicBezTo>
                <a:lnTo>
                  <a:pt x="364367" y="248967"/>
                </a:lnTo>
                <a:cubicBezTo>
                  <a:pt x="367317" y="248967"/>
                  <a:pt x="370151" y="248620"/>
                  <a:pt x="372755" y="248620"/>
                </a:cubicBezTo>
                <a:cubicBezTo>
                  <a:pt x="383803" y="248620"/>
                  <a:pt x="391207" y="250587"/>
                  <a:pt x="393115" y="254057"/>
                </a:cubicBezTo>
                <a:cubicBezTo>
                  <a:pt x="393867" y="255243"/>
                  <a:pt x="393867" y="256747"/>
                  <a:pt x="393115" y="257933"/>
                </a:cubicBezTo>
                <a:cubicBezTo>
                  <a:pt x="391901" y="259784"/>
                  <a:pt x="388893" y="260189"/>
                  <a:pt x="384439" y="260189"/>
                </a:cubicBezTo>
                <a:lnTo>
                  <a:pt x="379754" y="260189"/>
                </a:lnTo>
                <a:lnTo>
                  <a:pt x="373969" y="260189"/>
                </a:lnTo>
                <a:cubicBezTo>
                  <a:pt x="367953" y="259795"/>
                  <a:pt x="361996" y="261016"/>
                  <a:pt x="356616" y="263717"/>
                </a:cubicBezTo>
                <a:cubicBezTo>
                  <a:pt x="352104" y="266650"/>
                  <a:pt x="347130" y="268796"/>
                  <a:pt x="341866" y="270080"/>
                </a:cubicBezTo>
                <a:cubicBezTo>
                  <a:pt x="337759" y="270965"/>
                  <a:pt x="333825" y="272637"/>
                  <a:pt x="330297" y="274997"/>
                </a:cubicBezTo>
                <a:cubicBezTo>
                  <a:pt x="324918" y="278855"/>
                  <a:pt x="318497" y="281100"/>
                  <a:pt x="311903" y="281476"/>
                </a:cubicBezTo>
                <a:close/>
                <a:moveTo>
                  <a:pt x="298830" y="219582"/>
                </a:moveTo>
                <a:cubicBezTo>
                  <a:pt x="306986" y="219582"/>
                  <a:pt x="314968" y="219987"/>
                  <a:pt x="316183" y="224615"/>
                </a:cubicBezTo>
                <a:cubicBezTo>
                  <a:pt x="317397" y="229242"/>
                  <a:pt x="307101" y="234043"/>
                  <a:pt x="293045" y="239307"/>
                </a:cubicBezTo>
                <a:cubicBezTo>
                  <a:pt x="288475" y="240626"/>
                  <a:pt x="284137" y="242575"/>
                  <a:pt x="280088" y="245092"/>
                </a:cubicBezTo>
                <a:cubicBezTo>
                  <a:pt x="280435" y="246538"/>
                  <a:pt x="288302" y="249256"/>
                  <a:pt x="293508" y="250876"/>
                </a:cubicBezTo>
                <a:cubicBezTo>
                  <a:pt x="298193" y="252391"/>
                  <a:pt x="302706" y="254329"/>
                  <a:pt x="307044" y="256660"/>
                </a:cubicBezTo>
                <a:cubicBezTo>
                  <a:pt x="311729" y="259726"/>
                  <a:pt x="310225" y="265684"/>
                  <a:pt x="309010" y="270485"/>
                </a:cubicBezTo>
                <a:cubicBezTo>
                  <a:pt x="308316" y="273551"/>
                  <a:pt x="307506" y="276617"/>
                  <a:pt x="308547" y="277947"/>
                </a:cubicBezTo>
                <a:cubicBezTo>
                  <a:pt x="309589" y="278948"/>
                  <a:pt x="310977" y="279434"/>
                  <a:pt x="312423" y="279278"/>
                </a:cubicBezTo>
                <a:cubicBezTo>
                  <a:pt x="318555" y="278612"/>
                  <a:pt x="324339" y="276247"/>
                  <a:pt x="329198" y="272452"/>
                </a:cubicBezTo>
                <a:cubicBezTo>
                  <a:pt x="332900" y="269936"/>
                  <a:pt x="337065" y="268148"/>
                  <a:pt x="341403" y="267188"/>
                </a:cubicBezTo>
                <a:cubicBezTo>
                  <a:pt x="346378" y="266077"/>
                  <a:pt x="351178" y="264122"/>
                  <a:pt x="355517" y="261404"/>
                </a:cubicBezTo>
                <a:cubicBezTo>
                  <a:pt x="361301" y="258320"/>
                  <a:pt x="367838" y="256938"/>
                  <a:pt x="374374" y="257412"/>
                </a:cubicBezTo>
                <a:lnTo>
                  <a:pt x="380158" y="257412"/>
                </a:lnTo>
                <a:lnTo>
                  <a:pt x="384786" y="257412"/>
                </a:lnTo>
                <a:cubicBezTo>
                  <a:pt x="386290" y="257412"/>
                  <a:pt x="390571" y="257412"/>
                  <a:pt x="391554" y="256198"/>
                </a:cubicBezTo>
                <a:cubicBezTo>
                  <a:pt x="391901" y="255729"/>
                  <a:pt x="391901" y="255104"/>
                  <a:pt x="391554" y="254636"/>
                </a:cubicBezTo>
                <a:cubicBezTo>
                  <a:pt x="390455" y="252669"/>
                  <a:pt x="385018" y="250355"/>
                  <a:pt x="373159" y="250355"/>
                </a:cubicBezTo>
                <a:cubicBezTo>
                  <a:pt x="370615" y="250355"/>
                  <a:pt x="367838" y="250355"/>
                  <a:pt x="364945" y="250702"/>
                </a:cubicBezTo>
                <a:lnTo>
                  <a:pt x="362458" y="250702"/>
                </a:lnTo>
                <a:cubicBezTo>
                  <a:pt x="342097" y="250702"/>
                  <a:pt x="341519" y="229647"/>
                  <a:pt x="341519" y="227565"/>
                </a:cubicBezTo>
                <a:cubicBezTo>
                  <a:pt x="341519" y="222532"/>
                  <a:pt x="364251" y="205815"/>
                  <a:pt x="376862" y="204427"/>
                </a:cubicBezTo>
                <a:cubicBezTo>
                  <a:pt x="388835" y="203050"/>
                  <a:pt x="400462" y="199522"/>
                  <a:pt x="411221" y="194015"/>
                </a:cubicBezTo>
                <a:cubicBezTo>
                  <a:pt x="418105" y="191233"/>
                  <a:pt x="425277" y="189179"/>
                  <a:pt x="432566" y="187884"/>
                </a:cubicBezTo>
                <a:cubicBezTo>
                  <a:pt x="431466" y="183256"/>
                  <a:pt x="430483" y="178513"/>
                  <a:pt x="432045" y="176315"/>
                </a:cubicBezTo>
                <a:cubicBezTo>
                  <a:pt x="432566" y="175534"/>
                  <a:pt x="433433" y="175007"/>
                  <a:pt x="434358" y="174869"/>
                </a:cubicBezTo>
                <a:cubicBezTo>
                  <a:pt x="437830" y="173145"/>
                  <a:pt x="441069" y="170877"/>
                  <a:pt x="443845" y="168159"/>
                </a:cubicBezTo>
                <a:cubicBezTo>
                  <a:pt x="449629" y="163300"/>
                  <a:pt x="453274" y="160350"/>
                  <a:pt x="455761" y="160350"/>
                </a:cubicBezTo>
                <a:cubicBezTo>
                  <a:pt x="457092" y="160350"/>
                  <a:pt x="459636" y="160697"/>
                  <a:pt x="462586" y="161044"/>
                </a:cubicBezTo>
                <a:cubicBezTo>
                  <a:pt x="466404" y="161634"/>
                  <a:pt x="470280" y="161998"/>
                  <a:pt x="474155" y="162143"/>
                </a:cubicBezTo>
                <a:cubicBezTo>
                  <a:pt x="475081" y="162212"/>
                  <a:pt x="476007" y="162114"/>
                  <a:pt x="476932" y="161854"/>
                </a:cubicBezTo>
                <a:cubicBezTo>
                  <a:pt x="477395" y="159546"/>
                  <a:pt x="478147" y="157313"/>
                  <a:pt x="479188" y="155201"/>
                </a:cubicBezTo>
                <a:cubicBezTo>
                  <a:pt x="480461" y="152136"/>
                  <a:pt x="482369" y="147508"/>
                  <a:pt x="481791" y="146178"/>
                </a:cubicBezTo>
                <a:cubicBezTo>
                  <a:pt x="481097" y="144888"/>
                  <a:pt x="480229" y="143702"/>
                  <a:pt x="479246" y="142649"/>
                </a:cubicBezTo>
                <a:cubicBezTo>
                  <a:pt x="477048" y="140162"/>
                  <a:pt x="474792" y="137501"/>
                  <a:pt x="475775" y="135014"/>
                </a:cubicBezTo>
                <a:cubicBezTo>
                  <a:pt x="476759" y="132527"/>
                  <a:pt x="478899" y="132295"/>
                  <a:pt x="481155" y="131485"/>
                </a:cubicBezTo>
                <a:cubicBezTo>
                  <a:pt x="483411" y="130676"/>
                  <a:pt x="485378" y="129981"/>
                  <a:pt x="485378" y="128767"/>
                </a:cubicBezTo>
                <a:cubicBezTo>
                  <a:pt x="485378" y="127552"/>
                  <a:pt x="483584" y="126048"/>
                  <a:pt x="482023" y="124891"/>
                </a:cubicBezTo>
                <a:cubicBezTo>
                  <a:pt x="480461" y="123734"/>
                  <a:pt x="478725" y="122519"/>
                  <a:pt x="478725" y="120842"/>
                </a:cubicBezTo>
                <a:cubicBezTo>
                  <a:pt x="478725" y="119165"/>
                  <a:pt x="480171" y="118066"/>
                  <a:pt x="482023" y="116388"/>
                </a:cubicBezTo>
                <a:cubicBezTo>
                  <a:pt x="483874" y="114710"/>
                  <a:pt x="486882" y="111876"/>
                  <a:pt x="486592" y="109562"/>
                </a:cubicBezTo>
                <a:cubicBezTo>
                  <a:pt x="486303" y="107249"/>
                  <a:pt x="483642" y="105860"/>
                  <a:pt x="478899" y="103778"/>
                </a:cubicBezTo>
                <a:cubicBezTo>
                  <a:pt x="476353" y="102823"/>
                  <a:pt x="473867" y="101724"/>
                  <a:pt x="471437" y="100481"/>
                </a:cubicBezTo>
                <a:cubicBezTo>
                  <a:pt x="467677" y="98659"/>
                  <a:pt x="463686" y="97560"/>
                  <a:pt x="459521" y="97242"/>
                </a:cubicBezTo>
                <a:cubicBezTo>
                  <a:pt x="455703" y="96906"/>
                  <a:pt x="452001" y="95952"/>
                  <a:pt x="448473" y="94407"/>
                </a:cubicBezTo>
                <a:cubicBezTo>
                  <a:pt x="443729" y="92776"/>
                  <a:pt x="438755" y="92030"/>
                  <a:pt x="433780" y="92209"/>
                </a:cubicBezTo>
                <a:cubicBezTo>
                  <a:pt x="428401" y="92209"/>
                  <a:pt x="425451" y="92209"/>
                  <a:pt x="425451" y="89780"/>
                </a:cubicBezTo>
                <a:cubicBezTo>
                  <a:pt x="423831" y="87367"/>
                  <a:pt x="421865" y="85187"/>
                  <a:pt x="419666" y="83301"/>
                </a:cubicBezTo>
                <a:cubicBezTo>
                  <a:pt x="417237" y="81022"/>
                  <a:pt x="415039" y="78506"/>
                  <a:pt x="413130" y="75781"/>
                </a:cubicBezTo>
                <a:cubicBezTo>
                  <a:pt x="412262" y="74566"/>
                  <a:pt x="410816" y="73924"/>
                  <a:pt x="409370" y="74104"/>
                </a:cubicBezTo>
                <a:cubicBezTo>
                  <a:pt x="405900" y="74341"/>
                  <a:pt x="402544" y="75481"/>
                  <a:pt x="399652" y="77401"/>
                </a:cubicBezTo>
                <a:cubicBezTo>
                  <a:pt x="395429" y="81091"/>
                  <a:pt x="389240" y="81583"/>
                  <a:pt x="384497" y="78616"/>
                </a:cubicBezTo>
                <a:cubicBezTo>
                  <a:pt x="383224" y="77835"/>
                  <a:pt x="382010" y="76984"/>
                  <a:pt x="380852" y="76070"/>
                </a:cubicBezTo>
                <a:cubicBezTo>
                  <a:pt x="377671" y="73699"/>
                  <a:pt x="374663" y="71559"/>
                  <a:pt x="372176" y="72600"/>
                </a:cubicBezTo>
                <a:cubicBezTo>
                  <a:pt x="370730" y="73196"/>
                  <a:pt x="369226" y="73491"/>
                  <a:pt x="367665" y="73468"/>
                </a:cubicBezTo>
                <a:cubicBezTo>
                  <a:pt x="365177" y="73670"/>
                  <a:pt x="362690" y="72687"/>
                  <a:pt x="361012" y="70807"/>
                </a:cubicBezTo>
                <a:cubicBezTo>
                  <a:pt x="359971" y="69343"/>
                  <a:pt x="359740" y="67452"/>
                  <a:pt x="360376" y="65774"/>
                </a:cubicBezTo>
                <a:cubicBezTo>
                  <a:pt x="361996" y="60395"/>
                  <a:pt x="352798" y="47669"/>
                  <a:pt x="348807" y="45992"/>
                </a:cubicBezTo>
                <a:cubicBezTo>
                  <a:pt x="346725" y="45448"/>
                  <a:pt x="344585" y="45234"/>
                  <a:pt x="342445" y="45355"/>
                </a:cubicBezTo>
                <a:cubicBezTo>
                  <a:pt x="337123" y="45355"/>
                  <a:pt x="330528" y="45355"/>
                  <a:pt x="328272" y="40612"/>
                </a:cubicBezTo>
                <a:cubicBezTo>
                  <a:pt x="327347" y="38842"/>
                  <a:pt x="326364" y="37141"/>
                  <a:pt x="325206" y="35522"/>
                </a:cubicBezTo>
                <a:cubicBezTo>
                  <a:pt x="322662" y="31646"/>
                  <a:pt x="320232" y="27944"/>
                  <a:pt x="322256" y="24416"/>
                </a:cubicBezTo>
                <a:cubicBezTo>
                  <a:pt x="324281" y="20887"/>
                  <a:pt x="321562" y="9550"/>
                  <a:pt x="318613" y="4922"/>
                </a:cubicBezTo>
                <a:cubicBezTo>
                  <a:pt x="317397" y="2955"/>
                  <a:pt x="312828" y="1741"/>
                  <a:pt x="307044" y="1741"/>
                </a:cubicBezTo>
                <a:cubicBezTo>
                  <a:pt x="303920" y="1636"/>
                  <a:pt x="300796" y="2047"/>
                  <a:pt x="297846" y="2955"/>
                </a:cubicBezTo>
                <a:cubicBezTo>
                  <a:pt x="294896" y="3592"/>
                  <a:pt x="291773" y="3592"/>
                  <a:pt x="288823" y="2955"/>
                </a:cubicBezTo>
                <a:cubicBezTo>
                  <a:pt x="287087" y="2955"/>
                  <a:pt x="285236" y="2550"/>
                  <a:pt x="283675" y="2550"/>
                </a:cubicBezTo>
                <a:cubicBezTo>
                  <a:pt x="282344" y="2487"/>
                  <a:pt x="281014" y="2747"/>
                  <a:pt x="279799" y="3302"/>
                </a:cubicBezTo>
                <a:cubicBezTo>
                  <a:pt x="278584" y="4025"/>
                  <a:pt x="277427" y="4858"/>
                  <a:pt x="276328" y="5790"/>
                </a:cubicBezTo>
                <a:cubicBezTo>
                  <a:pt x="273725" y="8427"/>
                  <a:pt x="270196" y="9960"/>
                  <a:pt x="266495" y="10070"/>
                </a:cubicBezTo>
                <a:cubicBezTo>
                  <a:pt x="263603" y="10429"/>
                  <a:pt x="260711" y="9376"/>
                  <a:pt x="258685" y="7236"/>
                </a:cubicBezTo>
                <a:cubicBezTo>
                  <a:pt x="253248" y="9075"/>
                  <a:pt x="247638" y="10163"/>
                  <a:pt x="241911" y="10475"/>
                </a:cubicBezTo>
                <a:cubicBezTo>
                  <a:pt x="236127" y="15392"/>
                  <a:pt x="226466" y="24069"/>
                  <a:pt x="226466" y="27134"/>
                </a:cubicBezTo>
                <a:cubicBezTo>
                  <a:pt x="226466" y="32225"/>
                  <a:pt x="225772" y="38240"/>
                  <a:pt x="222418" y="38240"/>
                </a:cubicBezTo>
                <a:cubicBezTo>
                  <a:pt x="221376" y="38154"/>
                  <a:pt x="220393" y="37656"/>
                  <a:pt x="219698" y="36852"/>
                </a:cubicBezTo>
                <a:cubicBezTo>
                  <a:pt x="215534" y="34475"/>
                  <a:pt x="210733" y="33445"/>
                  <a:pt x="205989" y="33902"/>
                </a:cubicBezTo>
                <a:cubicBezTo>
                  <a:pt x="202577" y="33700"/>
                  <a:pt x="199222" y="34209"/>
                  <a:pt x="196040" y="35406"/>
                </a:cubicBezTo>
                <a:cubicBezTo>
                  <a:pt x="195520" y="35707"/>
                  <a:pt x="194942" y="35869"/>
                  <a:pt x="194305" y="35869"/>
                </a:cubicBezTo>
                <a:cubicBezTo>
                  <a:pt x="192107" y="35464"/>
                  <a:pt x="190082" y="34394"/>
                  <a:pt x="188520" y="32803"/>
                </a:cubicBezTo>
                <a:cubicBezTo>
                  <a:pt x="186438" y="30825"/>
                  <a:pt x="183777" y="29512"/>
                  <a:pt x="180943" y="29043"/>
                </a:cubicBezTo>
                <a:cubicBezTo>
                  <a:pt x="180075" y="29049"/>
                  <a:pt x="179150" y="29286"/>
                  <a:pt x="178397" y="29737"/>
                </a:cubicBezTo>
                <a:cubicBezTo>
                  <a:pt x="176951" y="30501"/>
                  <a:pt x="175390" y="30900"/>
                  <a:pt x="173770" y="30894"/>
                </a:cubicBezTo>
                <a:cubicBezTo>
                  <a:pt x="170647" y="30692"/>
                  <a:pt x="167639" y="29864"/>
                  <a:pt x="164862" y="28465"/>
                </a:cubicBezTo>
                <a:cubicBezTo>
                  <a:pt x="163763" y="27875"/>
                  <a:pt x="162548" y="27464"/>
                  <a:pt x="161276" y="27250"/>
                </a:cubicBezTo>
                <a:cubicBezTo>
                  <a:pt x="160929" y="28638"/>
                  <a:pt x="159946" y="30142"/>
                  <a:pt x="156533" y="30142"/>
                </a:cubicBezTo>
                <a:cubicBezTo>
                  <a:pt x="151153" y="29552"/>
                  <a:pt x="145889" y="28065"/>
                  <a:pt x="141030" y="25746"/>
                </a:cubicBezTo>
                <a:cubicBezTo>
                  <a:pt x="138601" y="24896"/>
                  <a:pt x="135998" y="24520"/>
                  <a:pt x="133453" y="24647"/>
                </a:cubicBezTo>
                <a:lnTo>
                  <a:pt x="129924" y="24647"/>
                </a:lnTo>
                <a:cubicBezTo>
                  <a:pt x="124545" y="24647"/>
                  <a:pt x="118818" y="25110"/>
                  <a:pt x="115579" y="21350"/>
                </a:cubicBezTo>
                <a:cubicBezTo>
                  <a:pt x="112340" y="17590"/>
                  <a:pt x="97127" y="16086"/>
                  <a:pt x="69304" y="16086"/>
                </a:cubicBezTo>
                <a:cubicBezTo>
                  <a:pt x="63635" y="15843"/>
                  <a:pt x="58197" y="18585"/>
                  <a:pt x="55074" y="23317"/>
                </a:cubicBezTo>
                <a:cubicBezTo>
                  <a:pt x="54206" y="24300"/>
                  <a:pt x="53339" y="25341"/>
                  <a:pt x="52355" y="26267"/>
                </a:cubicBezTo>
                <a:cubicBezTo>
                  <a:pt x="49636" y="28927"/>
                  <a:pt x="45934" y="30310"/>
                  <a:pt x="42175" y="30084"/>
                </a:cubicBezTo>
                <a:lnTo>
                  <a:pt x="38646" y="30084"/>
                </a:lnTo>
                <a:lnTo>
                  <a:pt x="38241" y="30084"/>
                </a:lnTo>
                <a:cubicBezTo>
                  <a:pt x="38415" y="32664"/>
                  <a:pt x="39051" y="35192"/>
                  <a:pt x="40150" y="37546"/>
                </a:cubicBezTo>
                <a:cubicBezTo>
                  <a:pt x="49694" y="52007"/>
                  <a:pt x="53339" y="61378"/>
                  <a:pt x="51140" y="65369"/>
                </a:cubicBezTo>
                <a:cubicBezTo>
                  <a:pt x="49463" y="68105"/>
                  <a:pt x="46975" y="70263"/>
                  <a:pt x="44026" y="71559"/>
                </a:cubicBezTo>
                <a:cubicBezTo>
                  <a:pt x="42059" y="72444"/>
                  <a:pt x="40324" y="73699"/>
                  <a:pt x="38877" y="75261"/>
                </a:cubicBezTo>
                <a:cubicBezTo>
                  <a:pt x="37547" y="76822"/>
                  <a:pt x="34018" y="80177"/>
                  <a:pt x="29912" y="84053"/>
                </a:cubicBezTo>
                <a:cubicBezTo>
                  <a:pt x="24069" y="89195"/>
                  <a:pt x="18632" y="94783"/>
                  <a:pt x="13657" y="100770"/>
                </a:cubicBezTo>
                <a:cubicBezTo>
                  <a:pt x="13715" y="102714"/>
                  <a:pt x="13947" y="104651"/>
                  <a:pt x="14352" y="106554"/>
                </a:cubicBezTo>
                <a:cubicBezTo>
                  <a:pt x="15508" y="113322"/>
                  <a:pt x="16145" y="118123"/>
                  <a:pt x="13889" y="120032"/>
                </a:cubicBezTo>
                <a:cubicBezTo>
                  <a:pt x="11633" y="121941"/>
                  <a:pt x="2320" y="134782"/>
                  <a:pt x="2320" y="139179"/>
                </a:cubicBezTo>
                <a:cubicBezTo>
                  <a:pt x="2320" y="143575"/>
                  <a:pt x="8683" y="149764"/>
                  <a:pt x="13889" y="151384"/>
                </a:cubicBezTo>
                <a:cubicBezTo>
                  <a:pt x="15682" y="151922"/>
                  <a:pt x="17301" y="152963"/>
                  <a:pt x="18516" y="154392"/>
                </a:cubicBezTo>
                <a:cubicBezTo>
                  <a:pt x="25805" y="152934"/>
                  <a:pt x="33382" y="153391"/>
                  <a:pt x="40439" y="155722"/>
                </a:cubicBezTo>
                <a:cubicBezTo>
                  <a:pt x="45529" y="157000"/>
                  <a:pt x="50735" y="157909"/>
                  <a:pt x="55942" y="158441"/>
                </a:cubicBezTo>
                <a:cubicBezTo>
                  <a:pt x="61957" y="158406"/>
                  <a:pt x="67915" y="160199"/>
                  <a:pt x="72890" y="163589"/>
                </a:cubicBezTo>
                <a:cubicBezTo>
                  <a:pt x="73526" y="164179"/>
                  <a:pt x="74394" y="164474"/>
                  <a:pt x="75261" y="164399"/>
                </a:cubicBezTo>
                <a:cubicBezTo>
                  <a:pt x="78385" y="164104"/>
                  <a:pt x="81277" y="162658"/>
                  <a:pt x="83418" y="160350"/>
                </a:cubicBezTo>
                <a:cubicBezTo>
                  <a:pt x="85210" y="158580"/>
                  <a:pt x="87640" y="157631"/>
                  <a:pt x="90128" y="157747"/>
                </a:cubicBezTo>
                <a:cubicBezTo>
                  <a:pt x="91458" y="157776"/>
                  <a:pt x="92788" y="157891"/>
                  <a:pt x="94119" y="158094"/>
                </a:cubicBezTo>
                <a:cubicBezTo>
                  <a:pt x="95391" y="158290"/>
                  <a:pt x="96663" y="158406"/>
                  <a:pt x="97937" y="158441"/>
                </a:cubicBezTo>
                <a:cubicBezTo>
                  <a:pt x="103547" y="157943"/>
                  <a:pt x="108696" y="155236"/>
                  <a:pt x="112282" y="150921"/>
                </a:cubicBezTo>
                <a:cubicBezTo>
                  <a:pt x="115116" y="146236"/>
                  <a:pt x="140163" y="139815"/>
                  <a:pt x="146236" y="139005"/>
                </a:cubicBezTo>
                <a:lnTo>
                  <a:pt x="146988" y="139005"/>
                </a:lnTo>
                <a:cubicBezTo>
                  <a:pt x="151616" y="139989"/>
                  <a:pt x="155839" y="142325"/>
                  <a:pt x="159136" y="145715"/>
                </a:cubicBezTo>
                <a:cubicBezTo>
                  <a:pt x="161623" y="148278"/>
                  <a:pt x="164746" y="150152"/>
                  <a:pt x="168218" y="151152"/>
                </a:cubicBezTo>
                <a:cubicBezTo>
                  <a:pt x="177357" y="151800"/>
                  <a:pt x="185223" y="157926"/>
                  <a:pt x="188116" y="166655"/>
                </a:cubicBezTo>
                <a:cubicBezTo>
                  <a:pt x="191934" y="176639"/>
                  <a:pt x="197602" y="185801"/>
                  <a:pt x="204833" y="193668"/>
                </a:cubicBezTo>
                <a:cubicBezTo>
                  <a:pt x="208824" y="199082"/>
                  <a:pt x="211138" y="205526"/>
                  <a:pt x="211601" y="212236"/>
                </a:cubicBezTo>
                <a:cubicBezTo>
                  <a:pt x="211601" y="212757"/>
                  <a:pt x="211601" y="214550"/>
                  <a:pt x="208766" y="214550"/>
                </a:cubicBezTo>
                <a:cubicBezTo>
                  <a:pt x="205701" y="214203"/>
                  <a:pt x="202635" y="213485"/>
                  <a:pt x="199742" y="212410"/>
                </a:cubicBezTo>
                <a:cubicBezTo>
                  <a:pt x="197255" y="211658"/>
                  <a:pt x="194478" y="210790"/>
                  <a:pt x="191644" y="210096"/>
                </a:cubicBezTo>
                <a:cubicBezTo>
                  <a:pt x="185455" y="208534"/>
                  <a:pt x="182505" y="212178"/>
                  <a:pt x="182505" y="221086"/>
                </a:cubicBezTo>
                <a:cubicBezTo>
                  <a:pt x="182505" y="225135"/>
                  <a:pt x="174985" y="235374"/>
                  <a:pt x="167639" y="244860"/>
                </a:cubicBezTo>
                <a:lnTo>
                  <a:pt x="166135" y="246827"/>
                </a:lnTo>
                <a:cubicBezTo>
                  <a:pt x="165788" y="247290"/>
                  <a:pt x="166135" y="247521"/>
                  <a:pt x="166135" y="247637"/>
                </a:cubicBezTo>
                <a:cubicBezTo>
                  <a:pt x="166714" y="249141"/>
                  <a:pt x="171110" y="250818"/>
                  <a:pt x="176084" y="251454"/>
                </a:cubicBezTo>
                <a:lnTo>
                  <a:pt x="176084" y="251454"/>
                </a:lnTo>
                <a:cubicBezTo>
                  <a:pt x="178397" y="250772"/>
                  <a:pt x="180596" y="249800"/>
                  <a:pt x="182679" y="248562"/>
                </a:cubicBezTo>
                <a:cubicBezTo>
                  <a:pt x="185281" y="246850"/>
                  <a:pt x="188231" y="245653"/>
                  <a:pt x="191297" y="245034"/>
                </a:cubicBezTo>
                <a:cubicBezTo>
                  <a:pt x="191934" y="245034"/>
                  <a:pt x="193148" y="245034"/>
                  <a:pt x="199627" y="250413"/>
                </a:cubicBezTo>
                <a:cubicBezTo>
                  <a:pt x="199627" y="241505"/>
                  <a:pt x="201767" y="239770"/>
                  <a:pt x="208419" y="235027"/>
                </a:cubicBezTo>
                <a:cubicBezTo>
                  <a:pt x="209807" y="234043"/>
                  <a:pt x="211427" y="232944"/>
                  <a:pt x="213220" y="231556"/>
                </a:cubicBezTo>
                <a:cubicBezTo>
                  <a:pt x="217906" y="227507"/>
                  <a:pt x="221666" y="222521"/>
                  <a:pt x="224326" y="216921"/>
                </a:cubicBezTo>
                <a:cubicBezTo>
                  <a:pt x="227681" y="210790"/>
                  <a:pt x="230921" y="205353"/>
                  <a:pt x="237110" y="203849"/>
                </a:cubicBezTo>
                <a:cubicBezTo>
                  <a:pt x="239944" y="203276"/>
                  <a:pt x="242720" y="202483"/>
                  <a:pt x="245440" y="201477"/>
                </a:cubicBezTo>
                <a:cubicBezTo>
                  <a:pt x="250067" y="199718"/>
                  <a:pt x="254926" y="198776"/>
                  <a:pt x="259843" y="198700"/>
                </a:cubicBezTo>
                <a:cubicBezTo>
                  <a:pt x="262503" y="198718"/>
                  <a:pt x="265164" y="198949"/>
                  <a:pt x="267767" y="199395"/>
                </a:cubicBezTo>
                <a:cubicBezTo>
                  <a:pt x="271354" y="199973"/>
                  <a:pt x="273552" y="200956"/>
                  <a:pt x="273956" y="202576"/>
                </a:cubicBezTo>
                <a:cubicBezTo>
                  <a:pt x="274362" y="204196"/>
                  <a:pt x="273204" y="206914"/>
                  <a:pt x="271469" y="209228"/>
                </a:cubicBezTo>
                <a:cubicBezTo>
                  <a:pt x="269734" y="211542"/>
                  <a:pt x="268404" y="213393"/>
                  <a:pt x="268750" y="215012"/>
                </a:cubicBezTo>
                <a:cubicBezTo>
                  <a:pt x="269098" y="216632"/>
                  <a:pt x="269676" y="216574"/>
                  <a:pt x="270948" y="217268"/>
                </a:cubicBezTo>
                <a:cubicBezTo>
                  <a:pt x="276502" y="219218"/>
                  <a:pt x="282402" y="219987"/>
                  <a:pt x="288302" y="219524"/>
                </a:cubicBezTo>
                <a:lnTo>
                  <a:pt x="299118" y="219524"/>
                </a:ln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5" name="Forma libre: forma 354">
            <a:extLst>
              <a:ext uri="{FF2B5EF4-FFF2-40B4-BE49-F238E27FC236}">
                <a16:creationId xmlns:a16="http://schemas.microsoft.com/office/drawing/2014/main" id="{0F7A8F8F-EF01-4EE4-EEBB-95728EC9CF3E}"/>
              </a:ext>
            </a:extLst>
          </p:cNvPr>
          <p:cNvSpPr/>
          <p:nvPr/>
        </p:nvSpPr>
        <p:spPr>
          <a:xfrm>
            <a:off x="6811286" y="2741083"/>
            <a:ext cx="258471" cy="184180"/>
          </a:xfrm>
          <a:custGeom>
            <a:avLst/>
            <a:gdLst>
              <a:gd name="connsiteX0" fmla="*/ 195115 w 258471"/>
              <a:gd name="connsiteY0" fmla="*/ 184051 h 184180"/>
              <a:gd name="connsiteX1" fmla="*/ 192396 w 258471"/>
              <a:gd name="connsiteY1" fmla="*/ 182663 h 184180"/>
              <a:gd name="connsiteX2" fmla="*/ 178687 w 258471"/>
              <a:gd name="connsiteY2" fmla="*/ 179713 h 184180"/>
              <a:gd name="connsiteX3" fmla="*/ 168738 w 258471"/>
              <a:gd name="connsiteY3" fmla="*/ 181217 h 184180"/>
              <a:gd name="connsiteX4" fmla="*/ 167003 w 258471"/>
              <a:gd name="connsiteY4" fmla="*/ 181680 h 184180"/>
              <a:gd name="connsiteX5" fmla="*/ 161218 w 258471"/>
              <a:gd name="connsiteY5" fmla="*/ 178614 h 184180"/>
              <a:gd name="connsiteX6" fmla="*/ 153640 w 258471"/>
              <a:gd name="connsiteY6" fmla="*/ 174854 h 184180"/>
              <a:gd name="connsiteX7" fmla="*/ 151096 w 258471"/>
              <a:gd name="connsiteY7" fmla="*/ 175548 h 184180"/>
              <a:gd name="connsiteX8" fmla="*/ 146468 w 258471"/>
              <a:gd name="connsiteY8" fmla="*/ 176705 h 184180"/>
              <a:gd name="connsiteX9" fmla="*/ 137559 w 258471"/>
              <a:gd name="connsiteY9" fmla="*/ 174276 h 184180"/>
              <a:gd name="connsiteX10" fmla="*/ 133973 w 258471"/>
              <a:gd name="connsiteY10" fmla="*/ 173061 h 184180"/>
              <a:gd name="connsiteX11" fmla="*/ 129230 w 258471"/>
              <a:gd name="connsiteY11" fmla="*/ 175953 h 184180"/>
              <a:gd name="connsiteX12" fmla="*/ 113728 w 258471"/>
              <a:gd name="connsiteY12" fmla="*/ 171557 h 184180"/>
              <a:gd name="connsiteX13" fmla="*/ 106150 w 258471"/>
              <a:gd name="connsiteY13" fmla="*/ 170458 h 184180"/>
              <a:gd name="connsiteX14" fmla="*/ 102622 w 258471"/>
              <a:gd name="connsiteY14" fmla="*/ 170458 h 184180"/>
              <a:gd name="connsiteX15" fmla="*/ 88277 w 258471"/>
              <a:gd name="connsiteY15" fmla="*/ 167161 h 184180"/>
              <a:gd name="connsiteX16" fmla="*/ 42001 w 258471"/>
              <a:gd name="connsiteY16" fmla="*/ 161897 h 184180"/>
              <a:gd name="connsiteX17" fmla="*/ 27771 w 258471"/>
              <a:gd name="connsiteY17" fmla="*/ 169128 h 184180"/>
              <a:gd name="connsiteX18" fmla="*/ 25053 w 258471"/>
              <a:gd name="connsiteY18" fmla="*/ 172078 h 184180"/>
              <a:gd name="connsiteX19" fmla="*/ 14872 w 258471"/>
              <a:gd name="connsiteY19" fmla="*/ 175895 h 184180"/>
              <a:gd name="connsiteX20" fmla="*/ 11344 w 258471"/>
              <a:gd name="connsiteY20" fmla="*/ 175895 h 184180"/>
              <a:gd name="connsiteX21" fmla="*/ 9608 w 258471"/>
              <a:gd name="connsiteY21" fmla="*/ 175895 h 184180"/>
              <a:gd name="connsiteX22" fmla="*/ 8509 w 258471"/>
              <a:gd name="connsiteY22" fmla="*/ 174912 h 184180"/>
              <a:gd name="connsiteX23" fmla="*/ 9030 w 258471"/>
              <a:gd name="connsiteY23" fmla="*/ 159468 h 184180"/>
              <a:gd name="connsiteX24" fmla="*/ 4402 w 258471"/>
              <a:gd name="connsiteY24" fmla="*/ 152064 h 184180"/>
              <a:gd name="connsiteX25" fmla="*/ -110 w 258471"/>
              <a:gd name="connsiteY25" fmla="*/ 145874 h 184180"/>
              <a:gd name="connsiteX26" fmla="*/ 16318 w 258471"/>
              <a:gd name="connsiteY26" fmla="*/ 130893 h 184180"/>
              <a:gd name="connsiteX27" fmla="*/ 18805 w 258471"/>
              <a:gd name="connsiteY27" fmla="*/ 126092 h 184180"/>
              <a:gd name="connsiteX28" fmla="*/ 14872 w 258471"/>
              <a:gd name="connsiteY28" fmla="*/ 109143 h 184180"/>
              <a:gd name="connsiteX29" fmla="*/ 10244 w 258471"/>
              <a:gd name="connsiteY29" fmla="*/ 87336 h 184180"/>
              <a:gd name="connsiteX30" fmla="*/ 10244 w 258471"/>
              <a:gd name="connsiteY30" fmla="*/ 85485 h 184180"/>
              <a:gd name="connsiteX31" fmla="*/ 10244 w 258471"/>
              <a:gd name="connsiteY31" fmla="*/ 84559 h 184180"/>
              <a:gd name="connsiteX32" fmla="*/ 11112 w 258471"/>
              <a:gd name="connsiteY32" fmla="*/ 84154 h 184180"/>
              <a:gd name="connsiteX33" fmla="*/ 31358 w 258471"/>
              <a:gd name="connsiteY33" fmla="*/ 85658 h 184180"/>
              <a:gd name="connsiteX34" fmla="*/ 33903 w 258471"/>
              <a:gd name="connsiteY34" fmla="*/ 85948 h 184180"/>
              <a:gd name="connsiteX35" fmla="*/ 43968 w 258471"/>
              <a:gd name="connsiteY35" fmla="*/ 79527 h 184180"/>
              <a:gd name="connsiteX36" fmla="*/ 62593 w 258471"/>
              <a:gd name="connsiteY36" fmla="*/ 73453 h 184180"/>
              <a:gd name="connsiteX37" fmla="*/ 65023 w 258471"/>
              <a:gd name="connsiteY37" fmla="*/ 65124 h 184180"/>
              <a:gd name="connsiteX38" fmla="*/ 65544 w 258471"/>
              <a:gd name="connsiteY38" fmla="*/ 61422 h 184180"/>
              <a:gd name="connsiteX39" fmla="*/ 80063 w 258471"/>
              <a:gd name="connsiteY39" fmla="*/ 47655 h 184180"/>
              <a:gd name="connsiteX40" fmla="*/ 83707 w 258471"/>
              <a:gd name="connsiteY40" fmla="*/ 44242 h 184180"/>
              <a:gd name="connsiteX41" fmla="*/ 89491 w 258471"/>
              <a:gd name="connsiteY41" fmla="*/ 40366 h 184180"/>
              <a:gd name="connsiteX42" fmla="*/ 91400 w 258471"/>
              <a:gd name="connsiteY42" fmla="*/ 39614 h 184180"/>
              <a:gd name="connsiteX43" fmla="*/ 91400 w 258471"/>
              <a:gd name="connsiteY43" fmla="*/ 31169 h 184180"/>
              <a:gd name="connsiteX44" fmla="*/ 99094 w 258471"/>
              <a:gd name="connsiteY44" fmla="*/ 15551 h 184180"/>
              <a:gd name="connsiteX45" fmla="*/ 109389 w 258471"/>
              <a:gd name="connsiteY45" fmla="*/ 12254 h 184180"/>
              <a:gd name="connsiteX46" fmla="*/ 114191 w 258471"/>
              <a:gd name="connsiteY46" fmla="*/ 12601 h 184180"/>
              <a:gd name="connsiteX47" fmla="*/ 118355 w 258471"/>
              <a:gd name="connsiteY47" fmla="*/ 12890 h 184180"/>
              <a:gd name="connsiteX48" fmla="*/ 124140 w 258471"/>
              <a:gd name="connsiteY48" fmla="*/ 8147 h 184180"/>
              <a:gd name="connsiteX49" fmla="*/ 127900 w 258471"/>
              <a:gd name="connsiteY49" fmla="*/ 3462 h 184180"/>
              <a:gd name="connsiteX50" fmla="*/ 137849 w 258471"/>
              <a:gd name="connsiteY50" fmla="*/ -125 h 184180"/>
              <a:gd name="connsiteX51" fmla="*/ 139063 w 258471"/>
              <a:gd name="connsiteY51" fmla="*/ 511 h 184180"/>
              <a:gd name="connsiteX52" fmla="*/ 140163 w 258471"/>
              <a:gd name="connsiteY52" fmla="*/ 2131 h 184180"/>
              <a:gd name="connsiteX53" fmla="*/ 150054 w 258471"/>
              <a:gd name="connsiteY53" fmla="*/ 6585 h 184180"/>
              <a:gd name="connsiteX54" fmla="*/ 153698 w 258471"/>
              <a:gd name="connsiteY54" fmla="*/ 6122 h 184180"/>
              <a:gd name="connsiteX55" fmla="*/ 168853 w 258471"/>
              <a:gd name="connsiteY55" fmla="*/ 13353 h 184180"/>
              <a:gd name="connsiteX56" fmla="*/ 172845 w 258471"/>
              <a:gd name="connsiteY56" fmla="*/ 15956 h 184180"/>
              <a:gd name="connsiteX57" fmla="*/ 181464 w 258471"/>
              <a:gd name="connsiteY57" fmla="*/ 13064 h 184180"/>
              <a:gd name="connsiteX58" fmla="*/ 181984 w 258471"/>
              <a:gd name="connsiteY58" fmla="*/ 13064 h 184180"/>
              <a:gd name="connsiteX59" fmla="*/ 185918 w 258471"/>
              <a:gd name="connsiteY59" fmla="*/ 12312 h 184180"/>
              <a:gd name="connsiteX60" fmla="*/ 207204 w 258471"/>
              <a:gd name="connsiteY60" fmla="*/ 19716 h 184180"/>
              <a:gd name="connsiteX61" fmla="*/ 208419 w 258471"/>
              <a:gd name="connsiteY61" fmla="*/ 20352 h 184180"/>
              <a:gd name="connsiteX62" fmla="*/ 211311 w 258471"/>
              <a:gd name="connsiteY62" fmla="*/ 33367 h 184180"/>
              <a:gd name="connsiteX63" fmla="*/ 211311 w 258471"/>
              <a:gd name="connsiteY63" fmla="*/ 40019 h 184180"/>
              <a:gd name="connsiteX64" fmla="*/ 210964 w 258471"/>
              <a:gd name="connsiteY64" fmla="*/ 46787 h 184180"/>
              <a:gd name="connsiteX65" fmla="*/ 213799 w 258471"/>
              <a:gd name="connsiteY65" fmla="*/ 58356 h 184180"/>
              <a:gd name="connsiteX66" fmla="*/ 219872 w 258471"/>
              <a:gd name="connsiteY66" fmla="*/ 67090 h 184180"/>
              <a:gd name="connsiteX67" fmla="*/ 226351 w 258471"/>
              <a:gd name="connsiteY67" fmla="*/ 75188 h 184180"/>
              <a:gd name="connsiteX68" fmla="*/ 236474 w 258471"/>
              <a:gd name="connsiteY68" fmla="*/ 84733 h 184180"/>
              <a:gd name="connsiteX69" fmla="*/ 242258 w 258471"/>
              <a:gd name="connsiteY69" fmla="*/ 90517 h 184180"/>
              <a:gd name="connsiteX70" fmla="*/ 258223 w 258471"/>
              <a:gd name="connsiteY70" fmla="*/ 105268 h 184180"/>
              <a:gd name="connsiteX71" fmla="*/ 243646 w 258471"/>
              <a:gd name="connsiteY71" fmla="*/ 119266 h 184180"/>
              <a:gd name="connsiteX72" fmla="*/ 241159 w 258471"/>
              <a:gd name="connsiteY72" fmla="*/ 119729 h 184180"/>
              <a:gd name="connsiteX73" fmla="*/ 241159 w 258471"/>
              <a:gd name="connsiteY73" fmla="*/ 119729 h 184180"/>
              <a:gd name="connsiteX74" fmla="*/ 232945 w 258471"/>
              <a:gd name="connsiteY74" fmla="*/ 117299 h 184180"/>
              <a:gd name="connsiteX75" fmla="*/ 226409 w 258471"/>
              <a:gd name="connsiteY75" fmla="*/ 115275 h 184180"/>
              <a:gd name="connsiteX76" fmla="*/ 224673 w 258471"/>
              <a:gd name="connsiteY76" fmla="*/ 115969 h 184180"/>
              <a:gd name="connsiteX77" fmla="*/ 225946 w 258471"/>
              <a:gd name="connsiteY77" fmla="*/ 128926 h 184180"/>
              <a:gd name="connsiteX78" fmla="*/ 229127 w 258471"/>
              <a:gd name="connsiteY78" fmla="*/ 140495 h 184180"/>
              <a:gd name="connsiteX79" fmla="*/ 233003 w 258471"/>
              <a:gd name="connsiteY79" fmla="*/ 151543 h 184180"/>
              <a:gd name="connsiteX80" fmla="*/ 233003 w 258471"/>
              <a:gd name="connsiteY80" fmla="*/ 152469 h 184180"/>
              <a:gd name="connsiteX81" fmla="*/ 232366 w 258471"/>
              <a:gd name="connsiteY81" fmla="*/ 153221 h 184180"/>
              <a:gd name="connsiteX82" fmla="*/ 215013 w 258471"/>
              <a:gd name="connsiteY82" fmla="*/ 156807 h 184180"/>
              <a:gd name="connsiteX83" fmla="*/ 199569 w 258471"/>
              <a:gd name="connsiteY83" fmla="*/ 173466 h 184180"/>
              <a:gd name="connsiteX84" fmla="*/ 195115 w 258471"/>
              <a:gd name="connsiteY84" fmla="*/ 184051 h 184180"/>
              <a:gd name="connsiteX85" fmla="*/ 178687 w 258471"/>
              <a:gd name="connsiteY85" fmla="*/ 177457 h 184180"/>
              <a:gd name="connsiteX86" fmla="*/ 193958 w 258471"/>
              <a:gd name="connsiteY86" fmla="*/ 181044 h 184180"/>
              <a:gd name="connsiteX87" fmla="*/ 195115 w 258471"/>
              <a:gd name="connsiteY87" fmla="*/ 181796 h 184180"/>
              <a:gd name="connsiteX88" fmla="*/ 196908 w 258471"/>
              <a:gd name="connsiteY88" fmla="*/ 172945 h 184180"/>
              <a:gd name="connsiteX89" fmla="*/ 213509 w 258471"/>
              <a:gd name="connsiteY89" fmla="*/ 154320 h 184180"/>
              <a:gd name="connsiteX90" fmla="*/ 214145 w 258471"/>
              <a:gd name="connsiteY90" fmla="*/ 154320 h 184180"/>
              <a:gd name="connsiteX91" fmla="*/ 230110 w 258471"/>
              <a:gd name="connsiteY91" fmla="*/ 151312 h 184180"/>
              <a:gd name="connsiteX92" fmla="*/ 226582 w 258471"/>
              <a:gd name="connsiteY92" fmla="*/ 140726 h 184180"/>
              <a:gd name="connsiteX93" fmla="*/ 223459 w 258471"/>
              <a:gd name="connsiteY93" fmla="*/ 129446 h 184180"/>
              <a:gd name="connsiteX94" fmla="*/ 222649 w 258471"/>
              <a:gd name="connsiteY94" fmla="*/ 114291 h 184180"/>
              <a:gd name="connsiteX95" fmla="*/ 226061 w 258471"/>
              <a:gd name="connsiteY95" fmla="*/ 112845 h 184180"/>
              <a:gd name="connsiteX96" fmla="*/ 233466 w 258471"/>
              <a:gd name="connsiteY96" fmla="*/ 115043 h 184180"/>
              <a:gd name="connsiteX97" fmla="*/ 240812 w 258471"/>
              <a:gd name="connsiteY97" fmla="*/ 117299 h 184180"/>
              <a:gd name="connsiteX98" fmla="*/ 240812 w 258471"/>
              <a:gd name="connsiteY98" fmla="*/ 117299 h 184180"/>
              <a:gd name="connsiteX99" fmla="*/ 242373 w 258471"/>
              <a:gd name="connsiteY99" fmla="*/ 117010 h 184180"/>
              <a:gd name="connsiteX100" fmla="*/ 255678 w 258471"/>
              <a:gd name="connsiteY100" fmla="*/ 105441 h 184180"/>
              <a:gd name="connsiteX101" fmla="*/ 241390 w 258471"/>
              <a:gd name="connsiteY101" fmla="*/ 92368 h 184180"/>
              <a:gd name="connsiteX102" fmla="*/ 234564 w 258471"/>
              <a:gd name="connsiteY102" fmla="*/ 85948 h 184180"/>
              <a:gd name="connsiteX103" fmla="*/ 225483 w 258471"/>
              <a:gd name="connsiteY103" fmla="*/ 77213 h 184180"/>
              <a:gd name="connsiteX104" fmla="*/ 217732 w 258471"/>
              <a:gd name="connsiteY104" fmla="*/ 67784 h 184180"/>
              <a:gd name="connsiteX105" fmla="*/ 212526 w 258471"/>
              <a:gd name="connsiteY105" fmla="*/ 60149 h 184180"/>
              <a:gd name="connsiteX106" fmla="*/ 208650 w 258471"/>
              <a:gd name="connsiteY106" fmla="*/ 46151 h 184180"/>
              <a:gd name="connsiteX107" fmla="*/ 208998 w 258471"/>
              <a:gd name="connsiteY107" fmla="*/ 39904 h 184180"/>
              <a:gd name="connsiteX108" fmla="*/ 208998 w 258471"/>
              <a:gd name="connsiteY108" fmla="*/ 33020 h 184180"/>
              <a:gd name="connsiteX109" fmla="*/ 207320 w 258471"/>
              <a:gd name="connsiteY109" fmla="*/ 22030 h 184180"/>
              <a:gd name="connsiteX110" fmla="*/ 206105 w 258471"/>
              <a:gd name="connsiteY110" fmla="*/ 21393 h 184180"/>
              <a:gd name="connsiteX111" fmla="*/ 185860 w 258471"/>
              <a:gd name="connsiteY111" fmla="*/ 14221 h 184180"/>
              <a:gd name="connsiteX112" fmla="*/ 182852 w 258471"/>
              <a:gd name="connsiteY112" fmla="*/ 14799 h 184180"/>
              <a:gd name="connsiteX113" fmla="*/ 182331 w 258471"/>
              <a:gd name="connsiteY113" fmla="*/ 14799 h 184180"/>
              <a:gd name="connsiteX114" fmla="*/ 172787 w 258471"/>
              <a:gd name="connsiteY114" fmla="*/ 17923 h 184180"/>
              <a:gd name="connsiteX115" fmla="*/ 167003 w 258471"/>
              <a:gd name="connsiteY115" fmla="*/ 14105 h 184180"/>
              <a:gd name="connsiteX116" fmla="*/ 154392 w 258471"/>
              <a:gd name="connsiteY116" fmla="*/ 7973 h 184180"/>
              <a:gd name="connsiteX117" fmla="*/ 150170 w 258471"/>
              <a:gd name="connsiteY117" fmla="*/ 8552 h 184180"/>
              <a:gd name="connsiteX118" fmla="*/ 138601 w 258471"/>
              <a:gd name="connsiteY118" fmla="*/ 3519 h 184180"/>
              <a:gd name="connsiteX119" fmla="*/ 137329 w 258471"/>
              <a:gd name="connsiteY119" fmla="*/ 1958 h 184180"/>
              <a:gd name="connsiteX120" fmla="*/ 130156 w 258471"/>
              <a:gd name="connsiteY120" fmla="*/ 4966 h 184180"/>
              <a:gd name="connsiteX121" fmla="*/ 126800 w 258471"/>
              <a:gd name="connsiteY121" fmla="*/ 9130 h 184180"/>
              <a:gd name="connsiteX122" fmla="*/ 118934 w 258471"/>
              <a:gd name="connsiteY122" fmla="*/ 14915 h 184180"/>
              <a:gd name="connsiteX123" fmla="*/ 114538 w 258471"/>
              <a:gd name="connsiteY123" fmla="*/ 14626 h 184180"/>
              <a:gd name="connsiteX124" fmla="*/ 109968 w 258471"/>
              <a:gd name="connsiteY124" fmla="*/ 14278 h 184180"/>
              <a:gd name="connsiteX125" fmla="*/ 94176 w 258471"/>
              <a:gd name="connsiteY125" fmla="*/ 30411 h 184180"/>
              <a:gd name="connsiteX126" fmla="*/ 94176 w 258471"/>
              <a:gd name="connsiteY126" fmla="*/ 30533 h 184180"/>
              <a:gd name="connsiteX127" fmla="*/ 93482 w 258471"/>
              <a:gd name="connsiteY127" fmla="*/ 40829 h 184180"/>
              <a:gd name="connsiteX128" fmla="*/ 89838 w 258471"/>
              <a:gd name="connsiteY128" fmla="*/ 42391 h 184180"/>
              <a:gd name="connsiteX129" fmla="*/ 86194 w 258471"/>
              <a:gd name="connsiteY129" fmla="*/ 45167 h 184180"/>
              <a:gd name="connsiteX130" fmla="*/ 81335 w 258471"/>
              <a:gd name="connsiteY130" fmla="*/ 49564 h 184180"/>
              <a:gd name="connsiteX131" fmla="*/ 68320 w 258471"/>
              <a:gd name="connsiteY131" fmla="*/ 61653 h 184180"/>
              <a:gd name="connsiteX132" fmla="*/ 67858 w 258471"/>
              <a:gd name="connsiteY132" fmla="*/ 65182 h 184180"/>
              <a:gd name="connsiteX133" fmla="*/ 63172 w 258471"/>
              <a:gd name="connsiteY133" fmla="*/ 75478 h 184180"/>
              <a:gd name="connsiteX134" fmla="*/ 46282 w 258471"/>
              <a:gd name="connsiteY134" fmla="*/ 80742 h 184180"/>
              <a:gd name="connsiteX135" fmla="*/ 34712 w 258471"/>
              <a:gd name="connsiteY135" fmla="*/ 87972 h 184180"/>
              <a:gd name="connsiteX136" fmla="*/ 31647 w 258471"/>
              <a:gd name="connsiteY136" fmla="*/ 87567 h 184180"/>
              <a:gd name="connsiteX137" fmla="*/ 13137 w 258471"/>
              <a:gd name="connsiteY137" fmla="*/ 86237 h 184180"/>
              <a:gd name="connsiteX138" fmla="*/ 12790 w 258471"/>
              <a:gd name="connsiteY138" fmla="*/ 87856 h 184180"/>
              <a:gd name="connsiteX139" fmla="*/ 16723 w 258471"/>
              <a:gd name="connsiteY139" fmla="*/ 107234 h 184180"/>
              <a:gd name="connsiteX140" fmla="*/ 21408 w 258471"/>
              <a:gd name="connsiteY140" fmla="*/ 126149 h 184180"/>
              <a:gd name="connsiteX141" fmla="*/ 17648 w 258471"/>
              <a:gd name="connsiteY141" fmla="*/ 132744 h 184180"/>
              <a:gd name="connsiteX142" fmla="*/ 2551 w 258471"/>
              <a:gd name="connsiteY142" fmla="*/ 145643 h 184180"/>
              <a:gd name="connsiteX143" fmla="*/ 6311 w 258471"/>
              <a:gd name="connsiteY143" fmla="*/ 150097 h 184180"/>
              <a:gd name="connsiteX144" fmla="*/ 11575 w 258471"/>
              <a:gd name="connsiteY144" fmla="*/ 159873 h 184180"/>
              <a:gd name="connsiteX145" fmla="*/ 10592 w 258471"/>
              <a:gd name="connsiteY145" fmla="*/ 173408 h 184180"/>
              <a:gd name="connsiteX146" fmla="*/ 11401 w 258471"/>
              <a:gd name="connsiteY146" fmla="*/ 173408 h 184180"/>
              <a:gd name="connsiteX147" fmla="*/ 14814 w 258471"/>
              <a:gd name="connsiteY147" fmla="*/ 173408 h 184180"/>
              <a:gd name="connsiteX148" fmla="*/ 23433 w 258471"/>
              <a:gd name="connsiteY148" fmla="*/ 170285 h 184180"/>
              <a:gd name="connsiteX149" fmla="*/ 25978 w 258471"/>
              <a:gd name="connsiteY149" fmla="*/ 167450 h 184180"/>
              <a:gd name="connsiteX150" fmla="*/ 41943 w 258471"/>
              <a:gd name="connsiteY150" fmla="*/ 159410 h 184180"/>
              <a:gd name="connsiteX151" fmla="*/ 89665 w 258471"/>
              <a:gd name="connsiteY151" fmla="*/ 165484 h 184180"/>
              <a:gd name="connsiteX152" fmla="*/ 102217 w 258471"/>
              <a:gd name="connsiteY152" fmla="*/ 167971 h 184180"/>
              <a:gd name="connsiteX153" fmla="*/ 105803 w 258471"/>
              <a:gd name="connsiteY153" fmla="*/ 167971 h 184180"/>
              <a:gd name="connsiteX154" fmla="*/ 114307 w 258471"/>
              <a:gd name="connsiteY154" fmla="*/ 169301 h 184180"/>
              <a:gd name="connsiteX155" fmla="*/ 128883 w 258471"/>
              <a:gd name="connsiteY155" fmla="*/ 173466 h 184180"/>
              <a:gd name="connsiteX156" fmla="*/ 131313 w 258471"/>
              <a:gd name="connsiteY156" fmla="*/ 172483 h 184180"/>
              <a:gd name="connsiteX157" fmla="*/ 133626 w 258471"/>
              <a:gd name="connsiteY157" fmla="*/ 170574 h 184180"/>
              <a:gd name="connsiteX158" fmla="*/ 138138 w 258471"/>
              <a:gd name="connsiteY158" fmla="*/ 171962 h 184180"/>
              <a:gd name="connsiteX159" fmla="*/ 146121 w 258471"/>
              <a:gd name="connsiteY159" fmla="*/ 174218 h 184180"/>
              <a:gd name="connsiteX160" fmla="*/ 149649 w 258471"/>
              <a:gd name="connsiteY160" fmla="*/ 173350 h 184180"/>
              <a:gd name="connsiteX161" fmla="*/ 153294 w 258471"/>
              <a:gd name="connsiteY161" fmla="*/ 172367 h 184180"/>
              <a:gd name="connsiteX162" fmla="*/ 162201 w 258471"/>
              <a:gd name="connsiteY162" fmla="*/ 176590 h 184180"/>
              <a:gd name="connsiteX163" fmla="*/ 167407 w 258471"/>
              <a:gd name="connsiteY163" fmla="*/ 179019 h 184180"/>
              <a:gd name="connsiteX164" fmla="*/ 178687 w 258471"/>
              <a:gd name="connsiteY164" fmla="*/ 177457 h 18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58471" h="184180">
                <a:moveTo>
                  <a:pt x="195115" y="184051"/>
                </a:moveTo>
                <a:cubicBezTo>
                  <a:pt x="194073" y="183965"/>
                  <a:pt x="193091" y="183467"/>
                  <a:pt x="192396" y="182663"/>
                </a:cubicBezTo>
                <a:cubicBezTo>
                  <a:pt x="188231" y="180286"/>
                  <a:pt x="183430" y="179256"/>
                  <a:pt x="178687" y="179713"/>
                </a:cubicBezTo>
                <a:cubicBezTo>
                  <a:pt x="175274" y="179511"/>
                  <a:pt x="171919" y="180020"/>
                  <a:pt x="168738" y="181217"/>
                </a:cubicBezTo>
                <a:cubicBezTo>
                  <a:pt x="168217" y="181518"/>
                  <a:pt x="167639" y="181680"/>
                  <a:pt x="167003" y="181680"/>
                </a:cubicBezTo>
                <a:cubicBezTo>
                  <a:pt x="164805" y="181275"/>
                  <a:pt x="162780" y="180205"/>
                  <a:pt x="161218" y="178614"/>
                </a:cubicBezTo>
                <a:cubicBezTo>
                  <a:pt x="159136" y="176636"/>
                  <a:pt x="156475" y="175323"/>
                  <a:pt x="153640" y="174854"/>
                </a:cubicBezTo>
                <a:cubicBezTo>
                  <a:pt x="152773" y="174860"/>
                  <a:pt x="151848" y="175097"/>
                  <a:pt x="151096" y="175548"/>
                </a:cubicBezTo>
                <a:cubicBezTo>
                  <a:pt x="149649" y="176312"/>
                  <a:pt x="148088" y="176711"/>
                  <a:pt x="146468" y="176705"/>
                </a:cubicBezTo>
                <a:cubicBezTo>
                  <a:pt x="143344" y="176503"/>
                  <a:pt x="140337" y="175676"/>
                  <a:pt x="137559" y="174276"/>
                </a:cubicBezTo>
                <a:cubicBezTo>
                  <a:pt x="136461" y="173686"/>
                  <a:pt x="135246" y="173275"/>
                  <a:pt x="133973" y="173061"/>
                </a:cubicBezTo>
                <a:cubicBezTo>
                  <a:pt x="133626" y="174449"/>
                  <a:pt x="132643" y="175953"/>
                  <a:pt x="129230" y="175953"/>
                </a:cubicBezTo>
                <a:cubicBezTo>
                  <a:pt x="123850" y="175363"/>
                  <a:pt x="118587" y="173877"/>
                  <a:pt x="113728" y="171557"/>
                </a:cubicBezTo>
                <a:cubicBezTo>
                  <a:pt x="111299" y="170707"/>
                  <a:pt x="108695" y="170331"/>
                  <a:pt x="106150" y="170458"/>
                </a:cubicBezTo>
                <a:lnTo>
                  <a:pt x="102622" y="170458"/>
                </a:lnTo>
                <a:cubicBezTo>
                  <a:pt x="97242" y="170458"/>
                  <a:pt x="91516" y="170921"/>
                  <a:pt x="88277" y="167161"/>
                </a:cubicBezTo>
                <a:cubicBezTo>
                  <a:pt x="85037" y="163401"/>
                  <a:pt x="69824" y="161897"/>
                  <a:pt x="42001" y="161897"/>
                </a:cubicBezTo>
                <a:cubicBezTo>
                  <a:pt x="36332" y="161654"/>
                  <a:pt x="30895" y="164396"/>
                  <a:pt x="27771" y="169128"/>
                </a:cubicBezTo>
                <a:cubicBezTo>
                  <a:pt x="26904" y="170111"/>
                  <a:pt x="26036" y="171152"/>
                  <a:pt x="25053" y="172078"/>
                </a:cubicBezTo>
                <a:cubicBezTo>
                  <a:pt x="22334" y="174739"/>
                  <a:pt x="18632" y="176121"/>
                  <a:pt x="14872" y="175895"/>
                </a:cubicBezTo>
                <a:lnTo>
                  <a:pt x="11344" y="175895"/>
                </a:lnTo>
                <a:lnTo>
                  <a:pt x="9608" y="175895"/>
                </a:lnTo>
                <a:cubicBezTo>
                  <a:pt x="9030" y="175901"/>
                  <a:pt x="8567" y="175473"/>
                  <a:pt x="8509" y="174912"/>
                </a:cubicBezTo>
                <a:cubicBezTo>
                  <a:pt x="7815" y="169770"/>
                  <a:pt x="7988" y="164552"/>
                  <a:pt x="9030" y="159468"/>
                </a:cubicBezTo>
                <a:cubicBezTo>
                  <a:pt x="9840" y="156691"/>
                  <a:pt x="7121" y="154320"/>
                  <a:pt x="4402" y="152064"/>
                </a:cubicBezTo>
                <a:cubicBezTo>
                  <a:pt x="1684" y="149808"/>
                  <a:pt x="-110" y="148188"/>
                  <a:pt x="-110" y="145874"/>
                </a:cubicBezTo>
                <a:cubicBezTo>
                  <a:pt x="-110" y="140553"/>
                  <a:pt x="11806" y="132917"/>
                  <a:pt x="16318" y="130893"/>
                </a:cubicBezTo>
                <a:cubicBezTo>
                  <a:pt x="17533" y="130372"/>
                  <a:pt x="18400" y="128637"/>
                  <a:pt x="18805" y="126092"/>
                </a:cubicBezTo>
                <a:cubicBezTo>
                  <a:pt x="19731" y="120145"/>
                  <a:pt x="18285" y="114083"/>
                  <a:pt x="14872" y="109143"/>
                </a:cubicBezTo>
                <a:cubicBezTo>
                  <a:pt x="9030" y="103509"/>
                  <a:pt x="7179" y="94867"/>
                  <a:pt x="10244" y="87336"/>
                </a:cubicBezTo>
                <a:cubicBezTo>
                  <a:pt x="10418" y="86734"/>
                  <a:pt x="10418" y="86092"/>
                  <a:pt x="10244" y="85485"/>
                </a:cubicBezTo>
                <a:cubicBezTo>
                  <a:pt x="10129" y="85190"/>
                  <a:pt x="10129" y="84854"/>
                  <a:pt x="10244" y="84559"/>
                </a:cubicBezTo>
                <a:cubicBezTo>
                  <a:pt x="10476" y="84357"/>
                  <a:pt x="10765" y="84218"/>
                  <a:pt x="11112" y="84154"/>
                </a:cubicBezTo>
                <a:cubicBezTo>
                  <a:pt x="17880" y="84131"/>
                  <a:pt x="24648" y="84635"/>
                  <a:pt x="31358" y="85658"/>
                </a:cubicBezTo>
                <a:cubicBezTo>
                  <a:pt x="32167" y="85832"/>
                  <a:pt x="33035" y="85930"/>
                  <a:pt x="33903" y="85948"/>
                </a:cubicBezTo>
                <a:cubicBezTo>
                  <a:pt x="38125" y="85554"/>
                  <a:pt x="41828" y="83165"/>
                  <a:pt x="43968" y="79527"/>
                </a:cubicBezTo>
                <a:cubicBezTo>
                  <a:pt x="47670" y="74957"/>
                  <a:pt x="59585" y="73453"/>
                  <a:pt x="62593" y="73453"/>
                </a:cubicBezTo>
                <a:cubicBezTo>
                  <a:pt x="64040" y="73453"/>
                  <a:pt x="64734" y="67669"/>
                  <a:pt x="65023" y="65124"/>
                </a:cubicBezTo>
                <a:cubicBezTo>
                  <a:pt x="65023" y="63735"/>
                  <a:pt x="65370" y="62463"/>
                  <a:pt x="65544" y="61422"/>
                </a:cubicBezTo>
                <a:cubicBezTo>
                  <a:pt x="68552" y="55215"/>
                  <a:pt x="73700" y="50316"/>
                  <a:pt x="80063" y="47655"/>
                </a:cubicBezTo>
                <a:cubicBezTo>
                  <a:pt x="81682" y="47018"/>
                  <a:pt x="82955" y="45798"/>
                  <a:pt x="83707" y="44242"/>
                </a:cubicBezTo>
                <a:cubicBezTo>
                  <a:pt x="84632" y="41876"/>
                  <a:pt x="86946" y="40332"/>
                  <a:pt x="89491" y="40366"/>
                </a:cubicBezTo>
                <a:cubicBezTo>
                  <a:pt x="90185" y="40447"/>
                  <a:pt x="90937" y="40164"/>
                  <a:pt x="91400" y="39614"/>
                </a:cubicBezTo>
                <a:cubicBezTo>
                  <a:pt x="92383" y="38400"/>
                  <a:pt x="92499" y="35507"/>
                  <a:pt x="91400" y="31169"/>
                </a:cubicBezTo>
                <a:cubicBezTo>
                  <a:pt x="90706" y="24910"/>
                  <a:pt x="93714" y="18808"/>
                  <a:pt x="99094" y="15551"/>
                </a:cubicBezTo>
                <a:cubicBezTo>
                  <a:pt x="102044" y="13312"/>
                  <a:pt x="105687" y="12150"/>
                  <a:pt x="109389" y="12254"/>
                </a:cubicBezTo>
                <a:cubicBezTo>
                  <a:pt x="111009" y="12283"/>
                  <a:pt x="112571" y="12399"/>
                  <a:pt x="114191" y="12601"/>
                </a:cubicBezTo>
                <a:cubicBezTo>
                  <a:pt x="115637" y="12601"/>
                  <a:pt x="117025" y="12890"/>
                  <a:pt x="118355" y="12890"/>
                </a:cubicBezTo>
                <a:cubicBezTo>
                  <a:pt x="121190" y="12890"/>
                  <a:pt x="122462" y="11097"/>
                  <a:pt x="124140" y="8147"/>
                </a:cubicBezTo>
                <a:cubicBezTo>
                  <a:pt x="125123" y="6377"/>
                  <a:pt x="126396" y="4792"/>
                  <a:pt x="127900" y="3462"/>
                </a:cubicBezTo>
                <a:cubicBezTo>
                  <a:pt x="130850" y="1472"/>
                  <a:pt x="134263" y="240"/>
                  <a:pt x="137849" y="-125"/>
                </a:cubicBezTo>
                <a:cubicBezTo>
                  <a:pt x="138369" y="-165"/>
                  <a:pt x="138833" y="84"/>
                  <a:pt x="139063" y="511"/>
                </a:cubicBezTo>
                <a:cubicBezTo>
                  <a:pt x="139353" y="1113"/>
                  <a:pt x="139700" y="1663"/>
                  <a:pt x="140163" y="2131"/>
                </a:cubicBezTo>
                <a:cubicBezTo>
                  <a:pt x="142823" y="4775"/>
                  <a:pt x="146294" y="6360"/>
                  <a:pt x="150054" y="6585"/>
                </a:cubicBezTo>
                <a:cubicBezTo>
                  <a:pt x="151269" y="6568"/>
                  <a:pt x="152484" y="6412"/>
                  <a:pt x="153698" y="6122"/>
                </a:cubicBezTo>
                <a:cubicBezTo>
                  <a:pt x="159888" y="4121"/>
                  <a:pt x="166539" y="7297"/>
                  <a:pt x="168853" y="13353"/>
                </a:cubicBezTo>
                <a:cubicBezTo>
                  <a:pt x="169548" y="14938"/>
                  <a:pt x="171109" y="15962"/>
                  <a:pt x="172845" y="15956"/>
                </a:cubicBezTo>
                <a:cubicBezTo>
                  <a:pt x="175852" y="15540"/>
                  <a:pt x="178802" y="14556"/>
                  <a:pt x="181464" y="13064"/>
                </a:cubicBezTo>
                <a:lnTo>
                  <a:pt x="181984" y="13064"/>
                </a:lnTo>
                <a:cubicBezTo>
                  <a:pt x="183199" y="12526"/>
                  <a:pt x="184587" y="12271"/>
                  <a:pt x="185918" y="12312"/>
                </a:cubicBezTo>
                <a:cubicBezTo>
                  <a:pt x="193437" y="13359"/>
                  <a:pt x="200668" y="15875"/>
                  <a:pt x="207204" y="19716"/>
                </a:cubicBezTo>
                <a:lnTo>
                  <a:pt x="208419" y="20352"/>
                </a:lnTo>
                <a:cubicBezTo>
                  <a:pt x="211543" y="21914"/>
                  <a:pt x="211485" y="27467"/>
                  <a:pt x="211311" y="33367"/>
                </a:cubicBezTo>
                <a:cubicBezTo>
                  <a:pt x="211311" y="35681"/>
                  <a:pt x="211311" y="38053"/>
                  <a:pt x="211311" y="40019"/>
                </a:cubicBezTo>
                <a:cubicBezTo>
                  <a:pt x="211369" y="42281"/>
                  <a:pt x="211253" y="44548"/>
                  <a:pt x="210964" y="46787"/>
                </a:cubicBezTo>
                <a:cubicBezTo>
                  <a:pt x="210328" y="51762"/>
                  <a:pt x="209807" y="56042"/>
                  <a:pt x="213799" y="58356"/>
                </a:cubicBezTo>
                <a:cubicBezTo>
                  <a:pt x="216749" y="60502"/>
                  <a:pt x="218889" y="63579"/>
                  <a:pt x="219872" y="67090"/>
                </a:cubicBezTo>
                <a:cubicBezTo>
                  <a:pt x="220740" y="70619"/>
                  <a:pt x="223111" y="73586"/>
                  <a:pt x="226351" y="75188"/>
                </a:cubicBezTo>
                <a:cubicBezTo>
                  <a:pt x="230574" y="77323"/>
                  <a:pt x="234102" y="80638"/>
                  <a:pt x="236474" y="84733"/>
                </a:cubicBezTo>
                <a:cubicBezTo>
                  <a:pt x="238382" y="87336"/>
                  <a:pt x="240175" y="89881"/>
                  <a:pt x="242258" y="90517"/>
                </a:cubicBezTo>
                <a:cubicBezTo>
                  <a:pt x="249373" y="92999"/>
                  <a:pt x="255157" y="98344"/>
                  <a:pt x="258223" y="105268"/>
                </a:cubicBezTo>
                <a:cubicBezTo>
                  <a:pt x="259264" y="109895"/>
                  <a:pt x="254463" y="114465"/>
                  <a:pt x="243646" y="119266"/>
                </a:cubicBezTo>
                <a:cubicBezTo>
                  <a:pt x="242836" y="119572"/>
                  <a:pt x="242027" y="119729"/>
                  <a:pt x="241159" y="119729"/>
                </a:cubicBezTo>
                <a:lnTo>
                  <a:pt x="241159" y="119729"/>
                </a:lnTo>
                <a:cubicBezTo>
                  <a:pt x="238267" y="119457"/>
                  <a:pt x="235490" y="118630"/>
                  <a:pt x="232945" y="117299"/>
                </a:cubicBezTo>
                <a:cubicBezTo>
                  <a:pt x="230920" y="116264"/>
                  <a:pt x="228664" y="115581"/>
                  <a:pt x="226409" y="115275"/>
                </a:cubicBezTo>
                <a:cubicBezTo>
                  <a:pt x="225772" y="115211"/>
                  <a:pt x="225078" y="115466"/>
                  <a:pt x="224673" y="115969"/>
                </a:cubicBezTo>
                <a:cubicBezTo>
                  <a:pt x="222649" y="118340"/>
                  <a:pt x="223979" y="122563"/>
                  <a:pt x="225946" y="128926"/>
                </a:cubicBezTo>
                <a:cubicBezTo>
                  <a:pt x="226987" y="132223"/>
                  <a:pt x="228144" y="135983"/>
                  <a:pt x="229127" y="140495"/>
                </a:cubicBezTo>
                <a:cubicBezTo>
                  <a:pt x="229822" y="144365"/>
                  <a:pt x="231094" y="148101"/>
                  <a:pt x="233003" y="151543"/>
                </a:cubicBezTo>
                <a:cubicBezTo>
                  <a:pt x="233176" y="151827"/>
                  <a:pt x="233176" y="152185"/>
                  <a:pt x="233003" y="152469"/>
                </a:cubicBezTo>
                <a:cubicBezTo>
                  <a:pt x="232887" y="152804"/>
                  <a:pt x="232656" y="153076"/>
                  <a:pt x="232366" y="153221"/>
                </a:cubicBezTo>
                <a:cubicBezTo>
                  <a:pt x="226813" y="155274"/>
                  <a:pt x="220971" y="156483"/>
                  <a:pt x="215013" y="156807"/>
                </a:cubicBezTo>
                <a:cubicBezTo>
                  <a:pt x="209229" y="161724"/>
                  <a:pt x="199569" y="170400"/>
                  <a:pt x="199569" y="173466"/>
                </a:cubicBezTo>
                <a:cubicBezTo>
                  <a:pt x="199164" y="178036"/>
                  <a:pt x="198470" y="184051"/>
                  <a:pt x="195115" y="184051"/>
                </a:cubicBezTo>
                <a:close/>
                <a:moveTo>
                  <a:pt x="178687" y="177457"/>
                </a:moveTo>
                <a:cubicBezTo>
                  <a:pt x="181406" y="177457"/>
                  <a:pt x="190603" y="177457"/>
                  <a:pt x="193958" y="181044"/>
                </a:cubicBezTo>
                <a:cubicBezTo>
                  <a:pt x="194710" y="181796"/>
                  <a:pt x="195057" y="181796"/>
                  <a:pt x="195115" y="181796"/>
                </a:cubicBezTo>
                <a:cubicBezTo>
                  <a:pt x="195173" y="181796"/>
                  <a:pt x="196908" y="179135"/>
                  <a:pt x="196908" y="172945"/>
                </a:cubicBezTo>
                <a:cubicBezTo>
                  <a:pt x="196908" y="167855"/>
                  <a:pt x="210733" y="156518"/>
                  <a:pt x="213509" y="154320"/>
                </a:cubicBezTo>
                <a:cubicBezTo>
                  <a:pt x="213741" y="154239"/>
                  <a:pt x="213914" y="154239"/>
                  <a:pt x="214145" y="154320"/>
                </a:cubicBezTo>
                <a:cubicBezTo>
                  <a:pt x="219583" y="153990"/>
                  <a:pt x="224963" y="152977"/>
                  <a:pt x="230110" y="151312"/>
                </a:cubicBezTo>
                <a:cubicBezTo>
                  <a:pt x="228491" y="147957"/>
                  <a:pt x="227276" y="144399"/>
                  <a:pt x="226582" y="140726"/>
                </a:cubicBezTo>
                <a:cubicBezTo>
                  <a:pt x="225599" y="136388"/>
                  <a:pt x="224442" y="132686"/>
                  <a:pt x="223459" y="129446"/>
                </a:cubicBezTo>
                <a:cubicBezTo>
                  <a:pt x="221319" y="122563"/>
                  <a:pt x="219757" y="117878"/>
                  <a:pt x="222649" y="114291"/>
                </a:cubicBezTo>
                <a:cubicBezTo>
                  <a:pt x="223517" y="113302"/>
                  <a:pt x="224789" y="112764"/>
                  <a:pt x="226061" y="112845"/>
                </a:cubicBezTo>
                <a:cubicBezTo>
                  <a:pt x="228664" y="113100"/>
                  <a:pt x="231152" y="113846"/>
                  <a:pt x="233466" y="115043"/>
                </a:cubicBezTo>
                <a:cubicBezTo>
                  <a:pt x="235780" y="116223"/>
                  <a:pt x="238267" y="116987"/>
                  <a:pt x="240812" y="117299"/>
                </a:cubicBezTo>
                <a:lnTo>
                  <a:pt x="240812" y="117299"/>
                </a:lnTo>
                <a:cubicBezTo>
                  <a:pt x="241332" y="117328"/>
                  <a:pt x="241911" y="117230"/>
                  <a:pt x="242373" y="117010"/>
                </a:cubicBezTo>
                <a:cubicBezTo>
                  <a:pt x="251687" y="112903"/>
                  <a:pt x="256372" y="108854"/>
                  <a:pt x="255678" y="105441"/>
                </a:cubicBezTo>
                <a:cubicBezTo>
                  <a:pt x="252786" y="99391"/>
                  <a:pt x="247695" y="94699"/>
                  <a:pt x="241390" y="92368"/>
                </a:cubicBezTo>
                <a:cubicBezTo>
                  <a:pt x="238729" y="91732"/>
                  <a:pt x="236820" y="89013"/>
                  <a:pt x="234564" y="85948"/>
                </a:cubicBezTo>
                <a:cubicBezTo>
                  <a:pt x="232482" y="82211"/>
                  <a:pt x="229301" y="79174"/>
                  <a:pt x="225483" y="77213"/>
                </a:cubicBezTo>
                <a:cubicBezTo>
                  <a:pt x="221607" y="75397"/>
                  <a:pt x="218773" y="71932"/>
                  <a:pt x="217732" y="67784"/>
                </a:cubicBezTo>
                <a:cubicBezTo>
                  <a:pt x="216922" y="64730"/>
                  <a:pt x="215071" y="62046"/>
                  <a:pt x="212526" y="60149"/>
                </a:cubicBezTo>
                <a:cubicBezTo>
                  <a:pt x="207320" y="56794"/>
                  <a:pt x="208014" y="51125"/>
                  <a:pt x="208650" y="46151"/>
                </a:cubicBezTo>
                <a:cubicBezTo>
                  <a:pt x="208940" y="44086"/>
                  <a:pt x="209056" y="41992"/>
                  <a:pt x="208998" y="39904"/>
                </a:cubicBezTo>
                <a:cubicBezTo>
                  <a:pt x="208998" y="37763"/>
                  <a:pt x="208998" y="35334"/>
                  <a:pt x="208998" y="33020"/>
                </a:cubicBezTo>
                <a:cubicBezTo>
                  <a:pt x="208998" y="28508"/>
                  <a:pt x="208998" y="22955"/>
                  <a:pt x="207320" y="22030"/>
                </a:cubicBezTo>
                <a:lnTo>
                  <a:pt x="206105" y="21393"/>
                </a:lnTo>
                <a:cubicBezTo>
                  <a:pt x="199858" y="17726"/>
                  <a:pt x="193033" y="15291"/>
                  <a:pt x="185860" y="14221"/>
                </a:cubicBezTo>
                <a:cubicBezTo>
                  <a:pt x="184818" y="14174"/>
                  <a:pt x="183777" y="14377"/>
                  <a:pt x="182852" y="14799"/>
                </a:cubicBezTo>
                <a:lnTo>
                  <a:pt x="182331" y="14799"/>
                </a:lnTo>
                <a:cubicBezTo>
                  <a:pt x="179381" y="16465"/>
                  <a:pt x="176142" y="17529"/>
                  <a:pt x="172787" y="17923"/>
                </a:cubicBezTo>
                <a:cubicBezTo>
                  <a:pt x="170300" y="17876"/>
                  <a:pt x="168043" y="16390"/>
                  <a:pt x="167003" y="14105"/>
                </a:cubicBezTo>
                <a:cubicBezTo>
                  <a:pt x="165151" y="9009"/>
                  <a:pt x="159541" y="6302"/>
                  <a:pt x="154392" y="7973"/>
                </a:cubicBezTo>
                <a:cubicBezTo>
                  <a:pt x="153004" y="8361"/>
                  <a:pt x="151616" y="8558"/>
                  <a:pt x="150170" y="8552"/>
                </a:cubicBezTo>
                <a:cubicBezTo>
                  <a:pt x="145831" y="8384"/>
                  <a:pt x="141667" y="6591"/>
                  <a:pt x="138601" y="3519"/>
                </a:cubicBezTo>
                <a:cubicBezTo>
                  <a:pt x="138081" y="3080"/>
                  <a:pt x="137675" y="2548"/>
                  <a:pt x="137329" y="1958"/>
                </a:cubicBezTo>
                <a:cubicBezTo>
                  <a:pt x="134783" y="2461"/>
                  <a:pt x="132296" y="3485"/>
                  <a:pt x="130156" y="4966"/>
                </a:cubicBezTo>
                <a:cubicBezTo>
                  <a:pt x="128825" y="6169"/>
                  <a:pt x="127668" y="7574"/>
                  <a:pt x="126800" y="9130"/>
                </a:cubicBezTo>
                <a:cubicBezTo>
                  <a:pt x="125066" y="11849"/>
                  <a:pt x="123098" y="14915"/>
                  <a:pt x="118934" y="14915"/>
                </a:cubicBezTo>
                <a:cubicBezTo>
                  <a:pt x="117488" y="14915"/>
                  <a:pt x="116042" y="14915"/>
                  <a:pt x="114538" y="14626"/>
                </a:cubicBezTo>
                <a:cubicBezTo>
                  <a:pt x="113034" y="14423"/>
                  <a:pt x="111472" y="14307"/>
                  <a:pt x="109968" y="14278"/>
                </a:cubicBezTo>
                <a:cubicBezTo>
                  <a:pt x="101176" y="14371"/>
                  <a:pt x="94061" y="21596"/>
                  <a:pt x="94176" y="30411"/>
                </a:cubicBezTo>
                <a:cubicBezTo>
                  <a:pt x="94176" y="30452"/>
                  <a:pt x="94176" y="30492"/>
                  <a:pt x="94176" y="30533"/>
                </a:cubicBezTo>
                <a:cubicBezTo>
                  <a:pt x="95334" y="33922"/>
                  <a:pt x="95044" y="37624"/>
                  <a:pt x="93482" y="40829"/>
                </a:cubicBezTo>
                <a:cubicBezTo>
                  <a:pt x="92557" y="41893"/>
                  <a:pt x="91226" y="42472"/>
                  <a:pt x="89838" y="42391"/>
                </a:cubicBezTo>
                <a:cubicBezTo>
                  <a:pt x="87987" y="42391"/>
                  <a:pt x="87293" y="43374"/>
                  <a:pt x="86194" y="45167"/>
                </a:cubicBezTo>
                <a:cubicBezTo>
                  <a:pt x="85211" y="47192"/>
                  <a:pt x="83475" y="48765"/>
                  <a:pt x="81335" y="49564"/>
                </a:cubicBezTo>
                <a:cubicBezTo>
                  <a:pt x="75724" y="51993"/>
                  <a:pt x="71154" y="56256"/>
                  <a:pt x="68320" y="61653"/>
                </a:cubicBezTo>
                <a:cubicBezTo>
                  <a:pt x="68320" y="62578"/>
                  <a:pt x="68320" y="63851"/>
                  <a:pt x="67858" y="65182"/>
                </a:cubicBezTo>
                <a:cubicBezTo>
                  <a:pt x="67279" y="69983"/>
                  <a:pt x="66642" y="75478"/>
                  <a:pt x="63172" y="75478"/>
                </a:cubicBezTo>
                <a:cubicBezTo>
                  <a:pt x="59701" y="75478"/>
                  <a:pt x="49058" y="77271"/>
                  <a:pt x="46282" y="80742"/>
                </a:cubicBezTo>
                <a:cubicBezTo>
                  <a:pt x="43736" y="84825"/>
                  <a:pt x="39514" y="87498"/>
                  <a:pt x="34712" y="87972"/>
                </a:cubicBezTo>
                <a:cubicBezTo>
                  <a:pt x="33671" y="87972"/>
                  <a:pt x="32630" y="87839"/>
                  <a:pt x="31647" y="87567"/>
                </a:cubicBezTo>
                <a:cubicBezTo>
                  <a:pt x="25515" y="86642"/>
                  <a:pt x="19326" y="86196"/>
                  <a:pt x="13137" y="86237"/>
                </a:cubicBezTo>
                <a:cubicBezTo>
                  <a:pt x="13079" y="86786"/>
                  <a:pt x="12963" y="87330"/>
                  <a:pt x="12790" y="87856"/>
                </a:cubicBezTo>
                <a:cubicBezTo>
                  <a:pt x="10013" y="94514"/>
                  <a:pt x="11575" y="102179"/>
                  <a:pt x="16723" y="107234"/>
                </a:cubicBezTo>
                <a:cubicBezTo>
                  <a:pt x="20772" y="112637"/>
                  <a:pt x="22507" y="119468"/>
                  <a:pt x="21408" y="126149"/>
                </a:cubicBezTo>
                <a:cubicBezTo>
                  <a:pt x="21350" y="128845"/>
                  <a:pt x="19962" y="131338"/>
                  <a:pt x="17648" y="132744"/>
                </a:cubicBezTo>
                <a:cubicBezTo>
                  <a:pt x="11864" y="135347"/>
                  <a:pt x="2551" y="142288"/>
                  <a:pt x="2551" y="145643"/>
                </a:cubicBezTo>
                <a:cubicBezTo>
                  <a:pt x="2551" y="146916"/>
                  <a:pt x="4460" y="148535"/>
                  <a:pt x="6311" y="150097"/>
                </a:cubicBezTo>
                <a:cubicBezTo>
                  <a:pt x="9203" y="152584"/>
                  <a:pt x="12848" y="155881"/>
                  <a:pt x="11575" y="159873"/>
                </a:cubicBezTo>
                <a:cubicBezTo>
                  <a:pt x="10534" y="164303"/>
                  <a:pt x="10187" y="168873"/>
                  <a:pt x="10592" y="173408"/>
                </a:cubicBezTo>
                <a:lnTo>
                  <a:pt x="11401" y="173408"/>
                </a:lnTo>
                <a:lnTo>
                  <a:pt x="14814" y="173408"/>
                </a:lnTo>
                <a:cubicBezTo>
                  <a:pt x="17996" y="173657"/>
                  <a:pt x="21119" y="172517"/>
                  <a:pt x="23433" y="170285"/>
                </a:cubicBezTo>
                <a:cubicBezTo>
                  <a:pt x="24358" y="169359"/>
                  <a:pt x="25168" y="168376"/>
                  <a:pt x="25978" y="167450"/>
                </a:cubicBezTo>
                <a:cubicBezTo>
                  <a:pt x="29565" y="162209"/>
                  <a:pt x="35580" y="159173"/>
                  <a:pt x="41943" y="159410"/>
                </a:cubicBezTo>
                <a:cubicBezTo>
                  <a:pt x="60222" y="159410"/>
                  <a:pt x="85037" y="160046"/>
                  <a:pt x="89665" y="165484"/>
                </a:cubicBezTo>
                <a:cubicBezTo>
                  <a:pt x="92210" y="168434"/>
                  <a:pt x="97416" y="168086"/>
                  <a:pt x="102217" y="167971"/>
                </a:cubicBezTo>
                <a:lnTo>
                  <a:pt x="105803" y="167971"/>
                </a:lnTo>
                <a:cubicBezTo>
                  <a:pt x="108695" y="167826"/>
                  <a:pt x="111587" y="168277"/>
                  <a:pt x="114307" y="169301"/>
                </a:cubicBezTo>
                <a:cubicBezTo>
                  <a:pt x="118876" y="171511"/>
                  <a:pt x="123792" y="172922"/>
                  <a:pt x="128883" y="173466"/>
                </a:cubicBezTo>
                <a:cubicBezTo>
                  <a:pt x="130387" y="173466"/>
                  <a:pt x="131197" y="173119"/>
                  <a:pt x="131313" y="172483"/>
                </a:cubicBezTo>
                <a:cubicBezTo>
                  <a:pt x="131486" y="171349"/>
                  <a:pt x="132469" y="170533"/>
                  <a:pt x="133626" y="170574"/>
                </a:cubicBezTo>
                <a:cubicBezTo>
                  <a:pt x="135188" y="170776"/>
                  <a:pt x="136750" y="171245"/>
                  <a:pt x="138138" y="171962"/>
                </a:cubicBezTo>
                <a:cubicBezTo>
                  <a:pt x="140625" y="173252"/>
                  <a:pt x="143344" y="174016"/>
                  <a:pt x="146121" y="174218"/>
                </a:cubicBezTo>
                <a:cubicBezTo>
                  <a:pt x="147335" y="174241"/>
                  <a:pt x="148550" y="173940"/>
                  <a:pt x="149649" y="173350"/>
                </a:cubicBezTo>
                <a:cubicBezTo>
                  <a:pt x="150748" y="172714"/>
                  <a:pt x="152021" y="172378"/>
                  <a:pt x="153294" y="172367"/>
                </a:cubicBezTo>
                <a:cubicBezTo>
                  <a:pt x="156648" y="172789"/>
                  <a:pt x="159772" y="174270"/>
                  <a:pt x="162201" y="176590"/>
                </a:cubicBezTo>
                <a:cubicBezTo>
                  <a:pt x="164341" y="178209"/>
                  <a:pt x="166251" y="179713"/>
                  <a:pt x="167407" y="179019"/>
                </a:cubicBezTo>
                <a:cubicBezTo>
                  <a:pt x="170994" y="177660"/>
                  <a:pt x="174869" y="177128"/>
                  <a:pt x="178687" y="17745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6" name="Forma libre: forma 355">
            <a:extLst>
              <a:ext uri="{FF2B5EF4-FFF2-40B4-BE49-F238E27FC236}">
                <a16:creationId xmlns:a16="http://schemas.microsoft.com/office/drawing/2014/main" id="{47882872-3725-DA11-19F6-0B60AE43D467}"/>
              </a:ext>
            </a:extLst>
          </p:cNvPr>
          <p:cNvSpPr/>
          <p:nvPr/>
        </p:nvSpPr>
        <p:spPr>
          <a:xfrm>
            <a:off x="6749672" y="2667220"/>
            <a:ext cx="200743" cy="97333"/>
          </a:xfrm>
          <a:custGeom>
            <a:avLst/>
            <a:gdLst>
              <a:gd name="connsiteX0" fmla="*/ 156600 w 200743"/>
              <a:gd name="connsiteY0" fmla="*/ 97165 h 97333"/>
              <a:gd name="connsiteX1" fmla="*/ 156021 w 200743"/>
              <a:gd name="connsiteY1" fmla="*/ 97165 h 97333"/>
              <a:gd name="connsiteX2" fmla="*/ 154229 w 200743"/>
              <a:gd name="connsiteY2" fmla="*/ 96124 h 97333"/>
              <a:gd name="connsiteX3" fmla="*/ 142023 w 200743"/>
              <a:gd name="connsiteY3" fmla="*/ 88141 h 97333"/>
              <a:gd name="connsiteX4" fmla="*/ 117034 w 200743"/>
              <a:gd name="connsiteY4" fmla="*/ 74779 h 97333"/>
              <a:gd name="connsiteX5" fmla="*/ 115878 w 200743"/>
              <a:gd name="connsiteY5" fmla="*/ 74779 h 97333"/>
              <a:gd name="connsiteX6" fmla="*/ 110093 w 200743"/>
              <a:gd name="connsiteY6" fmla="*/ 71251 h 97333"/>
              <a:gd name="connsiteX7" fmla="*/ 104309 w 200743"/>
              <a:gd name="connsiteY7" fmla="*/ 67780 h 97333"/>
              <a:gd name="connsiteX8" fmla="*/ 101011 w 200743"/>
              <a:gd name="connsiteY8" fmla="*/ 68474 h 97333"/>
              <a:gd name="connsiteX9" fmla="*/ 88922 w 200743"/>
              <a:gd name="connsiteY9" fmla="*/ 70210 h 97333"/>
              <a:gd name="connsiteX10" fmla="*/ 74345 w 200743"/>
              <a:gd name="connsiteY10" fmla="*/ 69168 h 97333"/>
              <a:gd name="connsiteX11" fmla="*/ 66016 w 200743"/>
              <a:gd name="connsiteY11" fmla="*/ 68532 h 97333"/>
              <a:gd name="connsiteX12" fmla="*/ 56819 w 200743"/>
              <a:gd name="connsiteY12" fmla="*/ 67491 h 97333"/>
              <a:gd name="connsiteX13" fmla="*/ 38945 w 200743"/>
              <a:gd name="connsiteY13" fmla="*/ 65756 h 97333"/>
              <a:gd name="connsiteX14" fmla="*/ 27376 w 200743"/>
              <a:gd name="connsiteY14" fmla="*/ 68301 h 97333"/>
              <a:gd name="connsiteX15" fmla="*/ 5163 w 200743"/>
              <a:gd name="connsiteY15" fmla="*/ 74085 h 97333"/>
              <a:gd name="connsiteX16" fmla="*/ 4064 w 200743"/>
              <a:gd name="connsiteY16" fmla="*/ 73507 h 97333"/>
              <a:gd name="connsiteX17" fmla="*/ 3717 w 200743"/>
              <a:gd name="connsiteY17" fmla="*/ 72697 h 97333"/>
              <a:gd name="connsiteX18" fmla="*/ 3370 w 200743"/>
              <a:gd name="connsiteY18" fmla="*/ 72061 h 97333"/>
              <a:gd name="connsiteX19" fmla="*/ 7709 w 200743"/>
              <a:gd name="connsiteY19" fmla="*/ 44816 h 97333"/>
              <a:gd name="connsiteX20" fmla="*/ 11469 w 200743"/>
              <a:gd name="connsiteY20" fmla="*/ 35966 h 97333"/>
              <a:gd name="connsiteX21" fmla="*/ 18757 w 200743"/>
              <a:gd name="connsiteY21" fmla="*/ 22951 h 97333"/>
              <a:gd name="connsiteX22" fmla="*/ 26045 w 200743"/>
              <a:gd name="connsiteY22" fmla="*/ 18034 h 97333"/>
              <a:gd name="connsiteX23" fmla="*/ 42705 w 200743"/>
              <a:gd name="connsiteY23" fmla="*/ 9357 h 97333"/>
              <a:gd name="connsiteX24" fmla="*/ 46522 w 200743"/>
              <a:gd name="connsiteY24" fmla="*/ 11093 h 97333"/>
              <a:gd name="connsiteX25" fmla="*/ 50398 w 200743"/>
              <a:gd name="connsiteY25" fmla="*/ 16877 h 97333"/>
              <a:gd name="connsiteX26" fmla="*/ 69834 w 200743"/>
              <a:gd name="connsiteY26" fmla="*/ 38858 h 97333"/>
              <a:gd name="connsiteX27" fmla="*/ 73073 w 200743"/>
              <a:gd name="connsiteY27" fmla="*/ 38858 h 97333"/>
              <a:gd name="connsiteX28" fmla="*/ 77064 w 200743"/>
              <a:gd name="connsiteY28" fmla="*/ 38858 h 97333"/>
              <a:gd name="connsiteX29" fmla="*/ 90947 w 200743"/>
              <a:gd name="connsiteY29" fmla="*/ 29256 h 97333"/>
              <a:gd name="connsiteX30" fmla="*/ 90079 w 200743"/>
              <a:gd name="connsiteY30" fmla="*/ 18555 h 97333"/>
              <a:gd name="connsiteX31" fmla="*/ 93665 w 200743"/>
              <a:gd name="connsiteY31" fmla="*/ 1548 h 97333"/>
              <a:gd name="connsiteX32" fmla="*/ 94417 w 200743"/>
              <a:gd name="connsiteY32" fmla="*/ 1201 h 97333"/>
              <a:gd name="connsiteX33" fmla="*/ 116630 w 200743"/>
              <a:gd name="connsiteY33" fmla="*/ -129 h 97333"/>
              <a:gd name="connsiteX34" fmla="*/ 124612 w 200743"/>
              <a:gd name="connsiteY34" fmla="*/ 970 h 97333"/>
              <a:gd name="connsiteX35" fmla="*/ 126058 w 200743"/>
              <a:gd name="connsiteY35" fmla="*/ 2069 h 97333"/>
              <a:gd name="connsiteX36" fmla="*/ 150584 w 200743"/>
              <a:gd name="connsiteY36" fmla="*/ 16993 h 97333"/>
              <a:gd name="connsiteX37" fmla="*/ 151047 w 200743"/>
              <a:gd name="connsiteY37" fmla="*/ 16993 h 97333"/>
              <a:gd name="connsiteX38" fmla="*/ 155038 w 200743"/>
              <a:gd name="connsiteY38" fmla="*/ 16588 h 97333"/>
              <a:gd name="connsiteX39" fmla="*/ 177597 w 200743"/>
              <a:gd name="connsiteY39" fmla="*/ 18670 h 97333"/>
              <a:gd name="connsiteX40" fmla="*/ 178523 w 200743"/>
              <a:gd name="connsiteY40" fmla="*/ 19364 h 97333"/>
              <a:gd name="connsiteX41" fmla="*/ 182861 w 200743"/>
              <a:gd name="connsiteY41" fmla="*/ 25901 h 97333"/>
              <a:gd name="connsiteX42" fmla="*/ 186158 w 200743"/>
              <a:gd name="connsiteY42" fmla="*/ 42329 h 97333"/>
              <a:gd name="connsiteX43" fmla="*/ 194430 w 200743"/>
              <a:gd name="connsiteY43" fmla="*/ 56847 h 97333"/>
              <a:gd name="connsiteX44" fmla="*/ 198653 w 200743"/>
              <a:gd name="connsiteY44" fmla="*/ 67549 h 97333"/>
              <a:gd name="connsiteX45" fmla="*/ 200504 w 200743"/>
              <a:gd name="connsiteY45" fmla="*/ 73970 h 97333"/>
              <a:gd name="connsiteX46" fmla="*/ 200504 w 200743"/>
              <a:gd name="connsiteY46" fmla="*/ 74953 h 97333"/>
              <a:gd name="connsiteX47" fmla="*/ 199694 w 200743"/>
              <a:gd name="connsiteY47" fmla="*/ 75531 h 97333"/>
              <a:gd name="connsiteX48" fmla="*/ 191712 w 200743"/>
              <a:gd name="connsiteY48" fmla="*/ 78713 h 97333"/>
              <a:gd name="connsiteX49" fmla="*/ 188356 w 200743"/>
              <a:gd name="connsiteY49" fmla="*/ 82877 h 97333"/>
              <a:gd name="connsiteX50" fmla="*/ 180489 w 200743"/>
              <a:gd name="connsiteY50" fmla="*/ 88662 h 97333"/>
              <a:gd name="connsiteX51" fmla="*/ 176093 w 200743"/>
              <a:gd name="connsiteY51" fmla="*/ 88373 h 97333"/>
              <a:gd name="connsiteX52" fmla="*/ 171524 w 200743"/>
              <a:gd name="connsiteY52" fmla="*/ 88026 h 97333"/>
              <a:gd name="connsiteX53" fmla="*/ 162616 w 200743"/>
              <a:gd name="connsiteY53" fmla="*/ 90860 h 97333"/>
              <a:gd name="connsiteX54" fmla="*/ 157583 w 200743"/>
              <a:gd name="connsiteY54" fmla="*/ 96644 h 97333"/>
              <a:gd name="connsiteX55" fmla="*/ 156889 w 200743"/>
              <a:gd name="connsiteY55" fmla="*/ 97165 h 97333"/>
              <a:gd name="connsiteX56" fmla="*/ 118133 w 200743"/>
              <a:gd name="connsiteY56" fmla="*/ 72234 h 97333"/>
              <a:gd name="connsiteX57" fmla="*/ 143469 w 200743"/>
              <a:gd name="connsiteY57" fmla="*/ 86290 h 97333"/>
              <a:gd name="connsiteX58" fmla="*/ 155038 w 200743"/>
              <a:gd name="connsiteY58" fmla="*/ 93984 h 97333"/>
              <a:gd name="connsiteX59" fmla="*/ 155963 w 200743"/>
              <a:gd name="connsiteY59" fmla="*/ 94504 h 97333"/>
              <a:gd name="connsiteX60" fmla="*/ 160938 w 200743"/>
              <a:gd name="connsiteY60" fmla="*/ 89240 h 97333"/>
              <a:gd name="connsiteX61" fmla="*/ 171234 w 200743"/>
              <a:gd name="connsiteY61" fmla="*/ 85943 h 97333"/>
              <a:gd name="connsiteX62" fmla="*/ 176035 w 200743"/>
              <a:gd name="connsiteY62" fmla="*/ 86290 h 97333"/>
              <a:gd name="connsiteX63" fmla="*/ 180201 w 200743"/>
              <a:gd name="connsiteY63" fmla="*/ 86580 h 97333"/>
              <a:gd name="connsiteX64" fmla="*/ 185985 w 200743"/>
              <a:gd name="connsiteY64" fmla="*/ 81836 h 97333"/>
              <a:gd name="connsiteX65" fmla="*/ 189744 w 200743"/>
              <a:gd name="connsiteY65" fmla="*/ 77151 h 97333"/>
              <a:gd name="connsiteX66" fmla="*/ 197380 w 200743"/>
              <a:gd name="connsiteY66" fmla="*/ 73796 h 97333"/>
              <a:gd name="connsiteX67" fmla="*/ 195934 w 200743"/>
              <a:gd name="connsiteY67" fmla="*/ 68012 h 97333"/>
              <a:gd name="connsiteX68" fmla="*/ 192290 w 200743"/>
              <a:gd name="connsiteY68" fmla="*/ 58467 h 97333"/>
              <a:gd name="connsiteX69" fmla="*/ 183555 w 200743"/>
              <a:gd name="connsiteY69" fmla="*/ 41461 h 97333"/>
              <a:gd name="connsiteX70" fmla="*/ 180779 w 200743"/>
              <a:gd name="connsiteY70" fmla="*/ 27521 h 97333"/>
              <a:gd name="connsiteX71" fmla="*/ 176151 w 200743"/>
              <a:gd name="connsiteY71" fmla="*/ 20811 h 97333"/>
              <a:gd name="connsiteX72" fmla="*/ 154517 w 200743"/>
              <a:gd name="connsiteY72" fmla="*/ 18844 h 97333"/>
              <a:gd name="connsiteX73" fmla="*/ 151278 w 200743"/>
              <a:gd name="connsiteY73" fmla="*/ 18844 h 97333"/>
              <a:gd name="connsiteX74" fmla="*/ 150063 w 200743"/>
              <a:gd name="connsiteY74" fmla="*/ 18844 h 97333"/>
              <a:gd name="connsiteX75" fmla="*/ 124149 w 200743"/>
              <a:gd name="connsiteY75" fmla="*/ 3457 h 97333"/>
              <a:gd name="connsiteX76" fmla="*/ 122761 w 200743"/>
              <a:gd name="connsiteY76" fmla="*/ 2358 h 97333"/>
              <a:gd name="connsiteX77" fmla="*/ 116109 w 200743"/>
              <a:gd name="connsiteY77" fmla="*/ 1722 h 97333"/>
              <a:gd name="connsiteX78" fmla="*/ 94533 w 200743"/>
              <a:gd name="connsiteY78" fmla="*/ 2994 h 97333"/>
              <a:gd name="connsiteX79" fmla="*/ 91814 w 200743"/>
              <a:gd name="connsiteY79" fmla="*/ 17803 h 97333"/>
              <a:gd name="connsiteX80" fmla="*/ 92682 w 200743"/>
              <a:gd name="connsiteY80" fmla="*/ 28909 h 97333"/>
              <a:gd name="connsiteX81" fmla="*/ 76543 w 200743"/>
              <a:gd name="connsiteY81" fmla="*/ 40478 h 97333"/>
              <a:gd name="connsiteX82" fmla="*/ 72494 w 200743"/>
              <a:gd name="connsiteY82" fmla="*/ 40478 h 97333"/>
              <a:gd name="connsiteX83" fmla="*/ 69313 w 200743"/>
              <a:gd name="connsiteY83" fmla="*/ 40478 h 97333"/>
              <a:gd name="connsiteX84" fmla="*/ 47968 w 200743"/>
              <a:gd name="connsiteY84" fmla="*/ 17340 h 97333"/>
              <a:gd name="connsiteX85" fmla="*/ 44208 w 200743"/>
              <a:gd name="connsiteY85" fmla="*/ 11555 h 97333"/>
              <a:gd name="connsiteX86" fmla="*/ 26855 w 200743"/>
              <a:gd name="connsiteY86" fmla="*/ 18960 h 97333"/>
              <a:gd name="connsiteX87" fmla="*/ 19393 w 200743"/>
              <a:gd name="connsiteY87" fmla="*/ 23934 h 97333"/>
              <a:gd name="connsiteX88" fmla="*/ 13204 w 200743"/>
              <a:gd name="connsiteY88" fmla="*/ 35503 h 97333"/>
              <a:gd name="connsiteX89" fmla="*/ 8634 w 200743"/>
              <a:gd name="connsiteY89" fmla="*/ 45684 h 97333"/>
              <a:gd name="connsiteX90" fmla="*/ 4874 w 200743"/>
              <a:gd name="connsiteY90" fmla="*/ 70094 h 97333"/>
              <a:gd name="connsiteX91" fmla="*/ 5221 w 200743"/>
              <a:gd name="connsiteY91" fmla="*/ 70904 h 97333"/>
              <a:gd name="connsiteX92" fmla="*/ 25525 w 200743"/>
              <a:gd name="connsiteY92" fmla="*/ 65524 h 97333"/>
              <a:gd name="connsiteX93" fmla="*/ 38598 w 200743"/>
              <a:gd name="connsiteY93" fmla="*/ 62574 h 97333"/>
              <a:gd name="connsiteX94" fmla="*/ 56819 w 200743"/>
              <a:gd name="connsiteY94" fmla="*/ 64367 h 97333"/>
              <a:gd name="connsiteX95" fmla="*/ 65669 w 200743"/>
              <a:gd name="connsiteY95" fmla="*/ 65351 h 97333"/>
              <a:gd name="connsiteX96" fmla="*/ 74229 w 200743"/>
              <a:gd name="connsiteY96" fmla="*/ 65987 h 97333"/>
              <a:gd name="connsiteX97" fmla="*/ 88575 w 200743"/>
              <a:gd name="connsiteY97" fmla="*/ 66970 h 97333"/>
              <a:gd name="connsiteX98" fmla="*/ 100144 w 200743"/>
              <a:gd name="connsiteY98" fmla="*/ 65409 h 97333"/>
              <a:gd name="connsiteX99" fmla="*/ 104193 w 200743"/>
              <a:gd name="connsiteY99" fmla="*/ 64599 h 97333"/>
              <a:gd name="connsiteX100" fmla="*/ 111597 w 200743"/>
              <a:gd name="connsiteY100" fmla="*/ 68821 h 97333"/>
              <a:gd name="connsiteX101" fmla="*/ 116340 w 200743"/>
              <a:gd name="connsiteY101" fmla="*/ 71540 h 97333"/>
              <a:gd name="connsiteX102" fmla="*/ 118133 w 200743"/>
              <a:gd name="connsiteY102" fmla="*/ 72234 h 9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00743" h="97333">
                <a:moveTo>
                  <a:pt x="156600" y="97165"/>
                </a:moveTo>
                <a:cubicBezTo>
                  <a:pt x="156427" y="97217"/>
                  <a:pt x="156195" y="97217"/>
                  <a:pt x="156021" y="97165"/>
                </a:cubicBezTo>
                <a:lnTo>
                  <a:pt x="154229" y="96124"/>
                </a:lnTo>
                <a:cubicBezTo>
                  <a:pt x="149947" y="93787"/>
                  <a:pt x="145899" y="91120"/>
                  <a:pt x="142023" y="88141"/>
                </a:cubicBezTo>
                <a:cubicBezTo>
                  <a:pt x="134156" y="81547"/>
                  <a:pt x="122529" y="73680"/>
                  <a:pt x="117034" y="74779"/>
                </a:cubicBezTo>
                <a:lnTo>
                  <a:pt x="115878" y="74779"/>
                </a:lnTo>
                <a:cubicBezTo>
                  <a:pt x="113506" y="74571"/>
                  <a:pt x="111366" y="73264"/>
                  <a:pt x="110093" y="71251"/>
                </a:cubicBezTo>
                <a:cubicBezTo>
                  <a:pt x="108820" y="69244"/>
                  <a:pt x="106680" y="67959"/>
                  <a:pt x="104309" y="67780"/>
                </a:cubicBezTo>
                <a:cubicBezTo>
                  <a:pt x="103152" y="67815"/>
                  <a:pt x="102053" y="68052"/>
                  <a:pt x="101011" y="68474"/>
                </a:cubicBezTo>
                <a:cubicBezTo>
                  <a:pt x="97136" y="69764"/>
                  <a:pt x="93029" y="70348"/>
                  <a:pt x="88922" y="70210"/>
                </a:cubicBezTo>
                <a:cubicBezTo>
                  <a:pt x="84063" y="70111"/>
                  <a:pt x="79204" y="69764"/>
                  <a:pt x="74345" y="69168"/>
                </a:cubicBezTo>
                <a:cubicBezTo>
                  <a:pt x="70990" y="68821"/>
                  <a:pt x="68098" y="68532"/>
                  <a:pt x="66016" y="68532"/>
                </a:cubicBezTo>
                <a:cubicBezTo>
                  <a:pt x="62950" y="68376"/>
                  <a:pt x="59884" y="68029"/>
                  <a:pt x="56819" y="67491"/>
                </a:cubicBezTo>
                <a:cubicBezTo>
                  <a:pt x="50918" y="66513"/>
                  <a:pt x="44960" y="65935"/>
                  <a:pt x="38945" y="65756"/>
                </a:cubicBezTo>
                <a:cubicBezTo>
                  <a:pt x="34895" y="65461"/>
                  <a:pt x="30904" y="66346"/>
                  <a:pt x="27376" y="68301"/>
                </a:cubicBezTo>
                <a:cubicBezTo>
                  <a:pt x="20608" y="72090"/>
                  <a:pt x="12915" y="74085"/>
                  <a:pt x="5163" y="74085"/>
                </a:cubicBezTo>
                <a:cubicBezTo>
                  <a:pt x="4701" y="74178"/>
                  <a:pt x="4238" y="73935"/>
                  <a:pt x="4064" y="73507"/>
                </a:cubicBezTo>
                <a:lnTo>
                  <a:pt x="3717" y="72697"/>
                </a:lnTo>
                <a:lnTo>
                  <a:pt x="3370" y="72061"/>
                </a:lnTo>
                <a:cubicBezTo>
                  <a:pt x="-2588" y="63262"/>
                  <a:pt x="-736" y="51323"/>
                  <a:pt x="7709" y="44816"/>
                </a:cubicBezTo>
                <a:cubicBezTo>
                  <a:pt x="10022" y="42438"/>
                  <a:pt x="11353" y="39280"/>
                  <a:pt x="11469" y="35966"/>
                </a:cubicBezTo>
                <a:cubicBezTo>
                  <a:pt x="11700" y="30719"/>
                  <a:pt x="14419" y="25889"/>
                  <a:pt x="18757" y="22951"/>
                </a:cubicBezTo>
                <a:cubicBezTo>
                  <a:pt x="21013" y="21563"/>
                  <a:pt x="23500" y="19827"/>
                  <a:pt x="26045" y="18034"/>
                </a:cubicBezTo>
                <a:cubicBezTo>
                  <a:pt x="30846" y="13846"/>
                  <a:pt x="36515" y="10873"/>
                  <a:pt x="42705" y="9357"/>
                </a:cubicBezTo>
                <a:cubicBezTo>
                  <a:pt x="44208" y="9294"/>
                  <a:pt x="45597" y="9936"/>
                  <a:pt x="46522" y="11093"/>
                </a:cubicBezTo>
                <a:cubicBezTo>
                  <a:pt x="47448" y="12307"/>
                  <a:pt x="48720" y="14332"/>
                  <a:pt x="50398" y="16877"/>
                </a:cubicBezTo>
                <a:cubicBezTo>
                  <a:pt x="55315" y="24570"/>
                  <a:pt x="64512" y="38858"/>
                  <a:pt x="69834" y="38858"/>
                </a:cubicBezTo>
                <a:lnTo>
                  <a:pt x="73073" y="38858"/>
                </a:lnTo>
                <a:lnTo>
                  <a:pt x="77064" y="38858"/>
                </a:lnTo>
                <a:cubicBezTo>
                  <a:pt x="86666" y="38858"/>
                  <a:pt x="90715" y="36081"/>
                  <a:pt x="90947" y="29256"/>
                </a:cubicBezTo>
                <a:cubicBezTo>
                  <a:pt x="91004" y="25670"/>
                  <a:pt x="90715" y="22089"/>
                  <a:pt x="90079" y="18555"/>
                </a:cubicBezTo>
                <a:cubicBezTo>
                  <a:pt x="88170" y="12655"/>
                  <a:pt x="89500" y="6164"/>
                  <a:pt x="93665" y="1548"/>
                </a:cubicBezTo>
                <a:cubicBezTo>
                  <a:pt x="93839" y="1334"/>
                  <a:pt x="94128" y="1207"/>
                  <a:pt x="94417" y="1201"/>
                </a:cubicBezTo>
                <a:cubicBezTo>
                  <a:pt x="101011" y="565"/>
                  <a:pt x="110151" y="-129"/>
                  <a:pt x="116630" y="-129"/>
                </a:cubicBezTo>
                <a:cubicBezTo>
                  <a:pt x="123108" y="-129"/>
                  <a:pt x="123918" y="392"/>
                  <a:pt x="124612" y="970"/>
                </a:cubicBezTo>
                <a:lnTo>
                  <a:pt x="126058" y="2069"/>
                </a:lnTo>
                <a:cubicBezTo>
                  <a:pt x="139073" y="12018"/>
                  <a:pt x="147345" y="16993"/>
                  <a:pt x="150584" y="16993"/>
                </a:cubicBezTo>
                <a:lnTo>
                  <a:pt x="151047" y="16993"/>
                </a:lnTo>
                <a:cubicBezTo>
                  <a:pt x="152377" y="16680"/>
                  <a:pt x="153707" y="16547"/>
                  <a:pt x="155038" y="16588"/>
                </a:cubicBezTo>
                <a:cubicBezTo>
                  <a:pt x="162616" y="16866"/>
                  <a:pt x="170136" y="17560"/>
                  <a:pt x="177597" y="18670"/>
                </a:cubicBezTo>
                <a:cubicBezTo>
                  <a:pt x="178003" y="18676"/>
                  <a:pt x="178407" y="18960"/>
                  <a:pt x="178523" y="19364"/>
                </a:cubicBezTo>
                <a:cubicBezTo>
                  <a:pt x="179507" y="21823"/>
                  <a:pt x="180953" y="24050"/>
                  <a:pt x="182861" y="25901"/>
                </a:cubicBezTo>
                <a:cubicBezTo>
                  <a:pt x="187315" y="30141"/>
                  <a:pt x="188588" y="36700"/>
                  <a:pt x="186158" y="42329"/>
                </a:cubicBezTo>
                <a:cubicBezTo>
                  <a:pt x="184770" y="45568"/>
                  <a:pt x="189513" y="51931"/>
                  <a:pt x="194430" y="56847"/>
                </a:cubicBezTo>
                <a:cubicBezTo>
                  <a:pt x="196802" y="59965"/>
                  <a:pt x="198248" y="63667"/>
                  <a:pt x="198653" y="67549"/>
                </a:cubicBezTo>
                <a:cubicBezTo>
                  <a:pt x="199058" y="69753"/>
                  <a:pt x="199636" y="71905"/>
                  <a:pt x="200504" y="73970"/>
                </a:cubicBezTo>
                <a:cubicBezTo>
                  <a:pt x="200677" y="74276"/>
                  <a:pt x="200677" y="74646"/>
                  <a:pt x="200504" y="74953"/>
                </a:cubicBezTo>
                <a:cubicBezTo>
                  <a:pt x="200330" y="75254"/>
                  <a:pt x="200041" y="75462"/>
                  <a:pt x="199694" y="75531"/>
                </a:cubicBezTo>
                <a:cubicBezTo>
                  <a:pt x="196860" y="76017"/>
                  <a:pt x="194141" y="77105"/>
                  <a:pt x="191712" y="78713"/>
                </a:cubicBezTo>
                <a:cubicBezTo>
                  <a:pt x="190381" y="79916"/>
                  <a:pt x="189224" y="81322"/>
                  <a:pt x="188356" y="82877"/>
                </a:cubicBezTo>
                <a:cubicBezTo>
                  <a:pt x="186621" y="85596"/>
                  <a:pt x="184654" y="88662"/>
                  <a:pt x="180489" y="88662"/>
                </a:cubicBezTo>
                <a:cubicBezTo>
                  <a:pt x="179043" y="88662"/>
                  <a:pt x="177597" y="88662"/>
                  <a:pt x="176093" y="88373"/>
                </a:cubicBezTo>
                <a:cubicBezTo>
                  <a:pt x="174589" y="88170"/>
                  <a:pt x="173028" y="88055"/>
                  <a:pt x="171524" y="88026"/>
                </a:cubicBezTo>
                <a:cubicBezTo>
                  <a:pt x="168284" y="87898"/>
                  <a:pt x="165161" y="88899"/>
                  <a:pt x="162616" y="90860"/>
                </a:cubicBezTo>
                <a:cubicBezTo>
                  <a:pt x="160533" y="92410"/>
                  <a:pt x="158856" y="94383"/>
                  <a:pt x="157583" y="96644"/>
                </a:cubicBezTo>
                <a:cubicBezTo>
                  <a:pt x="157467" y="96922"/>
                  <a:pt x="157178" y="97119"/>
                  <a:pt x="156889" y="97165"/>
                </a:cubicBezTo>
                <a:close/>
                <a:moveTo>
                  <a:pt x="118133" y="72234"/>
                </a:moveTo>
                <a:cubicBezTo>
                  <a:pt x="126405" y="72234"/>
                  <a:pt x="140693" y="83803"/>
                  <a:pt x="143469" y="86290"/>
                </a:cubicBezTo>
                <a:cubicBezTo>
                  <a:pt x="147113" y="89154"/>
                  <a:pt x="150989" y="91722"/>
                  <a:pt x="155038" y="93984"/>
                </a:cubicBezTo>
                <a:lnTo>
                  <a:pt x="155963" y="94504"/>
                </a:lnTo>
                <a:cubicBezTo>
                  <a:pt x="157294" y="92456"/>
                  <a:pt x="158972" y="90669"/>
                  <a:pt x="160938" y="89240"/>
                </a:cubicBezTo>
                <a:cubicBezTo>
                  <a:pt x="163888" y="87002"/>
                  <a:pt x="167532" y="85839"/>
                  <a:pt x="171234" y="85943"/>
                </a:cubicBezTo>
                <a:cubicBezTo>
                  <a:pt x="172854" y="85972"/>
                  <a:pt x="174416" y="86088"/>
                  <a:pt x="176035" y="86290"/>
                </a:cubicBezTo>
                <a:cubicBezTo>
                  <a:pt x="177481" y="86290"/>
                  <a:pt x="178870" y="86580"/>
                  <a:pt x="180201" y="86580"/>
                </a:cubicBezTo>
                <a:cubicBezTo>
                  <a:pt x="183035" y="86580"/>
                  <a:pt x="184307" y="84786"/>
                  <a:pt x="185985" y="81836"/>
                </a:cubicBezTo>
                <a:cubicBezTo>
                  <a:pt x="186968" y="80066"/>
                  <a:pt x="188241" y="78481"/>
                  <a:pt x="189744" y="77151"/>
                </a:cubicBezTo>
                <a:cubicBezTo>
                  <a:pt x="192000" y="75496"/>
                  <a:pt x="194604" y="74351"/>
                  <a:pt x="197380" y="73796"/>
                </a:cubicBezTo>
                <a:cubicBezTo>
                  <a:pt x="196802" y="71893"/>
                  <a:pt x="196339" y="69967"/>
                  <a:pt x="195934" y="68012"/>
                </a:cubicBezTo>
                <a:cubicBezTo>
                  <a:pt x="195587" y="64570"/>
                  <a:pt x="194314" y="61284"/>
                  <a:pt x="192290" y="58467"/>
                </a:cubicBezTo>
                <a:cubicBezTo>
                  <a:pt x="188125" y="54245"/>
                  <a:pt x="181415" y="46493"/>
                  <a:pt x="183555" y="41461"/>
                </a:cubicBezTo>
                <a:cubicBezTo>
                  <a:pt x="185638" y="36695"/>
                  <a:pt x="184539" y="31118"/>
                  <a:pt x="180779" y="27521"/>
                </a:cubicBezTo>
                <a:cubicBezTo>
                  <a:pt x="178812" y="25583"/>
                  <a:pt x="177250" y="23310"/>
                  <a:pt x="176151" y="20811"/>
                </a:cubicBezTo>
                <a:cubicBezTo>
                  <a:pt x="168978" y="19781"/>
                  <a:pt x="161748" y="19127"/>
                  <a:pt x="154517" y="18844"/>
                </a:cubicBezTo>
                <a:cubicBezTo>
                  <a:pt x="153419" y="18711"/>
                  <a:pt x="152377" y="18711"/>
                  <a:pt x="151278" y="18844"/>
                </a:cubicBezTo>
                <a:cubicBezTo>
                  <a:pt x="150873" y="18931"/>
                  <a:pt x="150469" y="18931"/>
                  <a:pt x="150063" y="18844"/>
                </a:cubicBezTo>
                <a:cubicBezTo>
                  <a:pt x="145031" y="18844"/>
                  <a:pt x="133578" y="10630"/>
                  <a:pt x="124149" y="3457"/>
                </a:cubicBezTo>
                <a:lnTo>
                  <a:pt x="122761" y="2358"/>
                </a:lnTo>
                <a:cubicBezTo>
                  <a:pt x="120621" y="1687"/>
                  <a:pt x="118365" y="1473"/>
                  <a:pt x="116109" y="1722"/>
                </a:cubicBezTo>
                <a:cubicBezTo>
                  <a:pt x="109862" y="1722"/>
                  <a:pt x="101011" y="2416"/>
                  <a:pt x="94533" y="2994"/>
                </a:cubicBezTo>
                <a:cubicBezTo>
                  <a:pt x="91120" y="7119"/>
                  <a:pt x="90079" y="12730"/>
                  <a:pt x="91814" y="17803"/>
                </a:cubicBezTo>
                <a:cubicBezTo>
                  <a:pt x="92451" y="21470"/>
                  <a:pt x="92740" y="25189"/>
                  <a:pt x="92682" y="28909"/>
                </a:cubicBezTo>
                <a:cubicBezTo>
                  <a:pt x="92277" y="40478"/>
                  <a:pt x="81113" y="40478"/>
                  <a:pt x="76543" y="40478"/>
                </a:cubicBezTo>
                <a:lnTo>
                  <a:pt x="72494" y="40478"/>
                </a:lnTo>
                <a:lnTo>
                  <a:pt x="69313" y="40478"/>
                </a:lnTo>
                <a:cubicBezTo>
                  <a:pt x="63239" y="40478"/>
                  <a:pt x="55777" y="29603"/>
                  <a:pt x="47968" y="17340"/>
                </a:cubicBezTo>
                <a:cubicBezTo>
                  <a:pt x="46406" y="14910"/>
                  <a:pt x="45076" y="12828"/>
                  <a:pt x="44208" y="11555"/>
                </a:cubicBezTo>
                <a:cubicBezTo>
                  <a:pt x="41895" y="8605"/>
                  <a:pt x="33738" y="14101"/>
                  <a:pt x="26855" y="18960"/>
                </a:cubicBezTo>
                <a:cubicBezTo>
                  <a:pt x="24310" y="20695"/>
                  <a:pt x="21707" y="22546"/>
                  <a:pt x="19393" y="23934"/>
                </a:cubicBezTo>
                <a:cubicBezTo>
                  <a:pt x="15576" y="26554"/>
                  <a:pt x="13262" y="30870"/>
                  <a:pt x="13204" y="35503"/>
                </a:cubicBezTo>
                <a:cubicBezTo>
                  <a:pt x="13030" y="39355"/>
                  <a:pt x="11411" y="42994"/>
                  <a:pt x="8634" y="45684"/>
                </a:cubicBezTo>
                <a:cubicBezTo>
                  <a:pt x="1057" y="51526"/>
                  <a:pt x="-563" y="62256"/>
                  <a:pt x="4874" y="70094"/>
                </a:cubicBezTo>
                <a:lnTo>
                  <a:pt x="5221" y="70904"/>
                </a:lnTo>
                <a:cubicBezTo>
                  <a:pt x="12336" y="70858"/>
                  <a:pt x="19335" y="69006"/>
                  <a:pt x="25525" y="65524"/>
                </a:cubicBezTo>
                <a:cubicBezTo>
                  <a:pt x="29458" y="63251"/>
                  <a:pt x="34028" y="62221"/>
                  <a:pt x="38598" y="62574"/>
                </a:cubicBezTo>
                <a:cubicBezTo>
                  <a:pt x="44729" y="62742"/>
                  <a:pt x="50803" y="63338"/>
                  <a:pt x="56819" y="64367"/>
                </a:cubicBezTo>
                <a:cubicBezTo>
                  <a:pt x="59768" y="64859"/>
                  <a:pt x="62719" y="65183"/>
                  <a:pt x="65669" y="65351"/>
                </a:cubicBezTo>
                <a:cubicBezTo>
                  <a:pt x="67867" y="65351"/>
                  <a:pt x="70817" y="65640"/>
                  <a:pt x="74229" y="65987"/>
                </a:cubicBezTo>
                <a:cubicBezTo>
                  <a:pt x="78973" y="66560"/>
                  <a:pt x="83774" y="66889"/>
                  <a:pt x="88575" y="66970"/>
                </a:cubicBezTo>
                <a:cubicBezTo>
                  <a:pt x="92508" y="67132"/>
                  <a:pt x="96384" y="66606"/>
                  <a:pt x="100144" y="65409"/>
                </a:cubicBezTo>
                <a:cubicBezTo>
                  <a:pt x="101416" y="64882"/>
                  <a:pt x="102805" y="64610"/>
                  <a:pt x="104193" y="64599"/>
                </a:cubicBezTo>
                <a:cubicBezTo>
                  <a:pt x="107201" y="64790"/>
                  <a:pt x="109920" y="66351"/>
                  <a:pt x="111597" y="68821"/>
                </a:cubicBezTo>
                <a:cubicBezTo>
                  <a:pt x="113332" y="70788"/>
                  <a:pt x="114432" y="71887"/>
                  <a:pt x="116340" y="71540"/>
                </a:cubicBezTo>
                <a:cubicBezTo>
                  <a:pt x="116976" y="71679"/>
                  <a:pt x="117555" y="71910"/>
                  <a:pt x="118133" y="7223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7" name="Forma libre: forma 356">
            <a:extLst>
              <a:ext uri="{FF2B5EF4-FFF2-40B4-BE49-F238E27FC236}">
                <a16:creationId xmlns:a16="http://schemas.microsoft.com/office/drawing/2014/main" id="{CE9B1134-292A-AE2E-206C-015689CA8778}"/>
              </a:ext>
            </a:extLst>
          </p:cNvPr>
          <p:cNvSpPr/>
          <p:nvPr/>
        </p:nvSpPr>
        <p:spPr>
          <a:xfrm>
            <a:off x="6749107" y="2730665"/>
            <a:ext cx="158865" cy="98576"/>
          </a:xfrm>
          <a:custGeom>
            <a:avLst/>
            <a:gdLst>
              <a:gd name="connsiteX0" fmla="*/ 96603 w 158865"/>
              <a:gd name="connsiteY0" fmla="*/ 98448 h 98576"/>
              <a:gd name="connsiteX1" fmla="*/ 93537 w 158865"/>
              <a:gd name="connsiteY1" fmla="*/ 98043 h 98576"/>
              <a:gd name="connsiteX2" fmla="*/ 73754 w 158865"/>
              <a:gd name="connsiteY2" fmla="*/ 96712 h 98576"/>
              <a:gd name="connsiteX3" fmla="*/ 72655 w 158865"/>
              <a:gd name="connsiteY3" fmla="*/ 95729 h 98576"/>
              <a:gd name="connsiteX4" fmla="*/ 52409 w 158865"/>
              <a:gd name="connsiteY4" fmla="*/ 84160 h 98576"/>
              <a:gd name="connsiteX5" fmla="*/ 50905 w 158865"/>
              <a:gd name="connsiteY5" fmla="*/ 83524 h 98576"/>
              <a:gd name="connsiteX6" fmla="*/ 50905 w 158865"/>
              <a:gd name="connsiteY6" fmla="*/ 69930 h 98576"/>
              <a:gd name="connsiteX7" fmla="*/ 51484 w 158865"/>
              <a:gd name="connsiteY7" fmla="*/ 63625 h 98576"/>
              <a:gd name="connsiteX8" fmla="*/ 39105 w 158865"/>
              <a:gd name="connsiteY8" fmla="*/ 55354 h 98576"/>
              <a:gd name="connsiteX9" fmla="*/ 37948 w 158865"/>
              <a:gd name="connsiteY9" fmla="*/ 55354 h 98576"/>
              <a:gd name="connsiteX10" fmla="*/ 34941 w 158865"/>
              <a:gd name="connsiteY10" fmla="*/ 55932 h 98576"/>
              <a:gd name="connsiteX11" fmla="*/ 20190 w 158865"/>
              <a:gd name="connsiteY11" fmla="*/ 48933 h 98576"/>
              <a:gd name="connsiteX12" fmla="*/ 14406 w 158865"/>
              <a:gd name="connsiteY12" fmla="*/ 47140 h 98576"/>
              <a:gd name="connsiteX13" fmla="*/ 7407 w 158865"/>
              <a:gd name="connsiteY13" fmla="*/ 47660 h 98576"/>
              <a:gd name="connsiteX14" fmla="*/ 4862 w 158865"/>
              <a:gd name="connsiteY14" fmla="*/ 47660 h 98576"/>
              <a:gd name="connsiteX15" fmla="*/ 4168 w 158865"/>
              <a:gd name="connsiteY15" fmla="*/ 47660 h 98576"/>
              <a:gd name="connsiteX16" fmla="*/ 3242 w 158865"/>
              <a:gd name="connsiteY16" fmla="*/ 47140 h 98576"/>
              <a:gd name="connsiteX17" fmla="*/ -55 w 158865"/>
              <a:gd name="connsiteY17" fmla="*/ 43727 h 98576"/>
              <a:gd name="connsiteX18" fmla="*/ 2548 w 158865"/>
              <a:gd name="connsiteY18" fmla="*/ 38405 h 98576"/>
              <a:gd name="connsiteX19" fmla="*/ 5093 w 158865"/>
              <a:gd name="connsiteY19" fmla="*/ 9946 h 98576"/>
              <a:gd name="connsiteX20" fmla="*/ 5093 w 158865"/>
              <a:gd name="connsiteY20" fmla="*/ 8905 h 98576"/>
              <a:gd name="connsiteX21" fmla="*/ 6019 w 158865"/>
              <a:gd name="connsiteY21" fmla="*/ 8326 h 98576"/>
              <a:gd name="connsiteX22" fmla="*/ 27074 w 158865"/>
              <a:gd name="connsiteY22" fmla="*/ 2889 h 98576"/>
              <a:gd name="connsiteX23" fmla="*/ 40147 w 158865"/>
              <a:gd name="connsiteY23" fmla="*/ -61 h 98576"/>
              <a:gd name="connsiteX24" fmla="*/ 58368 w 158865"/>
              <a:gd name="connsiteY24" fmla="*/ 1732 h 98576"/>
              <a:gd name="connsiteX25" fmla="*/ 67218 w 158865"/>
              <a:gd name="connsiteY25" fmla="*/ 2715 h 98576"/>
              <a:gd name="connsiteX26" fmla="*/ 75779 w 158865"/>
              <a:gd name="connsiteY26" fmla="*/ 3352 h 98576"/>
              <a:gd name="connsiteX27" fmla="*/ 90124 w 158865"/>
              <a:gd name="connsiteY27" fmla="*/ 4335 h 98576"/>
              <a:gd name="connsiteX28" fmla="*/ 101693 w 158865"/>
              <a:gd name="connsiteY28" fmla="*/ 2773 h 98576"/>
              <a:gd name="connsiteX29" fmla="*/ 105742 w 158865"/>
              <a:gd name="connsiteY29" fmla="*/ 1963 h 98576"/>
              <a:gd name="connsiteX30" fmla="*/ 113146 w 158865"/>
              <a:gd name="connsiteY30" fmla="*/ 6186 h 98576"/>
              <a:gd name="connsiteX31" fmla="*/ 117890 w 158865"/>
              <a:gd name="connsiteY31" fmla="*/ 8905 h 98576"/>
              <a:gd name="connsiteX32" fmla="*/ 119394 w 158865"/>
              <a:gd name="connsiteY32" fmla="*/ 8905 h 98576"/>
              <a:gd name="connsiteX33" fmla="*/ 144729 w 158865"/>
              <a:gd name="connsiteY33" fmla="*/ 22961 h 98576"/>
              <a:gd name="connsiteX34" fmla="*/ 156298 w 158865"/>
              <a:gd name="connsiteY34" fmla="*/ 30654 h 98576"/>
              <a:gd name="connsiteX35" fmla="*/ 158149 w 158865"/>
              <a:gd name="connsiteY35" fmla="*/ 31753 h 98576"/>
              <a:gd name="connsiteX36" fmla="*/ 158669 w 158865"/>
              <a:gd name="connsiteY36" fmla="*/ 32447 h 98576"/>
              <a:gd name="connsiteX37" fmla="*/ 158669 w 158865"/>
              <a:gd name="connsiteY37" fmla="*/ 33315 h 98576"/>
              <a:gd name="connsiteX38" fmla="*/ 156819 w 158865"/>
              <a:gd name="connsiteY38" fmla="*/ 41124 h 98576"/>
              <a:gd name="connsiteX39" fmla="*/ 156125 w 158865"/>
              <a:gd name="connsiteY39" fmla="*/ 51420 h 98576"/>
              <a:gd name="connsiteX40" fmla="*/ 152480 w 158865"/>
              <a:gd name="connsiteY40" fmla="*/ 52982 h 98576"/>
              <a:gd name="connsiteX41" fmla="*/ 148836 w 158865"/>
              <a:gd name="connsiteY41" fmla="*/ 55759 h 98576"/>
              <a:gd name="connsiteX42" fmla="*/ 143977 w 158865"/>
              <a:gd name="connsiteY42" fmla="*/ 60155 h 98576"/>
              <a:gd name="connsiteX43" fmla="*/ 130962 w 158865"/>
              <a:gd name="connsiteY43" fmla="*/ 72244 h 98576"/>
              <a:gd name="connsiteX44" fmla="*/ 130499 w 158865"/>
              <a:gd name="connsiteY44" fmla="*/ 75773 h 98576"/>
              <a:gd name="connsiteX45" fmla="*/ 125814 w 158865"/>
              <a:gd name="connsiteY45" fmla="*/ 86069 h 98576"/>
              <a:gd name="connsiteX46" fmla="*/ 108923 w 158865"/>
              <a:gd name="connsiteY46" fmla="*/ 91333 h 98576"/>
              <a:gd name="connsiteX47" fmla="*/ 96603 w 158865"/>
              <a:gd name="connsiteY47" fmla="*/ 98448 h 98576"/>
              <a:gd name="connsiteX48" fmla="*/ 74680 w 158865"/>
              <a:gd name="connsiteY48" fmla="*/ 94456 h 98576"/>
              <a:gd name="connsiteX49" fmla="*/ 94057 w 158865"/>
              <a:gd name="connsiteY49" fmla="*/ 95903 h 98576"/>
              <a:gd name="connsiteX50" fmla="*/ 96603 w 158865"/>
              <a:gd name="connsiteY50" fmla="*/ 96192 h 98576"/>
              <a:gd name="connsiteX51" fmla="*/ 106667 w 158865"/>
              <a:gd name="connsiteY51" fmla="*/ 89771 h 98576"/>
              <a:gd name="connsiteX52" fmla="*/ 125293 w 158865"/>
              <a:gd name="connsiteY52" fmla="*/ 83697 h 98576"/>
              <a:gd name="connsiteX53" fmla="*/ 127723 w 158865"/>
              <a:gd name="connsiteY53" fmla="*/ 75368 h 98576"/>
              <a:gd name="connsiteX54" fmla="*/ 128243 w 158865"/>
              <a:gd name="connsiteY54" fmla="*/ 71666 h 98576"/>
              <a:gd name="connsiteX55" fmla="*/ 142762 w 158865"/>
              <a:gd name="connsiteY55" fmla="*/ 57899 h 98576"/>
              <a:gd name="connsiteX56" fmla="*/ 146406 w 158865"/>
              <a:gd name="connsiteY56" fmla="*/ 54486 h 98576"/>
              <a:gd name="connsiteX57" fmla="*/ 152191 w 158865"/>
              <a:gd name="connsiteY57" fmla="*/ 50610 h 98576"/>
              <a:gd name="connsiteX58" fmla="*/ 154100 w 158865"/>
              <a:gd name="connsiteY58" fmla="*/ 49858 h 98576"/>
              <a:gd name="connsiteX59" fmla="*/ 154100 w 158865"/>
              <a:gd name="connsiteY59" fmla="*/ 41413 h 98576"/>
              <a:gd name="connsiteX60" fmla="*/ 155661 w 158865"/>
              <a:gd name="connsiteY60" fmla="*/ 33026 h 98576"/>
              <a:gd name="connsiteX61" fmla="*/ 154794 w 158865"/>
              <a:gd name="connsiteY61" fmla="*/ 32505 h 98576"/>
              <a:gd name="connsiteX62" fmla="*/ 142589 w 158865"/>
              <a:gd name="connsiteY62" fmla="*/ 24523 h 98576"/>
              <a:gd name="connsiteX63" fmla="*/ 117600 w 158865"/>
              <a:gd name="connsiteY63" fmla="*/ 11161 h 98576"/>
              <a:gd name="connsiteX64" fmla="*/ 116443 w 158865"/>
              <a:gd name="connsiteY64" fmla="*/ 11161 h 98576"/>
              <a:gd name="connsiteX65" fmla="*/ 110659 w 158865"/>
              <a:gd name="connsiteY65" fmla="*/ 7632 h 98576"/>
              <a:gd name="connsiteX66" fmla="*/ 104874 w 158865"/>
              <a:gd name="connsiteY66" fmla="*/ 4162 h 98576"/>
              <a:gd name="connsiteX67" fmla="*/ 101577 w 158865"/>
              <a:gd name="connsiteY67" fmla="*/ 4856 h 98576"/>
              <a:gd name="connsiteX68" fmla="*/ 89488 w 158865"/>
              <a:gd name="connsiteY68" fmla="*/ 6591 h 98576"/>
              <a:gd name="connsiteX69" fmla="*/ 74911 w 158865"/>
              <a:gd name="connsiteY69" fmla="*/ 5550 h 98576"/>
              <a:gd name="connsiteX70" fmla="*/ 66581 w 158865"/>
              <a:gd name="connsiteY70" fmla="*/ 4914 h 98576"/>
              <a:gd name="connsiteX71" fmla="*/ 57384 w 158865"/>
              <a:gd name="connsiteY71" fmla="*/ 3872 h 98576"/>
              <a:gd name="connsiteX72" fmla="*/ 39510 w 158865"/>
              <a:gd name="connsiteY72" fmla="*/ 2137 h 98576"/>
              <a:gd name="connsiteX73" fmla="*/ 27941 w 158865"/>
              <a:gd name="connsiteY73" fmla="*/ 4682 h 98576"/>
              <a:gd name="connsiteX74" fmla="*/ 7349 w 158865"/>
              <a:gd name="connsiteY74" fmla="*/ 10467 h 98576"/>
              <a:gd name="connsiteX75" fmla="*/ 3763 w 158865"/>
              <a:gd name="connsiteY75" fmla="*/ 39909 h 98576"/>
              <a:gd name="connsiteX76" fmla="*/ 1738 w 158865"/>
              <a:gd name="connsiteY76" fmla="*/ 43380 h 98576"/>
              <a:gd name="connsiteX77" fmla="*/ 3936 w 158865"/>
              <a:gd name="connsiteY77" fmla="*/ 45173 h 98576"/>
              <a:gd name="connsiteX78" fmla="*/ 4572 w 158865"/>
              <a:gd name="connsiteY78" fmla="*/ 45578 h 98576"/>
              <a:gd name="connsiteX79" fmla="*/ 6713 w 158865"/>
              <a:gd name="connsiteY79" fmla="*/ 45578 h 98576"/>
              <a:gd name="connsiteX80" fmla="*/ 13943 w 158865"/>
              <a:gd name="connsiteY80" fmla="*/ 45057 h 98576"/>
              <a:gd name="connsiteX81" fmla="*/ 21868 w 158865"/>
              <a:gd name="connsiteY81" fmla="*/ 47834 h 98576"/>
              <a:gd name="connsiteX82" fmla="*/ 34767 w 158865"/>
              <a:gd name="connsiteY82" fmla="*/ 53618 h 98576"/>
              <a:gd name="connsiteX83" fmla="*/ 36792 w 158865"/>
              <a:gd name="connsiteY83" fmla="*/ 53271 h 98576"/>
              <a:gd name="connsiteX84" fmla="*/ 38932 w 158865"/>
              <a:gd name="connsiteY84" fmla="*/ 52809 h 98576"/>
              <a:gd name="connsiteX85" fmla="*/ 53566 w 158865"/>
              <a:gd name="connsiteY85" fmla="*/ 63336 h 98576"/>
              <a:gd name="connsiteX86" fmla="*/ 52988 w 158865"/>
              <a:gd name="connsiteY86" fmla="*/ 69930 h 98576"/>
              <a:gd name="connsiteX87" fmla="*/ 52641 w 158865"/>
              <a:gd name="connsiteY87" fmla="*/ 81499 h 98576"/>
              <a:gd name="connsiteX88" fmla="*/ 52641 w 158865"/>
              <a:gd name="connsiteY88" fmla="*/ 81499 h 98576"/>
              <a:gd name="connsiteX89" fmla="*/ 74680 w 158865"/>
              <a:gd name="connsiteY89" fmla="*/ 94456 h 9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8865" h="98576">
                <a:moveTo>
                  <a:pt x="96603" y="98448"/>
                </a:moveTo>
                <a:cubicBezTo>
                  <a:pt x="95561" y="98448"/>
                  <a:pt x="94520" y="98315"/>
                  <a:pt x="93537" y="98043"/>
                </a:cubicBezTo>
                <a:cubicBezTo>
                  <a:pt x="87001" y="97077"/>
                  <a:pt x="80348" y="96631"/>
                  <a:pt x="73754" y="96712"/>
                </a:cubicBezTo>
                <a:cubicBezTo>
                  <a:pt x="73234" y="96655"/>
                  <a:pt x="72771" y="96255"/>
                  <a:pt x="72655" y="95729"/>
                </a:cubicBezTo>
                <a:cubicBezTo>
                  <a:pt x="71614" y="89250"/>
                  <a:pt x="55302" y="84160"/>
                  <a:pt x="52409" y="84160"/>
                </a:cubicBezTo>
                <a:cubicBezTo>
                  <a:pt x="51831" y="84160"/>
                  <a:pt x="51310" y="83935"/>
                  <a:pt x="50905" y="83524"/>
                </a:cubicBezTo>
                <a:cubicBezTo>
                  <a:pt x="49459" y="81846"/>
                  <a:pt x="49864" y="77045"/>
                  <a:pt x="50905" y="69930"/>
                </a:cubicBezTo>
                <a:cubicBezTo>
                  <a:pt x="50905" y="67443"/>
                  <a:pt x="51484" y="65072"/>
                  <a:pt x="51484" y="63625"/>
                </a:cubicBezTo>
                <a:cubicBezTo>
                  <a:pt x="51484" y="60328"/>
                  <a:pt x="43386" y="55354"/>
                  <a:pt x="39105" y="55354"/>
                </a:cubicBezTo>
                <a:cubicBezTo>
                  <a:pt x="38700" y="55284"/>
                  <a:pt x="38353" y="55284"/>
                  <a:pt x="37948" y="55354"/>
                </a:cubicBezTo>
                <a:cubicBezTo>
                  <a:pt x="37023" y="55782"/>
                  <a:pt x="35982" y="55984"/>
                  <a:pt x="34941" y="55932"/>
                </a:cubicBezTo>
                <a:cubicBezTo>
                  <a:pt x="29272" y="55631"/>
                  <a:pt x="24008" y="53121"/>
                  <a:pt x="20190" y="48933"/>
                </a:cubicBezTo>
                <a:cubicBezTo>
                  <a:pt x="19323" y="47718"/>
                  <a:pt x="17356" y="47140"/>
                  <a:pt x="14406" y="47140"/>
                </a:cubicBezTo>
                <a:cubicBezTo>
                  <a:pt x="12266" y="47140"/>
                  <a:pt x="9778" y="47429"/>
                  <a:pt x="7407" y="47660"/>
                </a:cubicBezTo>
                <a:lnTo>
                  <a:pt x="4862" y="47660"/>
                </a:lnTo>
                <a:cubicBezTo>
                  <a:pt x="4630" y="47741"/>
                  <a:pt x="4399" y="47741"/>
                  <a:pt x="4168" y="47660"/>
                </a:cubicBezTo>
                <a:lnTo>
                  <a:pt x="3242" y="47140"/>
                </a:lnTo>
                <a:cubicBezTo>
                  <a:pt x="1680" y="46214"/>
                  <a:pt x="234" y="45347"/>
                  <a:pt x="-55" y="43727"/>
                </a:cubicBezTo>
                <a:cubicBezTo>
                  <a:pt x="-344" y="42107"/>
                  <a:pt x="523" y="40719"/>
                  <a:pt x="2548" y="38405"/>
                </a:cubicBezTo>
                <a:cubicBezTo>
                  <a:pt x="9084" y="30307"/>
                  <a:pt x="10067" y="19074"/>
                  <a:pt x="5093" y="9946"/>
                </a:cubicBezTo>
                <a:cubicBezTo>
                  <a:pt x="4920" y="9622"/>
                  <a:pt x="4920" y="9229"/>
                  <a:pt x="5093" y="8905"/>
                </a:cubicBezTo>
                <a:cubicBezTo>
                  <a:pt x="5324" y="8598"/>
                  <a:pt x="5672" y="8390"/>
                  <a:pt x="6019" y="8326"/>
                </a:cubicBezTo>
                <a:cubicBezTo>
                  <a:pt x="13365" y="8315"/>
                  <a:pt x="20653" y="6446"/>
                  <a:pt x="27074" y="2889"/>
                </a:cubicBezTo>
                <a:cubicBezTo>
                  <a:pt x="31007" y="616"/>
                  <a:pt x="35577" y="-414"/>
                  <a:pt x="40147" y="-61"/>
                </a:cubicBezTo>
                <a:cubicBezTo>
                  <a:pt x="46278" y="101"/>
                  <a:pt x="52352" y="702"/>
                  <a:pt x="58368" y="1732"/>
                </a:cubicBezTo>
                <a:cubicBezTo>
                  <a:pt x="61318" y="2224"/>
                  <a:pt x="64268" y="2548"/>
                  <a:pt x="67218" y="2715"/>
                </a:cubicBezTo>
                <a:cubicBezTo>
                  <a:pt x="69416" y="2715"/>
                  <a:pt x="72366" y="3005"/>
                  <a:pt x="75779" y="3352"/>
                </a:cubicBezTo>
                <a:cubicBezTo>
                  <a:pt x="80522" y="3924"/>
                  <a:pt x="85323" y="4254"/>
                  <a:pt x="90124" y="4335"/>
                </a:cubicBezTo>
                <a:cubicBezTo>
                  <a:pt x="94057" y="4497"/>
                  <a:pt x="97933" y="3971"/>
                  <a:pt x="101693" y="2773"/>
                </a:cubicBezTo>
                <a:cubicBezTo>
                  <a:pt x="102965" y="2247"/>
                  <a:pt x="104354" y="1975"/>
                  <a:pt x="105742" y="1963"/>
                </a:cubicBezTo>
                <a:cubicBezTo>
                  <a:pt x="108750" y="2154"/>
                  <a:pt x="111468" y="3716"/>
                  <a:pt x="113146" y="6186"/>
                </a:cubicBezTo>
                <a:cubicBezTo>
                  <a:pt x="114882" y="8153"/>
                  <a:pt x="115980" y="9252"/>
                  <a:pt x="117890" y="8905"/>
                </a:cubicBezTo>
                <a:cubicBezTo>
                  <a:pt x="118410" y="8847"/>
                  <a:pt x="118873" y="8847"/>
                  <a:pt x="119394" y="8905"/>
                </a:cubicBezTo>
                <a:cubicBezTo>
                  <a:pt x="127665" y="8905"/>
                  <a:pt x="141952" y="20474"/>
                  <a:pt x="144729" y="22961"/>
                </a:cubicBezTo>
                <a:cubicBezTo>
                  <a:pt x="148373" y="25824"/>
                  <a:pt x="152249" y="28392"/>
                  <a:pt x="156298" y="30654"/>
                </a:cubicBezTo>
                <a:lnTo>
                  <a:pt x="158149" y="31753"/>
                </a:lnTo>
                <a:cubicBezTo>
                  <a:pt x="158439" y="31886"/>
                  <a:pt x="158612" y="32147"/>
                  <a:pt x="158669" y="32447"/>
                </a:cubicBezTo>
                <a:cubicBezTo>
                  <a:pt x="158785" y="32725"/>
                  <a:pt x="158785" y="33037"/>
                  <a:pt x="158669" y="33315"/>
                </a:cubicBezTo>
                <a:cubicBezTo>
                  <a:pt x="157165" y="35612"/>
                  <a:pt x="156471" y="38382"/>
                  <a:pt x="156819" y="41124"/>
                </a:cubicBezTo>
                <a:cubicBezTo>
                  <a:pt x="157975" y="44514"/>
                  <a:pt x="157687" y="48216"/>
                  <a:pt x="156125" y="51420"/>
                </a:cubicBezTo>
                <a:cubicBezTo>
                  <a:pt x="155199" y="52485"/>
                  <a:pt x="153869" y="53063"/>
                  <a:pt x="152480" y="52982"/>
                </a:cubicBezTo>
                <a:cubicBezTo>
                  <a:pt x="150629" y="52982"/>
                  <a:pt x="149935" y="53965"/>
                  <a:pt x="148836" y="55759"/>
                </a:cubicBezTo>
                <a:cubicBezTo>
                  <a:pt x="147853" y="57783"/>
                  <a:pt x="146118" y="59357"/>
                  <a:pt x="143977" y="60155"/>
                </a:cubicBezTo>
                <a:cubicBezTo>
                  <a:pt x="138366" y="62584"/>
                  <a:pt x="133797" y="66847"/>
                  <a:pt x="130962" y="72244"/>
                </a:cubicBezTo>
                <a:cubicBezTo>
                  <a:pt x="130962" y="73170"/>
                  <a:pt x="130962" y="74442"/>
                  <a:pt x="130499" y="75773"/>
                </a:cubicBezTo>
                <a:cubicBezTo>
                  <a:pt x="129921" y="80574"/>
                  <a:pt x="129285" y="86069"/>
                  <a:pt x="125814" y="86069"/>
                </a:cubicBezTo>
                <a:cubicBezTo>
                  <a:pt x="122343" y="86069"/>
                  <a:pt x="111700" y="87862"/>
                  <a:pt x="108923" y="91333"/>
                </a:cubicBezTo>
                <a:cubicBezTo>
                  <a:pt x="106205" y="95573"/>
                  <a:pt x="101635" y="98234"/>
                  <a:pt x="96603" y="98448"/>
                </a:cubicBezTo>
                <a:close/>
                <a:moveTo>
                  <a:pt x="74680" y="94456"/>
                </a:moveTo>
                <a:cubicBezTo>
                  <a:pt x="81158" y="94416"/>
                  <a:pt x="87637" y="94902"/>
                  <a:pt x="94057" y="95903"/>
                </a:cubicBezTo>
                <a:cubicBezTo>
                  <a:pt x="94867" y="96076"/>
                  <a:pt x="95735" y="96174"/>
                  <a:pt x="96603" y="96192"/>
                </a:cubicBezTo>
                <a:cubicBezTo>
                  <a:pt x="100768" y="95799"/>
                  <a:pt x="104527" y="93409"/>
                  <a:pt x="106667" y="89771"/>
                </a:cubicBezTo>
                <a:cubicBezTo>
                  <a:pt x="110370" y="85201"/>
                  <a:pt x="122286" y="83697"/>
                  <a:pt x="125293" y="83697"/>
                </a:cubicBezTo>
                <a:cubicBezTo>
                  <a:pt x="126739" y="83697"/>
                  <a:pt x="127433" y="77913"/>
                  <a:pt x="127723" y="75368"/>
                </a:cubicBezTo>
                <a:cubicBezTo>
                  <a:pt x="127723" y="73980"/>
                  <a:pt x="128070" y="72707"/>
                  <a:pt x="128243" y="71666"/>
                </a:cubicBezTo>
                <a:cubicBezTo>
                  <a:pt x="131251" y="65459"/>
                  <a:pt x="136399" y="60560"/>
                  <a:pt x="142762" y="57899"/>
                </a:cubicBezTo>
                <a:cubicBezTo>
                  <a:pt x="144382" y="57263"/>
                  <a:pt x="145654" y="56042"/>
                  <a:pt x="146406" y="54486"/>
                </a:cubicBezTo>
                <a:cubicBezTo>
                  <a:pt x="147332" y="52120"/>
                  <a:pt x="149646" y="50576"/>
                  <a:pt x="152191" y="50610"/>
                </a:cubicBezTo>
                <a:cubicBezTo>
                  <a:pt x="152885" y="50692"/>
                  <a:pt x="153637" y="50408"/>
                  <a:pt x="154100" y="49858"/>
                </a:cubicBezTo>
                <a:cubicBezTo>
                  <a:pt x="155083" y="48644"/>
                  <a:pt x="155199" y="45752"/>
                  <a:pt x="154100" y="41413"/>
                </a:cubicBezTo>
                <a:cubicBezTo>
                  <a:pt x="153637" y="38521"/>
                  <a:pt x="154157" y="35548"/>
                  <a:pt x="155661" y="33026"/>
                </a:cubicBezTo>
                <a:lnTo>
                  <a:pt x="154794" y="32505"/>
                </a:lnTo>
                <a:cubicBezTo>
                  <a:pt x="150513" y="30168"/>
                  <a:pt x="146464" y="27502"/>
                  <a:pt x="142589" y="24523"/>
                </a:cubicBezTo>
                <a:cubicBezTo>
                  <a:pt x="134722" y="17929"/>
                  <a:pt x="123095" y="10062"/>
                  <a:pt x="117600" y="11161"/>
                </a:cubicBezTo>
                <a:lnTo>
                  <a:pt x="116443" y="11161"/>
                </a:lnTo>
                <a:cubicBezTo>
                  <a:pt x="114072" y="10953"/>
                  <a:pt x="111931" y="9645"/>
                  <a:pt x="110659" y="7632"/>
                </a:cubicBezTo>
                <a:cubicBezTo>
                  <a:pt x="109386" y="5625"/>
                  <a:pt x="107246" y="4341"/>
                  <a:pt x="104874" y="4162"/>
                </a:cubicBezTo>
                <a:cubicBezTo>
                  <a:pt x="103717" y="4196"/>
                  <a:pt x="102618" y="4433"/>
                  <a:pt x="101577" y="4856"/>
                </a:cubicBezTo>
                <a:cubicBezTo>
                  <a:pt x="97702" y="6146"/>
                  <a:pt x="93595" y="6730"/>
                  <a:pt x="89488" y="6591"/>
                </a:cubicBezTo>
                <a:cubicBezTo>
                  <a:pt x="84629" y="6493"/>
                  <a:pt x="79770" y="6146"/>
                  <a:pt x="74911" y="5550"/>
                </a:cubicBezTo>
                <a:cubicBezTo>
                  <a:pt x="71556" y="5203"/>
                  <a:pt x="68664" y="4914"/>
                  <a:pt x="66581" y="4914"/>
                </a:cubicBezTo>
                <a:cubicBezTo>
                  <a:pt x="63516" y="4757"/>
                  <a:pt x="60450" y="4410"/>
                  <a:pt x="57384" y="3872"/>
                </a:cubicBezTo>
                <a:cubicBezTo>
                  <a:pt x="51484" y="2895"/>
                  <a:pt x="45526" y="2316"/>
                  <a:pt x="39510" y="2137"/>
                </a:cubicBezTo>
                <a:cubicBezTo>
                  <a:pt x="35461" y="1842"/>
                  <a:pt x="31470" y="2727"/>
                  <a:pt x="27941" y="4682"/>
                </a:cubicBezTo>
                <a:cubicBezTo>
                  <a:pt x="21636" y="8280"/>
                  <a:pt x="14579" y="10264"/>
                  <a:pt x="7349" y="10467"/>
                </a:cubicBezTo>
                <a:cubicBezTo>
                  <a:pt x="11976" y="20144"/>
                  <a:pt x="10588" y="31632"/>
                  <a:pt x="3763" y="39909"/>
                </a:cubicBezTo>
                <a:cubicBezTo>
                  <a:pt x="1854" y="42049"/>
                  <a:pt x="1680" y="43033"/>
                  <a:pt x="1738" y="43380"/>
                </a:cubicBezTo>
                <a:cubicBezTo>
                  <a:pt x="1796" y="43727"/>
                  <a:pt x="2779" y="44537"/>
                  <a:pt x="3936" y="45173"/>
                </a:cubicBezTo>
                <a:lnTo>
                  <a:pt x="4572" y="45578"/>
                </a:lnTo>
                <a:lnTo>
                  <a:pt x="6713" y="45578"/>
                </a:lnTo>
                <a:cubicBezTo>
                  <a:pt x="9142" y="45578"/>
                  <a:pt x="11687" y="45057"/>
                  <a:pt x="13943" y="45057"/>
                </a:cubicBezTo>
                <a:cubicBezTo>
                  <a:pt x="16893" y="44710"/>
                  <a:pt x="19786" y="45734"/>
                  <a:pt x="21868" y="47834"/>
                </a:cubicBezTo>
                <a:cubicBezTo>
                  <a:pt x="25280" y="51316"/>
                  <a:pt x="29908" y="53381"/>
                  <a:pt x="34767" y="53618"/>
                </a:cubicBezTo>
                <a:cubicBezTo>
                  <a:pt x="35461" y="53653"/>
                  <a:pt x="36155" y="53532"/>
                  <a:pt x="36792" y="53271"/>
                </a:cubicBezTo>
                <a:cubicBezTo>
                  <a:pt x="37486" y="52959"/>
                  <a:pt x="38180" y="52797"/>
                  <a:pt x="38932" y="52809"/>
                </a:cubicBezTo>
                <a:cubicBezTo>
                  <a:pt x="44080" y="52809"/>
                  <a:pt x="53566" y="58246"/>
                  <a:pt x="53566" y="63336"/>
                </a:cubicBezTo>
                <a:cubicBezTo>
                  <a:pt x="53566" y="64898"/>
                  <a:pt x="53566" y="67327"/>
                  <a:pt x="52988" y="69930"/>
                </a:cubicBezTo>
                <a:cubicBezTo>
                  <a:pt x="52236" y="73742"/>
                  <a:pt x="52120" y="77653"/>
                  <a:pt x="52641" y="81499"/>
                </a:cubicBezTo>
                <a:lnTo>
                  <a:pt x="52641" y="81499"/>
                </a:lnTo>
                <a:cubicBezTo>
                  <a:pt x="55417" y="81788"/>
                  <a:pt x="72192" y="86705"/>
                  <a:pt x="74680" y="9445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8" name="Forma libre: forma 357">
            <a:extLst>
              <a:ext uri="{FF2B5EF4-FFF2-40B4-BE49-F238E27FC236}">
                <a16:creationId xmlns:a16="http://schemas.microsoft.com/office/drawing/2014/main" id="{D31EA7BB-9837-66EF-C12A-E9F31C42812E}"/>
              </a:ext>
            </a:extLst>
          </p:cNvPr>
          <p:cNvSpPr/>
          <p:nvPr/>
        </p:nvSpPr>
        <p:spPr>
          <a:xfrm>
            <a:off x="6358124" y="3055818"/>
            <a:ext cx="124045" cy="67793"/>
          </a:xfrm>
          <a:custGeom>
            <a:avLst/>
            <a:gdLst>
              <a:gd name="connsiteX0" fmla="*/ 22980 w 124045"/>
              <a:gd name="connsiteY0" fmla="*/ 66913 h 67793"/>
              <a:gd name="connsiteX1" fmla="*/ 22112 w 124045"/>
              <a:gd name="connsiteY1" fmla="*/ 66508 h 67793"/>
              <a:gd name="connsiteX2" fmla="*/ 22112 w 124045"/>
              <a:gd name="connsiteY2" fmla="*/ 65582 h 67793"/>
              <a:gd name="connsiteX3" fmla="*/ 23269 w 124045"/>
              <a:gd name="connsiteY3" fmla="*/ 65582 h 67793"/>
              <a:gd name="connsiteX4" fmla="*/ 22170 w 124045"/>
              <a:gd name="connsiteY4" fmla="*/ 65235 h 67793"/>
              <a:gd name="connsiteX5" fmla="*/ 22170 w 124045"/>
              <a:gd name="connsiteY5" fmla="*/ 64946 h 67793"/>
              <a:gd name="connsiteX6" fmla="*/ 20203 w 124045"/>
              <a:gd name="connsiteY6" fmla="*/ 57773 h 67793"/>
              <a:gd name="connsiteX7" fmla="*/ 17311 w 124045"/>
              <a:gd name="connsiteY7" fmla="*/ 51989 h 67793"/>
              <a:gd name="connsiteX8" fmla="*/ 13672 w 124045"/>
              <a:gd name="connsiteY8" fmla="*/ 47888 h 67793"/>
              <a:gd name="connsiteX9" fmla="*/ 13320 w 124045"/>
              <a:gd name="connsiteY9" fmla="*/ 47882 h 67793"/>
              <a:gd name="connsiteX10" fmla="*/ 7188 w 124045"/>
              <a:gd name="connsiteY10" fmla="*/ 51526 h 67793"/>
              <a:gd name="connsiteX11" fmla="*/ 421 w 124045"/>
              <a:gd name="connsiteY11" fmla="*/ 53955 h 67793"/>
              <a:gd name="connsiteX12" fmla="*/ 1577 w 124045"/>
              <a:gd name="connsiteY12" fmla="*/ 41345 h 67793"/>
              <a:gd name="connsiteX13" fmla="*/ 12799 w 124045"/>
              <a:gd name="connsiteY13" fmla="*/ 27058 h 67793"/>
              <a:gd name="connsiteX14" fmla="*/ 19104 w 124045"/>
              <a:gd name="connsiteY14" fmla="*/ 19654 h 67793"/>
              <a:gd name="connsiteX15" fmla="*/ 34201 w 124045"/>
              <a:gd name="connsiteY15" fmla="*/ 7275 h 67793"/>
              <a:gd name="connsiteX16" fmla="*/ 36747 w 124045"/>
              <a:gd name="connsiteY16" fmla="*/ 4036 h 67793"/>
              <a:gd name="connsiteX17" fmla="*/ 37962 w 124045"/>
              <a:gd name="connsiteY17" fmla="*/ 3226 h 67793"/>
              <a:gd name="connsiteX18" fmla="*/ 50167 w 124045"/>
              <a:gd name="connsiteY18" fmla="*/ 3862 h 67793"/>
              <a:gd name="connsiteX19" fmla="*/ 60521 w 124045"/>
              <a:gd name="connsiteY19" fmla="*/ 2532 h 67793"/>
              <a:gd name="connsiteX20" fmla="*/ 70296 w 124045"/>
              <a:gd name="connsiteY20" fmla="*/ -129 h 67793"/>
              <a:gd name="connsiteX21" fmla="*/ 79899 w 124045"/>
              <a:gd name="connsiteY21" fmla="*/ 1664 h 67793"/>
              <a:gd name="connsiteX22" fmla="*/ 95864 w 124045"/>
              <a:gd name="connsiteY22" fmla="*/ 8606 h 67793"/>
              <a:gd name="connsiteX23" fmla="*/ 96442 w 124045"/>
              <a:gd name="connsiteY23" fmla="*/ 9936 h 67793"/>
              <a:gd name="connsiteX24" fmla="*/ 96442 w 124045"/>
              <a:gd name="connsiteY24" fmla="*/ 19017 h 67793"/>
              <a:gd name="connsiteX25" fmla="*/ 96442 w 124045"/>
              <a:gd name="connsiteY25" fmla="*/ 21100 h 67793"/>
              <a:gd name="connsiteX26" fmla="*/ 106796 w 124045"/>
              <a:gd name="connsiteY26" fmla="*/ 27752 h 67793"/>
              <a:gd name="connsiteX27" fmla="*/ 108763 w 124045"/>
              <a:gd name="connsiteY27" fmla="*/ 27347 h 67793"/>
              <a:gd name="connsiteX28" fmla="*/ 123282 w 124045"/>
              <a:gd name="connsiteY28" fmla="*/ 29082 h 67793"/>
              <a:gd name="connsiteX29" fmla="*/ 123918 w 124045"/>
              <a:gd name="connsiteY29" fmla="*/ 29950 h 67793"/>
              <a:gd name="connsiteX30" fmla="*/ 123571 w 124045"/>
              <a:gd name="connsiteY30" fmla="*/ 30933 h 67793"/>
              <a:gd name="connsiteX31" fmla="*/ 118596 w 124045"/>
              <a:gd name="connsiteY31" fmla="*/ 35619 h 67793"/>
              <a:gd name="connsiteX32" fmla="*/ 113448 w 124045"/>
              <a:gd name="connsiteY32" fmla="*/ 42618 h 67793"/>
              <a:gd name="connsiteX33" fmla="*/ 110961 w 124045"/>
              <a:gd name="connsiteY33" fmla="*/ 42618 h 67793"/>
              <a:gd name="connsiteX34" fmla="*/ 108647 w 124045"/>
              <a:gd name="connsiteY34" fmla="*/ 42618 h 67793"/>
              <a:gd name="connsiteX35" fmla="*/ 106507 w 124045"/>
              <a:gd name="connsiteY35" fmla="*/ 45279 h 67793"/>
              <a:gd name="connsiteX36" fmla="*/ 99334 w 124045"/>
              <a:gd name="connsiteY36" fmla="*/ 50485 h 67793"/>
              <a:gd name="connsiteX37" fmla="*/ 92277 w 124045"/>
              <a:gd name="connsiteY37" fmla="*/ 49617 h 67793"/>
              <a:gd name="connsiteX38" fmla="*/ 90368 w 124045"/>
              <a:gd name="connsiteY38" fmla="*/ 49617 h 67793"/>
              <a:gd name="connsiteX39" fmla="*/ 83890 w 124045"/>
              <a:gd name="connsiteY39" fmla="*/ 54303 h 67793"/>
              <a:gd name="connsiteX40" fmla="*/ 78800 w 124045"/>
              <a:gd name="connsiteY40" fmla="*/ 66797 h 67793"/>
              <a:gd name="connsiteX41" fmla="*/ 74750 w 124045"/>
              <a:gd name="connsiteY41" fmla="*/ 64888 h 67793"/>
              <a:gd name="connsiteX42" fmla="*/ 65842 w 124045"/>
              <a:gd name="connsiteY42" fmla="*/ 53319 h 67793"/>
              <a:gd name="connsiteX43" fmla="*/ 60521 w 124045"/>
              <a:gd name="connsiteY43" fmla="*/ 46378 h 67793"/>
              <a:gd name="connsiteX44" fmla="*/ 57571 w 124045"/>
              <a:gd name="connsiteY44" fmla="*/ 52162 h 67793"/>
              <a:gd name="connsiteX45" fmla="*/ 46464 w 124045"/>
              <a:gd name="connsiteY45" fmla="*/ 65987 h 67793"/>
              <a:gd name="connsiteX46" fmla="*/ 23327 w 124045"/>
              <a:gd name="connsiteY46" fmla="*/ 67665 h 67793"/>
              <a:gd name="connsiteX47" fmla="*/ 13089 w 124045"/>
              <a:gd name="connsiteY47" fmla="*/ 45626 h 67793"/>
              <a:gd name="connsiteX48" fmla="*/ 19341 w 124045"/>
              <a:gd name="connsiteY48" fmla="*/ 51514 h 67793"/>
              <a:gd name="connsiteX49" fmla="*/ 19335 w 124045"/>
              <a:gd name="connsiteY49" fmla="*/ 51989 h 67793"/>
              <a:gd name="connsiteX50" fmla="*/ 21649 w 124045"/>
              <a:gd name="connsiteY50" fmla="*/ 56443 h 67793"/>
              <a:gd name="connsiteX51" fmla="*/ 24426 w 124045"/>
              <a:gd name="connsiteY51" fmla="*/ 64483 h 67793"/>
              <a:gd name="connsiteX52" fmla="*/ 46291 w 124045"/>
              <a:gd name="connsiteY52" fmla="*/ 62979 h 67793"/>
              <a:gd name="connsiteX53" fmla="*/ 55373 w 124045"/>
              <a:gd name="connsiteY53" fmla="*/ 50369 h 67793"/>
              <a:gd name="connsiteX54" fmla="*/ 59364 w 124045"/>
              <a:gd name="connsiteY54" fmla="*/ 43833 h 67793"/>
              <a:gd name="connsiteX55" fmla="*/ 60405 w 124045"/>
              <a:gd name="connsiteY55" fmla="*/ 43486 h 67793"/>
              <a:gd name="connsiteX56" fmla="*/ 67578 w 124045"/>
              <a:gd name="connsiteY56" fmla="*/ 51468 h 67793"/>
              <a:gd name="connsiteX57" fmla="*/ 76081 w 124045"/>
              <a:gd name="connsiteY57" fmla="*/ 62516 h 67793"/>
              <a:gd name="connsiteX58" fmla="*/ 78626 w 124045"/>
              <a:gd name="connsiteY58" fmla="*/ 63847 h 67793"/>
              <a:gd name="connsiteX59" fmla="*/ 81460 w 124045"/>
              <a:gd name="connsiteY59" fmla="*/ 53608 h 67793"/>
              <a:gd name="connsiteX60" fmla="*/ 92509 w 124045"/>
              <a:gd name="connsiteY60" fmla="*/ 46841 h 67793"/>
              <a:gd name="connsiteX61" fmla="*/ 99161 w 124045"/>
              <a:gd name="connsiteY61" fmla="*/ 47708 h 67793"/>
              <a:gd name="connsiteX62" fmla="*/ 104077 w 124045"/>
              <a:gd name="connsiteY62" fmla="*/ 44758 h 67793"/>
              <a:gd name="connsiteX63" fmla="*/ 108474 w 124045"/>
              <a:gd name="connsiteY63" fmla="*/ 39841 h 67793"/>
              <a:gd name="connsiteX64" fmla="*/ 111077 w 124045"/>
              <a:gd name="connsiteY64" fmla="*/ 40131 h 67793"/>
              <a:gd name="connsiteX65" fmla="*/ 113275 w 124045"/>
              <a:gd name="connsiteY65" fmla="*/ 40131 h 67793"/>
              <a:gd name="connsiteX66" fmla="*/ 116225 w 124045"/>
              <a:gd name="connsiteY66" fmla="*/ 34693 h 67793"/>
              <a:gd name="connsiteX67" fmla="*/ 116572 w 124045"/>
              <a:gd name="connsiteY67" fmla="*/ 33999 h 67793"/>
              <a:gd name="connsiteX68" fmla="*/ 120621 w 124045"/>
              <a:gd name="connsiteY68" fmla="*/ 30181 h 67793"/>
              <a:gd name="connsiteX69" fmla="*/ 109515 w 124045"/>
              <a:gd name="connsiteY69" fmla="*/ 29198 h 67793"/>
              <a:gd name="connsiteX70" fmla="*/ 97946 w 124045"/>
              <a:gd name="connsiteY70" fmla="*/ 26422 h 67793"/>
              <a:gd name="connsiteX71" fmla="*/ 93723 w 124045"/>
              <a:gd name="connsiteY71" fmla="*/ 20637 h 67793"/>
              <a:gd name="connsiteX72" fmla="*/ 93723 w 124045"/>
              <a:gd name="connsiteY72" fmla="*/ 18786 h 67793"/>
              <a:gd name="connsiteX73" fmla="*/ 93723 w 124045"/>
              <a:gd name="connsiteY73" fmla="*/ 9762 h 67793"/>
              <a:gd name="connsiteX74" fmla="*/ 78915 w 124045"/>
              <a:gd name="connsiteY74" fmla="*/ 3342 h 67793"/>
              <a:gd name="connsiteX75" fmla="*/ 69949 w 124045"/>
              <a:gd name="connsiteY75" fmla="*/ 1664 h 67793"/>
              <a:gd name="connsiteX76" fmla="*/ 61215 w 124045"/>
              <a:gd name="connsiteY76" fmla="*/ 4094 h 67793"/>
              <a:gd name="connsiteX77" fmla="*/ 49646 w 124045"/>
              <a:gd name="connsiteY77" fmla="*/ 5655 h 67793"/>
              <a:gd name="connsiteX78" fmla="*/ 38077 w 124045"/>
              <a:gd name="connsiteY78" fmla="*/ 5077 h 67793"/>
              <a:gd name="connsiteX79" fmla="*/ 33623 w 124045"/>
              <a:gd name="connsiteY79" fmla="*/ 9068 h 67793"/>
              <a:gd name="connsiteX80" fmla="*/ 20782 w 124045"/>
              <a:gd name="connsiteY80" fmla="*/ 19654 h 67793"/>
              <a:gd name="connsiteX81" fmla="*/ 13725 w 124045"/>
              <a:gd name="connsiteY81" fmla="*/ 28330 h 67793"/>
              <a:gd name="connsiteX82" fmla="*/ 3139 w 124045"/>
              <a:gd name="connsiteY82" fmla="*/ 41577 h 67793"/>
              <a:gd name="connsiteX83" fmla="*/ 1693 w 124045"/>
              <a:gd name="connsiteY83" fmla="*/ 52220 h 67793"/>
              <a:gd name="connsiteX84" fmla="*/ 4874 w 124045"/>
              <a:gd name="connsiteY84" fmla="*/ 49617 h 67793"/>
              <a:gd name="connsiteX85" fmla="*/ 13089 w 124045"/>
              <a:gd name="connsiteY85" fmla="*/ 45684 h 6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4045" h="67793">
                <a:moveTo>
                  <a:pt x="22980" y="66913"/>
                </a:moveTo>
                <a:cubicBezTo>
                  <a:pt x="22644" y="66901"/>
                  <a:pt x="22332" y="66756"/>
                  <a:pt x="22112" y="66508"/>
                </a:cubicBezTo>
                <a:cubicBezTo>
                  <a:pt x="21967" y="66218"/>
                  <a:pt x="21967" y="65871"/>
                  <a:pt x="22112" y="65582"/>
                </a:cubicBezTo>
                <a:lnTo>
                  <a:pt x="23269" y="65582"/>
                </a:lnTo>
                <a:lnTo>
                  <a:pt x="22170" y="65235"/>
                </a:lnTo>
                <a:lnTo>
                  <a:pt x="22170" y="64946"/>
                </a:lnTo>
                <a:cubicBezTo>
                  <a:pt x="23229" y="62383"/>
                  <a:pt x="22419" y="59439"/>
                  <a:pt x="20203" y="57773"/>
                </a:cubicBezTo>
                <a:cubicBezTo>
                  <a:pt x="18526" y="56292"/>
                  <a:pt x="17484" y="54221"/>
                  <a:pt x="17311" y="51989"/>
                </a:cubicBezTo>
                <a:cubicBezTo>
                  <a:pt x="17438" y="49854"/>
                  <a:pt x="15813" y="48015"/>
                  <a:pt x="13672" y="47888"/>
                </a:cubicBezTo>
                <a:cubicBezTo>
                  <a:pt x="13557" y="47882"/>
                  <a:pt x="13436" y="47876"/>
                  <a:pt x="13320" y="47882"/>
                </a:cubicBezTo>
                <a:cubicBezTo>
                  <a:pt x="10838" y="48125"/>
                  <a:pt x="8588" y="49461"/>
                  <a:pt x="7188" y="51526"/>
                </a:cubicBezTo>
                <a:cubicBezTo>
                  <a:pt x="4180" y="55112"/>
                  <a:pt x="1693" y="55749"/>
                  <a:pt x="421" y="53955"/>
                </a:cubicBezTo>
                <a:cubicBezTo>
                  <a:pt x="-852" y="52162"/>
                  <a:pt x="421" y="44989"/>
                  <a:pt x="1577" y="41345"/>
                </a:cubicBezTo>
                <a:cubicBezTo>
                  <a:pt x="4001" y="35682"/>
                  <a:pt x="7871" y="30754"/>
                  <a:pt x="12799" y="27058"/>
                </a:cubicBezTo>
                <a:cubicBezTo>
                  <a:pt x="15923" y="24339"/>
                  <a:pt x="18583" y="22025"/>
                  <a:pt x="19104" y="19654"/>
                </a:cubicBezTo>
                <a:cubicBezTo>
                  <a:pt x="21117" y="12817"/>
                  <a:pt x="27104" y="7911"/>
                  <a:pt x="34201" y="7275"/>
                </a:cubicBezTo>
                <a:cubicBezTo>
                  <a:pt x="34664" y="7275"/>
                  <a:pt x="35879" y="7275"/>
                  <a:pt x="36747" y="4036"/>
                </a:cubicBezTo>
                <a:cubicBezTo>
                  <a:pt x="36909" y="3509"/>
                  <a:pt x="37418" y="3174"/>
                  <a:pt x="37962" y="3226"/>
                </a:cubicBezTo>
                <a:cubicBezTo>
                  <a:pt x="42589" y="3631"/>
                  <a:pt x="46754" y="3862"/>
                  <a:pt x="50167" y="3862"/>
                </a:cubicBezTo>
                <a:cubicBezTo>
                  <a:pt x="53672" y="4157"/>
                  <a:pt x="57200" y="3700"/>
                  <a:pt x="60521" y="2532"/>
                </a:cubicBezTo>
                <a:cubicBezTo>
                  <a:pt x="63517" y="866"/>
                  <a:pt x="66872" y="-48"/>
                  <a:pt x="70296" y="-129"/>
                </a:cubicBezTo>
                <a:cubicBezTo>
                  <a:pt x="73570" y="-19"/>
                  <a:pt x="76810" y="582"/>
                  <a:pt x="79899" y="1664"/>
                </a:cubicBezTo>
                <a:cubicBezTo>
                  <a:pt x="85405" y="3533"/>
                  <a:pt x="90744" y="5852"/>
                  <a:pt x="95864" y="8606"/>
                </a:cubicBezTo>
                <a:cubicBezTo>
                  <a:pt x="96361" y="8843"/>
                  <a:pt x="96610" y="9409"/>
                  <a:pt x="96442" y="9936"/>
                </a:cubicBezTo>
                <a:cubicBezTo>
                  <a:pt x="95950" y="12944"/>
                  <a:pt x="95950" y="16010"/>
                  <a:pt x="96442" y="19017"/>
                </a:cubicBezTo>
                <a:cubicBezTo>
                  <a:pt x="96442" y="19943"/>
                  <a:pt x="96442" y="20637"/>
                  <a:pt x="96442" y="21100"/>
                </a:cubicBezTo>
                <a:cubicBezTo>
                  <a:pt x="98698" y="24779"/>
                  <a:pt x="102510" y="27226"/>
                  <a:pt x="106796" y="27752"/>
                </a:cubicBezTo>
                <a:cubicBezTo>
                  <a:pt x="107473" y="27775"/>
                  <a:pt x="108150" y="27636"/>
                  <a:pt x="108763" y="27347"/>
                </a:cubicBezTo>
                <a:cubicBezTo>
                  <a:pt x="113616" y="25693"/>
                  <a:pt x="118955" y="26329"/>
                  <a:pt x="123282" y="29082"/>
                </a:cubicBezTo>
                <a:cubicBezTo>
                  <a:pt x="123617" y="29256"/>
                  <a:pt x="123854" y="29580"/>
                  <a:pt x="123918" y="29950"/>
                </a:cubicBezTo>
                <a:cubicBezTo>
                  <a:pt x="123988" y="30314"/>
                  <a:pt x="123854" y="30690"/>
                  <a:pt x="123571" y="30933"/>
                </a:cubicBezTo>
                <a:lnTo>
                  <a:pt x="118596" y="35619"/>
                </a:lnTo>
                <a:cubicBezTo>
                  <a:pt x="118596" y="37238"/>
                  <a:pt x="117150" y="42618"/>
                  <a:pt x="113448" y="42618"/>
                </a:cubicBezTo>
                <a:cubicBezTo>
                  <a:pt x="112621" y="42676"/>
                  <a:pt x="111788" y="42676"/>
                  <a:pt x="110961" y="42618"/>
                </a:cubicBezTo>
                <a:cubicBezTo>
                  <a:pt x="110192" y="42566"/>
                  <a:pt x="109416" y="42566"/>
                  <a:pt x="108647" y="42618"/>
                </a:cubicBezTo>
                <a:cubicBezTo>
                  <a:pt x="107433" y="42618"/>
                  <a:pt x="106507" y="42618"/>
                  <a:pt x="106507" y="45279"/>
                </a:cubicBezTo>
                <a:cubicBezTo>
                  <a:pt x="106507" y="47940"/>
                  <a:pt x="105581" y="50485"/>
                  <a:pt x="99334" y="50485"/>
                </a:cubicBezTo>
                <a:cubicBezTo>
                  <a:pt x="96963" y="50398"/>
                  <a:pt x="94603" y="50109"/>
                  <a:pt x="92277" y="49617"/>
                </a:cubicBezTo>
                <a:lnTo>
                  <a:pt x="90368" y="49617"/>
                </a:lnTo>
                <a:cubicBezTo>
                  <a:pt x="87997" y="49617"/>
                  <a:pt x="83890" y="50600"/>
                  <a:pt x="83890" y="54303"/>
                </a:cubicBezTo>
                <a:cubicBezTo>
                  <a:pt x="83890" y="58988"/>
                  <a:pt x="83253" y="66797"/>
                  <a:pt x="78800" y="66797"/>
                </a:cubicBezTo>
                <a:cubicBezTo>
                  <a:pt x="77267" y="66664"/>
                  <a:pt x="75832" y="65987"/>
                  <a:pt x="74750" y="64888"/>
                </a:cubicBezTo>
                <a:cubicBezTo>
                  <a:pt x="71337" y="61394"/>
                  <a:pt x="68347" y="57513"/>
                  <a:pt x="65842" y="53319"/>
                </a:cubicBezTo>
                <a:cubicBezTo>
                  <a:pt x="64431" y="50751"/>
                  <a:pt x="62638" y="48408"/>
                  <a:pt x="60521" y="46378"/>
                </a:cubicBezTo>
                <a:cubicBezTo>
                  <a:pt x="59433" y="48252"/>
                  <a:pt x="58450" y="50184"/>
                  <a:pt x="57571" y="52162"/>
                </a:cubicBezTo>
                <a:cubicBezTo>
                  <a:pt x="54389" y="58641"/>
                  <a:pt x="50803" y="65987"/>
                  <a:pt x="46464" y="65987"/>
                </a:cubicBezTo>
                <a:cubicBezTo>
                  <a:pt x="43110" y="65987"/>
                  <a:pt x="32061" y="66855"/>
                  <a:pt x="23327" y="67665"/>
                </a:cubicBezTo>
                <a:close/>
                <a:moveTo>
                  <a:pt x="13089" y="45626"/>
                </a:moveTo>
                <a:cubicBezTo>
                  <a:pt x="16443" y="45528"/>
                  <a:pt x="19243" y="48165"/>
                  <a:pt x="19341" y="51514"/>
                </a:cubicBezTo>
                <a:cubicBezTo>
                  <a:pt x="19347" y="51676"/>
                  <a:pt x="19341" y="51833"/>
                  <a:pt x="19335" y="51989"/>
                </a:cubicBezTo>
                <a:cubicBezTo>
                  <a:pt x="19492" y="53718"/>
                  <a:pt x="20319" y="55321"/>
                  <a:pt x="21649" y="56443"/>
                </a:cubicBezTo>
                <a:cubicBezTo>
                  <a:pt x="24032" y="58375"/>
                  <a:pt x="25109" y="61492"/>
                  <a:pt x="24426" y="64483"/>
                </a:cubicBezTo>
                <a:cubicBezTo>
                  <a:pt x="31483" y="63905"/>
                  <a:pt x="42647" y="62979"/>
                  <a:pt x="46291" y="62979"/>
                </a:cubicBezTo>
                <a:cubicBezTo>
                  <a:pt x="49935" y="62979"/>
                  <a:pt x="53059" y="55112"/>
                  <a:pt x="55373" y="50369"/>
                </a:cubicBezTo>
                <a:cubicBezTo>
                  <a:pt x="56275" y="47957"/>
                  <a:pt x="57628" y="45736"/>
                  <a:pt x="59364" y="43833"/>
                </a:cubicBezTo>
                <a:cubicBezTo>
                  <a:pt x="59659" y="43601"/>
                  <a:pt x="60029" y="43474"/>
                  <a:pt x="60405" y="43486"/>
                </a:cubicBezTo>
                <a:cubicBezTo>
                  <a:pt x="62256" y="43486"/>
                  <a:pt x="64049" y="46089"/>
                  <a:pt x="67578" y="51468"/>
                </a:cubicBezTo>
                <a:cubicBezTo>
                  <a:pt x="69990" y="55459"/>
                  <a:pt x="72841" y="59161"/>
                  <a:pt x="76081" y="62516"/>
                </a:cubicBezTo>
                <a:cubicBezTo>
                  <a:pt x="76752" y="63239"/>
                  <a:pt x="77648" y="63708"/>
                  <a:pt x="78626" y="63847"/>
                </a:cubicBezTo>
                <a:cubicBezTo>
                  <a:pt x="80304" y="63847"/>
                  <a:pt x="81460" y="59624"/>
                  <a:pt x="81460" y="53608"/>
                </a:cubicBezTo>
                <a:cubicBezTo>
                  <a:pt x="81460" y="47593"/>
                  <a:pt x="87881" y="45915"/>
                  <a:pt x="92509" y="46841"/>
                </a:cubicBezTo>
                <a:cubicBezTo>
                  <a:pt x="94689" y="47355"/>
                  <a:pt x="96922" y="47650"/>
                  <a:pt x="99161" y="47708"/>
                </a:cubicBezTo>
                <a:cubicBezTo>
                  <a:pt x="104077" y="47708"/>
                  <a:pt x="104077" y="45568"/>
                  <a:pt x="104077" y="44758"/>
                </a:cubicBezTo>
                <a:cubicBezTo>
                  <a:pt x="104077" y="41519"/>
                  <a:pt x="105524" y="39841"/>
                  <a:pt x="108474" y="39841"/>
                </a:cubicBezTo>
                <a:cubicBezTo>
                  <a:pt x="109347" y="39882"/>
                  <a:pt x="110215" y="39974"/>
                  <a:pt x="111077" y="40131"/>
                </a:cubicBezTo>
                <a:cubicBezTo>
                  <a:pt x="111811" y="40177"/>
                  <a:pt x="112546" y="40177"/>
                  <a:pt x="113275" y="40131"/>
                </a:cubicBezTo>
                <a:cubicBezTo>
                  <a:pt x="114952" y="40131"/>
                  <a:pt x="115993" y="36371"/>
                  <a:pt x="116225" y="34693"/>
                </a:cubicBezTo>
                <a:cubicBezTo>
                  <a:pt x="116271" y="34433"/>
                  <a:pt x="116387" y="34190"/>
                  <a:pt x="116572" y="33999"/>
                </a:cubicBezTo>
                <a:lnTo>
                  <a:pt x="120621" y="30181"/>
                </a:lnTo>
                <a:cubicBezTo>
                  <a:pt x="117231" y="28278"/>
                  <a:pt x="113188" y="27926"/>
                  <a:pt x="109515" y="29198"/>
                </a:cubicBezTo>
                <a:cubicBezTo>
                  <a:pt x="105437" y="30378"/>
                  <a:pt x="101041" y="29320"/>
                  <a:pt x="97946" y="26422"/>
                </a:cubicBezTo>
                <a:cubicBezTo>
                  <a:pt x="95921" y="24860"/>
                  <a:pt x="93723" y="22604"/>
                  <a:pt x="93723" y="20637"/>
                </a:cubicBezTo>
                <a:cubicBezTo>
                  <a:pt x="93723" y="20232"/>
                  <a:pt x="93723" y="19596"/>
                  <a:pt x="93723" y="18786"/>
                </a:cubicBezTo>
                <a:cubicBezTo>
                  <a:pt x="93290" y="15795"/>
                  <a:pt x="93290" y="12753"/>
                  <a:pt x="93723" y="9762"/>
                </a:cubicBezTo>
                <a:cubicBezTo>
                  <a:pt x="88963" y="7240"/>
                  <a:pt x="84011" y="5089"/>
                  <a:pt x="78915" y="3342"/>
                </a:cubicBezTo>
                <a:cubicBezTo>
                  <a:pt x="76023" y="2358"/>
                  <a:pt x="73003" y="1791"/>
                  <a:pt x="69949" y="1664"/>
                </a:cubicBezTo>
                <a:cubicBezTo>
                  <a:pt x="66884" y="1734"/>
                  <a:pt x="63876" y="2567"/>
                  <a:pt x="61215" y="4094"/>
                </a:cubicBezTo>
                <a:cubicBezTo>
                  <a:pt x="57507" y="5407"/>
                  <a:pt x="53568" y="5939"/>
                  <a:pt x="49646" y="5655"/>
                </a:cubicBezTo>
                <a:cubicBezTo>
                  <a:pt x="46349" y="5655"/>
                  <a:pt x="42473" y="5655"/>
                  <a:pt x="38077" y="5077"/>
                </a:cubicBezTo>
                <a:cubicBezTo>
                  <a:pt x="37152" y="7738"/>
                  <a:pt x="35648" y="9068"/>
                  <a:pt x="33623" y="9068"/>
                </a:cubicBezTo>
                <a:cubicBezTo>
                  <a:pt x="27584" y="9647"/>
                  <a:pt x="22500" y="13835"/>
                  <a:pt x="20782" y="19654"/>
                </a:cubicBezTo>
                <a:cubicBezTo>
                  <a:pt x="19364" y="23194"/>
                  <a:pt x="16900" y="26219"/>
                  <a:pt x="13725" y="28330"/>
                </a:cubicBezTo>
                <a:cubicBezTo>
                  <a:pt x="9074" y="31714"/>
                  <a:pt x="5412" y="36290"/>
                  <a:pt x="3139" y="41577"/>
                </a:cubicBezTo>
                <a:cubicBezTo>
                  <a:pt x="710" y="48865"/>
                  <a:pt x="1230" y="51931"/>
                  <a:pt x="1693" y="52220"/>
                </a:cubicBezTo>
                <a:cubicBezTo>
                  <a:pt x="2156" y="52509"/>
                  <a:pt x="2734" y="52220"/>
                  <a:pt x="4874" y="49617"/>
                </a:cubicBezTo>
                <a:cubicBezTo>
                  <a:pt x="6870" y="47124"/>
                  <a:pt x="9896" y="45672"/>
                  <a:pt x="13089" y="4568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59" name="Forma libre: forma 358">
            <a:extLst>
              <a:ext uri="{FF2B5EF4-FFF2-40B4-BE49-F238E27FC236}">
                <a16:creationId xmlns:a16="http://schemas.microsoft.com/office/drawing/2014/main" id="{85C87C11-5966-DE9E-5AD5-936F08E30265}"/>
              </a:ext>
            </a:extLst>
          </p:cNvPr>
          <p:cNvSpPr/>
          <p:nvPr/>
        </p:nvSpPr>
        <p:spPr>
          <a:xfrm>
            <a:off x="6353969" y="2794744"/>
            <a:ext cx="244332" cy="275014"/>
          </a:xfrm>
          <a:custGeom>
            <a:avLst/>
            <a:gdLst>
              <a:gd name="connsiteX0" fmla="*/ 115058 w 244332"/>
              <a:gd name="connsiteY0" fmla="*/ 274885 h 275014"/>
              <a:gd name="connsiteX1" fmla="*/ 108580 w 244332"/>
              <a:gd name="connsiteY1" fmla="*/ 271819 h 275014"/>
              <a:gd name="connsiteX2" fmla="*/ 102159 w 244332"/>
              <a:gd name="connsiteY2" fmla="*/ 268811 h 275014"/>
              <a:gd name="connsiteX3" fmla="*/ 100134 w 244332"/>
              <a:gd name="connsiteY3" fmla="*/ 271067 h 275014"/>
              <a:gd name="connsiteX4" fmla="*/ 99498 w 244332"/>
              <a:gd name="connsiteY4" fmla="*/ 271819 h 275014"/>
              <a:gd name="connsiteX5" fmla="*/ 98573 w 244332"/>
              <a:gd name="connsiteY5" fmla="*/ 271819 h 275014"/>
              <a:gd name="connsiteX6" fmla="*/ 82955 w 244332"/>
              <a:gd name="connsiteY6" fmla="*/ 264994 h 275014"/>
              <a:gd name="connsiteX7" fmla="*/ 73989 w 244332"/>
              <a:gd name="connsiteY7" fmla="*/ 263316 h 275014"/>
              <a:gd name="connsiteX8" fmla="*/ 65254 w 244332"/>
              <a:gd name="connsiteY8" fmla="*/ 265746 h 275014"/>
              <a:gd name="connsiteX9" fmla="*/ 53686 w 244332"/>
              <a:gd name="connsiteY9" fmla="*/ 267308 h 275014"/>
              <a:gd name="connsiteX10" fmla="*/ 41249 w 244332"/>
              <a:gd name="connsiteY10" fmla="*/ 266671 h 275014"/>
              <a:gd name="connsiteX11" fmla="*/ 40439 w 244332"/>
              <a:gd name="connsiteY11" fmla="*/ 266209 h 275014"/>
              <a:gd name="connsiteX12" fmla="*/ 40439 w 244332"/>
              <a:gd name="connsiteY12" fmla="*/ 265225 h 275014"/>
              <a:gd name="connsiteX13" fmla="*/ 41712 w 244332"/>
              <a:gd name="connsiteY13" fmla="*/ 256895 h 275014"/>
              <a:gd name="connsiteX14" fmla="*/ 42811 w 244332"/>
              <a:gd name="connsiteY14" fmla="*/ 248739 h 275014"/>
              <a:gd name="connsiteX15" fmla="*/ 43216 w 244332"/>
              <a:gd name="connsiteY15" fmla="*/ 246831 h 275014"/>
              <a:gd name="connsiteX16" fmla="*/ 54091 w 244332"/>
              <a:gd name="connsiteY16" fmla="*/ 225717 h 275014"/>
              <a:gd name="connsiteX17" fmla="*/ 56578 w 244332"/>
              <a:gd name="connsiteY17" fmla="*/ 221321 h 275014"/>
              <a:gd name="connsiteX18" fmla="*/ 50388 w 244332"/>
              <a:gd name="connsiteY18" fmla="*/ 218545 h 275014"/>
              <a:gd name="connsiteX19" fmla="*/ 49521 w 244332"/>
              <a:gd name="connsiteY19" fmla="*/ 218545 h 275014"/>
              <a:gd name="connsiteX20" fmla="*/ 43736 w 244332"/>
              <a:gd name="connsiteY20" fmla="*/ 216694 h 275014"/>
              <a:gd name="connsiteX21" fmla="*/ 34597 w 244332"/>
              <a:gd name="connsiteY21" fmla="*/ 213686 h 275014"/>
              <a:gd name="connsiteX22" fmla="*/ 16723 w 244332"/>
              <a:gd name="connsiteY22" fmla="*/ 204778 h 275014"/>
              <a:gd name="connsiteX23" fmla="*/ 10939 w 244332"/>
              <a:gd name="connsiteY23" fmla="*/ 201943 h 275014"/>
              <a:gd name="connsiteX24" fmla="*/ 10129 w 244332"/>
              <a:gd name="connsiteY24" fmla="*/ 200960 h 275014"/>
              <a:gd name="connsiteX25" fmla="*/ 3130 w 244332"/>
              <a:gd name="connsiteY25" fmla="*/ 181177 h 275014"/>
              <a:gd name="connsiteX26" fmla="*/ 1568 w 244332"/>
              <a:gd name="connsiteY26" fmla="*/ 178748 h 275014"/>
              <a:gd name="connsiteX27" fmla="*/ 4229 w 244332"/>
              <a:gd name="connsiteY27" fmla="*/ 171922 h 275014"/>
              <a:gd name="connsiteX28" fmla="*/ 7121 w 244332"/>
              <a:gd name="connsiteY28" fmla="*/ 167526 h 275014"/>
              <a:gd name="connsiteX29" fmla="*/ 3882 w 244332"/>
              <a:gd name="connsiteY29" fmla="*/ 160527 h 275014"/>
              <a:gd name="connsiteX30" fmla="*/ -110 w 244332"/>
              <a:gd name="connsiteY30" fmla="*/ 150636 h 275014"/>
              <a:gd name="connsiteX31" fmla="*/ 469 w 244332"/>
              <a:gd name="connsiteY31" fmla="*/ 144851 h 275014"/>
              <a:gd name="connsiteX32" fmla="*/ 3187 w 244332"/>
              <a:gd name="connsiteY32" fmla="*/ 128713 h 275014"/>
              <a:gd name="connsiteX33" fmla="*/ 3187 w 244332"/>
              <a:gd name="connsiteY33" fmla="*/ 121135 h 275014"/>
              <a:gd name="connsiteX34" fmla="*/ 3187 w 244332"/>
              <a:gd name="connsiteY34" fmla="*/ 115987 h 275014"/>
              <a:gd name="connsiteX35" fmla="*/ 5385 w 244332"/>
              <a:gd name="connsiteY35" fmla="*/ 115119 h 275014"/>
              <a:gd name="connsiteX36" fmla="*/ 19557 w 244332"/>
              <a:gd name="connsiteY36" fmla="*/ 108988 h 275014"/>
              <a:gd name="connsiteX37" fmla="*/ 22912 w 244332"/>
              <a:gd name="connsiteY37" fmla="*/ 101815 h 275014"/>
              <a:gd name="connsiteX38" fmla="*/ 25400 w 244332"/>
              <a:gd name="connsiteY38" fmla="*/ 99501 h 275014"/>
              <a:gd name="connsiteX39" fmla="*/ 19037 w 244332"/>
              <a:gd name="connsiteY39" fmla="*/ 89031 h 275014"/>
              <a:gd name="connsiteX40" fmla="*/ 16549 w 244332"/>
              <a:gd name="connsiteY40" fmla="*/ 86139 h 275014"/>
              <a:gd name="connsiteX41" fmla="*/ 16202 w 244332"/>
              <a:gd name="connsiteY41" fmla="*/ 84520 h 275014"/>
              <a:gd name="connsiteX42" fmla="*/ 19615 w 244332"/>
              <a:gd name="connsiteY42" fmla="*/ 81512 h 275014"/>
              <a:gd name="connsiteX43" fmla="*/ 30259 w 244332"/>
              <a:gd name="connsiteY43" fmla="*/ 72025 h 275014"/>
              <a:gd name="connsiteX44" fmla="*/ 29333 w 244332"/>
              <a:gd name="connsiteY44" fmla="*/ 54672 h 275014"/>
              <a:gd name="connsiteX45" fmla="*/ 29333 w 244332"/>
              <a:gd name="connsiteY45" fmla="*/ 53978 h 275014"/>
              <a:gd name="connsiteX46" fmla="*/ 30085 w 244332"/>
              <a:gd name="connsiteY46" fmla="*/ 48772 h 275014"/>
              <a:gd name="connsiteX47" fmla="*/ 30837 w 244332"/>
              <a:gd name="connsiteY47" fmla="*/ 46516 h 275014"/>
              <a:gd name="connsiteX48" fmla="*/ 44604 w 244332"/>
              <a:gd name="connsiteY48" fmla="*/ 43161 h 275014"/>
              <a:gd name="connsiteX49" fmla="*/ 52297 w 244332"/>
              <a:gd name="connsiteY49" fmla="*/ 44376 h 275014"/>
              <a:gd name="connsiteX50" fmla="*/ 68262 w 244332"/>
              <a:gd name="connsiteY50" fmla="*/ 49755 h 275014"/>
              <a:gd name="connsiteX51" fmla="*/ 70865 w 244332"/>
              <a:gd name="connsiteY51" fmla="*/ 48135 h 275014"/>
              <a:gd name="connsiteX52" fmla="*/ 78327 w 244332"/>
              <a:gd name="connsiteY52" fmla="*/ 43277 h 275014"/>
              <a:gd name="connsiteX53" fmla="*/ 83418 w 244332"/>
              <a:gd name="connsiteY53" fmla="*/ 41368 h 275014"/>
              <a:gd name="connsiteX54" fmla="*/ 82666 w 244332"/>
              <a:gd name="connsiteY54" fmla="*/ 37839 h 275014"/>
              <a:gd name="connsiteX55" fmla="*/ 79484 w 244332"/>
              <a:gd name="connsiteY55" fmla="*/ 32055 h 275014"/>
              <a:gd name="connsiteX56" fmla="*/ 75435 w 244332"/>
              <a:gd name="connsiteY56" fmla="*/ 13429 h 275014"/>
              <a:gd name="connsiteX57" fmla="*/ 71444 w 244332"/>
              <a:gd name="connsiteY57" fmla="*/ 2612 h 275014"/>
              <a:gd name="connsiteX58" fmla="*/ 70807 w 244332"/>
              <a:gd name="connsiteY58" fmla="*/ 1629 h 275014"/>
              <a:gd name="connsiteX59" fmla="*/ 70807 w 244332"/>
              <a:gd name="connsiteY59" fmla="*/ 472 h 275014"/>
              <a:gd name="connsiteX60" fmla="*/ 71849 w 244332"/>
              <a:gd name="connsiteY60" fmla="*/ -107 h 275014"/>
              <a:gd name="connsiteX61" fmla="*/ 71849 w 244332"/>
              <a:gd name="connsiteY61" fmla="*/ -107 h 275014"/>
              <a:gd name="connsiteX62" fmla="*/ 97069 w 244332"/>
              <a:gd name="connsiteY62" fmla="*/ 2381 h 275014"/>
              <a:gd name="connsiteX63" fmla="*/ 99961 w 244332"/>
              <a:gd name="connsiteY63" fmla="*/ 2670 h 275014"/>
              <a:gd name="connsiteX64" fmla="*/ 106671 w 244332"/>
              <a:gd name="connsiteY64" fmla="*/ 2091 h 275014"/>
              <a:gd name="connsiteX65" fmla="*/ 107828 w 244332"/>
              <a:gd name="connsiteY65" fmla="*/ 2612 h 275014"/>
              <a:gd name="connsiteX66" fmla="*/ 109563 w 244332"/>
              <a:gd name="connsiteY66" fmla="*/ 9669 h 275014"/>
              <a:gd name="connsiteX67" fmla="*/ 111241 w 244332"/>
              <a:gd name="connsiteY67" fmla="*/ 15453 h 275014"/>
              <a:gd name="connsiteX68" fmla="*/ 121595 w 244332"/>
              <a:gd name="connsiteY68" fmla="*/ 19329 h 275014"/>
              <a:gd name="connsiteX69" fmla="*/ 128247 w 244332"/>
              <a:gd name="connsiteY69" fmla="*/ 18172 h 275014"/>
              <a:gd name="connsiteX70" fmla="*/ 141724 w 244332"/>
              <a:gd name="connsiteY70" fmla="*/ 17073 h 275014"/>
              <a:gd name="connsiteX71" fmla="*/ 139237 w 244332"/>
              <a:gd name="connsiteY71" fmla="*/ 24709 h 275014"/>
              <a:gd name="connsiteX72" fmla="*/ 138312 w 244332"/>
              <a:gd name="connsiteY72" fmla="*/ 31881 h 275014"/>
              <a:gd name="connsiteX73" fmla="*/ 145542 w 244332"/>
              <a:gd name="connsiteY73" fmla="*/ 35815 h 275014"/>
              <a:gd name="connsiteX74" fmla="*/ 151789 w 244332"/>
              <a:gd name="connsiteY74" fmla="*/ 33616 h 275014"/>
              <a:gd name="connsiteX75" fmla="*/ 158094 w 244332"/>
              <a:gd name="connsiteY75" fmla="*/ 28295 h 275014"/>
              <a:gd name="connsiteX76" fmla="*/ 180249 w 244332"/>
              <a:gd name="connsiteY76" fmla="*/ 15164 h 275014"/>
              <a:gd name="connsiteX77" fmla="*/ 183488 w 244332"/>
              <a:gd name="connsiteY77" fmla="*/ 15685 h 275014"/>
              <a:gd name="connsiteX78" fmla="*/ 197371 w 244332"/>
              <a:gd name="connsiteY78" fmla="*/ 11462 h 275014"/>
              <a:gd name="connsiteX79" fmla="*/ 205122 w 244332"/>
              <a:gd name="connsiteY79" fmla="*/ 8049 h 275014"/>
              <a:gd name="connsiteX80" fmla="*/ 208245 w 244332"/>
              <a:gd name="connsiteY80" fmla="*/ 9611 h 275014"/>
              <a:gd name="connsiteX81" fmla="*/ 205180 w 244332"/>
              <a:gd name="connsiteY81" fmla="*/ 20139 h 275014"/>
              <a:gd name="connsiteX82" fmla="*/ 202577 w 244332"/>
              <a:gd name="connsiteY82" fmla="*/ 24477 h 275014"/>
              <a:gd name="connsiteX83" fmla="*/ 204948 w 244332"/>
              <a:gd name="connsiteY83" fmla="*/ 24940 h 275014"/>
              <a:gd name="connsiteX84" fmla="*/ 222301 w 244332"/>
              <a:gd name="connsiteY84" fmla="*/ 34716 h 275014"/>
              <a:gd name="connsiteX85" fmla="*/ 223979 w 244332"/>
              <a:gd name="connsiteY85" fmla="*/ 37261 h 275014"/>
              <a:gd name="connsiteX86" fmla="*/ 224615 w 244332"/>
              <a:gd name="connsiteY86" fmla="*/ 38476 h 275014"/>
              <a:gd name="connsiteX87" fmla="*/ 224615 w 244332"/>
              <a:gd name="connsiteY87" fmla="*/ 41194 h 275014"/>
              <a:gd name="connsiteX88" fmla="*/ 223921 w 244332"/>
              <a:gd name="connsiteY88" fmla="*/ 70695 h 275014"/>
              <a:gd name="connsiteX89" fmla="*/ 221781 w 244332"/>
              <a:gd name="connsiteY89" fmla="*/ 76479 h 275014"/>
              <a:gd name="connsiteX90" fmla="*/ 225367 w 244332"/>
              <a:gd name="connsiteY90" fmla="*/ 79776 h 275014"/>
              <a:gd name="connsiteX91" fmla="*/ 231962 w 244332"/>
              <a:gd name="connsiteY91" fmla="*/ 94064 h 275014"/>
              <a:gd name="connsiteX92" fmla="*/ 233061 w 244332"/>
              <a:gd name="connsiteY92" fmla="*/ 98055 h 275014"/>
              <a:gd name="connsiteX93" fmla="*/ 235606 w 244332"/>
              <a:gd name="connsiteY93" fmla="*/ 108525 h 275014"/>
              <a:gd name="connsiteX94" fmla="*/ 241969 w 244332"/>
              <a:gd name="connsiteY94" fmla="*/ 129696 h 275014"/>
              <a:gd name="connsiteX95" fmla="*/ 241448 w 244332"/>
              <a:gd name="connsiteY95" fmla="*/ 146182 h 275014"/>
              <a:gd name="connsiteX96" fmla="*/ 238035 w 244332"/>
              <a:gd name="connsiteY96" fmla="*/ 147801 h 275014"/>
              <a:gd name="connsiteX97" fmla="*/ 233581 w 244332"/>
              <a:gd name="connsiteY97" fmla="*/ 146991 h 275014"/>
              <a:gd name="connsiteX98" fmla="*/ 226813 w 244332"/>
              <a:gd name="connsiteY98" fmla="*/ 146991 h 275014"/>
              <a:gd name="connsiteX99" fmla="*/ 217732 w 244332"/>
              <a:gd name="connsiteY99" fmla="*/ 151040 h 275014"/>
              <a:gd name="connsiteX100" fmla="*/ 204370 w 244332"/>
              <a:gd name="connsiteY100" fmla="*/ 157288 h 275014"/>
              <a:gd name="connsiteX101" fmla="*/ 176258 w 244332"/>
              <a:gd name="connsiteY101" fmla="*/ 168278 h 275014"/>
              <a:gd name="connsiteX102" fmla="*/ 175332 w 244332"/>
              <a:gd name="connsiteY102" fmla="*/ 168278 h 275014"/>
              <a:gd name="connsiteX103" fmla="*/ 172671 w 244332"/>
              <a:gd name="connsiteY103" fmla="*/ 169898 h 275014"/>
              <a:gd name="connsiteX104" fmla="*/ 175911 w 244332"/>
              <a:gd name="connsiteY104" fmla="*/ 177938 h 275014"/>
              <a:gd name="connsiteX105" fmla="*/ 177935 w 244332"/>
              <a:gd name="connsiteY105" fmla="*/ 181177 h 275014"/>
              <a:gd name="connsiteX106" fmla="*/ 180654 w 244332"/>
              <a:gd name="connsiteY106" fmla="*/ 189912 h 275014"/>
              <a:gd name="connsiteX107" fmla="*/ 186438 w 244332"/>
              <a:gd name="connsiteY107" fmla="*/ 203794 h 275014"/>
              <a:gd name="connsiteX108" fmla="*/ 191644 w 244332"/>
              <a:gd name="connsiteY108" fmla="*/ 207323 h 275014"/>
              <a:gd name="connsiteX109" fmla="*/ 215245 w 244332"/>
              <a:gd name="connsiteY109" fmla="*/ 225313 h 275014"/>
              <a:gd name="connsiteX110" fmla="*/ 215245 w 244332"/>
              <a:gd name="connsiteY110" fmla="*/ 227626 h 275014"/>
              <a:gd name="connsiteX111" fmla="*/ 208014 w 244332"/>
              <a:gd name="connsiteY111" fmla="*/ 232775 h 275014"/>
              <a:gd name="connsiteX112" fmla="*/ 199858 w 244332"/>
              <a:gd name="connsiteY112" fmla="*/ 238559 h 275014"/>
              <a:gd name="connsiteX113" fmla="*/ 194420 w 244332"/>
              <a:gd name="connsiteY113" fmla="*/ 242955 h 275014"/>
              <a:gd name="connsiteX114" fmla="*/ 189041 w 244332"/>
              <a:gd name="connsiteY114" fmla="*/ 254813 h 275014"/>
              <a:gd name="connsiteX115" fmla="*/ 189041 w 244332"/>
              <a:gd name="connsiteY115" fmla="*/ 264589 h 275014"/>
              <a:gd name="connsiteX116" fmla="*/ 184934 w 244332"/>
              <a:gd name="connsiteY116" fmla="*/ 266382 h 275014"/>
              <a:gd name="connsiteX117" fmla="*/ 176836 w 244332"/>
              <a:gd name="connsiteY117" fmla="*/ 264126 h 275014"/>
              <a:gd name="connsiteX118" fmla="*/ 172382 w 244332"/>
              <a:gd name="connsiteY118" fmla="*/ 263548 h 275014"/>
              <a:gd name="connsiteX119" fmla="*/ 150112 w 244332"/>
              <a:gd name="connsiteY119" fmla="*/ 269332 h 275014"/>
              <a:gd name="connsiteX120" fmla="*/ 141204 w 244332"/>
              <a:gd name="connsiteY120" fmla="*/ 272976 h 275014"/>
              <a:gd name="connsiteX121" fmla="*/ 132990 w 244332"/>
              <a:gd name="connsiteY121" fmla="*/ 270720 h 275014"/>
              <a:gd name="connsiteX122" fmla="*/ 125817 w 244332"/>
              <a:gd name="connsiteY122" fmla="*/ 268869 h 275014"/>
              <a:gd name="connsiteX123" fmla="*/ 118182 w 244332"/>
              <a:gd name="connsiteY123" fmla="*/ 272745 h 275014"/>
              <a:gd name="connsiteX124" fmla="*/ 115058 w 244332"/>
              <a:gd name="connsiteY124" fmla="*/ 274885 h 275014"/>
              <a:gd name="connsiteX125" fmla="*/ 102506 w 244332"/>
              <a:gd name="connsiteY125" fmla="*/ 266556 h 275014"/>
              <a:gd name="connsiteX126" fmla="*/ 109852 w 244332"/>
              <a:gd name="connsiteY126" fmla="*/ 269968 h 275014"/>
              <a:gd name="connsiteX127" fmla="*/ 115058 w 244332"/>
              <a:gd name="connsiteY127" fmla="*/ 272629 h 275014"/>
              <a:gd name="connsiteX128" fmla="*/ 116851 w 244332"/>
              <a:gd name="connsiteY128" fmla="*/ 271357 h 275014"/>
              <a:gd name="connsiteX129" fmla="*/ 126453 w 244332"/>
              <a:gd name="connsiteY129" fmla="*/ 266382 h 275014"/>
              <a:gd name="connsiteX130" fmla="*/ 134725 w 244332"/>
              <a:gd name="connsiteY130" fmla="*/ 268522 h 275014"/>
              <a:gd name="connsiteX131" fmla="*/ 141840 w 244332"/>
              <a:gd name="connsiteY131" fmla="*/ 270489 h 275014"/>
              <a:gd name="connsiteX132" fmla="*/ 149129 w 244332"/>
              <a:gd name="connsiteY132" fmla="*/ 267481 h 275014"/>
              <a:gd name="connsiteX133" fmla="*/ 173018 w 244332"/>
              <a:gd name="connsiteY133" fmla="*/ 261118 h 275014"/>
              <a:gd name="connsiteX134" fmla="*/ 178224 w 244332"/>
              <a:gd name="connsiteY134" fmla="*/ 261812 h 275014"/>
              <a:gd name="connsiteX135" fmla="*/ 185570 w 244332"/>
              <a:gd name="connsiteY135" fmla="*/ 263952 h 275014"/>
              <a:gd name="connsiteX136" fmla="*/ 187884 w 244332"/>
              <a:gd name="connsiteY136" fmla="*/ 263085 h 275014"/>
              <a:gd name="connsiteX137" fmla="*/ 187884 w 244332"/>
              <a:gd name="connsiteY137" fmla="*/ 255276 h 275014"/>
              <a:gd name="connsiteX138" fmla="*/ 194536 w 244332"/>
              <a:gd name="connsiteY138" fmla="*/ 240699 h 275014"/>
              <a:gd name="connsiteX139" fmla="*/ 198759 w 244332"/>
              <a:gd name="connsiteY139" fmla="*/ 237633 h 275014"/>
              <a:gd name="connsiteX140" fmla="*/ 208072 w 244332"/>
              <a:gd name="connsiteY140" fmla="*/ 230692 h 275014"/>
              <a:gd name="connsiteX141" fmla="*/ 213856 w 244332"/>
              <a:gd name="connsiteY141" fmla="*/ 226932 h 275014"/>
              <a:gd name="connsiteX142" fmla="*/ 213856 w 244332"/>
              <a:gd name="connsiteY142" fmla="*/ 226470 h 275014"/>
              <a:gd name="connsiteX143" fmla="*/ 190719 w 244332"/>
              <a:gd name="connsiteY143" fmla="*/ 209116 h 275014"/>
              <a:gd name="connsiteX144" fmla="*/ 185513 w 244332"/>
              <a:gd name="connsiteY144" fmla="*/ 205588 h 275014"/>
              <a:gd name="connsiteX145" fmla="*/ 178571 w 244332"/>
              <a:gd name="connsiteY145" fmla="*/ 190375 h 275014"/>
              <a:gd name="connsiteX146" fmla="*/ 176026 w 244332"/>
              <a:gd name="connsiteY146" fmla="*/ 182218 h 275014"/>
              <a:gd name="connsiteX147" fmla="*/ 174175 w 244332"/>
              <a:gd name="connsiteY147" fmla="*/ 179095 h 275014"/>
              <a:gd name="connsiteX148" fmla="*/ 170704 w 244332"/>
              <a:gd name="connsiteY148" fmla="*/ 168972 h 275014"/>
              <a:gd name="connsiteX149" fmla="*/ 174985 w 244332"/>
              <a:gd name="connsiteY149" fmla="*/ 166022 h 275014"/>
              <a:gd name="connsiteX150" fmla="*/ 175853 w 244332"/>
              <a:gd name="connsiteY150" fmla="*/ 166022 h 275014"/>
              <a:gd name="connsiteX151" fmla="*/ 202924 w 244332"/>
              <a:gd name="connsiteY151" fmla="*/ 155610 h 275014"/>
              <a:gd name="connsiteX152" fmla="*/ 217211 w 244332"/>
              <a:gd name="connsiteY152" fmla="*/ 148842 h 275014"/>
              <a:gd name="connsiteX153" fmla="*/ 225309 w 244332"/>
              <a:gd name="connsiteY153" fmla="*/ 145314 h 275014"/>
              <a:gd name="connsiteX154" fmla="*/ 229243 w 244332"/>
              <a:gd name="connsiteY154" fmla="*/ 143868 h 275014"/>
              <a:gd name="connsiteX155" fmla="*/ 234275 w 244332"/>
              <a:gd name="connsiteY155" fmla="*/ 144735 h 275014"/>
              <a:gd name="connsiteX156" fmla="*/ 238151 w 244332"/>
              <a:gd name="connsiteY156" fmla="*/ 145487 h 275014"/>
              <a:gd name="connsiteX157" fmla="*/ 239713 w 244332"/>
              <a:gd name="connsiteY157" fmla="*/ 144851 h 275014"/>
              <a:gd name="connsiteX158" fmla="*/ 240407 w 244332"/>
              <a:gd name="connsiteY158" fmla="*/ 131084 h 275014"/>
              <a:gd name="connsiteX159" fmla="*/ 233465 w 244332"/>
              <a:gd name="connsiteY159" fmla="*/ 108641 h 275014"/>
              <a:gd name="connsiteX160" fmla="*/ 231152 w 244332"/>
              <a:gd name="connsiteY160" fmla="*/ 98981 h 275014"/>
              <a:gd name="connsiteX161" fmla="*/ 229822 w 244332"/>
              <a:gd name="connsiteY161" fmla="*/ 94006 h 275014"/>
              <a:gd name="connsiteX162" fmla="*/ 224384 w 244332"/>
              <a:gd name="connsiteY162" fmla="*/ 81685 h 275014"/>
              <a:gd name="connsiteX163" fmla="*/ 219699 w 244332"/>
              <a:gd name="connsiteY163" fmla="*/ 76942 h 275014"/>
              <a:gd name="connsiteX164" fmla="*/ 222128 w 244332"/>
              <a:gd name="connsiteY164" fmla="*/ 69191 h 275014"/>
              <a:gd name="connsiteX165" fmla="*/ 222649 w 244332"/>
              <a:gd name="connsiteY165" fmla="*/ 41715 h 275014"/>
              <a:gd name="connsiteX166" fmla="*/ 222649 w 244332"/>
              <a:gd name="connsiteY166" fmla="*/ 38591 h 275014"/>
              <a:gd name="connsiteX167" fmla="*/ 220450 w 244332"/>
              <a:gd name="connsiteY167" fmla="*/ 34889 h 275014"/>
              <a:gd name="connsiteX168" fmla="*/ 205411 w 244332"/>
              <a:gd name="connsiteY168" fmla="*/ 26907 h 275014"/>
              <a:gd name="connsiteX169" fmla="*/ 201073 w 244332"/>
              <a:gd name="connsiteY169" fmla="*/ 25229 h 275014"/>
              <a:gd name="connsiteX170" fmla="*/ 203792 w 244332"/>
              <a:gd name="connsiteY170" fmla="*/ 18519 h 275014"/>
              <a:gd name="connsiteX171" fmla="*/ 206915 w 244332"/>
              <a:gd name="connsiteY171" fmla="*/ 10710 h 275014"/>
              <a:gd name="connsiteX172" fmla="*/ 198990 w 244332"/>
              <a:gd name="connsiteY172" fmla="*/ 13082 h 275014"/>
              <a:gd name="connsiteX173" fmla="*/ 186496 w 244332"/>
              <a:gd name="connsiteY173" fmla="*/ 18057 h 275014"/>
              <a:gd name="connsiteX174" fmla="*/ 183257 w 244332"/>
              <a:gd name="connsiteY174" fmla="*/ 17536 h 275014"/>
              <a:gd name="connsiteX175" fmla="*/ 180711 w 244332"/>
              <a:gd name="connsiteY175" fmla="*/ 17131 h 275014"/>
              <a:gd name="connsiteX176" fmla="*/ 160061 w 244332"/>
              <a:gd name="connsiteY176" fmla="*/ 29683 h 275014"/>
              <a:gd name="connsiteX177" fmla="*/ 153640 w 244332"/>
              <a:gd name="connsiteY177" fmla="*/ 35468 h 275014"/>
              <a:gd name="connsiteX178" fmla="*/ 146005 w 244332"/>
              <a:gd name="connsiteY178" fmla="*/ 38071 h 275014"/>
              <a:gd name="connsiteX179" fmla="*/ 136750 w 244332"/>
              <a:gd name="connsiteY179" fmla="*/ 32922 h 275014"/>
              <a:gd name="connsiteX180" fmla="*/ 137849 w 244332"/>
              <a:gd name="connsiteY180" fmla="*/ 23378 h 275014"/>
              <a:gd name="connsiteX181" fmla="*/ 140220 w 244332"/>
              <a:gd name="connsiteY181" fmla="*/ 18114 h 275014"/>
              <a:gd name="connsiteX182" fmla="*/ 138890 w 244332"/>
              <a:gd name="connsiteY182" fmla="*/ 17767 h 275014"/>
              <a:gd name="connsiteX183" fmla="*/ 129519 w 244332"/>
              <a:gd name="connsiteY183" fmla="*/ 20254 h 275014"/>
              <a:gd name="connsiteX184" fmla="*/ 122058 w 244332"/>
              <a:gd name="connsiteY184" fmla="*/ 21585 h 275014"/>
              <a:gd name="connsiteX185" fmla="*/ 110026 w 244332"/>
              <a:gd name="connsiteY185" fmla="*/ 16900 h 275014"/>
              <a:gd name="connsiteX186" fmla="*/ 107770 w 244332"/>
              <a:gd name="connsiteY186" fmla="*/ 9322 h 275014"/>
              <a:gd name="connsiteX187" fmla="*/ 106729 w 244332"/>
              <a:gd name="connsiteY187" fmla="*/ 4463 h 275014"/>
              <a:gd name="connsiteX188" fmla="*/ 96837 w 244332"/>
              <a:gd name="connsiteY188" fmla="*/ 4463 h 275014"/>
              <a:gd name="connsiteX189" fmla="*/ 74451 w 244332"/>
              <a:gd name="connsiteY189" fmla="*/ 2149 h 275014"/>
              <a:gd name="connsiteX190" fmla="*/ 77980 w 244332"/>
              <a:gd name="connsiteY190" fmla="*/ 14412 h 275014"/>
              <a:gd name="connsiteX191" fmla="*/ 82029 w 244332"/>
              <a:gd name="connsiteY191" fmla="*/ 30898 h 275014"/>
              <a:gd name="connsiteX192" fmla="*/ 85268 w 244332"/>
              <a:gd name="connsiteY192" fmla="*/ 36682 h 275014"/>
              <a:gd name="connsiteX193" fmla="*/ 86020 w 244332"/>
              <a:gd name="connsiteY193" fmla="*/ 42467 h 275014"/>
              <a:gd name="connsiteX194" fmla="*/ 79253 w 244332"/>
              <a:gd name="connsiteY194" fmla="*/ 45533 h 275014"/>
              <a:gd name="connsiteX195" fmla="*/ 73468 w 244332"/>
              <a:gd name="connsiteY195" fmla="*/ 48367 h 275014"/>
              <a:gd name="connsiteX196" fmla="*/ 68609 w 244332"/>
              <a:gd name="connsiteY196" fmla="*/ 52127 h 275014"/>
              <a:gd name="connsiteX197" fmla="*/ 51661 w 244332"/>
              <a:gd name="connsiteY197" fmla="*/ 46342 h 275014"/>
              <a:gd name="connsiteX198" fmla="*/ 44951 w 244332"/>
              <a:gd name="connsiteY198" fmla="*/ 45301 h 275014"/>
              <a:gd name="connsiteX199" fmla="*/ 32861 w 244332"/>
              <a:gd name="connsiteY199" fmla="*/ 48020 h 275014"/>
              <a:gd name="connsiteX200" fmla="*/ 32861 w 244332"/>
              <a:gd name="connsiteY200" fmla="*/ 48483 h 275014"/>
              <a:gd name="connsiteX201" fmla="*/ 32109 w 244332"/>
              <a:gd name="connsiteY201" fmla="*/ 54267 h 275014"/>
              <a:gd name="connsiteX202" fmla="*/ 32688 w 244332"/>
              <a:gd name="connsiteY202" fmla="*/ 73356 h 275014"/>
              <a:gd name="connsiteX203" fmla="*/ 21119 w 244332"/>
              <a:gd name="connsiteY203" fmla="*/ 83594 h 275014"/>
              <a:gd name="connsiteX204" fmla="*/ 18747 w 244332"/>
              <a:gd name="connsiteY204" fmla="*/ 85214 h 275014"/>
              <a:gd name="connsiteX205" fmla="*/ 21003 w 244332"/>
              <a:gd name="connsiteY205" fmla="*/ 87585 h 275014"/>
              <a:gd name="connsiteX206" fmla="*/ 27656 w 244332"/>
              <a:gd name="connsiteY206" fmla="*/ 100774 h 275014"/>
              <a:gd name="connsiteX207" fmla="*/ 24416 w 244332"/>
              <a:gd name="connsiteY207" fmla="*/ 103840 h 275014"/>
              <a:gd name="connsiteX208" fmla="*/ 22160 w 244332"/>
              <a:gd name="connsiteY208" fmla="*/ 109103 h 275014"/>
              <a:gd name="connsiteX209" fmla="*/ 5732 w 244332"/>
              <a:gd name="connsiteY209" fmla="*/ 117491 h 275014"/>
              <a:gd name="connsiteX210" fmla="*/ 5270 w 244332"/>
              <a:gd name="connsiteY210" fmla="*/ 117491 h 275014"/>
              <a:gd name="connsiteX211" fmla="*/ 5270 w 244332"/>
              <a:gd name="connsiteY211" fmla="*/ 120846 h 275014"/>
              <a:gd name="connsiteX212" fmla="*/ 4923 w 244332"/>
              <a:gd name="connsiteY212" fmla="*/ 129638 h 275014"/>
              <a:gd name="connsiteX213" fmla="*/ 2436 w 244332"/>
              <a:gd name="connsiteY213" fmla="*/ 145083 h 275014"/>
              <a:gd name="connsiteX214" fmla="*/ 1799 w 244332"/>
              <a:gd name="connsiteY214" fmla="*/ 151214 h 275014"/>
              <a:gd name="connsiteX215" fmla="*/ 5501 w 244332"/>
              <a:gd name="connsiteY215" fmla="*/ 159544 h 275014"/>
              <a:gd name="connsiteX216" fmla="*/ 9088 w 244332"/>
              <a:gd name="connsiteY216" fmla="*/ 168220 h 275014"/>
              <a:gd name="connsiteX217" fmla="*/ 5617 w 244332"/>
              <a:gd name="connsiteY217" fmla="*/ 173658 h 275014"/>
              <a:gd name="connsiteX218" fmla="*/ 3303 w 244332"/>
              <a:gd name="connsiteY218" fmla="*/ 177996 h 275014"/>
              <a:gd name="connsiteX219" fmla="*/ 4691 w 244332"/>
              <a:gd name="connsiteY219" fmla="*/ 180078 h 275014"/>
              <a:gd name="connsiteX220" fmla="*/ 11980 w 244332"/>
              <a:gd name="connsiteY220" fmla="*/ 200266 h 275014"/>
              <a:gd name="connsiteX221" fmla="*/ 17764 w 244332"/>
              <a:gd name="connsiteY221" fmla="*/ 203621 h 275014"/>
              <a:gd name="connsiteX222" fmla="*/ 34423 w 244332"/>
              <a:gd name="connsiteY222" fmla="*/ 211661 h 275014"/>
              <a:gd name="connsiteX223" fmla="*/ 44720 w 244332"/>
              <a:gd name="connsiteY223" fmla="*/ 215016 h 275014"/>
              <a:gd name="connsiteX224" fmla="*/ 48769 w 244332"/>
              <a:gd name="connsiteY224" fmla="*/ 216520 h 275014"/>
              <a:gd name="connsiteX225" fmla="*/ 49983 w 244332"/>
              <a:gd name="connsiteY225" fmla="*/ 216520 h 275014"/>
              <a:gd name="connsiteX226" fmla="*/ 58313 w 244332"/>
              <a:gd name="connsiteY226" fmla="*/ 220743 h 275014"/>
              <a:gd name="connsiteX227" fmla="*/ 55132 w 244332"/>
              <a:gd name="connsiteY227" fmla="*/ 227626 h 275014"/>
              <a:gd name="connsiteX228" fmla="*/ 45645 w 244332"/>
              <a:gd name="connsiteY228" fmla="*/ 247004 h 275014"/>
              <a:gd name="connsiteX229" fmla="*/ 45182 w 244332"/>
              <a:gd name="connsiteY229" fmla="*/ 248913 h 275014"/>
              <a:gd name="connsiteX230" fmla="*/ 44083 w 244332"/>
              <a:gd name="connsiteY230" fmla="*/ 256838 h 275014"/>
              <a:gd name="connsiteX231" fmla="*/ 43158 w 244332"/>
              <a:gd name="connsiteY231" fmla="*/ 264242 h 275014"/>
              <a:gd name="connsiteX232" fmla="*/ 54033 w 244332"/>
              <a:gd name="connsiteY232" fmla="*/ 264762 h 275014"/>
              <a:gd name="connsiteX233" fmla="*/ 64387 w 244332"/>
              <a:gd name="connsiteY233" fmla="*/ 263432 h 275014"/>
              <a:gd name="connsiteX234" fmla="*/ 74162 w 244332"/>
              <a:gd name="connsiteY234" fmla="*/ 260771 h 275014"/>
              <a:gd name="connsiteX235" fmla="*/ 83765 w 244332"/>
              <a:gd name="connsiteY235" fmla="*/ 262564 h 275014"/>
              <a:gd name="connsiteX236" fmla="*/ 98630 w 244332"/>
              <a:gd name="connsiteY236" fmla="*/ 268985 h 275014"/>
              <a:gd name="connsiteX237" fmla="*/ 102101 w 244332"/>
              <a:gd name="connsiteY237" fmla="*/ 266324 h 27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244332" h="275014">
                <a:moveTo>
                  <a:pt x="115058" y="274885"/>
                </a:moveTo>
                <a:cubicBezTo>
                  <a:pt x="112652" y="274492"/>
                  <a:pt x="110408" y="273427"/>
                  <a:pt x="108580" y="271819"/>
                </a:cubicBezTo>
                <a:cubicBezTo>
                  <a:pt x="106382" y="270258"/>
                  <a:pt x="104184" y="268580"/>
                  <a:pt x="102159" y="268811"/>
                </a:cubicBezTo>
                <a:cubicBezTo>
                  <a:pt x="101580" y="268811"/>
                  <a:pt x="100713" y="269216"/>
                  <a:pt x="100134" y="271067"/>
                </a:cubicBezTo>
                <a:cubicBezTo>
                  <a:pt x="100019" y="271386"/>
                  <a:pt x="99793" y="271657"/>
                  <a:pt x="99498" y="271819"/>
                </a:cubicBezTo>
                <a:cubicBezTo>
                  <a:pt x="99203" y="271935"/>
                  <a:pt x="98868" y="271935"/>
                  <a:pt x="98573" y="271819"/>
                </a:cubicBezTo>
                <a:cubicBezTo>
                  <a:pt x="93558" y="269135"/>
                  <a:pt x="88334" y="266851"/>
                  <a:pt x="82955" y="264994"/>
                </a:cubicBezTo>
                <a:cubicBezTo>
                  <a:pt x="80063" y="264010"/>
                  <a:pt x="77043" y="263444"/>
                  <a:pt x="73989" y="263316"/>
                </a:cubicBezTo>
                <a:cubicBezTo>
                  <a:pt x="70923" y="263386"/>
                  <a:pt x="67915" y="264219"/>
                  <a:pt x="65254" y="265746"/>
                </a:cubicBezTo>
                <a:cubicBezTo>
                  <a:pt x="61547" y="267059"/>
                  <a:pt x="57607" y="267591"/>
                  <a:pt x="53686" y="267308"/>
                </a:cubicBezTo>
                <a:cubicBezTo>
                  <a:pt x="50157" y="267308"/>
                  <a:pt x="45992" y="267308"/>
                  <a:pt x="41249" y="266671"/>
                </a:cubicBezTo>
                <a:cubicBezTo>
                  <a:pt x="40919" y="266665"/>
                  <a:pt x="40613" y="266486"/>
                  <a:pt x="40439" y="266209"/>
                </a:cubicBezTo>
                <a:cubicBezTo>
                  <a:pt x="40324" y="265890"/>
                  <a:pt x="40324" y="265543"/>
                  <a:pt x="40439" y="265225"/>
                </a:cubicBezTo>
                <a:cubicBezTo>
                  <a:pt x="41081" y="262483"/>
                  <a:pt x="41503" y="259701"/>
                  <a:pt x="41712" y="256895"/>
                </a:cubicBezTo>
                <a:cubicBezTo>
                  <a:pt x="41885" y="254154"/>
                  <a:pt x="42255" y="251429"/>
                  <a:pt x="42811" y="248739"/>
                </a:cubicBezTo>
                <a:lnTo>
                  <a:pt x="43216" y="246831"/>
                </a:lnTo>
                <a:cubicBezTo>
                  <a:pt x="44245" y="238732"/>
                  <a:pt x="48098" y="231259"/>
                  <a:pt x="54091" y="225717"/>
                </a:cubicBezTo>
                <a:cubicBezTo>
                  <a:pt x="55537" y="224503"/>
                  <a:pt x="57098" y="222767"/>
                  <a:pt x="56578" y="221321"/>
                </a:cubicBezTo>
                <a:cubicBezTo>
                  <a:pt x="56057" y="219875"/>
                  <a:pt x="52818" y="218545"/>
                  <a:pt x="50388" y="218545"/>
                </a:cubicBezTo>
                <a:lnTo>
                  <a:pt x="49521" y="218545"/>
                </a:lnTo>
                <a:cubicBezTo>
                  <a:pt x="47427" y="218666"/>
                  <a:pt x="45368" y="218007"/>
                  <a:pt x="43736" y="216694"/>
                </a:cubicBezTo>
                <a:cubicBezTo>
                  <a:pt x="41052" y="214808"/>
                  <a:pt x="37871" y="213767"/>
                  <a:pt x="34597" y="213686"/>
                </a:cubicBezTo>
                <a:cubicBezTo>
                  <a:pt x="27580" y="213640"/>
                  <a:pt x="20980" y="210354"/>
                  <a:pt x="16723" y="204778"/>
                </a:cubicBezTo>
                <a:cubicBezTo>
                  <a:pt x="15126" y="203262"/>
                  <a:pt x="13108" y="202273"/>
                  <a:pt x="10939" y="201943"/>
                </a:cubicBezTo>
                <a:cubicBezTo>
                  <a:pt x="10476" y="201839"/>
                  <a:pt x="10140" y="201434"/>
                  <a:pt x="10129" y="200960"/>
                </a:cubicBezTo>
                <a:cubicBezTo>
                  <a:pt x="9851" y="193810"/>
                  <a:pt x="7410" y="186910"/>
                  <a:pt x="3130" y="181177"/>
                </a:cubicBezTo>
                <a:cubicBezTo>
                  <a:pt x="2568" y="180396"/>
                  <a:pt x="2042" y="179587"/>
                  <a:pt x="1568" y="178748"/>
                </a:cubicBezTo>
                <a:cubicBezTo>
                  <a:pt x="353" y="176261"/>
                  <a:pt x="2378" y="173947"/>
                  <a:pt x="4229" y="171922"/>
                </a:cubicBezTo>
                <a:cubicBezTo>
                  <a:pt x="5547" y="170725"/>
                  <a:pt x="6542" y="169215"/>
                  <a:pt x="7121" y="167526"/>
                </a:cubicBezTo>
                <a:cubicBezTo>
                  <a:pt x="7121" y="166022"/>
                  <a:pt x="5559" y="163130"/>
                  <a:pt x="3882" y="160527"/>
                </a:cubicBezTo>
                <a:cubicBezTo>
                  <a:pt x="1487" y="157768"/>
                  <a:pt x="81" y="154286"/>
                  <a:pt x="-110" y="150636"/>
                </a:cubicBezTo>
                <a:cubicBezTo>
                  <a:pt x="-110" y="149189"/>
                  <a:pt x="295" y="147049"/>
                  <a:pt x="469" y="144851"/>
                </a:cubicBezTo>
                <a:cubicBezTo>
                  <a:pt x="585" y="139367"/>
                  <a:pt x="1498" y="133930"/>
                  <a:pt x="3187" y="128713"/>
                </a:cubicBezTo>
                <a:cubicBezTo>
                  <a:pt x="3853" y="126231"/>
                  <a:pt x="3853" y="123617"/>
                  <a:pt x="3187" y="121135"/>
                </a:cubicBezTo>
                <a:cubicBezTo>
                  <a:pt x="2840" y="118879"/>
                  <a:pt x="2551" y="117144"/>
                  <a:pt x="3187" y="115987"/>
                </a:cubicBezTo>
                <a:cubicBezTo>
                  <a:pt x="3754" y="115385"/>
                  <a:pt x="4558" y="115067"/>
                  <a:pt x="5385" y="115119"/>
                </a:cubicBezTo>
                <a:cubicBezTo>
                  <a:pt x="11459" y="115119"/>
                  <a:pt x="19557" y="114483"/>
                  <a:pt x="19557" y="108988"/>
                </a:cubicBezTo>
                <a:cubicBezTo>
                  <a:pt x="19557" y="103492"/>
                  <a:pt x="20946" y="103203"/>
                  <a:pt x="22912" y="101815"/>
                </a:cubicBezTo>
                <a:cubicBezTo>
                  <a:pt x="23942" y="101289"/>
                  <a:pt x="24804" y="100490"/>
                  <a:pt x="25400" y="99501"/>
                </a:cubicBezTo>
                <a:cubicBezTo>
                  <a:pt x="26788" y="97187"/>
                  <a:pt x="21755" y="91866"/>
                  <a:pt x="19037" y="89031"/>
                </a:cubicBezTo>
                <a:cubicBezTo>
                  <a:pt x="18117" y="88146"/>
                  <a:pt x="17284" y="87180"/>
                  <a:pt x="16549" y="86139"/>
                </a:cubicBezTo>
                <a:cubicBezTo>
                  <a:pt x="16185" y="85682"/>
                  <a:pt x="16058" y="85086"/>
                  <a:pt x="16202" y="84520"/>
                </a:cubicBezTo>
                <a:cubicBezTo>
                  <a:pt x="16202" y="83363"/>
                  <a:pt x="17706" y="82611"/>
                  <a:pt x="19615" y="81512"/>
                </a:cubicBezTo>
                <a:cubicBezTo>
                  <a:pt x="23878" y="79262"/>
                  <a:pt x="27534" y="76005"/>
                  <a:pt x="30259" y="72025"/>
                </a:cubicBezTo>
                <a:cubicBezTo>
                  <a:pt x="31531" y="70058"/>
                  <a:pt x="32399" y="65489"/>
                  <a:pt x="29333" y="54672"/>
                </a:cubicBezTo>
                <a:cubicBezTo>
                  <a:pt x="29275" y="54446"/>
                  <a:pt x="29275" y="54203"/>
                  <a:pt x="29333" y="53978"/>
                </a:cubicBezTo>
                <a:cubicBezTo>
                  <a:pt x="29969" y="52323"/>
                  <a:pt x="30230" y="50542"/>
                  <a:pt x="30085" y="48772"/>
                </a:cubicBezTo>
                <a:cubicBezTo>
                  <a:pt x="30021" y="47950"/>
                  <a:pt x="30293" y="47135"/>
                  <a:pt x="30837" y="46516"/>
                </a:cubicBezTo>
                <a:cubicBezTo>
                  <a:pt x="34961" y="43988"/>
                  <a:pt x="39780" y="42814"/>
                  <a:pt x="44604" y="43161"/>
                </a:cubicBezTo>
                <a:cubicBezTo>
                  <a:pt x="47224" y="43045"/>
                  <a:pt x="49839" y="43462"/>
                  <a:pt x="52297" y="44376"/>
                </a:cubicBezTo>
                <a:cubicBezTo>
                  <a:pt x="57272" y="47071"/>
                  <a:pt x="62669" y="48893"/>
                  <a:pt x="68262" y="49755"/>
                </a:cubicBezTo>
                <a:cubicBezTo>
                  <a:pt x="70750" y="49755"/>
                  <a:pt x="70807" y="48656"/>
                  <a:pt x="70865" y="48135"/>
                </a:cubicBezTo>
                <a:cubicBezTo>
                  <a:pt x="70865" y="44491"/>
                  <a:pt x="75088" y="43797"/>
                  <a:pt x="78327" y="43277"/>
                </a:cubicBezTo>
                <a:cubicBezTo>
                  <a:pt x="80583" y="42929"/>
                  <a:pt x="82897" y="42525"/>
                  <a:pt x="83418" y="41368"/>
                </a:cubicBezTo>
                <a:cubicBezTo>
                  <a:pt x="83938" y="40211"/>
                  <a:pt x="83418" y="38938"/>
                  <a:pt x="82666" y="37839"/>
                </a:cubicBezTo>
                <a:cubicBezTo>
                  <a:pt x="81624" y="35757"/>
                  <a:pt x="80525" y="33790"/>
                  <a:pt x="79484" y="32055"/>
                </a:cubicBezTo>
                <a:cubicBezTo>
                  <a:pt x="75435" y="24998"/>
                  <a:pt x="72253" y="19387"/>
                  <a:pt x="75435" y="13429"/>
                </a:cubicBezTo>
                <a:cubicBezTo>
                  <a:pt x="76939" y="10595"/>
                  <a:pt x="74278" y="6719"/>
                  <a:pt x="71444" y="2612"/>
                </a:cubicBezTo>
                <a:lnTo>
                  <a:pt x="70807" y="1629"/>
                </a:lnTo>
                <a:cubicBezTo>
                  <a:pt x="70576" y="1276"/>
                  <a:pt x="70576" y="825"/>
                  <a:pt x="70807" y="472"/>
                </a:cubicBezTo>
                <a:cubicBezTo>
                  <a:pt x="71027" y="113"/>
                  <a:pt x="71426" y="-107"/>
                  <a:pt x="71849" y="-107"/>
                </a:cubicBezTo>
                <a:lnTo>
                  <a:pt x="71849" y="-107"/>
                </a:lnTo>
                <a:cubicBezTo>
                  <a:pt x="80323" y="-280"/>
                  <a:pt x="88791" y="558"/>
                  <a:pt x="97069" y="2381"/>
                </a:cubicBezTo>
                <a:cubicBezTo>
                  <a:pt x="98017" y="2600"/>
                  <a:pt x="98989" y="2699"/>
                  <a:pt x="99961" y="2670"/>
                </a:cubicBezTo>
                <a:cubicBezTo>
                  <a:pt x="102211" y="2641"/>
                  <a:pt x="104450" y="2444"/>
                  <a:pt x="106671" y="2091"/>
                </a:cubicBezTo>
                <a:cubicBezTo>
                  <a:pt x="107128" y="2016"/>
                  <a:pt x="107579" y="2225"/>
                  <a:pt x="107828" y="2612"/>
                </a:cubicBezTo>
                <a:cubicBezTo>
                  <a:pt x="109199" y="4694"/>
                  <a:pt x="109812" y="7187"/>
                  <a:pt x="109563" y="9669"/>
                </a:cubicBezTo>
                <a:cubicBezTo>
                  <a:pt x="109257" y="11751"/>
                  <a:pt x="109864" y="13863"/>
                  <a:pt x="111241" y="15453"/>
                </a:cubicBezTo>
                <a:cubicBezTo>
                  <a:pt x="114005" y="18120"/>
                  <a:pt x="117754" y="19526"/>
                  <a:pt x="121595" y="19329"/>
                </a:cubicBezTo>
                <a:cubicBezTo>
                  <a:pt x="123862" y="19329"/>
                  <a:pt x="126112" y="18936"/>
                  <a:pt x="128247" y="18172"/>
                </a:cubicBezTo>
                <a:cubicBezTo>
                  <a:pt x="136692" y="14991"/>
                  <a:pt x="140510" y="14701"/>
                  <a:pt x="141724" y="17073"/>
                </a:cubicBezTo>
                <a:cubicBezTo>
                  <a:pt x="142939" y="19445"/>
                  <a:pt x="141724" y="21006"/>
                  <a:pt x="139237" y="24709"/>
                </a:cubicBezTo>
                <a:cubicBezTo>
                  <a:pt x="137543" y="26710"/>
                  <a:pt x="137178" y="29515"/>
                  <a:pt x="138312" y="31881"/>
                </a:cubicBezTo>
                <a:cubicBezTo>
                  <a:pt x="139798" y="34438"/>
                  <a:pt x="142586" y="35954"/>
                  <a:pt x="145542" y="35815"/>
                </a:cubicBezTo>
                <a:cubicBezTo>
                  <a:pt x="147810" y="35797"/>
                  <a:pt x="150008" y="35022"/>
                  <a:pt x="151789" y="33616"/>
                </a:cubicBezTo>
                <a:cubicBezTo>
                  <a:pt x="153698" y="32170"/>
                  <a:pt x="155838" y="30319"/>
                  <a:pt x="158094" y="28295"/>
                </a:cubicBezTo>
                <a:cubicBezTo>
                  <a:pt x="165094" y="22163"/>
                  <a:pt x="172960" y="15164"/>
                  <a:pt x="180249" y="15164"/>
                </a:cubicBezTo>
                <a:cubicBezTo>
                  <a:pt x="181348" y="15158"/>
                  <a:pt x="182447" y="15332"/>
                  <a:pt x="183488" y="15685"/>
                </a:cubicBezTo>
                <a:cubicBezTo>
                  <a:pt x="187826" y="17131"/>
                  <a:pt x="193032" y="14123"/>
                  <a:pt x="197371" y="11462"/>
                </a:cubicBezTo>
                <a:cubicBezTo>
                  <a:pt x="199627" y="9686"/>
                  <a:pt x="202293" y="8512"/>
                  <a:pt x="205122" y="8049"/>
                </a:cubicBezTo>
                <a:cubicBezTo>
                  <a:pt x="206354" y="8026"/>
                  <a:pt x="207522" y="8610"/>
                  <a:pt x="208245" y="9611"/>
                </a:cubicBezTo>
                <a:cubicBezTo>
                  <a:pt x="210675" y="12735"/>
                  <a:pt x="207609" y="16842"/>
                  <a:pt x="205180" y="20139"/>
                </a:cubicBezTo>
                <a:cubicBezTo>
                  <a:pt x="204139" y="21469"/>
                  <a:pt x="202345" y="23957"/>
                  <a:pt x="202577" y="24477"/>
                </a:cubicBezTo>
                <a:cubicBezTo>
                  <a:pt x="202808" y="24998"/>
                  <a:pt x="202924" y="24940"/>
                  <a:pt x="204948" y="24940"/>
                </a:cubicBezTo>
                <a:cubicBezTo>
                  <a:pt x="216055" y="24940"/>
                  <a:pt x="220855" y="27659"/>
                  <a:pt x="222301" y="34716"/>
                </a:cubicBezTo>
                <a:cubicBezTo>
                  <a:pt x="222400" y="35791"/>
                  <a:pt x="223031" y="36746"/>
                  <a:pt x="223979" y="37261"/>
                </a:cubicBezTo>
                <a:cubicBezTo>
                  <a:pt x="224436" y="37481"/>
                  <a:pt x="224691" y="37972"/>
                  <a:pt x="224615" y="38476"/>
                </a:cubicBezTo>
                <a:cubicBezTo>
                  <a:pt x="224401" y="39366"/>
                  <a:pt x="224401" y="40303"/>
                  <a:pt x="224615" y="41194"/>
                </a:cubicBezTo>
                <a:cubicBezTo>
                  <a:pt x="226582" y="46342"/>
                  <a:pt x="228375" y="63638"/>
                  <a:pt x="223921" y="70695"/>
                </a:cubicBezTo>
                <a:cubicBezTo>
                  <a:pt x="222128" y="73471"/>
                  <a:pt x="221434" y="75380"/>
                  <a:pt x="221781" y="76479"/>
                </a:cubicBezTo>
                <a:cubicBezTo>
                  <a:pt x="222128" y="77578"/>
                  <a:pt x="223285" y="78620"/>
                  <a:pt x="225367" y="79776"/>
                </a:cubicBezTo>
                <a:cubicBezTo>
                  <a:pt x="229827" y="83126"/>
                  <a:pt x="232303" y="88493"/>
                  <a:pt x="231962" y="94064"/>
                </a:cubicBezTo>
                <a:cubicBezTo>
                  <a:pt x="231967" y="95470"/>
                  <a:pt x="232343" y="96846"/>
                  <a:pt x="233061" y="98055"/>
                </a:cubicBezTo>
                <a:cubicBezTo>
                  <a:pt x="234744" y="101289"/>
                  <a:pt x="235617" y="104881"/>
                  <a:pt x="235606" y="108525"/>
                </a:cubicBezTo>
                <a:cubicBezTo>
                  <a:pt x="235519" y="116068"/>
                  <a:pt x="237740" y="123454"/>
                  <a:pt x="241969" y="129696"/>
                </a:cubicBezTo>
                <a:cubicBezTo>
                  <a:pt x="245156" y="134786"/>
                  <a:pt x="244948" y="141300"/>
                  <a:pt x="241448" y="146182"/>
                </a:cubicBezTo>
                <a:cubicBezTo>
                  <a:pt x="240690" y="147304"/>
                  <a:pt x="239383" y="147929"/>
                  <a:pt x="238035" y="147801"/>
                </a:cubicBezTo>
                <a:cubicBezTo>
                  <a:pt x="236526" y="147714"/>
                  <a:pt x="235027" y="147443"/>
                  <a:pt x="233581" y="146991"/>
                </a:cubicBezTo>
                <a:cubicBezTo>
                  <a:pt x="230805" y="146297"/>
                  <a:pt x="227797" y="145719"/>
                  <a:pt x="226813" y="146991"/>
                </a:cubicBezTo>
                <a:cubicBezTo>
                  <a:pt x="224118" y="148981"/>
                  <a:pt x="221017" y="150364"/>
                  <a:pt x="217732" y="151040"/>
                </a:cubicBezTo>
                <a:cubicBezTo>
                  <a:pt x="212896" y="152180"/>
                  <a:pt x="208344" y="154303"/>
                  <a:pt x="204370" y="157288"/>
                </a:cubicBezTo>
                <a:cubicBezTo>
                  <a:pt x="197718" y="163072"/>
                  <a:pt x="184298" y="166427"/>
                  <a:pt x="176258" y="168278"/>
                </a:cubicBezTo>
                <a:lnTo>
                  <a:pt x="175332" y="168278"/>
                </a:lnTo>
                <a:cubicBezTo>
                  <a:pt x="173886" y="168567"/>
                  <a:pt x="172960" y="169146"/>
                  <a:pt x="172671" y="169898"/>
                </a:cubicBezTo>
                <a:cubicBezTo>
                  <a:pt x="171977" y="171633"/>
                  <a:pt x="174060" y="174988"/>
                  <a:pt x="175911" y="177938"/>
                </a:cubicBezTo>
                <a:cubicBezTo>
                  <a:pt x="176663" y="179037"/>
                  <a:pt x="177357" y="180136"/>
                  <a:pt x="177935" y="181177"/>
                </a:cubicBezTo>
                <a:cubicBezTo>
                  <a:pt x="179208" y="183965"/>
                  <a:pt x="180121" y="186898"/>
                  <a:pt x="180654" y="189912"/>
                </a:cubicBezTo>
                <a:cubicBezTo>
                  <a:pt x="181041" y="195043"/>
                  <a:pt x="183072" y="199907"/>
                  <a:pt x="186438" y="203794"/>
                </a:cubicBezTo>
                <a:lnTo>
                  <a:pt x="191644" y="207323"/>
                </a:lnTo>
                <a:cubicBezTo>
                  <a:pt x="203213" y="214901"/>
                  <a:pt x="213336" y="222015"/>
                  <a:pt x="215245" y="225313"/>
                </a:cubicBezTo>
                <a:cubicBezTo>
                  <a:pt x="215551" y="226053"/>
                  <a:pt x="215551" y="226886"/>
                  <a:pt x="215245" y="227626"/>
                </a:cubicBezTo>
                <a:cubicBezTo>
                  <a:pt x="214551" y="229651"/>
                  <a:pt x="211543" y="231097"/>
                  <a:pt x="208014" y="232775"/>
                </a:cubicBezTo>
                <a:cubicBezTo>
                  <a:pt x="204486" y="234452"/>
                  <a:pt x="200610" y="236245"/>
                  <a:pt x="199858" y="238559"/>
                </a:cubicBezTo>
                <a:cubicBezTo>
                  <a:pt x="199106" y="240873"/>
                  <a:pt x="196734" y="241972"/>
                  <a:pt x="194420" y="242955"/>
                </a:cubicBezTo>
                <a:cubicBezTo>
                  <a:pt x="190372" y="244690"/>
                  <a:pt x="186554" y="246310"/>
                  <a:pt x="189041" y="254813"/>
                </a:cubicBezTo>
                <a:cubicBezTo>
                  <a:pt x="190372" y="259499"/>
                  <a:pt x="190372" y="262680"/>
                  <a:pt x="189041" y="264589"/>
                </a:cubicBezTo>
                <a:cubicBezTo>
                  <a:pt x="188063" y="265844"/>
                  <a:pt x="186519" y="266521"/>
                  <a:pt x="184934" y="266382"/>
                </a:cubicBezTo>
                <a:cubicBezTo>
                  <a:pt x="182117" y="266156"/>
                  <a:pt x="179364" y="265387"/>
                  <a:pt x="176836" y="264126"/>
                </a:cubicBezTo>
                <a:cubicBezTo>
                  <a:pt x="175401" y="263646"/>
                  <a:pt x="173892" y="263449"/>
                  <a:pt x="172382" y="263548"/>
                </a:cubicBezTo>
                <a:cubicBezTo>
                  <a:pt x="164747" y="263548"/>
                  <a:pt x="153293" y="266035"/>
                  <a:pt x="150112" y="269332"/>
                </a:cubicBezTo>
                <a:cubicBezTo>
                  <a:pt x="147746" y="271686"/>
                  <a:pt x="144541" y="272999"/>
                  <a:pt x="141204" y="272976"/>
                </a:cubicBezTo>
                <a:cubicBezTo>
                  <a:pt x="138317" y="272936"/>
                  <a:pt x="135489" y="272161"/>
                  <a:pt x="132990" y="270720"/>
                </a:cubicBezTo>
                <a:cubicBezTo>
                  <a:pt x="130780" y="269546"/>
                  <a:pt x="128322" y="268916"/>
                  <a:pt x="125817" y="268869"/>
                </a:cubicBezTo>
                <a:cubicBezTo>
                  <a:pt x="122757" y="268690"/>
                  <a:pt x="119842" y="270171"/>
                  <a:pt x="118182" y="272745"/>
                </a:cubicBezTo>
                <a:cubicBezTo>
                  <a:pt x="117528" y="273908"/>
                  <a:pt x="116377" y="274694"/>
                  <a:pt x="115058" y="274885"/>
                </a:cubicBezTo>
                <a:close/>
                <a:moveTo>
                  <a:pt x="102506" y="266556"/>
                </a:moveTo>
                <a:cubicBezTo>
                  <a:pt x="105236" y="266955"/>
                  <a:pt x="107787" y="268140"/>
                  <a:pt x="109852" y="269968"/>
                </a:cubicBezTo>
                <a:cubicBezTo>
                  <a:pt x="111339" y="271270"/>
                  <a:pt x="113132" y="272184"/>
                  <a:pt x="115058" y="272629"/>
                </a:cubicBezTo>
                <a:cubicBezTo>
                  <a:pt x="115521" y="272629"/>
                  <a:pt x="116157" y="272629"/>
                  <a:pt x="116851" y="271357"/>
                </a:cubicBezTo>
                <a:cubicBezTo>
                  <a:pt x="118916" y="268083"/>
                  <a:pt x="122590" y="266180"/>
                  <a:pt x="126453" y="266382"/>
                </a:cubicBezTo>
                <a:cubicBezTo>
                  <a:pt x="129346" y="266394"/>
                  <a:pt x="132192" y="267128"/>
                  <a:pt x="134725" y="268522"/>
                </a:cubicBezTo>
                <a:cubicBezTo>
                  <a:pt x="136889" y="269778"/>
                  <a:pt x="139341" y="270460"/>
                  <a:pt x="141840" y="270489"/>
                </a:cubicBezTo>
                <a:cubicBezTo>
                  <a:pt x="144582" y="270547"/>
                  <a:pt x="147225" y="269459"/>
                  <a:pt x="149129" y="267481"/>
                </a:cubicBezTo>
                <a:cubicBezTo>
                  <a:pt x="153235" y="263374"/>
                  <a:pt x="165846" y="261118"/>
                  <a:pt x="173018" y="261118"/>
                </a:cubicBezTo>
                <a:cubicBezTo>
                  <a:pt x="174783" y="261026"/>
                  <a:pt x="176547" y="261257"/>
                  <a:pt x="178224" y="261812"/>
                </a:cubicBezTo>
                <a:cubicBezTo>
                  <a:pt x="180521" y="262975"/>
                  <a:pt x="183008" y="263698"/>
                  <a:pt x="185570" y="263952"/>
                </a:cubicBezTo>
                <a:cubicBezTo>
                  <a:pt x="186438" y="264039"/>
                  <a:pt x="187294" y="263721"/>
                  <a:pt x="187884" y="263085"/>
                </a:cubicBezTo>
                <a:cubicBezTo>
                  <a:pt x="188521" y="262217"/>
                  <a:pt x="189041" y="260135"/>
                  <a:pt x="187884" y="255276"/>
                </a:cubicBezTo>
                <a:cubicBezTo>
                  <a:pt x="184876" y="244864"/>
                  <a:pt x="190487" y="242434"/>
                  <a:pt x="194536" y="240699"/>
                </a:cubicBezTo>
                <a:cubicBezTo>
                  <a:pt x="196561" y="239832"/>
                  <a:pt x="198296" y="239080"/>
                  <a:pt x="198759" y="237633"/>
                </a:cubicBezTo>
                <a:cubicBezTo>
                  <a:pt x="199800" y="234568"/>
                  <a:pt x="204023" y="232601"/>
                  <a:pt x="208072" y="230692"/>
                </a:cubicBezTo>
                <a:cubicBezTo>
                  <a:pt x="210617" y="229535"/>
                  <a:pt x="213856" y="228031"/>
                  <a:pt x="213856" y="226932"/>
                </a:cubicBezTo>
                <a:cubicBezTo>
                  <a:pt x="213856" y="226932"/>
                  <a:pt x="213856" y="226932"/>
                  <a:pt x="213856" y="226470"/>
                </a:cubicBezTo>
                <a:cubicBezTo>
                  <a:pt x="206759" y="219910"/>
                  <a:pt x="199002" y="214097"/>
                  <a:pt x="190719" y="209116"/>
                </a:cubicBezTo>
                <a:lnTo>
                  <a:pt x="185513" y="205588"/>
                </a:lnTo>
                <a:cubicBezTo>
                  <a:pt x="181516" y="201469"/>
                  <a:pt x="179063" y="196095"/>
                  <a:pt x="178571" y="190375"/>
                </a:cubicBezTo>
                <a:cubicBezTo>
                  <a:pt x="178085" y="187558"/>
                  <a:pt x="177229" y="184816"/>
                  <a:pt x="176026" y="182218"/>
                </a:cubicBezTo>
                <a:cubicBezTo>
                  <a:pt x="175506" y="181177"/>
                  <a:pt x="174812" y="180136"/>
                  <a:pt x="174175" y="179095"/>
                </a:cubicBezTo>
                <a:cubicBezTo>
                  <a:pt x="171861" y="175509"/>
                  <a:pt x="169548" y="171807"/>
                  <a:pt x="170704" y="168972"/>
                </a:cubicBezTo>
                <a:cubicBezTo>
                  <a:pt x="171584" y="167370"/>
                  <a:pt x="173174" y="166271"/>
                  <a:pt x="174985" y="166022"/>
                </a:cubicBezTo>
                <a:lnTo>
                  <a:pt x="175853" y="166022"/>
                </a:lnTo>
                <a:cubicBezTo>
                  <a:pt x="183662" y="164229"/>
                  <a:pt x="196734" y="161221"/>
                  <a:pt x="202924" y="155610"/>
                </a:cubicBezTo>
                <a:cubicBezTo>
                  <a:pt x="207141" y="152354"/>
                  <a:pt x="212017" y="150046"/>
                  <a:pt x="217211" y="148842"/>
                </a:cubicBezTo>
                <a:cubicBezTo>
                  <a:pt x="220115" y="148206"/>
                  <a:pt x="222868" y="147009"/>
                  <a:pt x="225309" y="145314"/>
                </a:cubicBezTo>
                <a:cubicBezTo>
                  <a:pt x="226368" y="144313"/>
                  <a:pt x="227791" y="143793"/>
                  <a:pt x="229243" y="143868"/>
                </a:cubicBezTo>
                <a:cubicBezTo>
                  <a:pt x="230949" y="143966"/>
                  <a:pt x="232639" y="144255"/>
                  <a:pt x="234275" y="144735"/>
                </a:cubicBezTo>
                <a:cubicBezTo>
                  <a:pt x="235531" y="145152"/>
                  <a:pt x="236832" y="145401"/>
                  <a:pt x="238151" y="145487"/>
                </a:cubicBezTo>
                <a:cubicBezTo>
                  <a:pt x="239134" y="145487"/>
                  <a:pt x="239481" y="145198"/>
                  <a:pt x="239713" y="144851"/>
                </a:cubicBezTo>
                <a:cubicBezTo>
                  <a:pt x="242640" y="140802"/>
                  <a:pt x="242912" y="135411"/>
                  <a:pt x="240407" y="131084"/>
                </a:cubicBezTo>
                <a:cubicBezTo>
                  <a:pt x="235808" y="124507"/>
                  <a:pt x="233385" y="116664"/>
                  <a:pt x="233465" y="108641"/>
                </a:cubicBezTo>
                <a:cubicBezTo>
                  <a:pt x="233460" y="105286"/>
                  <a:pt x="232667" y="101977"/>
                  <a:pt x="231152" y="98981"/>
                </a:cubicBezTo>
                <a:cubicBezTo>
                  <a:pt x="230273" y="97471"/>
                  <a:pt x="229810" y="95753"/>
                  <a:pt x="229822" y="94006"/>
                </a:cubicBezTo>
                <a:cubicBezTo>
                  <a:pt x="230151" y="89257"/>
                  <a:pt x="228115" y="84647"/>
                  <a:pt x="224384" y="81685"/>
                </a:cubicBezTo>
                <a:cubicBezTo>
                  <a:pt x="222186" y="80470"/>
                  <a:pt x="220219" y="79140"/>
                  <a:pt x="219699" y="76942"/>
                </a:cubicBezTo>
                <a:cubicBezTo>
                  <a:pt x="219398" y="74131"/>
                  <a:pt x="220277" y="71325"/>
                  <a:pt x="222128" y="69191"/>
                </a:cubicBezTo>
                <a:cubicBezTo>
                  <a:pt x="226004" y="63117"/>
                  <a:pt x="224442" y="46574"/>
                  <a:pt x="222649" y="41715"/>
                </a:cubicBezTo>
                <a:cubicBezTo>
                  <a:pt x="222359" y="40691"/>
                  <a:pt x="222359" y="39615"/>
                  <a:pt x="222649" y="38591"/>
                </a:cubicBezTo>
                <a:cubicBezTo>
                  <a:pt x="221434" y="37718"/>
                  <a:pt x="220636" y="36376"/>
                  <a:pt x="220450" y="34889"/>
                </a:cubicBezTo>
                <a:cubicBezTo>
                  <a:pt x="219467" y="29799"/>
                  <a:pt x="216749" y="26907"/>
                  <a:pt x="205411" y="26907"/>
                </a:cubicBezTo>
                <a:cubicBezTo>
                  <a:pt x="203907" y="26907"/>
                  <a:pt x="201825" y="26907"/>
                  <a:pt x="201073" y="25229"/>
                </a:cubicBezTo>
                <a:cubicBezTo>
                  <a:pt x="200321" y="23552"/>
                  <a:pt x="201767" y="21238"/>
                  <a:pt x="203792" y="18519"/>
                </a:cubicBezTo>
                <a:cubicBezTo>
                  <a:pt x="205816" y="15801"/>
                  <a:pt x="208303" y="12446"/>
                  <a:pt x="206915" y="10710"/>
                </a:cubicBezTo>
                <a:cubicBezTo>
                  <a:pt x="205527" y="8975"/>
                  <a:pt x="202519" y="10710"/>
                  <a:pt x="198990" y="13082"/>
                </a:cubicBezTo>
                <a:cubicBezTo>
                  <a:pt x="195346" y="15829"/>
                  <a:pt x="191031" y="17547"/>
                  <a:pt x="186496" y="18057"/>
                </a:cubicBezTo>
                <a:cubicBezTo>
                  <a:pt x="185397" y="18057"/>
                  <a:pt x="184304" y="17883"/>
                  <a:pt x="183257" y="17536"/>
                </a:cubicBezTo>
                <a:cubicBezTo>
                  <a:pt x="182435" y="17258"/>
                  <a:pt x="181579" y="17119"/>
                  <a:pt x="180711" y="17131"/>
                </a:cubicBezTo>
                <a:cubicBezTo>
                  <a:pt x="174291" y="17131"/>
                  <a:pt x="166713" y="23783"/>
                  <a:pt x="160061" y="29683"/>
                </a:cubicBezTo>
                <a:cubicBezTo>
                  <a:pt x="157747" y="31708"/>
                  <a:pt x="155607" y="33674"/>
                  <a:pt x="153640" y="35468"/>
                </a:cubicBezTo>
                <a:cubicBezTo>
                  <a:pt x="151442" y="37139"/>
                  <a:pt x="148764" y="38047"/>
                  <a:pt x="146005" y="38071"/>
                </a:cubicBezTo>
                <a:cubicBezTo>
                  <a:pt x="142210" y="38180"/>
                  <a:pt x="138659" y="36208"/>
                  <a:pt x="136750" y="32922"/>
                </a:cubicBezTo>
                <a:cubicBezTo>
                  <a:pt x="135234" y="29799"/>
                  <a:pt x="135662" y="26079"/>
                  <a:pt x="137849" y="23378"/>
                </a:cubicBezTo>
                <a:cubicBezTo>
                  <a:pt x="140683" y="19329"/>
                  <a:pt x="140278" y="18230"/>
                  <a:pt x="140220" y="18114"/>
                </a:cubicBezTo>
                <a:cubicBezTo>
                  <a:pt x="140163" y="17999"/>
                  <a:pt x="139700" y="17767"/>
                  <a:pt x="138890" y="17767"/>
                </a:cubicBezTo>
                <a:cubicBezTo>
                  <a:pt x="135656" y="18120"/>
                  <a:pt x="132498" y="18959"/>
                  <a:pt x="129519" y="20254"/>
                </a:cubicBezTo>
                <a:cubicBezTo>
                  <a:pt x="127130" y="21128"/>
                  <a:pt x="124603" y="21579"/>
                  <a:pt x="122058" y="21585"/>
                </a:cubicBezTo>
                <a:cubicBezTo>
                  <a:pt x="117563" y="21793"/>
                  <a:pt x="113196" y="20093"/>
                  <a:pt x="110026" y="16900"/>
                </a:cubicBezTo>
                <a:cubicBezTo>
                  <a:pt x="108198" y="14829"/>
                  <a:pt x="107377" y="12058"/>
                  <a:pt x="107770" y="9322"/>
                </a:cubicBezTo>
                <a:cubicBezTo>
                  <a:pt x="107973" y="7633"/>
                  <a:pt x="107608" y="5921"/>
                  <a:pt x="106729" y="4463"/>
                </a:cubicBezTo>
                <a:cubicBezTo>
                  <a:pt x="103460" y="5093"/>
                  <a:pt x="100105" y="5093"/>
                  <a:pt x="96837" y="4463"/>
                </a:cubicBezTo>
                <a:cubicBezTo>
                  <a:pt x="89485" y="2843"/>
                  <a:pt x="81977" y="2068"/>
                  <a:pt x="74451" y="2149"/>
                </a:cubicBezTo>
                <a:cubicBezTo>
                  <a:pt x="77344" y="6372"/>
                  <a:pt x="80236" y="10652"/>
                  <a:pt x="77980" y="14412"/>
                </a:cubicBezTo>
                <a:cubicBezTo>
                  <a:pt x="75435" y="19329"/>
                  <a:pt x="77980" y="24188"/>
                  <a:pt x="82029" y="30898"/>
                </a:cubicBezTo>
                <a:cubicBezTo>
                  <a:pt x="83070" y="32691"/>
                  <a:pt x="84169" y="34658"/>
                  <a:pt x="85268" y="36682"/>
                </a:cubicBezTo>
                <a:cubicBezTo>
                  <a:pt x="86541" y="38337"/>
                  <a:pt x="86830" y="40546"/>
                  <a:pt x="86020" y="42467"/>
                </a:cubicBezTo>
                <a:cubicBezTo>
                  <a:pt x="84979" y="44607"/>
                  <a:pt x="82087" y="45070"/>
                  <a:pt x="79253" y="45533"/>
                </a:cubicBezTo>
                <a:cubicBezTo>
                  <a:pt x="76418" y="45995"/>
                  <a:pt x="73815" y="46574"/>
                  <a:pt x="73468" y="48367"/>
                </a:cubicBezTo>
                <a:cubicBezTo>
                  <a:pt x="73121" y="50160"/>
                  <a:pt x="72600" y="52127"/>
                  <a:pt x="68609" y="52127"/>
                </a:cubicBezTo>
                <a:cubicBezTo>
                  <a:pt x="62657" y="51242"/>
                  <a:pt x="56913" y="49281"/>
                  <a:pt x="51661" y="46342"/>
                </a:cubicBezTo>
                <a:cubicBezTo>
                  <a:pt x="49515" y="45556"/>
                  <a:pt x="47236" y="45203"/>
                  <a:pt x="44951" y="45301"/>
                </a:cubicBezTo>
                <a:cubicBezTo>
                  <a:pt x="40740" y="44983"/>
                  <a:pt x="36529" y="45926"/>
                  <a:pt x="32861" y="48020"/>
                </a:cubicBezTo>
                <a:cubicBezTo>
                  <a:pt x="32781" y="48164"/>
                  <a:pt x="32781" y="48338"/>
                  <a:pt x="32861" y="48483"/>
                </a:cubicBezTo>
                <a:cubicBezTo>
                  <a:pt x="32995" y="50444"/>
                  <a:pt x="32740" y="52410"/>
                  <a:pt x="32109" y="54267"/>
                </a:cubicBezTo>
                <a:cubicBezTo>
                  <a:pt x="34712" y="63753"/>
                  <a:pt x="34886" y="70001"/>
                  <a:pt x="32688" y="73356"/>
                </a:cubicBezTo>
                <a:cubicBezTo>
                  <a:pt x="29709" y="77648"/>
                  <a:pt x="25741" y="81159"/>
                  <a:pt x="21119" y="83594"/>
                </a:cubicBezTo>
                <a:cubicBezTo>
                  <a:pt x="20136" y="84173"/>
                  <a:pt x="18863" y="84867"/>
                  <a:pt x="18747" y="85214"/>
                </a:cubicBezTo>
                <a:lnTo>
                  <a:pt x="21003" y="87585"/>
                </a:lnTo>
                <a:cubicBezTo>
                  <a:pt x="24763" y="91577"/>
                  <a:pt x="29969" y="97014"/>
                  <a:pt x="27656" y="100774"/>
                </a:cubicBezTo>
                <a:cubicBezTo>
                  <a:pt x="26892" y="102087"/>
                  <a:pt x="25770" y="103151"/>
                  <a:pt x="24416" y="103840"/>
                </a:cubicBezTo>
                <a:cubicBezTo>
                  <a:pt x="23028" y="104707"/>
                  <a:pt x="22160" y="105170"/>
                  <a:pt x="22160" y="109103"/>
                </a:cubicBezTo>
                <a:cubicBezTo>
                  <a:pt x="22160" y="117491"/>
                  <a:pt x="9782" y="117491"/>
                  <a:pt x="5732" y="117491"/>
                </a:cubicBezTo>
                <a:lnTo>
                  <a:pt x="5270" y="117491"/>
                </a:lnTo>
                <a:cubicBezTo>
                  <a:pt x="5056" y="118601"/>
                  <a:pt x="5056" y="119735"/>
                  <a:pt x="5270" y="120846"/>
                </a:cubicBezTo>
                <a:cubicBezTo>
                  <a:pt x="6045" y="123744"/>
                  <a:pt x="5929" y="126810"/>
                  <a:pt x="4923" y="129638"/>
                </a:cubicBezTo>
                <a:cubicBezTo>
                  <a:pt x="3419" y="134653"/>
                  <a:pt x="2580" y="139848"/>
                  <a:pt x="2436" y="145083"/>
                </a:cubicBezTo>
                <a:cubicBezTo>
                  <a:pt x="2436" y="147512"/>
                  <a:pt x="2031" y="149652"/>
                  <a:pt x="1799" y="151214"/>
                </a:cubicBezTo>
                <a:cubicBezTo>
                  <a:pt x="1568" y="152776"/>
                  <a:pt x="3592" y="156593"/>
                  <a:pt x="5501" y="159544"/>
                </a:cubicBezTo>
                <a:cubicBezTo>
                  <a:pt x="7410" y="162494"/>
                  <a:pt x="9550" y="165791"/>
                  <a:pt x="9088" y="168220"/>
                </a:cubicBezTo>
                <a:cubicBezTo>
                  <a:pt x="8393" y="170291"/>
                  <a:pt x="7202" y="172159"/>
                  <a:pt x="5617" y="173658"/>
                </a:cubicBezTo>
                <a:cubicBezTo>
                  <a:pt x="3824" y="175682"/>
                  <a:pt x="2783" y="176955"/>
                  <a:pt x="3303" y="177996"/>
                </a:cubicBezTo>
                <a:cubicBezTo>
                  <a:pt x="3696" y="178736"/>
                  <a:pt x="4159" y="179430"/>
                  <a:pt x="4691" y="180078"/>
                </a:cubicBezTo>
                <a:cubicBezTo>
                  <a:pt x="9041" y="185950"/>
                  <a:pt x="11575" y="192966"/>
                  <a:pt x="11980" y="200266"/>
                </a:cubicBezTo>
                <a:cubicBezTo>
                  <a:pt x="14195" y="200792"/>
                  <a:pt x="16208" y="201955"/>
                  <a:pt x="17764" y="203621"/>
                </a:cubicBezTo>
                <a:cubicBezTo>
                  <a:pt x="21692" y="208839"/>
                  <a:pt x="27899" y="211835"/>
                  <a:pt x="34423" y="211661"/>
                </a:cubicBezTo>
                <a:cubicBezTo>
                  <a:pt x="38114" y="211719"/>
                  <a:pt x="41706" y="212888"/>
                  <a:pt x="44720" y="215016"/>
                </a:cubicBezTo>
                <a:cubicBezTo>
                  <a:pt x="46339" y="216000"/>
                  <a:pt x="47554" y="216752"/>
                  <a:pt x="48769" y="216520"/>
                </a:cubicBezTo>
                <a:lnTo>
                  <a:pt x="49983" y="216520"/>
                </a:lnTo>
                <a:cubicBezTo>
                  <a:pt x="52587" y="216520"/>
                  <a:pt x="57156" y="217677"/>
                  <a:pt x="58313" y="220743"/>
                </a:cubicBezTo>
                <a:cubicBezTo>
                  <a:pt x="59065" y="222883"/>
                  <a:pt x="58313" y="225255"/>
                  <a:pt x="55132" y="227626"/>
                </a:cubicBezTo>
                <a:cubicBezTo>
                  <a:pt x="49827" y="232798"/>
                  <a:pt x="46478" y="239646"/>
                  <a:pt x="45645" y="247004"/>
                </a:cubicBezTo>
                <a:lnTo>
                  <a:pt x="45182" y="248913"/>
                </a:lnTo>
                <a:cubicBezTo>
                  <a:pt x="44679" y="251533"/>
                  <a:pt x="44315" y="254177"/>
                  <a:pt x="44083" y="256838"/>
                </a:cubicBezTo>
                <a:cubicBezTo>
                  <a:pt x="43922" y="259319"/>
                  <a:pt x="43615" y="261795"/>
                  <a:pt x="43158" y="264242"/>
                </a:cubicBezTo>
                <a:cubicBezTo>
                  <a:pt x="47265" y="264589"/>
                  <a:pt x="50909" y="264762"/>
                  <a:pt x="54033" y="264762"/>
                </a:cubicBezTo>
                <a:cubicBezTo>
                  <a:pt x="57538" y="265057"/>
                  <a:pt x="61067" y="264600"/>
                  <a:pt x="64387" y="263432"/>
                </a:cubicBezTo>
                <a:cubicBezTo>
                  <a:pt x="67383" y="261766"/>
                  <a:pt x="70738" y="260852"/>
                  <a:pt x="74162" y="260771"/>
                </a:cubicBezTo>
                <a:cubicBezTo>
                  <a:pt x="77436" y="260881"/>
                  <a:pt x="80676" y="261483"/>
                  <a:pt x="83765" y="262564"/>
                </a:cubicBezTo>
                <a:cubicBezTo>
                  <a:pt x="88884" y="264305"/>
                  <a:pt x="93852" y="266451"/>
                  <a:pt x="98630" y="268985"/>
                </a:cubicBezTo>
                <a:cubicBezTo>
                  <a:pt x="99250" y="267556"/>
                  <a:pt x="100563" y="266556"/>
                  <a:pt x="102101" y="26632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0" name="Forma libre: forma 359">
            <a:extLst>
              <a:ext uri="{FF2B5EF4-FFF2-40B4-BE49-F238E27FC236}">
                <a16:creationId xmlns:a16="http://schemas.microsoft.com/office/drawing/2014/main" id="{C55659EA-6076-ACE6-EF78-E73B891C2761}"/>
              </a:ext>
            </a:extLst>
          </p:cNvPr>
          <p:cNvSpPr/>
          <p:nvPr/>
        </p:nvSpPr>
        <p:spPr>
          <a:xfrm>
            <a:off x="6752067" y="2134345"/>
            <a:ext cx="288359" cy="455593"/>
          </a:xfrm>
          <a:custGeom>
            <a:avLst/>
            <a:gdLst>
              <a:gd name="connsiteX0" fmla="*/ 78256 w 288359"/>
              <a:gd name="connsiteY0" fmla="*/ 455408 h 455593"/>
              <a:gd name="connsiteX1" fmla="*/ 58010 w 288359"/>
              <a:gd name="connsiteY1" fmla="*/ 450318 h 455593"/>
              <a:gd name="connsiteX2" fmla="*/ 51242 w 288359"/>
              <a:gd name="connsiteY2" fmla="*/ 448814 h 455593"/>
              <a:gd name="connsiteX3" fmla="*/ 48929 w 288359"/>
              <a:gd name="connsiteY3" fmla="*/ 449161 h 455593"/>
              <a:gd name="connsiteX4" fmla="*/ 41698 w 288359"/>
              <a:gd name="connsiteY4" fmla="*/ 444418 h 455593"/>
              <a:gd name="connsiteX5" fmla="*/ 34468 w 288359"/>
              <a:gd name="connsiteY5" fmla="*/ 439964 h 455593"/>
              <a:gd name="connsiteX6" fmla="*/ 33542 w 288359"/>
              <a:gd name="connsiteY6" fmla="*/ 439964 h 455593"/>
              <a:gd name="connsiteX7" fmla="*/ 19313 w 288359"/>
              <a:gd name="connsiteY7" fmla="*/ 434179 h 455593"/>
              <a:gd name="connsiteX8" fmla="*/ 9190 w 288359"/>
              <a:gd name="connsiteY8" fmla="*/ 429957 h 455593"/>
              <a:gd name="connsiteX9" fmla="*/ 6356 w 288359"/>
              <a:gd name="connsiteY9" fmla="*/ 429089 h 455593"/>
              <a:gd name="connsiteX10" fmla="*/ 15148 w 288359"/>
              <a:gd name="connsiteY10" fmla="*/ 400167 h 455593"/>
              <a:gd name="connsiteX11" fmla="*/ 11908 w 288359"/>
              <a:gd name="connsiteY11" fmla="*/ 373906 h 455593"/>
              <a:gd name="connsiteX12" fmla="*/ 10231 w 288359"/>
              <a:gd name="connsiteY12" fmla="*/ 370377 h 455593"/>
              <a:gd name="connsiteX13" fmla="*/ 9884 w 288359"/>
              <a:gd name="connsiteY13" fmla="*/ 363205 h 455593"/>
              <a:gd name="connsiteX14" fmla="*/ 7570 w 288359"/>
              <a:gd name="connsiteY14" fmla="*/ 351636 h 455593"/>
              <a:gd name="connsiteX15" fmla="*/ 2653 w 288359"/>
              <a:gd name="connsiteY15" fmla="*/ 340067 h 455593"/>
              <a:gd name="connsiteX16" fmla="*/ 7107 w 288359"/>
              <a:gd name="connsiteY16" fmla="*/ 334282 h 455593"/>
              <a:gd name="connsiteX17" fmla="*/ 11619 w 288359"/>
              <a:gd name="connsiteY17" fmla="*/ 326242 h 455593"/>
              <a:gd name="connsiteX18" fmla="*/ 19775 w 288359"/>
              <a:gd name="connsiteY18" fmla="*/ 316813 h 455593"/>
              <a:gd name="connsiteX19" fmla="*/ 36145 w 288359"/>
              <a:gd name="connsiteY19" fmla="*/ 312996 h 455593"/>
              <a:gd name="connsiteX20" fmla="*/ 37649 w 288359"/>
              <a:gd name="connsiteY20" fmla="*/ 308715 h 455593"/>
              <a:gd name="connsiteX21" fmla="*/ 53036 w 288359"/>
              <a:gd name="connsiteY21" fmla="*/ 292635 h 455593"/>
              <a:gd name="connsiteX22" fmla="*/ 59341 w 288359"/>
              <a:gd name="connsiteY22" fmla="*/ 286850 h 455593"/>
              <a:gd name="connsiteX23" fmla="*/ 69348 w 288359"/>
              <a:gd name="connsiteY23" fmla="*/ 279851 h 455593"/>
              <a:gd name="connsiteX24" fmla="*/ 96245 w 288359"/>
              <a:gd name="connsiteY24" fmla="*/ 253243 h 455593"/>
              <a:gd name="connsiteX25" fmla="*/ 107814 w 288359"/>
              <a:gd name="connsiteY25" fmla="*/ 238897 h 455593"/>
              <a:gd name="connsiteX26" fmla="*/ 112615 w 288359"/>
              <a:gd name="connsiteY26" fmla="*/ 240401 h 455593"/>
              <a:gd name="connsiteX27" fmla="*/ 115276 w 288359"/>
              <a:gd name="connsiteY27" fmla="*/ 241327 h 455593"/>
              <a:gd name="connsiteX28" fmla="*/ 115739 w 288359"/>
              <a:gd name="connsiteY28" fmla="*/ 232361 h 455593"/>
              <a:gd name="connsiteX29" fmla="*/ 115739 w 288359"/>
              <a:gd name="connsiteY29" fmla="*/ 231782 h 455593"/>
              <a:gd name="connsiteX30" fmla="*/ 115739 w 288359"/>
              <a:gd name="connsiteY30" fmla="*/ 228254 h 455593"/>
              <a:gd name="connsiteX31" fmla="*/ 106773 w 288359"/>
              <a:gd name="connsiteY31" fmla="*/ 211710 h 455593"/>
              <a:gd name="connsiteX32" fmla="*/ 101567 w 288359"/>
              <a:gd name="connsiteY32" fmla="*/ 209281 h 455593"/>
              <a:gd name="connsiteX33" fmla="*/ 85024 w 288359"/>
              <a:gd name="connsiteY33" fmla="*/ 202744 h 455593"/>
              <a:gd name="connsiteX34" fmla="*/ 84156 w 288359"/>
              <a:gd name="connsiteY34" fmla="*/ 201761 h 455593"/>
              <a:gd name="connsiteX35" fmla="*/ 80627 w 288359"/>
              <a:gd name="connsiteY35" fmla="*/ 188920 h 455593"/>
              <a:gd name="connsiteX36" fmla="*/ 72876 w 288359"/>
              <a:gd name="connsiteY36" fmla="*/ 174632 h 455593"/>
              <a:gd name="connsiteX37" fmla="*/ 76231 w 288359"/>
              <a:gd name="connsiteY37" fmla="*/ 172781 h 455593"/>
              <a:gd name="connsiteX38" fmla="*/ 80627 w 288359"/>
              <a:gd name="connsiteY38" fmla="*/ 166650 h 455593"/>
              <a:gd name="connsiteX39" fmla="*/ 76983 w 288359"/>
              <a:gd name="connsiteY39" fmla="*/ 151610 h 455593"/>
              <a:gd name="connsiteX40" fmla="*/ 72703 w 288359"/>
              <a:gd name="connsiteY40" fmla="*/ 137496 h 455593"/>
              <a:gd name="connsiteX41" fmla="*/ 70447 w 288359"/>
              <a:gd name="connsiteY41" fmla="*/ 126853 h 455593"/>
              <a:gd name="connsiteX42" fmla="*/ 67786 w 288359"/>
              <a:gd name="connsiteY42" fmla="*/ 104872 h 455593"/>
              <a:gd name="connsiteX43" fmla="*/ 68654 w 288359"/>
              <a:gd name="connsiteY43" fmla="*/ 99782 h 455593"/>
              <a:gd name="connsiteX44" fmla="*/ 41004 w 288359"/>
              <a:gd name="connsiteY44" fmla="*/ 82081 h 455593"/>
              <a:gd name="connsiteX45" fmla="*/ 30361 w 288359"/>
              <a:gd name="connsiteY45" fmla="*/ 77627 h 455593"/>
              <a:gd name="connsiteX46" fmla="*/ 11098 w 288359"/>
              <a:gd name="connsiteY46" fmla="*/ 64265 h 455593"/>
              <a:gd name="connsiteX47" fmla="*/ 397 w 288359"/>
              <a:gd name="connsiteY47" fmla="*/ 55820 h 455593"/>
              <a:gd name="connsiteX48" fmla="*/ -8 w 288359"/>
              <a:gd name="connsiteY48" fmla="*/ 54432 h 455593"/>
              <a:gd name="connsiteX49" fmla="*/ 19255 w 288359"/>
              <a:gd name="connsiteY49" fmla="*/ 40433 h 455593"/>
              <a:gd name="connsiteX50" fmla="*/ 33427 w 288359"/>
              <a:gd name="connsiteY50" fmla="*/ 50788 h 455593"/>
              <a:gd name="connsiteX51" fmla="*/ 49218 w 288359"/>
              <a:gd name="connsiteY51" fmla="*/ 62356 h 455593"/>
              <a:gd name="connsiteX52" fmla="*/ 57490 w 288359"/>
              <a:gd name="connsiteY52" fmla="*/ 64207 h 455593"/>
              <a:gd name="connsiteX53" fmla="*/ 71662 w 288359"/>
              <a:gd name="connsiteY53" fmla="*/ 66753 h 455593"/>
              <a:gd name="connsiteX54" fmla="*/ 77851 w 288359"/>
              <a:gd name="connsiteY54" fmla="*/ 64150 h 455593"/>
              <a:gd name="connsiteX55" fmla="*/ 82536 w 288359"/>
              <a:gd name="connsiteY55" fmla="*/ 61431 h 455593"/>
              <a:gd name="connsiteX56" fmla="*/ 89131 w 288359"/>
              <a:gd name="connsiteY56" fmla="*/ 63282 h 455593"/>
              <a:gd name="connsiteX57" fmla="*/ 99253 w 288359"/>
              <a:gd name="connsiteY57" fmla="*/ 64959 h 455593"/>
              <a:gd name="connsiteX58" fmla="*/ 101162 w 288359"/>
              <a:gd name="connsiteY58" fmla="*/ 64612 h 455593"/>
              <a:gd name="connsiteX59" fmla="*/ 107583 w 288359"/>
              <a:gd name="connsiteY59" fmla="*/ 69355 h 455593"/>
              <a:gd name="connsiteX60" fmla="*/ 110706 w 288359"/>
              <a:gd name="connsiteY60" fmla="*/ 72248 h 455593"/>
              <a:gd name="connsiteX61" fmla="*/ 114235 w 288359"/>
              <a:gd name="connsiteY61" fmla="*/ 69298 h 455593"/>
              <a:gd name="connsiteX62" fmla="*/ 117822 w 288359"/>
              <a:gd name="connsiteY62" fmla="*/ 59059 h 455593"/>
              <a:gd name="connsiteX63" fmla="*/ 123953 w 288359"/>
              <a:gd name="connsiteY63" fmla="*/ 53275 h 455593"/>
              <a:gd name="connsiteX64" fmla="*/ 126961 w 288359"/>
              <a:gd name="connsiteY64" fmla="*/ 53275 h 455593"/>
              <a:gd name="connsiteX65" fmla="*/ 132167 w 288359"/>
              <a:gd name="connsiteY65" fmla="*/ 51944 h 455593"/>
              <a:gd name="connsiteX66" fmla="*/ 132167 w 288359"/>
              <a:gd name="connsiteY66" fmla="*/ 39566 h 455593"/>
              <a:gd name="connsiteX67" fmla="*/ 131010 w 288359"/>
              <a:gd name="connsiteY67" fmla="*/ 31005 h 455593"/>
              <a:gd name="connsiteX68" fmla="*/ 140496 w 288359"/>
              <a:gd name="connsiteY68" fmla="*/ 20188 h 455593"/>
              <a:gd name="connsiteX69" fmla="*/ 147842 w 288359"/>
              <a:gd name="connsiteY69" fmla="*/ 12842 h 455593"/>
              <a:gd name="connsiteX70" fmla="*/ 161205 w 288359"/>
              <a:gd name="connsiteY70" fmla="*/ 7520 h 455593"/>
              <a:gd name="connsiteX71" fmla="*/ 164906 w 288359"/>
              <a:gd name="connsiteY71" fmla="*/ 7520 h 455593"/>
              <a:gd name="connsiteX72" fmla="*/ 175376 w 288359"/>
              <a:gd name="connsiteY72" fmla="*/ 5669 h 455593"/>
              <a:gd name="connsiteX73" fmla="*/ 188507 w 288359"/>
              <a:gd name="connsiteY73" fmla="*/ -116 h 455593"/>
              <a:gd name="connsiteX74" fmla="*/ 199324 w 288359"/>
              <a:gd name="connsiteY74" fmla="*/ 5669 h 455593"/>
              <a:gd name="connsiteX75" fmla="*/ 214248 w 288359"/>
              <a:gd name="connsiteY75" fmla="*/ 15329 h 455593"/>
              <a:gd name="connsiteX76" fmla="*/ 228015 w 288359"/>
              <a:gd name="connsiteY76" fmla="*/ 25510 h 455593"/>
              <a:gd name="connsiteX77" fmla="*/ 228015 w 288359"/>
              <a:gd name="connsiteY77" fmla="*/ 35574 h 455593"/>
              <a:gd name="connsiteX78" fmla="*/ 228015 w 288359"/>
              <a:gd name="connsiteY78" fmla="*/ 40896 h 455593"/>
              <a:gd name="connsiteX79" fmla="*/ 227668 w 288359"/>
              <a:gd name="connsiteY79" fmla="*/ 41706 h 455593"/>
              <a:gd name="connsiteX80" fmla="*/ 221883 w 288359"/>
              <a:gd name="connsiteY80" fmla="*/ 51135 h 455593"/>
              <a:gd name="connsiteX81" fmla="*/ 214537 w 288359"/>
              <a:gd name="connsiteY81" fmla="*/ 56919 h 455593"/>
              <a:gd name="connsiteX82" fmla="*/ 211413 w 288359"/>
              <a:gd name="connsiteY82" fmla="*/ 58828 h 455593"/>
              <a:gd name="connsiteX83" fmla="*/ 207075 w 288359"/>
              <a:gd name="connsiteY83" fmla="*/ 74099 h 455593"/>
              <a:gd name="connsiteX84" fmla="*/ 208232 w 288359"/>
              <a:gd name="connsiteY84" fmla="*/ 82775 h 455593"/>
              <a:gd name="connsiteX85" fmla="*/ 211297 w 288359"/>
              <a:gd name="connsiteY85" fmla="*/ 88155 h 455593"/>
              <a:gd name="connsiteX86" fmla="*/ 222866 w 288359"/>
              <a:gd name="connsiteY86" fmla="*/ 95675 h 455593"/>
              <a:gd name="connsiteX87" fmla="*/ 227957 w 288359"/>
              <a:gd name="connsiteY87" fmla="*/ 97468 h 455593"/>
              <a:gd name="connsiteX88" fmla="*/ 247855 w 288359"/>
              <a:gd name="connsiteY88" fmla="*/ 118639 h 455593"/>
              <a:gd name="connsiteX89" fmla="*/ 230502 w 288359"/>
              <a:gd name="connsiteY89" fmla="*/ 139752 h 455593"/>
              <a:gd name="connsiteX90" fmla="*/ 222172 w 288359"/>
              <a:gd name="connsiteY90" fmla="*/ 150627 h 455593"/>
              <a:gd name="connsiteX91" fmla="*/ 222693 w 288359"/>
              <a:gd name="connsiteY91" fmla="*/ 154329 h 455593"/>
              <a:gd name="connsiteX92" fmla="*/ 223850 w 288359"/>
              <a:gd name="connsiteY92" fmla="*/ 156006 h 455593"/>
              <a:gd name="connsiteX93" fmla="*/ 248607 w 288359"/>
              <a:gd name="connsiteY93" fmla="*/ 195630 h 455593"/>
              <a:gd name="connsiteX94" fmla="*/ 251558 w 288359"/>
              <a:gd name="connsiteY94" fmla="*/ 206331 h 455593"/>
              <a:gd name="connsiteX95" fmla="*/ 246351 w 288359"/>
              <a:gd name="connsiteY95" fmla="*/ 209396 h 455593"/>
              <a:gd name="connsiteX96" fmla="*/ 239641 w 288359"/>
              <a:gd name="connsiteY96" fmla="*/ 212983 h 455593"/>
              <a:gd name="connsiteX97" fmla="*/ 241666 w 288359"/>
              <a:gd name="connsiteY97" fmla="*/ 228543 h 455593"/>
              <a:gd name="connsiteX98" fmla="*/ 243806 w 288359"/>
              <a:gd name="connsiteY98" fmla="*/ 232939 h 455593"/>
              <a:gd name="connsiteX99" fmla="*/ 239989 w 288359"/>
              <a:gd name="connsiteY99" fmla="*/ 238724 h 455593"/>
              <a:gd name="connsiteX100" fmla="*/ 237385 w 288359"/>
              <a:gd name="connsiteY100" fmla="*/ 241037 h 455593"/>
              <a:gd name="connsiteX101" fmla="*/ 244153 w 288359"/>
              <a:gd name="connsiteY101" fmla="*/ 245202 h 455593"/>
              <a:gd name="connsiteX102" fmla="*/ 251094 w 288359"/>
              <a:gd name="connsiteY102" fmla="*/ 249887 h 455593"/>
              <a:gd name="connsiteX103" fmla="*/ 248896 w 288359"/>
              <a:gd name="connsiteY103" fmla="*/ 254978 h 455593"/>
              <a:gd name="connsiteX104" fmla="*/ 246930 w 288359"/>
              <a:gd name="connsiteY104" fmla="*/ 263307 h 455593"/>
              <a:gd name="connsiteX105" fmla="*/ 253640 w 288359"/>
              <a:gd name="connsiteY105" fmla="*/ 268745 h 455593"/>
              <a:gd name="connsiteX106" fmla="*/ 261622 w 288359"/>
              <a:gd name="connsiteY106" fmla="*/ 278289 h 455593"/>
              <a:gd name="connsiteX107" fmla="*/ 251788 w 288359"/>
              <a:gd name="connsiteY107" fmla="*/ 288065 h 455593"/>
              <a:gd name="connsiteX108" fmla="*/ 244674 w 288359"/>
              <a:gd name="connsiteY108" fmla="*/ 293849 h 455593"/>
              <a:gd name="connsiteX109" fmla="*/ 257978 w 288359"/>
              <a:gd name="connsiteY109" fmla="*/ 304261 h 455593"/>
              <a:gd name="connsiteX110" fmla="*/ 279149 w 288359"/>
              <a:gd name="connsiteY110" fmla="*/ 319879 h 455593"/>
              <a:gd name="connsiteX111" fmla="*/ 286669 w 288359"/>
              <a:gd name="connsiteY111" fmla="*/ 343017 h 455593"/>
              <a:gd name="connsiteX112" fmla="*/ 266944 w 288359"/>
              <a:gd name="connsiteY112" fmla="*/ 362106 h 455593"/>
              <a:gd name="connsiteX113" fmla="*/ 246236 w 288359"/>
              <a:gd name="connsiteY113" fmla="*/ 381830 h 455593"/>
              <a:gd name="connsiteX114" fmla="*/ 221189 w 288359"/>
              <a:gd name="connsiteY114" fmla="*/ 403811 h 455593"/>
              <a:gd name="connsiteX115" fmla="*/ 203836 w 288359"/>
              <a:gd name="connsiteY115" fmla="*/ 416074 h 455593"/>
              <a:gd name="connsiteX116" fmla="*/ 190936 w 288359"/>
              <a:gd name="connsiteY116" fmla="*/ 432502 h 455593"/>
              <a:gd name="connsiteX117" fmla="*/ 190242 w 288359"/>
              <a:gd name="connsiteY117" fmla="*/ 432965 h 455593"/>
              <a:gd name="connsiteX118" fmla="*/ 165543 w 288359"/>
              <a:gd name="connsiteY118" fmla="*/ 435799 h 455593"/>
              <a:gd name="connsiteX119" fmla="*/ 126209 w 288359"/>
              <a:gd name="connsiteY119" fmla="*/ 444823 h 455593"/>
              <a:gd name="connsiteX120" fmla="*/ 80743 w 288359"/>
              <a:gd name="connsiteY120" fmla="*/ 455177 h 455593"/>
              <a:gd name="connsiteX121" fmla="*/ 53209 w 288359"/>
              <a:gd name="connsiteY121" fmla="*/ 446211 h 455593"/>
              <a:gd name="connsiteX122" fmla="*/ 58994 w 288359"/>
              <a:gd name="connsiteY122" fmla="*/ 448409 h 455593"/>
              <a:gd name="connsiteX123" fmla="*/ 80512 w 288359"/>
              <a:gd name="connsiteY123" fmla="*/ 453095 h 455593"/>
              <a:gd name="connsiteX124" fmla="*/ 125399 w 288359"/>
              <a:gd name="connsiteY124" fmla="*/ 442798 h 455593"/>
              <a:gd name="connsiteX125" fmla="*/ 165427 w 288359"/>
              <a:gd name="connsiteY125" fmla="*/ 433717 h 455593"/>
              <a:gd name="connsiteX126" fmla="*/ 189201 w 288359"/>
              <a:gd name="connsiteY126" fmla="*/ 431056 h 455593"/>
              <a:gd name="connsiteX127" fmla="*/ 202158 w 288359"/>
              <a:gd name="connsiteY127" fmla="*/ 414628 h 455593"/>
              <a:gd name="connsiteX128" fmla="*/ 219512 w 288359"/>
              <a:gd name="connsiteY128" fmla="*/ 402076 h 455593"/>
              <a:gd name="connsiteX129" fmla="*/ 243633 w 288359"/>
              <a:gd name="connsiteY129" fmla="*/ 381078 h 455593"/>
              <a:gd name="connsiteX130" fmla="*/ 265093 w 288359"/>
              <a:gd name="connsiteY130" fmla="*/ 360428 h 455593"/>
              <a:gd name="connsiteX131" fmla="*/ 284008 w 288359"/>
              <a:gd name="connsiteY131" fmla="*/ 342381 h 455593"/>
              <a:gd name="connsiteX132" fmla="*/ 276951 w 288359"/>
              <a:gd name="connsiteY132" fmla="*/ 321672 h 455593"/>
              <a:gd name="connsiteX133" fmla="*/ 256300 w 288359"/>
              <a:gd name="connsiteY133" fmla="*/ 306517 h 455593"/>
              <a:gd name="connsiteX134" fmla="*/ 241897 w 288359"/>
              <a:gd name="connsiteY134" fmla="*/ 294428 h 455593"/>
              <a:gd name="connsiteX135" fmla="*/ 250342 w 288359"/>
              <a:gd name="connsiteY135" fmla="*/ 286503 h 455593"/>
              <a:gd name="connsiteX136" fmla="*/ 258846 w 288359"/>
              <a:gd name="connsiteY136" fmla="*/ 279041 h 455593"/>
              <a:gd name="connsiteX137" fmla="*/ 251962 w 288359"/>
              <a:gd name="connsiteY137" fmla="*/ 271232 h 455593"/>
              <a:gd name="connsiteX138" fmla="*/ 244500 w 288359"/>
              <a:gd name="connsiteY138" fmla="*/ 265043 h 455593"/>
              <a:gd name="connsiteX139" fmla="*/ 246640 w 288359"/>
              <a:gd name="connsiteY139" fmla="*/ 254052 h 455593"/>
              <a:gd name="connsiteX140" fmla="*/ 248434 w 288359"/>
              <a:gd name="connsiteY140" fmla="*/ 250987 h 455593"/>
              <a:gd name="connsiteX141" fmla="*/ 242649 w 288359"/>
              <a:gd name="connsiteY141" fmla="*/ 247805 h 455593"/>
              <a:gd name="connsiteX142" fmla="*/ 234493 w 288359"/>
              <a:gd name="connsiteY142" fmla="*/ 242021 h 455593"/>
              <a:gd name="connsiteX143" fmla="*/ 238311 w 288359"/>
              <a:gd name="connsiteY143" fmla="*/ 237277 h 455593"/>
              <a:gd name="connsiteX144" fmla="*/ 240972 w 288359"/>
              <a:gd name="connsiteY144" fmla="*/ 234096 h 455593"/>
              <a:gd name="connsiteX145" fmla="*/ 239005 w 288359"/>
              <a:gd name="connsiteY145" fmla="*/ 230047 h 455593"/>
              <a:gd name="connsiteX146" fmla="*/ 237154 w 288359"/>
              <a:gd name="connsiteY146" fmla="*/ 212057 h 455593"/>
              <a:gd name="connsiteX147" fmla="*/ 245079 w 288359"/>
              <a:gd name="connsiteY147" fmla="*/ 207719 h 455593"/>
              <a:gd name="connsiteX148" fmla="*/ 248780 w 288359"/>
              <a:gd name="connsiteY148" fmla="*/ 205926 h 455593"/>
              <a:gd name="connsiteX149" fmla="*/ 245946 w 288359"/>
              <a:gd name="connsiteY149" fmla="*/ 197191 h 455593"/>
              <a:gd name="connsiteX150" fmla="*/ 221247 w 288359"/>
              <a:gd name="connsiteY150" fmla="*/ 157742 h 455593"/>
              <a:gd name="connsiteX151" fmla="*/ 220148 w 288359"/>
              <a:gd name="connsiteY151" fmla="*/ 156006 h 455593"/>
              <a:gd name="connsiteX152" fmla="*/ 219222 w 288359"/>
              <a:gd name="connsiteY152" fmla="*/ 150685 h 455593"/>
              <a:gd name="connsiteX153" fmla="*/ 228535 w 288359"/>
              <a:gd name="connsiteY153" fmla="*/ 138364 h 455593"/>
              <a:gd name="connsiteX154" fmla="*/ 245021 w 288359"/>
              <a:gd name="connsiteY154" fmla="*/ 119102 h 455593"/>
              <a:gd name="connsiteX155" fmla="*/ 226164 w 288359"/>
              <a:gd name="connsiteY155" fmla="*/ 99840 h 455593"/>
              <a:gd name="connsiteX156" fmla="*/ 221652 w 288359"/>
              <a:gd name="connsiteY156" fmla="*/ 98278 h 455593"/>
              <a:gd name="connsiteX157" fmla="*/ 208753 w 288359"/>
              <a:gd name="connsiteY157" fmla="*/ 89659 h 455593"/>
              <a:gd name="connsiteX158" fmla="*/ 205745 w 288359"/>
              <a:gd name="connsiteY158" fmla="*/ 84453 h 455593"/>
              <a:gd name="connsiteX159" fmla="*/ 204819 w 288359"/>
              <a:gd name="connsiteY159" fmla="*/ 72884 h 455593"/>
              <a:gd name="connsiteX160" fmla="*/ 208695 w 288359"/>
              <a:gd name="connsiteY160" fmla="*/ 59059 h 455593"/>
              <a:gd name="connsiteX161" fmla="*/ 213553 w 288359"/>
              <a:gd name="connsiteY161" fmla="*/ 54952 h 455593"/>
              <a:gd name="connsiteX162" fmla="*/ 219338 w 288359"/>
              <a:gd name="connsiteY162" fmla="*/ 50730 h 455593"/>
              <a:gd name="connsiteX163" fmla="*/ 225122 w 288359"/>
              <a:gd name="connsiteY163" fmla="*/ 40549 h 455593"/>
              <a:gd name="connsiteX164" fmla="*/ 225122 w 288359"/>
              <a:gd name="connsiteY164" fmla="*/ 35632 h 455593"/>
              <a:gd name="connsiteX165" fmla="*/ 225122 w 288359"/>
              <a:gd name="connsiteY165" fmla="*/ 26030 h 455593"/>
              <a:gd name="connsiteX166" fmla="*/ 212686 w 288359"/>
              <a:gd name="connsiteY166" fmla="*/ 17469 h 455593"/>
              <a:gd name="connsiteX167" fmla="*/ 196721 w 288359"/>
              <a:gd name="connsiteY167" fmla="*/ 6941 h 455593"/>
              <a:gd name="connsiteX168" fmla="*/ 187871 w 288359"/>
              <a:gd name="connsiteY168" fmla="*/ 2025 h 455593"/>
              <a:gd name="connsiteX169" fmla="*/ 176302 w 288359"/>
              <a:gd name="connsiteY169" fmla="*/ 6999 h 455593"/>
              <a:gd name="connsiteX170" fmla="*/ 164039 w 288359"/>
              <a:gd name="connsiteY170" fmla="*/ 9776 h 455593"/>
              <a:gd name="connsiteX171" fmla="*/ 160337 w 288359"/>
              <a:gd name="connsiteY171" fmla="*/ 9776 h 455593"/>
              <a:gd name="connsiteX172" fmla="*/ 149231 w 288359"/>
              <a:gd name="connsiteY172" fmla="*/ 12842 h 455593"/>
              <a:gd name="connsiteX173" fmla="*/ 140728 w 288359"/>
              <a:gd name="connsiteY173" fmla="*/ 22155 h 455593"/>
              <a:gd name="connsiteX174" fmla="*/ 132398 w 288359"/>
              <a:gd name="connsiteY174" fmla="*/ 31005 h 455593"/>
              <a:gd name="connsiteX175" fmla="*/ 133555 w 288359"/>
              <a:gd name="connsiteY175" fmla="*/ 39161 h 455593"/>
              <a:gd name="connsiteX176" fmla="*/ 133150 w 288359"/>
              <a:gd name="connsiteY176" fmla="*/ 53390 h 455593"/>
              <a:gd name="connsiteX177" fmla="*/ 125977 w 288359"/>
              <a:gd name="connsiteY177" fmla="*/ 55531 h 455593"/>
              <a:gd name="connsiteX178" fmla="*/ 123201 w 288359"/>
              <a:gd name="connsiteY178" fmla="*/ 55531 h 455593"/>
              <a:gd name="connsiteX179" fmla="*/ 119326 w 288359"/>
              <a:gd name="connsiteY179" fmla="*/ 59406 h 455593"/>
              <a:gd name="connsiteX180" fmla="*/ 115276 w 288359"/>
              <a:gd name="connsiteY180" fmla="*/ 70975 h 455593"/>
              <a:gd name="connsiteX181" fmla="*/ 109954 w 288359"/>
              <a:gd name="connsiteY181" fmla="*/ 74851 h 455593"/>
              <a:gd name="connsiteX182" fmla="*/ 105038 w 288359"/>
              <a:gd name="connsiteY182" fmla="*/ 70975 h 455593"/>
              <a:gd name="connsiteX183" fmla="*/ 99253 w 288359"/>
              <a:gd name="connsiteY183" fmla="*/ 67447 h 455593"/>
              <a:gd name="connsiteX184" fmla="*/ 96130 w 288359"/>
              <a:gd name="connsiteY184" fmla="*/ 67967 h 455593"/>
              <a:gd name="connsiteX185" fmla="*/ 87627 w 288359"/>
              <a:gd name="connsiteY185" fmla="*/ 65711 h 455593"/>
              <a:gd name="connsiteX186" fmla="*/ 81842 w 288359"/>
              <a:gd name="connsiteY186" fmla="*/ 64034 h 455593"/>
              <a:gd name="connsiteX187" fmla="*/ 79123 w 288359"/>
              <a:gd name="connsiteY187" fmla="*/ 65654 h 455593"/>
              <a:gd name="connsiteX188" fmla="*/ 70968 w 288359"/>
              <a:gd name="connsiteY188" fmla="*/ 69355 h 455593"/>
              <a:gd name="connsiteX189" fmla="*/ 56275 w 288359"/>
              <a:gd name="connsiteY189" fmla="*/ 66753 h 455593"/>
              <a:gd name="connsiteX190" fmla="*/ 48061 w 288359"/>
              <a:gd name="connsiteY190" fmla="*/ 64902 h 455593"/>
              <a:gd name="connsiteX191" fmla="*/ 31055 w 288359"/>
              <a:gd name="connsiteY191" fmla="*/ 52465 h 455593"/>
              <a:gd name="connsiteX192" fmla="*/ 18271 w 288359"/>
              <a:gd name="connsiteY192" fmla="*/ 42863 h 455593"/>
              <a:gd name="connsiteX193" fmla="*/ 1728 w 288359"/>
              <a:gd name="connsiteY193" fmla="*/ 54432 h 455593"/>
              <a:gd name="connsiteX194" fmla="*/ 11850 w 288359"/>
              <a:gd name="connsiteY194" fmla="*/ 62472 h 455593"/>
              <a:gd name="connsiteX195" fmla="*/ 30592 w 288359"/>
              <a:gd name="connsiteY195" fmla="*/ 75545 h 455593"/>
              <a:gd name="connsiteX196" fmla="*/ 41120 w 288359"/>
              <a:gd name="connsiteY196" fmla="*/ 79941 h 455593"/>
              <a:gd name="connsiteX197" fmla="*/ 70042 w 288359"/>
              <a:gd name="connsiteY197" fmla="*/ 100071 h 455593"/>
              <a:gd name="connsiteX198" fmla="*/ 69174 w 288359"/>
              <a:gd name="connsiteY198" fmla="*/ 105219 h 455593"/>
              <a:gd name="connsiteX199" fmla="*/ 70736 w 288359"/>
              <a:gd name="connsiteY199" fmla="*/ 124886 h 455593"/>
              <a:gd name="connsiteX200" fmla="*/ 74091 w 288359"/>
              <a:gd name="connsiteY200" fmla="*/ 137496 h 455593"/>
              <a:gd name="connsiteX201" fmla="*/ 77157 w 288359"/>
              <a:gd name="connsiteY201" fmla="*/ 149528 h 455593"/>
              <a:gd name="connsiteX202" fmla="*/ 81958 w 288359"/>
              <a:gd name="connsiteY202" fmla="*/ 166881 h 455593"/>
              <a:gd name="connsiteX203" fmla="*/ 75364 w 288359"/>
              <a:gd name="connsiteY203" fmla="*/ 174806 h 455593"/>
              <a:gd name="connsiteX204" fmla="*/ 74091 w 288359"/>
              <a:gd name="connsiteY204" fmla="*/ 175211 h 455593"/>
              <a:gd name="connsiteX205" fmla="*/ 81379 w 288359"/>
              <a:gd name="connsiteY205" fmla="*/ 186780 h 455593"/>
              <a:gd name="connsiteX206" fmla="*/ 85429 w 288359"/>
              <a:gd name="connsiteY206" fmla="*/ 200199 h 455593"/>
              <a:gd name="connsiteX207" fmla="*/ 101683 w 288359"/>
              <a:gd name="connsiteY207" fmla="*/ 206678 h 455593"/>
              <a:gd name="connsiteX208" fmla="*/ 106831 w 288359"/>
              <a:gd name="connsiteY208" fmla="*/ 209107 h 455593"/>
              <a:gd name="connsiteX209" fmla="*/ 117127 w 288359"/>
              <a:gd name="connsiteY209" fmla="*/ 227675 h 455593"/>
              <a:gd name="connsiteX210" fmla="*/ 117127 w 288359"/>
              <a:gd name="connsiteY210" fmla="*/ 231088 h 455593"/>
              <a:gd name="connsiteX211" fmla="*/ 117127 w 288359"/>
              <a:gd name="connsiteY211" fmla="*/ 231667 h 455593"/>
              <a:gd name="connsiteX212" fmla="*/ 116028 w 288359"/>
              <a:gd name="connsiteY212" fmla="*/ 242310 h 455593"/>
              <a:gd name="connsiteX213" fmla="*/ 110244 w 288359"/>
              <a:gd name="connsiteY213" fmla="*/ 241732 h 455593"/>
              <a:gd name="connsiteX214" fmla="*/ 96997 w 288359"/>
              <a:gd name="connsiteY214" fmla="*/ 253300 h 455593"/>
              <a:gd name="connsiteX215" fmla="*/ 68075 w 288359"/>
              <a:gd name="connsiteY215" fmla="*/ 281586 h 455593"/>
              <a:gd name="connsiteX216" fmla="*/ 59746 w 288359"/>
              <a:gd name="connsiteY216" fmla="*/ 287371 h 455593"/>
              <a:gd name="connsiteX217" fmla="*/ 52168 w 288359"/>
              <a:gd name="connsiteY217" fmla="*/ 293849 h 455593"/>
              <a:gd name="connsiteX218" fmla="*/ 38459 w 288359"/>
              <a:gd name="connsiteY218" fmla="*/ 307616 h 455593"/>
              <a:gd name="connsiteX219" fmla="*/ 36319 w 288359"/>
              <a:gd name="connsiteY219" fmla="*/ 313401 h 455593"/>
              <a:gd name="connsiteX220" fmla="*/ 18329 w 288359"/>
              <a:gd name="connsiteY220" fmla="*/ 317912 h 455593"/>
              <a:gd name="connsiteX221" fmla="*/ 12255 w 288359"/>
              <a:gd name="connsiteY221" fmla="*/ 325779 h 455593"/>
              <a:gd name="connsiteX222" fmla="*/ 6818 w 288359"/>
              <a:gd name="connsiteY222" fmla="*/ 335092 h 455593"/>
              <a:gd name="connsiteX223" fmla="*/ 3405 w 288359"/>
              <a:gd name="connsiteY223" fmla="*/ 339141 h 455593"/>
              <a:gd name="connsiteX224" fmla="*/ 7859 w 288359"/>
              <a:gd name="connsiteY224" fmla="*/ 349206 h 455593"/>
              <a:gd name="connsiteX225" fmla="*/ 10694 w 288359"/>
              <a:gd name="connsiteY225" fmla="*/ 362395 h 455593"/>
              <a:gd name="connsiteX226" fmla="*/ 10694 w 288359"/>
              <a:gd name="connsiteY226" fmla="*/ 368468 h 455593"/>
              <a:gd name="connsiteX227" fmla="*/ 12313 w 288359"/>
              <a:gd name="connsiteY227" fmla="*/ 371765 h 455593"/>
              <a:gd name="connsiteX228" fmla="*/ 15553 w 288359"/>
              <a:gd name="connsiteY228" fmla="*/ 399993 h 455593"/>
              <a:gd name="connsiteX229" fmla="*/ 6645 w 288359"/>
              <a:gd name="connsiteY229" fmla="*/ 426833 h 455593"/>
              <a:gd name="connsiteX230" fmla="*/ 6645 w 288359"/>
              <a:gd name="connsiteY230" fmla="*/ 426833 h 455593"/>
              <a:gd name="connsiteX231" fmla="*/ 18561 w 288359"/>
              <a:gd name="connsiteY231" fmla="*/ 431345 h 455593"/>
              <a:gd name="connsiteX232" fmla="*/ 32328 w 288359"/>
              <a:gd name="connsiteY232" fmla="*/ 437130 h 455593"/>
              <a:gd name="connsiteX233" fmla="*/ 41583 w 288359"/>
              <a:gd name="connsiteY233" fmla="*/ 442393 h 455593"/>
              <a:gd name="connsiteX234" fmla="*/ 48640 w 288359"/>
              <a:gd name="connsiteY234" fmla="*/ 446095 h 455593"/>
              <a:gd name="connsiteX235" fmla="*/ 53209 w 288359"/>
              <a:gd name="connsiteY235" fmla="*/ 446211 h 45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88359" h="455593">
                <a:moveTo>
                  <a:pt x="78256" y="455408"/>
                </a:moveTo>
                <a:cubicBezTo>
                  <a:pt x="71141" y="455813"/>
                  <a:pt x="64084" y="454037"/>
                  <a:pt x="58010" y="450318"/>
                </a:cubicBezTo>
                <a:cubicBezTo>
                  <a:pt x="56101" y="448774"/>
                  <a:pt x="53614" y="448212"/>
                  <a:pt x="51242" y="448814"/>
                </a:cubicBezTo>
                <a:cubicBezTo>
                  <a:pt x="50490" y="449040"/>
                  <a:pt x="49739" y="449155"/>
                  <a:pt x="48929" y="449161"/>
                </a:cubicBezTo>
                <a:cubicBezTo>
                  <a:pt x="45632" y="449161"/>
                  <a:pt x="43665" y="446732"/>
                  <a:pt x="41698" y="444418"/>
                </a:cubicBezTo>
                <a:cubicBezTo>
                  <a:pt x="39731" y="442104"/>
                  <a:pt x="37707" y="439617"/>
                  <a:pt x="34468" y="439964"/>
                </a:cubicBezTo>
                <a:lnTo>
                  <a:pt x="33542" y="439964"/>
                </a:lnTo>
                <a:cubicBezTo>
                  <a:pt x="28394" y="439252"/>
                  <a:pt x="23477" y="437263"/>
                  <a:pt x="19313" y="434179"/>
                </a:cubicBezTo>
                <a:cubicBezTo>
                  <a:pt x="15148" y="431750"/>
                  <a:pt x="11156" y="429378"/>
                  <a:pt x="9190" y="429957"/>
                </a:cubicBezTo>
                <a:cubicBezTo>
                  <a:pt x="8149" y="430368"/>
                  <a:pt x="6992" y="430003"/>
                  <a:pt x="6356" y="429089"/>
                </a:cubicBezTo>
                <a:cubicBezTo>
                  <a:pt x="5719" y="428106"/>
                  <a:pt x="3810" y="425156"/>
                  <a:pt x="15148" y="400167"/>
                </a:cubicBezTo>
                <a:cubicBezTo>
                  <a:pt x="19833" y="389755"/>
                  <a:pt x="15148" y="379806"/>
                  <a:pt x="11908" y="373906"/>
                </a:cubicBezTo>
                <a:cubicBezTo>
                  <a:pt x="11214" y="372517"/>
                  <a:pt x="10636" y="371303"/>
                  <a:pt x="10231" y="370377"/>
                </a:cubicBezTo>
                <a:cubicBezTo>
                  <a:pt x="9537" y="368046"/>
                  <a:pt x="9421" y="365588"/>
                  <a:pt x="9884" y="363205"/>
                </a:cubicBezTo>
                <a:cubicBezTo>
                  <a:pt x="10867" y="359196"/>
                  <a:pt x="10057" y="354950"/>
                  <a:pt x="7570" y="351636"/>
                </a:cubicBezTo>
                <a:cubicBezTo>
                  <a:pt x="3579" y="346488"/>
                  <a:pt x="1786" y="342843"/>
                  <a:pt x="2653" y="340067"/>
                </a:cubicBezTo>
                <a:cubicBezTo>
                  <a:pt x="3174" y="337562"/>
                  <a:pt x="4852" y="335433"/>
                  <a:pt x="7107" y="334282"/>
                </a:cubicBezTo>
                <a:cubicBezTo>
                  <a:pt x="9421" y="332165"/>
                  <a:pt x="11041" y="329343"/>
                  <a:pt x="11619" y="326242"/>
                </a:cubicBezTo>
                <a:cubicBezTo>
                  <a:pt x="13007" y="321788"/>
                  <a:pt x="14685" y="316813"/>
                  <a:pt x="19775" y="316813"/>
                </a:cubicBezTo>
                <a:cubicBezTo>
                  <a:pt x="22899" y="316813"/>
                  <a:pt x="32501" y="316813"/>
                  <a:pt x="36145" y="312996"/>
                </a:cubicBezTo>
                <a:cubicBezTo>
                  <a:pt x="37186" y="311833"/>
                  <a:pt x="37765" y="310289"/>
                  <a:pt x="37649" y="308715"/>
                </a:cubicBezTo>
                <a:cubicBezTo>
                  <a:pt x="37244" y="301022"/>
                  <a:pt x="42739" y="295295"/>
                  <a:pt x="53036" y="292635"/>
                </a:cubicBezTo>
                <a:cubicBezTo>
                  <a:pt x="55812" y="291616"/>
                  <a:pt x="58068" y="289534"/>
                  <a:pt x="59341" y="286850"/>
                </a:cubicBezTo>
                <a:cubicBezTo>
                  <a:pt x="61250" y="282969"/>
                  <a:pt x="65067" y="280337"/>
                  <a:pt x="69348" y="279851"/>
                </a:cubicBezTo>
                <a:cubicBezTo>
                  <a:pt x="77735" y="279099"/>
                  <a:pt x="93006" y="265216"/>
                  <a:pt x="96245" y="253243"/>
                </a:cubicBezTo>
                <a:cubicBezTo>
                  <a:pt x="99485" y="241269"/>
                  <a:pt x="105095" y="238897"/>
                  <a:pt x="107814" y="238897"/>
                </a:cubicBezTo>
                <a:cubicBezTo>
                  <a:pt x="109550" y="238938"/>
                  <a:pt x="111169" y="239458"/>
                  <a:pt x="112615" y="240401"/>
                </a:cubicBezTo>
                <a:cubicBezTo>
                  <a:pt x="114929" y="241905"/>
                  <a:pt x="115160" y="241500"/>
                  <a:pt x="115276" y="241327"/>
                </a:cubicBezTo>
                <a:cubicBezTo>
                  <a:pt x="116086" y="238405"/>
                  <a:pt x="116260" y="235346"/>
                  <a:pt x="115739" y="232361"/>
                </a:cubicBezTo>
                <a:lnTo>
                  <a:pt x="115739" y="231782"/>
                </a:lnTo>
                <a:cubicBezTo>
                  <a:pt x="115739" y="230568"/>
                  <a:pt x="115739" y="229411"/>
                  <a:pt x="115739" y="228254"/>
                </a:cubicBezTo>
                <a:cubicBezTo>
                  <a:pt x="115739" y="221197"/>
                  <a:pt x="115739" y="215586"/>
                  <a:pt x="106773" y="211710"/>
                </a:cubicBezTo>
                <a:cubicBezTo>
                  <a:pt x="105038" y="210958"/>
                  <a:pt x="103302" y="210091"/>
                  <a:pt x="101567" y="209281"/>
                </a:cubicBezTo>
                <a:cubicBezTo>
                  <a:pt x="96303" y="206533"/>
                  <a:pt x="90750" y="204341"/>
                  <a:pt x="85024" y="202744"/>
                </a:cubicBezTo>
                <a:cubicBezTo>
                  <a:pt x="84561" y="202629"/>
                  <a:pt x="84214" y="202235"/>
                  <a:pt x="84156" y="201761"/>
                </a:cubicBezTo>
                <a:cubicBezTo>
                  <a:pt x="84040" y="197255"/>
                  <a:pt x="82826" y="192847"/>
                  <a:pt x="80627" y="188920"/>
                </a:cubicBezTo>
                <a:cubicBezTo>
                  <a:pt x="78603" y="186953"/>
                  <a:pt x="71257" y="178566"/>
                  <a:pt x="72876" y="174632"/>
                </a:cubicBezTo>
                <a:cubicBezTo>
                  <a:pt x="73455" y="173336"/>
                  <a:pt x="74843" y="172579"/>
                  <a:pt x="76231" y="172781"/>
                </a:cubicBezTo>
                <a:cubicBezTo>
                  <a:pt x="78024" y="172781"/>
                  <a:pt x="79760" y="170409"/>
                  <a:pt x="80627" y="166650"/>
                </a:cubicBezTo>
                <a:cubicBezTo>
                  <a:pt x="82016" y="160865"/>
                  <a:pt x="81032" y="153635"/>
                  <a:pt x="76983" y="151610"/>
                </a:cubicBezTo>
                <a:cubicBezTo>
                  <a:pt x="72934" y="149586"/>
                  <a:pt x="72529" y="142991"/>
                  <a:pt x="72703" y="137496"/>
                </a:cubicBezTo>
                <a:cubicBezTo>
                  <a:pt x="72876" y="132001"/>
                  <a:pt x="72992" y="128414"/>
                  <a:pt x="70447" y="126853"/>
                </a:cubicBezTo>
                <a:cubicBezTo>
                  <a:pt x="64662" y="123266"/>
                  <a:pt x="66224" y="113491"/>
                  <a:pt x="67786" y="104872"/>
                </a:cubicBezTo>
                <a:cubicBezTo>
                  <a:pt x="68133" y="103137"/>
                  <a:pt x="68422" y="101401"/>
                  <a:pt x="68654" y="99782"/>
                </a:cubicBezTo>
                <a:cubicBezTo>
                  <a:pt x="69521" y="93592"/>
                  <a:pt x="53672" y="87172"/>
                  <a:pt x="41004" y="82081"/>
                </a:cubicBezTo>
                <a:cubicBezTo>
                  <a:pt x="37128" y="80519"/>
                  <a:pt x="33484" y="79073"/>
                  <a:pt x="30361" y="77627"/>
                </a:cubicBezTo>
                <a:cubicBezTo>
                  <a:pt x="23304" y="74191"/>
                  <a:pt x="16767" y="69685"/>
                  <a:pt x="11098" y="64265"/>
                </a:cubicBezTo>
                <a:cubicBezTo>
                  <a:pt x="7744" y="61188"/>
                  <a:pt x="4157" y="58371"/>
                  <a:pt x="397" y="55820"/>
                </a:cubicBezTo>
                <a:cubicBezTo>
                  <a:pt x="-65" y="55525"/>
                  <a:pt x="-239" y="54929"/>
                  <a:pt x="-8" y="54432"/>
                </a:cubicBezTo>
                <a:cubicBezTo>
                  <a:pt x="2769" y="46119"/>
                  <a:pt x="10520" y="40485"/>
                  <a:pt x="19255" y="40433"/>
                </a:cubicBezTo>
                <a:cubicBezTo>
                  <a:pt x="25039" y="42157"/>
                  <a:pt x="30014" y="45813"/>
                  <a:pt x="33427" y="50788"/>
                </a:cubicBezTo>
                <a:cubicBezTo>
                  <a:pt x="37360" y="56207"/>
                  <a:pt x="42855" y="60251"/>
                  <a:pt x="49218" y="62356"/>
                </a:cubicBezTo>
                <a:cubicBezTo>
                  <a:pt x="51994" y="62877"/>
                  <a:pt x="55002" y="63571"/>
                  <a:pt x="57490" y="64207"/>
                </a:cubicBezTo>
                <a:cubicBezTo>
                  <a:pt x="62117" y="65578"/>
                  <a:pt x="66860" y="66429"/>
                  <a:pt x="71662" y="66753"/>
                </a:cubicBezTo>
                <a:cubicBezTo>
                  <a:pt x="74033" y="67105"/>
                  <a:pt x="76405" y="66105"/>
                  <a:pt x="77851" y="64150"/>
                </a:cubicBezTo>
                <a:cubicBezTo>
                  <a:pt x="78776" y="62437"/>
                  <a:pt x="80570" y="61390"/>
                  <a:pt x="82536" y="61431"/>
                </a:cubicBezTo>
                <a:cubicBezTo>
                  <a:pt x="84850" y="61628"/>
                  <a:pt x="87048" y="62258"/>
                  <a:pt x="89131" y="63282"/>
                </a:cubicBezTo>
                <a:cubicBezTo>
                  <a:pt x="92254" y="64925"/>
                  <a:pt x="95783" y="65515"/>
                  <a:pt x="99253" y="64959"/>
                </a:cubicBezTo>
                <a:cubicBezTo>
                  <a:pt x="99890" y="64739"/>
                  <a:pt x="100526" y="64618"/>
                  <a:pt x="101162" y="64612"/>
                </a:cubicBezTo>
                <a:cubicBezTo>
                  <a:pt x="104228" y="64612"/>
                  <a:pt x="106137" y="67273"/>
                  <a:pt x="107583" y="69355"/>
                </a:cubicBezTo>
                <a:cubicBezTo>
                  <a:pt x="109029" y="71438"/>
                  <a:pt x="109665" y="72248"/>
                  <a:pt x="110706" y="72248"/>
                </a:cubicBezTo>
                <a:cubicBezTo>
                  <a:pt x="111748" y="72248"/>
                  <a:pt x="112442" y="71727"/>
                  <a:pt x="114235" y="69298"/>
                </a:cubicBezTo>
                <a:cubicBezTo>
                  <a:pt x="116491" y="66353"/>
                  <a:pt x="117764" y="62767"/>
                  <a:pt x="117822" y="59059"/>
                </a:cubicBezTo>
                <a:cubicBezTo>
                  <a:pt x="117822" y="55993"/>
                  <a:pt x="118284" y="53275"/>
                  <a:pt x="123953" y="53275"/>
                </a:cubicBezTo>
                <a:lnTo>
                  <a:pt x="126961" y="53275"/>
                </a:lnTo>
                <a:cubicBezTo>
                  <a:pt x="128811" y="53714"/>
                  <a:pt x="130779" y="53217"/>
                  <a:pt x="132167" y="51944"/>
                </a:cubicBezTo>
                <a:cubicBezTo>
                  <a:pt x="134075" y="49688"/>
                  <a:pt x="133035" y="44540"/>
                  <a:pt x="132167" y="39566"/>
                </a:cubicBezTo>
                <a:cubicBezTo>
                  <a:pt x="131531" y="36749"/>
                  <a:pt x="131183" y="33885"/>
                  <a:pt x="131010" y="31005"/>
                </a:cubicBezTo>
                <a:cubicBezTo>
                  <a:pt x="131010" y="25683"/>
                  <a:pt x="136042" y="22733"/>
                  <a:pt x="140496" y="20188"/>
                </a:cubicBezTo>
                <a:cubicBezTo>
                  <a:pt x="144950" y="17643"/>
                  <a:pt x="147842" y="15907"/>
                  <a:pt x="147842" y="12842"/>
                </a:cubicBezTo>
                <a:cubicBezTo>
                  <a:pt x="147842" y="7520"/>
                  <a:pt x="155535" y="7520"/>
                  <a:pt x="161205" y="7520"/>
                </a:cubicBezTo>
                <a:lnTo>
                  <a:pt x="164906" y="7520"/>
                </a:lnTo>
                <a:cubicBezTo>
                  <a:pt x="168088" y="7520"/>
                  <a:pt x="173988" y="7520"/>
                  <a:pt x="175376" y="5669"/>
                </a:cubicBezTo>
                <a:cubicBezTo>
                  <a:pt x="178731" y="1938"/>
                  <a:pt x="183475" y="-173"/>
                  <a:pt x="188507" y="-116"/>
                </a:cubicBezTo>
                <a:cubicBezTo>
                  <a:pt x="192903" y="-324"/>
                  <a:pt x="197068" y="1898"/>
                  <a:pt x="199324" y="5669"/>
                </a:cubicBezTo>
                <a:cubicBezTo>
                  <a:pt x="203315" y="10221"/>
                  <a:pt x="208463" y="13565"/>
                  <a:pt x="214248" y="15329"/>
                </a:cubicBezTo>
                <a:cubicBezTo>
                  <a:pt x="220900" y="18221"/>
                  <a:pt x="227205" y="21113"/>
                  <a:pt x="228015" y="25510"/>
                </a:cubicBezTo>
                <a:cubicBezTo>
                  <a:pt x="228304" y="28859"/>
                  <a:pt x="228304" y="32225"/>
                  <a:pt x="228015" y="35574"/>
                </a:cubicBezTo>
                <a:cubicBezTo>
                  <a:pt x="228015" y="37368"/>
                  <a:pt x="228015" y="39161"/>
                  <a:pt x="228015" y="40896"/>
                </a:cubicBezTo>
                <a:cubicBezTo>
                  <a:pt x="228015" y="41203"/>
                  <a:pt x="227899" y="41492"/>
                  <a:pt x="227668" y="41706"/>
                </a:cubicBezTo>
                <a:cubicBezTo>
                  <a:pt x="224949" y="44274"/>
                  <a:pt x="222924" y="47531"/>
                  <a:pt x="221883" y="51135"/>
                </a:cubicBezTo>
                <a:cubicBezTo>
                  <a:pt x="221016" y="54489"/>
                  <a:pt x="218008" y="56850"/>
                  <a:pt x="214537" y="56919"/>
                </a:cubicBezTo>
                <a:cubicBezTo>
                  <a:pt x="212049" y="57440"/>
                  <a:pt x="211413" y="57671"/>
                  <a:pt x="211413" y="58828"/>
                </a:cubicBezTo>
                <a:cubicBezTo>
                  <a:pt x="211992" y="64288"/>
                  <a:pt x="210430" y="69772"/>
                  <a:pt x="207075" y="74099"/>
                </a:cubicBezTo>
                <a:cubicBezTo>
                  <a:pt x="204646" y="77049"/>
                  <a:pt x="205629" y="78611"/>
                  <a:pt x="208232" y="82775"/>
                </a:cubicBezTo>
                <a:cubicBezTo>
                  <a:pt x="209157" y="84337"/>
                  <a:pt x="210199" y="86015"/>
                  <a:pt x="211297" y="88155"/>
                </a:cubicBezTo>
                <a:cubicBezTo>
                  <a:pt x="213727" y="92354"/>
                  <a:pt x="218008" y="95143"/>
                  <a:pt x="222866" y="95675"/>
                </a:cubicBezTo>
                <a:cubicBezTo>
                  <a:pt x="224660" y="96004"/>
                  <a:pt x="226338" y="96606"/>
                  <a:pt x="227957" y="97468"/>
                </a:cubicBezTo>
                <a:cubicBezTo>
                  <a:pt x="231080" y="99319"/>
                  <a:pt x="247855" y="112681"/>
                  <a:pt x="247855" y="118639"/>
                </a:cubicBezTo>
                <a:cubicBezTo>
                  <a:pt x="247855" y="124597"/>
                  <a:pt x="234898" y="136686"/>
                  <a:pt x="230502" y="139752"/>
                </a:cubicBezTo>
                <a:cubicBezTo>
                  <a:pt x="226568" y="142343"/>
                  <a:pt x="223676" y="146173"/>
                  <a:pt x="222172" y="150627"/>
                </a:cubicBezTo>
                <a:cubicBezTo>
                  <a:pt x="221826" y="151882"/>
                  <a:pt x="222056" y="153212"/>
                  <a:pt x="222693" y="154329"/>
                </a:cubicBezTo>
                <a:lnTo>
                  <a:pt x="223850" y="156006"/>
                </a:lnTo>
                <a:cubicBezTo>
                  <a:pt x="228420" y="162774"/>
                  <a:pt x="240509" y="180879"/>
                  <a:pt x="248607" y="195630"/>
                </a:cubicBezTo>
                <a:cubicBezTo>
                  <a:pt x="251558" y="201009"/>
                  <a:pt x="252483" y="204248"/>
                  <a:pt x="251558" y="206331"/>
                </a:cubicBezTo>
                <a:cubicBezTo>
                  <a:pt x="250632" y="208413"/>
                  <a:pt x="248607" y="208876"/>
                  <a:pt x="246351" y="209396"/>
                </a:cubicBezTo>
                <a:cubicBezTo>
                  <a:pt x="243748" y="209801"/>
                  <a:pt x="241435" y="211063"/>
                  <a:pt x="239641" y="212983"/>
                </a:cubicBezTo>
                <a:cubicBezTo>
                  <a:pt x="235823" y="217842"/>
                  <a:pt x="239063" y="223742"/>
                  <a:pt x="241666" y="228543"/>
                </a:cubicBezTo>
                <a:cubicBezTo>
                  <a:pt x="242534" y="229937"/>
                  <a:pt x="243228" y="231406"/>
                  <a:pt x="243806" y="232939"/>
                </a:cubicBezTo>
                <a:cubicBezTo>
                  <a:pt x="245021" y="236468"/>
                  <a:pt x="241955" y="237914"/>
                  <a:pt x="239989" y="238724"/>
                </a:cubicBezTo>
                <a:cubicBezTo>
                  <a:pt x="238021" y="239533"/>
                  <a:pt x="237269" y="240170"/>
                  <a:pt x="237385" y="241037"/>
                </a:cubicBezTo>
                <a:cubicBezTo>
                  <a:pt x="237501" y="241905"/>
                  <a:pt x="241319" y="244045"/>
                  <a:pt x="244153" y="245202"/>
                </a:cubicBezTo>
                <a:cubicBezTo>
                  <a:pt x="246988" y="246359"/>
                  <a:pt x="250632" y="247805"/>
                  <a:pt x="251094" y="249887"/>
                </a:cubicBezTo>
                <a:cubicBezTo>
                  <a:pt x="251558" y="251970"/>
                  <a:pt x="250284" y="253243"/>
                  <a:pt x="248896" y="254978"/>
                </a:cubicBezTo>
                <a:cubicBezTo>
                  <a:pt x="247508" y="256713"/>
                  <a:pt x="244847" y="259953"/>
                  <a:pt x="246930" y="263307"/>
                </a:cubicBezTo>
                <a:cubicBezTo>
                  <a:pt x="248665" y="265644"/>
                  <a:pt x="250979" y="267513"/>
                  <a:pt x="253640" y="268745"/>
                </a:cubicBezTo>
                <a:cubicBezTo>
                  <a:pt x="257284" y="270885"/>
                  <a:pt x="261101" y="273083"/>
                  <a:pt x="261622" y="278289"/>
                </a:cubicBezTo>
                <a:cubicBezTo>
                  <a:pt x="262143" y="283495"/>
                  <a:pt x="256648" y="285867"/>
                  <a:pt x="251788" y="288065"/>
                </a:cubicBezTo>
                <a:cubicBezTo>
                  <a:pt x="248029" y="289742"/>
                  <a:pt x="244385" y="291362"/>
                  <a:pt x="244674" y="293849"/>
                </a:cubicBezTo>
                <a:cubicBezTo>
                  <a:pt x="244963" y="296336"/>
                  <a:pt x="251326" y="300328"/>
                  <a:pt x="257978" y="304261"/>
                </a:cubicBezTo>
                <a:cubicBezTo>
                  <a:pt x="265787" y="308397"/>
                  <a:pt x="272902" y="313661"/>
                  <a:pt x="279149" y="319879"/>
                </a:cubicBezTo>
                <a:cubicBezTo>
                  <a:pt x="289908" y="332316"/>
                  <a:pt x="289214" y="335902"/>
                  <a:pt x="286669" y="343017"/>
                </a:cubicBezTo>
                <a:cubicBezTo>
                  <a:pt x="284124" y="350132"/>
                  <a:pt x="275736" y="355743"/>
                  <a:pt x="266944" y="362106"/>
                </a:cubicBezTo>
                <a:cubicBezTo>
                  <a:pt x="258152" y="368468"/>
                  <a:pt x="249590" y="374716"/>
                  <a:pt x="246236" y="381830"/>
                </a:cubicBezTo>
                <a:cubicBezTo>
                  <a:pt x="242187" y="390970"/>
                  <a:pt x="231485" y="397506"/>
                  <a:pt x="221189" y="403811"/>
                </a:cubicBezTo>
                <a:cubicBezTo>
                  <a:pt x="215000" y="407264"/>
                  <a:pt x="209157" y="411372"/>
                  <a:pt x="203836" y="416074"/>
                </a:cubicBezTo>
                <a:cubicBezTo>
                  <a:pt x="199034" y="421141"/>
                  <a:pt x="194696" y="426642"/>
                  <a:pt x="190936" y="432502"/>
                </a:cubicBezTo>
                <a:cubicBezTo>
                  <a:pt x="190763" y="432739"/>
                  <a:pt x="190532" y="432901"/>
                  <a:pt x="190242" y="432965"/>
                </a:cubicBezTo>
                <a:cubicBezTo>
                  <a:pt x="182144" y="434920"/>
                  <a:pt x="173872" y="435869"/>
                  <a:pt x="165543" y="435799"/>
                </a:cubicBezTo>
                <a:cubicBezTo>
                  <a:pt x="152123" y="437355"/>
                  <a:pt x="138934" y="440380"/>
                  <a:pt x="126209" y="444823"/>
                </a:cubicBezTo>
                <a:cubicBezTo>
                  <a:pt x="111458" y="449838"/>
                  <a:pt x="96188" y="453303"/>
                  <a:pt x="80743" y="455177"/>
                </a:cubicBezTo>
                <a:close/>
                <a:moveTo>
                  <a:pt x="53209" y="446211"/>
                </a:moveTo>
                <a:cubicBezTo>
                  <a:pt x="55292" y="446402"/>
                  <a:pt x="57316" y="447166"/>
                  <a:pt x="58994" y="448409"/>
                </a:cubicBezTo>
                <a:cubicBezTo>
                  <a:pt x="65472" y="452302"/>
                  <a:pt x="72992" y="453951"/>
                  <a:pt x="80512" y="453095"/>
                </a:cubicBezTo>
                <a:cubicBezTo>
                  <a:pt x="95783" y="451226"/>
                  <a:pt x="110822" y="447773"/>
                  <a:pt x="125399" y="442798"/>
                </a:cubicBezTo>
                <a:cubicBezTo>
                  <a:pt x="138356" y="438298"/>
                  <a:pt x="151776" y="435250"/>
                  <a:pt x="165427" y="433717"/>
                </a:cubicBezTo>
                <a:cubicBezTo>
                  <a:pt x="173410" y="433757"/>
                  <a:pt x="181392" y="432861"/>
                  <a:pt x="189201" y="431056"/>
                </a:cubicBezTo>
                <a:cubicBezTo>
                  <a:pt x="193019" y="425185"/>
                  <a:pt x="197357" y="419684"/>
                  <a:pt x="202158" y="414628"/>
                </a:cubicBezTo>
                <a:cubicBezTo>
                  <a:pt x="207480" y="409804"/>
                  <a:pt x="213265" y="405593"/>
                  <a:pt x="219512" y="402076"/>
                </a:cubicBezTo>
                <a:cubicBezTo>
                  <a:pt x="229519" y="395944"/>
                  <a:pt x="239873" y="389582"/>
                  <a:pt x="243633" y="381078"/>
                </a:cubicBezTo>
                <a:cubicBezTo>
                  <a:pt x="247046" y="373443"/>
                  <a:pt x="256243" y="366849"/>
                  <a:pt x="265093" y="360428"/>
                </a:cubicBezTo>
                <a:cubicBezTo>
                  <a:pt x="273943" y="354007"/>
                  <a:pt x="281694" y="348454"/>
                  <a:pt x="284008" y="342381"/>
                </a:cubicBezTo>
                <a:cubicBezTo>
                  <a:pt x="286322" y="336307"/>
                  <a:pt x="287247" y="333588"/>
                  <a:pt x="276951" y="321672"/>
                </a:cubicBezTo>
                <a:cubicBezTo>
                  <a:pt x="270877" y="315628"/>
                  <a:pt x="263878" y="310520"/>
                  <a:pt x="256300" y="306517"/>
                </a:cubicBezTo>
                <a:cubicBezTo>
                  <a:pt x="248550" y="301890"/>
                  <a:pt x="242418" y="298188"/>
                  <a:pt x="241897" y="294428"/>
                </a:cubicBezTo>
                <a:cubicBezTo>
                  <a:pt x="241377" y="290668"/>
                  <a:pt x="245946" y="288643"/>
                  <a:pt x="250342" y="286503"/>
                </a:cubicBezTo>
                <a:cubicBezTo>
                  <a:pt x="254739" y="284363"/>
                  <a:pt x="259251" y="282512"/>
                  <a:pt x="258846" y="279041"/>
                </a:cubicBezTo>
                <a:cubicBezTo>
                  <a:pt x="258441" y="275570"/>
                  <a:pt x="255433" y="273257"/>
                  <a:pt x="251962" y="271232"/>
                </a:cubicBezTo>
                <a:cubicBezTo>
                  <a:pt x="249012" y="269792"/>
                  <a:pt x="246467" y="267669"/>
                  <a:pt x="244500" y="265043"/>
                </a:cubicBezTo>
                <a:cubicBezTo>
                  <a:pt x="242476" y="261341"/>
                  <a:pt x="243343" y="256719"/>
                  <a:pt x="246640" y="254052"/>
                </a:cubicBezTo>
                <a:cubicBezTo>
                  <a:pt x="247566" y="252838"/>
                  <a:pt x="248607" y="251623"/>
                  <a:pt x="248434" y="250987"/>
                </a:cubicBezTo>
                <a:cubicBezTo>
                  <a:pt x="248260" y="250350"/>
                  <a:pt x="245079" y="248731"/>
                  <a:pt x="242649" y="247805"/>
                </a:cubicBezTo>
                <a:cubicBezTo>
                  <a:pt x="238889" y="246301"/>
                  <a:pt x="235071" y="244739"/>
                  <a:pt x="234493" y="242021"/>
                </a:cubicBezTo>
                <a:cubicBezTo>
                  <a:pt x="233915" y="239302"/>
                  <a:pt x="236460" y="238087"/>
                  <a:pt x="238311" y="237277"/>
                </a:cubicBezTo>
                <a:cubicBezTo>
                  <a:pt x="240162" y="236468"/>
                  <a:pt x="241493" y="235542"/>
                  <a:pt x="240972" y="234096"/>
                </a:cubicBezTo>
                <a:cubicBezTo>
                  <a:pt x="240393" y="232702"/>
                  <a:pt x="239757" y="231348"/>
                  <a:pt x="239005" y="230047"/>
                </a:cubicBezTo>
                <a:cubicBezTo>
                  <a:pt x="236229" y="225015"/>
                  <a:pt x="232411" y="218131"/>
                  <a:pt x="237154" y="212057"/>
                </a:cubicBezTo>
                <a:cubicBezTo>
                  <a:pt x="239237" y="209738"/>
                  <a:pt x="242013" y="208199"/>
                  <a:pt x="245079" y="207719"/>
                </a:cubicBezTo>
                <a:cubicBezTo>
                  <a:pt x="247103" y="207199"/>
                  <a:pt x="248376" y="206794"/>
                  <a:pt x="248780" y="205926"/>
                </a:cubicBezTo>
                <a:cubicBezTo>
                  <a:pt x="249186" y="205058"/>
                  <a:pt x="248376" y="201645"/>
                  <a:pt x="245946" y="197191"/>
                </a:cubicBezTo>
                <a:cubicBezTo>
                  <a:pt x="237906" y="182499"/>
                  <a:pt x="225816" y="164509"/>
                  <a:pt x="221247" y="157742"/>
                </a:cubicBezTo>
                <a:lnTo>
                  <a:pt x="220148" y="156006"/>
                </a:lnTo>
                <a:cubicBezTo>
                  <a:pt x="219107" y="154439"/>
                  <a:pt x="218760" y="152512"/>
                  <a:pt x="219222" y="150685"/>
                </a:cubicBezTo>
                <a:cubicBezTo>
                  <a:pt x="220842" y="145635"/>
                  <a:pt x="224139" y="141285"/>
                  <a:pt x="228535" y="138364"/>
                </a:cubicBezTo>
                <a:cubicBezTo>
                  <a:pt x="233683" y="134835"/>
                  <a:pt x="245021" y="123093"/>
                  <a:pt x="245021" y="119102"/>
                </a:cubicBezTo>
                <a:cubicBezTo>
                  <a:pt x="245021" y="115110"/>
                  <a:pt x="231023" y="102732"/>
                  <a:pt x="226164" y="99840"/>
                </a:cubicBezTo>
                <a:cubicBezTo>
                  <a:pt x="224718" y="99145"/>
                  <a:pt x="223214" y="98619"/>
                  <a:pt x="221652" y="98278"/>
                </a:cubicBezTo>
                <a:cubicBezTo>
                  <a:pt x="216215" y="97595"/>
                  <a:pt x="211471" y="94402"/>
                  <a:pt x="208753" y="89659"/>
                </a:cubicBezTo>
                <a:cubicBezTo>
                  <a:pt x="207711" y="87634"/>
                  <a:pt x="206670" y="85899"/>
                  <a:pt x="205745" y="84453"/>
                </a:cubicBezTo>
                <a:cubicBezTo>
                  <a:pt x="203200" y="80288"/>
                  <a:pt x="201348" y="77338"/>
                  <a:pt x="204819" y="72884"/>
                </a:cubicBezTo>
                <a:cubicBezTo>
                  <a:pt x="207885" y="68974"/>
                  <a:pt x="209273" y="63999"/>
                  <a:pt x="208695" y="59059"/>
                </a:cubicBezTo>
                <a:cubicBezTo>
                  <a:pt x="208695" y="55936"/>
                  <a:pt x="211355" y="55357"/>
                  <a:pt x="213553" y="54952"/>
                </a:cubicBezTo>
                <a:cubicBezTo>
                  <a:pt x="215752" y="54547"/>
                  <a:pt x="218412" y="53969"/>
                  <a:pt x="219338" y="50730"/>
                </a:cubicBezTo>
                <a:cubicBezTo>
                  <a:pt x="220322" y="46889"/>
                  <a:pt x="222346" y="43378"/>
                  <a:pt x="225122" y="40549"/>
                </a:cubicBezTo>
                <a:cubicBezTo>
                  <a:pt x="225122" y="38929"/>
                  <a:pt x="225122" y="37252"/>
                  <a:pt x="225122" y="35632"/>
                </a:cubicBezTo>
                <a:cubicBezTo>
                  <a:pt x="225412" y="32439"/>
                  <a:pt x="225412" y="29223"/>
                  <a:pt x="225122" y="26030"/>
                </a:cubicBezTo>
                <a:cubicBezTo>
                  <a:pt x="224544" y="22675"/>
                  <a:pt x="218817" y="20246"/>
                  <a:pt x="212686" y="17469"/>
                </a:cubicBezTo>
                <a:cubicBezTo>
                  <a:pt x="206439" y="15572"/>
                  <a:pt x="200944" y="11916"/>
                  <a:pt x="196721" y="6941"/>
                </a:cubicBezTo>
                <a:cubicBezTo>
                  <a:pt x="194928" y="3772"/>
                  <a:pt x="191515" y="1874"/>
                  <a:pt x="187871" y="2025"/>
                </a:cubicBezTo>
                <a:cubicBezTo>
                  <a:pt x="183475" y="1955"/>
                  <a:pt x="179252" y="3766"/>
                  <a:pt x="176302" y="6999"/>
                </a:cubicBezTo>
                <a:cubicBezTo>
                  <a:pt x="174393" y="9545"/>
                  <a:pt x="169418" y="9776"/>
                  <a:pt x="164039" y="9776"/>
                </a:cubicBezTo>
                <a:lnTo>
                  <a:pt x="160337" y="9776"/>
                </a:lnTo>
                <a:cubicBezTo>
                  <a:pt x="153511" y="9776"/>
                  <a:pt x="149231" y="10297"/>
                  <a:pt x="149231" y="12842"/>
                </a:cubicBezTo>
                <a:cubicBezTo>
                  <a:pt x="149231" y="17238"/>
                  <a:pt x="144950" y="19725"/>
                  <a:pt x="140728" y="22155"/>
                </a:cubicBezTo>
                <a:cubicBezTo>
                  <a:pt x="136505" y="24584"/>
                  <a:pt x="132398" y="26956"/>
                  <a:pt x="132398" y="31005"/>
                </a:cubicBezTo>
                <a:cubicBezTo>
                  <a:pt x="132514" y="33752"/>
                  <a:pt x="132919" y="36483"/>
                  <a:pt x="133555" y="39161"/>
                </a:cubicBezTo>
                <a:cubicBezTo>
                  <a:pt x="134596" y="44598"/>
                  <a:pt x="135695" y="50267"/>
                  <a:pt x="133150" y="53390"/>
                </a:cubicBezTo>
                <a:cubicBezTo>
                  <a:pt x="131299" y="55299"/>
                  <a:pt x="128581" y="56109"/>
                  <a:pt x="125977" y="55531"/>
                </a:cubicBezTo>
                <a:lnTo>
                  <a:pt x="123201" y="55531"/>
                </a:lnTo>
                <a:cubicBezTo>
                  <a:pt x="119614" y="55531"/>
                  <a:pt x="119557" y="56341"/>
                  <a:pt x="119326" y="59406"/>
                </a:cubicBezTo>
                <a:cubicBezTo>
                  <a:pt x="119268" y="63600"/>
                  <a:pt x="117822" y="67661"/>
                  <a:pt x="115276" y="70975"/>
                </a:cubicBezTo>
                <a:cubicBezTo>
                  <a:pt x="113310" y="73636"/>
                  <a:pt x="111632" y="74851"/>
                  <a:pt x="109954" y="74851"/>
                </a:cubicBezTo>
                <a:cubicBezTo>
                  <a:pt x="108277" y="74851"/>
                  <a:pt x="106368" y="72884"/>
                  <a:pt x="105038" y="70975"/>
                </a:cubicBezTo>
                <a:cubicBezTo>
                  <a:pt x="103707" y="69066"/>
                  <a:pt x="101799" y="66637"/>
                  <a:pt x="99253" y="67447"/>
                </a:cubicBezTo>
                <a:cubicBezTo>
                  <a:pt x="98270" y="67800"/>
                  <a:pt x="97171" y="67973"/>
                  <a:pt x="96130" y="67967"/>
                </a:cubicBezTo>
                <a:cubicBezTo>
                  <a:pt x="93180" y="67753"/>
                  <a:pt x="90287" y="66984"/>
                  <a:pt x="87627" y="65711"/>
                </a:cubicBezTo>
                <a:cubicBezTo>
                  <a:pt x="85834" y="64838"/>
                  <a:pt x="83867" y="64271"/>
                  <a:pt x="81842" y="64034"/>
                </a:cubicBezTo>
                <a:cubicBezTo>
                  <a:pt x="80685" y="63970"/>
                  <a:pt x="79644" y="64612"/>
                  <a:pt x="79123" y="65654"/>
                </a:cubicBezTo>
                <a:cubicBezTo>
                  <a:pt x="77330" y="68303"/>
                  <a:pt x="74149" y="69726"/>
                  <a:pt x="70968" y="69355"/>
                </a:cubicBezTo>
                <a:cubicBezTo>
                  <a:pt x="65993" y="69026"/>
                  <a:pt x="61076" y="68152"/>
                  <a:pt x="56275" y="66753"/>
                </a:cubicBezTo>
                <a:cubicBezTo>
                  <a:pt x="53614" y="66116"/>
                  <a:pt x="50837" y="65422"/>
                  <a:pt x="48061" y="64902"/>
                </a:cubicBezTo>
                <a:cubicBezTo>
                  <a:pt x="41235" y="62663"/>
                  <a:pt x="35278" y="58307"/>
                  <a:pt x="31055" y="52465"/>
                </a:cubicBezTo>
                <a:cubicBezTo>
                  <a:pt x="26832" y="47837"/>
                  <a:pt x="22899" y="43441"/>
                  <a:pt x="18271" y="42863"/>
                </a:cubicBezTo>
                <a:cubicBezTo>
                  <a:pt x="10925" y="43002"/>
                  <a:pt x="4389" y="47571"/>
                  <a:pt x="1728" y="54432"/>
                </a:cubicBezTo>
                <a:cubicBezTo>
                  <a:pt x="5256" y="56884"/>
                  <a:pt x="8669" y="59568"/>
                  <a:pt x="11850" y="62472"/>
                </a:cubicBezTo>
                <a:cubicBezTo>
                  <a:pt x="17404" y="67759"/>
                  <a:pt x="23709" y="72167"/>
                  <a:pt x="30592" y="75545"/>
                </a:cubicBezTo>
                <a:cubicBezTo>
                  <a:pt x="33658" y="76933"/>
                  <a:pt x="37302" y="78379"/>
                  <a:pt x="41120" y="79941"/>
                </a:cubicBezTo>
                <a:cubicBezTo>
                  <a:pt x="55986" y="85726"/>
                  <a:pt x="71315" y="92088"/>
                  <a:pt x="70042" y="100071"/>
                </a:cubicBezTo>
                <a:cubicBezTo>
                  <a:pt x="70042" y="101690"/>
                  <a:pt x="69464" y="103426"/>
                  <a:pt x="69174" y="105219"/>
                </a:cubicBezTo>
                <a:cubicBezTo>
                  <a:pt x="67728" y="113144"/>
                  <a:pt x="66108" y="122052"/>
                  <a:pt x="70736" y="124886"/>
                </a:cubicBezTo>
                <a:cubicBezTo>
                  <a:pt x="74380" y="127084"/>
                  <a:pt x="74265" y="132406"/>
                  <a:pt x="74091" y="137496"/>
                </a:cubicBezTo>
                <a:cubicBezTo>
                  <a:pt x="73918" y="142586"/>
                  <a:pt x="73744" y="147792"/>
                  <a:pt x="77157" y="149528"/>
                </a:cubicBezTo>
                <a:cubicBezTo>
                  <a:pt x="82363" y="152131"/>
                  <a:pt x="83520" y="160518"/>
                  <a:pt x="81958" y="166881"/>
                </a:cubicBezTo>
                <a:cubicBezTo>
                  <a:pt x="80801" y="171798"/>
                  <a:pt x="78313" y="174806"/>
                  <a:pt x="75364" y="174806"/>
                </a:cubicBezTo>
                <a:cubicBezTo>
                  <a:pt x="74843" y="174806"/>
                  <a:pt x="74207" y="174806"/>
                  <a:pt x="74091" y="175211"/>
                </a:cubicBezTo>
                <a:cubicBezTo>
                  <a:pt x="73339" y="177004"/>
                  <a:pt x="77562" y="183309"/>
                  <a:pt x="81379" y="186780"/>
                </a:cubicBezTo>
                <a:cubicBezTo>
                  <a:pt x="83925" y="190800"/>
                  <a:pt x="85313" y="195439"/>
                  <a:pt x="85429" y="200199"/>
                </a:cubicBezTo>
                <a:cubicBezTo>
                  <a:pt x="91039" y="201807"/>
                  <a:pt x="96477" y="203982"/>
                  <a:pt x="101683" y="206678"/>
                </a:cubicBezTo>
                <a:lnTo>
                  <a:pt x="106831" y="209107"/>
                </a:lnTo>
                <a:cubicBezTo>
                  <a:pt x="116896" y="213561"/>
                  <a:pt x="117012" y="220387"/>
                  <a:pt x="117127" y="227675"/>
                </a:cubicBezTo>
                <a:cubicBezTo>
                  <a:pt x="117127" y="228774"/>
                  <a:pt x="117127" y="229931"/>
                  <a:pt x="117127" y="231088"/>
                </a:cubicBezTo>
                <a:lnTo>
                  <a:pt x="117127" y="231667"/>
                </a:lnTo>
                <a:cubicBezTo>
                  <a:pt x="117127" y="237451"/>
                  <a:pt x="117532" y="240748"/>
                  <a:pt x="116028" y="242310"/>
                </a:cubicBezTo>
                <a:cubicBezTo>
                  <a:pt x="114524" y="243872"/>
                  <a:pt x="113136" y="243409"/>
                  <a:pt x="110244" y="241732"/>
                </a:cubicBezTo>
                <a:cubicBezTo>
                  <a:pt x="104922" y="238319"/>
                  <a:pt x="99716" y="242830"/>
                  <a:pt x="96997" y="253300"/>
                </a:cubicBezTo>
                <a:cubicBezTo>
                  <a:pt x="93758" y="265332"/>
                  <a:pt x="78082" y="280719"/>
                  <a:pt x="68075" y="281586"/>
                </a:cubicBezTo>
                <a:cubicBezTo>
                  <a:pt x="64489" y="281951"/>
                  <a:pt x="61365" y="284137"/>
                  <a:pt x="59746" y="287371"/>
                </a:cubicBezTo>
                <a:cubicBezTo>
                  <a:pt x="58184" y="290442"/>
                  <a:pt x="55465" y="292768"/>
                  <a:pt x="52168" y="293849"/>
                </a:cubicBezTo>
                <a:cubicBezTo>
                  <a:pt x="46847" y="295180"/>
                  <a:pt x="37996" y="298824"/>
                  <a:pt x="38459" y="307616"/>
                </a:cubicBezTo>
                <a:cubicBezTo>
                  <a:pt x="38575" y="309756"/>
                  <a:pt x="37765" y="311839"/>
                  <a:pt x="36319" y="313401"/>
                </a:cubicBezTo>
                <a:cubicBezTo>
                  <a:pt x="32443" y="317450"/>
                  <a:pt x="24229" y="317912"/>
                  <a:pt x="18329" y="317912"/>
                </a:cubicBezTo>
                <a:cubicBezTo>
                  <a:pt x="15090" y="317912"/>
                  <a:pt x="13875" y="320863"/>
                  <a:pt x="12255" y="325779"/>
                </a:cubicBezTo>
                <a:cubicBezTo>
                  <a:pt x="11619" y="329429"/>
                  <a:pt x="9652" y="332726"/>
                  <a:pt x="6818" y="335092"/>
                </a:cubicBezTo>
                <a:cubicBezTo>
                  <a:pt x="5141" y="335885"/>
                  <a:pt x="3926" y="337360"/>
                  <a:pt x="3405" y="339141"/>
                </a:cubicBezTo>
                <a:cubicBezTo>
                  <a:pt x="2943" y="341513"/>
                  <a:pt x="4389" y="344926"/>
                  <a:pt x="7859" y="349206"/>
                </a:cubicBezTo>
                <a:cubicBezTo>
                  <a:pt x="10694" y="352966"/>
                  <a:pt x="11735" y="357796"/>
                  <a:pt x="10694" y="362395"/>
                </a:cubicBezTo>
                <a:cubicBezTo>
                  <a:pt x="10231" y="364396"/>
                  <a:pt x="10231" y="366467"/>
                  <a:pt x="10694" y="368468"/>
                </a:cubicBezTo>
                <a:cubicBezTo>
                  <a:pt x="11098" y="369336"/>
                  <a:pt x="11619" y="370493"/>
                  <a:pt x="12313" y="371765"/>
                </a:cubicBezTo>
                <a:cubicBezTo>
                  <a:pt x="15437" y="378070"/>
                  <a:pt x="20759" y="388598"/>
                  <a:pt x="15553" y="399993"/>
                </a:cubicBezTo>
                <a:cubicBezTo>
                  <a:pt x="4620" y="424115"/>
                  <a:pt x="6529" y="426718"/>
                  <a:pt x="6645" y="426833"/>
                </a:cubicBezTo>
                <a:lnTo>
                  <a:pt x="6645" y="426833"/>
                </a:lnTo>
                <a:cubicBezTo>
                  <a:pt x="9537" y="425966"/>
                  <a:pt x="13702" y="428453"/>
                  <a:pt x="18561" y="431345"/>
                </a:cubicBezTo>
                <a:cubicBezTo>
                  <a:pt x="22552" y="434492"/>
                  <a:pt x="27295" y="436493"/>
                  <a:pt x="32328" y="437130"/>
                </a:cubicBezTo>
                <a:cubicBezTo>
                  <a:pt x="36145" y="437141"/>
                  <a:pt x="39616" y="439137"/>
                  <a:pt x="41583" y="442393"/>
                </a:cubicBezTo>
                <a:cubicBezTo>
                  <a:pt x="43665" y="444938"/>
                  <a:pt x="45516" y="447021"/>
                  <a:pt x="48640" y="446095"/>
                </a:cubicBezTo>
                <a:cubicBezTo>
                  <a:pt x="50143" y="445737"/>
                  <a:pt x="51705" y="445777"/>
                  <a:pt x="53209" y="44621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1" name="Forma libre: forma 360">
            <a:extLst>
              <a:ext uri="{FF2B5EF4-FFF2-40B4-BE49-F238E27FC236}">
                <a16:creationId xmlns:a16="http://schemas.microsoft.com/office/drawing/2014/main" id="{0BDC9D49-F96B-BA59-588B-D358066EAF37}"/>
              </a:ext>
            </a:extLst>
          </p:cNvPr>
          <p:cNvSpPr/>
          <p:nvPr/>
        </p:nvSpPr>
        <p:spPr>
          <a:xfrm>
            <a:off x="7120175" y="3563524"/>
            <a:ext cx="577285" cy="463721"/>
          </a:xfrm>
          <a:custGeom>
            <a:avLst/>
            <a:gdLst>
              <a:gd name="connsiteX0" fmla="*/ 216517 w 577285"/>
              <a:gd name="connsiteY0" fmla="*/ 463544 h 463721"/>
              <a:gd name="connsiteX1" fmla="*/ 216112 w 577285"/>
              <a:gd name="connsiteY1" fmla="*/ 463544 h 463721"/>
              <a:gd name="connsiteX2" fmla="*/ 215476 w 577285"/>
              <a:gd name="connsiteY2" fmla="*/ 462908 h 463721"/>
              <a:gd name="connsiteX3" fmla="*/ 206626 w 577285"/>
              <a:gd name="connsiteY3" fmla="*/ 447290 h 463721"/>
              <a:gd name="connsiteX4" fmla="*/ 203502 w 577285"/>
              <a:gd name="connsiteY4" fmla="*/ 438671 h 463721"/>
              <a:gd name="connsiteX5" fmla="*/ 197718 w 577285"/>
              <a:gd name="connsiteY5" fmla="*/ 426408 h 463721"/>
              <a:gd name="connsiteX6" fmla="*/ 172498 w 577285"/>
              <a:gd name="connsiteY6" fmla="*/ 384471 h 463721"/>
              <a:gd name="connsiteX7" fmla="*/ 141435 w 577285"/>
              <a:gd name="connsiteY7" fmla="*/ 349070 h 463721"/>
              <a:gd name="connsiteX8" fmla="*/ 118644 w 577285"/>
              <a:gd name="connsiteY8" fmla="*/ 302043 h 463721"/>
              <a:gd name="connsiteX9" fmla="*/ 118644 w 577285"/>
              <a:gd name="connsiteY9" fmla="*/ 293829 h 463721"/>
              <a:gd name="connsiteX10" fmla="*/ 112282 w 577285"/>
              <a:gd name="connsiteY10" fmla="*/ 272658 h 463721"/>
              <a:gd name="connsiteX11" fmla="*/ 104125 w 577285"/>
              <a:gd name="connsiteY11" fmla="*/ 261494 h 463721"/>
              <a:gd name="connsiteX12" fmla="*/ 87698 w 577285"/>
              <a:gd name="connsiteY12" fmla="*/ 241943 h 463721"/>
              <a:gd name="connsiteX13" fmla="*/ 66238 w 577285"/>
              <a:gd name="connsiteY13" fmla="*/ 210823 h 463721"/>
              <a:gd name="connsiteX14" fmla="*/ 26961 w 577285"/>
              <a:gd name="connsiteY14" fmla="*/ 150144 h 463721"/>
              <a:gd name="connsiteX15" fmla="*/ 13888 w 577285"/>
              <a:gd name="connsiteY15" fmla="*/ 132790 h 463721"/>
              <a:gd name="connsiteX16" fmla="*/ 5212 w 577285"/>
              <a:gd name="connsiteY16" fmla="*/ 123188 h 463721"/>
              <a:gd name="connsiteX17" fmla="*/ 700 w 577285"/>
              <a:gd name="connsiteY17" fmla="*/ 102480 h 463721"/>
              <a:gd name="connsiteX18" fmla="*/ -110 w 577285"/>
              <a:gd name="connsiteY18" fmla="*/ 91316 h 463721"/>
              <a:gd name="connsiteX19" fmla="*/ -110 w 577285"/>
              <a:gd name="connsiteY19" fmla="*/ 90796 h 463721"/>
              <a:gd name="connsiteX20" fmla="*/ 989 w 577285"/>
              <a:gd name="connsiteY20" fmla="*/ 83392 h 463721"/>
              <a:gd name="connsiteX21" fmla="*/ 3881 w 577285"/>
              <a:gd name="connsiteY21" fmla="*/ 75351 h 463721"/>
              <a:gd name="connsiteX22" fmla="*/ 4518 w 577285"/>
              <a:gd name="connsiteY22" fmla="*/ 74715 h 463721"/>
              <a:gd name="connsiteX23" fmla="*/ 5501 w 577285"/>
              <a:gd name="connsiteY23" fmla="*/ 74715 h 463721"/>
              <a:gd name="connsiteX24" fmla="*/ 32225 w 577285"/>
              <a:gd name="connsiteY24" fmla="*/ 86631 h 463721"/>
              <a:gd name="connsiteX25" fmla="*/ 52529 w 577285"/>
              <a:gd name="connsiteY25" fmla="*/ 71591 h 463721"/>
              <a:gd name="connsiteX26" fmla="*/ 70923 w 577285"/>
              <a:gd name="connsiteY26" fmla="*/ 62915 h 463721"/>
              <a:gd name="connsiteX27" fmla="*/ 80063 w 577285"/>
              <a:gd name="connsiteY27" fmla="*/ 56552 h 463721"/>
              <a:gd name="connsiteX28" fmla="*/ 86599 w 577285"/>
              <a:gd name="connsiteY28" fmla="*/ 50073 h 463721"/>
              <a:gd name="connsiteX29" fmla="*/ 87177 w 577285"/>
              <a:gd name="connsiteY29" fmla="*/ 48916 h 463721"/>
              <a:gd name="connsiteX30" fmla="*/ 66238 w 577285"/>
              <a:gd name="connsiteY30" fmla="*/ 28439 h 463721"/>
              <a:gd name="connsiteX31" fmla="*/ 63750 w 577285"/>
              <a:gd name="connsiteY31" fmla="*/ 24506 h 463721"/>
              <a:gd name="connsiteX32" fmla="*/ 93482 w 577285"/>
              <a:gd name="connsiteY32" fmla="*/ 8946 h 463721"/>
              <a:gd name="connsiteX33" fmla="*/ 111587 w 577285"/>
              <a:gd name="connsiteY33" fmla="*/ 3682 h 463721"/>
              <a:gd name="connsiteX34" fmla="*/ 121594 w 577285"/>
              <a:gd name="connsiteY34" fmla="*/ 385 h 463721"/>
              <a:gd name="connsiteX35" fmla="*/ 131601 w 577285"/>
              <a:gd name="connsiteY35" fmla="*/ 38 h 463721"/>
              <a:gd name="connsiteX36" fmla="*/ 144385 w 577285"/>
              <a:gd name="connsiteY36" fmla="*/ 385 h 463721"/>
              <a:gd name="connsiteX37" fmla="*/ 183083 w 577285"/>
              <a:gd name="connsiteY37" fmla="*/ 22019 h 463721"/>
              <a:gd name="connsiteX38" fmla="*/ 198701 w 577285"/>
              <a:gd name="connsiteY38" fmla="*/ 31737 h 463721"/>
              <a:gd name="connsiteX39" fmla="*/ 264701 w 577285"/>
              <a:gd name="connsiteY39" fmla="*/ 80441 h 463721"/>
              <a:gd name="connsiteX40" fmla="*/ 296342 w 577285"/>
              <a:gd name="connsiteY40" fmla="*/ 90969 h 463721"/>
              <a:gd name="connsiteX41" fmla="*/ 344989 w 577285"/>
              <a:gd name="connsiteY41" fmla="*/ 96349 h 463721"/>
              <a:gd name="connsiteX42" fmla="*/ 345568 w 577285"/>
              <a:gd name="connsiteY42" fmla="*/ 96349 h 463721"/>
              <a:gd name="connsiteX43" fmla="*/ 359334 w 577285"/>
              <a:gd name="connsiteY43" fmla="*/ 107917 h 463721"/>
              <a:gd name="connsiteX44" fmla="*/ 380621 w 577285"/>
              <a:gd name="connsiteY44" fmla="*/ 109017 h 463721"/>
              <a:gd name="connsiteX45" fmla="*/ 381663 w 577285"/>
              <a:gd name="connsiteY45" fmla="*/ 109769 h 463721"/>
              <a:gd name="connsiteX46" fmla="*/ 385133 w 577285"/>
              <a:gd name="connsiteY46" fmla="*/ 121627 h 463721"/>
              <a:gd name="connsiteX47" fmla="*/ 408791 w 577285"/>
              <a:gd name="connsiteY47" fmla="*/ 149797 h 463721"/>
              <a:gd name="connsiteX48" fmla="*/ 412609 w 577285"/>
              <a:gd name="connsiteY48" fmla="*/ 153210 h 463721"/>
              <a:gd name="connsiteX49" fmla="*/ 424872 w 577285"/>
              <a:gd name="connsiteY49" fmla="*/ 184272 h 463721"/>
              <a:gd name="connsiteX50" fmla="*/ 424178 w 577285"/>
              <a:gd name="connsiteY50" fmla="*/ 187916 h 463721"/>
              <a:gd name="connsiteX51" fmla="*/ 439275 w 577285"/>
              <a:gd name="connsiteY51" fmla="*/ 212037 h 463721"/>
              <a:gd name="connsiteX52" fmla="*/ 439680 w 577285"/>
              <a:gd name="connsiteY52" fmla="*/ 212558 h 463721"/>
              <a:gd name="connsiteX53" fmla="*/ 458422 w 577285"/>
              <a:gd name="connsiteY53" fmla="*/ 227713 h 463721"/>
              <a:gd name="connsiteX54" fmla="*/ 461257 w 577285"/>
              <a:gd name="connsiteY54" fmla="*/ 227713 h 463721"/>
              <a:gd name="connsiteX55" fmla="*/ 462471 w 577285"/>
              <a:gd name="connsiteY55" fmla="*/ 228581 h 463721"/>
              <a:gd name="connsiteX56" fmla="*/ 473404 w 577285"/>
              <a:gd name="connsiteY56" fmla="*/ 245413 h 463721"/>
              <a:gd name="connsiteX57" fmla="*/ 473866 w 577285"/>
              <a:gd name="connsiteY57" fmla="*/ 246165 h 463721"/>
              <a:gd name="connsiteX58" fmla="*/ 493938 w 577285"/>
              <a:gd name="connsiteY58" fmla="*/ 274683 h 463721"/>
              <a:gd name="connsiteX59" fmla="*/ 560286 w 577285"/>
              <a:gd name="connsiteY59" fmla="*/ 282434 h 463721"/>
              <a:gd name="connsiteX60" fmla="*/ 561905 w 577285"/>
              <a:gd name="connsiteY60" fmla="*/ 282434 h 463721"/>
              <a:gd name="connsiteX61" fmla="*/ 562541 w 577285"/>
              <a:gd name="connsiteY61" fmla="*/ 282434 h 463721"/>
              <a:gd name="connsiteX62" fmla="*/ 577176 w 577285"/>
              <a:gd name="connsiteY62" fmla="*/ 303084 h 463721"/>
              <a:gd name="connsiteX63" fmla="*/ 558030 w 577285"/>
              <a:gd name="connsiteY63" fmla="*/ 360928 h 463721"/>
              <a:gd name="connsiteX64" fmla="*/ 447547 w 577285"/>
              <a:gd name="connsiteY64" fmla="*/ 397023 h 463721"/>
              <a:gd name="connsiteX65" fmla="*/ 414692 w 577285"/>
              <a:gd name="connsiteY65" fmla="*/ 398874 h 463721"/>
              <a:gd name="connsiteX66" fmla="*/ 393926 w 577285"/>
              <a:gd name="connsiteY66" fmla="*/ 400031 h 463721"/>
              <a:gd name="connsiteX67" fmla="*/ 352335 w 577285"/>
              <a:gd name="connsiteY67" fmla="*/ 436126 h 463721"/>
              <a:gd name="connsiteX68" fmla="*/ 340188 w 577285"/>
              <a:gd name="connsiteY68" fmla="*/ 446943 h 463721"/>
              <a:gd name="connsiteX69" fmla="*/ 331858 w 577285"/>
              <a:gd name="connsiteY69" fmla="*/ 443646 h 463721"/>
              <a:gd name="connsiteX70" fmla="*/ 306638 w 577285"/>
              <a:gd name="connsiteY70" fmla="*/ 439250 h 463721"/>
              <a:gd name="connsiteX71" fmla="*/ 293508 w 577285"/>
              <a:gd name="connsiteY71" fmla="*/ 437283 h 463721"/>
              <a:gd name="connsiteX72" fmla="*/ 268924 w 577285"/>
              <a:gd name="connsiteY72" fmla="*/ 433986 h 463721"/>
              <a:gd name="connsiteX73" fmla="*/ 260884 w 577285"/>
              <a:gd name="connsiteY73" fmla="*/ 434506 h 463721"/>
              <a:gd name="connsiteX74" fmla="*/ 257471 w 577285"/>
              <a:gd name="connsiteY74" fmla="*/ 434506 h 463721"/>
              <a:gd name="connsiteX75" fmla="*/ 247001 w 577285"/>
              <a:gd name="connsiteY75" fmla="*/ 432193 h 463721"/>
              <a:gd name="connsiteX76" fmla="*/ 240811 w 577285"/>
              <a:gd name="connsiteY76" fmla="*/ 431036 h 463721"/>
              <a:gd name="connsiteX77" fmla="*/ 229648 w 577285"/>
              <a:gd name="connsiteY77" fmla="*/ 440811 h 463721"/>
              <a:gd name="connsiteX78" fmla="*/ 230110 w 577285"/>
              <a:gd name="connsiteY78" fmla="*/ 447926 h 463721"/>
              <a:gd name="connsiteX79" fmla="*/ 230574 w 577285"/>
              <a:gd name="connsiteY79" fmla="*/ 455446 h 463721"/>
              <a:gd name="connsiteX80" fmla="*/ 217385 w 577285"/>
              <a:gd name="connsiteY80" fmla="*/ 462850 h 463721"/>
              <a:gd name="connsiteX81" fmla="*/ 216864 w 577285"/>
              <a:gd name="connsiteY81" fmla="*/ 463585 h 463721"/>
              <a:gd name="connsiteX82" fmla="*/ 216517 w 577285"/>
              <a:gd name="connsiteY82" fmla="*/ 463544 h 463721"/>
              <a:gd name="connsiteX83" fmla="*/ 1799 w 577285"/>
              <a:gd name="connsiteY83" fmla="*/ 91027 h 463721"/>
              <a:gd name="connsiteX84" fmla="*/ 2609 w 577285"/>
              <a:gd name="connsiteY84" fmla="*/ 102596 h 463721"/>
              <a:gd name="connsiteX85" fmla="*/ 5617 w 577285"/>
              <a:gd name="connsiteY85" fmla="*/ 121164 h 463721"/>
              <a:gd name="connsiteX86" fmla="*/ 15392 w 577285"/>
              <a:gd name="connsiteY86" fmla="*/ 131634 h 463721"/>
              <a:gd name="connsiteX87" fmla="*/ 28292 w 577285"/>
              <a:gd name="connsiteY87" fmla="*/ 148524 h 463721"/>
              <a:gd name="connsiteX88" fmla="*/ 68146 w 577285"/>
              <a:gd name="connsiteY88" fmla="*/ 210591 h 463721"/>
              <a:gd name="connsiteX89" fmla="*/ 88623 w 577285"/>
              <a:gd name="connsiteY89" fmla="*/ 239976 h 463721"/>
              <a:gd name="connsiteX90" fmla="*/ 105977 w 577285"/>
              <a:gd name="connsiteY90" fmla="*/ 260279 h 463721"/>
              <a:gd name="connsiteX91" fmla="*/ 113554 w 577285"/>
              <a:gd name="connsiteY91" fmla="*/ 270749 h 463721"/>
              <a:gd name="connsiteX92" fmla="*/ 120784 w 577285"/>
              <a:gd name="connsiteY92" fmla="*/ 293887 h 463721"/>
              <a:gd name="connsiteX93" fmla="*/ 120784 w 577285"/>
              <a:gd name="connsiteY93" fmla="*/ 302043 h 463721"/>
              <a:gd name="connsiteX94" fmla="*/ 142476 w 577285"/>
              <a:gd name="connsiteY94" fmla="*/ 347219 h 463721"/>
              <a:gd name="connsiteX95" fmla="*/ 174464 w 577285"/>
              <a:gd name="connsiteY95" fmla="*/ 383719 h 463721"/>
              <a:gd name="connsiteX96" fmla="*/ 199222 w 577285"/>
              <a:gd name="connsiteY96" fmla="*/ 424904 h 463721"/>
              <a:gd name="connsiteX97" fmla="*/ 205932 w 577285"/>
              <a:gd name="connsiteY97" fmla="*/ 438440 h 463721"/>
              <a:gd name="connsiteX98" fmla="*/ 208592 w 577285"/>
              <a:gd name="connsiteY98" fmla="*/ 446017 h 463721"/>
              <a:gd name="connsiteX99" fmla="*/ 217269 w 577285"/>
              <a:gd name="connsiteY99" fmla="*/ 460999 h 463721"/>
              <a:gd name="connsiteX100" fmla="*/ 228375 w 577285"/>
              <a:gd name="connsiteY100" fmla="*/ 455215 h 463721"/>
              <a:gd name="connsiteX101" fmla="*/ 227681 w 577285"/>
              <a:gd name="connsiteY101" fmla="*/ 449430 h 463721"/>
              <a:gd name="connsiteX102" fmla="*/ 227681 w 577285"/>
              <a:gd name="connsiteY102" fmla="*/ 440407 h 463721"/>
              <a:gd name="connsiteX103" fmla="*/ 239944 w 577285"/>
              <a:gd name="connsiteY103" fmla="*/ 429879 h 463721"/>
              <a:gd name="connsiteX104" fmla="*/ 247637 w 577285"/>
              <a:gd name="connsiteY104" fmla="*/ 431036 h 463721"/>
              <a:gd name="connsiteX105" fmla="*/ 257298 w 577285"/>
              <a:gd name="connsiteY105" fmla="*/ 433234 h 463721"/>
              <a:gd name="connsiteX106" fmla="*/ 260363 w 577285"/>
              <a:gd name="connsiteY106" fmla="*/ 433234 h 463721"/>
              <a:gd name="connsiteX107" fmla="*/ 268751 w 577285"/>
              <a:gd name="connsiteY107" fmla="*/ 432713 h 463721"/>
              <a:gd name="connsiteX108" fmla="*/ 294954 w 577285"/>
              <a:gd name="connsiteY108" fmla="*/ 436705 h 463721"/>
              <a:gd name="connsiteX109" fmla="*/ 306523 w 577285"/>
              <a:gd name="connsiteY109" fmla="*/ 437977 h 463721"/>
              <a:gd name="connsiteX110" fmla="*/ 333016 w 577285"/>
              <a:gd name="connsiteY110" fmla="*/ 442836 h 463721"/>
              <a:gd name="connsiteX111" fmla="*/ 350021 w 577285"/>
              <a:gd name="connsiteY111" fmla="*/ 436242 h 463721"/>
              <a:gd name="connsiteX112" fmla="*/ 392711 w 577285"/>
              <a:gd name="connsiteY112" fmla="*/ 398990 h 463721"/>
              <a:gd name="connsiteX113" fmla="*/ 414402 w 577285"/>
              <a:gd name="connsiteY113" fmla="*/ 397660 h 463721"/>
              <a:gd name="connsiteX114" fmla="*/ 446795 w 577285"/>
              <a:gd name="connsiteY114" fmla="*/ 395809 h 463721"/>
              <a:gd name="connsiteX115" fmla="*/ 556700 w 577285"/>
              <a:gd name="connsiteY115" fmla="*/ 360119 h 463721"/>
              <a:gd name="connsiteX116" fmla="*/ 575036 w 577285"/>
              <a:gd name="connsiteY116" fmla="*/ 304010 h 463721"/>
              <a:gd name="connsiteX117" fmla="*/ 562599 w 577285"/>
              <a:gd name="connsiteY117" fmla="*/ 285615 h 463721"/>
              <a:gd name="connsiteX118" fmla="*/ 562195 w 577285"/>
              <a:gd name="connsiteY118" fmla="*/ 285615 h 463721"/>
              <a:gd name="connsiteX119" fmla="*/ 560343 w 577285"/>
              <a:gd name="connsiteY119" fmla="*/ 285615 h 463721"/>
              <a:gd name="connsiteX120" fmla="*/ 492839 w 577285"/>
              <a:gd name="connsiteY120" fmla="*/ 277575 h 463721"/>
              <a:gd name="connsiteX121" fmla="*/ 471726 w 577285"/>
              <a:gd name="connsiteY121" fmla="*/ 247843 h 463721"/>
              <a:gd name="connsiteX122" fmla="*/ 460620 w 577285"/>
              <a:gd name="connsiteY122" fmla="*/ 231010 h 463721"/>
              <a:gd name="connsiteX123" fmla="*/ 458479 w 577285"/>
              <a:gd name="connsiteY123" fmla="*/ 231010 h 463721"/>
              <a:gd name="connsiteX124" fmla="*/ 437714 w 577285"/>
              <a:gd name="connsiteY124" fmla="*/ 214756 h 463721"/>
              <a:gd name="connsiteX125" fmla="*/ 421980 w 577285"/>
              <a:gd name="connsiteY125" fmla="*/ 189247 h 463721"/>
              <a:gd name="connsiteX126" fmla="*/ 423195 w 577285"/>
              <a:gd name="connsiteY126" fmla="*/ 183809 h 463721"/>
              <a:gd name="connsiteX127" fmla="*/ 411163 w 577285"/>
              <a:gd name="connsiteY127" fmla="*/ 155928 h 463721"/>
              <a:gd name="connsiteX128" fmla="*/ 407345 w 577285"/>
              <a:gd name="connsiteY128" fmla="*/ 152516 h 463721"/>
              <a:gd name="connsiteX129" fmla="*/ 382935 w 577285"/>
              <a:gd name="connsiteY129" fmla="*/ 122899 h 463721"/>
              <a:gd name="connsiteX130" fmla="*/ 379869 w 577285"/>
              <a:gd name="connsiteY130" fmla="*/ 112256 h 463721"/>
              <a:gd name="connsiteX131" fmla="*/ 358872 w 577285"/>
              <a:gd name="connsiteY131" fmla="*/ 111215 h 463721"/>
              <a:gd name="connsiteX132" fmla="*/ 358178 w 577285"/>
              <a:gd name="connsiteY132" fmla="*/ 110925 h 463721"/>
              <a:gd name="connsiteX133" fmla="*/ 344469 w 577285"/>
              <a:gd name="connsiteY133" fmla="*/ 99357 h 463721"/>
              <a:gd name="connsiteX134" fmla="*/ 296400 w 577285"/>
              <a:gd name="connsiteY134" fmla="*/ 94035 h 463721"/>
              <a:gd name="connsiteX135" fmla="*/ 263255 w 577285"/>
              <a:gd name="connsiteY135" fmla="*/ 82929 h 463721"/>
              <a:gd name="connsiteX136" fmla="*/ 197718 w 577285"/>
              <a:gd name="connsiteY136" fmla="*/ 34571 h 463721"/>
              <a:gd name="connsiteX137" fmla="*/ 181926 w 577285"/>
              <a:gd name="connsiteY137" fmla="*/ 24737 h 463721"/>
              <a:gd name="connsiteX138" fmla="*/ 144154 w 577285"/>
              <a:gd name="connsiteY138" fmla="*/ 3393 h 463721"/>
              <a:gd name="connsiteX139" fmla="*/ 131775 w 577285"/>
              <a:gd name="connsiteY139" fmla="*/ 3104 h 463721"/>
              <a:gd name="connsiteX140" fmla="*/ 121652 w 577285"/>
              <a:gd name="connsiteY140" fmla="*/ 3451 h 463721"/>
              <a:gd name="connsiteX141" fmla="*/ 113034 w 577285"/>
              <a:gd name="connsiteY141" fmla="*/ 6343 h 463721"/>
              <a:gd name="connsiteX142" fmla="*/ 93656 w 577285"/>
              <a:gd name="connsiteY142" fmla="*/ 12127 h 463721"/>
              <a:gd name="connsiteX143" fmla="*/ 66006 w 577285"/>
              <a:gd name="connsiteY143" fmla="*/ 25721 h 463721"/>
              <a:gd name="connsiteX144" fmla="*/ 66874 w 577285"/>
              <a:gd name="connsiteY144" fmla="*/ 27092 h 463721"/>
              <a:gd name="connsiteX145" fmla="*/ 66990 w 577285"/>
              <a:gd name="connsiteY145" fmla="*/ 27109 h 463721"/>
              <a:gd name="connsiteX146" fmla="*/ 89491 w 577285"/>
              <a:gd name="connsiteY146" fmla="*/ 49611 h 463721"/>
              <a:gd name="connsiteX147" fmla="*/ 87640 w 577285"/>
              <a:gd name="connsiteY147" fmla="*/ 52965 h 463721"/>
              <a:gd name="connsiteX148" fmla="*/ 81855 w 577285"/>
              <a:gd name="connsiteY148" fmla="*/ 58750 h 463721"/>
              <a:gd name="connsiteX149" fmla="*/ 70923 w 577285"/>
              <a:gd name="connsiteY149" fmla="*/ 66038 h 463721"/>
              <a:gd name="connsiteX150" fmla="*/ 54785 w 577285"/>
              <a:gd name="connsiteY150" fmla="*/ 72459 h 463721"/>
              <a:gd name="connsiteX151" fmla="*/ 31647 w 577285"/>
              <a:gd name="connsiteY151" fmla="*/ 89812 h 463721"/>
              <a:gd name="connsiteX152" fmla="*/ 5270 w 577285"/>
              <a:gd name="connsiteY152" fmla="*/ 78243 h 463721"/>
              <a:gd name="connsiteX153" fmla="*/ 2898 w 577285"/>
              <a:gd name="connsiteY153" fmla="*/ 84838 h 46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577285" h="463721">
                <a:moveTo>
                  <a:pt x="216517" y="463544"/>
                </a:moveTo>
                <a:lnTo>
                  <a:pt x="216112" y="463544"/>
                </a:lnTo>
                <a:cubicBezTo>
                  <a:pt x="215823" y="463429"/>
                  <a:pt x="215591" y="463197"/>
                  <a:pt x="215476" y="462908"/>
                </a:cubicBezTo>
                <a:cubicBezTo>
                  <a:pt x="213162" y="457366"/>
                  <a:pt x="210212" y="452120"/>
                  <a:pt x="206626" y="447290"/>
                </a:cubicBezTo>
                <a:cubicBezTo>
                  <a:pt x="204774" y="444780"/>
                  <a:pt x="203676" y="441789"/>
                  <a:pt x="203502" y="438671"/>
                </a:cubicBezTo>
                <a:cubicBezTo>
                  <a:pt x="203213" y="433992"/>
                  <a:pt x="201188" y="429595"/>
                  <a:pt x="197718" y="426408"/>
                </a:cubicBezTo>
                <a:cubicBezTo>
                  <a:pt x="186669" y="414220"/>
                  <a:pt x="178050" y="399968"/>
                  <a:pt x="172498" y="384471"/>
                </a:cubicBezTo>
                <a:cubicBezTo>
                  <a:pt x="166713" y="369339"/>
                  <a:pt x="155665" y="356781"/>
                  <a:pt x="141435" y="349070"/>
                </a:cubicBezTo>
                <a:cubicBezTo>
                  <a:pt x="126338" y="339815"/>
                  <a:pt x="119050" y="318239"/>
                  <a:pt x="118644" y="302043"/>
                </a:cubicBezTo>
                <a:cubicBezTo>
                  <a:pt x="118644" y="299035"/>
                  <a:pt x="118644" y="296258"/>
                  <a:pt x="118644" y="293829"/>
                </a:cubicBezTo>
                <a:cubicBezTo>
                  <a:pt x="118644" y="283012"/>
                  <a:pt x="118644" y="277575"/>
                  <a:pt x="112282" y="272658"/>
                </a:cubicBezTo>
                <a:cubicBezTo>
                  <a:pt x="108811" y="269552"/>
                  <a:pt x="106035" y="265746"/>
                  <a:pt x="104125" y="261494"/>
                </a:cubicBezTo>
                <a:cubicBezTo>
                  <a:pt x="100481" y="253633"/>
                  <a:pt x="94812" y="246883"/>
                  <a:pt x="87698" y="241943"/>
                </a:cubicBezTo>
                <a:cubicBezTo>
                  <a:pt x="73584" y="232398"/>
                  <a:pt x="66700" y="222507"/>
                  <a:pt x="66238" y="210823"/>
                </a:cubicBezTo>
                <a:cubicBezTo>
                  <a:pt x="65832" y="202204"/>
                  <a:pt x="39976" y="164547"/>
                  <a:pt x="26961" y="150144"/>
                </a:cubicBezTo>
                <a:cubicBezTo>
                  <a:pt x="22102" y="144735"/>
                  <a:pt x="17764" y="138934"/>
                  <a:pt x="13888" y="132790"/>
                </a:cubicBezTo>
                <a:cubicBezTo>
                  <a:pt x="10418" y="127585"/>
                  <a:pt x="8104" y="124114"/>
                  <a:pt x="5212" y="123188"/>
                </a:cubicBezTo>
                <a:cubicBezTo>
                  <a:pt x="931" y="121742"/>
                  <a:pt x="815" y="111967"/>
                  <a:pt x="700" y="102480"/>
                </a:cubicBezTo>
                <a:cubicBezTo>
                  <a:pt x="815" y="98743"/>
                  <a:pt x="527" y="95001"/>
                  <a:pt x="-110" y="91316"/>
                </a:cubicBezTo>
                <a:cubicBezTo>
                  <a:pt x="-110" y="91143"/>
                  <a:pt x="-110" y="90969"/>
                  <a:pt x="-110" y="90796"/>
                </a:cubicBezTo>
                <a:lnTo>
                  <a:pt x="989" y="83392"/>
                </a:lnTo>
                <a:lnTo>
                  <a:pt x="3881" y="75351"/>
                </a:lnTo>
                <a:cubicBezTo>
                  <a:pt x="3997" y="75062"/>
                  <a:pt x="4229" y="74831"/>
                  <a:pt x="4518" y="74715"/>
                </a:cubicBezTo>
                <a:cubicBezTo>
                  <a:pt x="4807" y="74570"/>
                  <a:pt x="5212" y="74570"/>
                  <a:pt x="5501" y="74715"/>
                </a:cubicBezTo>
                <a:cubicBezTo>
                  <a:pt x="13773" y="79961"/>
                  <a:pt x="22797" y="83976"/>
                  <a:pt x="32225" y="86631"/>
                </a:cubicBezTo>
                <a:cubicBezTo>
                  <a:pt x="41422" y="87788"/>
                  <a:pt x="52529" y="77087"/>
                  <a:pt x="52529" y="71591"/>
                </a:cubicBezTo>
                <a:cubicBezTo>
                  <a:pt x="52529" y="63898"/>
                  <a:pt x="62362" y="62915"/>
                  <a:pt x="70923" y="62915"/>
                </a:cubicBezTo>
                <a:cubicBezTo>
                  <a:pt x="75435" y="62915"/>
                  <a:pt x="77575" y="59965"/>
                  <a:pt x="80063" y="56552"/>
                </a:cubicBezTo>
                <a:cubicBezTo>
                  <a:pt x="81682" y="53874"/>
                  <a:pt x="83880" y="51647"/>
                  <a:pt x="86599" y="50073"/>
                </a:cubicBezTo>
                <a:cubicBezTo>
                  <a:pt x="87004" y="50073"/>
                  <a:pt x="87235" y="49611"/>
                  <a:pt x="87177" y="48916"/>
                </a:cubicBezTo>
                <a:cubicBezTo>
                  <a:pt x="86830" y="43653"/>
                  <a:pt x="71617" y="30233"/>
                  <a:pt x="66238" y="28439"/>
                </a:cubicBezTo>
                <a:cubicBezTo>
                  <a:pt x="64502" y="27983"/>
                  <a:pt x="63403" y="26265"/>
                  <a:pt x="63750" y="24506"/>
                </a:cubicBezTo>
                <a:cubicBezTo>
                  <a:pt x="64502" y="18722"/>
                  <a:pt x="76476" y="9814"/>
                  <a:pt x="93482" y="8946"/>
                </a:cubicBezTo>
                <a:cubicBezTo>
                  <a:pt x="105051" y="8368"/>
                  <a:pt x="108695" y="5880"/>
                  <a:pt x="111587" y="3682"/>
                </a:cubicBezTo>
                <a:cubicBezTo>
                  <a:pt x="114364" y="1345"/>
                  <a:pt x="117950" y="165"/>
                  <a:pt x="121594" y="385"/>
                </a:cubicBezTo>
                <a:cubicBezTo>
                  <a:pt x="126164" y="385"/>
                  <a:pt x="129172" y="385"/>
                  <a:pt x="131601" y="38"/>
                </a:cubicBezTo>
                <a:cubicBezTo>
                  <a:pt x="135882" y="-269"/>
                  <a:pt x="140163" y="-153"/>
                  <a:pt x="144385" y="385"/>
                </a:cubicBezTo>
                <a:cubicBezTo>
                  <a:pt x="151095" y="1137"/>
                  <a:pt x="168853" y="12706"/>
                  <a:pt x="183083" y="22019"/>
                </a:cubicBezTo>
                <a:cubicBezTo>
                  <a:pt x="189967" y="26473"/>
                  <a:pt x="195867" y="30348"/>
                  <a:pt x="198701" y="31737"/>
                </a:cubicBezTo>
                <a:cubicBezTo>
                  <a:pt x="221549" y="46822"/>
                  <a:pt x="243531" y="63082"/>
                  <a:pt x="264701" y="80441"/>
                </a:cubicBezTo>
                <a:cubicBezTo>
                  <a:pt x="273899" y="87186"/>
                  <a:pt x="284947" y="90871"/>
                  <a:pt x="296342" y="90969"/>
                </a:cubicBezTo>
                <a:cubicBezTo>
                  <a:pt x="302763" y="90969"/>
                  <a:pt x="343312" y="96117"/>
                  <a:pt x="344989" y="96349"/>
                </a:cubicBezTo>
                <a:cubicBezTo>
                  <a:pt x="345163" y="96285"/>
                  <a:pt x="345394" y="96285"/>
                  <a:pt x="345568" y="96349"/>
                </a:cubicBezTo>
                <a:lnTo>
                  <a:pt x="359334" y="107917"/>
                </a:lnTo>
                <a:lnTo>
                  <a:pt x="380621" y="109017"/>
                </a:lnTo>
                <a:cubicBezTo>
                  <a:pt x="381084" y="109017"/>
                  <a:pt x="381489" y="109317"/>
                  <a:pt x="381663" y="109769"/>
                </a:cubicBezTo>
                <a:cubicBezTo>
                  <a:pt x="383282" y="113580"/>
                  <a:pt x="384439" y="117554"/>
                  <a:pt x="385133" y="121627"/>
                </a:cubicBezTo>
                <a:cubicBezTo>
                  <a:pt x="385827" y="129320"/>
                  <a:pt x="399652" y="141641"/>
                  <a:pt x="408791" y="149797"/>
                </a:cubicBezTo>
                <a:cubicBezTo>
                  <a:pt x="410180" y="151012"/>
                  <a:pt x="411510" y="152168"/>
                  <a:pt x="412609" y="153210"/>
                </a:cubicBezTo>
                <a:cubicBezTo>
                  <a:pt x="421806" y="161481"/>
                  <a:pt x="431640" y="176637"/>
                  <a:pt x="424872" y="184272"/>
                </a:cubicBezTo>
                <a:cubicBezTo>
                  <a:pt x="424120" y="185319"/>
                  <a:pt x="423831" y="186661"/>
                  <a:pt x="424178" y="187916"/>
                </a:cubicBezTo>
                <a:cubicBezTo>
                  <a:pt x="426839" y="197217"/>
                  <a:pt x="432045" y="205582"/>
                  <a:pt x="439275" y="212037"/>
                </a:cubicBezTo>
                <a:cubicBezTo>
                  <a:pt x="439449" y="212182"/>
                  <a:pt x="439565" y="212361"/>
                  <a:pt x="439680" y="212558"/>
                </a:cubicBezTo>
                <a:cubicBezTo>
                  <a:pt x="444482" y="225110"/>
                  <a:pt x="452522" y="227713"/>
                  <a:pt x="458422" y="227713"/>
                </a:cubicBezTo>
                <a:cubicBezTo>
                  <a:pt x="459347" y="227771"/>
                  <a:pt x="460331" y="227771"/>
                  <a:pt x="461257" y="227713"/>
                </a:cubicBezTo>
                <a:cubicBezTo>
                  <a:pt x="461835" y="227638"/>
                  <a:pt x="462355" y="228020"/>
                  <a:pt x="462471" y="228581"/>
                </a:cubicBezTo>
                <a:cubicBezTo>
                  <a:pt x="464380" y="235146"/>
                  <a:pt x="468198" y="241000"/>
                  <a:pt x="473404" y="245413"/>
                </a:cubicBezTo>
                <a:cubicBezTo>
                  <a:pt x="473635" y="245593"/>
                  <a:pt x="473808" y="245865"/>
                  <a:pt x="473866" y="246165"/>
                </a:cubicBezTo>
                <a:cubicBezTo>
                  <a:pt x="475833" y="261031"/>
                  <a:pt x="490179" y="272427"/>
                  <a:pt x="493938" y="274683"/>
                </a:cubicBezTo>
                <a:cubicBezTo>
                  <a:pt x="497698" y="276939"/>
                  <a:pt x="547328" y="282434"/>
                  <a:pt x="560286" y="282434"/>
                </a:cubicBezTo>
                <a:lnTo>
                  <a:pt x="561905" y="282434"/>
                </a:lnTo>
                <a:lnTo>
                  <a:pt x="562541" y="282434"/>
                </a:lnTo>
                <a:cubicBezTo>
                  <a:pt x="570235" y="282434"/>
                  <a:pt x="577176" y="297300"/>
                  <a:pt x="577176" y="303084"/>
                </a:cubicBezTo>
                <a:cubicBezTo>
                  <a:pt x="577176" y="307885"/>
                  <a:pt x="562541" y="357400"/>
                  <a:pt x="558030" y="360928"/>
                </a:cubicBezTo>
                <a:cubicBezTo>
                  <a:pt x="553518" y="364457"/>
                  <a:pt x="462124" y="393784"/>
                  <a:pt x="447547" y="397023"/>
                </a:cubicBezTo>
                <a:cubicBezTo>
                  <a:pt x="436673" y="398573"/>
                  <a:pt x="425682" y="399193"/>
                  <a:pt x="414692" y="398874"/>
                </a:cubicBezTo>
                <a:cubicBezTo>
                  <a:pt x="407751" y="398579"/>
                  <a:pt x="400809" y="398967"/>
                  <a:pt x="393926" y="400031"/>
                </a:cubicBezTo>
                <a:cubicBezTo>
                  <a:pt x="389066" y="402461"/>
                  <a:pt x="356732" y="425830"/>
                  <a:pt x="352335" y="436126"/>
                </a:cubicBezTo>
                <a:cubicBezTo>
                  <a:pt x="348517" y="445092"/>
                  <a:pt x="343601" y="446943"/>
                  <a:pt x="340188" y="446943"/>
                </a:cubicBezTo>
                <a:cubicBezTo>
                  <a:pt x="337122" y="446810"/>
                  <a:pt x="334172" y="445653"/>
                  <a:pt x="331858" y="443646"/>
                </a:cubicBezTo>
                <a:cubicBezTo>
                  <a:pt x="327925" y="440580"/>
                  <a:pt x="315604" y="439828"/>
                  <a:pt x="306638" y="439250"/>
                </a:cubicBezTo>
                <a:cubicBezTo>
                  <a:pt x="297673" y="438671"/>
                  <a:pt x="294665" y="438440"/>
                  <a:pt x="293508" y="437283"/>
                </a:cubicBezTo>
                <a:cubicBezTo>
                  <a:pt x="285583" y="434755"/>
                  <a:pt x="277254" y="433645"/>
                  <a:pt x="268924" y="433986"/>
                </a:cubicBezTo>
                <a:cubicBezTo>
                  <a:pt x="266263" y="433951"/>
                  <a:pt x="263544" y="434125"/>
                  <a:pt x="260884" y="434506"/>
                </a:cubicBezTo>
                <a:cubicBezTo>
                  <a:pt x="259727" y="434593"/>
                  <a:pt x="258628" y="434593"/>
                  <a:pt x="257471" y="434506"/>
                </a:cubicBezTo>
                <a:cubicBezTo>
                  <a:pt x="253884" y="434373"/>
                  <a:pt x="250298" y="433587"/>
                  <a:pt x="247001" y="432193"/>
                </a:cubicBezTo>
                <a:cubicBezTo>
                  <a:pt x="245150" y="431128"/>
                  <a:pt x="242952" y="430723"/>
                  <a:pt x="240811" y="431036"/>
                </a:cubicBezTo>
                <a:cubicBezTo>
                  <a:pt x="236300" y="433303"/>
                  <a:pt x="232482" y="436664"/>
                  <a:pt x="229648" y="440811"/>
                </a:cubicBezTo>
                <a:cubicBezTo>
                  <a:pt x="228722" y="442026"/>
                  <a:pt x="229648" y="445150"/>
                  <a:pt x="230110" y="447926"/>
                </a:cubicBezTo>
                <a:cubicBezTo>
                  <a:pt x="231036" y="450327"/>
                  <a:pt x="231152" y="452947"/>
                  <a:pt x="230574" y="455446"/>
                </a:cubicBezTo>
                <a:cubicBezTo>
                  <a:pt x="230574" y="456024"/>
                  <a:pt x="229764" y="456950"/>
                  <a:pt x="217385" y="462850"/>
                </a:cubicBezTo>
                <a:cubicBezTo>
                  <a:pt x="217443" y="463197"/>
                  <a:pt x="217211" y="463527"/>
                  <a:pt x="216864" y="463585"/>
                </a:cubicBezTo>
                <a:cubicBezTo>
                  <a:pt x="216749" y="463602"/>
                  <a:pt x="216633" y="463591"/>
                  <a:pt x="216517" y="463544"/>
                </a:cubicBezTo>
                <a:close/>
                <a:moveTo>
                  <a:pt x="1799" y="91027"/>
                </a:moveTo>
                <a:cubicBezTo>
                  <a:pt x="2435" y="94851"/>
                  <a:pt x="2667" y="98720"/>
                  <a:pt x="2609" y="102596"/>
                </a:cubicBezTo>
                <a:cubicBezTo>
                  <a:pt x="2609" y="109595"/>
                  <a:pt x="2609" y="119949"/>
                  <a:pt x="5617" y="121164"/>
                </a:cubicBezTo>
                <a:cubicBezTo>
                  <a:pt x="8625" y="122379"/>
                  <a:pt x="11401" y="126023"/>
                  <a:pt x="15392" y="131634"/>
                </a:cubicBezTo>
                <a:cubicBezTo>
                  <a:pt x="19210" y="137603"/>
                  <a:pt x="23549" y="143249"/>
                  <a:pt x="28292" y="148524"/>
                </a:cubicBezTo>
                <a:cubicBezTo>
                  <a:pt x="40439" y="161770"/>
                  <a:pt x="67684" y="200584"/>
                  <a:pt x="68146" y="210591"/>
                </a:cubicBezTo>
                <a:cubicBezTo>
                  <a:pt x="68146" y="217475"/>
                  <a:pt x="70865" y="227944"/>
                  <a:pt x="88623" y="239976"/>
                </a:cubicBezTo>
                <a:cubicBezTo>
                  <a:pt x="96143" y="245066"/>
                  <a:pt x="102101" y="252077"/>
                  <a:pt x="105977" y="260279"/>
                </a:cubicBezTo>
                <a:cubicBezTo>
                  <a:pt x="107712" y="264265"/>
                  <a:pt x="110315" y="267834"/>
                  <a:pt x="113554" y="270749"/>
                </a:cubicBezTo>
                <a:cubicBezTo>
                  <a:pt x="120900" y="276534"/>
                  <a:pt x="120842" y="282896"/>
                  <a:pt x="120784" y="293887"/>
                </a:cubicBezTo>
                <a:cubicBezTo>
                  <a:pt x="120784" y="296374"/>
                  <a:pt x="120784" y="299093"/>
                  <a:pt x="120784" y="302043"/>
                </a:cubicBezTo>
                <a:cubicBezTo>
                  <a:pt x="121190" y="317603"/>
                  <a:pt x="128131" y="338369"/>
                  <a:pt x="142476" y="347219"/>
                </a:cubicBezTo>
                <a:cubicBezTo>
                  <a:pt x="157169" y="355190"/>
                  <a:pt x="168506" y="368130"/>
                  <a:pt x="174464" y="383719"/>
                </a:cubicBezTo>
                <a:cubicBezTo>
                  <a:pt x="179960" y="398926"/>
                  <a:pt x="188347" y="412919"/>
                  <a:pt x="199222" y="424904"/>
                </a:cubicBezTo>
                <a:cubicBezTo>
                  <a:pt x="203097" y="428392"/>
                  <a:pt x="205526" y="433234"/>
                  <a:pt x="205932" y="438440"/>
                </a:cubicBezTo>
                <a:cubicBezTo>
                  <a:pt x="206047" y="441170"/>
                  <a:pt x="206973" y="443808"/>
                  <a:pt x="208592" y="446017"/>
                </a:cubicBezTo>
                <a:cubicBezTo>
                  <a:pt x="212063" y="450662"/>
                  <a:pt x="214955" y="455689"/>
                  <a:pt x="217269" y="460999"/>
                </a:cubicBezTo>
                <a:cubicBezTo>
                  <a:pt x="221145" y="459478"/>
                  <a:pt x="224904" y="457540"/>
                  <a:pt x="228375" y="455215"/>
                </a:cubicBezTo>
                <a:cubicBezTo>
                  <a:pt x="228548" y="453260"/>
                  <a:pt x="228317" y="451287"/>
                  <a:pt x="227681" y="449430"/>
                </a:cubicBezTo>
                <a:cubicBezTo>
                  <a:pt x="226871" y="446017"/>
                  <a:pt x="226061" y="442489"/>
                  <a:pt x="227681" y="440407"/>
                </a:cubicBezTo>
                <a:cubicBezTo>
                  <a:pt x="230747" y="435848"/>
                  <a:pt x="234969" y="432210"/>
                  <a:pt x="239944" y="429879"/>
                </a:cubicBezTo>
                <a:cubicBezTo>
                  <a:pt x="242547" y="429387"/>
                  <a:pt x="245265" y="429798"/>
                  <a:pt x="247637" y="431036"/>
                </a:cubicBezTo>
                <a:cubicBezTo>
                  <a:pt x="250703" y="432384"/>
                  <a:pt x="253942" y="433130"/>
                  <a:pt x="257298" y="433234"/>
                </a:cubicBezTo>
                <a:cubicBezTo>
                  <a:pt x="258338" y="433315"/>
                  <a:pt x="259322" y="433315"/>
                  <a:pt x="260363" y="433234"/>
                </a:cubicBezTo>
                <a:cubicBezTo>
                  <a:pt x="263140" y="432852"/>
                  <a:pt x="265974" y="432679"/>
                  <a:pt x="268751" y="432713"/>
                </a:cubicBezTo>
                <a:cubicBezTo>
                  <a:pt x="277832" y="432713"/>
                  <a:pt x="292525" y="434275"/>
                  <a:pt x="294954" y="436705"/>
                </a:cubicBezTo>
                <a:cubicBezTo>
                  <a:pt x="298771" y="437532"/>
                  <a:pt x="302647" y="437960"/>
                  <a:pt x="306523" y="437977"/>
                </a:cubicBezTo>
                <a:cubicBezTo>
                  <a:pt x="316356" y="438614"/>
                  <a:pt x="328561" y="439365"/>
                  <a:pt x="333016" y="442836"/>
                </a:cubicBezTo>
                <a:cubicBezTo>
                  <a:pt x="339784" y="448158"/>
                  <a:pt x="345973" y="445786"/>
                  <a:pt x="350021" y="436242"/>
                </a:cubicBezTo>
                <a:cubicBezTo>
                  <a:pt x="355054" y="424673"/>
                  <a:pt x="388604" y="401072"/>
                  <a:pt x="392711" y="398990"/>
                </a:cubicBezTo>
                <a:cubicBezTo>
                  <a:pt x="399825" y="397607"/>
                  <a:pt x="407172" y="397156"/>
                  <a:pt x="414402" y="397660"/>
                </a:cubicBezTo>
                <a:cubicBezTo>
                  <a:pt x="425219" y="397926"/>
                  <a:pt x="436094" y="397307"/>
                  <a:pt x="446795" y="395809"/>
                </a:cubicBezTo>
                <a:cubicBezTo>
                  <a:pt x="462760" y="392280"/>
                  <a:pt x="552882" y="362953"/>
                  <a:pt x="556700" y="360119"/>
                </a:cubicBezTo>
                <a:cubicBezTo>
                  <a:pt x="560517" y="357284"/>
                  <a:pt x="575036" y="309505"/>
                  <a:pt x="575036" y="304010"/>
                </a:cubicBezTo>
                <a:cubicBezTo>
                  <a:pt x="575036" y="298514"/>
                  <a:pt x="568384" y="285615"/>
                  <a:pt x="562599" y="285615"/>
                </a:cubicBezTo>
                <a:lnTo>
                  <a:pt x="562195" y="285615"/>
                </a:lnTo>
                <a:lnTo>
                  <a:pt x="560343" y="285615"/>
                </a:lnTo>
                <a:cubicBezTo>
                  <a:pt x="548774" y="285615"/>
                  <a:pt x="497004" y="279831"/>
                  <a:pt x="492839" y="277575"/>
                </a:cubicBezTo>
                <a:cubicBezTo>
                  <a:pt x="492839" y="277575"/>
                  <a:pt x="474445" y="266006"/>
                  <a:pt x="471726" y="247843"/>
                </a:cubicBezTo>
                <a:cubicBezTo>
                  <a:pt x="466578" y="243354"/>
                  <a:pt x="462703" y="237529"/>
                  <a:pt x="460620" y="231010"/>
                </a:cubicBezTo>
                <a:lnTo>
                  <a:pt x="458479" y="231010"/>
                </a:lnTo>
                <a:cubicBezTo>
                  <a:pt x="451943" y="231010"/>
                  <a:pt x="443035" y="228176"/>
                  <a:pt x="437714" y="214756"/>
                </a:cubicBezTo>
                <a:cubicBezTo>
                  <a:pt x="430193" y="207884"/>
                  <a:pt x="424756" y="199051"/>
                  <a:pt x="421980" y="189247"/>
                </a:cubicBezTo>
                <a:cubicBezTo>
                  <a:pt x="421575" y="187344"/>
                  <a:pt x="422038" y="185359"/>
                  <a:pt x="423195" y="183809"/>
                </a:cubicBezTo>
                <a:cubicBezTo>
                  <a:pt x="428979" y="177678"/>
                  <a:pt x="419724" y="163679"/>
                  <a:pt x="411163" y="155928"/>
                </a:cubicBezTo>
                <a:lnTo>
                  <a:pt x="407345" y="152516"/>
                </a:lnTo>
                <a:cubicBezTo>
                  <a:pt x="397338" y="143608"/>
                  <a:pt x="383687" y="131402"/>
                  <a:pt x="382935" y="122899"/>
                </a:cubicBezTo>
                <a:cubicBezTo>
                  <a:pt x="382299" y="119243"/>
                  <a:pt x="381315" y="115674"/>
                  <a:pt x="379869" y="112256"/>
                </a:cubicBezTo>
                <a:lnTo>
                  <a:pt x="358872" y="111215"/>
                </a:lnTo>
                <a:cubicBezTo>
                  <a:pt x="358640" y="111168"/>
                  <a:pt x="358409" y="111070"/>
                  <a:pt x="358178" y="110925"/>
                </a:cubicBezTo>
                <a:lnTo>
                  <a:pt x="344469" y="99357"/>
                </a:lnTo>
                <a:cubicBezTo>
                  <a:pt x="340478" y="98836"/>
                  <a:pt x="302358" y="94035"/>
                  <a:pt x="296400" y="94035"/>
                </a:cubicBezTo>
                <a:cubicBezTo>
                  <a:pt x="284426" y="94017"/>
                  <a:pt x="272799" y="90119"/>
                  <a:pt x="263255" y="82929"/>
                </a:cubicBezTo>
                <a:cubicBezTo>
                  <a:pt x="242257" y="65686"/>
                  <a:pt x="220393" y="49541"/>
                  <a:pt x="197718" y="34571"/>
                </a:cubicBezTo>
                <a:cubicBezTo>
                  <a:pt x="194768" y="33125"/>
                  <a:pt x="188809" y="29191"/>
                  <a:pt x="181926" y="24737"/>
                </a:cubicBezTo>
                <a:cubicBezTo>
                  <a:pt x="168622" y="16003"/>
                  <a:pt x="150401" y="4087"/>
                  <a:pt x="144154" y="3393"/>
                </a:cubicBezTo>
                <a:cubicBezTo>
                  <a:pt x="140047" y="2901"/>
                  <a:pt x="135882" y="2809"/>
                  <a:pt x="131775" y="3104"/>
                </a:cubicBezTo>
                <a:cubicBezTo>
                  <a:pt x="129346" y="3104"/>
                  <a:pt x="125991" y="3451"/>
                  <a:pt x="121652" y="3451"/>
                </a:cubicBezTo>
                <a:cubicBezTo>
                  <a:pt x="118529" y="3196"/>
                  <a:pt x="115405" y="4243"/>
                  <a:pt x="113034" y="6343"/>
                </a:cubicBezTo>
                <a:cubicBezTo>
                  <a:pt x="107423" y="10444"/>
                  <a:pt x="100597" y="12486"/>
                  <a:pt x="93656" y="12127"/>
                </a:cubicBezTo>
                <a:cubicBezTo>
                  <a:pt x="76303" y="12937"/>
                  <a:pt x="66526" y="22019"/>
                  <a:pt x="66006" y="25721"/>
                </a:cubicBezTo>
                <a:cubicBezTo>
                  <a:pt x="65890" y="26345"/>
                  <a:pt x="66296" y="26959"/>
                  <a:pt x="66874" y="27092"/>
                </a:cubicBezTo>
                <a:cubicBezTo>
                  <a:pt x="66932" y="27098"/>
                  <a:pt x="66932" y="27103"/>
                  <a:pt x="66990" y="27109"/>
                </a:cubicBezTo>
                <a:cubicBezTo>
                  <a:pt x="72774" y="29076"/>
                  <a:pt x="89028" y="42958"/>
                  <a:pt x="89491" y="49611"/>
                </a:cubicBezTo>
                <a:cubicBezTo>
                  <a:pt x="89664" y="51010"/>
                  <a:pt x="88912" y="52370"/>
                  <a:pt x="87640" y="52965"/>
                </a:cubicBezTo>
                <a:cubicBezTo>
                  <a:pt x="85269" y="54406"/>
                  <a:pt x="83301" y="56390"/>
                  <a:pt x="81855" y="58750"/>
                </a:cubicBezTo>
                <a:cubicBezTo>
                  <a:pt x="79773" y="62961"/>
                  <a:pt x="75608" y="65737"/>
                  <a:pt x="70923" y="66038"/>
                </a:cubicBezTo>
                <a:cubicBezTo>
                  <a:pt x="59759" y="66038"/>
                  <a:pt x="54785" y="68005"/>
                  <a:pt x="54785" y="72459"/>
                </a:cubicBezTo>
                <a:cubicBezTo>
                  <a:pt x="54785" y="79632"/>
                  <a:pt x="42058" y="90853"/>
                  <a:pt x="31647" y="89812"/>
                </a:cubicBezTo>
                <a:cubicBezTo>
                  <a:pt x="22334" y="87279"/>
                  <a:pt x="13426" y="83380"/>
                  <a:pt x="5270" y="78243"/>
                </a:cubicBezTo>
                <a:lnTo>
                  <a:pt x="2898" y="84838"/>
                </a:ln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2" name="Forma libre: forma 361">
            <a:extLst>
              <a:ext uri="{FF2B5EF4-FFF2-40B4-BE49-F238E27FC236}">
                <a16:creationId xmlns:a16="http://schemas.microsoft.com/office/drawing/2014/main" id="{B9ECE2F0-1DD8-2460-51FD-13B42EE8188C}"/>
              </a:ext>
            </a:extLst>
          </p:cNvPr>
          <p:cNvSpPr/>
          <p:nvPr/>
        </p:nvSpPr>
        <p:spPr>
          <a:xfrm>
            <a:off x="7592271" y="3775234"/>
            <a:ext cx="220492" cy="247508"/>
          </a:xfrm>
          <a:custGeom>
            <a:avLst/>
            <a:gdLst>
              <a:gd name="connsiteX0" fmla="*/ 34452 w 220492"/>
              <a:gd name="connsiteY0" fmla="*/ 246974 h 247508"/>
              <a:gd name="connsiteX1" fmla="*/ 33469 w 220492"/>
              <a:gd name="connsiteY1" fmla="*/ 246338 h 247508"/>
              <a:gd name="connsiteX2" fmla="*/ 1018 w 220492"/>
              <a:gd name="connsiteY2" fmla="*/ 179586 h 247508"/>
              <a:gd name="connsiteX3" fmla="*/ -23 w 220492"/>
              <a:gd name="connsiteY3" fmla="*/ 177330 h 247508"/>
              <a:gd name="connsiteX4" fmla="*/ -23 w 220492"/>
              <a:gd name="connsiteY4" fmla="*/ 176404 h 247508"/>
              <a:gd name="connsiteX5" fmla="*/ 729 w 220492"/>
              <a:gd name="connsiteY5" fmla="*/ 175768 h 247508"/>
              <a:gd name="connsiteX6" fmla="*/ 84025 w 220492"/>
              <a:gd name="connsiteY6" fmla="*/ 147714 h 247508"/>
              <a:gd name="connsiteX7" fmla="*/ 102361 w 220492"/>
              <a:gd name="connsiteY7" fmla="*/ 91605 h 247508"/>
              <a:gd name="connsiteX8" fmla="*/ 89925 w 220492"/>
              <a:gd name="connsiteY8" fmla="*/ 73210 h 247508"/>
              <a:gd name="connsiteX9" fmla="*/ 89520 w 220492"/>
              <a:gd name="connsiteY9" fmla="*/ 73210 h 247508"/>
              <a:gd name="connsiteX10" fmla="*/ 83736 w 220492"/>
              <a:gd name="connsiteY10" fmla="*/ 73210 h 247508"/>
              <a:gd name="connsiteX11" fmla="*/ 82810 w 220492"/>
              <a:gd name="connsiteY11" fmla="*/ 72690 h 247508"/>
              <a:gd name="connsiteX12" fmla="*/ 82810 w 220492"/>
              <a:gd name="connsiteY12" fmla="*/ 71648 h 247508"/>
              <a:gd name="connsiteX13" fmla="*/ 92007 w 220492"/>
              <a:gd name="connsiteY13" fmla="*/ 48511 h 247508"/>
              <a:gd name="connsiteX14" fmla="*/ 92007 w 220492"/>
              <a:gd name="connsiteY14" fmla="*/ 48222 h 247508"/>
              <a:gd name="connsiteX15" fmla="*/ 109360 w 220492"/>
              <a:gd name="connsiteY15" fmla="*/ 26645 h 247508"/>
              <a:gd name="connsiteX16" fmla="*/ 109360 w 220492"/>
              <a:gd name="connsiteY16" fmla="*/ 6342 h 247508"/>
              <a:gd name="connsiteX17" fmla="*/ 110460 w 220492"/>
              <a:gd name="connsiteY17" fmla="*/ 5243 h 247508"/>
              <a:gd name="connsiteX18" fmla="*/ 120409 w 220492"/>
              <a:gd name="connsiteY18" fmla="*/ 5243 h 247508"/>
              <a:gd name="connsiteX19" fmla="*/ 129664 w 220492"/>
              <a:gd name="connsiteY19" fmla="*/ -21 h 247508"/>
              <a:gd name="connsiteX20" fmla="*/ 130647 w 220492"/>
              <a:gd name="connsiteY20" fmla="*/ -21 h 247508"/>
              <a:gd name="connsiteX21" fmla="*/ 131341 w 220492"/>
              <a:gd name="connsiteY21" fmla="*/ 731 h 247508"/>
              <a:gd name="connsiteX22" fmla="*/ 145629 w 220492"/>
              <a:gd name="connsiteY22" fmla="*/ 29133 h 247508"/>
              <a:gd name="connsiteX23" fmla="*/ 178253 w 220492"/>
              <a:gd name="connsiteY23" fmla="*/ 41627 h 247508"/>
              <a:gd name="connsiteX24" fmla="*/ 191384 w 220492"/>
              <a:gd name="connsiteY24" fmla="*/ 46602 h 247508"/>
              <a:gd name="connsiteX25" fmla="*/ 213596 w 220492"/>
              <a:gd name="connsiteY25" fmla="*/ 74714 h 247508"/>
              <a:gd name="connsiteX26" fmla="*/ 219901 w 220492"/>
              <a:gd name="connsiteY26" fmla="*/ 78358 h 247508"/>
              <a:gd name="connsiteX27" fmla="*/ 216372 w 220492"/>
              <a:gd name="connsiteY27" fmla="*/ 91316 h 247508"/>
              <a:gd name="connsiteX28" fmla="*/ 205555 w 220492"/>
              <a:gd name="connsiteY28" fmla="*/ 105950 h 247508"/>
              <a:gd name="connsiteX29" fmla="*/ 193987 w 220492"/>
              <a:gd name="connsiteY29" fmla="*/ 122725 h 247508"/>
              <a:gd name="connsiteX30" fmla="*/ 170849 w 220492"/>
              <a:gd name="connsiteY30" fmla="*/ 139095 h 247508"/>
              <a:gd name="connsiteX31" fmla="*/ 162404 w 220492"/>
              <a:gd name="connsiteY31" fmla="*/ 174553 h 247508"/>
              <a:gd name="connsiteX32" fmla="*/ 153033 w 220492"/>
              <a:gd name="connsiteY32" fmla="*/ 182478 h 247508"/>
              <a:gd name="connsiteX33" fmla="*/ 144356 w 220492"/>
              <a:gd name="connsiteY33" fmla="*/ 184676 h 247508"/>
              <a:gd name="connsiteX34" fmla="*/ 133540 w 220492"/>
              <a:gd name="connsiteY34" fmla="*/ 199369 h 247508"/>
              <a:gd name="connsiteX35" fmla="*/ 126714 w 220492"/>
              <a:gd name="connsiteY35" fmla="*/ 209665 h 247508"/>
              <a:gd name="connsiteX36" fmla="*/ 121739 w 220492"/>
              <a:gd name="connsiteY36" fmla="*/ 210533 h 247508"/>
              <a:gd name="connsiteX37" fmla="*/ 117112 w 220492"/>
              <a:gd name="connsiteY37" fmla="*/ 210533 h 247508"/>
              <a:gd name="connsiteX38" fmla="*/ 111328 w 220492"/>
              <a:gd name="connsiteY38" fmla="*/ 210533 h 247508"/>
              <a:gd name="connsiteX39" fmla="*/ 97213 w 220492"/>
              <a:gd name="connsiteY39" fmla="*/ 214813 h 247508"/>
              <a:gd name="connsiteX40" fmla="*/ 92933 w 220492"/>
              <a:gd name="connsiteY40" fmla="*/ 226382 h 247508"/>
              <a:gd name="connsiteX41" fmla="*/ 86281 w 220492"/>
              <a:gd name="connsiteY41" fmla="*/ 236620 h 247508"/>
              <a:gd name="connsiteX42" fmla="*/ 71067 w 220492"/>
              <a:gd name="connsiteY42" fmla="*/ 238182 h 247508"/>
              <a:gd name="connsiteX43" fmla="*/ 42145 w 220492"/>
              <a:gd name="connsiteY43" fmla="*/ 243966 h 247508"/>
              <a:gd name="connsiteX44" fmla="*/ 35031 w 220492"/>
              <a:gd name="connsiteY44" fmla="*/ 247379 h 247508"/>
              <a:gd name="connsiteX45" fmla="*/ 2580 w 220492"/>
              <a:gd name="connsiteY45" fmla="*/ 177561 h 247508"/>
              <a:gd name="connsiteX46" fmla="*/ 3043 w 220492"/>
              <a:gd name="connsiteY46" fmla="*/ 178603 h 247508"/>
              <a:gd name="connsiteX47" fmla="*/ 35031 w 220492"/>
              <a:gd name="connsiteY47" fmla="*/ 244429 h 247508"/>
              <a:gd name="connsiteX48" fmla="*/ 40815 w 220492"/>
              <a:gd name="connsiteY48" fmla="*/ 241537 h 247508"/>
              <a:gd name="connsiteX49" fmla="*/ 70837 w 220492"/>
              <a:gd name="connsiteY49" fmla="*/ 235232 h 247508"/>
              <a:gd name="connsiteX50" fmla="*/ 85529 w 220492"/>
              <a:gd name="connsiteY50" fmla="*/ 233786 h 247508"/>
              <a:gd name="connsiteX51" fmla="*/ 90503 w 220492"/>
              <a:gd name="connsiteY51" fmla="*/ 225804 h 247508"/>
              <a:gd name="connsiteX52" fmla="*/ 95593 w 220492"/>
              <a:gd name="connsiteY52" fmla="*/ 212557 h 247508"/>
              <a:gd name="connsiteX53" fmla="*/ 111154 w 220492"/>
              <a:gd name="connsiteY53" fmla="*/ 207756 h 247508"/>
              <a:gd name="connsiteX54" fmla="*/ 117285 w 220492"/>
              <a:gd name="connsiteY54" fmla="*/ 207756 h 247508"/>
              <a:gd name="connsiteX55" fmla="*/ 121739 w 220492"/>
              <a:gd name="connsiteY55" fmla="*/ 207756 h 247508"/>
              <a:gd name="connsiteX56" fmla="*/ 125615 w 220492"/>
              <a:gd name="connsiteY56" fmla="*/ 207062 h 247508"/>
              <a:gd name="connsiteX57" fmla="*/ 131399 w 220492"/>
              <a:gd name="connsiteY57" fmla="*/ 197807 h 247508"/>
              <a:gd name="connsiteX58" fmla="*/ 143431 w 220492"/>
              <a:gd name="connsiteY58" fmla="*/ 182015 h 247508"/>
              <a:gd name="connsiteX59" fmla="*/ 152571 w 220492"/>
              <a:gd name="connsiteY59" fmla="*/ 179702 h 247508"/>
              <a:gd name="connsiteX60" fmla="*/ 160090 w 220492"/>
              <a:gd name="connsiteY60" fmla="*/ 174322 h 247508"/>
              <a:gd name="connsiteX61" fmla="*/ 170271 w 220492"/>
              <a:gd name="connsiteY61" fmla="*/ 136318 h 247508"/>
              <a:gd name="connsiteX62" fmla="*/ 191558 w 220492"/>
              <a:gd name="connsiteY62" fmla="*/ 121973 h 247508"/>
              <a:gd name="connsiteX63" fmla="*/ 203647 w 220492"/>
              <a:gd name="connsiteY63" fmla="*/ 103984 h 247508"/>
              <a:gd name="connsiteX64" fmla="*/ 214348 w 220492"/>
              <a:gd name="connsiteY64" fmla="*/ 89580 h 247508"/>
              <a:gd name="connsiteX65" fmla="*/ 217760 w 220492"/>
              <a:gd name="connsiteY65" fmla="*/ 78705 h 247508"/>
              <a:gd name="connsiteX66" fmla="*/ 213133 w 220492"/>
              <a:gd name="connsiteY66" fmla="*/ 76334 h 247508"/>
              <a:gd name="connsiteX67" fmla="*/ 189302 w 220492"/>
              <a:gd name="connsiteY67" fmla="*/ 47065 h 247508"/>
              <a:gd name="connsiteX68" fmla="*/ 177733 w 220492"/>
              <a:gd name="connsiteY68" fmla="*/ 43305 h 247508"/>
              <a:gd name="connsiteX69" fmla="*/ 143894 w 220492"/>
              <a:gd name="connsiteY69" fmla="*/ 30463 h 247508"/>
              <a:gd name="connsiteX70" fmla="*/ 129143 w 220492"/>
              <a:gd name="connsiteY70" fmla="*/ 2293 h 247508"/>
              <a:gd name="connsiteX71" fmla="*/ 120929 w 220492"/>
              <a:gd name="connsiteY71" fmla="*/ 6921 h 247508"/>
              <a:gd name="connsiteX72" fmla="*/ 120409 w 220492"/>
              <a:gd name="connsiteY72" fmla="*/ 6921 h 247508"/>
              <a:gd name="connsiteX73" fmla="*/ 111154 w 220492"/>
              <a:gd name="connsiteY73" fmla="*/ 6921 h 247508"/>
              <a:gd name="connsiteX74" fmla="*/ 111154 w 220492"/>
              <a:gd name="connsiteY74" fmla="*/ 26472 h 247508"/>
              <a:gd name="connsiteX75" fmla="*/ 111154 w 220492"/>
              <a:gd name="connsiteY75" fmla="*/ 27166 h 247508"/>
              <a:gd name="connsiteX76" fmla="*/ 93801 w 220492"/>
              <a:gd name="connsiteY76" fmla="*/ 48916 h 247508"/>
              <a:gd name="connsiteX77" fmla="*/ 85240 w 220492"/>
              <a:gd name="connsiteY77" fmla="*/ 70318 h 247508"/>
              <a:gd name="connsiteX78" fmla="*/ 89693 w 220492"/>
              <a:gd name="connsiteY78" fmla="*/ 70318 h 247508"/>
              <a:gd name="connsiteX79" fmla="*/ 104328 w 220492"/>
              <a:gd name="connsiteY79" fmla="*/ 90969 h 247508"/>
              <a:gd name="connsiteX80" fmla="*/ 85182 w 220492"/>
              <a:gd name="connsiteY80" fmla="*/ 148813 h 247508"/>
              <a:gd name="connsiteX81" fmla="*/ 2580 w 220492"/>
              <a:gd name="connsiteY81" fmla="*/ 177561 h 247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20492" h="247508">
                <a:moveTo>
                  <a:pt x="34452" y="246974"/>
                </a:moveTo>
                <a:cubicBezTo>
                  <a:pt x="34047" y="246986"/>
                  <a:pt x="33642" y="246732"/>
                  <a:pt x="33469" y="246338"/>
                </a:cubicBezTo>
                <a:cubicBezTo>
                  <a:pt x="21495" y="221870"/>
                  <a:pt x="8307" y="194625"/>
                  <a:pt x="1018" y="179586"/>
                </a:cubicBezTo>
                <a:lnTo>
                  <a:pt x="-23" y="177330"/>
                </a:lnTo>
                <a:cubicBezTo>
                  <a:pt x="-138" y="177041"/>
                  <a:pt x="-138" y="176694"/>
                  <a:pt x="-23" y="176404"/>
                </a:cubicBezTo>
                <a:cubicBezTo>
                  <a:pt x="150" y="176110"/>
                  <a:pt x="382" y="175884"/>
                  <a:pt x="729" y="175768"/>
                </a:cubicBezTo>
                <a:cubicBezTo>
                  <a:pt x="34973" y="165240"/>
                  <a:pt x="81711" y="149680"/>
                  <a:pt x="84025" y="147714"/>
                </a:cubicBezTo>
                <a:cubicBezTo>
                  <a:pt x="86338" y="145747"/>
                  <a:pt x="102361" y="97100"/>
                  <a:pt x="102361" y="91605"/>
                </a:cubicBezTo>
                <a:cubicBezTo>
                  <a:pt x="102361" y="86110"/>
                  <a:pt x="95709" y="73210"/>
                  <a:pt x="89925" y="73210"/>
                </a:cubicBezTo>
                <a:lnTo>
                  <a:pt x="89520" y="73210"/>
                </a:lnTo>
                <a:cubicBezTo>
                  <a:pt x="87611" y="73355"/>
                  <a:pt x="85644" y="73355"/>
                  <a:pt x="83736" y="73210"/>
                </a:cubicBezTo>
                <a:cubicBezTo>
                  <a:pt x="83388" y="73181"/>
                  <a:pt x="83042" y="72990"/>
                  <a:pt x="82810" y="72690"/>
                </a:cubicBezTo>
                <a:cubicBezTo>
                  <a:pt x="82636" y="72360"/>
                  <a:pt x="82636" y="71978"/>
                  <a:pt x="82810" y="71648"/>
                </a:cubicBezTo>
                <a:lnTo>
                  <a:pt x="92007" y="48511"/>
                </a:lnTo>
                <a:cubicBezTo>
                  <a:pt x="92007" y="48511"/>
                  <a:pt x="92007" y="48511"/>
                  <a:pt x="92007" y="48222"/>
                </a:cubicBezTo>
                <a:lnTo>
                  <a:pt x="109360" y="26645"/>
                </a:lnTo>
                <a:lnTo>
                  <a:pt x="109360" y="6342"/>
                </a:lnTo>
                <a:cubicBezTo>
                  <a:pt x="109360" y="5735"/>
                  <a:pt x="109881" y="5243"/>
                  <a:pt x="110460" y="5243"/>
                </a:cubicBezTo>
                <a:lnTo>
                  <a:pt x="120409" y="5243"/>
                </a:lnTo>
                <a:lnTo>
                  <a:pt x="129664" y="-21"/>
                </a:lnTo>
                <a:cubicBezTo>
                  <a:pt x="129953" y="-165"/>
                  <a:pt x="130358" y="-165"/>
                  <a:pt x="130647" y="-21"/>
                </a:cubicBezTo>
                <a:cubicBezTo>
                  <a:pt x="130936" y="136"/>
                  <a:pt x="131226" y="402"/>
                  <a:pt x="131341" y="731"/>
                </a:cubicBezTo>
                <a:cubicBezTo>
                  <a:pt x="134696" y="14961"/>
                  <a:pt x="139382" y="24216"/>
                  <a:pt x="145629" y="29133"/>
                </a:cubicBezTo>
                <a:cubicBezTo>
                  <a:pt x="155231" y="36034"/>
                  <a:pt x="166511" y="40337"/>
                  <a:pt x="178253" y="41627"/>
                </a:cubicBezTo>
                <a:cubicBezTo>
                  <a:pt x="184963" y="42784"/>
                  <a:pt x="189822" y="43594"/>
                  <a:pt x="191384" y="46602"/>
                </a:cubicBezTo>
                <a:cubicBezTo>
                  <a:pt x="198036" y="58981"/>
                  <a:pt x="207869" y="73789"/>
                  <a:pt x="213596" y="74714"/>
                </a:cubicBezTo>
                <a:cubicBezTo>
                  <a:pt x="216199" y="74749"/>
                  <a:pt x="218570" y="76132"/>
                  <a:pt x="219901" y="78358"/>
                </a:cubicBezTo>
                <a:cubicBezTo>
                  <a:pt x="221174" y="81077"/>
                  <a:pt x="219901" y="84953"/>
                  <a:pt x="216372" y="91316"/>
                </a:cubicBezTo>
                <a:cubicBezTo>
                  <a:pt x="213075" y="96412"/>
                  <a:pt x="209431" y="101299"/>
                  <a:pt x="205555" y="105950"/>
                </a:cubicBezTo>
                <a:cubicBezTo>
                  <a:pt x="200928" y="110977"/>
                  <a:pt x="197052" y="116623"/>
                  <a:pt x="193987" y="122725"/>
                </a:cubicBezTo>
                <a:cubicBezTo>
                  <a:pt x="193582" y="128510"/>
                  <a:pt x="179410" y="137475"/>
                  <a:pt x="170849" y="139095"/>
                </a:cubicBezTo>
                <a:cubicBezTo>
                  <a:pt x="163560" y="140483"/>
                  <a:pt x="161189" y="166744"/>
                  <a:pt x="162404" y="174553"/>
                </a:cubicBezTo>
                <a:cubicBezTo>
                  <a:pt x="163387" y="180743"/>
                  <a:pt x="158355" y="181553"/>
                  <a:pt x="153033" y="182478"/>
                </a:cubicBezTo>
                <a:cubicBezTo>
                  <a:pt x="150083" y="182889"/>
                  <a:pt x="147133" y="183623"/>
                  <a:pt x="144356" y="184676"/>
                </a:cubicBezTo>
                <a:cubicBezTo>
                  <a:pt x="139671" y="186585"/>
                  <a:pt x="136432" y="193353"/>
                  <a:pt x="133540" y="199369"/>
                </a:cubicBezTo>
                <a:cubicBezTo>
                  <a:pt x="132151" y="203325"/>
                  <a:pt x="129837" y="206871"/>
                  <a:pt x="126714" y="209665"/>
                </a:cubicBezTo>
                <a:cubicBezTo>
                  <a:pt x="125152" y="210359"/>
                  <a:pt x="123417" y="210660"/>
                  <a:pt x="121739" y="210533"/>
                </a:cubicBezTo>
                <a:cubicBezTo>
                  <a:pt x="120351" y="210533"/>
                  <a:pt x="118789" y="210533"/>
                  <a:pt x="117112" y="210533"/>
                </a:cubicBezTo>
                <a:cubicBezTo>
                  <a:pt x="115434" y="210533"/>
                  <a:pt x="113178" y="210533"/>
                  <a:pt x="111328" y="210533"/>
                </a:cubicBezTo>
                <a:cubicBezTo>
                  <a:pt x="106237" y="210226"/>
                  <a:pt x="101262" y="211747"/>
                  <a:pt x="97213" y="214813"/>
                </a:cubicBezTo>
                <a:cubicBezTo>
                  <a:pt x="93801" y="217596"/>
                  <a:pt x="92123" y="222032"/>
                  <a:pt x="92933" y="226382"/>
                </a:cubicBezTo>
                <a:cubicBezTo>
                  <a:pt x="92933" y="230489"/>
                  <a:pt x="92933" y="234769"/>
                  <a:pt x="86281" y="236620"/>
                </a:cubicBezTo>
                <a:cubicBezTo>
                  <a:pt x="81306" y="237743"/>
                  <a:pt x="76158" y="238263"/>
                  <a:pt x="71067" y="238182"/>
                </a:cubicBezTo>
                <a:cubicBezTo>
                  <a:pt x="61118" y="237638"/>
                  <a:pt x="51169" y="239628"/>
                  <a:pt x="42145" y="243966"/>
                </a:cubicBezTo>
                <a:cubicBezTo>
                  <a:pt x="39889" y="245285"/>
                  <a:pt x="37460" y="246431"/>
                  <a:pt x="35031" y="247379"/>
                </a:cubicBezTo>
                <a:close/>
                <a:moveTo>
                  <a:pt x="2580" y="177561"/>
                </a:moveTo>
                <a:lnTo>
                  <a:pt x="3043" y="178603"/>
                </a:lnTo>
                <a:cubicBezTo>
                  <a:pt x="10273" y="193411"/>
                  <a:pt x="23172" y="220193"/>
                  <a:pt x="35031" y="244429"/>
                </a:cubicBezTo>
                <a:cubicBezTo>
                  <a:pt x="36997" y="243596"/>
                  <a:pt x="38964" y="242625"/>
                  <a:pt x="40815" y="241537"/>
                </a:cubicBezTo>
                <a:cubicBezTo>
                  <a:pt x="50128" y="236910"/>
                  <a:pt x="60482" y="234740"/>
                  <a:pt x="70837" y="235232"/>
                </a:cubicBezTo>
                <a:cubicBezTo>
                  <a:pt x="75753" y="235296"/>
                  <a:pt x="80728" y="234810"/>
                  <a:pt x="85529" y="233786"/>
                </a:cubicBezTo>
                <a:cubicBezTo>
                  <a:pt x="90677" y="232340"/>
                  <a:pt x="90619" y="229852"/>
                  <a:pt x="90503" y="225804"/>
                </a:cubicBezTo>
                <a:cubicBezTo>
                  <a:pt x="89751" y="220800"/>
                  <a:pt x="91718" y="215779"/>
                  <a:pt x="95593" y="212557"/>
                </a:cubicBezTo>
                <a:cubicBezTo>
                  <a:pt x="100048" y="209127"/>
                  <a:pt x="105543" y="207420"/>
                  <a:pt x="111154" y="207756"/>
                </a:cubicBezTo>
                <a:cubicBezTo>
                  <a:pt x="113294" y="207756"/>
                  <a:pt x="115376" y="207756"/>
                  <a:pt x="117285" y="207756"/>
                </a:cubicBezTo>
                <a:cubicBezTo>
                  <a:pt x="119194" y="207756"/>
                  <a:pt x="120409" y="207756"/>
                  <a:pt x="121739" y="207756"/>
                </a:cubicBezTo>
                <a:cubicBezTo>
                  <a:pt x="123069" y="207854"/>
                  <a:pt x="124400" y="207617"/>
                  <a:pt x="125615" y="207062"/>
                </a:cubicBezTo>
                <a:cubicBezTo>
                  <a:pt x="128218" y="204453"/>
                  <a:pt x="130184" y="201289"/>
                  <a:pt x="131399" y="197807"/>
                </a:cubicBezTo>
                <a:cubicBezTo>
                  <a:pt x="134465" y="191444"/>
                  <a:pt x="137936" y="184271"/>
                  <a:pt x="143431" y="182015"/>
                </a:cubicBezTo>
                <a:cubicBezTo>
                  <a:pt x="146381" y="180899"/>
                  <a:pt x="149447" y="180124"/>
                  <a:pt x="152571" y="179702"/>
                </a:cubicBezTo>
                <a:cubicBezTo>
                  <a:pt x="158355" y="178660"/>
                  <a:pt x="160668" y="177966"/>
                  <a:pt x="160090" y="174322"/>
                </a:cubicBezTo>
                <a:cubicBezTo>
                  <a:pt x="158933" y="167092"/>
                  <a:pt x="160495" y="138169"/>
                  <a:pt x="170271" y="136318"/>
                </a:cubicBezTo>
                <a:cubicBezTo>
                  <a:pt x="178947" y="134699"/>
                  <a:pt x="191268" y="125791"/>
                  <a:pt x="191558" y="121973"/>
                </a:cubicBezTo>
                <a:cubicBezTo>
                  <a:pt x="191846" y="118155"/>
                  <a:pt x="196300" y="113239"/>
                  <a:pt x="203647" y="103984"/>
                </a:cubicBezTo>
                <a:cubicBezTo>
                  <a:pt x="207465" y="99396"/>
                  <a:pt x="211051" y="94584"/>
                  <a:pt x="214348" y="89580"/>
                </a:cubicBezTo>
                <a:cubicBezTo>
                  <a:pt x="217587" y="84143"/>
                  <a:pt x="218628" y="80672"/>
                  <a:pt x="217760" y="78705"/>
                </a:cubicBezTo>
                <a:cubicBezTo>
                  <a:pt x="216893" y="76739"/>
                  <a:pt x="215678" y="76739"/>
                  <a:pt x="213133" y="76334"/>
                </a:cubicBezTo>
                <a:cubicBezTo>
                  <a:pt x="204861" y="75061"/>
                  <a:pt x="192772" y="53601"/>
                  <a:pt x="189302" y="47065"/>
                </a:cubicBezTo>
                <a:cubicBezTo>
                  <a:pt x="188260" y="45098"/>
                  <a:pt x="183517" y="44288"/>
                  <a:pt x="177733" y="43305"/>
                </a:cubicBezTo>
                <a:cubicBezTo>
                  <a:pt x="165528" y="42015"/>
                  <a:pt x="153901" y="37590"/>
                  <a:pt x="143894" y="30463"/>
                </a:cubicBezTo>
                <a:cubicBezTo>
                  <a:pt x="137415" y="25373"/>
                  <a:pt x="132614" y="16176"/>
                  <a:pt x="129143" y="2293"/>
                </a:cubicBezTo>
                <a:lnTo>
                  <a:pt x="120929" y="6921"/>
                </a:lnTo>
                <a:lnTo>
                  <a:pt x="120409" y="6921"/>
                </a:lnTo>
                <a:lnTo>
                  <a:pt x="111154" y="6921"/>
                </a:lnTo>
                <a:lnTo>
                  <a:pt x="111154" y="26472"/>
                </a:lnTo>
                <a:cubicBezTo>
                  <a:pt x="111270" y="26698"/>
                  <a:pt x="111270" y="26946"/>
                  <a:pt x="111154" y="27166"/>
                </a:cubicBezTo>
                <a:lnTo>
                  <a:pt x="93801" y="48916"/>
                </a:lnTo>
                <a:lnTo>
                  <a:pt x="85240" y="70318"/>
                </a:lnTo>
                <a:lnTo>
                  <a:pt x="89693" y="70318"/>
                </a:lnTo>
                <a:cubicBezTo>
                  <a:pt x="97387" y="70318"/>
                  <a:pt x="104328" y="85184"/>
                  <a:pt x="104328" y="90969"/>
                </a:cubicBezTo>
                <a:cubicBezTo>
                  <a:pt x="104328" y="95769"/>
                  <a:pt x="89693" y="145284"/>
                  <a:pt x="85182" y="148813"/>
                </a:cubicBezTo>
                <a:cubicBezTo>
                  <a:pt x="82116" y="152110"/>
                  <a:pt x="29767" y="168885"/>
                  <a:pt x="2580" y="17756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3" name="Forma libre: forma 362">
            <a:extLst>
              <a:ext uri="{FF2B5EF4-FFF2-40B4-BE49-F238E27FC236}">
                <a16:creationId xmlns:a16="http://schemas.microsoft.com/office/drawing/2014/main" id="{C2AD4540-71FF-630F-344C-1774B34E3C46}"/>
              </a:ext>
            </a:extLst>
          </p:cNvPr>
          <p:cNvSpPr/>
          <p:nvPr/>
        </p:nvSpPr>
        <p:spPr>
          <a:xfrm>
            <a:off x="7557178" y="3748619"/>
            <a:ext cx="30222" cy="45523"/>
          </a:xfrm>
          <a:custGeom>
            <a:avLst/>
            <a:gdLst>
              <a:gd name="connsiteX0" fmla="*/ 20840 w 30222"/>
              <a:gd name="connsiteY0" fmla="*/ 45394 h 45523"/>
              <a:gd name="connsiteX1" fmla="*/ -41 w 30222"/>
              <a:gd name="connsiteY1" fmla="*/ 28793 h 45523"/>
              <a:gd name="connsiteX2" fmla="*/ 306 w 30222"/>
              <a:gd name="connsiteY2" fmla="*/ 27521 h 45523"/>
              <a:gd name="connsiteX3" fmla="*/ 1636 w 30222"/>
              <a:gd name="connsiteY3" fmla="*/ 27521 h 45523"/>
              <a:gd name="connsiteX4" fmla="*/ 1636 w 30222"/>
              <a:gd name="connsiteY4" fmla="*/ 27521 h 45523"/>
              <a:gd name="connsiteX5" fmla="*/ 18990 w 30222"/>
              <a:gd name="connsiteY5" fmla="*/ -129 h 45523"/>
              <a:gd name="connsiteX6" fmla="*/ 21419 w 30222"/>
              <a:gd name="connsiteY6" fmla="*/ 276 h 45523"/>
              <a:gd name="connsiteX7" fmla="*/ 28649 w 30222"/>
              <a:gd name="connsiteY7" fmla="*/ 7159 h 45523"/>
              <a:gd name="connsiteX8" fmla="*/ 25352 w 30222"/>
              <a:gd name="connsiteY8" fmla="*/ 37007 h 45523"/>
              <a:gd name="connsiteX9" fmla="*/ 24890 w 30222"/>
              <a:gd name="connsiteY9" fmla="*/ 43775 h 45523"/>
              <a:gd name="connsiteX10" fmla="*/ 24890 w 30222"/>
              <a:gd name="connsiteY10" fmla="*/ 44700 h 45523"/>
              <a:gd name="connsiteX11" fmla="*/ 24138 w 30222"/>
              <a:gd name="connsiteY11" fmla="*/ 45163 h 45523"/>
              <a:gd name="connsiteX12" fmla="*/ 2909 w 30222"/>
              <a:gd name="connsiteY12" fmla="*/ 30008 h 45523"/>
              <a:gd name="connsiteX13" fmla="*/ 20840 w 30222"/>
              <a:gd name="connsiteY13" fmla="*/ 43138 h 45523"/>
              <a:gd name="connsiteX14" fmla="*/ 22460 w 30222"/>
              <a:gd name="connsiteY14" fmla="*/ 43138 h 45523"/>
              <a:gd name="connsiteX15" fmla="*/ 23444 w 30222"/>
              <a:gd name="connsiteY15" fmla="*/ 35966 h 45523"/>
              <a:gd name="connsiteX16" fmla="*/ 26567 w 30222"/>
              <a:gd name="connsiteY16" fmla="*/ 8143 h 45523"/>
              <a:gd name="connsiteX17" fmla="*/ 20782 w 30222"/>
              <a:gd name="connsiteY17" fmla="*/ 2358 h 45523"/>
              <a:gd name="connsiteX18" fmla="*/ 4065 w 30222"/>
              <a:gd name="connsiteY18" fmla="*/ 27926 h 45523"/>
              <a:gd name="connsiteX19" fmla="*/ 2909 w 30222"/>
              <a:gd name="connsiteY19" fmla="*/ 30008 h 4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222" h="45523">
                <a:moveTo>
                  <a:pt x="20840" y="45394"/>
                </a:moveTo>
                <a:cubicBezTo>
                  <a:pt x="14246" y="45394"/>
                  <a:pt x="5223" y="42560"/>
                  <a:pt x="-41" y="28793"/>
                </a:cubicBezTo>
                <a:cubicBezTo>
                  <a:pt x="-215" y="28336"/>
                  <a:pt x="-41" y="27833"/>
                  <a:pt x="306" y="27521"/>
                </a:cubicBezTo>
                <a:cubicBezTo>
                  <a:pt x="711" y="27243"/>
                  <a:pt x="1231" y="27243"/>
                  <a:pt x="1636" y="27521"/>
                </a:cubicBezTo>
                <a:lnTo>
                  <a:pt x="1636" y="27521"/>
                </a:lnTo>
                <a:cubicBezTo>
                  <a:pt x="1983" y="20926"/>
                  <a:pt x="7421" y="-129"/>
                  <a:pt x="18990" y="-129"/>
                </a:cubicBezTo>
                <a:cubicBezTo>
                  <a:pt x="19800" y="-106"/>
                  <a:pt x="20609" y="27"/>
                  <a:pt x="21419" y="276"/>
                </a:cubicBezTo>
                <a:cubicBezTo>
                  <a:pt x="24832" y="1201"/>
                  <a:pt x="27550" y="3787"/>
                  <a:pt x="28649" y="7159"/>
                </a:cubicBezTo>
                <a:cubicBezTo>
                  <a:pt x="31426" y="17161"/>
                  <a:pt x="30211" y="27850"/>
                  <a:pt x="25352" y="37007"/>
                </a:cubicBezTo>
                <a:cubicBezTo>
                  <a:pt x="24369" y="39130"/>
                  <a:pt x="24196" y="41536"/>
                  <a:pt x="24890" y="43775"/>
                </a:cubicBezTo>
                <a:cubicBezTo>
                  <a:pt x="25063" y="44064"/>
                  <a:pt x="25063" y="44411"/>
                  <a:pt x="24890" y="44700"/>
                </a:cubicBezTo>
                <a:cubicBezTo>
                  <a:pt x="24716" y="44938"/>
                  <a:pt x="24427" y="45105"/>
                  <a:pt x="24138" y="45163"/>
                </a:cubicBezTo>
                <a:close/>
                <a:moveTo>
                  <a:pt x="2909" y="30008"/>
                </a:moveTo>
                <a:cubicBezTo>
                  <a:pt x="5454" y="37759"/>
                  <a:pt x="12685" y="43035"/>
                  <a:pt x="20840" y="43138"/>
                </a:cubicBezTo>
                <a:lnTo>
                  <a:pt x="22460" y="43138"/>
                </a:lnTo>
                <a:cubicBezTo>
                  <a:pt x="21940" y="40709"/>
                  <a:pt x="22286" y="38170"/>
                  <a:pt x="23444" y="35966"/>
                </a:cubicBezTo>
                <a:cubicBezTo>
                  <a:pt x="27897" y="27405"/>
                  <a:pt x="29054" y="17479"/>
                  <a:pt x="26567" y="8143"/>
                </a:cubicBezTo>
                <a:cubicBezTo>
                  <a:pt x="25757" y="5366"/>
                  <a:pt x="23559" y="3191"/>
                  <a:pt x="20782" y="2358"/>
                </a:cubicBezTo>
                <a:cubicBezTo>
                  <a:pt x="10139" y="-534"/>
                  <a:pt x="4065" y="22025"/>
                  <a:pt x="4065" y="27926"/>
                </a:cubicBezTo>
                <a:cubicBezTo>
                  <a:pt x="4239" y="28810"/>
                  <a:pt x="3777" y="29690"/>
                  <a:pt x="2909" y="3000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4" name="Forma libre: forma 363">
            <a:extLst>
              <a:ext uri="{FF2B5EF4-FFF2-40B4-BE49-F238E27FC236}">
                <a16:creationId xmlns:a16="http://schemas.microsoft.com/office/drawing/2014/main" id="{978CFE73-7A26-F074-170C-4DAA41BA0A5D}"/>
              </a:ext>
            </a:extLst>
          </p:cNvPr>
          <p:cNvSpPr/>
          <p:nvPr/>
        </p:nvSpPr>
        <p:spPr>
          <a:xfrm>
            <a:off x="7591423" y="3741272"/>
            <a:ext cx="132270" cy="107250"/>
          </a:xfrm>
          <a:custGeom>
            <a:avLst/>
            <a:gdLst>
              <a:gd name="connsiteX0" fmla="*/ 84641 w 132270"/>
              <a:gd name="connsiteY0" fmla="*/ 107115 h 107250"/>
              <a:gd name="connsiteX1" fmla="*/ 84641 w 132270"/>
              <a:gd name="connsiteY1" fmla="*/ 107115 h 107250"/>
              <a:gd name="connsiteX2" fmla="*/ 21013 w 132270"/>
              <a:gd name="connsiteY2" fmla="*/ 99248 h 107250"/>
              <a:gd name="connsiteX3" fmla="*/ -101 w 132270"/>
              <a:gd name="connsiteY3" fmla="*/ 69053 h 107250"/>
              <a:gd name="connsiteX4" fmla="*/ 478 w 132270"/>
              <a:gd name="connsiteY4" fmla="*/ 67954 h 107250"/>
              <a:gd name="connsiteX5" fmla="*/ 1692 w 132270"/>
              <a:gd name="connsiteY5" fmla="*/ 67954 h 107250"/>
              <a:gd name="connsiteX6" fmla="*/ 6146 w 132270"/>
              <a:gd name="connsiteY6" fmla="*/ 69516 h 107250"/>
              <a:gd name="connsiteX7" fmla="*/ 8402 w 132270"/>
              <a:gd name="connsiteY7" fmla="*/ 67838 h 107250"/>
              <a:gd name="connsiteX8" fmla="*/ 29862 w 132270"/>
              <a:gd name="connsiteY8" fmla="*/ 59971 h 107250"/>
              <a:gd name="connsiteX9" fmla="*/ 39291 w 132270"/>
              <a:gd name="connsiteY9" fmla="*/ 60897 h 107250"/>
              <a:gd name="connsiteX10" fmla="*/ 46521 w 132270"/>
              <a:gd name="connsiteY10" fmla="*/ 61475 h 107250"/>
              <a:gd name="connsiteX11" fmla="*/ 89790 w 132270"/>
              <a:gd name="connsiteY11" fmla="*/ 37239 h 107250"/>
              <a:gd name="connsiteX12" fmla="*/ 123397 w 132270"/>
              <a:gd name="connsiteY12" fmla="*/ -129 h 107250"/>
              <a:gd name="connsiteX13" fmla="*/ 128545 w 132270"/>
              <a:gd name="connsiteY13" fmla="*/ 15142 h 107250"/>
              <a:gd name="connsiteX14" fmla="*/ 132131 w 132270"/>
              <a:gd name="connsiteY14" fmla="*/ 34693 h 107250"/>
              <a:gd name="connsiteX15" fmla="*/ 131553 w 132270"/>
              <a:gd name="connsiteY15" fmla="*/ 35966 h 107250"/>
              <a:gd name="connsiteX16" fmla="*/ 122066 w 132270"/>
              <a:gd name="connsiteY16" fmla="*/ 41346 h 107250"/>
              <a:gd name="connsiteX17" fmla="*/ 121546 w 132270"/>
              <a:gd name="connsiteY17" fmla="*/ 41346 h 107250"/>
              <a:gd name="connsiteX18" fmla="*/ 112290 w 132270"/>
              <a:gd name="connsiteY18" fmla="*/ 41346 h 107250"/>
              <a:gd name="connsiteX19" fmla="*/ 112290 w 132270"/>
              <a:gd name="connsiteY19" fmla="*/ 60897 h 107250"/>
              <a:gd name="connsiteX20" fmla="*/ 112290 w 132270"/>
              <a:gd name="connsiteY20" fmla="*/ 61591 h 107250"/>
              <a:gd name="connsiteX21" fmla="*/ 94937 w 132270"/>
              <a:gd name="connsiteY21" fmla="*/ 83341 h 107250"/>
              <a:gd name="connsiteX22" fmla="*/ 85798 w 132270"/>
              <a:gd name="connsiteY22" fmla="*/ 106478 h 107250"/>
              <a:gd name="connsiteX23" fmla="*/ 84641 w 132270"/>
              <a:gd name="connsiteY23" fmla="*/ 107115 h 107250"/>
              <a:gd name="connsiteX24" fmla="*/ 2502 w 132270"/>
              <a:gd name="connsiteY24" fmla="*/ 71251 h 107250"/>
              <a:gd name="connsiteX25" fmla="*/ 22111 w 132270"/>
              <a:gd name="connsiteY25" fmla="*/ 97281 h 107250"/>
              <a:gd name="connsiteX26" fmla="*/ 83889 w 132270"/>
              <a:gd name="connsiteY26" fmla="*/ 104801 h 107250"/>
              <a:gd name="connsiteX27" fmla="*/ 92797 w 132270"/>
              <a:gd name="connsiteY27" fmla="*/ 82589 h 107250"/>
              <a:gd name="connsiteX28" fmla="*/ 92797 w 132270"/>
              <a:gd name="connsiteY28" fmla="*/ 82299 h 107250"/>
              <a:gd name="connsiteX29" fmla="*/ 110150 w 132270"/>
              <a:gd name="connsiteY29" fmla="*/ 60723 h 107250"/>
              <a:gd name="connsiteX30" fmla="*/ 110150 w 132270"/>
              <a:gd name="connsiteY30" fmla="*/ 40420 h 107250"/>
              <a:gd name="connsiteX31" fmla="*/ 111250 w 132270"/>
              <a:gd name="connsiteY31" fmla="*/ 39321 h 107250"/>
              <a:gd name="connsiteX32" fmla="*/ 121256 w 132270"/>
              <a:gd name="connsiteY32" fmla="*/ 39321 h 107250"/>
              <a:gd name="connsiteX33" fmla="*/ 129759 w 132270"/>
              <a:gd name="connsiteY33" fmla="*/ 34462 h 107250"/>
              <a:gd name="connsiteX34" fmla="*/ 126347 w 132270"/>
              <a:gd name="connsiteY34" fmla="*/ 15547 h 107250"/>
              <a:gd name="connsiteX35" fmla="*/ 123339 w 132270"/>
              <a:gd name="connsiteY35" fmla="*/ 2127 h 107250"/>
              <a:gd name="connsiteX36" fmla="*/ 91872 w 132270"/>
              <a:gd name="connsiteY36" fmla="*/ 38338 h 107250"/>
              <a:gd name="connsiteX37" fmla="*/ 46579 w 132270"/>
              <a:gd name="connsiteY37" fmla="*/ 63789 h 107250"/>
              <a:gd name="connsiteX38" fmla="*/ 38944 w 132270"/>
              <a:gd name="connsiteY38" fmla="*/ 63153 h 107250"/>
              <a:gd name="connsiteX39" fmla="*/ 29920 w 132270"/>
              <a:gd name="connsiteY39" fmla="*/ 62285 h 107250"/>
              <a:gd name="connsiteX40" fmla="*/ 9848 w 132270"/>
              <a:gd name="connsiteY40" fmla="*/ 69689 h 107250"/>
              <a:gd name="connsiteX41" fmla="*/ 7477 w 132270"/>
              <a:gd name="connsiteY41" fmla="*/ 71425 h 107250"/>
              <a:gd name="connsiteX42" fmla="*/ 2502 w 132270"/>
              <a:gd name="connsiteY42" fmla="*/ 71251 h 10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2270" h="107250">
                <a:moveTo>
                  <a:pt x="84641" y="107115"/>
                </a:moveTo>
                <a:lnTo>
                  <a:pt x="84641" y="107115"/>
                </a:lnTo>
                <a:cubicBezTo>
                  <a:pt x="69486" y="106363"/>
                  <a:pt x="24830" y="101330"/>
                  <a:pt x="21013" y="99248"/>
                </a:cubicBezTo>
                <a:cubicBezTo>
                  <a:pt x="21013" y="99248"/>
                  <a:pt x="2328" y="87216"/>
                  <a:pt x="-101" y="69053"/>
                </a:cubicBezTo>
                <a:cubicBezTo>
                  <a:pt x="-159" y="68608"/>
                  <a:pt x="73" y="68179"/>
                  <a:pt x="478" y="67954"/>
                </a:cubicBezTo>
                <a:cubicBezTo>
                  <a:pt x="825" y="67723"/>
                  <a:pt x="1345" y="67723"/>
                  <a:pt x="1692" y="67954"/>
                </a:cubicBezTo>
                <a:cubicBezTo>
                  <a:pt x="3717" y="69458"/>
                  <a:pt x="5394" y="70094"/>
                  <a:pt x="6146" y="69516"/>
                </a:cubicBezTo>
                <a:lnTo>
                  <a:pt x="8402" y="67838"/>
                </a:lnTo>
                <a:cubicBezTo>
                  <a:pt x="14302" y="62598"/>
                  <a:pt x="21995" y="59786"/>
                  <a:pt x="29862" y="59971"/>
                </a:cubicBezTo>
                <a:cubicBezTo>
                  <a:pt x="33044" y="59983"/>
                  <a:pt x="36168" y="60289"/>
                  <a:pt x="39291" y="60897"/>
                </a:cubicBezTo>
                <a:cubicBezTo>
                  <a:pt x="41663" y="61296"/>
                  <a:pt x="44092" y="61493"/>
                  <a:pt x="46521" y="61475"/>
                </a:cubicBezTo>
                <a:cubicBezTo>
                  <a:pt x="64164" y="61441"/>
                  <a:pt x="80534" y="52272"/>
                  <a:pt x="89790" y="37239"/>
                </a:cubicBezTo>
                <a:cubicBezTo>
                  <a:pt x="97656" y="21852"/>
                  <a:pt x="117439" y="-129"/>
                  <a:pt x="123397" y="-129"/>
                </a:cubicBezTo>
                <a:cubicBezTo>
                  <a:pt x="126115" y="-129"/>
                  <a:pt x="126867" y="4441"/>
                  <a:pt x="128545" y="15142"/>
                </a:cubicBezTo>
                <a:cubicBezTo>
                  <a:pt x="129413" y="20926"/>
                  <a:pt x="130454" y="27810"/>
                  <a:pt x="132131" y="34693"/>
                </a:cubicBezTo>
                <a:cubicBezTo>
                  <a:pt x="132247" y="35197"/>
                  <a:pt x="132015" y="35706"/>
                  <a:pt x="131553" y="35966"/>
                </a:cubicBezTo>
                <a:lnTo>
                  <a:pt x="122066" y="41346"/>
                </a:lnTo>
                <a:lnTo>
                  <a:pt x="121546" y="41346"/>
                </a:lnTo>
                <a:lnTo>
                  <a:pt x="112290" y="41346"/>
                </a:lnTo>
                <a:lnTo>
                  <a:pt x="112290" y="60897"/>
                </a:lnTo>
                <a:cubicBezTo>
                  <a:pt x="112406" y="61123"/>
                  <a:pt x="112406" y="61371"/>
                  <a:pt x="112290" y="61591"/>
                </a:cubicBezTo>
                <a:lnTo>
                  <a:pt x="94937" y="83341"/>
                </a:lnTo>
                <a:lnTo>
                  <a:pt x="85798" y="106478"/>
                </a:lnTo>
                <a:cubicBezTo>
                  <a:pt x="85566" y="106912"/>
                  <a:pt x="85104" y="107166"/>
                  <a:pt x="84641" y="107115"/>
                </a:cubicBezTo>
                <a:close/>
                <a:moveTo>
                  <a:pt x="2502" y="71251"/>
                </a:moveTo>
                <a:cubicBezTo>
                  <a:pt x="5800" y="81946"/>
                  <a:pt x="12741" y="91155"/>
                  <a:pt x="22111" y="97281"/>
                </a:cubicBezTo>
                <a:cubicBezTo>
                  <a:pt x="25003" y="99016"/>
                  <a:pt x="66478" y="103875"/>
                  <a:pt x="83889" y="104801"/>
                </a:cubicBezTo>
                <a:lnTo>
                  <a:pt x="92797" y="82589"/>
                </a:lnTo>
                <a:cubicBezTo>
                  <a:pt x="92797" y="82589"/>
                  <a:pt x="92797" y="82589"/>
                  <a:pt x="92797" y="82299"/>
                </a:cubicBezTo>
                <a:lnTo>
                  <a:pt x="110150" y="60723"/>
                </a:lnTo>
                <a:lnTo>
                  <a:pt x="110150" y="40420"/>
                </a:lnTo>
                <a:cubicBezTo>
                  <a:pt x="110150" y="39813"/>
                  <a:pt x="110671" y="39321"/>
                  <a:pt x="111250" y="39321"/>
                </a:cubicBezTo>
                <a:lnTo>
                  <a:pt x="121256" y="39321"/>
                </a:lnTo>
                <a:lnTo>
                  <a:pt x="129759" y="34462"/>
                </a:lnTo>
                <a:cubicBezTo>
                  <a:pt x="128255" y="27752"/>
                  <a:pt x="127215" y="20984"/>
                  <a:pt x="126347" y="15547"/>
                </a:cubicBezTo>
                <a:cubicBezTo>
                  <a:pt x="125999" y="10948"/>
                  <a:pt x="125016" y="6425"/>
                  <a:pt x="123339" y="2127"/>
                </a:cubicBezTo>
                <a:cubicBezTo>
                  <a:pt x="119232" y="2127"/>
                  <a:pt x="100201" y="22430"/>
                  <a:pt x="91872" y="38338"/>
                </a:cubicBezTo>
                <a:cubicBezTo>
                  <a:pt x="84410" y="52857"/>
                  <a:pt x="64916" y="63789"/>
                  <a:pt x="46579" y="63789"/>
                </a:cubicBezTo>
                <a:cubicBezTo>
                  <a:pt x="44034" y="63812"/>
                  <a:pt x="41489" y="63598"/>
                  <a:pt x="38944" y="63153"/>
                </a:cubicBezTo>
                <a:cubicBezTo>
                  <a:pt x="35994" y="62598"/>
                  <a:pt x="32928" y="62308"/>
                  <a:pt x="29920" y="62285"/>
                </a:cubicBezTo>
                <a:cubicBezTo>
                  <a:pt x="22517" y="62094"/>
                  <a:pt x="15343" y="64744"/>
                  <a:pt x="9848" y="69689"/>
                </a:cubicBezTo>
                <a:cubicBezTo>
                  <a:pt x="8981" y="70326"/>
                  <a:pt x="8229" y="70962"/>
                  <a:pt x="7477" y="71425"/>
                </a:cubicBezTo>
                <a:cubicBezTo>
                  <a:pt x="5915" y="72367"/>
                  <a:pt x="3948" y="72304"/>
                  <a:pt x="2502" y="7125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5" name="Forma libre: forma 364">
            <a:extLst>
              <a:ext uri="{FF2B5EF4-FFF2-40B4-BE49-F238E27FC236}">
                <a16:creationId xmlns:a16="http://schemas.microsoft.com/office/drawing/2014/main" id="{64301CF1-FA60-ECC0-CEAC-8EA808F08C82}"/>
              </a:ext>
            </a:extLst>
          </p:cNvPr>
          <p:cNvSpPr/>
          <p:nvPr/>
        </p:nvSpPr>
        <p:spPr>
          <a:xfrm>
            <a:off x="8882213" y="4299817"/>
            <a:ext cx="529920" cy="163138"/>
          </a:xfrm>
          <a:custGeom>
            <a:avLst/>
            <a:gdLst>
              <a:gd name="connsiteX0" fmla="*/ 291440 w 529920"/>
              <a:gd name="connsiteY0" fmla="*/ 162992 h 163138"/>
              <a:gd name="connsiteX1" fmla="*/ 280218 w 529920"/>
              <a:gd name="connsiteY1" fmla="*/ 156398 h 163138"/>
              <a:gd name="connsiteX2" fmla="*/ 271484 w 529920"/>
              <a:gd name="connsiteY2" fmla="*/ 150614 h 163138"/>
              <a:gd name="connsiteX3" fmla="*/ 262229 w 529920"/>
              <a:gd name="connsiteY3" fmla="*/ 132277 h 163138"/>
              <a:gd name="connsiteX4" fmla="*/ 262229 w 529920"/>
              <a:gd name="connsiteY4" fmla="*/ 131236 h 163138"/>
              <a:gd name="connsiteX5" fmla="*/ 263270 w 529920"/>
              <a:gd name="connsiteY5" fmla="*/ 130888 h 163138"/>
              <a:gd name="connsiteX6" fmla="*/ 278946 w 529920"/>
              <a:gd name="connsiteY6" fmla="*/ 137078 h 163138"/>
              <a:gd name="connsiteX7" fmla="*/ 298324 w 529920"/>
              <a:gd name="connsiteY7" fmla="*/ 143961 h 163138"/>
              <a:gd name="connsiteX8" fmla="*/ 302546 w 529920"/>
              <a:gd name="connsiteY8" fmla="*/ 141763 h 163138"/>
              <a:gd name="connsiteX9" fmla="*/ 304282 w 529920"/>
              <a:gd name="connsiteY9" fmla="*/ 130194 h 163138"/>
              <a:gd name="connsiteX10" fmla="*/ 321230 w 529920"/>
              <a:gd name="connsiteY10" fmla="*/ 106652 h 163138"/>
              <a:gd name="connsiteX11" fmla="*/ 335807 w 529920"/>
              <a:gd name="connsiteY11" fmla="*/ 106247 h 163138"/>
              <a:gd name="connsiteX12" fmla="*/ 359754 w 529920"/>
              <a:gd name="connsiteY12" fmla="*/ 95430 h 163138"/>
              <a:gd name="connsiteX13" fmla="*/ 385090 w 529920"/>
              <a:gd name="connsiteY13" fmla="*/ 56559 h 163138"/>
              <a:gd name="connsiteX14" fmla="*/ 385784 w 529920"/>
              <a:gd name="connsiteY14" fmla="*/ 56559 h 163138"/>
              <a:gd name="connsiteX15" fmla="*/ 386652 w 529920"/>
              <a:gd name="connsiteY15" fmla="*/ 57137 h 163138"/>
              <a:gd name="connsiteX16" fmla="*/ 400477 w 529920"/>
              <a:gd name="connsiteY16" fmla="*/ 75821 h 163138"/>
              <a:gd name="connsiteX17" fmla="*/ 410078 w 529920"/>
              <a:gd name="connsiteY17" fmla="*/ 72061 h 163138"/>
              <a:gd name="connsiteX18" fmla="*/ 418524 w 529920"/>
              <a:gd name="connsiteY18" fmla="*/ 69400 h 163138"/>
              <a:gd name="connsiteX19" fmla="*/ 418813 w 529920"/>
              <a:gd name="connsiteY19" fmla="*/ 69400 h 163138"/>
              <a:gd name="connsiteX20" fmla="*/ 416846 w 529920"/>
              <a:gd name="connsiteY20" fmla="*/ 54823 h 163138"/>
              <a:gd name="connsiteX21" fmla="*/ 417598 w 529920"/>
              <a:gd name="connsiteY21" fmla="*/ 53493 h 163138"/>
              <a:gd name="connsiteX22" fmla="*/ 422805 w 529920"/>
              <a:gd name="connsiteY22" fmla="*/ 47130 h 163138"/>
              <a:gd name="connsiteX23" fmla="*/ 431018 w 529920"/>
              <a:gd name="connsiteY23" fmla="*/ 34751 h 163138"/>
              <a:gd name="connsiteX24" fmla="*/ 437266 w 529920"/>
              <a:gd name="connsiteY24" fmla="*/ 28331 h 163138"/>
              <a:gd name="connsiteX25" fmla="*/ 460403 w 529920"/>
              <a:gd name="connsiteY25" fmla="*/ -129 h 163138"/>
              <a:gd name="connsiteX26" fmla="*/ 486549 w 529920"/>
              <a:gd name="connsiteY26" fmla="*/ 21968 h 163138"/>
              <a:gd name="connsiteX27" fmla="*/ 491292 w 529920"/>
              <a:gd name="connsiteY27" fmla="*/ 26480 h 163138"/>
              <a:gd name="connsiteX28" fmla="*/ 502167 w 529920"/>
              <a:gd name="connsiteY28" fmla="*/ 27984 h 163138"/>
              <a:gd name="connsiteX29" fmla="*/ 509455 w 529920"/>
              <a:gd name="connsiteY29" fmla="*/ 27347 h 163138"/>
              <a:gd name="connsiteX30" fmla="*/ 511711 w 529920"/>
              <a:gd name="connsiteY30" fmla="*/ 27347 h 163138"/>
              <a:gd name="connsiteX31" fmla="*/ 527561 w 529920"/>
              <a:gd name="connsiteY31" fmla="*/ 35561 h 163138"/>
              <a:gd name="connsiteX32" fmla="*/ 529295 w 529920"/>
              <a:gd name="connsiteY32" fmla="*/ 45221 h 163138"/>
              <a:gd name="connsiteX33" fmla="*/ 510496 w 529920"/>
              <a:gd name="connsiteY33" fmla="*/ 52567 h 163138"/>
              <a:gd name="connsiteX34" fmla="*/ 503208 w 529920"/>
              <a:gd name="connsiteY34" fmla="*/ 53724 h 163138"/>
              <a:gd name="connsiteX35" fmla="*/ 503960 w 529920"/>
              <a:gd name="connsiteY35" fmla="*/ 54476 h 163138"/>
              <a:gd name="connsiteX36" fmla="*/ 505869 w 529920"/>
              <a:gd name="connsiteY36" fmla="*/ 58930 h 163138"/>
              <a:gd name="connsiteX37" fmla="*/ 488168 w 529920"/>
              <a:gd name="connsiteY37" fmla="*/ 72176 h 163138"/>
              <a:gd name="connsiteX38" fmla="*/ 486780 w 529920"/>
              <a:gd name="connsiteY38" fmla="*/ 72871 h 163138"/>
              <a:gd name="connsiteX39" fmla="*/ 485739 w 529920"/>
              <a:gd name="connsiteY39" fmla="*/ 72871 h 163138"/>
              <a:gd name="connsiteX40" fmla="*/ 473303 w 529920"/>
              <a:gd name="connsiteY40" fmla="*/ 68590 h 163138"/>
              <a:gd name="connsiteX41" fmla="*/ 468617 w 529920"/>
              <a:gd name="connsiteY41" fmla="*/ 68590 h 163138"/>
              <a:gd name="connsiteX42" fmla="*/ 461907 w 529920"/>
              <a:gd name="connsiteY42" fmla="*/ 68590 h 163138"/>
              <a:gd name="connsiteX43" fmla="*/ 435530 w 529920"/>
              <a:gd name="connsiteY43" fmla="*/ 75242 h 163138"/>
              <a:gd name="connsiteX44" fmla="*/ 432464 w 529920"/>
              <a:gd name="connsiteY44" fmla="*/ 85307 h 163138"/>
              <a:gd name="connsiteX45" fmla="*/ 421763 w 529920"/>
              <a:gd name="connsiteY45" fmla="*/ 103007 h 163138"/>
              <a:gd name="connsiteX46" fmla="*/ 416268 w 529920"/>
              <a:gd name="connsiteY46" fmla="*/ 109486 h 163138"/>
              <a:gd name="connsiteX47" fmla="*/ 412392 w 529920"/>
              <a:gd name="connsiteY47" fmla="*/ 121518 h 163138"/>
              <a:gd name="connsiteX48" fmla="*/ 408228 w 529920"/>
              <a:gd name="connsiteY48" fmla="*/ 135343 h 163138"/>
              <a:gd name="connsiteX49" fmla="*/ 397873 w 529920"/>
              <a:gd name="connsiteY49" fmla="*/ 148011 h 163138"/>
              <a:gd name="connsiteX50" fmla="*/ 383354 w 529920"/>
              <a:gd name="connsiteY50" fmla="*/ 152696 h 163138"/>
              <a:gd name="connsiteX51" fmla="*/ 374562 w 529920"/>
              <a:gd name="connsiteY51" fmla="*/ 155414 h 163138"/>
              <a:gd name="connsiteX52" fmla="*/ 368431 w 529920"/>
              <a:gd name="connsiteY52" fmla="*/ 152291 h 163138"/>
              <a:gd name="connsiteX53" fmla="*/ 356862 w 529920"/>
              <a:gd name="connsiteY53" fmla="*/ 147895 h 163138"/>
              <a:gd name="connsiteX54" fmla="*/ 338525 w 529920"/>
              <a:gd name="connsiteY54" fmla="*/ 154142 h 163138"/>
              <a:gd name="connsiteX55" fmla="*/ 329733 w 529920"/>
              <a:gd name="connsiteY55" fmla="*/ 159117 h 163138"/>
              <a:gd name="connsiteX56" fmla="*/ 318743 w 529920"/>
              <a:gd name="connsiteY56" fmla="*/ 160389 h 163138"/>
              <a:gd name="connsiteX57" fmla="*/ 312206 w 529920"/>
              <a:gd name="connsiteY57" fmla="*/ 160389 h 163138"/>
              <a:gd name="connsiteX58" fmla="*/ 305901 w 529920"/>
              <a:gd name="connsiteY58" fmla="*/ 160389 h 163138"/>
              <a:gd name="connsiteX59" fmla="*/ 294332 w 529920"/>
              <a:gd name="connsiteY59" fmla="*/ 162472 h 163138"/>
              <a:gd name="connsiteX60" fmla="*/ 291440 w 529920"/>
              <a:gd name="connsiteY60" fmla="*/ 162992 h 163138"/>
              <a:gd name="connsiteX61" fmla="*/ 264832 w 529920"/>
              <a:gd name="connsiteY61" fmla="*/ 133723 h 163138"/>
              <a:gd name="connsiteX62" fmla="*/ 271484 w 529920"/>
              <a:gd name="connsiteY62" fmla="*/ 148531 h 163138"/>
              <a:gd name="connsiteX63" fmla="*/ 281722 w 529920"/>
              <a:gd name="connsiteY63" fmla="*/ 154662 h 163138"/>
              <a:gd name="connsiteX64" fmla="*/ 293291 w 529920"/>
              <a:gd name="connsiteY64" fmla="*/ 160042 h 163138"/>
              <a:gd name="connsiteX65" fmla="*/ 306075 w 529920"/>
              <a:gd name="connsiteY65" fmla="*/ 157497 h 163138"/>
              <a:gd name="connsiteX66" fmla="*/ 312437 w 529920"/>
              <a:gd name="connsiteY66" fmla="*/ 157497 h 163138"/>
              <a:gd name="connsiteX67" fmla="*/ 318916 w 529920"/>
              <a:gd name="connsiteY67" fmla="*/ 157497 h 163138"/>
              <a:gd name="connsiteX68" fmla="*/ 329212 w 529920"/>
              <a:gd name="connsiteY68" fmla="*/ 156398 h 163138"/>
              <a:gd name="connsiteX69" fmla="*/ 337368 w 529920"/>
              <a:gd name="connsiteY69" fmla="*/ 151712 h 163138"/>
              <a:gd name="connsiteX70" fmla="*/ 357036 w 529920"/>
              <a:gd name="connsiteY70" fmla="*/ 145002 h 163138"/>
              <a:gd name="connsiteX71" fmla="*/ 369993 w 529920"/>
              <a:gd name="connsiteY71" fmla="*/ 150035 h 163138"/>
              <a:gd name="connsiteX72" fmla="*/ 374562 w 529920"/>
              <a:gd name="connsiteY72" fmla="*/ 152522 h 163138"/>
              <a:gd name="connsiteX73" fmla="*/ 382372 w 529920"/>
              <a:gd name="connsiteY73" fmla="*/ 150035 h 163138"/>
              <a:gd name="connsiteX74" fmla="*/ 397411 w 529920"/>
              <a:gd name="connsiteY74" fmla="*/ 145176 h 163138"/>
              <a:gd name="connsiteX75" fmla="*/ 405972 w 529920"/>
              <a:gd name="connsiteY75" fmla="*/ 134996 h 163138"/>
              <a:gd name="connsiteX76" fmla="*/ 410600 w 529920"/>
              <a:gd name="connsiteY76" fmla="*/ 119493 h 163138"/>
              <a:gd name="connsiteX77" fmla="*/ 414070 w 529920"/>
              <a:gd name="connsiteY77" fmla="*/ 109139 h 163138"/>
              <a:gd name="connsiteX78" fmla="*/ 420895 w 529920"/>
              <a:gd name="connsiteY78" fmla="*/ 100289 h 163138"/>
              <a:gd name="connsiteX79" fmla="*/ 430209 w 529920"/>
              <a:gd name="connsiteY79" fmla="*/ 84844 h 163138"/>
              <a:gd name="connsiteX80" fmla="*/ 433852 w 529920"/>
              <a:gd name="connsiteY80" fmla="*/ 73275 h 163138"/>
              <a:gd name="connsiteX81" fmla="*/ 461907 w 529920"/>
              <a:gd name="connsiteY81" fmla="*/ 65929 h 163138"/>
              <a:gd name="connsiteX82" fmla="*/ 468675 w 529920"/>
              <a:gd name="connsiteY82" fmla="*/ 65929 h 163138"/>
              <a:gd name="connsiteX83" fmla="*/ 473303 w 529920"/>
              <a:gd name="connsiteY83" fmla="*/ 65929 h 163138"/>
              <a:gd name="connsiteX84" fmla="*/ 486260 w 529920"/>
              <a:gd name="connsiteY84" fmla="*/ 70152 h 163138"/>
              <a:gd name="connsiteX85" fmla="*/ 487185 w 529920"/>
              <a:gd name="connsiteY85" fmla="*/ 69747 h 163138"/>
              <a:gd name="connsiteX86" fmla="*/ 503671 w 529920"/>
              <a:gd name="connsiteY86" fmla="*/ 58178 h 163138"/>
              <a:gd name="connsiteX87" fmla="*/ 502456 w 529920"/>
              <a:gd name="connsiteY87" fmla="*/ 55749 h 163138"/>
              <a:gd name="connsiteX88" fmla="*/ 501010 w 529920"/>
              <a:gd name="connsiteY88" fmla="*/ 52510 h 163138"/>
              <a:gd name="connsiteX89" fmla="*/ 510265 w 529920"/>
              <a:gd name="connsiteY89" fmla="*/ 49849 h 163138"/>
              <a:gd name="connsiteX90" fmla="*/ 527213 w 529920"/>
              <a:gd name="connsiteY90" fmla="*/ 44064 h 163138"/>
              <a:gd name="connsiteX91" fmla="*/ 525709 w 529920"/>
              <a:gd name="connsiteY91" fmla="*/ 36429 h 163138"/>
              <a:gd name="connsiteX92" fmla="*/ 509918 w 529920"/>
              <a:gd name="connsiteY92" fmla="*/ 29372 h 163138"/>
              <a:gd name="connsiteX93" fmla="*/ 490540 w 529920"/>
              <a:gd name="connsiteY93" fmla="*/ 28446 h 163138"/>
              <a:gd name="connsiteX94" fmla="*/ 484293 w 529920"/>
              <a:gd name="connsiteY94" fmla="*/ 21794 h 163138"/>
              <a:gd name="connsiteX95" fmla="*/ 460403 w 529920"/>
              <a:gd name="connsiteY95" fmla="*/ 1954 h 163138"/>
              <a:gd name="connsiteX96" fmla="*/ 439695 w 529920"/>
              <a:gd name="connsiteY96" fmla="*/ 28389 h 163138"/>
              <a:gd name="connsiteX97" fmla="*/ 432291 w 529920"/>
              <a:gd name="connsiteY97" fmla="*/ 36544 h 163138"/>
              <a:gd name="connsiteX98" fmla="*/ 425176 w 529920"/>
              <a:gd name="connsiteY98" fmla="*/ 46667 h 163138"/>
              <a:gd name="connsiteX99" fmla="*/ 419391 w 529920"/>
              <a:gd name="connsiteY99" fmla="*/ 55113 h 163138"/>
              <a:gd name="connsiteX100" fmla="*/ 420837 w 529920"/>
              <a:gd name="connsiteY100" fmla="*/ 70557 h 163138"/>
              <a:gd name="connsiteX101" fmla="*/ 418061 w 529920"/>
              <a:gd name="connsiteY101" fmla="*/ 71367 h 163138"/>
              <a:gd name="connsiteX102" fmla="*/ 411582 w 529920"/>
              <a:gd name="connsiteY102" fmla="*/ 73680 h 163138"/>
              <a:gd name="connsiteX103" fmla="*/ 400592 w 529920"/>
              <a:gd name="connsiteY103" fmla="*/ 77845 h 163138"/>
              <a:gd name="connsiteX104" fmla="*/ 385032 w 529920"/>
              <a:gd name="connsiteY104" fmla="*/ 58467 h 163138"/>
              <a:gd name="connsiteX105" fmla="*/ 361894 w 529920"/>
              <a:gd name="connsiteY105" fmla="*/ 95546 h 163138"/>
              <a:gd name="connsiteX106" fmla="*/ 335749 w 529920"/>
              <a:gd name="connsiteY106" fmla="*/ 108156 h 163138"/>
              <a:gd name="connsiteX107" fmla="*/ 321346 w 529920"/>
              <a:gd name="connsiteY107" fmla="*/ 108561 h 163138"/>
              <a:gd name="connsiteX108" fmla="*/ 306480 w 529920"/>
              <a:gd name="connsiteY108" fmla="*/ 129905 h 163138"/>
              <a:gd name="connsiteX109" fmla="*/ 304513 w 529920"/>
              <a:gd name="connsiteY109" fmla="*/ 142631 h 163138"/>
              <a:gd name="connsiteX110" fmla="*/ 298266 w 529920"/>
              <a:gd name="connsiteY110" fmla="*/ 146159 h 163138"/>
              <a:gd name="connsiteX111" fmla="*/ 277904 w 529920"/>
              <a:gd name="connsiteY111" fmla="*/ 139102 h 163138"/>
              <a:gd name="connsiteX112" fmla="*/ 265005 w 529920"/>
              <a:gd name="connsiteY112" fmla="*/ 133723 h 163138"/>
              <a:gd name="connsiteX113" fmla="*/ 113626 w 529920"/>
              <a:gd name="connsiteY113" fmla="*/ 152349 h 163138"/>
              <a:gd name="connsiteX114" fmla="*/ 113626 w 529920"/>
              <a:gd name="connsiteY114" fmla="*/ 152349 h 163138"/>
              <a:gd name="connsiteX115" fmla="*/ 62088 w 529920"/>
              <a:gd name="connsiteY115" fmla="*/ 125162 h 163138"/>
              <a:gd name="connsiteX116" fmla="*/ 55088 w 529920"/>
              <a:gd name="connsiteY116" fmla="*/ 120245 h 163138"/>
              <a:gd name="connsiteX117" fmla="*/ 35364 w 529920"/>
              <a:gd name="connsiteY117" fmla="*/ 99537 h 163138"/>
              <a:gd name="connsiteX118" fmla="*/ 25530 w 529920"/>
              <a:gd name="connsiteY118" fmla="*/ 83341 h 163138"/>
              <a:gd name="connsiteX119" fmla="*/ 7482 w 529920"/>
              <a:gd name="connsiteY119" fmla="*/ 46667 h 163138"/>
              <a:gd name="connsiteX120" fmla="*/ 20 w 529920"/>
              <a:gd name="connsiteY120" fmla="*/ 5308 h 163138"/>
              <a:gd name="connsiteX121" fmla="*/ 20 w 529920"/>
              <a:gd name="connsiteY121" fmla="*/ 4267 h 163138"/>
              <a:gd name="connsiteX122" fmla="*/ 946 w 529920"/>
              <a:gd name="connsiteY122" fmla="*/ 3747 h 163138"/>
              <a:gd name="connsiteX123" fmla="*/ 17027 w 529920"/>
              <a:gd name="connsiteY123" fmla="*/ 4846 h 163138"/>
              <a:gd name="connsiteX124" fmla="*/ 31372 w 529920"/>
              <a:gd name="connsiteY124" fmla="*/ 22199 h 163138"/>
              <a:gd name="connsiteX125" fmla="*/ 33744 w 529920"/>
              <a:gd name="connsiteY125" fmla="*/ 23992 h 163138"/>
              <a:gd name="connsiteX126" fmla="*/ 40627 w 529920"/>
              <a:gd name="connsiteY126" fmla="*/ 24686 h 163138"/>
              <a:gd name="connsiteX127" fmla="*/ 51560 w 529920"/>
              <a:gd name="connsiteY127" fmla="*/ 23761 h 163138"/>
              <a:gd name="connsiteX128" fmla="*/ 51965 w 529920"/>
              <a:gd name="connsiteY128" fmla="*/ 22083 h 163138"/>
              <a:gd name="connsiteX129" fmla="*/ 59832 w 529920"/>
              <a:gd name="connsiteY129" fmla="*/ 12828 h 163138"/>
              <a:gd name="connsiteX130" fmla="*/ 61104 w 529920"/>
              <a:gd name="connsiteY130" fmla="*/ 13233 h 163138"/>
              <a:gd name="connsiteX131" fmla="*/ 63360 w 529920"/>
              <a:gd name="connsiteY131" fmla="*/ 17456 h 163138"/>
              <a:gd name="connsiteX132" fmla="*/ 67814 w 529920"/>
              <a:gd name="connsiteY132" fmla="*/ 21447 h 163138"/>
              <a:gd name="connsiteX133" fmla="*/ 76664 w 529920"/>
              <a:gd name="connsiteY133" fmla="*/ 30760 h 163138"/>
              <a:gd name="connsiteX134" fmla="*/ 86150 w 529920"/>
              <a:gd name="connsiteY134" fmla="*/ 40825 h 163138"/>
              <a:gd name="connsiteX135" fmla="*/ 97719 w 529920"/>
              <a:gd name="connsiteY135" fmla="*/ 59798 h 163138"/>
              <a:gd name="connsiteX136" fmla="*/ 95869 w 529920"/>
              <a:gd name="connsiteY136" fmla="*/ 78250 h 163138"/>
              <a:gd name="connsiteX137" fmla="*/ 97835 w 529920"/>
              <a:gd name="connsiteY137" fmla="*/ 111511 h 163138"/>
              <a:gd name="connsiteX138" fmla="*/ 117560 w 529920"/>
              <a:gd name="connsiteY138" fmla="*/ 149399 h 163138"/>
              <a:gd name="connsiteX139" fmla="*/ 115652 w 529920"/>
              <a:gd name="connsiteY139" fmla="*/ 152117 h 163138"/>
              <a:gd name="connsiteX140" fmla="*/ 113626 w 529920"/>
              <a:gd name="connsiteY140" fmla="*/ 152349 h 163138"/>
              <a:gd name="connsiteX141" fmla="*/ 2739 w 529920"/>
              <a:gd name="connsiteY141" fmla="*/ 5887 h 163138"/>
              <a:gd name="connsiteX142" fmla="*/ 9738 w 529920"/>
              <a:gd name="connsiteY142" fmla="*/ 46378 h 163138"/>
              <a:gd name="connsiteX143" fmla="*/ 27439 w 529920"/>
              <a:gd name="connsiteY143" fmla="*/ 81837 h 163138"/>
              <a:gd name="connsiteX144" fmla="*/ 37504 w 529920"/>
              <a:gd name="connsiteY144" fmla="*/ 98611 h 163138"/>
              <a:gd name="connsiteX145" fmla="*/ 56361 w 529920"/>
              <a:gd name="connsiteY145" fmla="*/ 118163 h 163138"/>
              <a:gd name="connsiteX146" fmla="*/ 63360 w 529920"/>
              <a:gd name="connsiteY146" fmla="*/ 123080 h 163138"/>
              <a:gd name="connsiteX147" fmla="*/ 113626 w 529920"/>
              <a:gd name="connsiteY147" fmla="*/ 149862 h 163138"/>
              <a:gd name="connsiteX148" fmla="*/ 113626 w 529920"/>
              <a:gd name="connsiteY148" fmla="*/ 149862 h 163138"/>
              <a:gd name="connsiteX149" fmla="*/ 114726 w 529920"/>
              <a:gd name="connsiteY149" fmla="*/ 149862 h 163138"/>
              <a:gd name="connsiteX150" fmla="*/ 115420 w 529920"/>
              <a:gd name="connsiteY150" fmla="*/ 148820 h 163138"/>
              <a:gd name="connsiteX151" fmla="*/ 96273 w 529920"/>
              <a:gd name="connsiteY151" fmla="*/ 112899 h 163138"/>
              <a:gd name="connsiteX152" fmla="*/ 93670 w 529920"/>
              <a:gd name="connsiteY152" fmla="*/ 77787 h 163138"/>
              <a:gd name="connsiteX153" fmla="*/ 95521 w 529920"/>
              <a:gd name="connsiteY153" fmla="*/ 59566 h 163138"/>
              <a:gd name="connsiteX154" fmla="*/ 84936 w 529920"/>
              <a:gd name="connsiteY154" fmla="*/ 42560 h 163138"/>
              <a:gd name="connsiteX155" fmla="*/ 74582 w 529920"/>
              <a:gd name="connsiteY155" fmla="*/ 30991 h 163138"/>
              <a:gd name="connsiteX156" fmla="*/ 67236 w 529920"/>
              <a:gd name="connsiteY156" fmla="*/ 23182 h 163138"/>
              <a:gd name="connsiteX157" fmla="*/ 61452 w 529920"/>
              <a:gd name="connsiteY157" fmla="*/ 17398 h 163138"/>
              <a:gd name="connsiteX158" fmla="*/ 60005 w 529920"/>
              <a:gd name="connsiteY158" fmla="*/ 14506 h 163138"/>
              <a:gd name="connsiteX159" fmla="*/ 54221 w 529920"/>
              <a:gd name="connsiteY159" fmla="*/ 21794 h 163138"/>
              <a:gd name="connsiteX160" fmla="*/ 51965 w 529920"/>
              <a:gd name="connsiteY160" fmla="*/ 25323 h 163138"/>
              <a:gd name="connsiteX161" fmla="*/ 40396 w 529920"/>
              <a:gd name="connsiteY161" fmla="*/ 26248 h 163138"/>
              <a:gd name="connsiteX162" fmla="*/ 32876 w 529920"/>
              <a:gd name="connsiteY162" fmla="*/ 25496 h 163138"/>
              <a:gd name="connsiteX163" fmla="*/ 28885 w 529920"/>
              <a:gd name="connsiteY163" fmla="*/ 21505 h 163138"/>
              <a:gd name="connsiteX164" fmla="*/ 16391 w 529920"/>
              <a:gd name="connsiteY164" fmla="*/ 6523 h 163138"/>
              <a:gd name="connsiteX165" fmla="*/ 2739 w 529920"/>
              <a:gd name="connsiteY165" fmla="*/ 5887 h 16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529920" h="163138">
                <a:moveTo>
                  <a:pt x="291440" y="162992"/>
                </a:moveTo>
                <a:cubicBezTo>
                  <a:pt x="287101" y="162038"/>
                  <a:pt x="283168" y="159730"/>
                  <a:pt x="280218" y="156398"/>
                </a:cubicBezTo>
                <a:cubicBezTo>
                  <a:pt x="277094" y="153621"/>
                  <a:pt x="273798" y="150614"/>
                  <a:pt x="271484" y="150614"/>
                </a:cubicBezTo>
                <a:cubicBezTo>
                  <a:pt x="269170" y="150614"/>
                  <a:pt x="266104" y="148705"/>
                  <a:pt x="262229" y="132277"/>
                </a:cubicBezTo>
                <a:cubicBezTo>
                  <a:pt x="262055" y="131959"/>
                  <a:pt x="262055" y="131554"/>
                  <a:pt x="262229" y="131236"/>
                </a:cubicBezTo>
                <a:cubicBezTo>
                  <a:pt x="262460" y="130929"/>
                  <a:pt x="262865" y="130796"/>
                  <a:pt x="263270" y="130888"/>
                </a:cubicBezTo>
                <a:cubicBezTo>
                  <a:pt x="268707" y="132415"/>
                  <a:pt x="273971" y="134492"/>
                  <a:pt x="278946" y="137078"/>
                </a:cubicBezTo>
                <a:cubicBezTo>
                  <a:pt x="284961" y="140502"/>
                  <a:pt x="291498" y="142833"/>
                  <a:pt x="298324" y="143961"/>
                </a:cubicBezTo>
                <a:cubicBezTo>
                  <a:pt x="300059" y="144222"/>
                  <a:pt x="301736" y="143331"/>
                  <a:pt x="302546" y="141763"/>
                </a:cubicBezTo>
                <a:cubicBezTo>
                  <a:pt x="303761" y="138038"/>
                  <a:pt x="304398" y="134122"/>
                  <a:pt x="304282" y="130194"/>
                </a:cubicBezTo>
                <a:cubicBezTo>
                  <a:pt x="304686" y="120187"/>
                  <a:pt x="305207" y="107809"/>
                  <a:pt x="321230" y="106652"/>
                </a:cubicBezTo>
                <a:cubicBezTo>
                  <a:pt x="326552" y="106247"/>
                  <a:pt x="331468" y="106247"/>
                  <a:pt x="335807" y="106247"/>
                </a:cubicBezTo>
                <a:cubicBezTo>
                  <a:pt x="349342" y="106247"/>
                  <a:pt x="357498" y="106247"/>
                  <a:pt x="359754" y="95430"/>
                </a:cubicBezTo>
                <a:cubicBezTo>
                  <a:pt x="362878" y="80680"/>
                  <a:pt x="377570" y="56559"/>
                  <a:pt x="385090" y="56559"/>
                </a:cubicBezTo>
                <a:lnTo>
                  <a:pt x="385784" y="56559"/>
                </a:lnTo>
                <a:cubicBezTo>
                  <a:pt x="386131" y="56663"/>
                  <a:pt x="386420" y="56865"/>
                  <a:pt x="386652" y="57137"/>
                </a:cubicBezTo>
                <a:cubicBezTo>
                  <a:pt x="395791" y="74027"/>
                  <a:pt x="399377" y="75821"/>
                  <a:pt x="400477" y="75821"/>
                </a:cubicBezTo>
                <a:cubicBezTo>
                  <a:pt x="404005" y="75798"/>
                  <a:pt x="407476" y="74456"/>
                  <a:pt x="410078" y="72061"/>
                </a:cubicBezTo>
                <a:cubicBezTo>
                  <a:pt x="412277" y="69851"/>
                  <a:pt x="415458" y="68856"/>
                  <a:pt x="418524" y="69400"/>
                </a:cubicBezTo>
                <a:lnTo>
                  <a:pt x="418813" y="69400"/>
                </a:lnTo>
                <a:cubicBezTo>
                  <a:pt x="420143" y="67838"/>
                  <a:pt x="417830" y="58699"/>
                  <a:pt x="416846" y="54823"/>
                </a:cubicBezTo>
                <a:cubicBezTo>
                  <a:pt x="416673" y="54250"/>
                  <a:pt x="417020" y="53660"/>
                  <a:pt x="417598" y="53493"/>
                </a:cubicBezTo>
                <a:cubicBezTo>
                  <a:pt x="421705" y="52162"/>
                  <a:pt x="423383" y="50369"/>
                  <a:pt x="422805" y="47130"/>
                </a:cubicBezTo>
                <a:cubicBezTo>
                  <a:pt x="421763" y="40073"/>
                  <a:pt x="426680" y="37239"/>
                  <a:pt x="431018" y="34751"/>
                </a:cubicBezTo>
                <a:cubicBezTo>
                  <a:pt x="434200" y="32900"/>
                  <a:pt x="436802" y="31338"/>
                  <a:pt x="437266" y="28331"/>
                </a:cubicBezTo>
                <a:cubicBezTo>
                  <a:pt x="438133" y="19422"/>
                  <a:pt x="449817" y="-129"/>
                  <a:pt x="460403" y="-129"/>
                </a:cubicBezTo>
                <a:cubicBezTo>
                  <a:pt x="470989" y="-129"/>
                  <a:pt x="486549" y="13696"/>
                  <a:pt x="486549" y="21968"/>
                </a:cubicBezTo>
                <a:cubicBezTo>
                  <a:pt x="486549" y="23877"/>
                  <a:pt x="488168" y="25381"/>
                  <a:pt x="491292" y="26480"/>
                </a:cubicBezTo>
                <a:cubicBezTo>
                  <a:pt x="494820" y="27555"/>
                  <a:pt x="498465" y="28064"/>
                  <a:pt x="502167" y="27984"/>
                </a:cubicBezTo>
                <a:cubicBezTo>
                  <a:pt x="504597" y="28013"/>
                  <a:pt x="507026" y="27798"/>
                  <a:pt x="509455" y="27347"/>
                </a:cubicBezTo>
                <a:cubicBezTo>
                  <a:pt x="510207" y="27255"/>
                  <a:pt x="510959" y="27255"/>
                  <a:pt x="511711" y="27347"/>
                </a:cubicBezTo>
                <a:cubicBezTo>
                  <a:pt x="517900" y="27683"/>
                  <a:pt x="523685" y="30673"/>
                  <a:pt x="527561" y="35561"/>
                </a:cubicBezTo>
                <a:cubicBezTo>
                  <a:pt x="529701" y="38286"/>
                  <a:pt x="530395" y="41912"/>
                  <a:pt x="529295" y="45221"/>
                </a:cubicBezTo>
                <a:cubicBezTo>
                  <a:pt x="527329" y="51006"/>
                  <a:pt x="517727" y="51873"/>
                  <a:pt x="510496" y="52567"/>
                </a:cubicBezTo>
                <a:cubicBezTo>
                  <a:pt x="508009" y="52614"/>
                  <a:pt x="505579" y="53001"/>
                  <a:pt x="503208" y="53724"/>
                </a:cubicBezTo>
                <a:cubicBezTo>
                  <a:pt x="503439" y="54008"/>
                  <a:pt x="503671" y="54262"/>
                  <a:pt x="503960" y="54476"/>
                </a:cubicBezTo>
                <a:cubicBezTo>
                  <a:pt x="505349" y="55518"/>
                  <a:pt x="506043" y="57212"/>
                  <a:pt x="505869" y="58930"/>
                </a:cubicBezTo>
                <a:cubicBezTo>
                  <a:pt x="505233" y="63847"/>
                  <a:pt x="496151" y="68243"/>
                  <a:pt x="488168" y="72176"/>
                </a:cubicBezTo>
                <a:lnTo>
                  <a:pt x="486780" y="72871"/>
                </a:lnTo>
                <a:cubicBezTo>
                  <a:pt x="486433" y="73044"/>
                  <a:pt x="486086" y="73044"/>
                  <a:pt x="485739" y="72871"/>
                </a:cubicBezTo>
                <a:cubicBezTo>
                  <a:pt x="481921" y="70638"/>
                  <a:pt x="477699" y="69186"/>
                  <a:pt x="473303" y="68590"/>
                </a:cubicBezTo>
                <a:lnTo>
                  <a:pt x="468617" y="68590"/>
                </a:lnTo>
                <a:lnTo>
                  <a:pt x="461907" y="68590"/>
                </a:lnTo>
                <a:cubicBezTo>
                  <a:pt x="453231" y="68590"/>
                  <a:pt x="441026" y="69284"/>
                  <a:pt x="435530" y="75242"/>
                </a:cubicBezTo>
                <a:cubicBezTo>
                  <a:pt x="433101" y="77984"/>
                  <a:pt x="431944" y="81663"/>
                  <a:pt x="432464" y="85307"/>
                </a:cubicBezTo>
                <a:cubicBezTo>
                  <a:pt x="433448" y="98149"/>
                  <a:pt x="426680" y="100983"/>
                  <a:pt x="421763" y="103007"/>
                </a:cubicBezTo>
                <a:cubicBezTo>
                  <a:pt x="417772" y="104685"/>
                  <a:pt x="415979" y="105668"/>
                  <a:pt x="416268" y="109486"/>
                </a:cubicBezTo>
                <a:cubicBezTo>
                  <a:pt x="416904" y="113882"/>
                  <a:pt x="415458" y="118319"/>
                  <a:pt x="412392" y="121518"/>
                </a:cubicBezTo>
                <a:cubicBezTo>
                  <a:pt x="408980" y="125272"/>
                  <a:pt x="407476" y="130345"/>
                  <a:pt x="408228" y="135343"/>
                </a:cubicBezTo>
                <a:cubicBezTo>
                  <a:pt x="409384" y="145639"/>
                  <a:pt x="404815" y="146564"/>
                  <a:pt x="397873" y="148011"/>
                </a:cubicBezTo>
                <a:cubicBezTo>
                  <a:pt x="392841" y="148884"/>
                  <a:pt x="387924" y="150463"/>
                  <a:pt x="383354" y="152696"/>
                </a:cubicBezTo>
                <a:cubicBezTo>
                  <a:pt x="380636" y="154240"/>
                  <a:pt x="377686" y="155171"/>
                  <a:pt x="374562" y="155414"/>
                </a:cubicBezTo>
                <a:cubicBezTo>
                  <a:pt x="372133" y="155328"/>
                  <a:pt x="369935" y="154188"/>
                  <a:pt x="368431" y="152291"/>
                </a:cubicBezTo>
                <a:cubicBezTo>
                  <a:pt x="365481" y="149098"/>
                  <a:pt x="361200" y="147472"/>
                  <a:pt x="356862" y="147895"/>
                </a:cubicBezTo>
                <a:cubicBezTo>
                  <a:pt x="350152" y="147542"/>
                  <a:pt x="343615" y="149780"/>
                  <a:pt x="338525" y="154142"/>
                </a:cubicBezTo>
                <a:cubicBezTo>
                  <a:pt x="335922" y="156288"/>
                  <a:pt x="332914" y="157971"/>
                  <a:pt x="329733" y="159117"/>
                </a:cubicBezTo>
                <a:cubicBezTo>
                  <a:pt x="326146" y="160140"/>
                  <a:pt x="322445" y="160568"/>
                  <a:pt x="318743" y="160389"/>
                </a:cubicBezTo>
                <a:lnTo>
                  <a:pt x="312206" y="160389"/>
                </a:lnTo>
                <a:lnTo>
                  <a:pt x="305901" y="160389"/>
                </a:lnTo>
                <a:cubicBezTo>
                  <a:pt x="301910" y="159990"/>
                  <a:pt x="297918" y="160713"/>
                  <a:pt x="294332" y="162472"/>
                </a:cubicBezTo>
                <a:cubicBezTo>
                  <a:pt x="293407" y="162894"/>
                  <a:pt x="292423" y="163067"/>
                  <a:pt x="291440" y="162992"/>
                </a:cubicBezTo>
                <a:close/>
                <a:moveTo>
                  <a:pt x="264832" y="133723"/>
                </a:moveTo>
                <a:cubicBezTo>
                  <a:pt x="268360" y="147779"/>
                  <a:pt x="270963" y="148531"/>
                  <a:pt x="271484" y="148531"/>
                </a:cubicBezTo>
                <a:cubicBezTo>
                  <a:pt x="274665" y="148531"/>
                  <a:pt x="278078" y="151481"/>
                  <a:pt x="281722" y="154662"/>
                </a:cubicBezTo>
                <a:cubicBezTo>
                  <a:pt x="285367" y="157844"/>
                  <a:pt x="290573" y="162182"/>
                  <a:pt x="293291" y="160042"/>
                </a:cubicBezTo>
                <a:cubicBezTo>
                  <a:pt x="297224" y="157989"/>
                  <a:pt x="301678" y="157103"/>
                  <a:pt x="306075" y="157497"/>
                </a:cubicBezTo>
                <a:lnTo>
                  <a:pt x="312437" y="157497"/>
                </a:lnTo>
                <a:lnTo>
                  <a:pt x="318916" y="157497"/>
                </a:lnTo>
                <a:cubicBezTo>
                  <a:pt x="322387" y="157641"/>
                  <a:pt x="325858" y="157271"/>
                  <a:pt x="329212" y="156398"/>
                </a:cubicBezTo>
                <a:cubicBezTo>
                  <a:pt x="332162" y="155270"/>
                  <a:pt x="334939" y="153691"/>
                  <a:pt x="337368" y="151712"/>
                </a:cubicBezTo>
                <a:cubicBezTo>
                  <a:pt x="342863" y="147062"/>
                  <a:pt x="349863" y="144661"/>
                  <a:pt x="357036" y="145002"/>
                </a:cubicBezTo>
                <a:cubicBezTo>
                  <a:pt x="361894" y="144621"/>
                  <a:pt x="366637" y="146472"/>
                  <a:pt x="369993" y="150035"/>
                </a:cubicBezTo>
                <a:cubicBezTo>
                  <a:pt x="371091" y="151498"/>
                  <a:pt x="372769" y="152412"/>
                  <a:pt x="374562" y="152522"/>
                </a:cubicBezTo>
                <a:cubicBezTo>
                  <a:pt x="377339" y="152256"/>
                  <a:pt x="380000" y="151406"/>
                  <a:pt x="382372" y="150035"/>
                </a:cubicBezTo>
                <a:cubicBezTo>
                  <a:pt x="387114" y="147698"/>
                  <a:pt x="392205" y="146061"/>
                  <a:pt x="397411" y="145176"/>
                </a:cubicBezTo>
                <a:cubicBezTo>
                  <a:pt x="404352" y="143730"/>
                  <a:pt x="406897" y="143209"/>
                  <a:pt x="405972" y="134996"/>
                </a:cubicBezTo>
                <a:cubicBezTo>
                  <a:pt x="405104" y="129396"/>
                  <a:pt x="406840" y="123704"/>
                  <a:pt x="410600" y="119493"/>
                </a:cubicBezTo>
                <a:cubicBezTo>
                  <a:pt x="413318" y="116780"/>
                  <a:pt x="414590" y="112945"/>
                  <a:pt x="414070" y="109139"/>
                </a:cubicBezTo>
                <a:cubicBezTo>
                  <a:pt x="413260" y="103355"/>
                  <a:pt x="417136" y="101851"/>
                  <a:pt x="420895" y="100289"/>
                </a:cubicBezTo>
                <a:cubicBezTo>
                  <a:pt x="425871" y="98206"/>
                  <a:pt x="431076" y="96066"/>
                  <a:pt x="430209" y="84844"/>
                </a:cubicBezTo>
                <a:cubicBezTo>
                  <a:pt x="429746" y="80651"/>
                  <a:pt x="431076" y="76451"/>
                  <a:pt x="433852" y="73275"/>
                </a:cubicBezTo>
                <a:cubicBezTo>
                  <a:pt x="439637" y="66739"/>
                  <a:pt x="452016" y="65929"/>
                  <a:pt x="461907" y="65929"/>
                </a:cubicBezTo>
                <a:lnTo>
                  <a:pt x="468675" y="65929"/>
                </a:lnTo>
                <a:lnTo>
                  <a:pt x="473303" y="65929"/>
                </a:lnTo>
                <a:cubicBezTo>
                  <a:pt x="477872" y="66456"/>
                  <a:pt x="482269" y="67890"/>
                  <a:pt x="486260" y="70152"/>
                </a:cubicBezTo>
                <a:lnTo>
                  <a:pt x="487185" y="69747"/>
                </a:lnTo>
                <a:cubicBezTo>
                  <a:pt x="493895" y="66450"/>
                  <a:pt x="503150" y="61938"/>
                  <a:pt x="503671" y="58178"/>
                </a:cubicBezTo>
                <a:cubicBezTo>
                  <a:pt x="503671" y="57831"/>
                  <a:pt x="503671" y="56906"/>
                  <a:pt x="502456" y="55749"/>
                </a:cubicBezTo>
                <a:cubicBezTo>
                  <a:pt x="501993" y="55286"/>
                  <a:pt x="500547" y="54014"/>
                  <a:pt x="501010" y="52510"/>
                </a:cubicBezTo>
                <a:cubicBezTo>
                  <a:pt x="501473" y="51006"/>
                  <a:pt x="504885" y="50311"/>
                  <a:pt x="510265" y="49849"/>
                </a:cubicBezTo>
                <a:cubicBezTo>
                  <a:pt x="516802" y="49270"/>
                  <a:pt x="525709" y="48518"/>
                  <a:pt x="527213" y="44064"/>
                </a:cubicBezTo>
                <a:cubicBezTo>
                  <a:pt x="528023" y="41426"/>
                  <a:pt x="527445" y="38558"/>
                  <a:pt x="525709" y="36429"/>
                </a:cubicBezTo>
                <a:cubicBezTo>
                  <a:pt x="521950" y="31587"/>
                  <a:pt x="516050" y="28938"/>
                  <a:pt x="509918" y="29372"/>
                </a:cubicBezTo>
                <a:cubicBezTo>
                  <a:pt x="503497" y="30546"/>
                  <a:pt x="496845" y="30228"/>
                  <a:pt x="490540" y="28446"/>
                </a:cubicBezTo>
                <a:cubicBezTo>
                  <a:pt x="485392" y="26653"/>
                  <a:pt x="484293" y="23819"/>
                  <a:pt x="484293" y="21794"/>
                </a:cubicBezTo>
                <a:cubicBezTo>
                  <a:pt x="484293" y="15316"/>
                  <a:pt x="469543" y="1954"/>
                  <a:pt x="460403" y="1954"/>
                </a:cubicBezTo>
                <a:cubicBezTo>
                  <a:pt x="451264" y="1954"/>
                  <a:pt x="440505" y="20290"/>
                  <a:pt x="439695" y="28389"/>
                </a:cubicBezTo>
                <a:cubicBezTo>
                  <a:pt x="439290" y="32553"/>
                  <a:pt x="435762" y="34578"/>
                  <a:pt x="432291" y="36544"/>
                </a:cubicBezTo>
                <a:cubicBezTo>
                  <a:pt x="428820" y="38511"/>
                  <a:pt x="424367" y="41114"/>
                  <a:pt x="425176" y="46667"/>
                </a:cubicBezTo>
                <a:cubicBezTo>
                  <a:pt x="425813" y="50572"/>
                  <a:pt x="423267" y="54274"/>
                  <a:pt x="419391" y="55113"/>
                </a:cubicBezTo>
                <a:cubicBezTo>
                  <a:pt x="421589" y="63789"/>
                  <a:pt x="422341" y="68590"/>
                  <a:pt x="420837" y="70557"/>
                </a:cubicBezTo>
                <a:cubicBezTo>
                  <a:pt x="420201" y="71390"/>
                  <a:pt x="419045" y="71720"/>
                  <a:pt x="418061" y="71367"/>
                </a:cubicBezTo>
                <a:cubicBezTo>
                  <a:pt x="415574" y="70730"/>
                  <a:pt x="413838" y="71945"/>
                  <a:pt x="411582" y="73680"/>
                </a:cubicBezTo>
                <a:cubicBezTo>
                  <a:pt x="408517" y="76307"/>
                  <a:pt x="404641" y="77776"/>
                  <a:pt x="400592" y="77845"/>
                </a:cubicBezTo>
                <a:cubicBezTo>
                  <a:pt x="398279" y="77845"/>
                  <a:pt x="394403" y="75647"/>
                  <a:pt x="385032" y="58467"/>
                </a:cubicBezTo>
                <a:cubicBezTo>
                  <a:pt x="379248" y="58814"/>
                  <a:pt x="365365" y="80043"/>
                  <a:pt x="361894" y="95546"/>
                </a:cubicBezTo>
                <a:cubicBezTo>
                  <a:pt x="359292" y="108098"/>
                  <a:pt x="349400" y="108098"/>
                  <a:pt x="335749" y="108156"/>
                </a:cubicBezTo>
                <a:cubicBezTo>
                  <a:pt x="331468" y="108156"/>
                  <a:pt x="326552" y="108156"/>
                  <a:pt x="321346" y="108561"/>
                </a:cubicBezTo>
                <a:cubicBezTo>
                  <a:pt x="307290" y="109602"/>
                  <a:pt x="306884" y="119435"/>
                  <a:pt x="306480" y="129905"/>
                </a:cubicBezTo>
                <a:cubicBezTo>
                  <a:pt x="306595" y="134232"/>
                  <a:pt x="305959" y="138547"/>
                  <a:pt x="304513" y="142631"/>
                </a:cubicBezTo>
                <a:cubicBezTo>
                  <a:pt x="303414" y="145020"/>
                  <a:pt x="300868" y="146431"/>
                  <a:pt x="298266" y="146159"/>
                </a:cubicBezTo>
                <a:cubicBezTo>
                  <a:pt x="291093" y="145060"/>
                  <a:pt x="284209" y="142666"/>
                  <a:pt x="277904" y="139102"/>
                </a:cubicBezTo>
                <a:cubicBezTo>
                  <a:pt x="273740" y="137014"/>
                  <a:pt x="269401" y="135215"/>
                  <a:pt x="265005" y="133723"/>
                </a:cubicBezTo>
                <a:close/>
                <a:moveTo>
                  <a:pt x="113626" y="152349"/>
                </a:moveTo>
                <a:lnTo>
                  <a:pt x="113626" y="152349"/>
                </a:lnTo>
                <a:cubicBezTo>
                  <a:pt x="104140" y="152349"/>
                  <a:pt x="74871" y="134359"/>
                  <a:pt x="62088" y="125162"/>
                </a:cubicBezTo>
                <a:lnTo>
                  <a:pt x="55088" y="120245"/>
                </a:lnTo>
                <a:cubicBezTo>
                  <a:pt x="44098" y="112552"/>
                  <a:pt x="38545" y="108676"/>
                  <a:pt x="35364" y="99537"/>
                </a:cubicBezTo>
                <a:cubicBezTo>
                  <a:pt x="32702" y="93793"/>
                  <a:pt x="29406" y="88361"/>
                  <a:pt x="25530" y="83341"/>
                </a:cubicBezTo>
                <a:cubicBezTo>
                  <a:pt x="17605" y="71772"/>
                  <a:pt x="7772" y="57253"/>
                  <a:pt x="7482" y="46667"/>
                </a:cubicBezTo>
                <a:cubicBezTo>
                  <a:pt x="7772" y="32519"/>
                  <a:pt x="5284" y="18456"/>
                  <a:pt x="20" y="5308"/>
                </a:cubicBezTo>
                <a:cubicBezTo>
                  <a:pt x="-153" y="4985"/>
                  <a:pt x="-153" y="4591"/>
                  <a:pt x="20" y="4267"/>
                </a:cubicBezTo>
                <a:cubicBezTo>
                  <a:pt x="194" y="3943"/>
                  <a:pt x="541" y="3752"/>
                  <a:pt x="946" y="3747"/>
                </a:cubicBezTo>
                <a:cubicBezTo>
                  <a:pt x="6326" y="3458"/>
                  <a:pt x="11705" y="3822"/>
                  <a:pt x="17027" y="4846"/>
                </a:cubicBezTo>
                <a:cubicBezTo>
                  <a:pt x="25530" y="6159"/>
                  <a:pt x="31662" y="13615"/>
                  <a:pt x="31372" y="22199"/>
                </a:cubicBezTo>
                <a:cubicBezTo>
                  <a:pt x="31372" y="23125"/>
                  <a:pt x="32644" y="23703"/>
                  <a:pt x="33744" y="23992"/>
                </a:cubicBezTo>
                <a:cubicBezTo>
                  <a:pt x="36000" y="24524"/>
                  <a:pt x="38314" y="24756"/>
                  <a:pt x="40627" y="24686"/>
                </a:cubicBezTo>
                <a:cubicBezTo>
                  <a:pt x="44271" y="24692"/>
                  <a:pt x="47973" y="24380"/>
                  <a:pt x="51560" y="23761"/>
                </a:cubicBezTo>
                <a:cubicBezTo>
                  <a:pt x="51733" y="23217"/>
                  <a:pt x="51907" y="22656"/>
                  <a:pt x="51965" y="22083"/>
                </a:cubicBezTo>
                <a:cubicBezTo>
                  <a:pt x="52312" y="17618"/>
                  <a:pt x="55493" y="13875"/>
                  <a:pt x="59832" y="12828"/>
                </a:cubicBezTo>
                <a:cubicBezTo>
                  <a:pt x="60294" y="12661"/>
                  <a:pt x="60815" y="12828"/>
                  <a:pt x="61104" y="13233"/>
                </a:cubicBezTo>
                <a:cubicBezTo>
                  <a:pt x="62088" y="14506"/>
                  <a:pt x="62840" y="15935"/>
                  <a:pt x="63360" y="17456"/>
                </a:cubicBezTo>
                <a:cubicBezTo>
                  <a:pt x="64228" y="20464"/>
                  <a:pt x="65674" y="20811"/>
                  <a:pt x="67814" y="21447"/>
                </a:cubicBezTo>
                <a:cubicBezTo>
                  <a:pt x="69954" y="22083"/>
                  <a:pt x="74235" y="23240"/>
                  <a:pt x="76664" y="30760"/>
                </a:cubicBezTo>
                <a:cubicBezTo>
                  <a:pt x="78515" y="35145"/>
                  <a:pt x="81870" y="38714"/>
                  <a:pt x="86150" y="40825"/>
                </a:cubicBezTo>
                <a:cubicBezTo>
                  <a:pt x="93439" y="44267"/>
                  <a:pt x="98009" y="51729"/>
                  <a:pt x="97719" y="59798"/>
                </a:cubicBezTo>
                <a:cubicBezTo>
                  <a:pt x="97431" y="65976"/>
                  <a:pt x="96852" y="72142"/>
                  <a:pt x="95869" y="78250"/>
                </a:cubicBezTo>
                <a:cubicBezTo>
                  <a:pt x="94017" y="91670"/>
                  <a:pt x="92109" y="105495"/>
                  <a:pt x="97835" y="111511"/>
                </a:cubicBezTo>
                <a:cubicBezTo>
                  <a:pt x="105239" y="119262"/>
                  <a:pt x="119006" y="141647"/>
                  <a:pt x="117560" y="149399"/>
                </a:cubicBezTo>
                <a:cubicBezTo>
                  <a:pt x="117386" y="150561"/>
                  <a:pt x="116692" y="151580"/>
                  <a:pt x="115652" y="152117"/>
                </a:cubicBezTo>
                <a:cubicBezTo>
                  <a:pt x="115015" y="152314"/>
                  <a:pt x="114321" y="152389"/>
                  <a:pt x="113626" y="152349"/>
                </a:cubicBezTo>
                <a:close/>
                <a:moveTo>
                  <a:pt x="2739" y="5887"/>
                </a:moveTo>
                <a:cubicBezTo>
                  <a:pt x="7598" y="18827"/>
                  <a:pt x="9970" y="32559"/>
                  <a:pt x="9738" y="46378"/>
                </a:cubicBezTo>
                <a:cubicBezTo>
                  <a:pt x="9738" y="56327"/>
                  <a:pt x="19630" y="70441"/>
                  <a:pt x="27439" y="81837"/>
                </a:cubicBezTo>
                <a:cubicBezTo>
                  <a:pt x="31430" y="87037"/>
                  <a:pt x="34785" y="92665"/>
                  <a:pt x="37504" y="98611"/>
                </a:cubicBezTo>
                <a:cubicBezTo>
                  <a:pt x="40454" y="106999"/>
                  <a:pt x="45429" y="110527"/>
                  <a:pt x="56361" y="118163"/>
                </a:cubicBezTo>
                <a:cubicBezTo>
                  <a:pt x="58501" y="119609"/>
                  <a:pt x="60815" y="121229"/>
                  <a:pt x="63360" y="123080"/>
                </a:cubicBezTo>
                <a:cubicBezTo>
                  <a:pt x="78978" y="134244"/>
                  <a:pt x="105644" y="149862"/>
                  <a:pt x="113626" y="149862"/>
                </a:cubicBezTo>
                <a:lnTo>
                  <a:pt x="113626" y="149862"/>
                </a:lnTo>
                <a:cubicBezTo>
                  <a:pt x="113974" y="149966"/>
                  <a:pt x="114378" y="149966"/>
                  <a:pt x="114726" y="149862"/>
                </a:cubicBezTo>
                <a:cubicBezTo>
                  <a:pt x="114726" y="149862"/>
                  <a:pt x="115246" y="149862"/>
                  <a:pt x="115420" y="148820"/>
                </a:cubicBezTo>
                <a:cubicBezTo>
                  <a:pt x="116519" y="143036"/>
                  <a:pt x="104603" y="121634"/>
                  <a:pt x="96273" y="112899"/>
                </a:cubicBezTo>
                <a:cubicBezTo>
                  <a:pt x="89737" y="106073"/>
                  <a:pt x="91646" y="92364"/>
                  <a:pt x="93670" y="77787"/>
                </a:cubicBezTo>
                <a:cubicBezTo>
                  <a:pt x="94654" y="71754"/>
                  <a:pt x="95232" y="65669"/>
                  <a:pt x="95521" y="59566"/>
                </a:cubicBezTo>
                <a:cubicBezTo>
                  <a:pt x="95811" y="52261"/>
                  <a:pt x="91646" y="45510"/>
                  <a:pt x="84936" y="42560"/>
                </a:cubicBezTo>
                <a:cubicBezTo>
                  <a:pt x="80193" y="40085"/>
                  <a:pt x="76491" y="35977"/>
                  <a:pt x="74582" y="30991"/>
                </a:cubicBezTo>
                <a:cubicBezTo>
                  <a:pt x="72499" y="24629"/>
                  <a:pt x="69839" y="23877"/>
                  <a:pt x="67236" y="23182"/>
                </a:cubicBezTo>
                <a:cubicBezTo>
                  <a:pt x="64344" y="22592"/>
                  <a:pt x="62030" y="20314"/>
                  <a:pt x="61452" y="17398"/>
                </a:cubicBezTo>
                <a:cubicBezTo>
                  <a:pt x="61162" y="16357"/>
                  <a:pt x="60642" y="15379"/>
                  <a:pt x="60005" y="14506"/>
                </a:cubicBezTo>
                <a:cubicBezTo>
                  <a:pt x="56708" y="15443"/>
                  <a:pt x="54394" y="18376"/>
                  <a:pt x="54221" y="21794"/>
                </a:cubicBezTo>
                <a:cubicBezTo>
                  <a:pt x="54221" y="23356"/>
                  <a:pt x="53642" y="24976"/>
                  <a:pt x="51965" y="25323"/>
                </a:cubicBezTo>
                <a:cubicBezTo>
                  <a:pt x="48147" y="25930"/>
                  <a:pt x="44271" y="26237"/>
                  <a:pt x="40396" y="26248"/>
                </a:cubicBezTo>
                <a:cubicBezTo>
                  <a:pt x="37851" y="26324"/>
                  <a:pt x="35364" y="26069"/>
                  <a:pt x="32876" y="25496"/>
                </a:cubicBezTo>
                <a:cubicBezTo>
                  <a:pt x="29579" y="24513"/>
                  <a:pt x="28885" y="22835"/>
                  <a:pt x="28885" y="21505"/>
                </a:cubicBezTo>
                <a:cubicBezTo>
                  <a:pt x="29058" y="14084"/>
                  <a:pt x="23737" y="7680"/>
                  <a:pt x="16391" y="6523"/>
                </a:cubicBezTo>
                <a:cubicBezTo>
                  <a:pt x="11879" y="5870"/>
                  <a:pt x="7309" y="5661"/>
                  <a:pt x="2739" y="588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6" name="Forma libre: forma 365">
            <a:extLst>
              <a:ext uri="{FF2B5EF4-FFF2-40B4-BE49-F238E27FC236}">
                <a16:creationId xmlns:a16="http://schemas.microsoft.com/office/drawing/2014/main" id="{850F3A94-E7FD-4AB1-E0E9-600AF7F4F196}"/>
              </a:ext>
            </a:extLst>
          </p:cNvPr>
          <p:cNvSpPr/>
          <p:nvPr/>
        </p:nvSpPr>
        <p:spPr>
          <a:xfrm>
            <a:off x="9267123" y="4353761"/>
            <a:ext cx="37023" cy="24319"/>
          </a:xfrm>
          <a:custGeom>
            <a:avLst/>
            <a:gdLst>
              <a:gd name="connsiteX0" fmla="*/ 15856 w 37023"/>
              <a:gd name="connsiteY0" fmla="*/ 24190 h 24319"/>
              <a:gd name="connsiteX1" fmla="*/ 64 w 37023"/>
              <a:gd name="connsiteY1" fmla="*/ 4350 h 24319"/>
              <a:gd name="connsiteX2" fmla="*/ 64 w 37023"/>
              <a:gd name="connsiteY2" fmla="*/ 3193 h 24319"/>
              <a:gd name="connsiteX3" fmla="*/ 1106 w 37023"/>
              <a:gd name="connsiteY3" fmla="*/ 2672 h 24319"/>
              <a:gd name="connsiteX4" fmla="*/ 10303 w 37023"/>
              <a:gd name="connsiteY4" fmla="*/ 5796 h 24319"/>
              <a:gd name="connsiteX5" fmla="*/ 17649 w 37023"/>
              <a:gd name="connsiteY5" fmla="*/ 8341 h 24319"/>
              <a:gd name="connsiteX6" fmla="*/ 18748 w 37023"/>
              <a:gd name="connsiteY6" fmla="*/ 6895 h 24319"/>
              <a:gd name="connsiteX7" fmla="*/ 28234 w 37023"/>
              <a:gd name="connsiteY7" fmla="*/ 1110 h 24319"/>
              <a:gd name="connsiteX8" fmla="*/ 32978 w 37023"/>
              <a:gd name="connsiteY8" fmla="*/ -47 h 24319"/>
              <a:gd name="connsiteX9" fmla="*/ 33903 w 37023"/>
              <a:gd name="connsiteY9" fmla="*/ -47 h 24319"/>
              <a:gd name="connsiteX10" fmla="*/ 34424 w 37023"/>
              <a:gd name="connsiteY10" fmla="*/ 647 h 24319"/>
              <a:gd name="connsiteX11" fmla="*/ 36101 w 37023"/>
              <a:gd name="connsiteY11" fmla="*/ 17075 h 24319"/>
              <a:gd name="connsiteX12" fmla="*/ 33325 w 37023"/>
              <a:gd name="connsiteY12" fmla="*/ 17885 h 24319"/>
              <a:gd name="connsiteX13" fmla="*/ 26846 w 37023"/>
              <a:gd name="connsiteY13" fmla="*/ 20199 h 24319"/>
              <a:gd name="connsiteX14" fmla="*/ 15856 w 37023"/>
              <a:gd name="connsiteY14" fmla="*/ 24190 h 24319"/>
              <a:gd name="connsiteX15" fmla="*/ 3188 w 37023"/>
              <a:gd name="connsiteY15" fmla="*/ 5391 h 24319"/>
              <a:gd name="connsiteX16" fmla="*/ 15856 w 37023"/>
              <a:gd name="connsiteY16" fmla="*/ 21934 h 24319"/>
              <a:gd name="connsiteX17" fmla="*/ 25458 w 37023"/>
              <a:gd name="connsiteY17" fmla="*/ 18174 h 24319"/>
              <a:gd name="connsiteX18" fmla="*/ 33903 w 37023"/>
              <a:gd name="connsiteY18" fmla="*/ 15513 h 24319"/>
              <a:gd name="connsiteX19" fmla="*/ 34192 w 37023"/>
              <a:gd name="connsiteY19" fmla="*/ 15513 h 24319"/>
              <a:gd name="connsiteX20" fmla="*/ 32515 w 37023"/>
              <a:gd name="connsiteY20" fmla="*/ 2094 h 24319"/>
              <a:gd name="connsiteX21" fmla="*/ 28697 w 37023"/>
              <a:gd name="connsiteY21" fmla="*/ 2961 h 24319"/>
              <a:gd name="connsiteX22" fmla="*/ 21004 w 37023"/>
              <a:gd name="connsiteY22" fmla="*/ 6837 h 24319"/>
              <a:gd name="connsiteX23" fmla="*/ 17649 w 37023"/>
              <a:gd name="connsiteY23" fmla="*/ 10539 h 24319"/>
              <a:gd name="connsiteX24" fmla="*/ 9377 w 37023"/>
              <a:gd name="connsiteY24" fmla="*/ 7820 h 24319"/>
              <a:gd name="connsiteX25" fmla="*/ 3188 w 37023"/>
              <a:gd name="connsiteY25" fmla="*/ 5333 h 2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7023" h="24319">
                <a:moveTo>
                  <a:pt x="15856" y="24190"/>
                </a:moveTo>
                <a:cubicBezTo>
                  <a:pt x="13484" y="24190"/>
                  <a:pt x="9551" y="21934"/>
                  <a:pt x="64" y="4350"/>
                </a:cubicBezTo>
                <a:cubicBezTo>
                  <a:pt x="-167" y="3997"/>
                  <a:pt x="-167" y="3546"/>
                  <a:pt x="64" y="3193"/>
                </a:cubicBezTo>
                <a:cubicBezTo>
                  <a:pt x="354" y="2886"/>
                  <a:pt x="700" y="2701"/>
                  <a:pt x="1106" y="2672"/>
                </a:cubicBezTo>
                <a:cubicBezTo>
                  <a:pt x="4287" y="3239"/>
                  <a:pt x="7411" y="4292"/>
                  <a:pt x="10303" y="5796"/>
                </a:cubicBezTo>
                <a:cubicBezTo>
                  <a:pt x="12617" y="7045"/>
                  <a:pt x="15104" y="7907"/>
                  <a:pt x="17649" y="8341"/>
                </a:cubicBezTo>
                <a:cubicBezTo>
                  <a:pt x="18169" y="8341"/>
                  <a:pt x="18748" y="8341"/>
                  <a:pt x="18748" y="6895"/>
                </a:cubicBezTo>
                <a:cubicBezTo>
                  <a:pt x="18748" y="2788"/>
                  <a:pt x="23549" y="1747"/>
                  <a:pt x="28234" y="1110"/>
                </a:cubicBezTo>
                <a:cubicBezTo>
                  <a:pt x="29854" y="763"/>
                  <a:pt x="31532" y="416"/>
                  <a:pt x="32978" y="-47"/>
                </a:cubicBezTo>
                <a:cubicBezTo>
                  <a:pt x="33267" y="-156"/>
                  <a:pt x="33614" y="-156"/>
                  <a:pt x="33903" y="-47"/>
                </a:cubicBezTo>
                <a:cubicBezTo>
                  <a:pt x="34192" y="104"/>
                  <a:pt x="34366" y="353"/>
                  <a:pt x="34424" y="647"/>
                </a:cubicBezTo>
                <a:cubicBezTo>
                  <a:pt x="36795" y="9960"/>
                  <a:pt x="37721" y="15051"/>
                  <a:pt x="36101" y="17075"/>
                </a:cubicBezTo>
                <a:cubicBezTo>
                  <a:pt x="35465" y="17908"/>
                  <a:pt x="34308" y="18238"/>
                  <a:pt x="33325" y="17885"/>
                </a:cubicBezTo>
                <a:cubicBezTo>
                  <a:pt x="30780" y="17249"/>
                  <a:pt x="29102" y="18464"/>
                  <a:pt x="26846" y="20199"/>
                </a:cubicBezTo>
                <a:cubicBezTo>
                  <a:pt x="23780" y="22761"/>
                  <a:pt x="19847" y="24173"/>
                  <a:pt x="15856" y="24190"/>
                </a:cubicBezTo>
                <a:close/>
                <a:moveTo>
                  <a:pt x="3188" y="5391"/>
                </a:moveTo>
                <a:cubicBezTo>
                  <a:pt x="11459" y="20315"/>
                  <a:pt x="14757" y="21934"/>
                  <a:pt x="15856" y="21934"/>
                </a:cubicBezTo>
                <a:cubicBezTo>
                  <a:pt x="19384" y="21911"/>
                  <a:pt x="22855" y="20569"/>
                  <a:pt x="25458" y="18174"/>
                </a:cubicBezTo>
                <a:cubicBezTo>
                  <a:pt x="27656" y="15965"/>
                  <a:pt x="30838" y="14970"/>
                  <a:pt x="33903" y="15513"/>
                </a:cubicBezTo>
                <a:lnTo>
                  <a:pt x="34192" y="15513"/>
                </a:lnTo>
                <a:cubicBezTo>
                  <a:pt x="35407" y="14067"/>
                  <a:pt x="33614" y="6374"/>
                  <a:pt x="32515" y="2094"/>
                </a:cubicBezTo>
                <a:cubicBezTo>
                  <a:pt x="31242" y="2441"/>
                  <a:pt x="29970" y="2672"/>
                  <a:pt x="28697" y="2961"/>
                </a:cubicBezTo>
                <a:cubicBezTo>
                  <a:pt x="24070" y="3945"/>
                  <a:pt x="21004" y="4697"/>
                  <a:pt x="21004" y="6837"/>
                </a:cubicBezTo>
                <a:cubicBezTo>
                  <a:pt x="21004" y="8977"/>
                  <a:pt x="19789" y="10539"/>
                  <a:pt x="17649" y="10539"/>
                </a:cubicBezTo>
                <a:cubicBezTo>
                  <a:pt x="14757" y="10128"/>
                  <a:pt x="11980" y="9208"/>
                  <a:pt x="9377" y="7820"/>
                </a:cubicBezTo>
                <a:cubicBezTo>
                  <a:pt x="7353" y="6831"/>
                  <a:pt x="5328" y="6004"/>
                  <a:pt x="3188" y="533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7" name="Forma libre: forma 366">
            <a:extLst>
              <a:ext uri="{FF2B5EF4-FFF2-40B4-BE49-F238E27FC236}">
                <a16:creationId xmlns:a16="http://schemas.microsoft.com/office/drawing/2014/main" id="{BECEB668-B7F4-DC1D-8177-1EA32825E153}"/>
              </a:ext>
            </a:extLst>
          </p:cNvPr>
          <p:cNvSpPr/>
          <p:nvPr/>
        </p:nvSpPr>
        <p:spPr>
          <a:xfrm>
            <a:off x="7233193" y="3398613"/>
            <a:ext cx="269930" cy="261949"/>
          </a:xfrm>
          <a:custGeom>
            <a:avLst/>
            <a:gdLst>
              <a:gd name="connsiteX0" fmla="*/ 214386 w 269930"/>
              <a:gd name="connsiteY0" fmla="*/ 261664 h 261949"/>
              <a:gd name="connsiteX1" fmla="*/ 214386 w 269930"/>
              <a:gd name="connsiteY1" fmla="*/ 261664 h 261949"/>
              <a:gd name="connsiteX2" fmla="*/ 182861 w 269930"/>
              <a:gd name="connsiteY2" fmla="*/ 258425 h 261949"/>
              <a:gd name="connsiteX3" fmla="*/ 149716 w 269930"/>
              <a:gd name="connsiteY3" fmla="*/ 247319 h 261949"/>
              <a:gd name="connsiteX4" fmla="*/ 84179 w 269930"/>
              <a:gd name="connsiteY4" fmla="*/ 198961 h 261949"/>
              <a:gd name="connsiteX5" fmla="*/ 68387 w 269930"/>
              <a:gd name="connsiteY5" fmla="*/ 189128 h 261949"/>
              <a:gd name="connsiteX6" fmla="*/ 30615 w 269930"/>
              <a:gd name="connsiteY6" fmla="*/ 167783 h 261949"/>
              <a:gd name="connsiteX7" fmla="*/ 18120 w 269930"/>
              <a:gd name="connsiteY7" fmla="*/ 167783 h 261949"/>
              <a:gd name="connsiteX8" fmla="*/ 9617 w 269930"/>
              <a:gd name="connsiteY8" fmla="*/ 168072 h 261949"/>
              <a:gd name="connsiteX9" fmla="*/ 9617 w 269930"/>
              <a:gd name="connsiteY9" fmla="*/ 168072 h 261949"/>
              <a:gd name="connsiteX10" fmla="*/ 8518 w 269930"/>
              <a:gd name="connsiteY10" fmla="*/ 167147 h 261949"/>
              <a:gd name="connsiteX11" fmla="*/ 2097 w 269930"/>
              <a:gd name="connsiteY11" fmla="*/ 140365 h 261949"/>
              <a:gd name="connsiteX12" fmla="*/ -101 w 269930"/>
              <a:gd name="connsiteY12" fmla="*/ 126771 h 261949"/>
              <a:gd name="connsiteX13" fmla="*/ 478 w 269930"/>
              <a:gd name="connsiteY13" fmla="*/ 125672 h 261949"/>
              <a:gd name="connsiteX14" fmla="*/ 59074 w 269930"/>
              <a:gd name="connsiteY14" fmla="*/ 94841 h 261949"/>
              <a:gd name="connsiteX15" fmla="*/ 65264 w 269930"/>
              <a:gd name="connsiteY15" fmla="*/ 79802 h 261949"/>
              <a:gd name="connsiteX16" fmla="*/ 67635 w 269930"/>
              <a:gd name="connsiteY16" fmla="*/ 57300 h 261949"/>
              <a:gd name="connsiteX17" fmla="*/ 66768 w 269930"/>
              <a:gd name="connsiteY17" fmla="*/ 48334 h 261949"/>
              <a:gd name="connsiteX18" fmla="*/ 65264 w 269930"/>
              <a:gd name="connsiteY18" fmla="*/ 34915 h 261949"/>
              <a:gd name="connsiteX19" fmla="*/ 83079 w 269930"/>
              <a:gd name="connsiteY19" fmla="*/ 21379 h 261949"/>
              <a:gd name="connsiteX20" fmla="*/ 98119 w 269930"/>
              <a:gd name="connsiteY20" fmla="*/ 10331 h 261949"/>
              <a:gd name="connsiteX21" fmla="*/ 98466 w 269930"/>
              <a:gd name="connsiteY21" fmla="*/ 9579 h 261949"/>
              <a:gd name="connsiteX22" fmla="*/ 101300 w 269930"/>
              <a:gd name="connsiteY22" fmla="*/ 6166 h 261949"/>
              <a:gd name="connsiteX23" fmla="*/ 111307 w 269930"/>
              <a:gd name="connsiteY23" fmla="*/ 35 h 261949"/>
              <a:gd name="connsiteX24" fmla="*/ 127041 w 269930"/>
              <a:gd name="connsiteY24" fmla="*/ 3447 h 261949"/>
              <a:gd name="connsiteX25" fmla="*/ 135139 w 269930"/>
              <a:gd name="connsiteY25" fmla="*/ 5009 h 261949"/>
              <a:gd name="connsiteX26" fmla="*/ 137222 w 269930"/>
              <a:gd name="connsiteY26" fmla="*/ 4546 h 261949"/>
              <a:gd name="connsiteX27" fmla="*/ 148790 w 269930"/>
              <a:gd name="connsiteY27" fmla="*/ 9347 h 261949"/>
              <a:gd name="connsiteX28" fmla="*/ 160359 w 269930"/>
              <a:gd name="connsiteY28" fmla="*/ 14264 h 261949"/>
              <a:gd name="connsiteX29" fmla="*/ 163483 w 269930"/>
              <a:gd name="connsiteY29" fmla="*/ 10967 h 261949"/>
              <a:gd name="connsiteX30" fmla="*/ 163483 w 269930"/>
              <a:gd name="connsiteY30" fmla="*/ 10157 h 261949"/>
              <a:gd name="connsiteX31" fmla="*/ 164813 w 269930"/>
              <a:gd name="connsiteY31" fmla="*/ 9463 h 261949"/>
              <a:gd name="connsiteX32" fmla="*/ 165681 w 269930"/>
              <a:gd name="connsiteY32" fmla="*/ 10678 h 261949"/>
              <a:gd name="connsiteX33" fmla="*/ 165681 w 269930"/>
              <a:gd name="connsiteY33" fmla="*/ 11141 h 261949"/>
              <a:gd name="connsiteX34" fmla="*/ 169210 w 269930"/>
              <a:gd name="connsiteY34" fmla="*/ 17851 h 261949"/>
              <a:gd name="connsiteX35" fmla="*/ 175457 w 269930"/>
              <a:gd name="connsiteY35" fmla="*/ 32080 h 261949"/>
              <a:gd name="connsiteX36" fmla="*/ 189397 w 269930"/>
              <a:gd name="connsiteY36" fmla="*/ 47178 h 261949"/>
              <a:gd name="connsiteX37" fmla="*/ 200446 w 269930"/>
              <a:gd name="connsiteY37" fmla="*/ 51863 h 261949"/>
              <a:gd name="connsiteX38" fmla="*/ 201256 w 269930"/>
              <a:gd name="connsiteY38" fmla="*/ 58342 h 261949"/>
              <a:gd name="connsiteX39" fmla="*/ 201256 w 269930"/>
              <a:gd name="connsiteY39" fmla="*/ 66324 h 261949"/>
              <a:gd name="connsiteX40" fmla="*/ 200388 w 269930"/>
              <a:gd name="connsiteY40" fmla="*/ 74017 h 261949"/>
              <a:gd name="connsiteX41" fmla="*/ 197091 w 269930"/>
              <a:gd name="connsiteY41" fmla="*/ 75290 h 261949"/>
              <a:gd name="connsiteX42" fmla="*/ 192059 w 269930"/>
              <a:gd name="connsiteY42" fmla="*/ 85297 h 261949"/>
              <a:gd name="connsiteX43" fmla="*/ 186910 w 269930"/>
              <a:gd name="connsiteY43" fmla="*/ 96866 h 261949"/>
              <a:gd name="connsiteX44" fmla="*/ 184943 w 269930"/>
              <a:gd name="connsiteY44" fmla="*/ 104212 h 261949"/>
              <a:gd name="connsiteX45" fmla="*/ 190033 w 269930"/>
              <a:gd name="connsiteY45" fmla="*/ 119714 h 261949"/>
              <a:gd name="connsiteX46" fmla="*/ 203569 w 269930"/>
              <a:gd name="connsiteY46" fmla="*/ 135969 h 261949"/>
              <a:gd name="connsiteX47" fmla="*/ 232838 w 269930"/>
              <a:gd name="connsiteY47" fmla="*/ 155231 h 261949"/>
              <a:gd name="connsiteX48" fmla="*/ 242729 w 269930"/>
              <a:gd name="connsiteY48" fmla="*/ 165469 h 261949"/>
              <a:gd name="connsiteX49" fmla="*/ 246432 w 269930"/>
              <a:gd name="connsiteY49" fmla="*/ 171659 h 261949"/>
              <a:gd name="connsiteX50" fmla="*/ 246432 w 269930"/>
              <a:gd name="connsiteY50" fmla="*/ 183227 h 261949"/>
              <a:gd name="connsiteX51" fmla="*/ 244812 w 269930"/>
              <a:gd name="connsiteY51" fmla="*/ 190516 h 261949"/>
              <a:gd name="connsiteX52" fmla="*/ 248630 w 269930"/>
              <a:gd name="connsiteY52" fmla="*/ 196300 h 261949"/>
              <a:gd name="connsiteX53" fmla="*/ 254414 w 269930"/>
              <a:gd name="connsiteY53" fmla="*/ 209373 h 261949"/>
              <a:gd name="connsiteX54" fmla="*/ 268239 w 269930"/>
              <a:gd name="connsiteY54" fmla="*/ 228635 h 261949"/>
              <a:gd name="connsiteX55" fmla="*/ 269511 w 269930"/>
              <a:gd name="connsiteY55" fmla="*/ 229908 h 261949"/>
              <a:gd name="connsiteX56" fmla="*/ 269801 w 269930"/>
              <a:gd name="connsiteY56" fmla="*/ 230949 h 261949"/>
              <a:gd name="connsiteX57" fmla="*/ 268991 w 269930"/>
              <a:gd name="connsiteY57" fmla="*/ 231759 h 261949"/>
              <a:gd name="connsiteX58" fmla="*/ 257422 w 269930"/>
              <a:gd name="connsiteY58" fmla="*/ 237890 h 261949"/>
              <a:gd name="connsiteX59" fmla="*/ 255860 w 269930"/>
              <a:gd name="connsiteY59" fmla="*/ 237890 h 261949"/>
              <a:gd name="connsiteX60" fmla="*/ 254646 w 269930"/>
              <a:gd name="connsiteY60" fmla="*/ 236733 h 261949"/>
              <a:gd name="connsiteX61" fmla="*/ 238739 w 269930"/>
              <a:gd name="connsiteY61" fmla="*/ 228057 h 261949"/>
              <a:gd name="connsiteX62" fmla="*/ 229426 w 269930"/>
              <a:gd name="connsiteY62" fmla="*/ 234419 h 261949"/>
              <a:gd name="connsiteX63" fmla="*/ 226938 w 269930"/>
              <a:gd name="connsiteY63" fmla="*/ 237717 h 261949"/>
              <a:gd name="connsiteX64" fmla="*/ 215775 w 269930"/>
              <a:gd name="connsiteY64" fmla="*/ 261491 h 261949"/>
              <a:gd name="connsiteX65" fmla="*/ 214386 w 269930"/>
              <a:gd name="connsiteY65" fmla="*/ 261664 h 261949"/>
              <a:gd name="connsiteX66" fmla="*/ 23037 w 269930"/>
              <a:gd name="connsiteY66" fmla="*/ 165006 h 261949"/>
              <a:gd name="connsiteX67" fmla="*/ 30731 w 269930"/>
              <a:gd name="connsiteY67" fmla="*/ 165527 h 261949"/>
              <a:gd name="connsiteX68" fmla="*/ 69486 w 269930"/>
              <a:gd name="connsiteY68" fmla="*/ 187161 h 261949"/>
              <a:gd name="connsiteX69" fmla="*/ 85104 w 269930"/>
              <a:gd name="connsiteY69" fmla="*/ 196879 h 261949"/>
              <a:gd name="connsiteX70" fmla="*/ 151104 w 269930"/>
              <a:gd name="connsiteY70" fmla="*/ 245584 h 261949"/>
              <a:gd name="connsiteX71" fmla="*/ 182745 w 269930"/>
              <a:gd name="connsiteY71" fmla="*/ 256111 h 261949"/>
              <a:gd name="connsiteX72" fmla="*/ 213692 w 269930"/>
              <a:gd name="connsiteY72" fmla="*/ 259293 h 261949"/>
              <a:gd name="connsiteX73" fmla="*/ 225261 w 269930"/>
              <a:gd name="connsiteY73" fmla="*/ 235692 h 261949"/>
              <a:gd name="connsiteX74" fmla="*/ 227516 w 269930"/>
              <a:gd name="connsiteY74" fmla="*/ 232626 h 261949"/>
              <a:gd name="connsiteX75" fmla="*/ 238334 w 269930"/>
              <a:gd name="connsiteY75" fmla="*/ 225280 h 261949"/>
              <a:gd name="connsiteX76" fmla="*/ 256150 w 269930"/>
              <a:gd name="connsiteY76" fmla="*/ 234593 h 261949"/>
              <a:gd name="connsiteX77" fmla="*/ 256554 w 269930"/>
              <a:gd name="connsiteY77" fmla="*/ 234998 h 261949"/>
              <a:gd name="connsiteX78" fmla="*/ 266446 w 269930"/>
              <a:gd name="connsiteY78" fmla="*/ 229619 h 261949"/>
              <a:gd name="connsiteX79" fmla="*/ 251985 w 269930"/>
              <a:gd name="connsiteY79" fmla="*/ 208563 h 261949"/>
              <a:gd name="connsiteX80" fmla="*/ 246721 w 269930"/>
              <a:gd name="connsiteY80" fmla="*/ 197341 h 261949"/>
              <a:gd name="connsiteX81" fmla="*/ 242325 w 269930"/>
              <a:gd name="connsiteY81" fmla="*/ 190574 h 261949"/>
              <a:gd name="connsiteX82" fmla="*/ 244060 w 269930"/>
              <a:gd name="connsiteY82" fmla="*/ 182013 h 261949"/>
              <a:gd name="connsiteX83" fmla="*/ 244755 w 269930"/>
              <a:gd name="connsiteY83" fmla="*/ 172816 h 261949"/>
              <a:gd name="connsiteX84" fmla="*/ 240589 w 269930"/>
              <a:gd name="connsiteY84" fmla="*/ 165990 h 261949"/>
              <a:gd name="connsiteX85" fmla="*/ 232492 w 269930"/>
              <a:gd name="connsiteY85" fmla="*/ 156966 h 261949"/>
              <a:gd name="connsiteX86" fmla="*/ 213692 w 269930"/>
              <a:gd name="connsiteY86" fmla="*/ 148984 h 261949"/>
              <a:gd name="connsiteX87" fmla="*/ 201313 w 269930"/>
              <a:gd name="connsiteY87" fmla="*/ 135159 h 261949"/>
              <a:gd name="connsiteX88" fmla="*/ 188935 w 269930"/>
              <a:gd name="connsiteY88" fmla="*/ 121276 h 261949"/>
              <a:gd name="connsiteX89" fmla="*/ 182630 w 269930"/>
              <a:gd name="connsiteY89" fmla="*/ 103923 h 261949"/>
              <a:gd name="connsiteX90" fmla="*/ 185695 w 269930"/>
              <a:gd name="connsiteY90" fmla="*/ 94494 h 261949"/>
              <a:gd name="connsiteX91" fmla="*/ 189803 w 269930"/>
              <a:gd name="connsiteY91" fmla="*/ 84545 h 261949"/>
              <a:gd name="connsiteX92" fmla="*/ 197033 w 269930"/>
              <a:gd name="connsiteY92" fmla="*/ 72976 h 261949"/>
              <a:gd name="connsiteX93" fmla="*/ 198652 w 269930"/>
              <a:gd name="connsiteY93" fmla="*/ 72456 h 261949"/>
              <a:gd name="connsiteX94" fmla="*/ 198652 w 269930"/>
              <a:gd name="connsiteY94" fmla="*/ 66671 h 261949"/>
              <a:gd name="connsiteX95" fmla="*/ 198652 w 269930"/>
              <a:gd name="connsiteY95" fmla="*/ 57705 h 261949"/>
              <a:gd name="connsiteX96" fmla="*/ 198132 w 269930"/>
              <a:gd name="connsiteY96" fmla="*/ 53251 h 261949"/>
              <a:gd name="connsiteX97" fmla="*/ 188935 w 269930"/>
              <a:gd name="connsiteY97" fmla="*/ 49491 h 261949"/>
              <a:gd name="connsiteX98" fmla="*/ 172738 w 269930"/>
              <a:gd name="connsiteY98" fmla="*/ 32138 h 261949"/>
              <a:gd name="connsiteX99" fmla="*/ 166954 w 269930"/>
              <a:gd name="connsiteY99" fmla="*/ 19181 h 261949"/>
              <a:gd name="connsiteX100" fmla="*/ 164119 w 269930"/>
              <a:gd name="connsiteY100" fmla="*/ 14438 h 261949"/>
              <a:gd name="connsiteX101" fmla="*/ 159955 w 269930"/>
              <a:gd name="connsiteY101" fmla="*/ 16578 h 261949"/>
              <a:gd name="connsiteX102" fmla="*/ 147402 w 269930"/>
              <a:gd name="connsiteY102" fmla="*/ 11372 h 261949"/>
              <a:gd name="connsiteX103" fmla="*/ 136991 w 269930"/>
              <a:gd name="connsiteY103" fmla="*/ 6860 h 261949"/>
              <a:gd name="connsiteX104" fmla="*/ 135891 w 269930"/>
              <a:gd name="connsiteY104" fmla="*/ 6860 h 261949"/>
              <a:gd name="connsiteX105" fmla="*/ 132652 w 269930"/>
              <a:gd name="connsiteY105" fmla="*/ 7670 h 261949"/>
              <a:gd name="connsiteX106" fmla="*/ 125826 w 269930"/>
              <a:gd name="connsiteY106" fmla="*/ 5356 h 261949"/>
              <a:gd name="connsiteX107" fmla="*/ 111307 w 269930"/>
              <a:gd name="connsiteY107" fmla="*/ 2117 h 261949"/>
              <a:gd name="connsiteX108" fmla="*/ 102920 w 269930"/>
              <a:gd name="connsiteY108" fmla="*/ 7323 h 261949"/>
              <a:gd name="connsiteX109" fmla="*/ 100664 w 269930"/>
              <a:gd name="connsiteY109" fmla="*/ 10215 h 261949"/>
              <a:gd name="connsiteX110" fmla="*/ 100664 w 269930"/>
              <a:gd name="connsiteY110" fmla="*/ 10215 h 261949"/>
              <a:gd name="connsiteX111" fmla="*/ 100202 w 269930"/>
              <a:gd name="connsiteY111" fmla="*/ 11256 h 261949"/>
              <a:gd name="connsiteX112" fmla="*/ 84063 w 269930"/>
              <a:gd name="connsiteY112" fmla="*/ 23114 h 261949"/>
              <a:gd name="connsiteX113" fmla="*/ 83716 w 269930"/>
              <a:gd name="connsiteY113" fmla="*/ 23114 h 261949"/>
              <a:gd name="connsiteX114" fmla="*/ 67172 w 269930"/>
              <a:gd name="connsiteY114" fmla="*/ 35377 h 261949"/>
              <a:gd name="connsiteX115" fmla="*/ 68676 w 269930"/>
              <a:gd name="connsiteY115" fmla="*/ 46946 h 261949"/>
              <a:gd name="connsiteX116" fmla="*/ 69139 w 269930"/>
              <a:gd name="connsiteY116" fmla="*/ 58110 h 261949"/>
              <a:gd name="connsiteX117" fmla="*/ 67172 w 269930"/>
              <a:gd name="connsiteY117" fmla="*/ 78703 h 261949"/>
              <a:gd name="connsiteX118" fmla="*/ 60578 w 269930"/>
              <a:gd name="connsiteY118" fmla="*/ 95767 h 261949"/>
              <a:gd name="connsiteX119" fmla="*/ 60173 w 269930"/>
              <a:gd name="connsiteY119" fmla="*/ 96114 h 261949"/>
              <a:gd name="connsiteX120" fmla="*/ 1982 w 269930"/>
              <a:gd name="connsiteY120" fmla="*/ 126771 h 261949"/>
              <a:gd name="connsiteX121" fmla="*/ 4065 w 269930"/>
              <a:gd name="connsiteY121" fmla="*/ 139208 h 261949"/>
              <a:gd name="connsiteX122" fmla="*/ 10312 w 269930"/>
              <a:gd name="connsiteY122" fmla="*/ 165180 h 261949"/>
              <a:gd name="connsiteX123" fmla="*/ 17774 w 269930"/>
              <a:gd name="connsiteY123" fmla="*/ 165180 h 261949"/>
              <a:gd name="connsiteX124" fmla="*/ 23037 w 269930"/>
              <a:gd name="connsiteY124" fmla="*/ 165006 h 26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269930" h="261949">
                <a:moveTo>
                  <a:pt x="214386" y="261664"/>
                </a:moveTo>
                <a:lnTo>
                  <a:pt x="214386" y="261664"/>
                </a:lnTo>
                <a:cubicBezTo>
                  <a:pt x="197033" y="259640"/>
                  <a:pt x="185464" y="258425"/>
                  <a:pt x="182861" y="258425"/>
                </a:cubicBezTo>
                <a:cubicBezTo>
                  <a:pt x="170887" y="258408"/>
                  <a:pt x="159261" y="254509"/>
                  <a:pt x="149716" y="247319"/>
                </a:cubicBezTo>
                <a:cubicBezTo>
                  <a:pt x="128719" y="230075"/>
                  <a:pt x="106853" y="213931"/>
                  <a:pt x="84179" y="198961"/>
                </a:cubicBezTo>
                <a:cubicBezTo>
                  <a:pt x="81229" y="197515"/>
                  <a:pt x="75271" y="193581"/>
                  <a:pt x="68387" y="189128"/>
                </a:cubicBezTo>
                <a:cubicBezTo>
                  <a:pt x="55083" y="180393"/>
                  <a:pt x="36862" y="168477"/>
                  <a:pt x="30615" y="167783"/>
                </a:cubicBezTo>
                <a:cubicBezTo>
                  <a:pt x="26450" y="167419"/>
                  <a:pt x="22285" y="167419"/>
                  <a:pt x="18120" y="167783"/>
                </a:cubicBezTo>
                <a:cubicBezTo>
                  <a:pt x="15922" y="167783"/>
                  <a:pt x="13320" y="167783"/>
                  <a:pt x="9617" y="168072"/>
                </a:cubicBezTo>
                <a:lnTo>
                  <a:pt x="9617" y="168072"/>
                </a:lnTo>
                <a:cubicBezTo>
                  <a:pt x="9097" y="168055"/>
                  <a:pt x="8634" y="167673"/>
                  <a:pt x="8518" y="167147"/>
                </a:cubicBezTo>
                <a:cubicBezTo>
                  <a:pt x="6957" y="160032"/>
                  <a:pt x="4007" y="147075"/>
                  <a:pt x="2097" y="140365"/>
                </a:cubicBezTo>
                <a:cubicBezTo>
                  <a:pt x="941" y="135911"/>
                  <a:pt x="189" y="131359"/>
                  <a:pt x="-101" y="126771"/>
                </a:cubicBezTo>
                <a:cubicBezTo>
                  <a:pt x="-159" y="126320"/>
                  <a:pt x="73" y="125886"/>
                  <a:pt x="478" y="125672"/>
                </a:cubicBezTo>
                <a:cubicBezTo>
                  <a:pt x="25640" y="112773"/>
                  <a:pt x="55951" y="96750"/>
                  <a:pt x="59074" y="94841"/>
                </a:cubicBezTo>
                <a:cubicBezTo>
                  <a:pt x="62313" y="90399"/>
                  <a:pt x="64454" y="85239"/>
                  <a:pt x="65264" y="79802"/>
                </a:cubicBezTo>
                <a:cubicBezTo>
                  <a:pt x="64106" y="75116"/>
                  <a:pt x="63065" y="62911"/>
                  <a:pt x="67635" y="57300"/>
                </a:cubicBezTo>
                <a:cubicBezTo>
                  <a:pt x="69370" y="55102"/>
                  <a:pt x="68156" y="51921"/>
                  <a:pt x="66768" y="48334"/>
                </a:cubicBezTo>
                <a:cubicBezTo>
                  <a:pt x="64627" y="44193"/>
                  <a:pt x="64106" y="39421"/>
                  <a:pt x="65264" y="34915"/>
                </a:cubicBezTo>
                <a:cubicBezTo>
                  <a:pt x="68503" y="26354"/>
                  <a:pt x="81287" y="21957"/>
                  <a:pt x="83079" y="21379"/>
                </a:cubicBezTo>
                <a:lnTo>
                  <a:pt x="98119" y="10331"/>
                </a:lnTo>
                <a:cubicBezTo>
                  <a:pt x="98119" y="10042"/>
                  <a:pt x="98235" y="9758"/>
                  <a:pt x="98466" y="9579"/>
                </a:cubicBezTo>
                <a:cubicBezTo>
                  <a:pt x="99508" y="8532"/>
                  <a:pt x="100491" y="7387"/>
                  <a:pt x="101300" y="6166"/>
                </a:cubicBezTo>
                <a:cubicBezTo>
                  <a:pt x="103325" y="2516"/>
                  <a:pt x="107143" y="191"/>
                  <a:pt x="111307" y="35"/>
                </a:cubicBezTo>
                <a:cubicBezTo>
                  <a:pt x="116803" y="-596"/>
                  <a:pt x="122298" y="607"/>
                  <a:pt x="127041" y="3447"/>
                </a:cubicBezTo>
                <a:cubicBezTo>
                  <a:pt x="130223" y="5067"/>
                  <a:pt x="132825" y="6166"/>
                  <a:pt x="135139" y="5009"/>
                </a:cubicBezTo>
                <a:cubicBezTo>
                  <a:pt x="135775" y="4668"/>
                  <a:pt x="136470" y="4506"/>
                  <a:pt x="137222" y="4546"/>
                </a:cubicBezTo>
                <a:cubicBezTo>
                  <a:pt x="141387" y="5270"/>
                  <a:pt x="145320" y="6912"/>
                  <a:pt x="148790" y="9347"/>
                </a:cubicBezTo>
                <a:cubicBezTo>
                  <a:pt x="152262" y="11783"/>
                  <a:pt x="156195" y="13454"/>
                  <a:pt x="160359" y="14264"/>
                </a:cubicBezTo>
                <a:cubicBezTo>
                  <a:pt x="161574" y="14264"/>
                  <a:pt x="162963" y="13859"/>
                  <a:pt x="163483" y="10967"/>
                </a:cubicBezTo>
                <a:cubicBezTo>
                  <a:pt x="163425" y="10695"/>
                  <a:pt x="163425" y="10423"/>
                  <a:pt x="163483" y="10157"/>
                </a:cubicBezTo>
                <a:cubicBezTo>
                  <a:pt x="163715" y="9631"/>
                  <a:pt x="164235" y="9336"/>
                  <a:pt x="164813" y="9463"/>
                </a:cubicBezTo>
                <a:cubicBezTo>
                  <a:pt x="165392" y="9579"/>
                  <a:pt x="165739" y="10111"/>
                  <a:pt x="165681" y="10678"/>
                </a:cubicBezTo>
                <a:lnTo>
                  <a:pt x="165681" y="11141"/>
                </a:lnTo>
                <a:cubicBezTo>
                  <a:pt x="166491" y="13553"/>
                  <a:pt x="167706" y="15820"/>
                  <a:pt x="169210" y="17851"/>
                </a:cubicBezTo>
                <a:cubicBezTo>
                  <a:pt x="172449" y="21981"/>
                  <a:pt x="174647" y="26880"/>
                  <a:pt x="175457" y="32080"/>
                </a:cubicBezTo>
                <a:cubicBezTo>
                  <a:pt x="176672" y="39456"/>
                  <a:pt x="182167" y="45396"/>
                  <a:pt x="189397" y="47178"/>
                </a:cubicBezTo>
                <a:cubicBezTo>
                  <a:pt x="193562" y="47050"/>
                  <a:pt x="197611" y="48763"/>
                  <a:pt x="200446" y="51863"/>
                </a:cubicBezTo>
                <a:cubicBezTo>
                  <a:pt x="201776" y="53749"/>
                  <a:pt x="202065" y="56184"/>
                  <a:pt x="201256" y="58342"/>
                </a:cubicBezTo>
                <a:cubicBezTo>
                  <a:pt x="200677" y="60973"/>
                  <a:pt x="200677" y="63692"/>
                  <a:pt x="201256" y="66324"/>
                </a:cubicBezTo>
                <a:cubicBezTo>
                  <a:pt x="201602" y="69563"/>
                  <a:pt x="201892" y="72109"/>
                  <a:pt x="200388" y="74017"/>
                </a:cubicBezTo>
                <a:cubicBezTo>
                  <a:pt x="199520" y="74920"/>
                  <a:pt x="198305" y="75383"/>
                  <a:pt x="197091" y="75290"/>
                </a:cubicBezTo>
                <a:cubicBezTo>
                  <a:pt x="194488" y="75290"/>
                  <a:pt x="193273" y="80380"/>
                  <a:pt x="192059" y="85297"/>
                </a:cubicBezTo>
                <a:cubicBezTo>
                  <a:pt x="190843" y="90214"/>
                  <a:pt x="189745" y="94957"/>
                  <a:pt x="186910" y="96866"/>
                </a:cubicBezTo>
                <a:cubicBezTo>
                  <a:pt x="185522" y="97676"/>
                  <a:pt x="184770" y="100394"/>
                  <a:pt x="184943" y="104212"/>
                </a:cubicBezTo>
                <a:cubicBezTo>
                  <a:pt x="184828" y="109812"/>
                  <a:pt x="186621" y="115289"/>
                  <a:pt x="190033" y="119714"/>
                </a:cubicBezTo>
                <a:cubicBezTo>
                  <a:pt x="199694" y="124515"/>
                  <a:pt x="204379" y="130126"/>
                  <a:pt x="203569" y="135969"/>
                </a:cubicBezTo>
                <a:cubicBezTo>
                  <a:pt x="202760" y="141811"/>
                  <a:pt x="224682" y="154016"/>
                  <a:pt x="232838" y="155231"/>
                </a:cubicBezTo>
                <a:cubicBezTo>
                  <a:pt x="238218" y="155983"/>
                  <a:pt x="240647" y="161015"/>
                  <a:pt x="242729" y="165469"/>
                </a:cubicBezTo>
                <a:cubicBezTo>
                  <a:pt x="243655" y="167714"/>
                  <a:pt x="244870" y="169802"/>
                  <a:pt x="246432" y="171659"/>
                </a:cubicBezTo>
                <a:cubicBezTo>
                  <a:pt x="249440" y="174667"/>
                  <a:pt x="247705" y="179236"/>
                  <a:pt x="246432" y="183227"/>
                </a:cubicBezTo>
                <a:cubicBezTo>
                  <a:pt x="245275" y="185489"/>
                  <a:pt x="244755" y="187988"/>
                  <a:pt x="244812" y="190516"/>
                </a:cubicBezTo>
                <a:cubicBezTo>
                  <a:pt x="245564" y="192737"/>
                  <a:pt x="246895" y="194727"/>
                  <a:pt x="248630" y="196300"/>
                </a:cubicBezTo>
                <a:cubicBezTo>
                  <a:pt x="252448" y="199534"/>
                  <a:pt x="254588" y="204358"/>
                  <a:pt x="254414" y="209373"/>
                </a:cubicBezTo>
                <a:cubicBezTo>
                  <a:pt x="253894" y="213711"/>
                  <a:pt x="261876" y="221983"/>
                  <a:pt x="268239" y="228635"/>
                </a:cubicBezTo>
                <a:lnTo>
                  <a:pt x="269511" y="229908"/>
                </a:lnTo>
                <a:cubicBezTo>
                  <a:pt x="269801" y="230185"/>
                  <a:pt x="269859" y="230573"/>
                  <a:pt x="269801" y="230949"/>
                </a:cubicBezTo>
                <a:cubicBezTo>
                  <a:pt x="269685" y="231342"/>
                  <a:pt x="269396" y="231649"/>
                  <a:pt x="268991" y="231759"/>
                </a:cubicBezTo>
                <a:cubicBezTo>
                  <a:pt x="264711" y="232921"/>
                  <a:pt x="260777" y="235015"/>
                  <a:pt x="257422" y="237890"/>
                </a:cubicBezTo>
                <a:cubicBezTo>
                  <a:pt x="256960" y="238295"/>
                  <a:pt x="256323" y="238295"/>
                  <a:pt x="255860" y="237890"/>
                </a:cubicBezTo>
                <a:lnTo>
                  <a:pt x="254646" y="236733"/>
                </a:lnTo>
                <a:cubicBezTo>
                  <a:pt x="248341" y="230949"/>
                  <a:pt x="244407" y="227189"/>
                  <a:pt x="238739" y="228057"/>
                </a:cubicBezTo>
                <a:cubicBezTo>
                  <a:pt x="234747" y="228415"/>
                  <a:pt x="231219" y="230827"/>
                  <a:pt x="229426" y="234419"/>
                </a:cubicBezTo>
                <a:cubicBezTo>
                  <a:pt x="228732" y="235594"/>
                  <a:pt x="227864" y="236699"/>
                  <a:pt x="226938" y="237717"/>
                </a:cubicBezTo>
                <a:cubicBezTo>
                  <a:pt x="222369" y="245202"/>
                  <a:pt x="218609" y="253173"/>
                  <a:pt x="215775" y="261491"/>
                </a:cubicBezTo>
                <a:cubicBezTo>
                  <a:pt x="215427" y="261855"/>
                  <a:pt x="214849" y="261924"/>
                  <a:pt x="214386" y="261664"/>
                </a:cubicBezTo>
                <a:close/>
                <a:moveTo>
                  <a:pt x="23037" y="165006"/>
                </a:moveTo>
                <a:cubicBezTo>
                  <a:pt x="25583" y="165030"/>
                  <a:pt x="28185" y="165203"/>
                  <a:pt x="30731" y="165527"/>
                </a:cubicBezTo>
                <a:cubicBezTo>
                  <a:pt x="37498" y="166279"/>
                  <a:pt x="55257" y="177848"/>
                  <a:pt x="69486" y="187161"/>
                </a:cubicBezTo>
                <a:cubicBezTo>
                  <a:pt x="76370" y="191615"/>
                  <a:pt x="82269" y="195490"/>
                  <a:pt x="85104" y="196879"/>
                </a:cubicBezTo>
                <a:cubicBezTo>
                  <a:pt x="107953" y="211965"/>
                  <a:pt x="129933" y="228224"/>
                  <a:pt x="151104" y="245584"/>
                </a:cubicBezTo>
                <a:cubicBezTo>
                  <a:pt x="160301" y="252328"/>
                  <a:pt x="171350" y="256013"/>
                  <a:pt x="182745" y="256111"/>
                </a:cubicBezTo>
                <a:cubicBezTo>
                  <a:pt x="186737" y="256111"/>
                  <a:pt x="203454" y="258078"/>
                  <a:pt x="213692" y="259293"/>
                </a:cubicBezTo>
                <a:cubicBezTo>
                  <a:pt x="222253" y="238469"/>
                  <a:pt x="224277" y="236155"/>
                  <a:pt x="225261" y="235692"/>
                </a:cubicBezTo>
                <a:cubicBezTo>
                  <a:pt x="226070" y="234715"/>
                  <a:pt x="226822" y="233691"/>
                  <a:pt x="227516" y="232626"/>
                </a:cubicBezTo>
                <a:cubicBezTo>
                  <a:pt x="229657" y="228520"/>
                  <a:pt x="233706" y="225760"/>
                  <a:pt x="238334" y="225280"/>
                </a:cubicBezTo>
                <a:cubicBezTo>
                  <a:pt x="245101" y="224297"/>
                  <a:pt x="249382" y="228288"/>
                  <a:pt x="256150" y="234593"/>
                </a:cubicBezTo>
                <a:lnTo>
                  <a:pt x="256554" y="234998"/>
                </a:lnTo>
                <a:cubicBezTo>
                  <a:pt x="259504" y="232655"/>
                  <a:pt x="262860" y="230839"/>
                  <a:pt x="266446" y="229619"/>
                </a:cubicBezTo>
                <a:cubicBezTo>
                  <a:pt x="259042" y="221925"/>
                  <a:pt x="251349" y="214001"/>
                  <a:pt x="251985" y="208563"/>
                </a:cubicBezTo>
                <a:cubicBezTo>
                  <a:pt x="252043" y="204219"/>
                  <a:pt x="250076" y="200089"/>
                  <a:pt x="246721" y="197341"/>
                </a:cubicBezTo>
                <a:cubicBezTo>
                  <a:pt x="244697" y="195508"/>
                  <a:pt x="243193" y="193177"/>
                  <a:pt x="242325" y="190574"/>
                </a:cubicBezTo>
                <a:cubicBezTo>
                  <a:pt x="242151" y="187618"/>
                  <a:pt x="242729" y="184668"/>
                  <a:pt x="244060" y="182013"/>
                </a:cubicBezTo>
                <a:cubicBezTo>
                  <a:pt x="245449" y="178311"/>
                  <a:pt x="246779" y="174782"/>
                  <a:pt x="244755" y="172816"/>
                </a:cubicBezTo>
                <a:cubicBezTo>
                  <a:pt x="243019" y="170773"/>
                  <a:pt x="241631" y="168471"/>
                  <a:pt x="240589" y="165990"/>
                </a:cubicBezTo>
                <a:cubicBezTo>
                  <a:pt x="238681" y="161825"/>
                  <a:pt x="236656" y="157545"/>
                  <a:pt x="232492" y="156966"/>
                </a:cubicBezTo>
                <a:cubicBezTo>
                  <a:pt x="225839" y="155312"/>
                  <a:pt x="219477" y="152616"/>
                  <a:pt x="213692" y="148984"/>
                </a:cubicBezTo>
                <a:cubicBezTo>
                  <a:pt x="207908" y="145339"/>
                  <a:pt x="200561" y="140018"/>
                  <a:pt x="201313" y="135159"/>
                </a:cubicBezTo>
                <a:cubicBezTo>
                  <a:pt x="202123" y="129374"/>
                  <a:pt x="195066" y="124284"/>
                  <a:pt x="188935" y="121276"/>
                </a:cubicBezTo>
                <a:cubicBezTo>
                  <a:pt x="185637" y="119599"/>
                  <a:pt x="183150" y="110691"/>
                  <a:pt x="182630" y="103923"/>
                </a:cubicBezTo>
                <a:cubicBezTo>
                  <a:pt x="182630" y="100510"/>
                  <a:pt x="182630" y="96172"/>
                  <a:pt x="185695" y="94494"/>
                </a:cubicBezTo>
                <a:cubicBezTo>
                  <a:pt x="188761" y="92817"/>
                  <a:pt x="188819" y="88710"/>
                  <a:pt x="189803" y="84545"/>
                </a:cubicBezTo>
                <a:cubicBezTo>
                  <a:pt x="191191" y="78761"/>
                  <a:pt x="192637" y="72976"/>
                  <a:pt x="197033" y="72976"/>
                </a:cubicBezTo>
                <a:cubicBezTo>
                  <a:pt x="198190" y="72976"/>
                  <a:pt x="198537" y="72571"/>
                  <a:pt x="198652" y="72456"/>
                </a:cubicBezTo>
                <a:cubicBezTo>
                  <a:pt x="198768" y="72340"/>
                  <a:pt x="199173" y="68985"/>
                  <a:pt x="198652" y="66671"/>
                </a:cubicBezTo>
                <a:cubicBezTo>
                  <a:pt x="198016" y="63715"/>
                  <a:pt x="198016" y="60661"/>
                  <a:pt x="198652" y="57705"/>
                </a:cubicBezTo>
                <a:cubicBezTo>
                  <a:pt x="199231" y="56230"/>
                  <a:pt x="199057" y="54547"/>
                  <a:pt x="198132" y="53251"/>
                </a:cubicBezTo>
                <a:cubicBezTo>
                  <a:pt x="195760" y="50741"/>
                  <a:pt x="192405" y="49370"/>
                  <a:pt x="188935" y="49491"/>
                </a:cubicBezTo>
                <a:cubicBezTo>
                  <a:pt x="180432" y="47681"/>
                  <a:pt x="173953" y="40751"/>
                  <a:pt x="172738" y="32138"/>
                </a:cubicBezTo>
                <a:cubicBezTo>
                  <a:pt x="171928" y="27412"/>
                  <a:pt x="169904" y="22964"/>
                  <a:pt x="166954" y="19181"/>
                </a:cubicBezTo>
                <a:cubicBezTo>
                  <a:pt x="165855" y="17388"/>
                  <a:pt x="164871" y="15826"/>
                  <a:pt x="164119" y="14438"/>
                </a:cubicBezTo>
                <a:cubicBezTo>
                  <a:pt x="163194" y="15815"/>
                  <a:pt x="161632" y="16624"/>
                  <a:pt x="159955" y="16578"/>
                </a:cubicBezTo>
                <a:cubicBezTo>
                  <a:pt x="155443" y="15786"/>
                  <a:pt x="151162" y="14010"/>
                  <a:pt x="147402" y="11372"/>
                </a:cubicBezTo>
                <a:cubicBezTo>
                  <a:pt x="144279" y="9214"/>
                  <a:pt x="140693" y="7687"/>
                  <a:pt x="136991" y="6860"/>
                </a:cubicBezTo>
                <a:cubicBezTo>
                  <a:pt x="136643" y="6791"/>
                  <a:pt x="136239" y="6791"/>
                  <a:pt x="135891" y="6860"/>
                </a:cubicBezTo>
                <a:cubicBezTo>
                  <a:pt x="134908" y="7410"/>
                  <a:pt x="133809" y="7693"/>
                  <a:pt x="132652" y="7670"/>
                </a:cubicBezTo>
                <a:cubicBezTo>
                  <a:pt x="130223" y="7456"/>
                  <a:pt x="127909" y="6664"/>
                  <a:pt x="125826" y="5356"/>
                </a:cubicBezTo>
                <a:cubicBezTo>
                  <a:pt x="121488" y="2707"/>
                  <a:pt x="116398" y="1567"/>
                  <a:pt x="111307" y="2117"/>
                </a:cubicBezTo>
                <a:cubicBezTo>
                  <a:pt x="107779" y="2256"/>
                  <a:pt x="104597" y="4234"/>
                  <a:pt x="102920" y="7323"/>
                </a:cubicBezTo>
                <a:cubicBezTo>
                  <a:pt x="102226" y="8347"/>
                  <a:pt x="101474" y="9313"/>
                  <a:pt x="100664" y="10215"/>
                </a:cubicBezTo>
                <a:lnTo>
                  <a:pt x="100664" y="10215"/>
                </a:lnTo>
                <a:cubicBezTo>
                  <a:pt x="100722" y="10626"/>
                  <a:pt x="100548" y="11031"/>
                  <a:pt x="100202" y="11256"/>
                </a:cubicBezTo>
                <a:lnTo>
                  <a:pt x="84063" y="23114"/>
                </a:lnTo>
                <a:cubicBezTo>
                  <a:pt x="83947" y="23155"/>
                  <a:pt x="83831" y="23155"/>
                  <a:pt x="83716" y="23114"/>
                </a:cubicBezTo>
                <a:cubicBezTo>
                  <a:pt x="83716" y="23114"/>
                  <a:pt x="70180" y="27337"/>
                  <a:pt x="67172" y="35377"/>
                </a:cubicBezTo>
                <a:cubicBezTo>
                  <a:pt x="66304" y="39288"/>
                  <a:pt x="66826" y="43389"/>
                  <a:pt x="68676" y="46946"/>
                </a:cubicBezTo>
                <a:cubicBezTo>
                  <a:pt x="70238" y="51053"/>
                  <a:pt x="71684" y="54929"/>
                  <a:pt x="69139" y="58110"/>
                </a:cubicBezTo>
                <a:cubicBezTo>
                  <a:pt x="65379" y="62853"/>
                  <a:pt x="66016" y="73844"/>
                  <a:pt x="67172" y="78703"/>
                </a:cubicBezTo>
                <a:cubicBezTo>
                  <a:pt x="68330" y="83562"/>
                  <a:pt x="61388" y="94494"/>
                  <a:pt x="60578" y="95767"/>
                </a:cubicBezTo>
                <a:cubicBezTo>
                  <a:pt x="60463" y="95923"/>
                  <a:pt x="60347" y="96045"/>
                  <a:pt x="60173" y="96114"/>
                </a:cubicBezTo>
                <a:cubicBezTo>
                  <a:pt x="60173" y="96114"/>
                  <a:pt x="28301" y="113467"/>
                  <a:pt x="1982" y="126771"/>
                </a:cubicBezTo>
                <a:cubicBezTo>
                  <a:pt x="2271" y="130971"/>
                  <a:pt x="2965" y="135136"/>
                  <a:pt x="4065" y="139208"/>
                </a:cubicBezTo>
                <a:cubicBezTo>
                  <a:pt x="5857" y="145687"/>
                  <a:pt x="8692" y="157892"/>
                  <a:pt x="10312" y="165180"/>
                </a:cubicBezTo>
                <a:cubicBezTo>
                  <a:pt x="13435" y="165180"/>
                  <a:pt x="15749" y="165180"/>
                  <a:pt x="17774" y="165180"/>
                </a:cubicBezTo>
                <a:cubicBezTo>
                  <a:pt x="19798" y="165180"/>
                  <a:pt x="21302" y="165006"/>
                  <a:pt x="23037" y="16500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8" name="Forma libre: forma 367">
            <a:extLst>
              <a:ext uri="{FF2B5EF4-FFF2-40B4-BE49-F238E27FC236}">
                <a16:creationId xmlns:a16="http://schemas.microsoft.com/office/drawing/2014/main" id="{7D9C4606-10D6-3C42-D549-46A96093DDEF}"/>
              </a:ext>
            </a:extLst>
          </p:cNvPr>
          <p:cNvSpPr/>
          <p:nvPr/>
        </p:nvSpPr>
        <p:spPr>
          <a:xfrm>
            <a:off x="7446633" y="3623932"/>
            <a:ext cx="54981" cy="51575"/>
          </a:xfrm>
          <a:custGeom>
            <a:avLst/>
            <a:gdLst>
              <a:gd name="connsiteX0" fmla="*/ 53527 w 54981"/>
              <a:gd name="connsiteY0" fmla="*/ 51385 h 51575"/>
              <a:gd name="connsiteX1" fmla="*/ 53527 w 54981"/>
              <a:gd name="connsiteY1" fmla="*/ 51385 h 51575"/>
              <a:gd name="connsiteX2" fmla="*/ 31835 w 54981"/>
              <a:gd name="connsiteY2" fmla="*/ 50286 h 51575"/>
              <a:gd name="connsiteX3" fmla="*/ 31141 w 54981"/>
              <a:gd name="connsiteY3" fmla="*/ 49997 h 51575"/>
              <a:gd name="connsiteX4" fmla="*/ 17432 w 54981"/>
              <a:gd name="connsiteY4" fmla="*/ 38428 h 51575"/>
              <a:gd name="connsiteX5" fmla="*/ 889 w 54981"/>
              <a:gd name="connsiteY5" fmla="*/ 36346 h 51575"/>
              <a:gd name="connsiteX6" fmla="*/ 21 w 54981"/>
              <a:gd name="connsiteY6" fmla="*/ 35825 h 51575"/>
              <a:gd name="connsiteX7" fmla="*/ 21 w 54981"/>
              <a:gd name="connsiteY7" fmla="*/ 34842 h 51575"/>
              <a:gd name="connsiteX8" fmla="*/ 11590 w 54981"/>
              <a:gd name="connsiteY8" fmla="*/ 10431 h 51575"/>
              <a:gd name="connsiteX9" fmla="*/ 13846 w 54981"/>
              <a:gd name="connsiteY9" fmla="*/ 7366 h 51575"/>
              <a:gd name="connsiteX10" fmla="*/ 24662 w 54981"/>
              <a:gd name="connsiteY10" fmla="*/ 20 h 51575"/>
              <a:gd name="connsiteX11" fmla="*/ 42478 w 54981"/>
              <a:gd name="connsiteY11" fmla="*/ 9332 h 51575"/>
              <a:gd name="connsiteX12" fmla="*/ 43693 w 54981"/>
              <a:gd name="connsiteY12" fmla="*/ 10489 h 51575"/>
              <a:gd name="connsiteX13" fmla="*/ 44040 w 54981"/>
              <a:gd name="connsiteY13" fmla="*/ 11241 h 51575"/>
              <a:gd name="connsiteX14" fmla="*/ 43693 w 54981"/>
              <a:gd name="connsiteY14" fmla="*/ 12109 h 51575"/>
              <a:gd name="connsiteX15" fmla="*/ 41610 w 54981"/>
              <a:gd name="connsiteY15" fmla="*/ 15869 h 51575"/>
              <a:gd name="connsiteX16" fmla="*/ 48957 w 54981"/>
              <a:gd name="connsiteY16" fmla="*/ 35999 h 51575"/>
              <a:gd name="connsiteX17" fmla="*/ 54741 w 54981"/>
              <a:gd name="connsiteY17" fmla="*/ 49881 h 51575"/>
              <a:gd name="connsiteX18" fmla="*/ 54741 w 54981"/>
              <a:gd name="connsiteY18" fmla="*/ 50980 h 51575"/>
              <a:gd name="connsiteX19" fmla="*/ 53527 w 54981"/>
              <a:gd name="connsiteY19" fmla="*/ 51385 h 51575"/>
              <a:gd name="connsiteX20" fmla="*/ 32298 w 54981"/>
              <a:gd name="connsiteY20" fmla="*/ 48030 h 51575"/>
              <a:gd name="connsiteX21" fmla="*/ 51849 w 54981"/>
              <a:gd name="connsiteY21" fmla="*/ 49013 h 51575"/>
              <a:gd name="connsiteX22" fmla="*/ 46817 w 54981"/>
              <a:gd name="connsiteY22" fmla="*/ 36808 h 51575"/>
              <a:gd name="connsiteX23" fmla="*/ 39297 w 54981"/>
              <a:gd name="connsiteY23" fmla="*/ 15811 h 51575"/>
              <a:gd name="connsiteX24" fmla="*/ 41264 w 54981"/>
              <a:gd name="connsiteY24" fmla="*/ 11299 h 51575"/>
              <a:gd name="connsiteX25" fmla="*/ 40858 w 54981"/>
              <a:gd name="connsiteY25" fmla="*/ 10894 h 51575"/>
              <a:gd name="connsiteX26" fmla="*/ 24951 w 54981"/>
              <a:gd name="connsiteY26" fmla="*/ 2218 h 51575"/>
              <a:gd name="connsiteX27" fmla="*/ 15638 w 54981"/>
              <a:gd name="connsiteY27" fmla="*/ 8580 h 51575"/>
              <a:gd name="connsiteX28" fmla="*/ 13152 w 54981"/>
              <a:gd name="connsiteY28" fmla="*/ 11878 h 51575"/>
              <a:gd name="connsiteX29" fmla="*/ 2566 w 54981"/>
              <a:gd name="connsiteY29" fmla="*/ 34263 h 51575"/>
              <a:gd name="connsiteX30" fmla="*/ 17952 w 54981"/>
              <a:gd name="connsiteY30" fmla="*/ 36172 h 51575"/>
              <a:gd name="connsiteX31" fmla="*/ 18531 w 54981"/>
              <a:gd name="connsiteY31" fmla="*/ 36172 h 5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4981" h="51575">
                <a:moveTo>
                  <a:pt x="53527" y="51385"/>
                </a:moveTo>
                <a:lnTo>
                  <a:pt x="53527" y="51385"/>
                </a:lnTo>
                <a:lnTo>
                  <a:pt x="31835" y="50286"/>
                </a:lnTo>
                <a:cubicBezTo>
                  <a:pt x="31604" y="50240"/>
                  <a:pt x="31373" y="50141"/>
                  <a:pt x="31141" y="49997"/>
                </a:cubicBezTo>
                <a:lnTo>
                  <a:pt x="17432" y="38428"/>
                </a:lnTo>
                <a:lnTo>
                  <a:pt x="889" y="36346"/>
                </a:lnTo>
                <a:cubicBezTo>
                  <a:pt x="541" y="36323"/>
                  <a:pt x="194" y="36132"/>
                  <a:pt x="21" y="35825"/>
                </a:cubicBezTo>
                <a:cubicBezTo>
                  <a:pt x="-153" y="35513"/>
                  <a:pt x="-153" y="35154"/>
                  <a:pt x="21" y="34842"/>
                </a:cubicBezTo>
                <a:cubicBezTo>
                  <a:pt x="8929" y="13266"/>
                  <a:pt x="10953" y="11126"/>
                  <a:pt x="11590" y="10431"/>
                </a:cubicBezTo>
                <a:cubicBezTo>
                  <a:pt x="12400" y="9454"/>
                  <a:pt x="13152" y="8430"/>
                  <a:pt x="13846" y="7366"/>
                </a:cubicBezTo>
                <a:cubicBezTo>
                  <a:pt x="15986" y="3259"/>
                  <a:pt x="20035" y="499"/>
                  <a:pt x="24662" y="20"/>
                </a:cubicBezTo>
                <a:cubicBezTo>
                  <a:pt x="31430" y="-964"/>
                  <a:pt x="35711" y="3027"/>
                  <a:pt x="42478" y="9332"/>
                </a:cubicBezTo>
                <a:lnTo>
                  <a:pt x="43693" y="10489"/>
                </a:lnTo>
                <a:cubicBezTo>
                  <a:pt x="43924" y="10686"/>
                  <a:pt x="44040" y="10958"/>
                  <a:pt x="44040" y="11241"/>
                </a:cubicBezTo>
                <a:cubicBezTo>
                  <a:pt x="44040" y="11565"/>
                  <a:pt x="43924" y="11883"/>
                  <a:pt x="43693" y="12109"/>
                </a:cubicBezTo>
                <a:cubicBezTo>
                  <a:pt x="42536" y="13046"/>
                  <a:pt x="41784" y="14394"/>
                  <a:pt x="41610" y="15869"/>
                </a:cubicBezTo>
                <a:cubicBezTo>
                  <a:pt x="43404" y="22804"/>
                  <a:pt x="45834" y="29549"/>
                  <a:pt x="48957" y="35999"/>
                </a:cubicBezTo>
                <a:cubicBezTo>
                  <a:pt x="50924" y="40684"/>
                  <a:pt x="53006" y="45543"/>
                  <a:pt x="54741" y="49881"/>
                </a:cubicBezTo>
                <a:cubicBezTo>
                  <a:pt x="54915" y="50228"/>
                  <a:pt x="54915" y="50633"/>
                  <a:pt x="54741" y="50980"/>
                </a:cubicBezTo>
                <a:cubicBezTo>
                  <a:pt x="54452" y="51379"/>
                  <a:pt x="53989" y="51547"/>
                  <a:pt x="53527" y="51385"/>
                </a:cubicBezTo>
                <a:close/>
                <a:moveTo>
                  <a:pt x="32298" y="48030"/>
                </a:moveTo>
                <a:lnTo>
                  <a:pt x="51849" y="49013"/>
                </a:lnTo>
                <a:cubicBezTo>
                  <a:pt x="50345" y="45138"/>
                  <a:pt x="48552" y="40915"/>
                  <a:pt x="46817" y="36808"/>
                </a:cubicBezTo>
                <a:cubicBezTo>
                  <a:pt x="43520" y="30116"/>
                  <a:pt x="41032" y="23070"/>
                  <a:pt x="39297" y="15811"/>
                </a:cubicBezTo>
                <a:cubicBezTo>
                  <a:pt x="39412" y="14122"/>
                  <a:pt x="40106" y="12519"/>
                  <a:pt x="41264" y="11299"/>
                </a:cubicBezTo>
                <a:lnTo>
                  <a:pt x="40858" y="10894"/>
                </a:lnTo>
                <a:cubicBezTo>
                  <a:pt x="34554" y="5110"/>
                  <a:pt x="30621" y="1350"/>
                  <a:pt x="24951" y="2218"/>
                </a:cubicBezTo>
                <a:cubicBezTo>
                  <a:pt x="20960" y="2582"/>
                  <a:pt x="17432" y="4988"/>
                  <a:pt x="15638" y="8580"/>
                </a:cubicBezTo>
                <a:cubicBezTo>
                  <a:pt x="14944" y="9755"/>
                  <a:pt x="14077" y="10859"/>
                  <a:pt x="13152" y="11878"/>
                </a:cubicBezTo>
                <a:cubicBezTo>
                  <a:pt x="8813" y="18929"/>
                  <a:pt x="5285" y="26437"/>
                  <a:pt x="2566" y="34263"/>
                </a:cubicBezTo>
                <a:lnTo>
                  <a:pt x="17952" y="36172"/>
                </a:lnTo>
                <a:cubicBezTo>
                  <a:pt x="18126" y="36108"/>
                  <a:pt x="18358" y="36108"/>
                  <a:pt x="18531" y="3617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69" name="Forma libre: forma 368">
            <a:extLst>
              <a:ext uri="{FF2B5EF4-FFF2-40B4-BE49-F238E27FC236}">
                <a16:creationId xmlns:a16="http://schemas.microsoft.com/office/drawing/2014/main" id="{6A5A5F0E-0C46-9265-E3C9-2932916FE649}"/>
              </a:ext>
            </a:extLst>
          </p:cNvPr>
          <p:cNvSpPr/>
          <p:nvPr/>
        </p:nvSpPr>
        <p:spPr>
          <a:xfrm>
            <a:off x="6055278" y="2935538"/>
            <a:ext cx="395871" cy="334418"/>
          </a:xfrm>
          <a:custGeom>
            <a:avLst/>
            <a:gdLst>
              <a:gd name="connsiteX0" fmla="*/ 384827 w 395871"/>
              <a:gd name="connsiteY0" fmla="*/ 334232 h 334418"/>
              <a:gd name="connsiteX1" fmla="*/ 384827 w 395871"/>
              <a:gd name="connsiteY1" fmla="*/ 334232 h 334418"/>
              <a:gd name="connsiteX2" fmla="*/ 369903 w 395871"/>
              <a:gd name="connsiteY2" fmla="*/ 316474 h 334418"/>
              <a:gd name="connsiteX3" fmla="*/ 373779 w 395871"/>
              <a:gd name="connsiteY3" fmla="*/ 295766 h 334418"/>
              <a:gd name="connsiteX4" fmla="*/ 384827 w 395871"/>
              <a:gd name="connsiteY4" fmla="*/ 285527 h 334418"/>
              <a:gd name="connsiteX5" fmla="*/ 391421 w 395871"/>
              <a:gd name="connsiteY5" fmla="*/ 280958 h 334418"/>
              <a:gd name="connsiteX6" fmla="*/ 395760 w 395871"/>
              <a:gd name="connsiteY6" fmla="*/ 299583 h 334418"/>
              <a:gd name="connsiteX7" fmla="*/ 385810 w 395871"/>
              <a:gd name="connsiteY7" fmla="*/ 334290 h 334418"/>
              <a:gd name="connsiteX8" fmla="*/ 391016 w 395871"/>
              <a:gd name="connsiteY8" fmla="*/ 283271 h 334418"/>
              <a:gd name="connsiteX9" fmla="*/ 386620 w 395871"/>
              <a:gd name="connsiteY9" fmla="*/ 287031 h 334418"/>
              <a:gd name="connsiteX10" fmla="*/ 375051 w 395871"/>
              <a:gd name="connsiteY10" fmla="*/ 297732 h 334418"/>
              <a:gd name="connsiteX11" fmla="*/ 372101 w 395871"/>
              <a:gd name="connsiteY11" fmla="*/ 315838 h 334418"/>
              <a:gd name="connsiteX12" fmla="*/ 385579 w 395871"/>
              <a:gd name="connsiteY12" fmla="*/ 331918 h 334418"/>
              <a:gd name="connsiteX13" fmla="*/ 391363 w 395871"/>
              <a:gd name="connsiteY13" fmla="*/ 323126 h 334418"/>
              <a:gd name="connsiteX14" fmla="*/ 391190 w 395871"/>
              <a:gd name="connsiteY14" fmla="*/ 283271 h 334418"/>
              <a:gd name="connsiteX15" fmla="*/ 205915 w 395871"/>
              <a:gd name="connsiteY15" fmla="*/ 303401 h 334418"/>
              <a:gd name="connsiteX16" fmla="*/ 193594 w 395871"/>
              <a:gd name="connsiteY16" fmla="*/ 302418 h 334418"/>
              <a:gd name="connsiteX17" fmla="*/ 184107 w 395871"/>
              <a:gd name="connsiteY17" fmla="*/ 300856 h 334418"/>
              <a:gd name="connsiteX18" fmla="*/ 160565 w 395871"/>
              <a:gd name="connsiteY18" fmla="*/ 294262 h 334418"/>
              <a:gd name="connsiteX19" fmla="*/ 151078 w 395871"/>
              <a:gd name="connsiteY19" fmla="*/ 288477 h 334418"/>
              <a:gd name="connsiteX20" fmla="*/ 149748 w 395871"/>
              <a:gd name="connsiteY20" fmla="*/ 290271 h 334418"/>
              <a:gd name="connsiteX21" fmla="*/ 138873 w 395871"/>
              <a:gd name="connsiteY21" fmla="*/ 296518 h 334418"/>
              <a:gd name="connsiteX22" fmla="*/ 126379 w 395871"/>
              <a:gd name="connsiteY22" fmla="*/ 293220 h 334418"/>
              <a:gd name="connsiteX23" fmla="*/ 112207 w 395871"/>
              <a:gd name="connsiteY23" fmla="*/ 286395 h 334418"/>
              <a:gd name="connsiteX24" fmla="*/ 99828 w 395871"/>
              <a:gd name="connsiteY24" fmla="*/ 280610 h 334418"/>
              <a:gd name="connsiteX25" fmla="*/ 91094 w 395871"/>
              <a:gd name="connsiteY25" fmla="*/ 276157 h 334418"/>
              <a:gd name="connsiteX26" fmla="*/ 84442 w 395871"/>
              <a:gd name="connsiteY26" fmla="*/ 272917 h 334418"/>
              <a:gd name="connsiteX27" fmla="*/ 83805 w 395871"/>
              <a:gd name="connsiteY27" fmla="*/ 271760 h 334418"/>
              <a:gd name="connsiteX28" fmla="*/ 84731 w 395871"/>
              <a:gd name="connsiteY28" fmla="*/ 270835 h 334418"/>
              <a:gd name="connsiteX29" fmla="*/ 85367 w 395871"/>
              <a:gd name="connsiteY29" fmla="*/ 270835 h 334418"/>
              <a:gd name="connsiteX30" fmla="*/ 86061 w 395871"/>
              <a:gd name="connsiteY30" fmla="*/ 270835 h 334418"/>
              <a:gd name="connsiteX31" fmla="*/ 98324 w 395871"/>
              <a:gd name="connsiteY31" fmla="*/ 222824 h 334418"/>
              <a:gd name="connsiteX32" fmla="*/ 100869 w 395871"/>
              <a:gd name="connsiteY32" fmla="*/ 206107 h 334418"/>
              <a:gd name="connsiteX33" fmla="*/ 102489 w 395871"/>
              <a:gd name="connsiteY33" fmla="*/ 190373 h 334418"/>
              <a:gd name="connsiteX34" fmla="*/ 101853 w 395871"/>
              <a:gd name="connsiteY34" fmla="*/ 179730 h 334418"/>
              <a:gd name="connsiteX35" fmla="*/ 96068 w 395871"/>
              <a:gd name="connsiteY35" fmla="*/ 169607 h 334418"/>
              <a:gd name="connsiteX36" fmla="*/ 73856 w 395871"/>
              <a:gd name="connsiteY36" fmla="*/ 145081 h 334418"/>
              <a:gd name="connsiteX37" fmla="*/ 70328 w 395871"/>
              <a:gd name="connsiteY37" fmla="*/ 136925 h 334418"/>
              <a:gd name="connsiteX38" fmla="*/ 65353 w 395871"/>
              <a:gd name="connsiteY38" fmla="*/ 133860 h 334418"/>
              <a:gd name="connsiteX39" fmla="*/ 57486 w 395871"/>
              <a:gd name="connsiteY39" fmla="*/ 131604 h 334418"/>
              <a:gd name="connsiteX40" fmla="*/ 41695 w 395871"/>
              <a:gd name="connsiteY40" fmla="*/ 127497 h 334418"/>
              <a:gd name="connsiteX41" fmla="*/ 20061 w 395871"/>
              <a:gd name="connsiteY41" fmla="*/ 120960 h 334418"/>
              <a:gd name="connsiteX42" fmla="*/ 5022 w 395871"/>
              <a:gd name="connsiteY42" fmla="*/ 115465 h 334418"/>
              <a:gd name="connsiteX43" fmla="*/ 3518 w 395871"/>
              <a:gd name="connsiteY43" fmla="*/ 106962 h 334418"/>
              <a:gd name="connsiteX44" fmla="*/ 1782 w 395871"/>
              <a:gd name="connsiteY44" fmla="*/ 98517 h 334418"/>
              <a:gd name="connsiteX45" fmla="*/ 510 w 395871"/>
              <a:gd name="connsiteY45" fmla="*/ 90997 h 334418"/>
              <a:gd name="connsiteX46" fmla="*/ 16764 w 395871"/>
              <a:gd name="connsiteY46" fmla="*/ 83651 h 334418"/>
              <a:gd name="connsiteX47" fmla="*/ 19714 w 395871"/>
              <a:gd name="connsiteY47" fmla="*/ 83651 h 334418"/>
              <a:gd name="connsiteX48" fmla="*/ 34406 w 395871"/>
              <a:gd name="connsiteY48" fmla="*/ 81568 h 334418"/>
              <a:gd name="connsiteX49" fmla="*/ 46669 w 395871"/>
              <a:gd name="connsiteY49" fmla="*/ 80932 h 334418"/>
              <a:gd name="connsiteX50" fmla="*/ 54941 w 395871"/>
              <a:gd name="connsiteY50" fmla="*/ 87237 h 334418"/>
              <a:gd name="connsiteX51" fmla="*/ 59164 w 395871"/>
              <a:gd name="connsiteY51" fmla="*/ 90361 h 334418"/>
              <a:gd name="connsiteX52" fmla="*/ 62171 w 395871"/>
              <a:gd name="connsiteY52" fmla="*/ 89088 h 334418"/>
              <a:gd name="connsiteX53" fmla="*/ 67956 w 395871"/>
              <a:gd name="connsiteY53" fmla="*/ 87411 h 334418"/>
              <a:gd name="connsiteX54" fmla="*/ 76922 w 395871"/>
              <a:gd name="connsiteY54" fmla="*/ 89435 h 334418"/>
              <a:gd name="connsiteX55" fmla="*/ 86119 w 395871"/>
              <a:gd name="connsiteY55" fmla="*/ 90361 h 334418"/>
              <a:gd name="connsiteX56" fmla="*/ 89300 w 395871"/>
              <a:gd name="connsiteY56" fmla="*/ 82957 h 334418"/>
              <a:gd name="connsiteX57" fmla="*/ 82359 w 395871"/>
              <a:gd name="connsiteY57" fmla="*/ 62885 h 334418"/>
              <a:gd name="connsiteX58" fmla="*/ 80450 w 395871"/>
              <a:gd name="connsiteY58" fmla="*/ 53919 h 334418"/>
              <a:gd name="connsiteX59" fmla="*/ 92713 w 395871"/>
              <a:gd name="connsiteY59" fmla="*/ 46920 h 334418"/>
              <a:gd name="connsiteX60" fmla="*/ 100002 w 395871"/>
              <a:gd name="connsiteY60" fmla="*/ 51258 h 334418"/>
              <a:gd name="connsiteX61" fmla="*/ 126610 w 395871"/>
              <a:gd name="connsiteY61" fmla="*/ 63868 h 334418"/>
              <a:gd name="connsiteX62" fmla="*/ 132394 w 395871"/>
              <a:gd name="connsiteY62" fmla="*/ 62422 h 334418"/>
              <a:gd name="connsiteX63" fmla="*/ 136212 w 395871"/>
              <a:gd name="connsiteY63" fmla="*/ 55191 h 334418"/>
              <a:gd name="connsiteX64" fmla="*/ 150789 w 395871"/>
              <a:gd name="connsiteY64" fmla="*/ 42870 h 334418"/>
              <a:gd name="connsiteX65" fmla="*/ 175488 w 395871"/>
              <a:gd name="connsiteY65" fmla="*/ 35929 h 334418"/>
              <a:gd name="connsiteX66" fmla="*/ 178034 w 395871"/>
              <a:gd name="connsiteY66" fmla="*/ 25112 h 334418"/>
              <a:gd name="connsiteX67" fmla="*/ 182893 w 395871"/>
              <a:gd name="connsiteY67" fmla="*/ 5677 h 334418"/>
              <a:gd name="connsiteX68" fmla="*/ 195734 w 395871"/>
              <a:gd name="connsiteY68" fmla="*/ 471 h 334418"/>
              <a:gd name="connsiteX69" fmla="*/ 201518 w 395871"/>
              <a:gd name="connsiteY69" fmla="*/ -108 h 334418"/>
              <a:gd name="connsiteX70" fmla="*/ 202675 w 395871"/>
              <a:gd name="connsiteY70" fmla="*/ 355 h 334418"/>
              <a:gd name="connsiteX71" fmla="*/ 203832 w 395871"/>
              <a:gd name="connsiteY71" fmla="*/ 1165 h 334418"/>
              <a:gd name="connsiteX72" fmla="*/ 206435 w 395871"/>
              <a:gd name="connsiteY72" fmla="*/ 4404 h 334418"/>
              <a:gd name="connsiteX73" fmla="*/ 213492 w 395871"/>
              <a:gd name="connsiteY73" fmla="*/ 14758 h 334418"/>
              <a:gd name="connsiteX74" fmla="*/ 213955 w 395871"/>
              <a:gd name="connsiteY74" fmla="*/ 14353 h 334418"/>
              <a:gd name="connsiteX75" fmla="*/ 216558 w 395871"/>
              <a:gd name="connsiteY75" fmla="*/ 12734 h 334418"/>
              <a:gd name="connsiteX76" fmla="*/ 223673 w 395871"/>
              <a:gd name="connsiteY76" fmla="*/ 17535 h 334418"/>
              <a:gd name="connsiteX77" fmla="*/ 229457 w 395871"/>
              <a:gd name="connsiteY77" fmla="*/ 22394 h 334418"/>
              <a:gd name="connsiteX78" fmla="*/ 235242 w 395871"/>
              <a:gd name="connsiteY78" fmla="*/ 25112 h 334418"/>
              <a:gd name="connsiteX79" fmla="*/ 247158 w 395871"/>
              <a:gd name="connsiteY79" fmla="*/ 33500 h 334418"/>
              <a:gd name="connsiteX80" fmla="*/ 251959 w 395871"/>
              <a:gd name="connsiteY80" fmla="*/ 42061 h 334418"/>
              <a:gd name="connsiteX81" fmla="*/ 253462 w 395871"/>
              <a:gd name="connsiteY81" fmla="*/ 41714 h 334418"/>
              <a:gd name="connsiteX82" fmla="*/ 259652 w 395871"/>
              <a:gd name="connsiteY82" fmla="*/ 37433 h 334418"/>
              <a:gd name="connsiteX83" fmla="*/ 265147 w 395871"/>
              <a:gd name="connsiteY83" fmla="*/ 34078 h 334418"/>
              <a:gd name="connsiteX84" fmla="*/ 267114 w 395871"/>
              <a:gd name="connsiteY84" fmla="*/ 36739 h 334418"/>
              <a:gd name="connsiteX85" fmla="*/ 268502 w 395871"/>
              <a:gd name="connsiteY85" fmla="*/ 44432 h 334418"/>
              <a:gd name="connsiteX86" fmla="*/ 273650 w 395871"/>
              <a:gd name="connsiteY86" fmla="*/ 48366 h 334418"/>
              <a:gd name="connsiteX87" fmla="*/ 274807 w 395871"/>
              <a:gd name="connsiteY87" fmla="*/ 48366 h 334418"/>
              <a:gd name="connsiteX88" fmla="*/ 281748 w 395871"/>
              <a:gd name="connsiteY88" fmla="*/ 53456 h 334418"/>
              <a:gd name="connsiteX89" fmla="*/ 287533 w 395871"/>
              <a:gd name="connsiteY89" fmla="*/ 57563 h 334418"/>
              <a:gd name="connsiteX90" fmla="*/ 293780 w 395871"/>
              <a:gd name="connsiteY90" fmla="*/ 57100 h 334418"/>
              <a:gd name="connsiteX91" fmla="*/ 316918 w 395871"/>
              <a:gd name="connsiteY91" fmla="*/ 62885 h 334418"/>
              <a:gd name="connsiteX92" fmla="*/ 333577 w 395871"/>
              <a:gd name="connsiteY92" fmla="*/ 70925 h 334418"/>
              <a:gd name="connsiteX93" fmla="*/ 343873 w 395871"/>
              <a:gd name="connsiteY93" fmla="*/ 74280 h 334418"/>
              <a:gd name="connsiteX94" fmla="*/ 347922 w 395871"/>
              <a:gd name="connsiteY94" fmla="*/ 75784 h 334418"/>
              <a:gd name="connsiteX95" fmla="*/ 349137 w 395871"/>
              <a:gd name="connsiteY95" fmla="*/ 75784 h 334418"/>
              <a:gd name="connsiteX96" fmla="*/ 357467 w 395871"/>
              <a:gd name="connsiteY96" fmla="*/ 80007 h 334418"/>
              <a:gd name="connsiteX97" fmla="*/ 354285 w 395871"/>
              <a:gd name="connsiteY97" fmla="*/ 86890 h 334418"/>
              <a:gd name="connsiteX98" fmla="*/ 344336 w 395871"/>
              <a:gd name="connsiteY98" fmla="*/ 106210 h 334418"/>
              <a:gd name="connsiteX99" fmla="*/ 343873 w 395871"/>
              <a:gd name="connsiteY99" fmla="*/ 108119 h 334418"/>
              <a:gd name="connsiteX100" fmla="*/ 342774 w 395871"/>
              <a:gd name="connsiteY100" fmla="*/ 116159 h 334418"/>
              <a:gd name="connsiteX101" fmla="*/ 336990 w 395871"/>
              <a:gd name="connsiteY101" fmla="*/ 129637 h 334418"/>
              <a:gd name="connsiteX102" fmla="*/ 324148 w 395871"/>
              <a:gd name="connsiteY102" fmla="*/ 140222 h 334418"/>
              <a:gd name="connsiteX103" fmla="*/ 317091 w 395871"/>
              <a:gd name="connsiteY103" fmla="*/ 148899 h 334418"/>
              <a:gd name="connsiteX104" fmla="*/ 306506 w 395871"/>
              <a:gd name="connsiteY104" fmla="*/ 162145 h 334418"/>
              <a:gd name="connsiteX105" fmla="*/ 305060 w 395871"/>
              <a:gd name="connsiteY105" fmla="*/ 172789 h 334418"/>
              <a:gd name="connsiteX106" fmla="*/ 308241 w 395871"/>
              <a:gd name="connsiteY106" fmla="*/ 170186 h 334418"/>
              <a:gd name="connsiteX107" fmla="*/ 316108 w 395871"/>
              <a:gd name="connsiteY107" fmla="*/ 165732 h 334418"/>
              <a:gd name="connsiteX108" fmla="*/ 322361 w 395871"/>
              <a:gd name="connsiteY108" fmla="*/ 171620 h 334418"/>
              <a:gd name="connsiteX109" fmla="*/ 322355 w 395871"/>
              <a:gd name="connsiteY109" fmla="*/ 172095 h 334418"/>
              <a:gd name="connsiteX110" fmla="*/ 324669 w 395871"/>
              <a:gd name="connsiteY110" fmla="*/ 176549 h 334418"/>
              <a:gd name="connsiteX111" fmla="*/ 327098 w 395871"/>
              <a:gd name="connsiteY111" fmla="*/ 185804 h 334418"/>
              <a:gd name="connsiteX112" fmla="*/ 329644 w 395871"/>
              <a:gd name="connsiteY112" fmla="*/ 197835 h 334418"/>
              <a:gd name="connsiteX113" fmla="*/ 331147 w 395871"/>
              <a:gd name="connsiteY113" fmla="*/ 200785 h 334418"/>
              <a:gd name="connsiteX114" fmla="*/ 324148 w 395871"/>
              <a:gd name="connsiteY114" fmla="*/ 210677 h 334418"/>
              <a:gd name="connsiteX115" fmla="*/ 320446 w 395871"/>
              <a:gd name="connsiteY115" fmla="*/ 211718 h 334418"/>
              <a:gd name="connsiteX116" fmla="*/ 317901 w 395871"/>
              <a:gd name="connsiteY116" fmla="*/ 212586 h 334418"/>
              <a:gd name="connsiteX117" fmla="*/ 319116 w 395871"/>
              <a:gd name="connsiteY117" fmla="*/ 215709 h 334418"/>
              <a:gd name="connsiteX118" fmla="*/ 324148 w 395871"/>
              <a:gd name="connsiteY118" fmla="*/ 220857 h 334418"/>
              <a:gd name="connsiteX119" fmla="*/ 326983 w 395871"/>
              <a:gd name="connsiteY119" fmla="*/ 230864 h 334418"/>
              <a:gd name="connsiteX120" fmla="*/ 326115 w 395871"/>
              <a:gd name="connsiteY120" fmla="*/ 238500 h 334418"/>
              <a:gd name="connsiteX121" fmla="*/ 332246 w 395871"/>
              <a:gd name="connsiteY121" fmla="*/ 242433 h 334418"/>
              <a:gd name="connsiteX122" fmla="*/ 336469 w 395871"/>
              <a:gd name="connsiteY122" fmla="*/ 242433 h 334418"/>
              <a:gd name="connsiteX123" fmla="*/ 345724 w 395871"/>
              <a:gd name="connsiteY123" fmla="*/ 244747 h 334418"/>
              <a:gd name="connsiteX124" fmla="*/ 345724 w 395871"/>
              <a:gd name="connsiteY124" fmla="*/ 248044 h 334418"/>
              <a:gd name="connsiteX125" fmla="*/ 344857 w 395871"/>
              <a:gd name="connsiteY125" fmla="*/ 250184 h 334418"/>
              <a:gd name="connsiteX126" fmla="*/ 342716 w 395871"/>
              <a:gd name="connsiteY126" fmla="*/ 256952 h 334418"/>
              <a:gd name="connsiteX127" fmla="*/ 341907 w 395871"/>
              <a:gd name="connsiteY127" fmla="*/ 257936 h 334418"/>
              <a:gd name="connsiteX128" fmla="*/ 325305 w 395871"/>
              <a:gd name="connsiteY128" fmla="*/ 268752 h 334418"/>
              <a:gd name="connsiteX129" fmla="*/ 292392 w 395871"/>
              <a:gd name="connsiteY129" fmla="*/ 279454 h 334418"/>
              <a:gd name="connsiteX130" fmla="*/ 247620 w 395871"/>
              <a:gd name="connsiteY130" fmla="*/ 268405 h 334418"/>
              <a:gd name="connsiteX131" fmla="*/ 243051 w 395871"/>
              <a:gd name="connsiteY131" fmla="*/ 268695 h 334418"/>
              <a:gd name="connsiteX132" fmla="*/ 222863 w 395871"/>
              <a:gd name="connsiteY132" fmla="*/ 280263 h 334418"/>
              <a:gd name="connsiteX133" fmla="*/ 221359 w 395871"/>
              <a:gd name="connsiteY133" fmla="*/ 294551 h 334418"/>
              <a:gd name="connsiteX134" fmla="*/ 222979 w 395871"/>
              <a:gd name="connsiteY134" fmla="*/ 301319 h 334418"/>
              <a:gd name="connsiteX135" fmla="*/ 222979 w 395871"/>
              <a:gd name="connsiteY135" fmla="*/ 301839 h 334418"/>
              <a:gd name="connsiteX136" fmla="*/ 221938 w 395871"/>
              <a:gd name="connsiteY136" fmla="*/ 302996 h 334418"/>
              <a:gd name="connsiteX137" fmla="*/ 221880 w 395871"/>
              <a:gd name="connsiteY137" fmla="*/ 302996 h 334418"/>
              <a:gd name="connsiteX138" fmla="*/ 221880 w 395871"/>
              <a:gd name="connsiteY138" fmla="*/ 302996 h 334418"/>
              <a:gd name="connsiteX139" fmla="*/ 212451 w 395871"/>
              <a:gd name="connsiteY139" fmla="*/ 302996 h 334418"/>
              <a:gd name="connsiteX140" fmla="*/ 151078 w 395871"/>
              <a:gd name="connsiteY140" fmla="*/ 286453 h 334418"/>
              <a:gd name="connsiteX141" fmla="*/ 162184 w 395871"/>
              <a:gd name="connsiteY141" fmla="*/ 292642 h 334418"/>
              <a:gd name="connsiteX142" fmla="*/ 184454 w 395871"/>
              <a:gd name="connsiteY142" fmla="*/ 298427 h 334418"/>
              <a:gd name="connsiteX143" fmla="*/ 194057 w 395871"/>
              <a:gd name="connsiteY143" fmla="*/ 299988 h 334418"/>
              <a:gd name="connsiteX144" fmla="*/ 205915 w 395871"/>
              <a:gd name="connsiteY144" fmla="*/ 300914 h 334418"/>
              <a:gd name="connsiteX145" fmla="*/ 212393 w 395871"/>
              <a:gd name="connsiteY145" fmla="*/ 300914 h 334418"/>
              <a:gd name="connsiteX146" fmla="*/ 220491 w 395871"/>
              <a:gd name="connsiteY146" fmla="*/ 300914 h 334418"/>
              <a:gd name="connsiteX147" fmla="*/ 219161 w 395871"/>
              <a:gd name="connsiteY147" fmla="*/ 295419 h 334418"/>
              <a:gd name="connsiteX148" fmla="*/ 220896 w 395871"/>
              <a:gd name="connsiteY148" fmla="*/ 279280 h 334418"/>
              <a:gd name="connsiteX149" fmla="*/ 242646 w 395871"/>
              <a:gd name="connsiteY149" fmla="*/ 266844 h 334418"/>
              <a:gd name="connsiteX150" fmla="*/ 247563 w 395871"/>
              <a:gd name="connsiteY150" fmla="*/ 266844 h 334418"/>
              <a:gd name="connsiteX151" fmla="*/ 293838 w 395871"/>
              <a:gd name="connsiteY151" fmla="*/ 278412 h 334418"/>
              <a:gd name="connsiteX152" fmla="*/ 323917 w 395871"/>
              <a:gd name="connsiteY152" fmla="*/ 268058 h 334418"/>
              <a:gd name="connsiteX153" fmla="*/ 340808 w 395871"/>
              <a:gd name="connsiteY153" fmla="*/ 256837 h 334418"/>
              <a:gd name="connsiteX154" fmla="*/ 343006 w 395871"/>
              <a:gd name="connsiteY154" fmla="*/ 250184 h 334418"/>
              <a:gd name="connsiteX155" fmla="*/ 343815 w 395871"/>
              <a:gd name="connsiteY155" fmla="*/ 248102 h 334418"/>
              <a:gd name="connsiteX156" fmla="*/ 343815 w 395871"/>
              <a:gd name="connsiteY156" fmla="*/ 246829 h 334418"/>
              <a:gd name="connsiteX157" fmla="*/ 336411 w 395871"/>
              <a:gd name="connsiteY157" fmla="*/ 245557 h 334418"/>
              <a:gd name="connsiteX158" fmla="*/ 332015 w 395871"/>
              <a:gd name="connsiteY158" fmla="*/ 245557 h 334418"/>
              <a:gd name="connsiteX159" fmla="*/ 324090 w 395871"/>
              <a:gd name="connsiteY159" fmla="*/ 240351 h 334418"/>
              <a:gd name="connsiteX160" fmla="*/ 325074 w 395871"/>
              <a:gd name="connsiteY160" fmla="*/ 230517 h 334418"/>
              <a:gd name="connsiteX161" fmla="*/ 322760 w 395871"/>
              <a:gd name="connsiteY161" fmla="*/ 223460 h 334418"/>
              <a:gd name="connsiteX162" fmla="*/ 316976 w 395871"/>
              <a:gd name="connsiteY162" fmla="*/ 217676 h 334418"/>
              <a:gd name="connsiteX163" fmla="*/ 315588 w 395871"/>
              <a:gd name="connsiteY163" fmla="*/ 212412 h 334418"/>
              <a:gd name="connsiteX164" fmla="*/ 319810 w 395871"/>
              <a:gd name="connsiteY164" fmla="*/ 210272 h 334418"/>
              <a:gd name="connsiteX165" fmla="*/ 322876 w 395871"/>
              <a:gd name="connsiteY165" fmla="*/ 209404 h 334418"/>
              <a:gd name="connsiteX166" fmla="*/ 328660 w 395871"/>
              <a:gd name="connsiteY166" fmla="*/ 201480 h 334418"/>
              <a:gd name="connsiteX167" fmla="*/ 328255 w 395871"/>
              <a:gd name="connsiteY167" fmla="*/ 200496 h 334418"/>
              <a:gd name="connsiteX168" fmla="*/ 324727 w 395871"/>
              <a:gd name="connsiteY168" fmla="*/ 185861 h 334418"/>
              <a:gd name="connsiteX169" fmla="*/ 322760 w 395871"/>
              <a:gd name="connsiteY169" fmla="*/ 178804 h 334418"/>
              <a:gd name="connsiteX170" fmla="*/ 319868 w 395871"/>
              <a:gd name="connsiteY170" fmla="*/ 173020 h 334418"/>
              <a:gd name="connsiteX171" fmla="*/ 316229 w 395871"/>
              <a:gd name="connsiteY171" fmla="*/ 168919 h 334418"/>
              <a:gd name="connsiteX172" fmla="*/ 315877 w 395871"/>
              <a:gd name="connsiteY172" fmla="*/ 168913 h 334418"/>
              <a:gd name="connsiteX173" fmla="*/ 309745 w 395871"/>
              <a:gd name="connsiteY173" fmla="*/ 172557 h 334418"/>
              <a:gd name="connsiteX174" fmla="*/ 302977 w 395871"/>
              <a:gd name="connsiteY174" fmla="*/ 174987 h 334418"/>
              <a:gd name="connsiteX175" fmla="*/ 304134 w 395871"/>
              <a:gd name="connsiteY175" fmla="*/ 162377 h 334418"/>
              <a:gd name="connsiteX176" fmla="*/ 315356 w 395871"/>
              <a:gd name="connsiteY176" fmla="*/ 148089 h 334418"/>
              <a:gd name="connsiteX177" fmla="*/ 321661 w 395871"/>
              <a:gd name="connsiteY177" fmla="*/ 140685 h 334418"/>
              <a:gd name="connsiteX178" fmla="*/ 336758 w 395871"/>
              <a:gd name="connsiteY178" fmla="*/ 128307 h 334418"/>
              <a:gd name="connsiteX179" fmla="*/ 340518 w 395871"/>
              <a:gd name="connsiteY179" fmla="*/ 116738 h 334418"/>
              <a:gd name="connsiteX180" fmla="*/ 341675 w 395871"/>
              <a:gd name="connsiteY180" fmla="*/ 108466 h 334418"/>
              <a:gd name="connsiteX181" fmla="*/ 342080 w 395871"/>
              <a:gd name="connsiteY181" fmla="*/ 106557 h 334418"/>
              <a:gd name="connsiteX182" fmla="*/ 352955 w 395871"/>
              <a:gd name="connsiteY182" fmla="*/ 85444 h 334418"/>
              <a:gd name="connsiteX183" fmla="*/ 355442 w 395871"/>
              <a:gd name="connsiteY183" fmla="*/ 81048 h 334418"/>
              <a:gd name="connsiteX184" fmla="*/ 349253 w 395871"/>
              <a:gd name="connsiteY184" fmla="*/ 78271 h 334418"/>
              <a:gd name="connsiteX185" fmla="*/ 348385 w 395871"/>
              <a:gd name="connsiteY185" fmla="*/ 78271 h 334418"/>
              <a:gd name="connsiteX186" fmla="*/ 342601 w 395871"/>
              <a:gd name="connsiteY186" fmla="*/ 76420 h 334418"/>
              <a:gd name="connsiteX187" fmla="*/ 333461 w 395871"/>
              <a:gd name="connsiteY187" fmla="*/ 73412 h 334418"/>
              <a:gd name="connsiteX188" fmla="*/ 315414 w 395871"/>
              <a:gd name="connsiteY188" fmla="*/ 63984 h 334418"/>
              <a:gd name="connsiteX189" fmla="*/ 293838 w 395871"/>
              <a:gd name="connsiteY189" fmla="*/ 59125 h 334418"/>
              <a:gd name="connsiteX190" fmla="*/ 288054 w 395871"/>
              <a:gd name="connsiteY190" fmla="*/ 59530 h 334418"/>
              <a:gd name="connsiteX191" fmla="*/ 286955 w 395871"/>
              <a:gd name="connsiteY191" fmla="*/ 59530 h 334418"/>
              <a:gd name="connsiteX192" fmla="*/ 279955 w 395871"/>
              <a:gd name="connsiteY192" fmla="*/ 54497 h 334418"/>
              <a:gd name="connsiteX193" fmla="*/ 274171 w 395871"/>
              <a:gd name="connsiteY193" fmla="*/ 50390 h 334418"/>
              <a:gd name="connsiteX194" fmla="*/ 272898 w 395871"/>
              <a:gd name="connsiteY194" fmla="*/ 50390 h 334418"/>
              <a:gd name="connsiteX195" fmla="*/ 266477 w 395871"/>
              <a:gd name="connsiteY195" fmla="*/ 44953 h 334418"/>
              <a:gd name="connsiteX196" fmla="*/ 264916 w 395871"/>
              <a:gd name="connsiteY196" fmla="*/ 36450 h 334418"/>
              <a:gd name="connsiteX197" fmla="*/ 264916 w 395871"/>
              <a:gd name="connsiteY197" fmla="*/ 36161 h 334418"/>
              <a:gd name="connsiteX198" fmla="*/ 261098 w 395871"/>
              <a:gd name="connsiteY198" fmla="*/ 38937 h 334418"/>
              <a:gd name="connsiteX199" fmla="*/ 254446 w 395871"/>
              <a:gd name="connsiteY199" fmla="*/ 43507 h 334418"/>
              <a:gd name="connsiteX200" fmla="*/ 244960 w 395871"/>
              <a:gd name="connsiteY200" fmla="*/ 33558 h 334418"/>
              <a:gd name="connsiteX201" fmla="*/ 234316 w 395871"/>
              <a:gd name="connsiteY201" fmla="*/ 26848 h 334418"/>
              <a:gd name="connsiteX202" fmla="*/ 228532 w 395871"/>
              <a:gd name="connsiteY202" fmla="*/ 24071 h 334418"/>
              <a:gd name="connsiteX203" fmla="*/ 222227 w 395871"/>
              <a:gd name="connsiteY203" fmla="*/ 18865 h 334418"/>
              <a:gd name="connsiteX204" fmla="*/ 216442 w 395871"/>
              <a:gd name="connsiteY204" fmla="*/ 14700 h 334418"/>
              <a:gd name="connsiteX205" fmla="*/ 215806 w 395871"/>
              <a:gd name="connsiteY205" fmla="*/ 15163 h 334418"/>
              <a:gd name="connsiteX206" fmla="*/ 213376 w 395871"/>
              <a:gd name="connsiteY206" fmla="*/ 16725 h 334418"/>
              <a:gd name="connsiteX207" fmla="*/ 204064 w 395871"/>
              <a:gd name="connsiteY207" fmla="*/ 4462 h 334418"/>
              <a:gd name="connsiteX208" fmla="*/ 202849 w 395871"/>
              <a:gd name="connsiteY208" fmla="*/ 2900 h 334418"/>
              <a:gd name="connsiteX209" fmla="*/ 201229 w 395871"/>
              <a:gd name="connsiteY209" fmla="*/ 1917 h 334418"/>
              <a:gd name="connsiteX210" fmla="*/ 195445 w 395871"/>
              <a:gd name="connsiteY210" fmla="*/ 2437 h 334418"/>
              <a:gd name="connsiteX211" fmla="*/ 194809 w 395871"/>
              <a:gd name="connsiteY211" fmla="*/ 2437 h 334418"/>
              <a:gd name="connsiteX212" fmla="*/ 184396 w 395871"/>
              <a:gd name="connsiteY212" fmla="*/ 6949 h 334418"/>
              <a:gd name="connsiteX213" fmla="*/ 180116 w 395871"/>
              <a:gd name="connsiteY213" fmla="*/ 24649 h 334418"/>
              <a:gd name="connsiteX214" fmla="*/ 177050 w 395871"/>
              <a:gd name="connsiteY214" fmla="*/ 37144 h 334418"/>
              <a:gd name="connsiteX215" fmla="*/ 150789 w 395871"/>
              <a:gd name="connsiteY215" fmla="*/ 44837 h 334418"/>
              <a:gd name="connsiteX216" fmla="*/ 138237 w 395871"/>
              <a:gd name="connsiteY216" fmla="*/ 55538 h 334418"/>
              <a:gd name="connsiteX217" fmla="*/ 133609 w 395871"/>
              <a:gd name="connsiteY217" fmla="*/ 64041 h 334418"/>
              <a:gd name="connsiteX218" fmla="*/ 126263 w 395871"/>
              <a:gd name="connsiteY218" fmla="*/ 65950 h 334418"/>
              <a:gd name="connsiteX219" fmla="*/ 97341 w 395871"/>
              <a:gd name="connsiteY219" fmla="*/ 51836 h 334418"/>
              <a:gd name="connsiteX220" fmla="*/ 92135 w 395871"/>
              <a:gd name="connsiteY220" fmla="*/ 48944 h 334418"/>
              <a:gd name="connsiteX221" fmla="*/ 81954 w 395871"/>
              <a:gd name="connsiteY221" fmla="*/ 54729 h 334418"/>
              <a:gd name="connsiteX222" fmla="*/ 83458 w 395871"/>
              <a:gd name="connsiteY222" fmla="*/ 61265 h 334418"/>
              <a:gd name="connsiteX223" fmla="*/ 90978 w 395871"/>
              <a:gd name="connsiteY223" fmla="*/ 83072 h 334418"/>
              <a:gd name="connsiteX224" fmla="*/ 86929 w 395871"/>
              <a:gd name="connsiteY224" fmla="*/ 92038 h 334418"/>
              <a:gd name="connsiteX225" fmla="*/ 75649 w 395871"/>
              <a:gd name="connsiteY225" fmla="*/ 91460 h 334418"/>
              <a:gd name="connsiteX226" fmla="*/ 67377 w 395871"/>
              <a:gd name="connsiteY226" fmla="*/ 89551 h 334418"/>
              <a:gd name="connsiteX227" fmla="*/ 63097 w 395871"/>
              <a:gd name="connsiteY227" fmla="*/ 90823 h 334418"/>
              <a:gd name="connsiteX228" fmla="*/ 58759 w 395871"/>
              <a:gd name="connsiteY228" fmla="*/ 92501 h 334418"/>
              <a:gd name="connsiteX229" fmla="*/ 52974 w 395871"/>
              <a:gd name="connsiteY229" fmla="*/ 88568 h 334418"/>
              <a:gd name="connsiteX230" fmla="*/ 45686 w 395871"/>
              <a:gd name="connsiteY230" fmla="*/ 82783 h 334418"/>
              <a:gd name="connsiteX231" fmla="*/ 34869 w 395871"/>
              <a:gd name="connsiteY231" fmla="*/ 83419 h 334418"/>
              <a:gd name="connsiteX232" fmla="*/ 19309 w 395871"/>
              <a:gd name="connsiteY232" fmla="*/ 85617 h 334418"/>
              <a:gd name="connsiteX233" fmla="*/ 2361 w 395871"/>
              <a:gd name="connsiteY233" fmla="*/ 91402 h 334418"/>
              <a:gd name="connsiteX234" fmla="*/ 3286 w 395871"/>
              <a:gd name="connsiteY234" fmla="*/ 96492 h 334418"/>
              <a:gd name="connsiteX235" fmla="*/ 5542 w 395871"/>
              <a:gd name="connsiteY235" fmla="*/ 106673 h 334418"/>
              <a:gd name="connsiteX236" fmla="*/ 6525 w 395871"/>
              <a:gd name="connsiteY236" fmla="*/ 113498 h 334418"/>
              <a:gd name="connsiteX237" fmla="*/ 20234 w 395871"/>
              <a:gd name="connsiteY237" fmla="*/ 118126 h 334418"/>
              <a:gd name="connsiteX238" fmla="*/ 42505 w 395871"/>
              <a:gd name="connsiteY238" fmla="*/ 124894 h 334418"/>
              <a:gd name="connsiteX239" fmla="*/ 57255 w 395871"/>
              <a:gd name="connsiteY239" fmla="*/ 128769 h 334418"/>
              <a:gd name="connsiteX240" fmla="*/ 66510 w 395871"/>
              <a:gd name="connsiteY240" fmla="*/ 131488 h 334418"/>
              <a:gd name="connsiteX241" fmla="*/ 71138 w 395871"/>
              <a:gd name="connsiteY241" fmla="*/ 134380 h 334418"/>
              <a:gd name="connsiteX242" fmla="*/ 75881 w 395871"/>
              <a:gd name="connsiteY242" fmla="*/ 144445 h 334418"/>
              <a:gd name="connsiteX243" fmla="*/ 96415 w 395871"/>
              <a:gd name="connsiteY243" fmla="*/ 166831 h 334418"/>
              <a:gd name="connsiteX244" fmla="*/ 103993 w 395871"/>
              <a:gd name="connsiteY244" fmla="*/ 179499 h 334418"/>
              <a:gd name="connsiteX245" fmla="*/ 104456 w 395871"/>
              <a:gd name="connsiteY245" fmla="*/ 188870 h 334418"/>
              <a:gd name="connsiteX246" fmla="*/ 102894 w 395871"/>
              <a:gd name="connsiteY246" fmla="*/ 206223 h 334418"/>
              <a:gd name="connsiteX247" fmla="*/ 100465 w 395871"/>
              <a:gd name="connsiteY247" fmla="*/ 221841 h 334418"/>
              <a:gd name="connsiteX248" fmla="*/ 87739 w 395871"/>
              <a:gd name="connsiteY248" fmla="*/ 271760 h 334418"/>
              <a:gd name="connsiteX249" fmla="*/ 91903 w 395871"/>
              <a:gd name="connsiteY249" fmla="*/ 273727 h 334418"/>
              <a:gd name="connsiteX250" fmla="*/ 100985 w 395871"/>
              <a:gd name="connsiteY250" fmla="*/ 278412 h 334418"/>
              <a:gd name="connsiteX251" fmla="*/ 112959 w 395871"/>
              <a:gd name="connsiteY251" fmla="*/ 284197 h 334418"/>
              <a:gd name="connsiteX252" fmla="*/ 127478 w 395871"/>
              <a:gd name="connsiteY252" fmla="*/ 291196 h 334418"/>
              <a:gd name="connsiteX253" fmla="*/ 139047 w 395871"/>
              <a:gd name="connsiteY253" fmla="*/ 294146 h 334418"/>
              <a:gd name="connsiteX254" fmla="*/ 147665 w 395871"/>
              <a:gd name="connsiteY254" fmla="*/ 290155 h 334418"/>
              <a:gd name="connsiteX255" fmla="*/ 151136 w 395871"/>
              <a:gd name="connsiteY255" fmla="*/ 286453 h 33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95871" h="334418">
                <a:moveTo>
                  <a:pt x="384827" y="334232"/>
                </a:moveTo>
                <a:lnTo>
                  <a:pt x="384827" y="334232"/>
                </a:lnTo>
                <a:cubicBezTo>
                  <a:pt x="378291" y="334232"/>
                  <a:pt x="372390" y="325266"/>
                  <a:pt x="369903" y="316474"/>
                </a:cubicBezTo>
                <a:cubicBezTo>
                  <a:pt x="367763" y="308896"/>
                  <a:pt x="367705" y="299468"/>
                  <a:pt x="373779" y="295766"/>
                </a:cubicBezTo>
                <a:cubicBezTo>
                  <a:pt x="378088" y="293093"/>
                  <a:pt x="381836" y="289617"/>
                  <a:pt x="384827" y="285527"/>
                </a:cubicBezTo>
                <a:cubicBezTo>
                  <a:pt x="387083" y="282693"/>
                  <a:pt x="388702" y="280784"/>
                  <a:pt x="391421" y="280958"/>
                </a:cubicBezTo>
                <a:cubicBezTo>
                  <a:pt x="394140" y="281131"/>
                  <a:pt x="395586" y="292526"/>
                  <a:pt x="395760" y="299583"/>
                </a:cubicBezTo>
                <a:cubicBezTo>
                  <a:pt x="395760" y="302938"/>
                  <a:pt x="396165" y="332670"/>
                  <a:pt x="385810" y="334290"/>
                </a:cubicBezTo>
                <a:close/>
                <a:moveTo>
                  <a:pt x="391016" y="283271"/>
                </a:moveTo>
                <a:cubicBezTo>
                  <a:pt x="389686" y="283271"/>
                  <a:pt x="388587" y="284602"/>
                  <a:pt x="386620" y="287031"/>
                </a:cubicBezTo>
                <a:cubicBezTo>
                  <a:pt x="383456" y="291283"/>
                  <a:pt x="379534" y="294910"/>
                  <a:pt x="375051" y="297732"/>
                </a:cubicBezTo>
                <a:cubicBezTo>
                  <a:pt x="369961" y="300798"/>
                  <a:pt x="370308" y="309301"/>
                  <a:pt x="372101" y="315838"/>
                </a:cubicBezTo>
                <a:cubicBezTo>
                  <a:pt x="374820" y="325498"/>
                  <a:pt x="380720" y="332670"/>
                  <a:pt x="385579" y="331918"/>
                </a:cubicBezTo>
                <a:cubicBezTo>
                  <a:pt x="388587" y="331571"/>
                  <a:pt x="390380" y="326944"/>
                  <a:pt x="391363" y="323126"/>
                </a:cubicBezTo>
                <a:cubicBezTo>
                  <a:pt x="395413" y="308665"/>
                  <a:pt x="393272" y="284833"/>
                  <a:pt x="391190" y="283271"/>
                </a:cubicBezTo>
                <a:close/>
                <a:moveTo>
                  <a:pt x="205915" y="303401"/>
                </a:moveTo>
                <a:cubicBezTo>
                  <a:pt x="201785" y="303499"/>
                  <a:pt x="197655" y="303170"/>
                  <a:pt x="193594" y="302418"/>
                </a:cubicBezTo>
                <a:cubicBezTo>
                  <a:pt x="191049" y="301897"/>
                  <a:pt x="187809" y="301377"/>
                  <a:pt x="184107" y="300856"/>
                </a:cubicBezTo>
                <a:cubicBezTo>
                  <a:pt x="174852" y="299526"/>
                  <a:pt x="164325" y="298022"/>
                  <a:pt x="160565" y="294262"/>
                </a:cubicBezTo>
                <a:cubicBezTo>
                  <a:pt x="158106" y="291364"/>
                  <a:pt x="154780" y="289333"/>
                  <a:pt x="151078" y="288477"/>
                </a:cubicBezTo>
                <a:cubicBezTo>
                  <a:pt x="150442" y="288477"/>
                  <a:pt x="149748" y="288477"/>
                  <a:pt x="149748" y="290271"/>
                </a:cubicBezTo>
                <a:cubicBezTo>
                  <a:pt x="149748" y="294088"/>
                  <a:pt x="145467" y="296518"/>
                  <a:pt x="138873" y="296518"/>
                </a:cubicBezTo>
                <a:cubicBezTo>
                  <a:pt x="134488" y="296564"/>
                  <a:pt x="130173" y="295424"/>
                  <a:pt x="126379" y="293220"/>
                </a:cubicBezTo>
                <a:cubicBezTo>
                  <a:pt x="121832" y="290594"/>
                  <a:pt x="117095" y="288310"/>
                  <a:pt x="112207" y="286395"/>
                </a:cubicBezTo>
                <a:cubicBezTo>
                  <a:pt x="107926" y="284822"/>
                  <a:pt x="103785" y="282884"/>
                  <a:pt x="99828" y="280610"/>
                </a:cubicBezTo>
                <a:cubicBezTo>
                  <a:pt x="97017" y="278933"/>
                  <a:pt x="94102" y="277446"/>
                  <a:pt x="91094" y="276157"/>
                </a:cubicBezTo>
                <a:cubicBezTo>
                  <a:pt x="88953" y="275115"/>
                  <a:pt x="86640" y="274074"/>
                  <a:pt x="84442" y="272917"/>
                </a:cubicBezTo>
                <a:cubicBezTo>
                  <a:pt x="83979" y="272732"/>
                  <a:pt x="83713" y="272246"/>
                  <a:pt x="83805" y="271760"/>
                </a:cubicBezTo>
                <a:cubicBezTo>
                  <a:pt x="83892" y="271292"/>
                  <a:pt x="84262" y="270922"/>
                  <a:pt x="84731" y="270835"/>
                </a:cubicBezTo>
                <a:lnTo>
                  <a:pt x="85367" y="270835"/>
                </a:lnTo>
                <a:lnTo>
                  <a:pt x="86061" y="270835"/>
                </a:lnTo>
                <a:cubicBezTo>
                  <a:pt x="91846" y="268000"/>
                  <a:pt x="100407" y="233930"/>
                  <a:pt x="98324" y="222824"/>
                </a:cubicBezTo>
                <a:cubicBezTo>
                  <a:pt x="97838" y="217126"/>
                  <a:pt x="98712" y="211400"/>
                  <a:pt x="100869" y="206107"/>
                </a:cubicBezTo>
                <a:cubicBezTo>
                  <a:pt x="103218" y="201208"/>
                  <a:pt x="103790" y="195649"/>
                  <a:pt x="102489" y="190373"/>
                </a:cubicBezTo>
                <a:cubicBezTo>
                  <a:pt x="101199" y="186972"/>
                  <a:pt x="100979" y="183259"/>
                  <a:pt x="101853" y="179730"/>
                </a:cubicBezTo>
                <a:cubicBezTo>
                  <a:pt x="102662" y="174813"/>
                  <a:pt x="103125" y="171574"/>
                  <a:pt x="96068" y="169607"/>
                </a:cubicBezTo>
                <a:cubicBezTo>
                  <a:pt x="84048" y="167253"/>
                  <a:pt x="75013" y="157275"/>
                  <a:pt x="73856" y="145081"/>
                </a:cubicBezTo>
                <a:cubicBezTo>
                  <a:pt x="73567" y="138603"/>
                  <a:pt x="72989" y="138313"/>
                  <a:pt x="70328" y="136925"/>
                </a:cubicBezTo>
                <a:cubicBezTo>
                  <a:pt x="68581" y="136052"/>
                  <a:pt x="66921" y="135022"/>
                  <a:pt x="65353" y="133860"/>
                </a:cubicBezTo>
                <a:cubicBezTo>
                  <a:pt x="63120" y="132118"/>
                  <a:pt x="60303" y="131309"/>
                  <a:pt x="57486" y="131604"/>
                </a:cubicBezTo>
                <a:cubicBezTo>
                  <a:pt x="51950" y="131685"/>
                  <a:pt x="46490" y="130267"/>
                  <a:pt x="41695" y="127497"/>
                </a:cubicBezTo>
                <a:cubicBezTo>
                  <a:pt x="34834" y="124298"/>
                  <a:pt x="27546" y="122094"/>
                  <a:pt x="20061" y="120960"/>
                </a:cubicBezTo>
                <a:cubicBezTo>
                  <a:pt x="12888" y="119514"/>
                  <a:pt x="7277" y="118415"/>
                  <a:pt x="5022" y="115465"/>
                </a:cubicBezTo>
                <a:cubicBezTo>
                  <a:pt x="3315" y="112983"/>
                  <a:pt x="2766" y="109883"/>
                  <a:pt x="3518" y="106962"/>
                </a:cubicBezTo>
                <a:cubicBezTo>
                  <a:pt x="4368" y="104035"/>
                  <a:pt x="3714" y="100877"/>
                  <a:pt x="1782" y="98517"/>
                </a:cubicBezTo>
                <a:cubicBezTo>
                  <a:pt x="-150" y="96509"/>
                  <a:pt x="-653" y="93525"/>
                  <a:pt x="510" y="90997"/>
                </a:cubicBezTo>
                <a:cubicBezTo>
                  <a:pt x="4159" y="85739"/>
                  <a:pt x="10407" y="82916"/>
                  <a:pt x="16764" y="83651"/>
                </a:cubicBezTo>
                <a:lnTo>
                  <a:pt x="19714" y="83651"/>
                </a:lnTo>
                <a:cubicBezTo>
                  <a:pt x="24706" y="84073"/>
                  <a:pt x="29727" y="83361"/>
                  <a:pt x="34406" y="81568"/>
                </a:cubicBezTo>
                <a:cubicBezTo>
                  <a:pt x="38282" y="79868"/>
                  <a:pt x="42643" y="79642"/>
                  <a:pt x="46669" y="80932"/>
                </a:cubicBezTo>
                <a:cubicBezTo>
                  <a:pt x="49949" y="82245"/>
                  <a:pt x="52807" y="84426"/>
                  <a:pt x="54941" y="87237"/>
                </a:cubicBezTo>
                <a:cubicBezTo>
                  <a:pt x="56445" y="88972"/>
                  <a:pt x="57718" y="90361"/>
                  <a:pt x="59164" y="90361"/>
                </a:cubicBezTo>
                <a:cubicBezTo>
                  <a:pt x="60268" y="90233"/>
                  <a:pt x="61310" y="89794"/>
                  <a:pt x="62171" y="89088"/>
                </a:cubicBezTo>
                <a:cubicBezTo>
                  <a:pt x="63855" y="87885"/>
                  <a:pt x="65891" y="87295"/>
                  <a:pt x="67956" y="87411"/>
                </a:cubicBezTo>
                <a:cubicBezTo>
                  <a:pt x="71033" y="87613"/>
                  <a:pt x="74059" y="88296"/>
                  <a:pt x="76922" y="89435"/>
                </a:cubicBezTo>
                <a:cubicBezTo>
                  <a:pt x="80797" y="90708"/>
                  <a:pt x="84326" y="91749"/>
                  <a:pt x="86119" y="90361"/>
                </a:cubicBezTo>
                <a:cubicBezTo>
                  <a:pt x="88115" y="88411"/>
                  <a:pt x="89260" y="85745"/>
                  <a:pt x="89300" y="82957"/>
                </a:cubicBezTo>
                <a:cubicBezTo>
                  <a:pt x="89769" y="75605"/>
                  <a:pt x="87270" y="68374"/>
                  <a:pt x="82359" y="62885"/>
                </a:cubicBezTo>
                <a:cubicBezTo>
                  <a:pt x="79930" y="60577"/>
                  <a:pt x="79172" y="57013"/>
                  <a:pt x="80450" y="53919"/>
                </a:cubicBezTo>
                <a:cubicBezTo>
                  <a:pt x="82996" y="49563"/>
                  <a:pt x="87669" y="46891"/>
                  <a:pt x="92713" y="46920"/>
                </a:cubicBezTo>
                <a:cubicBezTo>
                  <a:pt x="95831" y="46601"/>
                  <a:pt x="98793" y="48366"/>
                  <a:pt x="100002" y="51258"/>
                </a:cubicBezTo>
                <a:cubicBezTo>
                  <a:pt x="102315" y="57679"/>
                  <a:pt x="117355" y="63868"/>
                  <a:pt x="126610" y="63868"/>
                </a:cubicBezTo>
                <a:cubicBezTo>
                  <a:pt x="128640" y="64012"/>
                  <a:pt x="130671" y="63504"/>
                  <a:pt x="132394" y="62422"/>
                </a:cubicBezTo>
                <a:cubicBezTo>
                  <a:pt x="134436" y="60507"/>
                  <a:pt x="135784" y="57962"/>
                  <a:pt x="136212" y="55191"/>
                </a:cubicBezTo>
                <a:cubicBezTo>
                  <a:pt x="137057" y="47880"/>
                  <a:pt x="143437" y="42489"/>
                  <a:pt x="150789" y="42870"/>
                </a:cubicBezTo>
                <a:cubicBezTo>
                  <a:pt x="162358" y="42003"/>
                  <a:pt x="171266" y="40962"/>
                  <a:pt x="175488" y="35929"/>
                </a:cubicBezTo>
                <a:cubicBezTo>
                  <a:pt x="177808" y="32834"/>
                  <a:pt x="178728" y="28913"/>
                  <a:pt x="178034" y="25112"/>
                </a:cubicBezTo>
                <a:cubicBezTo>
                  <a:pt x="176761" y="18234"/>
                  <a:pt x="178531" y="11143"/>
                  <a:pt x="182893" y="5677"/>
                </a:cubicBezTo>
                <a:cubicBezTo>
                  <a:pt x="186143" y="2055"/>
                  <a:pt x="190881" y="135"/>
                  <a:pt x="195734" y="471"/>
                </a:cubicBezTo>
                <a:cubicBezTo>
                  <a:pt x="197678" y="500"/>
                  <a:pt x="199621" y="309"/>
                  <a:pt x="201518" y="-108"/>
                </a:cubicBezTo>
                <a:cubicBezTo>
                  <a:pt x="201964" y="-195"/>
                  <a:pt x="202415" y="-10"/>
                  <a:pt x="202675" y="355"/>
                </a:cubicBezTo>
                <a:cubicBezTo>
                  <a:pt x="202976" y="731"/>
                  <a:pt x="203375" y="1014"/>
                  <a:pt x="203832" y="1165"/>
                </a:cubicBezTo>
                <a:cubicBezTo>
                  <a:pt x="205284" y="1610"/>
                  <a:pt x="206314" y="2894"/>
                  <a:pt x="206435" y="4404"/>
                </a:cubicBezTo>
                <a:cubicBezTo>
                  <a:pt x="206898" y="7990"/>
                  <a:pt x="211525" y="14758"/>
                  <a:pt x="213492" y="14758"/>
                </a:cubicBezTo>
                <a:cubicBezTo>
                  <a:pt x="213492" y="14758"/>
                  <a:pt x="213492" y="14758"/>
                  <a:pt x="213955" y="14353"/>
                </a:cubicBezTo>
                <a:cubicBezTo>
                  <a:pt x="214453" y="13370"/>
                  <a:pt x="215453" y="12745"/>
                  <a:pt x="216558" y="12734"/>
                </a:cubicBezTo>
                <a:cubicBezTo>
                  <a:pt x="218640" y="12734"/>
                  <a:pt x="220954" y="14932"/>
                  <a:pt x="223673" y="17535"/>
                </a:cubicBezTo>
                <a:cubicBezTo>
                  <a:pt x="225379" y="19403"/>
                  <a:pt x="227323" y="21034"/>
                  <a:pt x="229457" y="22394"/>
                </a:cubicBezTo>
                <a:cubicBezTo>
                  <a:pt x="230961" y="23261"/>
                  <a:pt x="232928" y="24129"/>
                  <a:pt x="235242" y="25112"/>
                </a:cubicBezTo>
                <a:cubicBezTo>
                  <a:pt x="241026" y="27773"/>
                  <a:pt x="246811" y="30318"/>
                  <a:pt x="247158" y="33500"/>
                </a:cubicBezTo>
                <a:cubicBezTo>
                  <a:pt x="247505" y="36681"/>
                  <a:pt x="248893" y="42061"/>
                  <a:pt x="251959" y="42061"/>
                </a:cubicBezTo>
                <a:cubicBezTo>
                  <a:pt x="252479" y="42043"/>
                  <a:pt x="252988" y="41928"/>
                  <a:pt x="253462" y="41714"/>
                </a:cubicBezTo>
                <a:cubicBezTo>
                  <a:pt x="255696" y="40545"/>
                  <a:pt x="257772" y="39111"/>
                  <a:pt x="259652" y="37433"/>
                </a:cubicBezTo>
                <a:cubicBezTo>
                  <a:pt x="262255" y="35293"/>
                  <a:pt x="263817" y="34078"/>
                  <a:pt x="265147" y="34078"/>
                </a:cubicBezTo>
                <a:cubicBezTo>
                  <a:pt x="266477" y="34078"/>
                  <a:pt x="267114" y="34078"/>
                  <a:pt x="267114" y="36739"/>
                </a:cubicBezTo>
                <a:cubicBezTo>
                  <a:pt x="267137" y="39365"/>
                  <a:pt x="267605" y="41962"/>
                  <a:pt x="268502" y="44432"/>
                </a:cubicBezTo>
                <a:cubicBezTo>
                  <a:pt x="269717" y="47498"/>
                  <a:pt x="271394" y="48771"/>
                  <a:pt x="273650" y="48366"/>
                </a:cubicBezTo>
                <a:cubicBezTo>
                  <a:pt x="274032" y="48308"/>
                  <a:pt x="274425" y="48308"/>
                  <a:pt x="274807" y="48366"/>
                </a:cubicBezTo>
                <a:cubicBezTo>
                  <a:pt x="277873" y="48366"/>
                  <a:pt x="279839" y="50969"/>
                  <a:pt x="281748" y="53456"/>
                </a:cubicBezTo>
                <a:cubicBezTo>
                  <a:pt x="283657" y="55943"/>
                  <a:pt x="285335" y="58026"/>
                  <a:pt x="287533" y="57563"/>
                </a:cubicBezTo>
                <a:cubicBezTo>
                  <a:pt x="289598" y="57222"/>
                  <a:pt x="291686" y="57065"/>
                  <a:pt x="293780" y="57100"/>
                </a:cubicBezTo>
                <a:cubicBezTo>
                  <a:pt x="300374" y="57100"/>
                  <a:pt x="313736" y="58315"/>
                  <a:pt x="316918" y="62885"/>
                </a:cubicBezTo>
                <a:cubicBezTo>
                  <a:pt x="320846" y="68102"/>
                  <a:pt x="327052" y="71098"/>
                  <a:pt x="333577" y="70925"/>
                </a:cubicBezTo>
                <a:cubicBezTo>
                  <a:pt x="337267" y="70983"/>
                  <a:pt x="340859" y="72151"/>
                  <a:pt x="343873" y="74280"/>
                </a:cubicBezTo>
                <a:cubicBezTo>
                  <a:pt x="345493" y="75263"/>
                  <a:pt x="346765" y="76015"/>
                  <a:pt x="347922" y="75784"/>
                </a:cubicBezTo>
                <a:lnTo>
                  <a:pt x="349137" y="75784"/>
                </a:lnTo>
                <a:cubicBezTo>
                  <a:pt x="351740" y="75784"/>
                  <a:pt x="356310" y="76941"/>
                  <a:pt x="357467" y="80007"/>
                </a:cubicBezTo>
                <a:cubicBezTo>
                  <a:pt x="358219" y="82147"/>
                  <a:pt x="357467" y="84518"/>
                  <a:pt x="354285" y="86890"/>
                </a:cubicBezTo>
                <a:cubicBezTo>
                  <a:pt x="348825" y="91980"/>
                  <a:pt x="345308" y="98812"/>
                  <a:pt x="344336" y="106210"/>
                </a:cubicBezTo>
                <a:lnTo>
                  <a:pt x="343873" y="108119"/>
                </a:lnTo>
                <a:cubicBezTo>
                  <a:pt x="343364" y="110780"/>
                  <a:pt x="343000" y="113464"/>
                  <a:pt x="342774" y="116159"/>
                </a:cubicBezTo>
                <a:cubicBezTo>
                  <a:pt x="342138" y="123101"/>
                  <a:pt x="341502" y="129637"/>
                  <a:pt x="336990" y="129637"/>
                </a:cubicBezTo>
                <a:cubicBezTo>
                  <a:pt x="330951" y="130215"/>
                  <a:pt x="325866" y="134403"/>
                  <a:pt x="324148" y="140222"/>
                </a:cubicBezTo>
                <a:cubicBezTo>
                  <a:pt x="322731" y="143763"/>
                  <a:pt x="320267" y="146788"/>
                  <a:pt x="317091" y="148899"/>
                </a:cubicBezTo>
                <a:cubicBezTo>
                  <a:pt x="312435" y="152283"/>
                  <a:pt x="308779" y="156859"/>
                  <a:pt x="306506" y="162145"/>
                </a:cubicBezTo>
                <a:cubicBezTo>
                  <a:pt x="304076" y="169434"/>
                  <a:pt x="304597" y="172499"/>
                  <a:pt x="305060" y="172789"/>
                </a:cubicBezTo>
                <a:cubicBezTo>
                  <a:pt x="305522" y="173078"/>
                  <a:pt x="306101" y="172789"/>
                  <a:pt x="308241" y="170186"/>
                </a:cubicBezTo>
                <a:cubicBezTo>
                  <a:pt x="310052" y="167589"/>
                  <a:pt x="312944" y="165952"/>
                  <a:pt x="316108" y="165732"/>
                </a:cubicBezTo>
                <a:cubicBezTo>
                  <a:pt x="319463" y="165633"/>
                  <a:pt x="322263" y="168271"/>
                  <a:pt x="322361" y="171620"/>
                </a:cubicBezTo>
                <a:cubicBezTo>
                  <a:pt x="322367" y="171782"/>
                  <a:pt x="322361" y="171938"/>
                  <a:pt x="322355" y="172095"/>
                </a:cubicBezTo>
                <a:cubicBezTo>
                  <a:pt x="322511" y="173824"/>
                  <a:pt x="323338" y="175426"/>
                  <a:pt x="324669" y="176549"/>
                </a:cubicBezTo>
                <a:cubicBezTo>
                  <a:pt x="327376" y="178793"/>
                  <a:pt x="328354" y="182518"/>
                  <a:pt x="327098" y="185804"/>
                </a:cubicBezTo>
                <a:cubicBezTo>
                  <a:pt x="324495" y="193671"/>
                  <a:pt x="328024" y="196794"/>
                  <a:pt x="329644" y="197835"/>
                </a:cubicBezTo>
                <a:cubicBezTo>
                  <a:pt x="330690" y="198431"/>
                  <a:pt x="331280" y="199588"/>
                  <a:pt x="331147" y="200785"/>
                </a:cubicBezTo>
                <a:cubicBezTo>
                  <a:pt x="330332" y="204927"/>
                  <a:pt x="327787" y="208531"/>
                  <a:pt x="324148" y="210677"/>
                </a:cubicBezTo>
                <a:cubicBezTo>
                  <a:pt x="322962" y="211174"/>
                  <a:pt x="321719" y="211527"/>
                  <a:pt x="320446" y="211718"/>
                </a:cubicBezTo>
                <a:cubicBezTo>
                  <a:pt x="319405" y="211718"/>
                  <a:pt x="318075" y="212181"/>
                  <a:pt x="317901" y="212586"/>
                </a:cubicBezTo>
                <a:cubicBezTo>
                  <a:pt x="317728" y="212990"/>
                  <a:pt x="317901" y="213395"/>
                  <a:pt x="319116" y="215709"/>
                </a:cubicBezTo>
                <a:cubicBezTo>
                  <a:pt x="320492" y="217699"/>
                  <a:pt x="322193" y="219440"/>
                  <a:pt x="324148" y="220857"/>
                </a:cubicBezTo>
                <a:cubicBezTo>
                  <a:pt x="327156" y="223287"/>
                  <a:pt x="329933" y="225774"/>
                  <a:pt x="326983" y="230864"/>
                </a:cubicBezTo>
                <a:cubicBezTo>
                  <a:pt x="325352" y="233074"/>
                  <a:pt x="325022" y="235984"/>
                  <a:pt x="326115" y="238500"/>
                </a:cubicBezTo>
                <a:cubicBezTo>
                  <a:pt x="327330" y="240796"/>
                  <a:pt x="329655" y="242289"/>
                  <a:pt x="332246" y="242433"/>
                </a:cubicBezTo>
                <a:cubicBezTo>
                  <a:pt x="333577" y="242433"/>
                  <a:pt x="335023" y="242433"/>
                  <a:pt x="336469" y="242433"/>
                </a:cubicBezTo>
                <a:cubicBezTo>
                  <a:pt x="340692" y="242433"/>
                  <a:pt x="344336" y="242433"/>
                  <a:pt x="345724" y="244747"/>
                </a:cubicBezTo>
                <a:cubicBezTo>
                  <a:pt x="346262" y="245782"/>
                  <a:pt x="346262" y="247009"/>
                  <a:pt x="345724" y="248044"/>
                </a:cubicBezTo>
                <a:lnTo>
                  <a:pt x="344857" y="250184"/>
                </a:lnTo>
                <a:cubicBezTo>
                  <a:pt x="343821" y="252325"/>
                  <a:pt x="343104" y="254604"/>
                  <a:pt x="342716" y="256952"/>
                </a:cubicBezTo>
                <a:cubicBezTo>
                  <a:pt x="342653" y="257409"/>
                  <a:pt x="342341" y="257785"/>
                  <a:pt x="341907" y="257936"/>
                </a:cubicBezTo>
                <a:cubicBezTo>
                  <a:pt x="335439" y="259850"/>
                  <a:pt x="329673" y="263610"/>
                  <a:pt x="325305" y="268752"/>
                </a:cubicBezTo>
                <a:cubicBezTo>
                  <a:pt x="313100" y="281710"/>
                  <a:pt x="301647" y="285296"/>
                  <a:pt x="292392" y="279454"/>
                </a:cubicBezTo>
                <a:cubicBezTo>
                  <a:pt x="278324" y="272900"/>
                  <a:pt x="263117" y="269152"/>
                  <a:pt x="247620" y="268405"/>
                </a:cubicBezTo>
                <a:cubicBezTo>
                  <a:pt x="246093" y="268400"/>
                  <a:pt x="244566" y="268498"/>
                  <a:pt x="243051" y="268695"/>
                </a:cubicBezTo>
                <a:cubicBezTo>
                  <a:pt x="234999" y="269557"/>
                  <a:pt x="227675" y="273750"/>
                  <a:pt x="222863" y="280263"/>
                </a:cubicBezTo>
                <a:cubicBezTo>
                  <a:pt x="220237" y="284556"/>
                  <a:pt x="219687" y="289808"/>
                  <a:pt x="221359" y="294551"/>
                </a:cubicBezTo>
                <a:cubicBezTo>
                  <a:pt x="222053" y="296766"/>
                  <a:pt x="222597" y="299028"/>
                  <a:pt x="222979" y="301319"/>
                </a:cubicBezTo>
                <a:cubicBezTo>
                  <a:pt x="223031" y="301487"/>
                  <a:pt x="223031" y="301672"/>
                  <a:pt x="222979" y="301839"/>
                </a:cubicBezTo>
                <a:cubicBezTo>
                  <a:pt x="223013" y="302447"/>
                  <a:pt x="222545" y="302962"/>
                  <a:pt x="221938" y="302996"/>
                </a:cubicBezTo>
                <a:cubicBezTo>
                  <a:pt x="221920" y="302996"/>
                  <a:pt x="221897" y="302996"/>
                  <a:pt x="221880" y="302996"/>
                </a:cubicBezTo>
                <a:lnTo>
                  <a:pt x="221880" y="302996"/>
                </a:lnTo>
                <a:cubicBezTo>
                  <a:pt x="218756" y="302996"/>
                  <a:pt x="215632" y="302996"/>
                  <a:pt x="212451" y="302996"/>
                </a:cubicBezTo>
                <a:close/>
                <a:moveTo>
                  <a:pt x="151078" y="286453"/>
                </a:moveTo>
                <a:cubicBezTo>
                  <a:pt x="155347" y="287268"/>
                  <a:pt x="159246" y="289438"/>
                  <a:pt x="162184" y="292642"/>
                </a:cubicBezTo>
                <a:cubicBezTo>
                  <a:pt x="165424" y="295939"/>
                  <a:pt x="175951" y="297443"/>
                  <a:pt x="184454" y="298427"/>
                </a:cubicBezTo>
                <a:cubicBezTo>
                  <a:pt x="188041" y="298947"/>
                  <a:pt x="191454" y="299410"/>
                  <a:pt x="194057" y="299988"/>
                </a:cubicBezTo>
                <a:cubicBezTo>
                  <a:pt x="197967" y="300694"/>
                  <a:pt x="201941" y="301006"/>
                  <a:pt x="205915" y="300914"/>
                </a:cubicBezTo>
                <a:lnTo>
                  <a:pt x="212393" y="300914"/>
                </a:lnTo>
                <a:cubicBezTo>
                  <a:pt x="215112" y="300914"/>
                  <a:pt x="217831" y="300914"/>
                  <a:pt x="220491" y="300914"/>
                </a:cubicBezTo>
                <a:cubicBezTo>
                  <a:pt x="220144" y="299063"/>
                  <a:pt x="219699" y="297223"/>
                  <a:pt x="219161" y="295419"/>
                </a:cubicBezTo>
                <a:cubicBezTo>
                  <a:pt x="217275" y="290051"/>
                  <a:pt x="217911" y="284122"/>
                  <a:pt x="220896" y="279280"/>
                </a:cubicBezTo>
                <a:cubicBezTo>
                  <a:pt x="226085" y="272269"/>
                  <a:pt x="233975" y="267758"/>
                  <a:pt x="242646" y="266844"/>
                </a:cubicBezTo>
                <a:cubicBezTo>
                  <a:pt x="244283" y="266745"/>
                  <a:pt x="245925" y="266745"/>
                  <a:pt x="247563" y="266844"/>
                </a:cubicBezTo>
                <a:cubicBezTo>
                  <a:pt x="263597" y="267619"/>
                  <a:pt x="279325" y="271552"/>
                  <a:pt x="293838" y="278412"/>
                </a:cubicBezTo>
                <a:cubicBezTo>
                  <a:pt x="302168" y="283734"/>
                  <a:pt x="312522" y="280148"/>
                  <a:pt x="323917" y="268058"/>
                </a:cubicBezTo>
                <a:cubicBezTo>
                  <a:pt x="328405" y="262835"/>
                  <a:pt x="334254" y="258954"/>
                  <a:pt x="340808" y="256837"/>
                </a:cubicBezTo>
                <a:cubicBezTo>
                  <a:pt x="341288" y="254546"/>
                  <a:pt x="342022" y="252313"/>
                  <a:pt x="343006" y="250184"/>
                </a:cubicBezTo>
                <a:lnTo>
                  <a:pt x="343815" y="248102"/>
                </a:lnTo>
                <a:cubicBezTo>
                  <a:pt x="344024" y="247703"/>
                  <a:pt x="344024" y="247229"/>
                  <a:pt x="343815" y="246829"/>
                </a:cubicBezTo>
                <a:cubicBezTo>
                  <a:pt x="343121" y="245788"/>
                  <a:pt x="339419" y="245672"/>
                  <a:pt x="336411" y="245557"/>
                </a:cubicBezTo>
                <a:lnTo>
                  <a:pt x="332015" y="245557"/>
                </a:lnTo>
                <a:cubicBezTo>
                  <a:pt x="328643" y="245325"/>
                  <a:pt x="325641" y="243353"/>
                  <a:pt x="324090" y="240351"/>
                </a:cubicBezTo>
                <a:cubicBezTo>
                  <a:pt x="322627" y="237135"/>
                  <a:pt x="323003" y="233381"/>
                  <a:pt x="325074" y="230517"/>
                </a:cubicBezTo>
                <a:cubicBezTo>
                  <a:pt x="327272" y="227105"/>
                  <a:pt x="325826" y="226005"/>
                  <a:pt x="322760" y="223460"/>
                </a:cubicBezTo>
                <a:cubicBezTo>
                  <a:pt x="320521" y="221870"/>
                  <a:pt x="318566" y="219915"/>
                  <a:pt x="316976" y="217676"/>
                </a:cubicBezTo>
                <a:cubicBezTo>
                  <a:pt x="315472" y="215304"/>
                  <a:pt x="315067" y="213685"/>
                  <a:pt x="315588" y="212412"/>
                </a:cubicBezTo>
                <a:cubicBezTo>
                  <a:pt x="316108" y="211140"/>
                  <a:pt x="318075" y="210619"/>
                  <a:pt x="319810" y="210272"/>
                </a:cubicBezTo>
                <a:cubicBezTo>
                  <a:pt x="320874" y="210150"/>
                  <a:pt x="321910" y="209855"/>
                  <a:pt x="322876" y="209404"/>
                </a:cubicBezTo>
                <a:cubicBezTo>
                  <a:pt x="325803" y="207663"/>
                  <a:pt x="327891" y="204800"/>
                  <a:pt x="328660" y="201480"/>
                </a:cubicBezTo>
                <a:cubicBezTo>
                  <a:pt x="328660" y="200728"/>
                  <a:pt x="328660" y="200554"/>
                  <a:pt x="328255" y="200496"/>
                </a:cubicBezTo>
                <a:cubicBezTo>
                  <a:pt x="326636" y="199513"/>
                  <a:pt x="321545" y="195522"/>
                  <a:pt x="324727" y="185861"/>
                </a:cubicBezTo>
                <a:cubicBezTo>
                  <a:pt x="325832" y="183340"/>
                  <a:pt x="325010" y="180390"/>
                  <a:pt x="322760" y="178804"/>
                </a:cubicBezTo>
                <a:cubicBezTo>
                  <a:pt x="321082" y="177324"/>
                  <a:pt x="320041" y="175253"/>
                  <a:pt x="319868" y="173020"/>
                </a:cubicBezTo>
                <a:cubicBezTo>
                  <a:pt x="319995" y="170886"/>
                  <a:pt x="318370" y="169046"/>
                  <a:pt x="316229" y="168919"/>
                </a:cubicBezTo>
                <a:cubicBezTo>
                  <a:pt x="316114" y="168913"/>
                  <a:pt x="315992" y="168907"/>
                  <a:pt x="315877" y="168913"/>
                </a:cubicBezTo>
                <a:cubicBezTo>
                  <a:pt x="313395" y="169156"/>
                  <a:pt x="311145" y="170492"/>
                  <a:pt x="309745" y="172557"/>
                </a:cubicBezTo>
                <a:cubicBezTo>
                  <a:pt x="306737" y="176144"/>
                  <a:pt x="304250" y="176780"/>
                  <a:pt x="302977" y="174987"/>
                </a:cubicBezTo>
                <a:cubicBezTo>
                  <a:pt x="301705" y="173194"/>
                  <a:pt x="302977" y="166021"/>
                  <a:pt x="304134" y="162377"/>
                </a:cubicBezTo>
                <a:cubicBezTo>
                  <a:pt x="306558" y="156714"/>
                  <a:pt x="310428" y="151785"/>
                  <a:pt x="315356" y="148089"/>
                </a:cubicBezTo>
                <a:cubicBezTo>
                  <a:pt x="318480" y="145370"/>
                  <a:pt x="321140" y="143057"/>
                  <a:pt x="321661" y="140685"/>
                </a:cubicBezTo>
                <a:cubicBezTo>
                  <a:pt x="323674" y="133854"/>
                  <a:pt x="329661" y="128943"/>
                  <a:pt x="336758" y="128307"/>
                </a:cubicBezTo>
                <a:cubicBezTo>
                  <a:pt x="339477" y="128307"/>
                  <a:pt x="339998" y="122522"/>
                  <a:pt x="340518" y="116738"/>
                </a:cubicBezTo>
                <a:cubicBezTo>
                  <a:pt x="340738" y="113961"/>
                  <a:pt x="341126" y="111196"/>
                  <a:pt x="341675" y="108466"/>
                </a:cubicBezTo>
                <a:lnTo>
                  <a:pt x="342080" y="106557"/>
                </a:lnTo>
                <a:cubicBezTo>
                  <a:pt x="343110" y="98459"/>
                  <a:pt x="346962" y="90985"/>
                  <a:pt x="352955" y="85444"/>
                </a:cubicBezTo>
                <a:cubicBezTo>
                  <a:pt x="354401" y="84229"/>
                  <a:pt x="355963" y="82494"/>
                  <a:pt x="355442" y="81048"/>
                </a:cubicBezTo>
                <a:cubicBezTo>
                  <a:pt x="354922" y="79602"/>
                  <a:pt x="351682" y="78271"/>
                  <a:pt x="349253" y="78271"/>
                </a:cubicBezTo>
                <a:lnTo>
                  <a:pt x="348385" y="78271"/>
                </a:lnTo>
                <a:cubicBezTo>
                  <a:pt x="346297" y="78393"/>
                  <a:pt x="344232" y="77733"/>
                  <a:pt x="342601" y="76420"/>
                </a:cubicBezTo>
                <a:cubicBezTo>
                  <a:pt x="339917" y="74540"/>
                  <a:pt x="336735" y="73493"/>
                  <a:pt x="333461" y="73412"/>
                </a:cubicBezTo>
                <a:cubicBezTo>
                  <a:pt x="326294" y="73297"/>
                  <a:pt x="319602" y="69803"/>
                  <a:pt x="315414" y="63984"/>
                </a:cubicBezTo>
                <a:cubicBezTo>
                  <a:pt x="313100" y="60918"/>
                  <a:pt x="302630" y="59125"/>
                  <a:pt x="293838" y="59125"/>
                </a:cubicBezTo>
                <a:cubicBezTo>
                  <a:pt x="291900" y="59102"/>
                  <a:pt x="289968" y="59240"/>
                  <a:pt x="288054" y="59530"/>
                </a:cubicBezTo>
                <a:lnTo>
                  <a:pt x="286955" y="59530"/>
                </a:lnTo>
                <a:cubicBezTo>
                  <a:pt x="283831" y="59530"/>
                  <a:pt x="281864" y="56984"/>
                  <a:pt x="279955" y="54497"/>
                </a:cubicBezTo>
                <a:cubicBezTo>
                  <a:pt x="278046" y="52010"/>
                  <a:pt x="276369" y="49870"/>
                  <a:pt x="274171" y="50390"/>
                </a:cubicBezTo>
                <a:lnTo>
                  <a:pt x="272898" y="50390"/>
                </a:lnTo>
                <a:cubicBezTo>
                  <a:pt x="270932" y="50390"/>
                  <a:pt x="268271" y="49465"/>
                  <a:pt x="266477" y="44953"/>
                </a:cubicBezTo>
                <a:cubicBezTo>
                  <a:pt x="265460" y="42234"/>
                  <a:pt x="264927" y="39353"/>
                  <a:pt x="264916" y="36450"/>
                </a:cubicBezTo>
                <a:lnTo>
                  <a:pt x="264916" y="36161"/>
                </a:lnTo>
                <a:cubicBezTo>
                  <a:pt x="263556" y="36959"/>
                  <a:pt x="262278" y="37890"/>
                  <a:pt x="261098" y="38937"/>
                </a:cubicBezTo>
                <a:cubicBezTo>
                  <a:pt x="259050" y="40696"/>
                  <a:pt x="256818" y="42223"/>
                  <a:pt x="254446" y="43507"/>
                </a:cubicBezTo>
                <a:cubicBezTo>
                  <a:pt x="249876" y="45531"/>
                  <a:pt x="246348" y="41945"/>
                  <a:pt x="244960" y="33558"/>
                </a:cubicBezTo>
                <a:cubicBezTo>
                  <a:pt x="244612" y="31591"/>
                  <a:pt x="238654" y="28872"/>
                  <a:pt x="234316" y="26848"/>
                </a:cubicBezTo>
                <a:cubicBezTo>
                  <a:pt x="232332" y="26038"/>
                  <a:pt x="230400" y="25112"/>
                  <a:pt x="228532" y="24071"/>
                </a:cubicBezTo>
                <a:cubicBezTo>
                  <a:pt x="226212" y="22613"/>
                  <a:pt x="224095" y="20867"/>
                  <a:pt x="222227" y="18865"/>
                </a:cubicBezTo>
                <a:cubicBezTo>
                  <a:pt x="220202" y="16898"/>
                  <a:pt x="217888" y="14700"/>
                  <a:pt x="216442" y="14700"/>
                </a:cubicBezTo>
                <a:cubicBezTo>
                  <a:pt x="216442" y="14700"/>
                  <a:pt x="216095" y="14700"/>
                  <a:pt x="215806" y="15163"/>
                </a:cubicBezTo>
                <a:cubicBezTo>
                  <a:pt x="215361" y="16106"/>
                  <a:pt x="214418" y="16713"/>
                  <a:pt x="213376" y="16725"/>
                </a:cubicBezTo>
                <a:cubicBezTo>
                  <a:pt x="209559" y="16725"/>
                  <a:pt x="204584" y="8280"/>
                  <a:pt x="204064" y="4462"/>
                </a:cubicBezTo>
                <a:cubicBezTo>
                  <a:pt x="204081" y="3716"/>
                  <a:pt x="203572" y="3068"/>
                  <a:pt x="202849" y="2900"/>
                </a:cubicBezTo>
                <a:cubicBezTo>
                  <a:pt x="202247" y="2692"/>
                  <a:pt x="201692" y="2356"/>
                  <a:pt x="201229" y="1917"/>
                </a:cubicBezTo>
                <a:cubicBezTo>
                  <a:pt x="199326" y="2293"/>
                  <a:pt x="197388" y="2472"/>
                  <a:pt x="195445" y="2437"/>
                </a:cubicBezTo>
                <a:lnTo>
                  <a:pt x="194809" y="2437"/>
                </a:lnTo>
                <a:cubicBezTo>
                  <a:pt x="190852" y="2379"/>
                  <a:pt x="187063" y="4022"/>
                  <a:pt x="184396" y="6949"/>
                </a:cubicBezTo>
                <a:cubicBezTo>
                  <a:pt x="180504" y="11964"/>
                  <a:pt x="178948" y="18408"/>
                  <a:pt x="180116" y="24649"/>
                </a:cubicBezTo>
                <a:cubicBezTo>
                  <a:pt x="180885" y="29057"/>
                  <a:pt x="179775" y="33592"/>
                  <a:pt x="177050" y="37144"/>
                </a:cubicBezTo>
                <a:cubicBezTo>
                  <a:pt x="172249" y="42928"/>
                  <a:pt x="162705" y="43969"/>
                  <a:pt x="150789" y="44837"/>
                </a:cubicBezTo>
                <a:cubicBezTo>
                  <a:pt x="144414" y="44467"/>
                  <a:pt x="138879" y="49181"/>
                  <a:pt x="138237" y="55538"/>
                </a:cubicBezTo>
                <a:cubicBezTo>
                  <a:pt x="137676" y="58807"/>
                  <a:pt x="136050" y="61797"/>
                  <a:pt x="133609" y="64041"/>
                </a:cubicBezTo>
                <a:cubicBezTo>
                  <a:pt x="131423" y="65441"/>
                  <a:pt x="128854" y="66106"/>
                  <a:pt x="126263" y="65950"/>
                </a:cubicBezTo>
                <a:cubicBezTo>
                  <a:pt x="115851" y="65950"/>
                  <a:pt x="100291" y="59298"/>
                  <a:pt x="97341" y="51836"/>
                </a:cubicBezTo>
                <a:cubicBezTo>
                  <a:pt x="96398" y="49864"/>
                  <a:pt x="94310" y="48707"/>
                  <a:pt x="92135" y="48944"/>
                </a:cubicBezTo>
                <a:cubicBezTo>
                  <a:pt x="87941" y="48886"/>
                  <a:pt x="84048" y="51096"/>
                  <a:pt x="81954" y="54729"/>
                </a:cubicBezTo>
                <a:cubicBezTo>
                  <a:pt x="81011" y="57008"/>
                  <a:pt x="81613" y="59628"/>
                  <a:pt x="83458" y="61265"/>
                </a:cubicBezTo>
                <a:cubicBezTo>
                  <a:pt x="88809" y="67217"/>
                  <a:pt x="91522" y="75084"/>
                  <a:pt x="90978" y="83072"/>
                </a:cubicBezTo>
                <a:cubicBezTo>
                  <a:pt x="90886" y="86485"/>
                  <a:pt x="89428" y="89713"/>
                  <a:pt x="86929" y="92038"/>
                </a:cubicBezTo>
                <a:cubicBezTo>
                  <a:pt x="84384" y="94005"/>
                  <a:pt x="80103" y="92964"/>
                  <a:pt x="75649" y="91460"/>
                </a:cubicBezTo>
                <a:cubicBezTo>
                  <a:pt x="73012" y="90378"/>
                  <a:pt x="70218" y="89736"/>
                  <a:pt x="67377" y="89551"/>
                </a:cubicBezTo>
                <a:cubicBezTo>
                  <a:pt x="65851" y="89493"/>
                  <a:pt x="64347" y="89938"/>
                  <a:pt x="63097" y="90823"/>
                </a:cubicBezTo>
                <a:cubicBezTo>
                  <a:pt x="61865" y="91830"/>
                  <a:pt x="60344" y="92414"/>
                  <a:pt x="58759" y="92501"/>
                </a:cubicBezTo>
                <a:cubicBezTo>
                  <a:pt x="56271" y="92501"/>
                  <a:pt x="54594" y="90592"/>
                  <a:pt x="52974" y="88568"/>
                </a:cubicBezTo>
                <a:cubicBezTo>
                  <a:pt x="51118" y="86011"/>
                  <a:pt x="48595" y="84009"/>
                  <a:pt x="45686" y="82783"/>
                </a:cubicBezTo>
                <a:cubicBezTo>
                  <a:pt x="42129" y="81632"/>
                  <a:pt x="38270" y="81858"/>
                  <a:pt x="34869" y="83419"/>
                </a:cubicBezTo>
                <a:cubicBezTo>
                  <a:pt x="29929" y="85363"/>
                  <a:pt x="24596" y="86115"/>
                  <a:pt x="19309" y="85617"/>
                </a:cubicBezTo>
                <a:cubicBezTo>
                  <a:pt x="9938" y="84865"/>
                  <a:pt x="3922" y="88163"/>
                  <a:pt x="2361" y="91402"/>
                </a:cubicBezTo>
                <a:cubicBezTo>
                  <a:pt x="1568" y="93126"/>
                  <a:pt x="1938" y="95156"/>
                  <a:pt x="3286" y="96492"/>
                </a:cubicBezTo>
                <a:cubicBezTo>
                  <a:pt x="5611" y="99332"/>
                  <a:pt x="6450" y="103115"/>
                  <a:pt x="5542" y="106673"/>
                </a:cubicBezTo>
                <a:cubicBezTo>
                  <a:pt x="4859" y="108981"/>
                  <a:pt x="5218" y="111474"/>
                  <a:pt x="6525" y="113498"/>
                </a:cubicBezTo>
                <a:cubicBezTo>
                  <a:pt x="10615" y="116205"/>
                  <a:pt x="15341" y="117802"/>
                  <a:pt x="20234" y="118126"/>
                </a:cubicBezTo>
                <a:cubicBezTo>
                  <a:pt x="27934" y="119352"/>
                  <a:pt x="35424" y="121626"/>
                  <a:pt x="42505" y="124894"/>
                </a:cubicBezTo>
                <a:cubicBezTo>
                  <a:pt x="46987" y="127479"/>
                  <a:pt x="52078" y="128821"/>
                  <a:pt x="57255" y="128769"/>
                </a:cubicBezTo>
                <a:cubicBezTo>
                  <a:pt x="60575" y="128457"/>
                  <a:pt x="63884" y="129429"/>
                  <a:pt x="66510" y="131488"/>
                </a:cubicBezTo>
                <a:cubicBezTo>
                  <a:pt x="67962" y="132587"/>
                  <a:pt x="69512" y="133559"/>
                  <a:pt x="71138" y="134380"/>
                </a:cubicBezTo>
                <a:cubicBezTo>
                  <a:pt x="74492" y="136116"/>
                  <a:pt x="75534" y="136983"/>
                  <a:pt x="75881" y="144445"/>
                </a:cubicBezTo>
                <a:cubicBezTo>
                  <a:pt x="77032" y="155621"/>
                  <a:pt x="85379" y="164719"/>
                  <a:pt x="96415" y="166831"/>
                </a:cubicBezTo>
                <a:cubicBezTo>
                  <a:pt x="105555" y="169318"/>
                  <a:pt x="104745" y="174524"/>
                  <a:pt x="103993" y="179499"/>
                </a:cubicBezTo>
                <a:cubicBezTo>
                  <a:pt x="103166" y="182593"/>
                  <a:pt x="103328" y="185873"/>
                  <a:pt x="104456" y="188870"/>
                </a:cubicBezTo>
                <a:cubicBezTo>
                  <a:pt x="106006" y="194654"/>
                  <a:pt x="105451" y="200803"/>
                  <a:pt x="102894" y="206223"/>
                </a:cubicBezTo>
                <a:cubicBezTo>
                  <a:pt x="100875" y="211168"/>
                  <a:pt x="100048" y="216519"/>
                  <a:pt x="100465" y="221841"/>
                </a:cubicBezTo>
                <a:cubicBezTo>
                  <a:pt x="102489" y="232658"/>
                  <a:pt x="94680" y="266149"/>
                  <a:pt x="87739" y="271760"/>
                </a:cubicBezTo>
                <a:lnTo>
                  <a:pt x="91903" y="273727"/>
                </a:lnTo>
                <a:cubicBezTo>
                  <a:pt x="95027" y="275092"/>
                  <a:pt x="98064" y="276654"/>
                  <a:pt x="100985" y="278412"/>
                </a:cubicBezTo>
                <a:cubicBezTo>
                  <a:pt x="104820" y="280651"/>
                  <a:pt x="108823" y="282589"/>
                  <a:pt x="112959" y="284197"/>
                </a:cubicBezTo>
                <a:cubicBezTo>
                  <a:pt x="117962" y="286169"/>
                  <a:pt x="122815" y="288506"/>
                  <a:pt x="127478" y="291196"/>
                </a:cubicBezTo>
                <a:cubicBezTo>
                  <a:pt x="130989" y="293220"/>
                  <a:pt x="134992" y="294244"/>
                  <a:pt x="139047" y="294146"/>
                </a:cubicBezTo>
                <a:cubicBezTo>
                  <a:pt x="143211" y="294146"/>
                  <a:pt x="147665" y="292931"/>
                  <a:pt x="147665" y="290155"/>
                </a:cubicBezTo>
                <a:cubicBezTo>
                  <a:pt x="147665" y="287378"/>
                  <a:pt x="148880" y="286453"/>
                  <a:pt x="151136" y="28645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0" name="Forma libre: forma 369">
            <a:extLst>
              <a:ext uri="{FF2B5EF4-FFF2-40B4-BE49-F238E27FC236}">
                <a16:creationId xmlns:a16="http://schemas.microsoft.com/office/drawing/2014/main" id="{909A83A7-6021-31EE-CEDA-6E3283ACC88B}"/>
              </a:ext>
            </a:extLst>
          </p:cNvPr>
          <p:cNvSpPr/>
          <p:nvPr/>
        </p:nvSpPr>
        <p:spPr>
          <a:xfrm>
            <a:off x="3705330" y="4082062"/>
            <a:ext cx="65340" cy="36933"/>
          </a:xfrm>
          <a:custGeom>
            <a:avLst/>
            <a:gdLst>
              <a:gd name="connsiteX0" fmla="*/ 54040 w 65340"/>
              <a:gd name="connsiteY0" fmla="*/ 36805 h 36933"/>
              <a:gd name="connsiteX1" fmla="*/ 302 w 65340"/>
              <a:gd name="connsiteY1" fmla="*/ 18410 h 36933"/>
              <a:gd name="connsiteX2" fmla="*/ -102 w 65340"/>
              <a:gd name="connsiteY2" fmla="*/ 17600 h 36933"/>
              <a:gd name="connsiteX3" fmla="*/ 245 w 65340"/>
              <a:gd name="connsiteY3" fmla="*/ 16732 h 36933"/>
              <a:gd name="connsiteX4" fmla="*/ 20143 w 65340"/>
              <a:gd name="connsiteY4" fmla="*/ 247 h 36933"/>
              <a:gd name="connsiteX5" fmla="*/ 20432 w 65340"/>
              <a:gd name="connsiteY5" fmla="*/ 247 h 36933"/>
              <a:gd name="connsiteX6" fmla="*/ 20895 w 65340"/>
              <a:gd name="connsiteY6" fmla="*/ -42 h 36933"/>
              <a:gd name="connsiteX7" fmla="*/ 21821 w 65340"/>
              <a:gd name="connsiteY7" fmla="*/ -42 h 36933"/>
              <a:gd name="connsiteX8" fmla="*/ 33910 w 65340"/>
              <a:gd name="connsiteY8" fmla="*/ 5742 h 36933"/>
              <a:gd name="connsiteX9" fmla="*/ 51263 w 65340"/>
              <a:gd name="connsiteY9" fmla="*/ 10196 h 36933"/>
              <a:gd name="connsiteX10" fmla="*/ 53577 w 65340"/>
              <a:gd name="connsiteY10" fmla="*/ 10196 h 36933"/>
              <a:gd name="connsiteX11" fmla="*/ 64047 w 65340"/>
              <a:gd name="connsiteY11" fmla="*/ 13609 h 36933"/>
              <a:gd name="connsiteX12" fmla="*/ 64047 w 65340"/>
              <a:gd name="connsiteY12" fmla="*/ 32293 h 36933"/>
              <a:gd name="connsiteX13" fmla="*/ 63642 w 65340"/>
              <a:gd name="connsiteY13" fmla="*/ 32987 h 36933"/>
              <a:gd name="connsiteX14" fmla="*/ 54040 w 65340"/>
              <a:gd name="connsiteY14" fmla="*/ 36805 h 36933"/>
              <a:gd name="connsiteX15" fmla="*/ 2732 w 65340"/>
              <a:gd name="connsiteY15" fmla="*/ 17427 h 36933"/>
              <a:gd name="connsiteX16" fmla="*/ 54040 w 65340"/>
              <a:gd name="connsiteY16" fmla="*/ 34780 h 36933"/>
              <a:gd name="connsiteX17" fmla="*/ 61791 w 65340"/>
              <a:gd name="connsiteY17" fmla="*/ 31656 h 36933"/>
              <a:gd name="connsiteX18" fmla="*/ 62196 w 65340"/>
              <a:gd name="connsiteY18" fmla="*/ 15113 h 36933"/>
              <a:gd name="connsiteX19" fmla="*/ 53577 w 65340"/>
              <a:gd name="connsiteY19" fmla="*/ 12626 h 36933"/>
              <a:gd name="connsiteX20" fmla="*/ 51263 w 65340"/>
              <a:gd name="connsiteY20" fmla="*/ 12626 h 36933"/>
              <a:gd name="connsiteX21" fmla="*/ 32637 w 65340"/>
              <a:gd name="connsiteY21" fmla="*/ 7767 h 36933"/>
              <a:gd name="connsiteX22" fmla="*/ 21531 w 65340"/>
              <a:gd name="connsiteY22" fmla="*/ 2271 h 36933"/>
              <a:gd name="connsiteX23" fmla="*/ 20837 w 65340"/>
              <a:gd name="connsiteY23" fmla="*/ 2618 h 36933"/>
              <a:gd name="connsiteX24" fmla="*/ 2732 w 65340"/>
              <a:gd name="connsiteY24" fmla="*/ 17427 h 3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340" h="36933">
                <a:moveTo>
                  <a:pt x="54040" y="36805"/>
                </a:moveTo>
                <a:cubicBezTo>
                  <a:pt x="44727" y="36805"/>
                  <a:pt x="10020" y="26103"/>
                  <a:pt x="302" y="18410"/>
                </a:cubicBezTo>
                <a:cubicBezTo>
                  <a:pt x="42" y="18219"/>
                  <a:pt x="-108" y="17918"/>
                  <a:pt x="-102" y="17600"/>
                </a:cubicBezTo>
                <a:cubicBezTo>
                  <a:pt x="-143" y="17271"/>
                  <a:pt x="-10" y="16946"/>
                  <a:pt x="245" y="16732"/>
                </a:cubicBezTo>
                <a:cubicBezTo>
                  <a:pt x="14764" y="2908"/>
                  <a:pt x="18524" y="710"/>
                  <a:pt x="20143" y="247"/>
                </a:cubicBezTo>
                <a:lnTo>
                  <a:pt x="20432" y="247"/>
                </a:lnTo>
                <a:lnTo>
                  <a:pt x="20895" y="-42"/>
                </a:lnTo>
                <a:cubicBezTo>
                  <a:pt x="21190" y="-158"/>
                  <a:pt x="21526" y="-158"/>
                  <a:pt x="21821" y="-42"/>
                </a:cubicBezTo>
                <a:cubicBezTo>
                  <a:pt x="26072" y="1381"/>
                  <a:pt x="30133" y="3324"/>
                  <a:pt x="33910" y="5742"/>
                </a:cubicBezTo>
                <a:cubicBezTo>
                  <a:pt x="39070" y="9051"/>
                  <a:pt x="45149" y="10613"/>
                  <a:pt x="51263" y="10196"/>
                </a:cubicBezTo>
                <a:lnTo>
                  <a:pt x="53577" y="10196"/>
                </a:lnTo>
                <a:cubicBezTo>
                  <a:pt x="57973" y="10196"/>
                  <a:pt x="61733" y="10196"/>
                  <a:pt x="64047" y="13609"/>
                </a:cubicBezTo>
                <a:cubicBezTo>
                  <a:pt x="65030" y="14997"/>
                  <a:pt x="66129" y="18410"/>
                  <a:pt x="64047" y="32293"/>
                </a:cubicBezTo>
                <a:cubicBezTo>
                  <a:pt x="64006" y="32564"/>
                  <a:pt x="63862" y="32813"/>
                  <a:pt x="63642" y="32987"/>
                </a:cubicBezTo>
                <a:cubicBezTo>
                  <a:pt x="61051" y="35439"/>
                  <a:pt x="57609" y="36810"/>
                  <a:pt x="54040" y="36805"/>
                </a:cubicBezTo>
                <a:close/>
                <a:moveTo>
                  <a:pt x="2732" y="17427"/>
                </a:moveTo>
                <a:cubicBezTo>
                  <a:pt x="18697" y="26149"/>
                  <a:pt x="36062" y="32021"/>
                  <a:pt x="54040" y="34780"/>
                </a:cubicBezTo>
                <a:cubicBezTo>
                  <a:pt x="56932" y="34786"/>
                  <a:pt x="59714" y="33670"/>
                  <a:pt x="61791" y="31656"/>
                </a:cubicBezTo>
                <a:cubicBezTo>
                  <a:pt x="63700" y="19393"/>
                  <a:pt x="62890" y="16038"/>
                  <a:pt x="62196" y="15113"/>
                </a:cubicBezTo>
                <a:cubicBezTo>
                  <a:pt x="60518" y="12799"/>
                  <a:pt x="57568" y="12626"/>
                  <a:pt x="53577" y="12626"/>
                </a:cubicBezTo>
                <a:lnTo>
                  <a:pt x="51263" y="12626"/>
                </a:lnTo>
                <a:cubicBezTo>
                  <a:pt x="44692" y="13048"/>
                  <a:pt x="38162" y="11341"/>
                  <a:pt x="32637" y="7767"/>
                </a:cubicBezTo>
                <a:cubicBezTo>
                  <a:pt x="29161" y="5511"/>
                  <a:pt x="25436" y="3666"/>
                  <a:pt x="21531" y="2271"/>
                </a:cubicBezTo>
                <a:lnTo>
                  <a:pt x="20837" y="2618"/>
                </a:lnTo>
                <a:cubicBezTo>
                  <a:pt x="19333" y="2850"/>
                  <a:pt x="15111" y="5800"/>
                  <a:pt x="2732" y="1742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1" name="Forma libre: forma 370">
            <a:extLst>
              <a:ext uri="{FF2B5EF4-FFF2-40B4-BE49-F238E27FC236}">
                <a16:creationId xmlns:a16="http://schemas.microsoft.com/office/drawing/2014/main" id="{0D8D6A6B-C4F9-01D8-44DE-3FD6A2C25285}"/>
              </a:ext>
            </a:extLst>
          </p:cNvPr>
          <p:cNvSpPr/>
          <p:nvPr/>
        </p:nvSpPr>
        <p:spPr>
          <a:xfrm>
            <a:off x="3725741" y="4035714"/>
            <a:ext cx="169557" cy="90512"/>
          </a:xfrm>
          <a:custGeom>
            <a:avLst/>
            <a:gdLst>
              <a:gd name="connsiteX0" fmla="*/ 53064 w 169557"/>
              <a:gd name="connsiteY0" fmla="*/ 89805 h 90512"/>
              <a:gd name="connsiteX1" fmla="*/ 52312 w 169557"/>
              <a:gd name="connsiteY1" fmla="*/ 89516 h 90512"/>
              <a:gd name="connsiteX2" fmla="*/ 51907 w 169557"/>
              <a:gd name="connsiteY2" fmla="*/ 88533 h 90512"/>
              <a:gd name="connsiteX3" fmla="*/ 51907 w 169557"/>
              <a:gd name="connsiteY3" fmla="*/ 88012 h 90512"/>
              <a:gd name="connsiteX4" fmla="*/ 49825 w 169557"/>
              <a:gd name="connsiteY4" fmla="*/ 79277 h 90512"/>
              <a:gd name="connsiteX5" fmla="*/ 43115 w 169557"/>
              <a:gd name="connsiteY5" fmla="*/ 79277 h 90512"/>
              <a:gd name="connsiteX6" fmla="*/ 41843 w 169557"/>
              <a:gd name="connsiteY6" fmla="*/ 79277 h 90512"/>
              <a:gd name="connsiteX7" fmla="*/ 41264 w 169557"/>
              <a:gd name="connsiteY7" fmla="*/ 78121 h 90512"/>
              <a:gd name="connsiteX8" fmla="*/ 41727 w 169557"/>
              <a:gd name="connsiteY8" fmla="*/ 61114 h 90512"/>
              <a:gd name="connsiteX9" fmla="*/ 33108 w 169557"/>
              <a:gd name="connsiteY9" fmla="*/ 58627 h 90512"/>
              <a:gd name="connsiteX10" fmla="*/ 30794 w 169557"/>
              <a:gd name="connsiteY10" fmla="*/ 58627 h 90512"/>
              <a:gd name="connsiteX11" fmla="*/ 12168 w 169557"/>
              <a:gd name="connsiteY11" fmla="*/ 53768 h 90512"/>
              <a:gd name="connsiteX12" fmla="*/ 600 w 169557"/>
              <a:gd name="connsiteY12" fmla="*/ 47984 h 90512"/>
              <a:gd name="connsiteX13" fmla="*/ -95 w 169557"/>
              <a:gd name="connsiteY13" fmla="*/ 47058 h 90512"/>
              <a:gd name="connsiteX14" fmla="*/ 426 w 169557"/>
              <a:gd name="connsiteY14" fmla="*/ 46017 h 90512"/>
              <a:gd name="connsiteX15" fmla="*/ 2740 w 169557"/>
              <a:gd name="connsiteY15" fmla="*/ 41100 h 90512"/>
              <a:gd name="connsiteX16" fmla="*/ 12747 w 169557"/>
              <a:gd name="connsiteY16" fmla="*/ 25019 h 90512"/>
              <a:gd name="connsiteX17" fmla="*/ 27324 w 169557"/>
              <a:gd name="connsiteY17" fmla="*/ 9922 h 90512"/>
              <a:gd name="connsiteX18" fmla="*/ 27671 w 169557"/>
              <a:gd name="connsiteY18" fmla="*/ 9922 h 90512"/>
              <a:gd name="connsiteX19" fmla="*/ 28191 w 169557"/>
              <a:gd name="connsiteY19" fmla="*/ 9922 h 90512"/>
              <a:gd name="connsiteX20" fmla="*/ 44214 w 169557"/>
              <a:gd name="connsiteY20" fmla="*/ 5989 h 90512"/>
              <a:gd name="connsiteX21" fmla="*/ 57287 w 169557"/>
              <a:gd name="connsiteY21" fmla="*/ 7204 h 90512"/>
              <a:gd name="connsiteX22" fmla="*/ 69492 w 169557"/>
              <a:gd name="connsiteY22" fmla="*/ 8418 h 90512"/>
              <a:gd name="connsiteX23" fmla="*/ 79268 w 169557"/>
              <a:gd name="connsiteY23" fmla="*/ 6799 h 90512"/>
              <a:gd name="connsiteX24" fmla="*/ 113512 w 169557"/>
              <a:gd name="connsiteY24" fmla="*/ -27 h 90512"/>
              <a:gd name="connsiteX25" fmla="*/ 138616 w 169557"/>
              <a:gd name="connsiteY25" fmla="*/ 8245 h 90512"/>
              <a:gd name="connsiteX26" fmla="*/ 155969 w 169557"/>
              <a:gd name="connsiteY26" fmla="*/ 17673 h 90512"/>
              <a:gd name="connsiteX27" fmla="*/ 169447 w 169557"/>
              <a:gd name="connsiteY27" fmla="*/ 30515 h 90512"/>
              <a:gd name="connsiteX28" fmla="*/ 169100 w 169557"/>
              <a:gd name="connsiteY28" fmla="*/ 31324 h 90512"/>
              <a:gd name="connsiteX29" fmla="*/ 168290 w 169557"/>
              <a:gd name="connsiteY29" fmla="*/ 31672 h 90512"/>
              <a:gd name="connsiteX30" fmla="*/ 167538 w 169557"/>
              <a:gd name="connsiteY30" fmla="*/ 31672 h 90512"/>
              <a:gd name="connsiteX31" fmla="*/ 144111 w 169557"/>
              <a:gd name="connsiteY31" fmla="*/ 40753 h 90512"/>
              <a:gd name="connsiteX32" fmla="*/ 136476 w 169557"/>
              <a:gd name="connsiteY32" fmla="*/ 44571 h 90512"/>
              <a:gd name="connsiteX33" fmla="*/ 130691 w 169557"/>
              <a:gd name="connsiteY33" fmla="*/ 44571 h 90512"/>
              <a:gd name="connsiteX34" fmla="*/ 123345 w 169557"/>
              <a:gd name="connsiteY34" fmla="*/ 44166 h 90512"/>
              <a:gd name="connsiteX35" fmla="*/ 111198 w 169557"/>
              <a:gd name="connsiteY35" fmla="*/ 49950 h 90512"/>
              <a:gd name="connsiteX36" fmla="*/ 80367 w 169557"/>
              <a:gd name="connsiteY36" fmla="*/ 63660 h 90512"/>
              <a:gd name="connsiteX37" fmla="*/ 72731 w 169557"/>
              <a:gd name="connsiteY37" fmla="*/ 66725 h 90512"/>
              <a:gd name="connsiteX38" fmla="*/ 72326 w 169557"/>
              <a:gd name="connsiteY38" fmla="*/ 75865 h 90512"/>
              <a:gd name="connsiteX39" fmla="*/ 72326 w 169557"/>
              <a:gd name="connsiteY39" fmla="*/ 79971 h 90512"/>
              <a:gd name="connsiteX40" fmla="*/ 63823 w 169557"/>
              <a:gd name="connsiteY40" fmla="*/ 88012 h 90512"/>
              <a:gd name="connsiteX41" fmla="*/ 63361 w 169557"/>
              <a:gd name="connsiteY41" fmla="*/ 88012 h 90512"/>
              <a:gd name="connsiteX42" fmla="*/ 53238 w 169557"/>
              <a:gd name="connsiteY42" fmla="*/ 90384 h 90512"/>
              <a:gd name="connsiteX43" fmla="*/ 46412 w 169557"/>
              <a:gd name="connsiteY43" fmla="*/ 75286 h 90512"/>
              <a:gd name="connsiteX44" fmla="*/ 51329 w 169557"/>
              <a:gd name="connsiteY44" fmla="*/ 77542 h 90512"/>
              <a:gd name="connsiteX45" fmla="*/ 54395 w 169557"/>
              <a:gd name="connsiteY45" fmla="*/ 87202 h 90512"/>
              <a:gd name="connsiteX46" fmla="*/ 62666 w 169557"/>
              <a:gd name="connsiteY46" fmla="*/ 85235 h 90512"/>
              <a:gd name="connsiteX47" fmla="*/ 70360 w 169557"/>
              <a:gd name="connsiteY47" fmla="*/ 78178 h 90512"/>
              <a:gd name="connsiteX48" fmla="*/ 69955 w 169557"/>
              <a:gd name="connsiteY48" fmla="*/ 75576 h 90512"/>
              <a:gd name="connsiteX49" fmla="*/ 70880 w 169557"/>
              <a:gd name="connsiteY49" fmla="*/ 64585 h 90512"/>
              <a:gd name="connsiteX50" fmla="*/ 80193 w 169557"/>
              <a:gd name="connsiteY50" fmla="*/ 60594 h 90512"/>
              <a:gd name="connsiteX51" fmla="*/ 109115 w 169557"/>
              <a:gd name="connsiteY51" fmla="*/ 48620 h 90512"/>
              <a:gd name="connsiteX52" fmla="*/ 123461 w 169557"/>
              <a:gd name="connsiteY52" fmla="*/ 41274 h 90512"/>
              <a:gd name="connsiteX53" fmla="*/ 130981 w 169557"/>
              <a:gd name="connsiteY53" fmla="*/ 41678 h 90512"/>
              <a:gd name="connsiteX54" fmla="*/ 136418 w 169557"/>
              <a:gd name="connsiteY54" fmla="*/ 41678 h 90512"/>
              <a:gd name="connsiteX55" fmla="*/ 143128 w 169557"/>
              <a:gd name="connsiteY55" fmla="*/ 38208 h 90512"/>
              <a:gd name="connsiteX56" fmla="*/ 167307 w 169557"/>
              <a:gd name="connsiteY56" fmla="*/ 28837 h 90512"/>
              <a:gd name="connsiteX57" fmla="*/ 155449 w 169557"/>
              <a:gd name="connsiteY57" fmla="*/ 19235 h 90512"/>
              <a:gd name="connsiteX58" fmla="*/ 137286 w 169557"/>
              <a:gd name="connsiteY58" fmla="*/ 9286 h 90512"/>
              <a:gd name="connsiteX59" fmla="*/ 113801 w 169557"/>
              <a:gd name="connsiteY59" fmla="*/ 1650 h 90512"/>
              <a:gd name="connsiteX60" fmla="*/ 80367 w 169557"/>
              <a:gd name="connsiteY60" fmla="*/ 8303 h 90512"/>
              <a:gd name="connsiteX61" fmla="*/ 69781 w 169557"/>
              <a:gd name="connsiteY61" fmla="*/ 10096 h 90512"/>
              <a:gd name="connsiteX62" fmla="*/ 57287 w 169557"/>
              <a:gd name="connsiteY62" fmla="*/ 8881 h 90512"/>
              <a:gd name="connsiteX63" fmla="*/ 44503 w 169557"/>
              <a:gd name="connsiteY63" fmla="*/ 7666 h 90512"/>
              <a:gd name="connsiteX64" fmla="*/ 29637 w 169557"/>
              <a:gd name="connsiteY64" fmla="*/ 11310 h 90512"/>
              <a:gd name="connsiteX65" fmla="*/ 29232 w 169557"/>
              <a:gd name="connsiteY65" fmla="*/ 11310 h 90512"/>
              <a:gd name="connsiteX66" fmla="*/ 14482 w 169557"/>
              <a:gd name="connsiteY66" fmla="*/ 26523 h 90512"/>
              <a:gd name="connsiteX67" fmla="*/ 5227 w 169557"/>
              <a:gd name="connsiteY67" fmla="*/ 41447 h 90512"/>
              <a:gd name="connsiteX68" fmla="*/ 3376 w 169557"/>
              <a:gd name="connsiteY68" fmla="*/ 46306 h 90512"/>
              <a:gd name="connsiteX69" fmla="*/ 13788 w 169557"/>
              <a:gd name="connsiteY69" fmla="*/ 51628 h 90512"/>
              <a:gd name="connsiteX70" fmla="*/ 31141 w 169557"/>
              <a:gd name="connsiteY70" fmla="*/ 56082 h 90512"/>
              <a:gd name="connsiteX71" fmla="*/ 33455 w 169557"/>
              <a:gd name="connsiteY71" fmla="*/ 56082 h 90512"/>
              <a:gd name="connsiteX72" fmla="*/ 43925 w 169557"/>
              <a:gd name="connsiteY72" fmla="*/ 59495 h 90512"/>
              <a:gd name="connsiteX73" fmla="*/ 44272 w 169557"/>
              <a:gd name="connsiteY73" fmla="*/ 75518 h 90512"/>
              <a:gd name="connsiteX74" fmla="*/ 46412 w 169557"/>
              <a:gd name="connsiteY74" fmla="*/ 75286 h 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69557" h="90512">
                <a:moveTo>
                  <a:pt x="53064" y="89805"/>
                </a:moveTo>
                <a:cubicBezTo>
                  <a:pt x="52787" y="89805"/>
                  <a:pt x="52515" y="89707"/>
                  <a:pt x="52312" y="89516"/>
                </a:cubicBezTo>
                <a:cubicBezTo>
                  <a:pt x="52046" y="89261"/>
                  <a:pt x="51902" y="88903"/>
                  <a:pt x="51907" y="88533"/>
                </a:cubicBezTo>
                <a:lnTo>
                  <a:pt x="51907" y="88012"/>
                </a:lnTo>
                <a:cubicBezTo>
                  <a:pt x="52370" y="84599"/>
                  <a:pt x="52775" y="81649"/>
                  <a:pt x="49825" y="79277"/>
                </a:cubicBezTo>
                <a:cubicBezTo>
                  <a:pt x="46875" y="76906"/>
                  <a:pt x="45544" y="77253"/>
                  <a:pt x="43115" y="79277"/>
                </a:cubicBezTo>
                <a:cubicBezTo>
                  <a:pt x="42727" y="79532"/>
                  <a:pt x="42230" y="79532"/>
                  <a:pt x="41843" y="79277"/>
                </a:cubicBezTo>
                <a:cubicBezTo>
                  <a:pt x="41432" y="79046"/>
                  <a:pt x="41200" y="78589"/>
                  <a:pt x="41264" y="78121"/>
                </a:cubicBezTo>
                <a:cubicBezTo>
                  <a:pt x="43231" y="65453"/>
                  <a:pt x="42421" y="62040"/>
                  <a:pt x="41727" y="61114"/>
                </a:cubicBezTo>
                <a:cubicBezTo>
                  <a:pt x="40049" y="58801"/>
                  <a:pt x="37099" y="58627"/>
                  <a:pt x="33108" y="58627"/>
                </a:cubicBezTo>
                <a:lnTo>
                  <a:pt x="30794" y="58627"/>
                </a:lnTo>
                <a:cubicBezTo>
                  <a:pt x="24223" y="59049"/>
                  <a:pt x="17692" y="57343"/>
                  <a:pt x="12168" y="53768"/>
                </a:cubicBezTo>
                <a:cubicBezTo>
                  <a:pt x="8559" y="51385"/>
                  <a:pt x="4672" y="49441"/>
                  <a:pt x="600" y="47984"/>
                </a:cubicBezTo>
                <a:cubicBezTo>
                  <a:pt x="177" y="47874"/>
                  <a:pt x="-106" y="47492"/>
                  <a:pt x="-95" y="47058"/>
                </a:cubicBezTo>
                <a:cubicBezTo>
                  <a:pt x="-170" y="46636"/>
                  <a:pt x="44" y="46213"/>
                  <a:pt x="426" y="46017"/>
                </a:cubicBezTo>
                <a:cubicBezTo>
                  <a:pt x="1641" y="45207"/>
                  <a:pt x="2103" y="43472"/>
                  <a:pt x="2740" y="41100"/>
                </a:cubicBezTo>
                <a:cubicBezTo>
                  <a:pt x="4059" y="34720"/>
                  <a:pt x="7604" y="29022"/>
                  <a:pt x="12747" y="25019"/>
                </a:cubicBezTo>
                <a:cubicBezTo>
                  <a:pt x="18155" y="20548"/>
                  <a:pt x="23043" y="15487"/>
                  <a:pt x="27324" y="9922"/>
                </a:cubicBezTo>
                <a:lnTo>
                  <a:pt x="27671" y="9922"/>
                </a:lnTo>
                <a:lnTo>
                  <a:pt x="28191" y="9922"/>
                </a:lnTo>
                <a:cubicBezTo>
                  <a:pt x="33079" y="7186"/>
                  <a:pt x="38615" y="5827"/>
                  <a:pt x="44214" y="5989"/>
                </a:cubicBezTo>
                <a:cubicBezTo>
                  <a:pt x="48593" y="6104"/>
                  <a:pt x="52960" y="6509"/>
                  <a:pt x="57287" y="7204"/>
                </a:cubicBezTo>
                <a:cubicBezTo>
                  <a:pt x="61319" y="7903"/>
                  <a:pt x="65397" y="8314"/>
                  <a:pt x="69492" y="8418"/>
                </a:cubicBezTo>
                <a:cubicBezTo>
                  <a:pt x="72824" y="8493"/>
                  <a:pt x="76138" y="7944"/>
                  <a:pt x="79268" y="6799"/>
                </a:cubicBezTo>
                <a:cubicBezTo>
                  <a:pt x="90212" y="2599"/>
                  <a:pt x="101792" y="291"/>
                  <a:pt x="113512" y="-27"/>
                </a:cubicBezTo>
                <a:cubicBezTo>
                  <a:pt x="122651" y="-733"/>
                  <a:pt x="131686" y="2246"/>
                  <a:pt x="138616" y="8245"/>
                </a:cubicBezTo>
                <a:cubicBezTo>
                  <a:pt x="143567" y="12727"/>
                  <a:pt x="149514" y="15961"/>
                  <a:pt x="155969" y="17673"/>
                </a:cubicBezTo>
                <a:cubicBezTo>
                  <a:pt x="163258" y="20161"/>
                  <a:pt x="169563" y="22301"/>
                  <a:pt x="169447" y="30515"/>
                </a:cubicBezTo>
                <a:cubicBezTo>
                  <a:pt x="169464" y="30827"/>
                  <a:pt x="169337" y="31122"/>
                  <a:pt x="169100" y="31324"/>
                </a:cubicBezTo>
                <a:cubicBezTo>
                  <a:pt x="169100" y="31324"/>
                  <a:pt x="168579" y="31324"/>
                  <a:pt x="168290" y="31672"/>
                </a:cubicBezTo>
                <a:lnTo>
                  <a:pt x="167538" y="31672"/>
                </a:lnTo>
                <a:cubicBezTo>
                  <a:pt x="159076" y="32615"/>
                  <a:pt x="151000" y="35744"/>
                  <a:pt x="144111" y="40753"/>
                </a:cubicBezTo>
                <a:cubicBezTo>
                  <a:pt x="141797" y="42436"/>
                  <a:pt x="139212" y="43726"/>
                  <a:pt x="136476" y="44571"/>
                </a:cubicBezTo>
                <a:cubicBezTo>
                  <a:pt x="135203" y="44571"/>
                  <a:pt x="133121" y="44571"/>
                  <a:pt x="130691" y="44571"/>
                </a:cubicBezTo>
                <a:cubicBezTo>
                  <a:pt x="128262" y="44571"/>
                  <a:pt x="125890" y="44166"/>
                  <a:pt x="123345" y="44166"/>
                </a:cubicBezTo>
                <a:cubicBezTo>
                  <a:pt x="115999" y="44166"/>
                  <a:pt x="112123" y="45959"/>
                  <a:pt x="111198" y="49950"/>
                </a:cubicBezTo>
                <a:cubicBezTo>
                  <a:pt x="108653" y="60767"/>
                  <a:pt x="96274" y="62503"/>
                  <a:pt x="80367" y="63660"/>
                </a:cubicBezTo>
                <a:cubicBezTo>
                  <a:pt x="77503" y="63555"/>
                  <a:pt x="74727" y="64666"/>
                  <a:pt x="72731" y="66725"/>
                </a:cubicBezTo>
                <a:cubicBezTo>
                  <a:pt x="71349" y="69588"/>
                  <a:pt x="71198" y="72891"/>
                  <a:pt x="72326" y="75865"/>
                </a:cubicBezTo>
                <a:cubicBezTo>
                  <a:pt x="72743" y="77201"/>
                  <a:pt x="72743" y="78635"/>
                  <a:pt x="72326" y="79971"/>
                </a:cubicBezTo>
                <a:cubicBezTo>
                  <a:pt x="69862" y="83020"/>
                  <a:pt x="67005" y="85721"/>
                  <a:pt x="63823" y="88012"/>
                </a:cubicBezTo>
                <a:lnTo>
                  <a:pt x="63361" y="88012"/>
                </a:lnTo>
                <a:lnTo>
                  <a:pt x="53238" y="90384"/>
                </a:lnTo>
                <a:close/>
                <a:moveTo>
                  <a:pt x="46412" y="75286"/>
                </a:moveTo>
                <a:cubicBezTo>
                  <a:pt x="48269" y="75425"/>
                  <a:pt x="50016" y="76223"/>
                  <a:pt x="51329" y="77542"/>
                </a:cubicBezTo>
                <a:cubicBezTo>
                  <a:pt x="54071" y="79937"/>
                  <a:pt x="55251" y="83662"/>
                  <a:pt x="54395" y="87202"/>
                </a:cubicBezTo>
                <a:lnTo>
                  <a:pt x="62666" y="85235"/>
                </a:lnTo>
                <a:cubicBezTo>
                  <a:pt x="65541" y="83251"/>
                  <a:pt x="68133" y="80874"/>
                  <a:pt x="70360" y="78178"/>
                </a:cubicBezTo>
                <a:cubicBezTo>
                  <a:pt x="70296" y="77299"/>
                  <a:pt x="70163" y="76431"/>
                  <a:pt x="69955" y="75576"/>
                </a:cubicBezTo>
                <a:cubicBezTo>
                  <a:pt x="68676" y="71949"/>
                  <a:pt x="69012" y="67946"/>
                  <a:pt x="70880" y="64585"/>
                </a:cubicBezTo>
                <a:cubicBezTo>
                  <a:pt x="73263" y="61976"/>
                  <a:pt x="76659" y="60518"/>
                  <a:pt x="80193" y="60594"/>
                </a:cubicBezTo>
                <a:cubicBezTo>
                  <a:pt x="95175" y="59495"/>
                  <a:pt x="106802" y="57933"/>
                  <a:pt x="109115" y="48620"/>
                </a:cubicBezTo>
                <a:cubicBezTo>
                  <a:pt x="110851" y="41274"/>
                  <a:pt x="120337" y="41274"/>
                  <a:pt x="123461" y="41274"/>
                </a:cubicBezTo>
                <a:cubicBezTo>
                  <a:pt x="126584" y="41274"/>
                  <a:pt x="128667" y="41274"/>
                  <a:pt x="130981" y="41678"/>
                </a:cubicBezTo>
                <a:cubicBezTo>
                  <a:pt x="132791" y="41800"/>
                  <a:pt x="134607" y="41800"/>
                  <a:pt x="136418" y="41678"/>
                </a:cubicBezTo>
                <a:cubicBezTo>
                  <a:pt x="138801" y="40828"/>
                  <a:pt x="141057" y="39660"/>
                  <a:pt x="143128" y="38208"/>
                </a:cubicBezTo>
                <a:cubicBezTo>
                  <a:pt x="150237" y="33037"/>
                  <a:pt x="158572" y="29809"/>
                  <a:pt x="167307" y="28837"/>
                </a:cubicBezTo>
                <a:cubicBezTo>
                  <a:pt x="166844" y="23053"/>
                  <a:pt x="161985" y="21433"/>
                  <a:pt x="155449" y="19235"/>
                </a:cubicBezTo>
                <a:cubicBezTo>
                  <a:pt x="148704" y="17378"/>
                  <a:pt x="142480" y="13971"/>
                  <a:pt x="137286" y="9286"/>
                </a:cubicBezTo>
                <a:cubicBezTo>
                  <a:pt x="130795" y="3692"/>
                  <a:pt x="122339" y="945"/>
                  <a:pt x="113801" y="1650"/>
                </a:cubicBezTo>
                <a:cubicBezTo>
                  <a:pt x="102359" y="1974"/>
                  <a:pt x="91056" y="4224"/>
                  <a:pt x="80367" y="8303"/>
                </a:cubicBezTo>
                <a:cubicBezTo>
                  <a:pt x="76983" y="9558"/>
                  <a:pt x="73391" y="10165"/>
                  <a:pt x="69781" y="10096"/>
                </a:cubicBezTo>
                <a:cubicBezTo>
                  <a:pt x="65593" y="9980"/>
                  <a:pt x="61417" y="9569"/>
                  <a:pt x="57287" y="8881"/>
                </a:cubicBezTo>
                <a:cubicBezTo>
                  <a:pt x="53059" y="8192"/>
                  <a:pt x="48790" y="7782"/>
                  <a:pt x="44503" y="7666"/>
                </a:cubicBezTo>
                <a:cubicBezTo>
                  <a:pt x="39309" y="7522"/>
                  <a:pt x="34178" y="8783"/>
                  <a:pt x="29637" y="11310"/>
                </a:cubicBezTo>
                <a:lnTo>
                  <a:pt x="29232" y="11310"/>
                </a:lnTo>
                <a:cubicBezTo>
                  <a:pt x="24883" y="16898"/>
                  <a:pt x="19937" y="22000"/>
                  <a:pt x="14482" y="26523"/>
                </a:cubicBezTo>
                <a:cubicBezTo>
                  <a:pt x="9710" y="30231"/>
                  <a:pt x="6424" y="35524"/>
                  <a:pt x="5227" y="41447"/>
                </a:cubicBezTo>
                <a:cubicBezTo>
                  <a:pt x="4863" y="43154"/>
                  <a:pt x="4238" y="44791"/>
                  <a:pt x="3376" y="46306"/>
                </a:cubicBezTo>
                <a:cubicBezTo>
                  <a:pt x="7038" y="47677"/>
                  <a:pt x="10531" y="49459"/>
                  <a:pt x="13788" y="51628"/>
                </a:cubicBezTo>
                <a:cubicBezTo>
                  <a:pt x="18948" y="54936"/>
                  <a:pt x="25027" y="56498"/>
                  <a:pt x="31141" y="56082"/>
                </a:cubicBezTo>
                <a:lnTo>
                  <a:pt x="33455" y="56082"/>
                </a:lnTo>
                <a:cubicBezTo>
                  <a:pt x="37851" y="56082"/>
                  <a:pt x="41611" y="56082"/>
                  <a:pt x="43925" y="59495"/>
                </a:cubicBezTo>
                <a:cubicBezTo>
                  <a:pt x="44850" y="60767"/>
                  <a:pt x="45892" y="63891"/>
                  <a:pt x="44272" y="75518"/>
                </a:cubicBezTo>
                <a:cubicBezTo>
                  <a:pt x="44960" y="75280"/>
                  <a:pt x="45689" y="75200"/>
                  <a:pt x="46412" y="7528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2" name="Forma libre: forma 371">
            <a:extLst>
              <a:ext uri="{FF2B5EF4-FFF2-40B4-BE49-F238E27FC236}">
                <a16:creationId xmlns:a16="http://schemas.microsoft.com/office/drawing/2014/main" id="{FF786C59-90C9-486C-130A-3B45EB62897A}"/>
              </a:ext>
            </a:extLst>
          </p:cNvPr>
          <p:cNvSpPr/>
          <p:nvPr/>
        </p:nvSpPr>
        <p:spPr>
          <a:xfrm>
            <a:off x="2965899" y="3548008"/>
            <a:ext cx="831647" cy="520034"/>
          </a:xfrm>
          <a:custGeom>
            <a:avLst/>
            <a:gdLst>
              <a:gd name="connsiteX0" fmla="*/ 671477 w 831647"/>
              <a:gd name="connsiteY0" fmla="*/ 519841 h 520034"/>
              <a:gd name="connsiteX1" fmla="*/ 670725 w 831647"/>
              <a:gd name="connsiteY1" fmla="*/ 519841 h 520034"/>
              <a:gd name="connsiteX2" fmla="*/ 641803 w 831647"/>
              <a:gd name="connsiteY2" fmla="*/ 497165 h 520034"/>
              <a:gd name="connsiteX3" fmla="*/ 635614 w 831647"/>
              <a:gd name="connsiteY3" fmla="*/ 494447 h 520034"/>
              <a:gd name="connsiteX4" fmla="*/ 608427 w 831647"/>
              <a:gd name="connsiteY4" fmla="*/ 486811 h 520034"/>
              <a:gd name="connsiteX5" fmla="*/ 592982 w 831647"/>
              <a:gd name="connsiteY5" fmla="*/ 489877 h 520034"/>
              <a:gd name="connsiteX6" fmla="*/ 557524 w 831647"/>
              <a:gd name="connsiteY6" fmla="*/ 498554 h 520034"/>
              <a:gd name="connsiteX7" fmla="*/ 536816 w 831647"/>
              <a:gd name="connsiteY7" fmla="*/ 492770 h 520034"/>
              <a:gd name="connsiteX8" fmla="*/ 475327 w 831647"/>
              <a:gd name="connsiteY8" fmla="*/ 466277 h 520034"/>
              <a:gd name="connsiteX9" fmla="*/ 441199 w 831647"/>
              <a:gd name="connsiteY9" fmla="*/ 449733 h 520034"/>
              <a:gd name="connsiteX10" fmla="*/ 421358 w 831647"/>
              <a:gd name="connsiteY10" fmla="*/ 438974 h 520034"/>
              <a:gd name="connsiteX11" fmla="*/ 402328 w 831647"/>
              <a:gd name="connsiteY11" fmla="*/ 434405 h 520034"/>
              <a:gd name="connsiteX12" fmla="*/ 377223 w 831647"/>
              <a:gd name="connsiteY12" fmla="*/ 425034 h 520034"/>
              <a:gd name="connsiteX13" fmla="*/ 370108 w 831647"/>
              <a:gd name="connsiteY13" fmla="*/ 418787 h 520034"/>
              <a:gd name="connsiteX14" fmla="*/ 338468 w 831647"/>
              <a:gd name="connsiteY14" fmla="*/ 398599 h 520034"/>
              <a:gd name="connsiteX15" fmla="*/ 315619 w 831647"/>
              <a:gd name="connsiteY15" fmla="*/ 363892 h 520034"/>
              <a:gd name="connsiteX16" fmla="*/ 321404 w 831647"/>
              <a:gd name="connsiteY16" fmla="*/ 358802 h 520034"/>
              <a:gd name="connsiteX17" fmla="*/ 325106 w 831647"/>
              <a:gd name="connsiteY17" fmla="*/ 357009 h 520034"/>
              <a:gd name="connsiteX18" fmla="*/ 324354 w 831647"/>
              <a:gd name="connsiteY18" fmla="*/ 354695 h 520034"/>
              <a:gd name="connsiteX19" fmla="*/ 324354 w 831647"/>
              <a:gd name="connsiteY19" fmla="*/ 343647 h 520034"/>
              <a:gd name="connsiteX20" fmla="*/ 325453 w 831647"/>
              <a:gd name="connsiteY20" fmla="*/ 334450 h 520034"/>
              <a:gd name="connsiteX21" fmla="*/ 323891 w 831647"/>
              <a:gd name="connsiteY21" fmla="*/ 329938 h 520034"/>
              <a:gd name="connsiteX22" fmla="*/ 312322 w 831647"/>
              <a:gd name="connsiteY22" fmla="*/ 305007 h 520034"/>
              <a:gd name="connsiteX23" fmla="*/ 253552 w 831647"/>
              <a:gd name="connsiteY23" fmla="*/ 239932 h 520034"/>
              <a:gd name="connsiteX24" fmla="*/ 244644 w 831647"/>
              <a:gd name="connsiteY24" fmla="*/ 228884 h 520034"/>
              <a:gd name="connsiteX25" fmla="*/ 231514 w 831647"/>
              <a:gd name="connsiteY25" fmla="*/ 219571 h 520034"/>
              <a:gd name="connsiteX26" fmla="*/ 213293 w 831647"/>
              <a:gd name="connsiteY26" fmla="*/ 206382 h 520034"/>
              <a:gd name="connsiteX27" fmla="*/ 213929 w 831647"/>
              <a:gd name="connsiteY27" fmla="*/ 196838 h 520034"/>
              <a:gd name="connsiteX28" fmla="*/ 215028 w 831647"/>
              <a:gd name="connsiteY28" fmla="*/ 185269 h 520034"/>
              <a:gd name="connsiteX29" fmla="*/ 210516 w 831647"/>
              <a:gd name="connsiteY29" fmla="*/ 182146 h 520034"/>
              <a:gd name="connsiteX30" fmla="*/ 202649 w 831647"/>
              <a:gd name="connsiteY30" fmla="*/ 175783 h 520034"/>
              <a:gd name="connsiteX31" fmla="*/ 191775 w 831647"/>
              <a:gd name="connsiteY31" fmla="*/ 167627 h 520034"/>
              <a:gd name="connsiteX32" fmla="*/ 177487 w 831647"/>
              <a:gd name="connsiteY32" fmla="*/ 148307 h 520034"/>
              <a:gd name="connsiteX33" fmla="*/ 170141 w 831647"/>
              <a:gd name="connsiteY33" fmla="*/ 143274 h 520034"/>
              <a:gd name="connsiteX34" fmla="*/ 154754 w 831647"/>
              <a:gd name="connsiteY34" fmla="*/ 133325 h 520034"/>
              <a:gd name="connsiteX35" fmla="*/ 137748 w 831647"/>
              <a:gd name="connsiteY35" fmla="*/ 117360 h 520034"/>
              <a:gd name="connsiteX36" fmla="*/ 137054 w 831647"/>
              <a:gd name="connsiteY36" fmla="*/ 117649 h 520034"/>
              <a:gd name="connsiteX37" fmla="*/ 128493 w 831647"/>
              <a:gd name="connsiteY37" fmla="*/ 122508 h 520034"/>
              <a:gd name="connsiteX38" fmla="*/ 122361 w 831647"/>
              <a:gd name="connsiteY38" fmla="*/ 109551 h 520034"/>
              <a:gd name="connsiteX39" fmla="*/ 125311 w 831647"/>
              <a:gd name="connsiteY39" fmla="*/ 97982 h 520034"/>
              <a:gd name="connsiteX40" fmla="*/ 117676 w 831647"/>
              <a:gd name="connsiteY40" fmla="*/ 79125 h 520034"/>
              <a:gd name="connsiteX41" fmla="*/ 112875 w 831647"/>
              <a:gd name="connsiteY41" fmla="*/ 47311 h 520034"/>
              <a:gd name="connsiteX42" fmla="*/ 113222 w 831647"/>
              <a:gd name="connsiteY42" fmla="*/ 44997 h 520034"/>
              <a:gd name="connsiteX43" fmla="*/ 109751 w 831647"/>
              <a:gd name="connsiteY43" fmla="*/ 44245 h 520034"/>
              <a:gd name="connsiteX44" fmla="*/ 105991 w 831647"/>
              <a:gd name="connsiteY44" fmla="*/ 44534 h 520034"/>
              <a:gd name="connsiteX45" fmla="*/ 101884 w 831647"/>
              <a:gd name="connsiteY45" fmla="*/ 44534 h 520034"/>
              <a:gd name="connsiteX46" fmla="*/ 94596 w 831647"/>
              <a:gd name="connsiteY46" fmla="*/ 40543 h 520034"/>
              <a:gd name="connsiteX47" fmla="*/ 85225 w 831647"/>
              <a:gd name="connsiteY47" fmla="*/ 34122 h 520034"/>
              <a:gd name="connsiteX48" fmla="*/ 81697 w 831647"/>
              <a:gd name="connsiteY48" fmla="*/ 35048 h 520034"/>
              <a:gd name="connsiteX49" fmla="*/ 78515 w 831647"/>
              <a:gd name="connsiteY49" fmla="*/ 35973 h 520034"/>
              <a:gd name="connsiteX50" fmla="*/ 71285 w 831647"/>
              <a:gd name="connsiteY50" fmla="*/ 30825 h 520034"/>
              <a:gd name="connsiteX51" fmla="*/ 70533 w 831647"/>
              <a:gd name="connsiteY51" fmla="*/ 29899 h 520034"/>
              <a:gd name="connsiteX52" fmla="*/ 64748 w 831647"/>
              <a:gd name="connsiteY52" fmla="*/ 27528 h 520034"/>
              <a:gd name="connsiteX53" fmla="*/ 62377 w 831647"/>
              <a:gd name="connsiteY53" fmla="*/ 28395 h 520034"/>
              <a:gd name="connsiteX54" fmla="*/ 62377 w 831647"/>
              <a:gd name="connsiteY54" fmla="*/ 31808 h 520034"/>
              <a:gd name="connsiteX55" fmla="*/ 71516 w 831647"/>
              <a:gd name="connsiteY55" fmla="*/ 72820 h 520034"/>
              <a:gd name="connsiteX56" fmla="*/ 86035 w 831647"/>
              <a:gd name="connsiteY56" fmla="*/ 92950 h 520034"/>
              <a:gd name="connsiteX57" fmla="*/ 95637 w 831647"/>
              <a:gd name="connsiteY57" fmla="*/ 96305 h 520034"/>
              <a:gd name="connsiteX58" fmla="*/ 107553 w 831647"/>
              <a:gd name="connsiteY58" fmla="*/ 102089 h 520034"/>
              <a:gd name="connsiteX59" fmla="*/ 105702 w 831647"/>
              <a:gd name="connsiteY59" fmla="*/ 111691 h 520034"/>
              <a:gd name="connsiteX60" fmla="*/ 103504 w 831647"/>
              <a:gd name="connsiteY60" fmla="*/ 115451 h 520034"/>
              <a:gd name="connsiteX61" fmla="*/ 104314 w 831647"/>
              <a:gd name="connsiteY61" fmla="*/ 116435 h 520034"/>
              <a:gd name="connsiteX62" fmla="*/ 126526 w 831647"/>
              <a:gd name="connsiteY62" fmla="*/ 146571 h 520034"/>
              <a:gd name="connsiteX63" fmla="*/ 140929 w 831647"/>
              <a:gd name="connsiteY63" fmla="*/ 164966 h 520034"/>
              <a:gd name="connsiteX64" fmla="*/ 156894 w 831647"/>
              <a:gd name="connsiteY64" fmla="*/ 188103 h 520034"/>
              <a:gd name="connsiteX65" fmla="*/ 174248 w 831647"/>
              <a:gd name="connsiteY65" fmla="*/ 226339 h 520034"/>
              <a:gd name="connsiteX66" fmla="*/ 177892 w 831647"/>
              <a:gd name="connsiteY66" fmla="*/ 241667 h 520034"/>
              <a:gd name="connsiteX67" fmla="*/ 180263 w 831647"/>
              <a:gd name="connsiteY67" fmla="*/ 250229 h 520034"/>
              <a:gd name="connsiteX68" fmla="*/ 185759 w 831647"/>
              <a:gd name="connsiteY68" fmla="*/ 250749 h 520034"/>
              <a:gd name="connsiteX69" fmla="*/ 204269 w 831647"/>
              <a:gd name="connsiteY69" fmla="*/ 261103 h 520034"/>
              <a:gd name="connsiteX70" fmla="*/ 207797 w 831647"/>
              <a:gd name="connsiteY70" fmla="*/ 271168 h 520034"/>
              <a:gd name="connsiteX71" fmla="*/ 210227 w 831647"/>
              <a:gd name="connsiteY71" fmla="*/ 283257 h 520034"/>
              <a:gd name="connsiteX72" fmla="*/ 198658 w 831647"/>
              <a:gd name="connsiteY72" fmla="*/ 295347 h 520034"/>
              <a:gd name="connsiteX73" fmla="*/ 194551 w 831647"/>
              <a:gd name="connsiteY73" fmla="*/ 291703 h 520034"/>
              <a:gd name="connsiteX74" fmla="*/ 165918 w 831647"/>
              <a:gd name="connsiteY74" fmla="*/ 256996 h 520034"/>
              <a:gd name="connsiteX75" fmla="*/ 158167 w 831647"/>
              <a:gd name="connsiteY75" fmla="*/ 252022 h 520034"/>
              <a:gd name="connsiteX76" fmla="*/ 132715 w 831647"/>
              <a:gd name="connsiteY76" fmla="*/ 230619 h 520034"/>
              <a:gd name="connsiteX77" fmla="*/ 134335 w 831647"/>
              <a:gd name="connsiteY77" fmla="*/ 227322 h 520034"/>
              <a:gd name="connsiteX78" fmla="*/ 138153 w 831647"/>
              <a:gd name="connsiteY78" fmla="*/ 217835 h 520034"/>
              <a:gd name="connsiteX79" fmla="*/ 126584 w 831647"/>
              <a:gd name="connsiteY79" fmla="*/ 195161 h 520034"/>
              <a:gd name="connsiteX80" fmla="*/ 120799 w 831647"/>
              <a:gd name="connsiteY80" fmla="*/ 189723 h 520034"/>
              <a:gd name="connsiteX81" fmla="*/ 98009 w 831647"/>
              <a:gd name="connsiteY81" fmla="*/ 177229 h 520034"/>
              <a:gd name="connsiteX82" fmla="*/ 65674 w 831647"/>
              <a:gd name="connsiteY82" fmla="*/ 156810 h 520034"/>
              <a:gd name="connsiteX83" fmla="*/ 62897 w 831647"/>
              <a:gd name="connsiteY83" fmla="*/ 150389 h 520034"/>
              <a:gd name="connsiteX84" fmla="*/ 67641 w 831647"/>
              <a:gd name="connsiteY84" fmla="*/ 147728 h 520034"/>
              <a:gd name="connsiteX85" fmla="*/ 74755 w 831647"/>
              <a:gd name="connsiteY85" fmla="*/ 148654 h 520034"/>
              <a:gd name="connsiteX86" fmla="*/ 81755 w 831647"/>
              <a:gd name="connsiteY86" fmla="*/ 149521 h 520034"/>
              <a:gd name="connsiteX87" fmla="*/ 84705 w 831647"/>
              <a:gd name="connsiteY87" fmla="*/ 148480 h 520034"/>
              <a:gd name="connsiteX88" fmla="*/ 71863 w 831647"/>
              <a:gd name="connsiteY88" fmla="*/ 113774 h 520034"/>
              <a:gd name="connsiteX89" fmla="*/ 61625 w 831647"/>
              <a:gd name="connsiteY89" fmla="*/ 107526 h 520034"/>
              <a:gd name="connsiteX90" fmla="*/ 37388 w 831647"/>
              <a:gd name="connsiteY90" fmla="*/ 85661 h 520034"/>
              <a:gd name="connsiteX91" fmla="*/ 14597 w 831647"/>
              <a:gd name="connsiteY91" fmla="*/ 32907 h 520034"/>
              <a:gd name="connsiteX92" fmla="*/ 21 w 831647"/>
              <a:gd name="connsiteY92" fmla="*/ 9770 h 520034"/>
              <a:gd name="connsiteX93" fmla="*/ 21 w 831647"/>
              <a:gd name="connsiteY93" fmla="*/ 8728 h 520034"/>
              <a:gd name="connsiteX94" fmla="*/ 830 w 831647"/>
              <a:gd name="connsiteY94" fmla="*/ 8150 h 520034"/>
              <a:gd name="connsiteX95" fmla="*/ 63649 w 831647"/>
              <a:gd name="connsiteY95" fmla="*/ -64 h 520034"/>
              <a:gd name="connsiteX96" fmla="*/ 64459 w 831647"/>
              <a:gd name="connsiteY96" fmla="*/ -64 h 520034"/>
              <a:gd name="connsiteX97" fmla="*/ 94480 w 831647"/>
              <a:gd name="connsiteY97" fmla="*/ 16017 h 520034"/>
              <a:gd name="connsiteX98" fmla="*/ 164935 w 831647"/>
              <a:gd name="connsiteY98" fmla="*/ 40485 h 520034"/>
              <a:gd name="connsiteX99" fmla="*/ 241868 w 831647"/>
              <a:gd name="connsiteY99" fmla="*/ 39848 h 520034"/>
              <a:gd name="connsiteX100" fmla="*/ 250544 w 831647"/>
              <a:gd name="connsiteY100" fmla="*/ 28627 h 520034"/>
              <a:gd name="connsiteX101" fmla="*/ 251470 w 831647"/>
              <a:gd name="connsiteY101" fmla="*/ 28222 h 520034"/>
              <a:gd name="connsiteX102" fmla="*/ 294159 w 831647"/>
              <a:gd name="connsiteY102" fmla="*/ 28222 h 520034"/>
              <a:gd name="connsiteX103" fmla="*/ 294969 w 831647"/>
              <a:gd name="connsiteY103" fmla="*/ 28222 h 520034"/>
              <a:gd name="connsiteX104" fmla="*/ 325626 w 831647"/>
              <a:gd name="connsiteY104" fmla="*/ 55814 h 520034"/>
              <a:gd name="connsiteX105" fmla="*/ 343847 w 831647"/>
              <a:gd name="connsiteY105" fmla="*/ 78257 h 520034"/>
              <a:gd name="connsiteX106" fmla="*/ 352929 w 831647"/>
              <a:gd name="connsiteY106" fmla="*/ 94743 h 520034"/>
              <a:gd name="connsiteX107" fmla="*/ 361837 w 831647"/>
              <a:gd name="connsiteY107" fmla="*/ 99775 h 520034"/>
              <a:gd name="connsiteX108" fmla="*/ 383644 w 831647"/>
              <a:gd name="connsiteY108" fmla="*/ 110824 h 520034"/>
              <a:gd name="connsiteX109" fmla="*/ 387288 w 831647"/>
              <a:gd name="connsiteY109" fmla="*/ 104634 h 520034"/>
              <a:gd name="connsiteX110" fmla="*/ 405046 w 831647"/>
              <a:gd name="connsiteY110" fmla="*/ 85546 h 520034"/>
              <a:gd name="connsiteX111" fmla="*/ 405567 w 831647"/>
              <a:gd name="connsiteY111" fmla="*/ 85546 h 520034"/>
              <a:gd name="connsiteX112" fmla="*/ 455140 w 831647"/>
              <a:gd name="connsiteY112" fmla="*/ 114179 h 520034"/>
              <a:gd name="connsiteX113" fmla="*/ 480591 w 831647"/>
              <a:gd name="connsiteY113" fmla="*/ 150447 h 520034"/>
              <a:gd name="connsiteX114" fmla="*/ 484871 w 831647"/>
              <a:gd name="connsiteY114" fmla="*/ 162016 h 520034"/>
              <a:gd name="connsiteX115" fmla="*/ 487359 w 831647"/>
              <a:gd name="connsiteY115" fmla="*/ 171444 h 520034"/>
              <a:gd name="connsiteX116" fmla="*/ 490714 w 831647"/>
              <a:gd name="connsiteY116" fmla="*/ 180757 h 520034"/>
              <a:gd name="connsiteX117" fmla="*/ 494127 w 831647"/>
              <a:gd name="connsiteY117" fmla="*/ 187756 h 520034"/>
              <a:gd name="connsiteX118" fmla="*/ 506332 w 831647"/>
              <a:gd name="connsiteY118" fmla="*/ 192500 h 520034"/>
              <a:gd name="connsiteX119" fmla="*/ 532246 w 831647"/>
              <a:gd name="connsiteY119" fmla="*/ 201408 h 520034"/>
              <a:gd name="connsiteX120" fmla="*/ 544278 w 831647"/>
              <a:gd name="connsiteY120" fmla="*/ 205804 h 520034"/>
              <a:gd name="connsiteX121" fmla="*/ 544856 w 831647"/>
              <a:gd name="connsiteY121" fmla="*/ 206845 h 520034"/>
              <a:gd name="connsiteX122" fmla="*/ 542311 w 831647"/>
              <a:gd name="connsiteY122" fmla="*/ 218414 h 520034"/>
              <a:gd name="connsiteX123" fmla="*/ 533229 w 831647"/>
              <a:gd name="connsiteY123" fmla="*/ 291761 h 520034"/>
              <a:gd name="connsiteX124" fmla="*/ 533229 w 831647"/>
              <a:gd name="connsiteY124" fmla="*/ 294306 h 520034"/>
              <a:gd name="connsiteX125" fmla="*/ 543352 w 831647"/>
              <a:gd name="connsiteY125" fmla="*/ 347002 h 520034"/>
              <a:gd name="connsiteX126" fmla="*/ 554921 w 831647"/>
              <a:gd name="connsiteY126" fmla="*/ 359265 h 520034"/>
              <a:gd name="connsiteX127" fmla="*/ 572274 w 831647"/>
              <a:gd name="connsiteY127" fmla="*/ 383328 h 520034"/>
              <a:gd name="connsiteX128" fmla="*/ 586330 w 831647"/>
              <a:gd name="connsiteY128" fmla="*/ 410168 h 520034"/>
              <a:gd name="connsiteX129" fmla="*/ 587429 w 831647"/>
              <a:gd name="connsiteY129" fmla="*/ 410168 h 520034"/>
              <a:gd name="connsiteX130" fmla="*/ 604783 w 831647"/>
              <a:gd name="connsiteY130" fmla="*/ 418497 h 520034"/>
              <a:gd name="connsiteX131" fmla="*/ 617393 w 831647"/>
              <a:gd name="connsiteY131" fmla="*/ 424687 h 520034"/>
              <a:gd name="connsiteX132" fmla="*/ 633068 w 831647"/>
              <a:gd name="connsiteY132" fmla="*/ 420695 h 520034"/>
              <a:gd name="connsiteX133" fmla="*/ 679344 w 831647"/>
              <a:gd name="connsiteY133" fmla="*/ 410399 h 520034"/>
              <a:gd name="connsiteX134" fmla="*/ 682236 w 831647"/>
              <a:gd name="connsiteY134" fmla="*/ 410920 h 520034"/>
              <a:gd name="connsiteX135" fmla="*/ 698895 w 831647"/>
              <a:gd name="connsiteY135" fmla="*/ 417745 h 520034"/>
              <a:gd name="connsiteX136" fmla="*/ 700804 w 831647"/>
              <a:gd name="connsiteY136" fmla="*/ 417167 h 520034"/>
              <a:gd name="connsiteX137" fmla="*/ 701151 w 831647"/>
              <a:gd name="connsiteY137" fmla="*/ 415085 h 520034"/>
              <a:gd name="connsiteX138" fmla="*/ 708902 w 831647"/>
              <a:gd name="connsiteY138" fmla="*/ 404846 h 520034"/>
              <a:gd name="connsiteX139" fmla="*/ 719314 w 831647"/>
              <a:gd name="connsiteY139" fmla="*/ 390096 h 520034"/>
              <a:gd name="connsiteX140" fmla="*/ 723479 w 831647"/>
              <a:gd name="connsiteY140" fmla="*/ 378064 h 520034"/>
              <a:gd name="connsiteX141" fmla="*/ 727181 w 831647"/>
              <a:gd name="connsiteY141" fmla="*/ 365338 h 520034"/>
              <a:gd name="connsiteX142" fmla="*/ 763276 w 831647"/>
              <a:gd name="connsiteY142" fmla="*/ 332657 h 520034"/>
              <a:gd name="connsiteX143" fmla="*/ 779357 w 831647"/>
              <a:gd name="connsiteY143" fmla="*/ 329938 h 520034"/>
              <a:gd name="connsiteX144" fmla="*/ 795437 w 831647"/>
              <a:gd name="connsiteY144" fmla="*/ 327798 h 520034"/>
              <a:gd name="connsiteX145" fmla="*/ 807006 w 831647"/>
              <a:gd name="connsiteY145" fmla="*/ 330979 h 520034"/>
              <a:gd name="connsiteX146" fmla="*/ 812791 w 831647"/>
              <a:gd name="connsiteY146" fmla="*/ 332541 h 520034"/>
              <a:gd name="connsiteX147" fmla="*/ 819038 w 831647"/>
              <a:gd name="connsiteY147" fmla="*/ 331673 h 520034"/>
              <a:gd name="connsiteX148" fmla="*/ 824186 w 831647"/>
              <a:gd name="connsiteY148" fmla="*/ 330921 h 520034"/>
              <a:gd name="connsiteX149" fmla="*/ 831127 w 831647"/>
              <a:gd name="connsiteY149" fmla="*/ 337747 h 520034"/>
              <a:gd name="connsiteX150" fmla="*/ 823029 w 831647"/>
              <a:gd name="connsiteY150" fmla="*/ 355100 h 520034"/>
              <a:gd name="connsiteX151" fmla="*/ 815683 w 831647"/>
              <a:gd name="connsiteY151" fmla="*/ 361405 h 520034"/>
              <a:gd name="connsiteX152" fmla="*/ 811287 w 831647"/>
              <a:gd name="connsiteY152" fmla="*/ 377312 h 520034"/>
              <a:gd name="connsiteX153" fmla="*/ 811287 w 831647"/>
              <a:gd name="connsiteY153" fmla="*/ 391658 h 520034"/>
              <a:gd name="connsiteX154" fmla="*/ 798792 w 831647"/>
              <a:gd name="connsiteY154" fmla="*/ 429430 h 520034"/>
              <a:gd name="connsiteX155" fmla="*/ 797288 w 831647"/>
              <a:gd name="connsiteY155" fmla="*/ 429430 h 520034"/>
              <a:gd name="connsiteX156" fmla="*/ 785720 w 831647"/>
              <a:gd name="connsiteY156" fmla="*/ 421737 h 520034"/>
              <a:gd name="connsiteX157" fmla="*/ 772647 w 831647"/>
              <a:gd name="connsiteY157" fmla="*/ 433768 h 520034"/>
              <a:gd name="connsiteX158" fmla="*/ 768366 w 831647"/>
              <a:gd name="connsiteY158" fmla="*/ 438627 h 520034"/>
              <a:gd name="connsiteX159" fmla="*/ 755004 w 831647"/>
              <a:gd name="connsiteY159" fmla="*/ 439264 h 520034"/>
              <a:gd name="connsiteX160" fmla="*/ 725677 w 831647"/>
              <a:gd name="connsiteY160" fmla="*/ 438859 h 520034"/>
              <a:gd name="connsiteX161" fmla="*/ 718158 w 831647"/>
              <a:gd name="connsiteY161" fmla="*/ 438859 h 520034"/>
              <a:gd name="connsiteX162" fmla="*/ 713646 w 831647"/>
              <a:gd name="connsiteY162" fmla="*/ 449849 h 520034"/>
              <a:gd name="connsiteX163" fmla="*/ 710406 w 831647"/>
              <a:gd name="connsiteY163" fmla="*/ 458815 h 520034"/>
              <a:gd name="connsiteX164" fmla="*/ 716654 w 831647"/>
              <a:gd name="connsiteY164" fmla="*/ 465120 h 520034"/>
              <a:gd name="connsiteX165" fmla="*/ 730305 w 831647"/>
              <a:gd name="connsiteY165" fmla="*/ 484960 h 520034"/>
              <a:gd name="connsiteX166" fmla="*/ 711274 w 831647"/>
              <a:gd name="connsiteY166" fmla="*/ 490340 h 520034"/>
              <a:gd name="connsiteX167" fmla="*/ 699069 w 831647"/>
              <a:gd name="connsiteY167" fmla="*/ 489877 h 520034"/>
              <a:gd name="connsiteX168" fmla="*/ 694094 w 831647"/>
              <a:gd name="connsiteY168" fmla="*/ 489877 h 520034"/>
              <a:gd name="connsiteX169" fmla="*/ 693284 w 831647"/>
              <a:gd name="connsiteY169" fmla="*/ 489877 h 520034"/>
              <a:gd name="connsiteX170" fmla="*/ 671651 w 831647"/>
              <a:gd name="connsiteY170" fmla="*/ 518800 h 520034"/>
              <a:gd name="connsiteX171" fmla="*/ 670841 w 831647"/>
              <a:gd name="connsiteY171" fmla="*/ 519320 h 520034"/>
              <a:gd name="connsiteX172" fmla="*/ 608253 w 831647"/>
              <a:gd name="connsiteY172" fmla="*/ 484266 h 520034"/>
              <a:gd name="connsiteX173" fmla="*/ 636366 w 831647"/>
              <a:gd name="connsiteY173" fmla="*/ 492075 h 520034"/>
              <a:gd name="connsiteX174" fmla="*/ 642439 w 831647"/>
              <a:gd name="connsiteY174" fmla="*/ 494794 h 520034"/>
              <a:gd name="connsiteX175" fmla="*/ 671362 w 831647"/>
              <a:gd name="connsiteY175" fmla="*/ 517006 h 520034"/>
              <a:gd name="connsiteX176" fmla="*/ 693689 w 831647"/>
              <a:gd name="connsiteY176" fmla="*/ 488084 h 520034"/>
              <a:gd name="connsiteX177" fmla="*/ 700052 w 831647"/>
              <a:gd name="connsiteY177" fmla="*/ 488084 h 520034"/>
              <a:gd name="connsiteX178" fmla="*/ 712142 w 831647"/>
              <a:gd name="connsiteY178" fmla="*/ 488489 h 520034"/>
              <a:gd name="connsiteX179" fmla="*/ 729090 w 831647"/>
              <a:gd name="connsiteY179" fmla="*/ 484555 h 520034"/>
              <a:gd name="connsiteX180" fmla="*/ 716017 w 831647"/>
              <a:gd name="connsiteY180" fmla="*/ 467202 h 520034"/>
              <a:gd name="connsiteX181" fmla="*/ 708902 w 831647"/>
              <a:gd name="connsiteY181" fmla="*/ 458873 h 520034"/>
              <a:gd name="connsiteX182" fmla="*/ 709712 w 831647"/>
              <a:gd name="connsiteY182" fmla="*/ 457658 h 520034"/>
              <a:gd name="connsiteX183" fmla="*/ 712315 w 831647"/>
              <a:gd name="connsiteY183" fmla="*/ 449733 h 520034"/>
              <a:gd name="connsiteX184" fmla="*/ 719025 w 831647"/>
              <a:gd name="connsiteY184" fmla="*/ 437008 h 520034"/>
              <a:gd name="connsiteX185" fmla="*/ 726603 w 831647"/>
              <a:gd name="connsiteY185" fmla="*/ 437008 h 520034"/>
              <a:gd name="connsiteX186" fmla="*/ 755872 w 831647"/>
              <a:gd name="connsiteY186" fmla="*/ 437413 h 520034"/>
              <a:gd name="connsiteX187" fmla="*/ 768308 w 831647"/>
              <a:gd name="connsiteY187" fmla="*/ 437008 h 520034"/>
              <a:gd name="connsiteX188" fmla="*/ 771663 w 831647"/>
              <a:gd name="connsiteY188" fmla="*/ 432843 h 520034"/>
              <a:gd name="connsiteX189" fmla="*/ 786182 w 831647"/>
              <a:gd name="connsiteY189" fmla="*/ 419943 h 520034"/>
              <a:gd name="connsiteX190" fmla="*/ 786587 w 831647"/>
              <a:gd name="connsiteY190" fmla="*/ 419943 h 520034"/>
              <a:gd name="connsiteX191" fmla="*/ 799024 w 831647"/>
              <a:gd name="connsiteY191" fmla="*/ 427463 h 520034"/>
              <a:gd name="connsiteX192" fmla="*/ 810014 w 831647"/>
              <a:gd name="connsiteY192" fmla="*/ 391831 h 520034"/>
              <a:gd name="connsiteX193" fmla="*/ 810014 w 831647"/>
              <a:gd name="connsiteY193" fmla="*/ 377891 h 520034"/>
              <a:gd name="connsiteX194" fmla="*/ 814989 w 831647"/>
              <a:gd name="connsiteY194" fmla="*/ 360537 h 520034"/>
              <a:gd name="connsiteX195" fmla="*/ 822624 w 831647"/>
              <a:gd name="connsiteY195" fmla="*/ 353943 h 520034"/>
              <a:gd name="connsiteX196" fmla="*/ 829855 w 831647"/>
              <a:gd name="connsiteY196" fmla="*/ 339077 h 520034"/>
              <a:gd name="connsiteX197" fmla="*/ 825169 w 831647"/>
              <a:gd name="connsiteY197" fmla="*/ 334045 h 520034"/>
              <a:gd name="connsiteX198" fmla="*/ 820484 w 831647"/>
              <a:gd name="connsiteY198" fmla="*/ 334797 h 520034"/>
              <a:gd name="connsiteX199" fmla="*/ 813774 w 831647"/>
              <a:gd name="connsiteY199" fmla="*/ 335664 h 520034"/>
              <a:gd name="connsiteX200" fmla="*/ 806775 w 831647"/>
              <a:gd name="connsiteY200" fmla="*/ 333813 h 520034"/>
              <a:gd name="connsiteX201" fmla="*/ 780687 w 831647"/>
              <a:gd name="connsiteY201" fmla="*/ 333004 h 520034"/>
              <a:gd name="connsiteX202" fmla="*/ 764491 w 831647"/>
              <a:gd name="connsiteY202" fmla="*/ 335722 h 520034"/>
              <a:gd name="connsiteX203" fmla="*/ 730363 w 831647"/>
              <a:gd name="connsiteY203" fmla="*/ 366033 h 520034"/>
              <a:gd name="connsiteX204" fmla="*/ 726024 w 831647"/>
              <a:gd name="connsiteY204" fmla="*/ 380552 h 520034"/>
              <a:gd name="connsiteX205" fmla="*/ 722496 w 831647"/>
              <a:gd name="connsiteY205" fmla="*/ 390906 h 520034"/>
              <a:gd name="connsiteX206" fmla="*/ 710927 w 831647"/>
              <a:gd name="connsiteY206" fmla="*/ 407623 h 520034"/>
              <a:gd name="connsiteX207" fmla="*/ 704159 w 831647"/>
              <a:gd name="connsiteY207" fmla="*/ 415663 h 520034"/>
              <a:gd name="connsiteX208" fmla="*/ 703291 w 831647"/>
              <a:gd name="connsiteY208" fmla="*/ 419539 h 520034"/>
              <a:gd name="connsiteX209" fmla="*/ 699705 w 831647"/>
              <a:gd name="connsiteY209" fmla="*/ 420869 h 520034"/>
              <a:gd name="connsiteX210" fmla="*/ 681831 w 831647"/>
              <a:gd name="connsiteY210" fmla="*/ 413754 h 520034"/>
              <a:gd name="connsiteX211" fmla="*/ 680154 w 831647"/>
              <a:gd name="connsiteY211" fmla="*/ 413754 h 520034"/>
              <a:gd name="connsiteX212" fmla="*/ 634399 w 831647"/>
              <a:gd name="connsiteY212" fmla="*/ 423993 h 520034"/>
              <a:gd name="connsiteX213" fmla="*/ 618434 w 831647"/>
              <a:gd name="connsiteY213" fmla="*/ 428042 h 520034"/>
              <a:gd name="connsiteX214" fmla="*/ 604146 w 831647"/>
              <a:gd name="connsiteY214" fmla="*/ 421447 h 520034"/>
              <a:gd name="connsiteX215" fmla="*/ 587892 w 831647"/>
              <a:gd name="connsiteY215" fmla="*/ 413523 h 520034"/>
              <a:gd name="connsiteX216" fmla="*/ 586793 w 831647"/>
              <a:gd name="connsiteY216" fmla="*/ 413523 h 520034"/>
              <a:gd name="connsiteX217" fmla="*/ 570481 w 831647"/>
              <a:gd name="connsiteY217" fmla="*/ 384601 h 520034"/>
              <a:gd name="connsiteX218" fmla="*/ 553706 w 831647"/>
              <a:gd name="connsiteY218" fmla="*/ 362041 h 520034"/>
              <a:gd name="connsiteX219" fmla="*/ 541617 w 831647"/>
              <a:gd name="connsiteY219" fmla="*/ 349489 h 520034"/>
              <a:gd name="connsiteX220" fmla="*/ 531089 w 831647"/>
              <a:gd name="connsiteY220" fmla="*/ 295520 h 520034"/>
              <a:gd name="connsiteX221" fmla="*/ 531089 w 831647"/>
              <a:gd name="connsiteY221" fmla="*/ 292975 h 520034"/>
              <a:gd name="connsiteX222" fmla="*/ 540286 w 831647"/>
              <a:gd name="connsiteY222" fmla="*/ 218761 h 520034"/>
              <a:gd name="connsiteX223" fmla="*/ 542658 w 831647"/>
              <a:gd name="connsiteY223" fmla="*/ 208349 h 520034"/>
              <a:gd name="connsiteX224" fmla="*/ 532940 w 831647"/>
              <a:gd name="connsiteY224" fmla="*/ 204589 h 520034"/>
              <a:gd name="connsiteX225" fmla="*/ 532535 w 831647"/>
              <a:gd name="connsiteY225" fmla="*/ 204589 h 520034"/>
              <a:gd name="connsiteX226" fmla="*/ 505522 w 831647"/>
              <a:gd name="connsiteY226" fmla="*/ 195508 h 520034"/>
              <a:gd name="connsiteX227" fmla="*/ 494242 w 831647"/>
              <a:gd name="connsiteY227" fmla="*/ 190938 h 520034"/>
              <a:gd name="connsiteX228" fmla="*/ 488458 w 831647"/>
              <a:gd name="connsiteY228" fmla="*/ 182261 h 520034"/>
              <a:gd name="connsiteX229" fmla="*/ 485392 w 831647"/>
              <a:gd name="connsiteY229" fmla="*/ 173642 h 520034"/>
              <a:gd name="connsiteX230" fmla="*/ 482616 w 831647"/>
              <a:gd name="connsiteY230" fmla="*/ 163230 h 520034"/>
              <a:gd name="connsiteX231" fmla="*/ 479203 w 831647"/>
              <a:gd name="connsiteY231" fmla="*/ 153224 h 520034"/>
              <a:gd name="connsiteX232" fmla="*/ 452884 w 831647"/>
              <a:gd name="connsiteY232" fmla="*/ 115683 h 520034"/>
              <a:gd name="connsiteX233" fmla="*/ 405393 w 831647"/>
              <a:gd name="connsiteY233" fmla="*/ 88727 h 520034"/>
              <a:gd name="connsiteX234" fmla="*/ 404988 w 831647"/>
              <a:gd name="connsiteY234" fmla="*/ 88727 h 520034"/>
              <a:gd name="connsiteX235" fmla="*/ 389255 w 831647"/>
              <a:gd name="connsiteY235" fmla="*/ 106601 h 520034"/>
              <a:gd name="connsiteX236" fmla="*/ 384512 w 831647"/>
              <a:gd name="connsiteY236" fmla="*/ 113889 h 520034"/>
              <a:gd name="connsiteX237" fmla="*/ 383586 w 831647"/>
              <a:gd name="connsiteY237" fmla="*/ 113889 h 520034"/>
              <a:gd name="connsiteX238" fmla="*/ 360448 w 831647"/>
              <a:gd name="connsiteY238" fmla="*/ 102321 h 520034"/>
              <a:gd name="connsiteX239" fmla="*/ 351714 w 831647"/>
              <a:gd name="connsiteY239" fmla="*/ 97404 h 520034"/>
              <a:gd name="connsiteX240" fmla="*/ 341360 w 831647"/>
              <a:gd name="connsiteY240" fmla="*/ 78893 h 520034"/>
              <a:gd name="connsiteX241" fmla="*/ 324643 w 831647"/>
              <a:gd name="connsiteY241" fmla="*/ 58590 h 520034"/>
              <a:gd name="connsiteX242" fmla="*/ 293523 w 831647"/>
              <a:gd name="connsiteY242" fmla="*/ 30825 h 520034"/>
              <a:gd name="connsiteX243" fmla="*/ 252280 w 831647"/>
              <a:gd name="connsiteY243" fmla="*/ 30825 h 520034"/>
              <a:gd name="connsiteX244" fmla="*/ 243603 w 831647"/>
              <a:gd name="connsiteY244" fmla="*/ 42047 h 520034"/>
              <a:gd name="connsiteX245" fmla="*/ 242735 w 831647"/>
              <a:gd name="connsiteY245" fmla="*/ 42452 h 520034"/>
              <a:gd name="connsiteX246" fmla="*/ 165050 w 831647"/>
              <a:gd name="connsiteY246" fmla="*/ 43088 h 520034"/>
              <a:gd name="connsiteX247" fmla="*/ 164646 w 831647"/>
              <a:gd name="connsiteY247" fmla="*/ 43088 h 520034"/>
              <a:gd name="connsiteX248" fmla="*/ 94249 w 831647"/>
              <a:gd name="connsiteY248" fmla="*/ 18620 h 520034"/>
              <a:gd name="connsiteX249" fmla="*/ 63823 w 831647"/>
              <a:gd name="connsiteY249" fmla="*/ 2481 h 520034"/>
              <a:gd name="connsiteX250" fmla="*/ 2971 w 831647"/>
              <a:gd name="connsiteY250" fmla="*/ 10464 h 520034"/>
              <a:gd name="connsiteX251" fmla="*/ 16622 w 831647"/>
              <a:gd name="connsiteY251" fmla="*/ 31577 h 520034"/>
              <a:gd name="connsiteX252" fmla="*/ 39760 w 831647"/>
              <a:gd name="connsiteY252" fmla="*/ 85430 h 520034"/>
              <a:gd name="connsiteX253" fmla="*/ 62897 w 831647"/>
              <a:gd name="connsiteY253" fmla="*/ 105675 h 520034"/>
              <a:gd name="connsiteX254" fmla="*/ 73194 w 831647"/>
              <a:gd name="connsiteY254" fmla="*/ 111923 h 520034"/>
              <a:gd name="connsiteX255" fmla="*/ 86961 w 831647"/>
              <a:gd name="connsiteY255" fmla="*/ 149521 h 520034"/>
              <a:gd name="connsiteX256" fmla="*/ 81870 w 831647"/>
              <a:gd name="connsiteY256" fmla="*/ 152124 h 520034"/>
              <a:gd name="connsiteX257" fmla="*/ 74466 w 831647"/>
              <a:gd name="connsiteY257" fmla="*/ 151199 h 520034"/>
              <a:gd name="connsiteX258" fmla="*/ 67756 w 831647"/>
              <a:gd name="connsiteY258" fmla="*/ 150331 h 520034"/>
              <a:gd name="connsiteX259" fmla="*/ 65211 w 831647"/>
              <a:gd name="connsiteY259" fmla="*/ 151257 h 520034"/>
              <a:gd name="connsiteX260" fmla="*/ 67583 w 831647"/>
              <a:gd name="connsiteY260" fmla="*/ 155769 h 520034"/>
              <a:gd name="connsiteX261" fmla="*/ 97835 w 831647"/>
              <a:gd name="connsiteY261" fmla="*/ 175320 h 520034"/>
              <a:gd name="connsiteX262" fmla="*/ 122419 w 831647"/>
              <a:gd name="connsiteY262" fmla="*/ 188393 h 520034"/>
              <a:gd name="connsiteX263" fmla="*/ 128204 w 831647"/>
              <a:gd name="connsiteY263" fmla="*/ 193772 h 520034"/>
              <a:gd name="connsiteX264" fmla="*/ 140698 w 831647"/>
              <a:gd name="connsiteY264" fmla="*/ 218240 h 520034"/>
              <a:gd name="connsiteX265" fmla="*/ 136013 w 831647"/>
              <a:gd name="connsiteY265" fmla="*/ 229462 h 520034"/>
              <a:gd name="connsiteX266" fmla="*/ 135261 w 831647"/>
              <a:gd name="connsiteY266" fmla="*/ 230850 h 520034"/>
              <a:gd name="connsiteX267" fmla="*/ 159729 w 831647"/>
              <a:gd name="connsiteY267" fmla="*/ 250460 h 520034"/>
              <a:gd name="connsiteX268" fmla="*/ 167480 w 831647"/>
              <a:gd name="connsiteY268" fmla="*/ 255492 h 520034"/>
              <a:gd name="connsiteX269" fmla="*/ 196980 w 831647"/>
              <a:gd name="connsiteY269" fmla="*/ 291240 h 520034"/>
              <a:gd name="connsiteX270" fmla="*/ 198947 w 831647"/>
              <a:gd name="connsiteY270" fmla="*/ 293264 h 520034"/>
              <a:gd name="connsiteX271" fmla="*/ 208144 w 831647"/>
              <a:gd name="connsiteY271" fmla="*/ 282679 h 520034"/>
              <a:gd name="connsiteX272" fmla="*/ 205946 w 831647"/>
              <a:gd name="connsiteY272" fmla="*/ 272556 h 520034"/>
              <a:gd name="connsiteX273" fmla="*/ 202071 w 831647"/>
              <a:gd name="connsiteY273" fmla="*/ 261277 h 520034"/>
              <a:gd name="connsiteX274" fmla="*/ 185701 w 831647"/>
              <a:gd name="connsiteY274" fmla="*/ 253178 h 520034"/>
              <a:gd name="connsiteX275" fmla="*/ 179916 w 831647"/>
              <a:gd name="connsiteY275" fmla="*/ 252658 h 520034"/>
              <a:gd name="connsiteX276" fmla="*/ 175636 w 831647"/>
              <a:gd name="connsiteY276" fmla="*/ 241783 h 520034"/>
              <a:gd name="connsiteX277" fmla="*/ 172628 w 831647"/>
              <a:gd name="connsiteY277" fmla="*/ 228132 h 520034"/>
              <a:gd name="connsiteX278" fmla="*/ 154754 w 831647"/>
              <a:gd name="connsiteY278" fmla="*/ 188913 h 520034"/>
              <a:gd name="connsiteX279" fmla="*/ 139310 w 831647"/>
              <a:gd name="connsiteY279" fmla="*/ 166759 h 520034"/>
              <a:gd name="connsiteX280" fmla="*/ 124617 w 831647"/>
              <a:gd name="connsiteY280" fmla="*/ 147959 h 520034"/>
              <a:gd name="connsiteX281" fmla="*/ 103157 w 831647"/>
              <a:gd name="connsiteY281" fmla="*/ 118575 h 520034"/>
              <a:gd name="connsiteX282" fmla="*/ 101364 w 831647"/>
              <a:gd name="connsiteY282" fmla="*/ 116088 h 520034"/>
              <a:gd name="connsiteX283" fmla="*/ 104025 w 831647"/>
              <a:gd name="connsiteY283" fmla="*/ 110303 h 520034"/>
              <a:gd name="connsiteX284" fmla="*/ 105934 w 831647"/>
              <a:gd name="connsiteY284" fmla="*/ 103593 h 520034"/>
              <a:gd name="connsiteX285" fmla="*/ 95059 w 831647"/>
              <a:gd name="connsiteY285" fmla="*/ 98271 h 520034"/>
              <a:gd name="connsiteX286" fmla="*/ 85110 w 831647"/>
              <a:gd name="connsiteY286" fmla="*/ 94801 h 520034"/>
              <a:gd name="connsiteX287" fmla="*/ 69318 w 831647"/>
              <a:gd name="connsiteY287" fmla="*/ 72589 h 520034"/>
              <a:gd name="connsiteX288" fmla="*/ 60294 w 831647"/>
              <a:gd name="connsiteY288" fmla="*/ 32387 h 520034"/>
              <a:gd name="connsiteX289" fmla="*/ 60294 w 831647"/>
              <a:gd name="connsiteY289" fmla="*/ 26602 h 520034"/>
              <a:gd name="connsiteX290" fmla="*/ 64517 w 831647"/>
              <a:gd name="connsiteY290" fmla="*/ 24751 h 520034"/>
              <a:gd name="connsiteX291" fmla="*/ 71863 w 831647"/>
              <a:gd name="connsiteY291" fmla="*/ 27990 h 520034"/>
              <a:gd name="connsiteX292" fmla="*/ 72615 w 831647"/>
              <a:gd name="connsiteY292" fmla="*/ 28916 h 520034"/>
              <a:gd name="connsiteX293" fmla="*/ 80135 w 831647"/>
              <a:gd name="connsiteY293" fmla="*/ 32618 h 520034"/>
              <a:gd name="connsiteX294" fmla="*/ 84820 w 831647"/>
              <a:gd name="connsiteY294" fmla="*/ 31403 h 520034"/>
              <a:gd name="connsiteX295" fmla="*/ 96389 w 831647"/>
              <a:gd name="connsiteY295" fmla="*/ 39154 h 520034"/>
              <a:gd name="connsiteX296" fmla="*/ 101595 w 831647"/>
              <a:gd name="connsiteY296" fmla="*/ 41815 h 520034"/>
              <a:gd name="connsiteX297" fmla="*/ 105413 w 831647"/>
              <a:gd name="connsiteY297" fmla="*/ 41526 h 520034"/>
              <a:gd name="connsiteX298" fmla="*/ 109462 w 831647"/>
              <a:gd name="connsiteY298" fmla="*/ 41526 h 520034"/>
              <a:gd name="connsiteX299" fmla="*/ 114147 w 831647"/>
              <a:gd name="connsiteY299" fmla="*/ 42567 h 520034"/>
              <a:gd name="connsiteX300" fmla="*/ 114610 w 831647"/>
              <a:gd name="connsiteY300" fmla="*/ 47889 h 520034"/>
              <a:gd name="connsiteX301" fmla="*/ 119353 w 831647"/>
              <a:gd name="connsiteY301" fmla="*/ 77505 h 520034"/>
              <a:gd name="connsiteX302" fmla="*/ 126815 w 831647"/>
              <a:gd name="connsiteY302" fmla="*/ 98908 h 520034"/>
              <a:gd name="connsiteX303" fmla="*/ 124328 w 831647"/>
              <a:gd name="connsiteY303" fmla="*/ 108972 h 520034"/>
              <a:gd name="connsiteX304" fmla="*/ 128204 w 831647"/>
              <a:gd name="connsiteY304" fmla="*/ 119674 h 520034"/>
              <a:gd name="connsiteX305" fmla="*/ 135145 w 831647"/>
              <a:gd name="connsiteY305" fmla="*/ 115451 h 520034"/>
              <a:gd name="connsiteX306" fmla="*/ 156200 w 831647"/>
              <a:gd name="connsiteY306" fmla="*/ 131300 h 520034"/>
              <a:gd name="connsiteX307" fmla="*/ 170719 w 831647"/>
              <a:gd name="connsiteY307" fmla="*/ 140614 h 520034"/>
              <a:gd name="connsiteX308" fmla="*/ 179454 w 831647"/>
              <a:gd name="connsiteY308" fmla="*/ 147728 h 520034"/>
              <a:gd name="connsiteX309" fmla="*/ 191890 w 831647"/>
              <a:gd name="connsiteY309" fmla="*/ 165082 h 520034"/>
              <a:gd name="connsiteX310" fmla="*/ 204153 w 831647"/>
              <a:gd name="connsiteY310" fmla="*/ 174105 h 520034"/>
              <a:gd name="connsiteX311" fmla="*/ 210632 w 831647"/>
              <a:gd name="connsiteY311" fmla="*/ 179890 h 520034"/>
              <a:gd name="connsiteX312" fmla="*/ 216416 w 831647"/>
              <a:gd name="connsiteY312" fmla="*/ 184170 h 520034"/>
              <a:gd name="connsiteX313" fmla="*/ 215433 w 831647"/>
              <a:gd name="connsiteY313" fmla="*/ 197764 h 520034"/>
              <a:gd name="connsiteX314" fmla="*/ 214854 w 831647"/>
              <a:gd name="connsiteY314" fmla="*/ 205573 h 520034"/>
              <a:gd name="connsiteX315" fmla="*/ 231745 w 831647"/>
              <a:gd name="connsiteY315" fmla="*/ 217488 h 520034"/>
              <a:gd name="connsiteX316" fmla="*/ 245975 w 831647"/>
              <a:gd name="connsiteY316" fmla="*/ 227727 h 520034"/>
              <a:gd name="connsiteX317" fmla="*/ 254536 w 831647"/>
              <a:gd name="connsiteY317" fmla="*/ 238312 h 520034"/>
              <a:gd name="connsiteX318" fmla="*/ 314057 w 831647"/>
              <a:gd name="connsiteY318" fmla="*/ 303561 h 520034"/>
              <a:gd name="connsiteX319" fmla="*/ 325973 w 831647"/>
              <a:gd name="connsiteY319" fmla="*/ 329070 h 520034"/>
              <a:gd name="connsiteX320" fmla="*/ 327477 w 831647"/>
              <a:gd name="connsiteY320" fmla="*/ 333524 h 520034"/>
              <a:gd name="connsiteX321" fmla="*/ 326378 w 831647"/>
              <a:gd name="connsiteY321" fmla="*/ 344399 h 520034"/>
              <a:gd name="connsiteX322" fmla="*/ 326378 w 831647"/>
              <a:gd name="connsiteY322" fmla="*/ 353249 h 520034"/>
              <a:gd name="connsiteX323" fmla="*/ 327419 w 831647"/>
              <a:gd name="connsiteY323" fmla="*/ 357588 h 520034"/>
              <a:gd name="connsiteX324" fmla="*/ 322213 w 831647"/>
              <a:gd name="connsiteY324" fmla="*/ 360769 h 520034"/>
              <a:gd name="connsiteX325" fmla="*/ 318106 w 831647"/>
              <a:gd name="connsiteY325" fmla="*/ 363429 h 520034"/>
              <a:gd name="connsiteX326" fmla="*/ 338872 w 831647"/>
              <a:gd name="connsiteY326" fmla="*/ 396401 h 520034"/>
              <a:gd name="connsiteX327" fmla="*/ 371844 w 831647"/>
              <a:gd name="connsiteY327" fmla="*/ 417109 h 520034"/>
              <a:gd name="connsiteX328" fmla="*/ 378901 w 831647"/>
              <a:gd name="connsiteY328" fmla="*/ 423299 h 520034"/>
              <a:gd name="connsiteX329" fmla="*/ 402790 w 831647"/>
              <a:gd name="connsiteY329" fmla="*/ 431686 h 520034"/>
              <a:gd name="connsiteX330" fmla="*/ 422168 w 831647"/>
              <a:gd name="connsiteY330" fmla="*/ 436429 h 520034"/>
              <a:gd name="connsiteX331" fmla="*/ 442472 w 831647"/>
              <a:gd name="connsiteY331" fmla="*/ 447362 h 520034"/>
              <a:gd name="connsiteX332" fmla="*/ 475964 w 831647"/>
              <a:gd name="connsiteY332" fmla="*/ 463674 h 520034"/>
              <a:gd name="connsiteX333" fmla="*/ 538088 w 831647"/>
              <a:gd name="connsiteY333" fmla="*/ 490456 h 520034"/>
              <a:gd name="connsiteX334" fmla="*/ 557582 w 831647"/>
              <a:gd name="connsiteY334" fmla="*/ 495835 h 520034"/>
              <a:gd name="connsiteX335" fmla="*/ 592288 w 831647"/>
              <a:gd name="connsiteY335" fmla="*/ 487332 h 520034"/>
              <a:gd name="connsiteX336" fmla="*/ 608253 w 831647"/>
              <a:gd name="connsiteY336" fmla="*/ 484266 h 52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831647" h="520034">
                <a:moveTo>
                  <a:pt x="671477" y="519841"/>
                </a:moveTo>
                <a:cubicBezTo>
                  <a:pt x="671234" y="519928"/>
                  <a:pt x="670968" y="519928"/>
                  <a:pt x="670725" y="519841"/>
                </a:cubicBezTo>
                <a:cubicBezTo>
                  <a:pt x="659619" y="509949"/>
                  <a:pt x="647587" y="499537"/>
                  <a:pt x="641803" y="497165"/>
                </a:cubicBezTo>
                <a:lnTo>
                  <a:pt x="635614" y="494447"/>
                </a:lnTo>
                <a:cubicBezTo>
                  <a:pt x="627226" y="489924"/>
                  <a:pt x="617942" y="487315"/>
                  <a:pt x="608427" y="486811"/>
                </a:cubicBezTo>
                <a:cubicBezTo>
                  <a:pt x="603128" y="486840"/>
                  <a:pt x="597888" y="487882"/>
                  <a:pt x="592982" y="489877"/>
                </a:cubicBezTo>
                <a:cubicBezTo>
                  <a:pt x="581819" y="494996"/>
                  <a:pt x="569787" y="497941"/>
                  <a:pt x="557524" y="498554"/>
                </a:cubicBezTo>
                <a:cubicBezTo>
                  <a:pt x="550201" y="498704"/>
                  <a:pt x="542999" y="496697"/>
                  <a:pt x="536816" y="492770"/>
                </a:cubicBezTo>
                <a:cubicBezTo>
                  <a:pt x="517617" y="481189"/>
                  <a:pt x="496932" y="472275"/>
                  <a:pt x="475327" y="466277"/>
                </a:cubicBezTo>
                <a:cubicBezTo>
                  <a:pt x="463180" y="462517"/>
                  <a:pt x="451675" y="456941"/>
                  <a:pt x="441199" y="449733"/>
                </a:cubicBezTo>
                <a:cubicBezTo>
                  <a:pt x="434958" y="445499"/>
                  <a:pt x="428311" y="441895"/>
                  <a:pt x="421358" y="438974"/>
                </a:cubicBezTo>
                <a:cubicBezTo>
                  <a:pt x="415163" y="436880"/>
                  <a:pt x="408795" y="435348"/>
                  <a:pt x="402328" y="434405"/>
                </a:cubicBezTo>
                <a:cubicBezTo>
                  <a:pt x="393281" y="433554"/>
                  <a:pt x="384616" y="430321"/>
                  <a:pt x="377223" y="425034"/>
                </a:cubicBezTo>
                <a:cubicBezTo>
                  <a:pt x="374967" y="423183"/>
                  <a:pt x="372596" y="421043"/>
                  <a:pt x="370108" y="418787"/>
                </a:cubicBezTo>
                <a:cubicBezTo>
                  <a:pt x="360564" y="410226"/>
                  <a:pt x="348706" y="399582"/>
                  <a:pt x="338468" y="398599"/>
                </a:cubicBezTo>
                <a:cubicBezTo>
                  <a:pt x="324296" y="397327"/>
                  <a:pt x="316255" y="369677"/>
                  <a:pt x="315619" y="363892"/>
                </a:cubicBezTo>
                <a:cubicBezTo>
                  <a:pt x="315272" y="360480"/>
                  <a:pt x="318743" y="359496"/>
                  <a:pt x="321404" y="358802"/>
                </a:cubicBezTo>
                <a:cubicBezTo>
                  <a:pt x="323023" y="358339"/>
                  <a:pt x="324816" y="357819"/>
                  <a:pt x="325106" y="357009"/>
                </a:cubicBezTo>
                <a:cubicBezTo>
                  <a:pt x="325198" y="356164"/>
                  <a:pt x="324926" y="355320"/>
                  <a:pt x="324354" y="354695"/>
                </a:cubicBezTo>
                <a:cubicBezTo>
                  <a:pt x="322179" y="351334"/>
                  <a:pt x="322179" y="347008"/>
                  <a:pt x="324354" y="343647"/>
                </a:cubicBezTo>
                <a:cubicBezTo>
                  <a:pt x="325985" y="340870"/>
                  <a:pt x="326384" y="337533"/>
                  <a:pt x="325453" y="334450"/>
                </a:cubicBezTo>
                <a:cubicBezTo>
                  <a:pt x="324949" y="333021"/>
                  <a:pt x="324429" y="331517"/>
                  <a:pt x="323891" y="329938"/>
                </a:cubicBezTo>
                <a:cubicBezTo>
                  <a:pt x="321305" y="321093"/>
                  <a:pt x="317406" y="312689"/>
                  <a:pt x="312322" y="305007"/>
                </a:cubicBezTo>
                <a:cubicBezTo>
                  <a:pt x="293974" y="282222"/>
                  <a:pt x="274353" y="260496"/>
                  <a:pt x="253552" y="239932"/>
                </a:cubicBezTo>
                <a:cubicBezTo>
                  <a:pt x="250024" y="236733"/>
                  <a:pt x="247022" y="233008"/>
                  <a:pt x="244644" y="228884"/>
                </a:cubicBezTo>
                <a:cubicBezTo>
                  <a:pt x="242446" y="225297"/>
                  <a:pt x="241347" y="223447"/>
                  <a:pt x="231514" y="219571"/>
                </a:cubicBezTo>
                <a:cubicBezTo>
                  <a:pt x="221680" y="215695"/>
                  <a:pt x="215317" y="211299"/>
                  <a:pt x="213293" y="206382"/>
                </a:cubicBezTo>
                <a:cubicBezTo>
                  <a:pt x="212118" y="203259"/>
                  <a:pt x="212350" y="199776"/>
                  <a:pt x="213929" y="196838"/>
                </a:cubicBezTo>
                <a:cubicBezTo>
                  <a:pt x="215953" y="193321"/>
                  <a:pt x="216353" y="189104"/>
                  <a:pt x="215028" y="185269"/>
                </a:cubicBezTo>
                <a:cubicBezTo>
                  <a:pt x="214091" y="183580"/>
                  <a:pt x="212425" y="182429"/>
                  <a:pt x="210516" y="182146"/>
                </a:cubicBezTo>
                <a:cubicBezTo>
                  <a:pt x="207207" y="181052"/>
                  <a:pt x="204413" y="178791"/>
                  <a:pt x="202649" y="175783"/>
                </a:cubicBezTo>
                <a:cubicBezTo>
                  <a:pt x="200283" y="171699"/>
                  <a:pt x="196356" y="168755"/>
                  <a:pt x="191775" y="167627"/>
                </a:cubicBezTo>
                <a:cubicBezTo>
                  <a:pt x="183034" y="165388"/>
                  <a:pt x="177070" y="157319"/>
                  <a:pt x="177487" y="148307"/>
                </a:cubicBezTo>
                <a:cubicBezTo>
                  <a:pt x="177487" y="146398"/>
                  <a:pt x="174074" y="144952"/>
                  <a:pt x="170141" y="143274"/>
                </a:cubicBezTo>
                <a:cubicBezTo>
                  <a:pt x="164270" y="141284"/>
                  <a:pt x="158977" y="137866"/>
                  <a:pt x="154754" y="133325"/>
                </a:cubicBezTo>
                <a:cubicBezTo>
                  <a:pt x="144053" y="120136"/>
                  <a:pt x="139599" y="117360"/>
                  <a:pt x="137748" y="117360"/>
                </a:cubicBezTo>
                <a:cubicBezTo>
                  <a:pt x="137482" y="117314"/>
                  <a:pt x="137210" y="117424"/>
                  <a:pt x="137054" y="117649"/>
                </a:cubicBezTo>
                <a:cubicBezTo>
                  <a:pt x="134850" y="120212"/>
                  <a:pt x="131825" y="121930"/>
                  <a:pt x="128493" y="122508"/>
                </a:cubicBezTo>
                <a:cubicBezTo>
                  <a:pt x="124444" y="122508"/>
                  <a:pt x="122361" y="118170"/>
                  <a:pt x="122361" y="109551"/>
                </a:cubicBezTo>
                <a:cubicBezTo>
                  <a:pt x="121852" y="105461"/>
                  <a:pt x="122905" y="101331"/>
                  <a:pt x="125311" y="97982"/>
                </a:cubicBezTo>
                <a:cubicBezTo>
                  <a:pt x="126642" y="96189"/>
                  <a:pt x="127047" y="95668"/>
                  <a:pt x="117676" y="79125"/>
                </a:cubicBezTo>
                <a:cubicBezTo>
                  <a:pt x="106570" y="59516"/>
                  <a:pt x="110850" y="51244"/>
                  <a:pt x="112875" y="47311"/>
                </a:cubicBezTo>
                <a:cubicBezTo>
                  <a:pt x="113858" y="45402"/>
                  <a:pt x="113800" y="45344"/>
                  <a:pt x="113222" y="44997"/>
                </a:cubicBezTo>
                <a:cubicBezTo>
                  <a:pt x="112163" y="44418"/>
                  <a:pt x="110954" y="44158"/>
                  <a:pt x="109751" y="44245"/>
                </a:cubicBezTo>
                <a:cubicBezTo>
                  <a:pt x="108490" y="44256"/>
                  <a:pt x="107235" y="44355"/>
                  <a:pt x="105991" y="44534"/>
                </a:cubicBezTo>
                <a:cubicBezTo>
                  <a:pt x="104603" y="44534"/>
                  <a:pt x="103215" y="44534"/>
                  <a:pt x="101884" y="44534"/>
                </a:cubicBezTo>
                <a:cubicBezTo>
                  <a:pt x="98853" y="44887"/>
                  <a:pt x="95926" y="43290"/>
                  <a:pt x="94596" y="40543"/>
                </a:cubicBezTo>
                <a:cubicBezTo>
                  <a:pt x="93005" y="36748"/>
                  <a:pt x="89338" y="34232"/>
                  <a:pt x="85225" y="34122"/>
                </a:cubicBezTo>
                <a:cubicBezTo>
                  <a:pt x="83987" y="34111"/>
                  <a:pt x="82767" y="34429"/>
                  <a:pt x="81697" y="35048"/>
                </a:cubicBezTo>
                <a:cubicBezTo>
                  <a:pt x="80725" y="35603"/>
                  <a:pt x="79632" y="35921"/>
                  <a:pt x="78515" y="35973"/>
                </a:cubicBezTo>
                <a:cubicBezTo>
                  <a:pt x="75507" y="35973"/>
                  <a:pt x="73483" y="33486"/>
                  <a:pt x="71285" y="30825"/>
                </a:cubicBezTo>
                <a:lnTo>
                  <a:pt x="70533" y="29899"/>
                </a:lnTo>
                <a:cubicBezTo>
                  <a:pt x="69000" y="28366"/>
                  <a:pt x="66918" y="27510"/>
                  <a:pt x="64748" y="27528"/>
                </a:cubicBezTo>
                <a:cubicBezTo>
                  <a:pt x="63863" y="27412"/>
                  <a:pt x="62978" y="27736"/>
                  <a:pt x="62377" y="28395"/>
                </a:cubicBezTo>
                <a:cubicBezTo>
                  <a:pt x="61839" y="29472"/>
                  <a:pt x="61839" y="30732"/>
                  <a:pt x="62377" y="31808"/>
                </a:cubicBezTo>
                <a:cubicBezTo>
                  <a:pt x="67091" y="45055"/>
                  <a:pt x="70163" y="58827"/>
                  <a:pt x="71516" y="72820"/>
                </a:cubicBezTo>
                <a:cubicBezTo>
                  <a:pt x="71788" y="81867"/>
                  <a:pt x="77538" y="89838"/>
                  <a:pt x="86035" y="92950"/>
                </a:cubicBezTo>
                <a:cubicBezTo>
                  <a:pt x="89136" y="94338"/>
                  <a:pt x="92346" y="95460"/>
                  <a:pt x="95637" y="96305"/>
                </a:cubicBezTo>
                <a:cubicBezTo>
                  <a:pt x="100097" y="97010"/>
                  <a:pt x="104239" y="99023"/>
                  <a:pt x="107553" y="102089"/>
                </a:cubicBezTo>
                <a:cubicBezTo>
                  <a:pt x="110677" y="105618"/>
                  <a:pt x="107842" y="109146"/>
                  <a:pt x="105702" y="111691"/>
                </a:cubicBezTo>
                <a:cubicBezTo>
                  <a:pt x="104603" y="113022"/>
                  <a:pt x="103388" y="114526"/>
                  <a:pt x="103504" y="115451"/>
                </a:cubicBezTo>
                <a:cubicBezTo>
                  <a:pt x="103620" y="116377"/>
                  <a:pt x="103504" y="115914"/>
                  <a:pt x="104314" y="116435"/>
                </a:cubicBezTo>
                <a:cubicBezTo>
                  <a:pt x="110098" y="120252"/>
                  <a:pt x="118717" y="132052"/>
                  <a:pt x="126526" y="146571"/>
                </a:cubicBezTo>
                <a:cubicBezTo>
                  <a:pt x="130598" y="153241"/>
                  <a:pt x="135434" y="159413"/>
                  <a:pt x="140929" y="164966"/>
                </a:cubicBezTo>
                <a:cubicBezTo>
                  <a:pt x="147871" y="171427"/>
                  <a:pt x="153320" y="179323"/>
                  <a:pt x="156894" y="188103"/>
                </a:cubicBezTo>
                <a:cubicBezTo>
                  <a:pt x="160712" y="202102"/>
                  <a:pt x="167248" y="219455"/>
                  <a:pt x="174248" y="226339"/>
                </a:cubicBezTo>
                <a:cubicBezTo>
                  <a:pt x="177493" y="230741"/>
                  <a:pt x="178812" y="236276"/>
                  <a:pt x="177892" y="241667"/>
                </a:cubicBezTo>
                <a:cubicBezTo>
                  <a:pt x="177892" y="246873"/>
                  <a:pt x="177892" y="249824"/>
                  <a:pt x="180263" y="250229"/>
                </a:cubicBezTo>
                <a:cubicBezTo>
                  <a:pt x="182085" y="250512"/>
                  <a:pt x="183919" y="250685"/>
                  <a:pt x="185759" y="250749"/>
                </a:cubicBezTo>
                <a:cubicBezTo>
                  <a:pt x="193568" y="251270"/>
                  <a:pt x="204269" y="251906"/>
                  <a:pt x="204269" y="261103"/>
                </a:cubicBezTo>
                <a:cubicBezTo>
                  <a:pt x="204361" y="264747"/>
                  <a:pt x="205593" y="268264"/>
                  <a:pt x="207797" y="271168"/>
                </a:cubicBezTo>
                <a:cubicBezTo>
                  <a:pt x="210626" y="274517"/>
                  <a:pt x="211540" y="279075"/>
                  <a:pt x="210227" y="283257"/>
                </a:cubicBezTo>
                <a:cubicBezTo>
                  <a:pt x="208029" y="289910"/>
                  <a:pt x="202938" y="295347"/>
                  <a:pt x="198658" y="295347"/>
                </a:cubicBezTo>
                <a:cubicBezTo>
                  <a:pt x="196576" y="295312"/>
                  <a:pt x="194834" y="293762"/>
                  <a:pt x="194551" y="291703"/>
                </a:cubicBezTo>
                <a:cubicBezTo>
                  <a:pt x="189206" y="277230"/>
                  <a:pt x="179112" y="264990"/>
                  <a:pt x="165918" y="256996"/>
                </a:cubicBezTo>
                <a:cubicBezTo>
                  <a:pt x="163315" y="255261"/>
                  <a:pt x="160712" y="253641"/>
                  <a:pt x="158167" y="252022"/>
                </a:cubicBezTo>
                <a:cubicBezTo>
                  <a:pt x="142086" y="241609"/>
                  <a:pt x="132947" y="235536"/>
                  <a:pt x="132715" y="230619"/>
                </a:cubicBezTo>
                <a:cubicBezTo>
                  <a:pt x="132669" y="229317"/>
                  <a:pt x="133277" y="228080"/>
                  <a:pt x="134335" y="227322"/>
                </a:cubicBezTo>
                <a:cubicBezTo>
                  <a:pt x="136886" y="224835"/>
                  <a:pt x="138269" y="221393"/>
                  <a:pt x="138153" y="217835"/>
                </a:cubicBezTo>
                <a:cubicBezTo>
                  <a:pt x="137783" y="208957"/>
                  <a:pt x="133554" y="200673"/>
                  <a:pt x="126584" y="195161"/>
                </a:cubicBezTo>
                <a:lnTo>
                  <a:pt x="120799" y="189723"/>
                </a:lnTo>
                <a:cubicBezTo>
                  <a:pt x="110388" y="180353"/>
                  <a:pt x="105760" y="176245"/>
                  <a:pt x="98009" y="177229"/>
                </a:cubicBezTo>
                <a:cubicBezTo>
                  <a:pt x="90258" y="178212"/>
                  <a:pt x="72384" y="165197"/>
                  <a:pt x="65674" y="156810"/>
                </a:cubicBezTo>
                <a:cubicBezTo>
                  <a:pt x="63476" y="154033"/>
                  <a:pt x="62550" y="151951"/>
                  <a:pt x="62897" y="150389"/>
                </a:cubicBezTo>
                <a:cubicBezTo>
                  <a:pt x="63245" y="148827"/>
                  <a:pt x="64864" y="147728"/>
                  <a:pt x="67641" y="147728"/>
                </a:cubicBezTo>
                <a:cubicBezTo>
                  <a:pt x="70035" y="147838"/>
                  <a:pt x="72413" y="148145"/>
                  <a:pt x="74755" y="148654"/>
                </a:cubicBezTo>
                <a:cubicBezTo>
                  <a:pt x="77064" y="149105"/>
                  <a:pt x="79406" y="149400"/>
                  <a:pt x="81755" y="149521"/>
                </a:cubicBezTo>
                <a:cubicBezTo>
                  <a:pt x="84358" y="149521"/>
                  <a:pt x="84647" y="148711"/>
                  <a:pt x="84705" y="148480"/>
                </a:cubicBezTo>
                <a:cubicBezTo>
                  <a:pt x="86209" y="143968"/>
                  <a:pt x="86787" y="122971"/>
                  <a:pt x="71863" y="113774"/>
                </a:cubicBezTo>
                <a:cubicBezTo>
                  <a:pt x="68508" y="111633"/>
                  <a:pt x="64980" y="109551"/>
                  <a:pt x="61625" y="107526"/>
                </a:cubicBezTo>
                <a:cubicBezTo>
                  <a:pt x="49188" y="100122"/>
                  <a:pt x="38487" y="93759"/>
                  <a:pt x="37388" y="85661"/>
                </a:cubicBezTo>
                <a:cubicBezTo>
                  <a:pt x="33657" y="66648"/>
                  <a:pt x="25883" y="48658"/>
                  <a:pt x="14597" y="32907"/>
                </a:cubicBezTo>
                <a:cubicBezTo>
                  <a:pt x="8819" y="25816"/>
                  <a:pt x="3925" y="18047"/>
                  <a:pt x="21" y="9770"/>
                </a:cubicBezTo>
                <a:cubicBezTo>
                  <a:pt x="-153" y="9446"/>
                  <a:pt x="-153" y="9052"/>
                  <a:pt x="21" y="8728"/>
                </a:cubicBezTo>
                <a:cubicBezTo>
                  <a:pt x="194" y="8428"/>
                  <a:pt x="489" y="8219"/>
                  <a:pt x="830" y="8150"/>
                </a:cubicBezTo>
                <a:lnTo>
                  <a:pt x="63649" y="-64"/>
                </a:lnTo>
                <a:cubicBezTo>
                  <a:pt x="63910" y="-151"/>
                  <a:pt x="64199" y="-151"/>
                  <a:pt x="64459" y="-64"/>
                </a:cubicBezTo>
                <a:cubicBezTo>
                  <a:pt x="64459" y="-64"/>
                  <a:pt x="83779" y="13472"/>
                  <a:pt x="94480" y="16017"/>
                </a:cubicBezTo>
                <a:cubicBezTo>
                  <a:pt x="105182" y="18562"/>
                  <a:pt x="160596" y="39154"/>
                  <a:pt x="164935" y="40485"/>
                </a:cubicBezTo>
                <a:lnTo>
                  <a:pt x="241868" y="39848"/>
                </a:lnTo>
                <a:lnTo>
                  <a:pt x="250544" y="28627"/>
                </a:lnTo>
                <a:cubicBezTo>
                  <a:pt x="250793" y="28378"/>
                  <a:pt x="251123" y="28233"/>
                  <a:pt x="251470" y="28222"/>
                </a:cubicBezTo>
                <a:lnTo>
                  <a:pt x="294159" y="28222"/>
                </a:lnTo>
                <a:cubicBezTo>
                  <a:pt x="294419" y="28135"/>
                  <a:pt x="294708" y="28135"/>
                  <a:pt x="294969" y="28222"/>
                </a:cubicBezTo>
                <a:cubicBezTo>
                  <a:pt x="304565" y="38090"/>
                  <a:pt x="314809" y="47305"/>
                  <a:pt x="325626" y="55814"/>
                </a:cubicBezTo>
                <a:cubicBezTo>
                  <a:pt x="329675" y="57202"/>
                  <a:pt x="343847" y="69812"/>
                  <a:pt x="343847" y="78257"/>
                </a:cubicBezTo>
                <a:cubicBezTo>
                  <a:pt x="343373" y="85060"/>
                  <a:pt x="346924" y="91509"/>
                  <a:pt x="352929" y="94743"/>
                </a:cubicBezTo>
                <a:cubicBezTo>
                  <a:pt x="354895" y="95668"/>
                  <a:pt x="358077" y="97577"/>
                  <a:pt x="361837" y="99775"/>
                </a:cubicBezTo>
                <a:cubicBezTo>
                  <a:pt x="368651" y="104293"/>
                  <a:pt x="375974" y="108001"/>
                  <a:pt x="383644" y="110824"/>
                </a:cubicBezTo>
                <a:cubicBezTo>
                  <a:pt x="385165" y="108961"/>
                  <a:pt x="386397" y="106873"/>
                  <a:pt x="387288" y="104634"/>
                </a:cubicBezTo>
                <a:cubicBezTo>
                  <a:pt x="390990" y="97057"/>
                  <a:pt x="396601" y="85546"/>
                  <a:pt x="405046" y="85546"/>
                </a:cubicBezTo>
                <a:lnTo>
                  <a:pt x="405567" y="85546"/>
                </a:lnTo>
                <a:cubicBezTo>
                  <a:pt x="417946" y="86240"/>
                  <a:pt x="449760" y="95437"/>
                  <a:pt x="455140" y="114179"/>
                </a:cubicBezTo>
                <a:cubicBezTo>
                  <a:pt x="460045" y="128420"/>
                  <a:pt x="468866" y="140990"/>
                  <a:pt x="480591" y="150447"/>
                </a:cubicBezTo>
                <a:cubicBezTo>
                  <a:pt x="483501" y="153582"/>
                  <a:pt x="485039" y="157747"/>
                  <a:pt x="484871" y="162016"/>
                </a:cubicBezTo>
                <a:cubicBezTo>
                  <a:pt x="485022" y="165301"/>
                  <a:pt x="485872" y="168512"/>
                  <a:pt x="487359" y="171444"/>
                </a:cubicBezTo>
                <a:cubicBezTo>
                  <a:pt x="488978" y="174342"/>
                  <a:pt x="490112" y="177489"/>
                  <a:pt x="490714" y="180757"/>
                </a:cubicBezTo>
                <a:cubicBezTo>
                  <a:pt x="491581" y="184402"/>
                  <a:pt x="492449" y="187756"/>
                  <a:pt x="494127" y="187756"/>
                </a:cubicBezTo>
                <a:cubicBezTo>
                  <a:pt x="498401" y="188751"/>
                  <a:pt x="502508" y="190348"/>
                  <a:pt x="506332" y="192500"/>
                </a:cubicBezTo>
                <a:cubicBezTo>
                  <a:pt x="515124" y="196607"/>
                  <a:pt x="526172" y="201639"/>
                  <a:pt x="532246" y="201408"/>
                </a:cubicBezTo>
                <a:cubicBezTo>
                  <a:pt x="536607" y="201634"/>
                  <a:pt x="540795" y="203166"/>
                  <a:pt x="544278" y="205804"/>
                </a:cubicBezTo>
                <a:cubicBezTo>
                  <a:pt x="544636" y="206024"/>
                  <a:pt x="544856" y="206423"/>
                  <a:pt x="544856" y="206845"/>
                </a:cubicBezTo>
                <a:cubicBezTo>
                  <a:pt x="544573" y="210808"/>
                  <a:pt x="543716" y="214700"/>
                  <a:pt x="542311" y="218414"/>
                </a:cubicBezTo>
                <a:cubicBezTo>
                  <a:pt x="534363" y="241997"/>
                  <a:pt x="531274" y="266951"/>
                  <a:pt x="533229" y="291761"/>
                </a:cubicBezTo>
                <a:lnTo>
                  <a:pt x="533229" y="294306"/>
                </a:lnTo>
                <a:cubicBezTo>
                  <a:pt x="533750" y="308651"/>
                  <a:pt x="534791" y="335433"/>
                  <a:pt x="543352" y="347002"/>
                </a:cubicBezTo>
                <a:cubicBezTo>
                  <a:pt x="546828" y="351433"/>
                  <a:pt x="550698" y="355540"/>
                  <a:pt x="554921" y="359265"/>
                </a:cubicBezTo>
                <a:cubicBezTo>
                  <a:pt x="563077" y="366842"/>
                  <a:pt x="571580" y="374709"/>
                  <a:pt x="572274" y="383328"/>
                </a:cubicBezTo>
                <a:cubicBezTo>
                  <a:pt x="572853" y="389633"/>
                  <a:pt x="575629" y="410168"/>
                  <a:pt x="586330" y="410168"/>
                </a:cubicBezTo>
                <a:lnTo>
                  <a:pt x="587429" y="410168"/>
                </a:lnTo>
                <a:cubicBezTo>
                  <a:pt x="593873" y="411278"/>
                  <a:pt x="599883" y="414159"/>
                  <a:pt x="604783" y="418497"/>
                </a:cubicBezTo>
                <a:cubicBezTo>
                  <a:pt x="609699" y="421910"/>
                  <a:pt x="614269" y="425150"/>
                  <a:pt x="617393" y="424687"/>
                </a:cubicBezTo>
                <a:cubicBezTo>
                  <a:pt x="619475" y="424340"/>
                  <a:pt x="625491" y="422778"/>
                  <a:pt x="633068" y="420695"/>
                </a:cubicBezTo>
                <a:cubicBezTo>
                  <a:pt x="649381" y="416357"/>
                  <a:pt x="671651" y="410399"/>
                  <a:pt x="679344" y="410399"/>
                </a:cubicBezTo>
                <a:cubicBezTo>
                  <a:pt x="680339" y="410318"/>
                  <a:pt x="681334" y="410498"/>
                  <a:pt x="682236" y="410920"/>
                </a:cubicBezTo>
                <a:cubicBezTo>
                  <a:pt x="687263" y="414315"/>
                  <a:pt x="692931" y="416635"/>
                  <a:pt x="698895" y="417745"/>
                </a:cubicBezTo>
                <a:cubicBezTo>
                  <a:pt x="699584" y="417832"/>
                  <a:pt x="700278" y="417624"/>
                  <a:pt x="700804" y="417167"/>
                </a:cubicBezTo>
                <a:cubicBezTo>
                  <a:pt x="701157" y="416536"/>
                  <a:pt x="701279" y="415796"/>
                  <a:pt x="701151" y="415085"/>
                </a:cubicBezTo>
                <a:cubicBezTo>
                  <a:pt x="700515" y="410341"/>
                  <a:pt x="704564" y="407681"/>
                  <a:pt x="708902" y="404846"/>
                </a:cubicBezTo>
                <a:cubicBezTo>
                  <a:pt x="714166" y="401433"/>
                  <a:pt x="719604" y="397905"/>
                  <a:pt x="719314" y="390096"/>
                </a:cubicBezTo>
                <a:cubicBezTo>
                  <a:pt x="718452" y="385630"/>
                  <a:pt x="720037" y="381043"/>
                  <a:pt x="723479" y="378064"/>
                </a:cubicBezTo>
                <a:cubicBezTo>
                  <a:pt x="725677" y="375924"/>
                  <a:pt x="727760" y="373957"/>
                  <a:pt x="727181" y="365338"/>
                </a:cubicBezTo>
                <a:cubicBezTo>
                  <a:pt x="725909" y="347060"/>
                  <a:pt x="737709" y="336416"/>
                  <a:pt x="763276" y="332657"/>
                </a:cubicBezTo>
                <a:cubicBezTo>
                  <a:pt x="769581" y="331731"/>
                  <a:pt x="774845" y="330748"/>
                  <a:pt x="779357" y="329938"/>
                </a:cubicBezTo>
                <a:cubicBezTo>
                  <a:pt x="784644" y="328758"/>
                  <a:pt x="790023" y="328040"/>
                  <a:pt x="795437" y="327798"/>
                </a:cubicBezTo>
                <a:cubicBezTo>
                  <a:pt x="799521" y="327693"/>
                  <a:pt x="803547" y="328798"/>
                  <a:pt x="807006" y="330979"/>
                </a:cubicBezTo>
                <a:cubicBezTo>
                  <a:pt x="808747" y="332037"/>
                  <a:pt x="810755" y="332575"/>
                  <a:pt x="812791" y="332541"/>
                </a:cubicBezTo>
                <a:cubicBezTo>
                  <a:pt x="814896" y="332483"/>
                  <a:pt x="816996" y="332194"/>
                  <a:pt x="819038" y="331673"/>
                </a:cubicBezTo>
                <a:cubicBezTo>
                  <a:pt x="820727" y="331274"/>
                  <a:pt x="822451" y="331020"/>
                  <a:pt x="824186" y="330921"/>
                </a:cubicBezTo>
                <a:cubicBezTo>
                  <a:pt x="828004" y="330921"/>
                  <a:pt x="829970" y="333119"/>
                  <a:pt x="831127" y="337747"/>
                </a:cubicBezTo>
                <a:cubicBezTo>
                  <a:pt x="832921" y="347349"/>
                  <a:pt x="828582" y="350646"/>
                  <a:pt x="823029" y="355100"/>
                </a:cubicBezTo>
                <a:cubicBezTo>
                  <a:pt x="820380" y="356957"/>
                  <a:pt x="817921" y="359068"/>
                  <a:pt x="815683" y="361405"/>
                </a:cubicBezTo>
                <a:cubicBezTo>
                  <a:pt x="811628" y="365628"/>
                  <a:pt x="809974" y="371609"/>
                  <a:pt x="811287" y="377312"/>
                </a:cubicBezTo>
                <a:cubicBezTo>
                  <a:pt x="811744" y="382084"/>
                  <a:pt x="811744" y="386886"/>
                  <a:pt x="811287" y="391658"/>
                </a:cubicBezTo>
                <a:cubicBezTo>
                  <a:pt x="809783" y="405251"/>
                  <a:pt x="807006" y="421852"/>
                  <a:pt x="798792" y="429430"/>
                </a:cubicBezTo>
                <a:cubicBezTo>
                  <a:pt x="798370" y="429829"/>
                  <a:pt x="797711" y="429829"/>
                  <a:pt x="797288" y="429430"/>
                </a:cubicBezTo>
                <a:cubicBezTo>
                  <a:pt x="790578" y="423067"/>
                  <a:pt x="787224" y="421737"/>
                  <a:pt x="785720" y="421737"/>
                </a:cubicBezTo>
                <a:cubicBezTo>
                  <a:pt x="781266" y="422142"/>
                  <a:pt x="776060" y="429141"/>
                  <a:pt x="772647" y="433768"/>
                </a:cubicBezTo>
                <a:cubicBezTo>
                  <a:pt x="770449" y="436718"/>
                  <a:pt x="769350" y="438165"/>
                  <a:pt x="768366" y="438627"/>
                </a:cubicBezTo>
                <a:cubicBezTo>
                  <a:pt x="767383" y="439090"/>
                  <a:pt x="767094" y="439264"/>
                  <a:pt x="755004" y="439264"/>
                </a:cubicBezTo>
                <a:cubicBezTo>
                  <a:pt x="745749" y="439264"/>
                  <a:pt x="733660" y="439264"/>
                  <a:pt x="725677" y="438859"/>
                </a:cubicBezTo>
                <a:lnTo>
                  <a:pt x="718158" y="438859"/>
                </a:lnTo>
                <a:cubicBezTo>
                  <a:pt x="716364" y="438859"/>
                  <a:pt x="714687" y="445742"/>
                  <a:pt x="713646" y="449849"/>
                </a:cubicBezTo>
                <a:cubicBezTo>
                  <a:pt x="713275" y="453048"/>
                  <a:pt x="712171" y="456119"/>
                  <a:pt x="710406" y="458815"/>
                </a:cubicBezTo>
                <a:cubicBezTo>
                  <a:pt x="712315" y="461082"/>
                  <a:pt x="714403" y="463188"/>
                  <a:pt x="716654" y="465120"/>
                </a:cubicBezTo>
                <a:cubicBezTo>
                  <a:pt x="723653" y="471598"/>
                  <a:pt x="732387" y="479639"/>
                  <a:pt x="730305" y="484960"/>
                </a:cubicBezTo>
                <a:cubicBezTo>
                  <a:pt x="728916" y="488605"/>
                  <a:pt x="722843" y="490340"/>
                  <a:pt x="711274" y="490340"/>
                </a:cubicBezTo>
                <a:cubicBezTo>
                  <a:pt x="706878" y="490340"/>
                  <a:pt x="702539" y="490340"/>
                  <a:pt x="699069" y="489877"/>
                </a:cubicBezTo>
                <a:lnTo>
                  <a:pt x="694094" y="489877"/>
                </a:lnTo>
                <a:lnTo>
                  <a:pt x="693284" y="489877"/>
                </a:lnTo>
                <a:cubicBezTo>
                  <a:pt x="685499" y="499074"/>
                  <a:pt x="678274" y="508734"/>
                  <a:pt x="671651" y="518800"/>
                </a:cubicBezTo>
                <a:cubicBezTo>
                  <a:pt x="671477" y="519089"/>
                  <a:pt x="671176" y="519280"/>
                  <a:pt x="670841" y="519320"/>
                </a:cubicBezTo>
                <a:close/>
                <a:moveTo>
                  <a:pt x="608253" y="484266"/>
                </a:moveTo>
                <a:cubicBezTo>
                  <a:pt x="618081" y="484787"/>
                  <a:pt x="627678" y="487454"/>
                  <a:pt x="636366" y="492075"/>
                </a:cubicBezTo>
                <a:lnTo>
                  <a:pt x="642439" y="494794"/>
                </a:lnTo>
                <a:cubicBezTo>
                  <a:pt x="648513" y="497165"/>
                  <a:pt x="659793" y="506768"/>
                  <a:pt x="671362" y="517006"/>
                </a:cubicBezTo>
                <a:cubicBezTo>
                  <a:pt x="679113" y="505958"/>
                  <a:pt x="691491" y="488547"/>
                  <a:pt x="693689" y="488084"/>
                </a:cubicBezTo>
                <a:cubicBezTo>
                  <a:pt x="695806" y="487899"/>
                  <a:pt x="697935" y="487899"/>
                  <a:pt x="700052" y="488084"/>
                </a:cubicBezTo>
                <a:cubicBezTo>
                  <a:pt x="703523" y="488084"/>
                  <a:pt x="707803" y="488489"/>
                  <a:pt x="712142" y="488489"/>
                </a:cubicBezTo>
                <a:cubicBezTo>
                  <a:pt x="724925" y="488489"/>
                  <a:pt x="728396" y="486349"/>
                  <a:pt x="729090" y="484555"/>
                </a:cubicBezTo>
                <a:cubicBezTo>
                  <a:pt x="730594" y="480680"/>
                  <a:pt x="721802" y="472582"/>
                  <a:pt x="716017" y="467202"/>
                </a:cubicBezTo>
                <a:cubicBezTo>
                  <a:pt x="710233" y="461823"/>
                  <a:pt x="708787" y="460377"/>
                  <a:pt x="708902" y="458873"/>
                </a:cubicBezTo>
                <a:cubicBezTo>
                  <a:pt x="708943" y="458352"/>
                  <a:pt x="709249" y="457895"/>
                  <a:pt x="709712" y="457658"/>
                </a:cubicBezTo>
                <a:cubicBezTo>
                  <a:pt x="711002" y="455176"/>
                  <a:pt x="711881" y="452498"/>
                  <a:pt x="712315" y="449733"/>
                </a:cubicBezTo>
                <a:cubicBezTo>
                  <a:pt x="713935" y="443197"/>
                  <a:pt x="715439" y="437008"/>
                  <a:pt x="719025" y="437008"/>
                </a:cubicBezTo>
                <a:lnTo>
                  <a:pt x="726603" y="437008"/>
                </a:lnTo>
                <a:cubicBezTo>
                  <a:pt x="734585" y="437008"/>
                  <a:pt x="746617" y="437413"/>
                  <a:pt x="755872" y="437413"/>
                </a:cubicBezTo>
                <a:cubicBezTo>
                  <a:pt x="760019" y="437603"/>
                  <a:pt x="764178" y="437470"/>
                  <a:pt x="768308" y="437008"/>
                </a:cubicBezTo>
                <a:cubicBezTo>
                  <a:pt x="769541" y="435712"/>
                  <a:pt x="770663" y="434318"/>
                  <a:pt x="771663" y="432843"/>
                </a:cubicBezTo>
                <a:cubicBezTo>
                  <a:pt x="775597" y="427579"/>
                  <a:pt x="780919" y="420406"/>
                  <a:pt x="786182" y="419943"/>
                </a:cubicBezTo>
                <a:lnTo>
                  <a:pt x="786587" y="419943"/>
                </a:lnTo>
                <a:cubicBezTo>
                  <a:pt x="789479" y="419943"/>
                  <a:pt x="793529" y="422373"/>
                  <a:pt x="799024" y="427463"/>
                </a:cubicBezTo>
                <a:cubicBezTo>
                  <a:pt x="806197" y="419886"/>
                  <a:pt x="808742" y="403573"/>
                  <a:pt x="810014" y="391831"/>
                </a:cubicBezTo>
                <a:cubicBezTo>
                  <a:pt x="810471" y="387198"/>
                  <a:pt x="810471" y="382524"/>
                  <a:pt x="810014" y="377891"/>
                </a:cubicBezTo>
                <a:cubicBezTo>
                  <a:pt x="808713" y="371638"/>
                  <a:pt x="810575" y="365147"/>
                  <a:pt x="814989" y="360537"/>
                </a:cubicBezTo>
                <a:cubicBezTo>
                  <a:pt x="817331" y="358114"/>
                  <a:pt x="819888" y="355904"/>
                  <a:pt x="822624" y="353943"/>
                </a:cubicBezTo>
                <a:cubicBezTo>
                  <a:pt x="827946" y="349894"/>
                  <a:pt x="831417" y="347291"/>
                  <a:pt x="829855" y="339077"/>
                </a:cubicBezTo>
                <a:cubicBezTo>
                  <a:pt x="829103" y="334912"/>
                  <a:pt x="827425" y="334045"/>
                  <a:pt x="825169" y="334045"/>
                </a:cubicBezTo>
                <a:cubicBezTo>
                  <a:pt x="823584" y="334126"/>
                  <a:pt x="822011" y="334375"/>
                  <a:pt x="820484" y="334797"/>
                </a:cubicBezTo>
                <a:cubicBezTo>
                  <a:pt x="818280" y="335300"/>
                  <a:pt x="816036" y="335589"/>
                  <a:pt x="813774" y="335664"/>
                </a:cubicBezTo>
                <a:cubicBezTo>
                  <a:pt x="811310" y="335734"/>
                  <a:pt x="808880" y="335092"/>
                  <a:pt x="806775" y="333813"/>
                </a:cubicBezTo>
                <a:cubicBezTo>
                  <a:pt x="800239" y="329707"/>
                  <a:pt x="793991" y="330574"/>
                  <a:pt x="780687" y="333004"/>
                </a:cubicBezTo>
                <a:cubicBezTo>
                  <a:pt x="776117" y="333871"/>
                  <a:pt x="770911" y="334797"/>
                  <a:pt x="764491" y="335722"/>
                </a:cubicBezTo>
                <a:cubicBezTo>
                  <a:pt x="740370" y="339309"/>
                  <a:pt x="729206" y="349200"/>
                  <a:pt x="730363" y="366033"/>
                </a:cubicBezTo>
                <a:cubicBezTo>
                  <a:pt x="730999" y="375750"/>
                  <a:pt x="728338" y="378296"/>
                  <a:pt x="726024" y="380552"/>
                </a:cubicBezTo>
                <a:cubicBezTo>
                  <a:pt x="723711" y="382808"/>
                  <a:pt x="722207" y="384138"/>
                  <a:pt x="722496" y="390906"/>
                </a:cubicBezTo>
                <a:cubicBezTo>
                  <a:pt x="722843" y="399987"/>
                  <a:pt x="716306" y="404210"/>
                  <a:pt x="710927" y="407623"/>
                </a:cubicBezTo>
                <a:cubicBezTo>
                  <a:pt x="705547" y="411036"/>
                  <a:pt x="703754" y="412482"/>
                  <a:pt x="704159" y="415663"/>
                </a:cubicBezTo>
                <a:cubicBezTo>
                  <a:pt x="704466" y="417022"/>
                  <a:pt x="704148" y="418445"/>
                  <a:pt x="703291" y="419539"/>
                </a:cubicBezTo>
                <a:cubicBezTo>
                  <a:pt x="702349" y="420487"/>
                  <a:pt x="701035" y="420973"/>
                  <a:pt x="699705" y="420869"/>
                </a:cubicBezTo>
                <a:cubicBezTo>
                  <a:pt x="693342" y="419689"/>
                  <a:pt x="687269" y="417271"/>
                  <a:pt x="681831" y="413754"/>
                </a:cubicBezTo>
                <a:cubicBezTo>
                  <a:pt x="681831" y="413754"/>
                  <a:pt x="681484" y="413754"/>
                  <a:pt x="680154" y="413754"/>
                </a:cubicBezTo>
                <a:cubicBezTo>
                  <a:pt x="672692" y="413754"/>
                  <a:pt x="649612" y="419943"/>
                  <a:pt x="634399" y="423993"/>
                </a:cubicBezTo>
                <a:cubicBezTo>
                  <a:pt x="626706" y="426017"/>
                  <a:pt x="620632" y="427695"/>
                  <a:pt x="618434" y="428042"/>
                </a:cubicBezTo>
                <a:cubicBezTo>
                  <a:pt x="614674" y="428620"/>
                  <a:pt x="609526" y="425150"/>
                  <a:pt x="604146" y="421447"/>
                </a:cubicBezTo>
                <a:cubicBezTo>
                  <a:pt x="599548" y="417381"/>
                  <a:pt x="593925" y="414645"/>
                  <a:pt x="587892" y="413523"/>
                </a:cubicBezTo>
                <a:lnTo>
                  <a:pt x="586793" y="413523"/>
                </a:lnTo>
                <a:cubicBezTo>
                  <a:pt x="574530" y="413523"/>
                  <a:pt x="571291" y="393335"/>
                  <a:pt x="570481" y="384601"/>
                </a:cubicBezTo>
                <a:cubicBezTo>
                  <a:pt x="569729" y="376907"/>
                  <a:pt x="561631" y="369330"/>
                  <a:pt x="553706" y="362041"/>
                </a:cubicBezTo>
                <a:cubicBezTo>
                  <a:pt x="549333" y="358200"/>
                  <a:pt x="545290" y="354001"/>
                  <a:pt x="541617" y="349489"/>
                </a:cubicBezTo>
                <a:cubicBezTo>
                  <a:pt x="532651" y="337284"/>
                  <a:pt x="531667" y="310097"/>
                  <a:pt x="531089" y="295520"/>
                </a:cubicBezTo>
                <a:lnTo>
                  <a:pt x="531089" y="292975"/>
                </a:lnTo>
                <a:cubicBezTo>
                  <a:pt x="529128" y="267871"/>
                  <a:pt x="532258" y="242628"/>
                  <a:pt x="540286" y="218761"/>
                </a:cubicBezTo>
                <a:cubicBezTo>
                  <a:pt x="541536" y="215412"/>
                  <a:pt x="542334" y="211912"/>
                  <a:pt x="542658" y="208349"/>
                </a:cubicBezTo>
                <a:cubicBezTo>
                  <a:pt x="539771" y="206325"/>
                  <a:pt x="536440" y="205034"/>
                  <a:pt x="532940" y="204589"/>
                </a:cubicBezTo>
                <a:lnTo>
                  <a:pt x="532535" y="204589"/>
                </a:lnTo>
                <a:cubicBezTo>
                  <a:pt x="525767" y="205052"/>
                  <a:pt x="514546" y="199730"/>
                  <a:pt x="505522" y="195508"/>
                </a:cubicBezTo>
                <a:cubicBezTo>
                  <a:pt x="501953" y="193558"/>
                  <a:pt x="498164" y="192026"/>
                  <a:pt x="494242" y="190938"/>
                </a:cubicBezTo>
                <a:cubicBezTo>
                  <a:pt x="490772" y="190938"/>
                  <a:pt x="489730" y="186715"/>
                  <a:pt x="488458" y="182261"/>
                </a:cubicBezTo>
                <a:cubicBezTo>
                  <a:pt x="487932" y="179236"/>
                  <a:pt x="486890" y="176321"/>
                  <a:pt x="485392" y="173642"/>
                </a:cubicBezTo>
                <a:cubicBezTo>
                  <a:pt x="483663" y="170438"/>
                  <a:pt x="482708" y="166869"/>
                  <a:pt x="482616" y="163230"/>
                </a:cubicBezTo>
                <a:cubicBezTo>
                  <a:pt x="482095" y="159008"/>
                  <a:pt x="481632" y="155017"/>
                  <a:pt x="479203" y="153224"/>
                </a:cubicBezTo>
                <a:cubicBezTo>
                  <a:pt x="467084" y="143425"/>
                  <a:pt x="457962" y="130416"/>
                  <a:pt x="452884" y="115683"/>
                </a:cubicBezTo>
                <a:cubicBezTo>
                  <a:pt x="447909" y="98329"/>
                  <a:pt x="416904" y="89363"/>
                  <a:pt x="405393" y="88727"/>
                </a:cubicBezTo>
                <a:lnTo>
                  <a:pt x="404988" y="88727"/>
                </a:lnTo>
                <a:cubicBezTo>
                  <a:pt x="397989" y="88727"/>
                  <a:pt x="392726" y="99486"/>
                  <a:pt x="389255" y="106601"/>
                </a:cubicBezTo>
                <a:cubicBezTo>
                  <a:pt x="386999" y="111113"/>
                  <a:pt x="385900" y="113311"/>
                  <a:pt x="384512" y="113889"/>
                </a:cubicBezTo>
                <a:cubicBezTo>
                  <a:pt x="384205" y="113953"/>
                  <a:pt x="383893" y="113953"/>
                  <a:pt x="383586" y="113889"/>
                </a:cubicBezTo>
                <a:cubicBezTo>
                  <a:pt x="380347" y="113889"/>
                  <a:pt x="371670" y="108915"/>
                  <a:pt x="360448" y="102321"/>
                </a:cubicBezTo>
                <a:cubicBezTo>
                  <a:pt x="356746" y="100180"/>
                  <a:pt x="353565" y="98329"/>
                  <a:pt x="351714" y="97404"/>
                </a:cubicBezTo>
                <a:cubicBezTo>
                  <a:pt x="344946" y="93783"/>
                  <a:pt x="340903" y="86558"/>
                  <a:pt x="341360" y="78893"/>
                </a:cubicBezTo>
                <a:cubicBezTo>
                  <a:pt x="341360" y="71663"/>
                  <a:pt x="328171" y="59805"/>
                  <a:pt x="324643" y="58590"/>
                </a:cubicBezTo>
                <a:cubicBezTo>
                  <a:pt x="321114" y="57375"/>
                  <a:pt x="297514" y="34701"/>
                  <a:pt x="293523" y="30825"/>
                </a:cubicBezTo>
                <a:lnTo>
                  <a:pt x="252280" y="30825"/>
                </a:lnTo>
                <a:lnTo>
                  <a:pt x="243603" y="42047"/>
                </a:lnTo>
                <a:cubicBezTo>
                  <a:pt x="243383" y="42296"/>
                  <a:pt x="243065" y="42440"/>
                  <a:pt x="242735" y="42452"/>
                </a:cubicBezTo>
                <a:lnTo>
                  <a:pt x="165050" y="43088"/>
                </a:lnTo>
                <a:cubicBezTo>
                  <a:pt x="165050" y="43088"/>
                  <a:pt x="164761" y="43088"/>
                  <a:pt x="164646" y="43088"/>
                </a:cubicBezTo>
                <a:cubicBezTo>
                  <a:pt x="164530" y="43088"/>
                  <a:pt x="105066" y="21107"/>
                  <a:pt x="94249" y="18620"/>
                </a:cubicBezTo>
                <a:cubicBezTo>
                  <a:pt x="83421" y="14652"/>
                  <a:pt x="73182" y="9220"/>
                  <a:pt x="63823" y="2481"/>
                </a:cubicBezTo>
                <a:lnTo>
                  <a:pt x="2971" y="10464"/>
                </a:lnTo>
                <a:cubicBezTo>
                  <a:pt x="6696" y="18001"/>
                  <a:pt x="11277" y="25087"/>
                  <a:pt x="16622" y="31577"/>
                </a:cubicBezTo>
                <a:cubicBezTo>
                  <a:pt x="28081" y="47675"/>
                  <a:pt x="35965" y="66035"/>
                  <a:pt x="39760" y="85430"/>
                </a:cubicBezTo>
                <a:cubicBezTo>
                  <a:pt x="40627" y="92429"/>
                  <a:pt x="51329" y="98850"/>
                  <a:pt x="62897" y="105675"/>
                </a:cubicBezTo>
                <a:cubicBezTo>
                  <a:pt x="66310" y="107642"/>
                  <a:pt x="69781" y="109724"/>
                  <a:pt x="73194" y="111923"/>
                </a:cubicBezTo>
                <a:cubicBezTo>
                  <a:pt x="89448" y="122277"/>
                  <a:pt x="88638" y="144489"/>
                  <a:pt x="86961" y="149521"/>
                </a:cubicBezTo>
                <a:cubicBezTo>
                  <a:pt x="86093" y="152124"/>
                  <a:pt x="82912" y="152124"/>
                  <a:pt x="81870" y="152124"/>
                </a:cubicBezTo>
                <a:cubicBezTo>
                  <a:pt x="79383" y="152015"/>
                  <a:pt x="76907" y="151708"/>
                  <a:pt x="74466" y="151199"/>
                </a:cubicBezTo>
                <a:cubicBezTo>
                  <a:pt x="72257" y="150713"/>
                  <a:pt x="70012" y="150424"/>
                  <a:pt x="67756" y="150331"/>
                </a:cubicBezTo>
                <a:cubicBezTo>
                  <a:pt x="65385" y="150331"/>
                  <a:pt x="65211" y="151025"/>
                  <a:pt x="65211" y="151257"/>
                </a:cubicBezTo>
                <a:cubicBezTo>
                  <a:pt x="65211" y="151488"/>
                  <a:pt x="65211" y="152587"/>
                  <a:pt x="67583" y="155769"/>
                </a:cubicBezTo>
                <a:cubicBezTo>
                  <a:pt x="73830" y="163578"/>
                  <a:pt x="90721" y="176188"/>
                  <a:pt x="97835" y="175320"/>
                </a:cubicBezTo>
                <a:cubicBezTo>
                  <a:pt x="106743" y="174163"/>
                  <a:pt x="111545" y="178617"/>
                  <a:pt x="122419" y="188393"/>
                </a:cubicBezTo>
                <a:lnTo>
                  <a:pt x="128204" y="193772"/>
                </a:lnTo>
                <a:cubicBezTo>
                  <a:pt x="135718" y="199730"/>
                  <a:pt x="140276" y="208661"/>
                  <a:pt x="140698" y="218240"/>
                </a:cubicBezTo>
                <a:cubicBezTo>
                  <a:pt x="140831" y="222480"/>
                  <a:pt x="139125" y="226576"/>
                  <a:pt x="136013" y="229462"/>
                </a:cubicBezTo>
                <a:cubicBezTo>
                  <a:pt x="135538" y="229763"/>
                  <a:pt x="135255" y="230289"/>
                  <a:pt x="135261" y="230850"/>
                </a:cubicBezTo>
                <a:cubicBezTo>
                  <a:pt x="135261" y="234842"/>
                  <a:pt x="147234" y="242419"/>
                  <a:pt x="159729" y="250460"/>
                </a:cubicBezTo>
                <a:lnTo>
                  <a:pt x="167480" y="255492"/>
                </a:lnTo>
                <a:cubicBezTo>
                  <a:pt x="181062" y="263741"/>
                  <a:pt x="191456" y="276339"/>
                  <a:pt x="196980" y="291240"/>
                </a:cubicBezTo>
                <a:cubicBezTo>
                  <a:pt x="197559" y="293264"/>
                  <a:pt x="198600" y="293264"/>
                  <a:pt x="198947" y="293264"/>
                </a:cubicBezTo>
                <a:cubicBezTo>
                  <a:pt x="201666" y="293264"/>
                  <a:pt x="206178" y="288753"/>
                  <a:pt x="208144" y="282679"/>
                </a:cubicBezTo>
                <a:cubicBezTo>
                  <a:pt x="209301" y="279156"/>
                  <a:pt x="208457" y="275286"/>
                  <a:pt x="205946" y="272556"/>
                </a:cubicBezTo>
                <a:cubicBezTo>
                  <a:pt x="203534" y="269276"/>
                  <a:pt x="202181" y="265343"/>
                  <a:pt x="202071" y="261277"/>
                </a:cubicBezTo>
                <a:cubicBezTo>
                  <a:pt x="202071" y="254740"/>
                  <a:pt x="194956" y="253757"/>
                  <a:pt x="185701" y="253178"/>
                </a:cubicBezTo>
                <a:cubicBezTo>
                  <a:pt x="183763" y="253115"/>
                  <a:pt x="181831" y="252941"/>
                  <a:pt x="179916" y="252658"/>
                </a:cubicBezTo>
                <a:cubicBezTo>
                  <a:pt x="175347" y="251906"/>
                  <a:pt x="175462" y="246873"/>
                  <a:pt x="175636" y="241783"/>
                </a:cubicBezTo>
                <a:cubicBezTo>
                  <a:pt x="176521" y="237011"/>
                  <a:pt x="175433" y="232088"/>
                  <a:pt x="172628" y="228132"/>
                </a:cubicBezTo>
                <a:cubicBezTo>
                  <a:pt x="165398" y="220901"/>
                  <a:pt x="158688" y="203143"/>
                  <a:pt x="154754" y="188913"/>
                </a:cubicBezTo>
                <a:cubicBezTo>
                  <a:pt x="152845" y="181683"/>
                  <a:pt x="146251" y="174452"/>
                  <a:pt x="139310" y="166759"/>
                </a:cubicBezTo>
                <a:cubicBezTo>
                  <a:pt x="133705" y="161079"/>
                  <a:pt x="128776" y="154768"/>
                  <a:pt x="124617" y="147959"/>
                </a:cubicBezTo>
                <a:cubicBezTo>
                  <a:pt x="116924" y="133730"/>
                  <a:pt x="108537" y="122219"/>
                  <a:pt x="103157" y="118575"/>
                </a:cubicBezTo>
                <a:cubicBezTo>
                  <a:pt x="102220" y="118054"/>
                  <a:pt x="101561" y="117146"/>
                  <a:pt x="101364" y="116088"/>
                </a:cubicBezTo>
                <a:cubicBezTo>
                  <a:pt x="101075" y="114179"/>
                  <a:pt x="102521" y="112443"/>
                  <a:pt x="104025" y="110303"/>
                </a:cubicBezTo>
                <a:cubicBezTo>
                  <a:pt x="106396" y="107411"/>
                  <a:pt x="107669" y="105560"/>
                  <a:pt x="105934" y="103593"/>
                </a:cubicBezTo>
                <a:cubicBezTo>
                  <a:pt x="102926" y="100764"/>
                  <a:pt x="99137" y="98913"/>
                  <a:pt x="95059" y="98271"/>
                </a:cubicBezTo>
                <a:cubicBezTo>
                  <a:pt x="91658" y="97369"/>
                  <a:pt x="88332" y="96212"/>
                  <a:pt x="85110" y="94801"/>
                </a:cubicBezTo>
                <a:cubicBezTo>
                  <a:pt x="75820" y="91295"/>
                  <a:pt x="69573" y="82515"/>
                  <a:pt x="69318" y="72589"/>
                </a:cubicBezTo>
                <a:cubicBezTo>
                  <a:pt x="67930" y="58873"/>
                  <a:pt x="64905" y="45379"/>
                  <a:pt x="60294" y="32387"/>
                </a:cubicBezTo>
                <a:cubicBezTo>
                  <a:pt x="59259" y="30599"/>
                  <a:pt x="59259" y="28390"/>
                  <a:pt x="60294" y="26602"/>
                </a:cubicBezTo>
                <a:cubicBezTo>
                  <a:pt x="61312" y="25330"/>
                  <a:pt x="62892" y="24641"/>
                  <a:pt x="64517" y="24751"/>
                </a:cubicBezTo>
                <a:cubicBezTo>
                  <a:pt x="67299" y="24797"/>
                  <a:pt x="69949" y="25966"/>
                  <a:pt x="71863" y="27990"/>
                </a:cubicBezTo>
                <a:lnTo>
                  <a:pt x="72615" y="28916"/>
                </a:lnTo>
                <a:cubicBezTo>
                  <a:pt x="75160" y="31982"/>
                  <a:pt x="77185" y="34296"/>
                  <a:pt x="80135" y="32618"/>
                </a:cubicBezTo>
                <a:cubicBezTo>
                  <a:pt x="81564" y="31802"/>
                  <a:pt x="83178" y="31386"/>
                  <a:pt x="84820" y="31403"/>
                </a:cubicBezTo>
                <a:cubicBezTo>
                  <a:pt x="89864" y="31490"/>
                  <a:pt x="94388" y="34521"/>
                  <a:pt x="96389" y="39154"/>
                </a:cubicBezTo>
                <a:cubicBezTo>
                  <a:pt x="97199" y="41005"/>
                  <a:pt x="98761" y="41815"/>
                  <a:pt x="101595" y="41815"/>
                </a:cubicBezTo>
                <a:cubicBezTo>
                  <a:pt x="102810" y="41815"/>
                  <a:pt x="104140" y="41815"/>
                  <a:pt x="105413" y="41526"/>
                </a:cubicBezTo>
                <a:cubicBezTo>
                  <a:pt x="106761" y="41439"/>
                  <a:pt x="108114" y="41439"/>
                  <a:pt x="109462" y="41526"/>
                </a:cubicBezTo>
                <a:cubicBezTo>
                  <a:pt x="111087" y="41451"/>
                  <a:pt x="112707" y="41810"/>
                  <a:pt x="114147" y="42567"/>
                </a:cubicBezTo>
                <a:cubicBezTo>
                  <a:pt x="116519" y="44129"/>
                  <a:pt x="115478" y="46096"/>
                  <a:pt x="114610" y="47889"/>
                </a:cubicBezTo>
                <a:cubicBezTo>
                  <a:pt x="112586" y="51764"/>
                  <a:pt x="108826" y="58995"/>
                  <a:pt x="119353" y="77505"/>
                </a:cubicBezTo>
                <a:cubicBezTo>
                  <a:pt x="129129" y="94858"/>
                  <a:pt x="129013" y="95958"/>
                  <a:pt x="126815" y="98908"/>
                </a:cubicBezTo>
                <a:cubicBezTo>
                  <a:pt x="124739" y="101823"/>
                  <a:pt x="123848" y="105421"/>
                  <a:pt x="124328" y="108972"/>
                </a:cubicBezTo>
                <a:cubicBezTo>
                  <a:pt x="124328" y="112964"/>
                  <a:pt x="124849" y="119674"/>
                  <a:pt x="128204" y="119674"/>
                </a:cubicBezTo>
                <a:cubicBezTo>
                  <a:pt x="130934" y="119107"/>
                  <a:pt x="133387" y="117615"/>
                  <a:pt x="135145" y="115451"/>
                </a:cubicBezTo>
                <a:cubicBezTo>
                  <a:pt x="138153" y="112443"/>
                  <a:pt x="144458" y="116782"/>
                  <a:pt x="156200" y="131300"/>
                </a:cubicBezTo>
                <a:cubicBezTo>
                  <a:pt x="160215" y="135535"/>
                  <a:pt x="165195" y="138733"/>
                  <a:pt x="170719" y="140614"/>
                </a:cubicBezTo>
                <a:cubicBezTo>
                  <a:pt x="175636" y="142696"/>
                  <a:pt x="179454" y="144373"/>
                  <a:pt x="179454" y="147728"/>
                </a:cubicBezTo>
                <a:cubicBezTo>
                  <a:pt x="179454" y="151083"/>
                  <a:pt x="181709" y="163057"/>
                  <a:pt x="191890" y="165082"/>
                </a:cubicBezTo>
                <a:cubicBezTo>
                  <a:pt x="197009" y="166348"/>
                  <a:pt x="201417" y="169594"/>
                  <a:pt x="204153" y="174105"/>
                </a:cubicBezTo>
                <a:cubicBezTo>
                  <a:pt x="206293" y="176824"/>
                  <a:pt x="208086" y="179138"/>
                  <a:pt x="210632" y="179890"/>
                </a:cubicBezTo>
                <a:cubicBezTo>
                  <a:pt x="213131" y="180318"/>
                  <a:pt x="215277" y="181908"/>
                  <a:pt x="216416" y="184170"/>
                </a:cubicBezTo>
                <a:cubicBezTo>
                  <a:pt x="218169" y="188613"/>
                  <a:pt x="217810" y="193616"/>
                  <a:pt x="215433" y="197764"/>
                </a:cubicBezTo>
                <a:cubicBezTo>
                  <a:pt x="214120" y="200158"/>
                  <a:pt x="213906" y="203010"/>
                  <a:pt x="214854" y="205573"/>
                </a:cubicBezTo>
                <a:cubicBezTo>
                  <a:pt x="216532" y="209795"/>
                  <a:pt x="222085" y="213671"/>
                  <a:pt x="231745" y="217488"/>
                </a:cubicBezTo>
                <a:cubicBezTo>
                  <a:pt x="242330" y="221596"/>
                  <a:pt x="243603" y="223794"/>
                  <a:pt x="245975" y="227727"/>
                </a:cubicBezTo>
                <a:cubicBezTo>
                  <a:pt x="248254" y="231683"/>
                  <a:pt x="251146" y="235252"/>
                  <a:pt x="254536" y="238312"/>
                </a:cubicBezTo>
                <a:cubicBezTo>
                  <a:pt x="275585" y="258928"/>
                  <a:pt x="295455" y="280712"/>
                  <a:pt x="314057" y="303561"/>
                </a:cubicBezTo>
                <a:cubicBezTo>
                  <a:pt x="319275" y="311428"/>
                  <a:pt x="323289" y="320023"/>
                  <a:pt x="325973" y="329070"/>
                </a:cubicBezTo>
                <a:cubicBezTo>
                  <a:pt x="326494" y="330574"/>
                  <a:pt x="326957" y="332078"/>
                  <a:pt x="327477" y="333524"/>
                </a:cubicBezTo>
                <a:cubicBezTo>
                  <a:pt x="328640" y="337145"/>
                  <a:pt x="328241" y="341084"/>
                  <a:pt x="326378" y="344399"/>
                </a:cubicBezTo>
                <a:cubicBezTo>
                  <a:pt x="325048" y="347522"/>
                  <a:pt x="323949" y="350183"/>
                  <a:pt x="326378" y="353249"/>
                </a:cubicBezTo>
                <a:cubicBezTo>
                  <a:pt x="327425" y="354429"/>
                  <a:pt x="327818" y="356060"/>
                  <a:pt x="327419" y="357588"/>
                </a:cubicBezTo>
                <a:cubicBezTo>
                  <a:pt x="326725" y="359496"/>
                  <a:pt x="324411" y="360133"/>
                  <a:pt x="322213" y="360769"/>
                </a:cubicBezTo>
                <a:cubicBezTo>
                  <a:pt x="320015" y="361405"/>
                  <a:pt x="317933" y="362157"/>
                  <a:pt x="318106" y="363429"/>
                </a:cubicBezTo>
                <a:cubicBezTo>
                  <a:pt x="318801" y="369908"/>
                  <a:pt x="326899" y="395302"/>
                  <a:pt x="338872" y="396401"/>
                </a:cubicBezTo>
                <a:cubicBezTo>
                  <a:pt x="349921" y="397384"/>
                  <a:pt x="361548" y="407970"/>
                  <a:pt x="371844" y="417109"/>
                </a:cubicBezTo>
                <a:cubicBezTo>
                  <a:pt x="374331" y="419365"/>
                  <a:pt x="376703" y="421447"/>
                  <a:pt x="378901" y="423299"/>
                </a:cubicBezTo>
                <a:cubicBezTo>
                  <a:pt x="386010" y="428100"/>
                  <a:pt x="394241" y="430986"/>
                  <a:pt x="402790" y="431686"/>
                </a:cubicBezTo>
                <a:cubicBezTo>
                  <a:pt x="409373" y="432704"/>
                  <a:pt x="415857" y="434289"/>
                  <a:pt x="422168" y="436429"/>
                </a:cubicBezTo>
                <a:cubicBezTo>
                  <a:pt x="429300" y="439356"/>
                  <a:pt x="436103" y="443018"/>
                  <a:pt x="442472" y="447362"/>
                </a:cubicBezTo>
                <a:cubicBezTo>
                  <a:pt x="452762" y="454436"/>
                  <a:pt x="464047" y="459931"/>
                  <a:pt x="475964" y="463674"/>
                </a:cubicBezTo>
                <a:cubicBezTo>
                  <a:pt x="497811" y="469684"/>
                  <a:pt x="518722" y="478696"/>
                  <a:pt x="538088" y="490456"/>
                </a:cubicBezTo>
                <a:cubicBezTo>
                  <a:pt x="543925" y="494112"/>
                  <a:pt x="550698" y="495980"/>
                  <a:pt x="557582" y="495835"/>
                </a:cubicBezTo>
                <a:cubicBezTo>
                  <a:pt x="569584" y="495234"/>
                  <a:pt x="581367" y="492353"/>
                  <a:pt x="592288" y="487332"/>
                </a:cubicBezTo>
                <a:cubicBezTo>
                  <a:pt x="597373" y="485325"/>
                  <a:pt x="602787" y="484284"/>
                  <a:pt x="608253" y="48426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3" name="Forma libre: forma 372">
            <a:extLst>
              <a:ext uri="{FF2B5EF4-FFF2-40B4-BE49-F238E27FC236}">
                <a16:creationId xmlns:a16="http://schemas.microsoft.com/office/drawing/2014/main" id="{8B5D6359-9F2C-B15C-90AE-5BE64621D86C}"/>
              </a:ext>
            </a:extLst>
          </p:cNvPr>
          <p:cNvSpPr/>
          <p:nvPr/>
        </p:nvSpPr>
        <p:spPr>
          <a:xfrm>
            <a:off x="3636416" y="3985028"/>
            <a:ext cx="119082" cy="115863"/>
          </a:xfrm>
          <a:custGeom>
            <a:avLst/>
            <a:gdLst>
              <a:gd name="connsiteX0" fmla="*/ 69911 w 119082"/>
              <a:gd name="connsiteY0" fmla="*/ 115733 h 115863"/>
              <a:gd name="connsiteX1" fmla="*/ 69217 w 119082"/>
              <a:gd name="connsiteY1" fmla="*/ 115444 h 115863"/>
              <a:gd name="connsiteX2" fmla="*/ 68349 w 119082"/>
              <a:gd name="connsiteY2" fmla="*/ 114808 h 115863"/>
              <a:gd name="connsiteX3" fmla="*/ 55508 w 119082"/>
              <a:gd name="connsiteY3" fmla="*/ 111684 h 115863"/>
              <a:gd name="connsiteX4" fmla="*/ 47120 w 119082"/>
              <a:gd name="connsiteY4" fmla="*/ 111684 h 115863"/>
              <a:gd name="connsiteX5" fmla="*/ 30288 w 119082"/>
              <a:gd name="connsiteY5" fmla="*/ 108098 h 115863"/>
              <a:gd name="connsiteX6" fmla="*/ 7729 w 119082"/>
              <a:gd name="connsiteY6" fmla="*/ 89125 h 115863"/>
              <a:gd name="connsiteX7" fmla="*/ 151 w 119082"/>
              <a:gd name="connsiteY7" fmla="*/ 82415 h 115863"/>
              <a:gd name="connsiteX8" fmla="*/ 151 w 119082"/>
              <a:gd name="connsiteY8" fmla="*/ 80911 h 115863"/>
              <a:gd name="connsiteX9" fmla="*/ 23288 w 119082"/>
              <a:gd name="connsiteY9" fmla="*/ 50948 h 115863"/>
              <a:gd name="connsiteX10" fmla="*/ 29651 w 119082"/>
              <a:gd name="connsiteY10" fmla="*/ 50948 h 115863"/>
              <a:gd name="connsiteX11" fmla="*/ 41741 w 119082"/>
              <a:gd name="connsiteY11" fmla="*/ 51353 h 115863"/>
              <a:gd name="connsiteX12" fmla="*/ 58689 w 119082"/>
              <a:gd name="connsiteY12" fmla="*/ 47419 h 115863"/>
              <a:gd name="connsiteX13" fmla="*/ 45616 w 119082"/>
              <a:gd name="connsiteY13" fmla="*/ 30066 h 115863"/>
              <a:gd name="connsiteX14" fmla="*/ 38502 w 119082"/>
              <a:gd name="connsiteY14" fmla="*/ 21736 h 115863"/>
              <a:gd name="connsiteX15" fmla="*/ 39311 w 119082"/>
              <a:gd name="connsiteY15" fmla="*/ 20521 h 115863"/>
              <a:gd name="connsiteX16" fmla="*/ 41914 w 119082"/>
              <a:gd name="connsiteY16" fmla="*/ 12597 h 115863"/>
              <a:gd name="connsiteX17" fmla="*/ 48624 w 119082"/>
              <a:gd name="connsiteY17" fmla="*/ -129 h 115863"/>
              <a:gd name="connsiteX18" fmla="*/ 56028 w 119082"/>
              <a:gd name="connsiteY18" fmla="*/ -129 h 115863"/>
              <a:gd name="connsiteX19" fmla="*/ 84951 w 119082"/>
              <a:gd name="connsiteY19" fmla="*/ 276 h 115863"/>
              <a:gd name="connsiteX20" fmla="*/ 94495 w 119082"/>
              <a:gd name="connsiteY20" fmla="*/ 276 h 115863"/>
              <a:gd name="connsiteX21" fmla="*/ 95363 w 119082"/>
              <a:gd name="connsiteY21" fmla="*/ 565 h 115863"/>
              <a:gd name="connsiteX22" fmla="*/ 95652 w 119082"/>
              <a:gd name="connsiteY22" fmla="*/ 1433 h 115863"/>
              <a:gd name="connsiteX23" fmla="*/ 94321 w 119082"/>
              <a:gd name="connsiteY23" fmla="*/ 55286 h 115863"/>
              <a:gd name="connsiteX24" fmla="*/ 106642 w 119082"/>
              <a:gd name="connsiteY24" fmla="*/ 53609 h 115863"/>
              <a:gd name="connsiteX25" fmla="*/ 107626 w 119082"/>
              <a:gd name="connsiteY25" fmla="*/ 54013 h 115863"/>
              <a:gd name="connsiteX26" fmla="*/ 107915 w 119082"/>
              <a:gd name="connsiteY26" fmla="*/ 54997 h 115863"/>
              <a:gd name="connsiteX27" fmla="*/ 108551 w 119082"/>
              <a:gd name="connsiteY27" fmla="*/ 61128 h 115863"/>
              <a:gd name="connsiteX28" fmla="*/ 117285 w 119082"/>
              <a:gd name="connsiteY28" fmla="*/ 60203 h 115863"/>
              <a:gd name="connsiteX29" fmla="*/ 118842 w 119082"/>
              <a:gd name="connsiteY29" fmla="*/ 60700 h 115863"/>
              <a:gd name="connsiteX30" fmla="*/ 118732 w 119082"/>
              <a:gd name="connsiteY30" fmla="*/ 61938 h 115863"/>
              <a:gd name="connsiteX31" fmla="*/ 103808 w 119082"/>
              <a:gd name="connsiteY31" fmla="*/ 77325 h 115863"/>
              <a:gd name="connsiteX32" fmla="*/ 94611 w 119082"/>
              <a:gd name="connsiteY32" fmla="*/ 92306 h 115863"/>
              <a:gd name="connsiteX33" fmla="*/ 89983 w 119082"/>
              <a:gd name="connsiteY33" fmla="*/ 99190 h 115863"/>
              <a:gd name="connsiteX34" fmla="*/ 71010 w 119082"/>
              <a:gd name="connsiteY34" fmla="*/ 115097 h 115863"/>
              <a:gd name="connsiteX35" fmla="*/ 69911 w 119082"/>
              <a:gd name="connsiteY35" fmla="*/ 115733 h 115863"/>
              <a:gd name="connsiteX36" fmla="*/ 55508 w 119082"/>
              <a:gd name="connsiteY36" fmla="*/ 109486 h 115863"/>
              <a:gd name="connsiteX37" fmla="*/ 69795 w 119082"/>
              <a:gd name="connsiteY37" fmla="*/ 113188 h 115863"/>
              <a:gd name="connsiteX38" fmla="*/ 69795 w 119082"/>
              <a:gd name="connsiteY38" fmla="*/ 113188 h 115863"/>
              <a:gd name="connsiteX39" fmla="*/ 89000 w 119082"/>
              <a:gd name="connsiteY39" fmla="*/ 97339 h 115863"/>
              <a:gd name="connsiteX40" fmla="*/ 92065 w 119082"/>
              <a:gd name="connsiteY40" fmla="*/ 92075 h 115863"/>
              <a:gd name="connsiteX41" fmla="*/ 102015 w 119082"/>
              <a:gd name="connsiteY41" fmla="*/ 75878 h 115863"/>
              <a:gd name="connsiteX42" fmla="*/ 113583 w 119082"/>
              <a:gd name="connsiteY42" fmla="*/ 64310 h 115863"/>
              <a:gd name="connsiteX43" fmla="*/ 106353 w 119082"/>
              <a:gd name="connsiteY43" fmla="*/ 62864 h 115863"/>
              <a:gd name="connsiteX44" fmla="*/ 105022 w 119082"/>
              <a:gd name="connsiteY44" fmla="*/ 56385 h 115863"/>
              <a:gd name="connsiteX45" fmla="*/ 92817 w 119082"/>
              <a:gd name="connsiteY45" fmla="*/ 58004 h 115863"/>
              <a:gd name="connsiteX46" fmla="*/ 91950 w 119082"/>
              <a:gd name="connsiteY46" fmla="*/ 57715 h 115863"/>
              <a:gd name="connsiteX47" fmla="*/ 91545 w 119082"/>
              <a:gd name="connsiteY47" fmla="*/ 56848 h 115863"/>
              <a:gd name="connsiteX48" fmla="*/ 92933 w 119082"/>
              <a:gd name="connsiteY48" fmla="*/ 2821 h 115863"/>
              <a:gd name="connsiteX49" fmla="*/ 84488 w 119082"/>
              <a:gd name="connsiteY49" fmla="*/ 2821 h 115863"/>
              <a:gd name="connsiteX50" fmla="*/ 55566 w 119082"/>
              <a:gd name="connsiteY50" fmla="*/ 2416 h 115863"/>
              <a:gd name="connsiteX51" fmla="*/ 48220 w 119082"/>
              <a:gd name="connsiteY51" fmla="*/ 2416 h 115863"/>
              <a:gd name="connsiteX52" fmla="*/ 43707 w 119082"/>
              <a:gd name="connsiteY52" fmla="*/ 13407 h 115863"/>
              <a:gd name="connsiteX53" fmla="*/ 40468 w 119082"/>
              <a:gd name="connsiteY53" fmla="*/ 22373 h 115863"/>
              <a:gd name="connsiteX54" fmla="*/ 46716 w 119082"/>
              <a:gd name="connsiteY54" fmla="*/ 28678 h 115863"/>
              <a:gd name="connsiteX55" fmla="*/ 60367 w 119082"/>
              <a:gd name="connsiteY55" fmla="*/ 48518 h 115863"/>
              <a:gd name="connsiteX56" fmla="*/ 41336 w 119082"/>
              <a:gd name="connsiteY56" fmla="*/ 53898 h 115863"/>
              <a:gd name="connsiteX57" fmla="*/ 29131 w 119082"/>
              <a:gd name="connsiteY57" fmla="*/ 53435 h 115863"/>
              <a:gd name="connsiteX58" fmla="*/ 24156 w 119082"/>
              <a:gd name="connsiteY58" fmla="*/ 53435 h 115863"/>
              <a:gd name="connsiteX59" fmla="*/ 23346 w 119082"/>
              <a:gd name="connsiteY59" fmla="*/ 53435 h 115863"/>
              <a:gd name="connsiteX60" fmla="*/ 2233 w 119082"/>
              <a:gd name="connsiteY60" fmla="*/ 81663 h 115863"/>
              <a:gd name="connsiteX61" fmla="*/ 9059 w 119082"/>
              <a:gd name="connsiteY61" fmla="*/ 87736 h 115863"/>
              <a:gd name="connsiteX62" fmla="*/ 31329 w 119082"/>
              <a:gd name="connsiteY62" fmla="*/ 106478 h 115863"/>
              <a:gd name="connsiteX63" fmla="*/ 51227 w 119082"/>
              <a:gd name="connsiteY63" fmla="*/ 109660 h 11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19082" h="115863">
                <a:moveTo>
                  <a:pt x="69911" y="115733"/>
                </a:moveTo>
                <a:cubicBezTo>
                  <a:pt x="69651" y="115727"/>
                  <a:pt x="69402" y="115623"/>
                  <a:pt x="69217" y="115444"/>
                </a:cubicBezTo>
                <a:lnTo>
                  <a:pt x="68349" y="114808"/>
                </a:lnTo>
                <a:cubicBezTo>
                  <a:pt x="64584" y="112262"/>
                  <a:pt x="60025" y="111152"/>
                  <a:pt x="55508" y="111684"/>
                </a:cubicBezTo>
                <a:lnTo>
                  <a:pt x="47120" y="111684"/>
                </a:lnTo>
                <a:cubicBezTo>
                  <a:pt x="41284" y="112066"/>
                  <a:pt x="35459" y="110822"/>
                  <a:pt x="30288" y="108098"/>
                </a:cubicBezTo>
                <a:cubicBezTo>
                  <a:pt x="22386" y="102244"/>
                  <a:pt x="14849" y="95910"/>
                  <a:pt x="7729" y="89125"/>
                </a:cubicBezTo>
                <a:lnTo>
                  <a:pt x="151" y="82415"/>
                </a:lnTo>
                <a:cubicBezTo>
                  <a:pt x="-196" y="81975"/>
                  <a:pt x="-196" y="81350"/>
                  <a:pt x="151" y="80911"/>
                </a:cubicBezTo>
                <a:cubicBezTo>
                  <a:pt x="7844" y="69920"/>
                  <a:pt x="20975" y="51468"/>
                  <a:pt x="23288" y="50948"/>
                </a:cubicBezTo>
                <a:cubicBezTo>
                  <a:pt x="25406" y="50763"/>
                  <a:pt x="27534" y="50763"/>
                  <a:pt x="29651" y="50948"/>
                </a:cubicBezTo>
                <a:cubicBezTo>
                  <a:pt x="33122" y="50948"/>
                  <a:pt x="37402" y="51353"/>
                  <a:pt x="41741" y="51353"/>
                </a:cubicBezTo>
                <a:cubicBezTo>
                  <a:pt x="54525" y="51353"/>
                  <a:pt x="57995" y="49212"/>
                  <a:pt x="58689" y="47419"/>
                </a:cubicBezTo>
                <a:cubicBezTo>
                  <a:pt x="60193" y="43543"/>
                  <a:pt x="51401" y="35445"/>
                  <a:pt x="45616" y="30066"/>
                </a:cubicBezTo>
                <a:cubicBezTo>
                  <a:pt x="39832" y="24686"/>
                  <a:pt x="38386" y="23240"/>
                  <a:pt x="38502" y="21736"/>
                </a:cubicBezTo>
                <a:cubicBezTo>
                  <a:pt x="38542" y="21222"/>
                  <a:pt x="38849" y="20759"/>
                  <a:pt x="39311" y="20521"/>
                </a:cubicBezTo>
                <a:cubicBezTo>
                  <a:pt x="40601" y="18040"/>
                  <a:pt x="41481" y="15362"/>
                  <a:pt x="41914" y="12597"/>
                </a:cubicBezTo>
                <a:cubicBezTo>
                  <a:pt x="43534" y="6060"/>
                  <a:pt x="45038" y="-129"/>
                  <a:pt x="48624" y="-129"/>
                </a:cubicBezTo>
                <a:lnTo>
                  <a:pt x="56028" y="-129"/>
                </a:lnTo>
                <a:cubicBezTo>
                  <a:pt x="63837" y="-129"/>
                  <a:pt x="75696" y="276"/>
                  <a:pt x="84951" y="276"/>
                </a:cubicBezTo>
                <a:lnTo>
                  <a:pt x="94495" y="276"/>
                </a:lnTo>
                <a:cubicBezTo>
                  <a:pt x="94813" y="235"/>
                  <a:pt x="95131" y="340"/>
                  <a:pt x="95363" y="565"/>
                </a:cubicBezTo>
                <a:cubicBezTo>
                  <a:pt x="95548" y="814"/>
                  <a:pt x="95652" y="1120"/>
                  <a:pt x="95652" y="1433"/>
                </a:cubicBezTo>
                <a:lnTo>
                  <a:pt x="94321" y="55286"/>
                </a:lnTo>
                <a:lnTo>
                  <a:pt x="106642" y="53609"/>
                </a:lnTo>
                <a:cubicBezTo>
                  <a:pt x="107012" y="53591"/>
                  <a:pt x="107371" y="53741"/>
                  <a:pt x="107626" y="54013"/>
                </a:cubicBezTo>
                <a:cubicBezTo>
                  <a:pt x="107886" y="54268"/>
                  <a:pt x="107996" y="54638"/>
                  <a:pt x="107915" y="54997"/>
                </a:cubicBezTo>
                <a:cubicBezTo>
                  <a:pt x="107244" y="57038"/>
                  <a:pt x="107475" y="59271"/>
                  <a:pt x="108551" y="61128"/>
                </a:cubicBezTo>
                <a:cubicBezTo>
                  <a:pt x="109939" y="62921"/>
                  <a:pt x="113063" y="62516"/>
                  <a:pt x="117285" y="60203"/>
                </a:cubicBezTo>
                <a:cubicBezTo>
                  <a:pt x="117852" y="59908"/>
                  <a:pt x="118552" y="60133"/>
                  <a:pt x="118842" y="60700"/>
                </a:cubicBezTo>
                <a:cubicBezTo>
                  <a:pt x="119050" y="61099"/>
                  <a:pt x="119009" y="61585"/>
                  <a:pt x="118732" y="61938"/>
                </a:cubicBezTo>
                <a:cubicBezTo>
                  <a:pt x="114324" y="67583"/>
                  <a:pt x="109320" y="72743"/>
                  <a:pt x="103808" y="77325"/>
                </a:cubicBezTo>
                <a:cubicBezTo>
                  <a:pt x="99018" y="81027"/>
                  <a:pt x="95744" y="86360"/>
                  <a:pt x="94611" y="92306"/>
                </a:cubicBezTo>
                <a:cubicBezTo>
                  <a:pt x="93801" y="95488"/>
                  <a:pt x="93049" y="98091"/>
                  <a:pt x="89983" y="99190"/>
                </a:cubicBezTo>
                <a:cubicBezTo>
                  <a:pt x="88537" y="99595"/>
                  <a:pt x="84198" y="102660"/>
                  <a:pt x="71010" y="115097"/>
                </a:cubicBezTo>
                <a:cubicBezTo>
                  <a:pt x="70802" y="115508"/>
                  <a:pt x="70374" y="115756"/>
                  <a:pt x="69911" y="115733"/>
                </a:cubicBezTo>
                <a:close/>
                <a:moveTo>
                  <a:pt x="55508" y="109486"/>
                </a:moveTo>
                <a:cubicBezTo>
                  <a:pt x="60563" y="108925"/>
                  <a:pt x="65648" y="110244"/>
                  <a:pt x="69795" y="113188"/>
                </a:cubicBezTo>
                <a:lnTo>
                  <a:pt x="69795" y="113188"/>
                </a:lnTo>
                <a:cubicBezTo>
                  <a:pt x="83794" y="99942"/>
                  <a:pt x="87438" y="97801"/>
                  <a:pt x="89000" y="97339"/>
                </a:cubicBezTo>
                <a:cubicBezTo>
                  <a:pt x="90561" y="96876"/>
                  <a:pt x="91256" y="95256"/>
                  <a:pt x="92065" y="92075"/>
                </a:cubicBezTo>
                <a:cubicBezTo>
                  <a:pt x="93298" y="85643"/>
                  <a:pt x="96838" y="79887"/>
                  <a:pt x="102015" y="75878"/>
                </a:cubicBezTo>
                <a:cubicBezTo>
                  <a:pt x="106237" y="72408"/>
                  <a:pt x="110113" y="68532"/>
                  <a:pt x="113583" y="64310"/>
                </a:cubicBezTo>
                <a:cubicBezTo>
                  <a:pt x="111108" y="65397"/>
                  <a:pt x="108221" y="64819"/>
                  <a:pt x="106353" y="62864"/>
                </a:cubicBezTo>
                <a:cubicBezTo>
                  <a:pt x="105051" y="60972"/>
                  <a:pt x="104571" y="58635"/>
                  <a:pt x="105022" y="56385"/>
                </a:cubicBezTo>
                <a:lnTo>
                  <a:pt x="92817" y="58004"/>
                </a:lnTo>
                <a:cubicBezTo>
                  <a:pt x="92499" y="58028"/>
                  <a:pt x="92193" y="57924"/>
                  <a:pt x="91950" y="57715"/>
                </a:cubicBezTo>
                <a:cubicBezTo>
                  <a:pt x="91689" y="57501"/>
                  <a:pt x="91539" y="57183"/>
                  <a:pt x="91545" y="56848"/>
                </a:cubicBezTo>
                <a:lnTo>
                  <a:pt x="92933" y="2821"/>
                </a:lnTo>
                <a:cubicBezTo>
                  <a:pt x="90793" y="2821"/>
                  <a:pt x="87959" y="2821"/>
                  <a:pt x="84488" y="2821"/>
                </a:cubicBezTo>
                <a:cubicBezTo>
                  <a:pt x="75233" y="2821"/>
                  <a:pt x="63432" y="2821"/>
                  <a:pt x="55566" y="2416"/>
                </a:cubicBezTo>
                <a:lnTo>
                  <a:pt x="48220" y="2416"/>
                </a:lnTo>
                <a:cubicBezTo>
                  <a:pt x="46426" y="2416"/>
                  <a:pt x="44749" y="9300"/>
                  <a:pt x="43707" y="13407"/>
                </a:cubicBezTo>
                <a:cubicBezTo>
                  <a:pt x="43337" y="16605"/>
                  <a:pt x="42233" y="19677"/>
                  <a:pt x="40468" y="22373"/>
                </a:cubicBezTo>
                <a:cubicBezTo>
                  <a:pt x="42377" y="24640"/>
                  <a:pt x="44465" y="26745"/>
                  <a:pt x="46716" y="28678"/>
                </a:cubicBezTo>
                <a:cubicBezTo>
                  <a:pt x="53715" y="35156"/>
                  <a:pt x="62449" y="43196"/>
                  <a:pt x="60367" y="48518"/>
                </a:cubicBezTo>
                <a:cubicBezTo>
                  <a:pt x="58978" y="52162"/>
                  <a:pt x="52905" y="53898"/>
                  <a:pt x="41336" y="53898"/>
                </a:cubicBezTo>
                <a:cubicBezTo>
                  <a:pt x="36940" y="53898"/>
                  <a:pt x="32601" y="53898"/>
                  <a:pt x="29131" y="53435"/>
                </a:cubicBezTo>
                <a:lnTo>
                  <a:pt x="24156" y="53435"/>
                </a:lnTo>
                <a:lnTo>
                  <a:pt x="23346" y="53435"/>
                </a:lnTo>
                <a:cubicBezTo>
                  <a:pt x="15780" y="62436"/>
                  <a:pt x="8729" y="71858"/>
                  <a:pt x="2233" y="81663"/>
                </a:cubicBezTo>
                <a:lnTo>
                  <a:pt x="9059" y="87736"/>
                </a:lnTo>
                <a:cubicBezTo>
                  <a:pt x="16099" y="94423"/>
                  <a:pt x="23537" y="100682"/>
                  <a:pt x="31329" y="106478"/>
                </a:cubicBezTo>
                <a:cubicBezTo>
                  <a:pt x="37524" y="109411"/>
                  <a:pt x="44425" y="110516"/>
                  <a:pt x="51227" y="10966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4" name="Forma libre: forma 373">
            <a:extLst>
              <a:ext uri="{FF2B5EF4-FFF2-40B4-BE49-F238E27FC236}">
                <a16:creationId xmlns:a16="http://schemas.microsoft.com/office/drawing/2014/main" id="{0937C7F1-0955-0341-304F-9A52B255E1AF}"/>
              </a:ext>
            </a:extLst>
          </p:cNvPr>
          <p:cNvSpPr/>
          <p:nvPr/>
        </p:nvSpPr>
        <p:spPr>
          <a:xfrm>
            <a:off x="3728243" y="3968658"/>
            <a:ext cx="37831" cy="74792"/>
          </a:xfrm>
          <a:custGeom>
            <a:avLst/>
            <a:gdLst>
              <a:gd name="connsiteX0" fmla="*/ 1047 w 37831"/>
              <a:gd name="connsiteY0" fmla="*/ 74374 h 74792"/>
              <a:gd name="connsiteX1" fmla="*/ 296 w 37831"/>
              <a:gd name="connsiteY1" fmla="*/ 74085 h 74792"/>
              <a:gd name="connsiteX2" fmla="*/ -109 w 37831"/>
              <a:gd name="connsiteY2" fmla="*/ 73218 h 74792"/>
              <a:gd name="connsiteX3" fmla="*/ 1279 w 37831"/>
              <a:gd name="connsiteY3" fmla="*/ 18034 h 74792"/>
              <a:gd name="connsiteX4" fmla="*/ 2378 w 37831"/>
              <a:gd name="connsiteY4" fmla="*/ 16935 h 74792"/>
              <a:gd name="connsiteX5" fmla="*/ 5849 w 37831"/>
              <a:gd name="connsiteY5" fmla="*/ 16935 h 74792"/>
              <a:gd name="connsiteX6" fmla="*/ 9203 w 37831"/>
              <a:gd name="connsiteY6" fmla="*/ 12771 h 74792"/>
              <a:gd name="connsiteX7" fmla="*/ 23722 w 37831"/>
              <a:gd name="connsiteY7" fmla="*/ -129 h 74792"/>
              <a:gd name="connsiteX8" fmla="*/ 24127 w 37831"/>
              <a:gd name="connsiteY8" fmla="*/ -129 h 74792"/>
              <a:gd name="connsiteX9" fmla="*/ 37374 w 37831"/>
              <a:gd name="connsiteY9" fmla="*/ 8085 h 74792"/>
              <a:gd name="connsiteX10" fmla="*/ 37721 w 37831"/>
              <a:gd name="connsiteY10" fmla="*/ 8895 h 74792"/>
              <a:gd name="connsiteX11" fmla="*/ 37374 w 37831"/>
              <a:gd name="connsiteY11" fmla="*/ 9763 h 74792"/>
              <a:gd name="connsiteX12" fmla="*/ 30779 w 37831"/>
              <a:gd name="connsiteY12" fmla="*/ 13523 h 74792"/>
              <a:gd name="connsiteX13" fmla="*/ 27425 w 37831"/>
              <a:gd name="connsiteY13" fmla="*/ 33710 h 74792"/>
              <a:gd name="connsiteX14" fmla="*/ 23954 w 37831"/>
              <a:gd name="connsiteY14" fmla="*/ 58757 h 74792"/>
              <a:gd name="connsiteX15" fmla="*/ 15798 w 37831"/>
              <a:gd name="connsiteY15" fmla="*/ 71945 h 74792"/>
              <a:gd name="connsiteX16" fmla="*/ 14872 w 37831"/>
              <a:gd name="connsiteY16" fmla="*/ 72813 h 74792"/>
              <a:gd name="connsiteX17" fmla="*/ 1163 w 37831"/>
              <a:gd name="connsiteY17" fmla="*/ 74664 h 74792"/>
              <a:gd name="connsiteX18" fmla="*/ 3535 w 37831"/>
              <a:gd name="connsiteY18" fmla="*/ 19133 h 74792"/>
              <a:gd name="connsiteX19" fmla="*/ 2204 w 37831"/>
              <a:gd name="connsiteY19" fmla="*/ 71945 h 74792"/>
              <a:gd name="connsiteX20" fmla="*/ 13773 w 37831"/>
              <a:gd name="connsiteY20" fmla="*/ 70383 h 74792"/>
              <a:gd name="connsiteX21" fmla="*/ 22565 w 37831"/>
              <a:gd name="connsiteY21" fmla="*/ 56732 h 74792"/>
              <a:gd name="connsiteX22" fmla="*/ 25169 w 37831"/>
              <a:gd name="connsiteY22" fmla="*/ 33594 h 74792"/>
              <a:gd name="connsiteX23" fmla="*/ 30259 w 37831"/>
              <a:gd name="connsiteY23" fmla="*/ 10977 h 74792"/>
              <a:gd name="connsiteX24" fmla="*/ 34886 w 37831"/>
              <a:gd name="connsiteY24" fmla="*/ 8490 h 74792"/>
              <a:gd name="connsiteX25" fmla="*/ 24127 w 37831"/>
              <a:gd name="connsiteY25" fmla="*/ 1665 h 74792"/>
              <a:gd name="connsiteX26" fmla="*/ 11055 w 37831"/>
              <a:gd name="connsiteY26" fmla="*/ 13696 h 74792"/>
              <a:gd name="connsiteX27" fmla="*/ 6774 w 37831"/>
              <a:gd name="connsiteY27" fmla="*/ 18555 h 74792"/>
              <a:gd name="connsiteX28" fmla="*/ 3535 w 37831"/>
              <a:gd name="connsiteY28" fmla="*/ 19133 h 7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831" h="74792">
                <a:moveTo>
                  <a:pt x="1047" y="74374"/>
                </a:moveTo>
                <a:cubicBezTo>
                  <a:pt x="770" y="74374"/>
                  <a:pt x="498" y="74276"/>
                  <a:pt x="296" y="74085"/>
                </a:cubicBezTo>
                <a:cubicBezTo>
                  <a:pt x="35" y="73871"/>
                  <a:pt x="-115" y="73553"/>
                  <a:pt x="-109" y="73218"/>
                </a:cubicBezTo>
                <a:lnTo>
                  <a:pt x="1279" y="18034"/>
                </a:lnTo>
                <a:cubicBezTo>
                  <a:pt x="1308" y="17439"/>
                  <a:pt x="1782" y="16964"/>
                  <a:pt x="2378" y="16935"/>
                </a:cubicBezTo>
                <a:cubicBezTo>
                  <a:pt x="3535" y="17034"/>
                  <a:pt x="4692" y="17034"/>
                  <a:pt x="5849" y="16935"/>
                </a:cubicBezTo>
                <a:cubicBezTo>
                  <a:pt x="7081" y="15639"/>
                  <a:pt x="8203" y="14246"/>
                  <a:pt x="9203" y="12771"/>
                </a:cubicBezTo>
                <a:cubicBezTo>
                  <a:pt x="13137" y="7506"/>
                  <a:pt x="18459" y="334"/>
                  <a:pt x="23722" y="-129"/>
                </a:cubicBezTo>
                <a:lnTo>
                  <a:pt x="24127" y="-129"/>
                </a:lnTo>
                <a:cubicBezTo>
                  <a:pt x="27193" y="-129"/>
                  <a:pt x="31531" y="2532"/>
                  <a:pt x="37374" y="8085"/>
                </a:cubicBezTo>
                <a:cubicBezTo>
                  <a:pt x="37594" y="8299"/>
                  <a:pt x="37715" y="8588"/>
                  <a:pt x="37721" y="8895"/>
                </a:cubicBezTo>
                <a:cubicBezTo>
                  <a:pt x="37732" y="9219"/>
                  <a:pt x="37605" y="9537"/>
                  <a:pt x="37374" y="9763"/>
                </a:cubicBezTo>
                <a:cubicBezTo>
                  <a:pt x="35557" y="11590"/>
                  <a:pt x="33278" y="12886"/>
                  <a:pt x="30779" y="13523"/>
                </a:cubicBezTo>
                <a:cubicBezTo>
                  <a:pt x="24995" y="14853"/>
                  <a:pt x="26326" y="24050"/>
                  <a:pt x="27425" y="33710"/>
                </a:cubicBezTo>
                <a:cubicBezTo>
                  <a:pt x="28523" y="43370"/>
                  <a:pt x="29796" y="54245"/>
                  <a:pt x="23954" y="58757"/>
                </a:cubicBezTo>
                <a:cubicBezTo>
                  <a:pt x="19853" y="62129"/>
                  <a:pt x="16984" y="66768"/>
                  <a:pt x="15798" y="71945"/>
                </a:cubicBezTo>
                <a:cubicBezTo>
                  <a:pt x="15705" y="72402"/>
                  <a:pt x="15335" y="72749"/>
                  <a:pt x="14872" y="72813"/>
                </a:cubicBezTo>
                <a:lnTo>
                  <a:pt x="1163" y="74664"/>
                </a:lnTo>
                <a:close/>
                <a:moveTo>
                  <a:pt x="3535" y="19133"/>
                </a:moveTo>
                <a:lnTo>
                  <a:pt x="2204" y="71945"/>
                </a:lnTo>
                <a:lnTo>
                  <a:pt x="13773" y="70383"/>
                </a:lnTo>
                <a:cubicBezTo>
                  <a:pt x="15179" y="65015"/>
                  <a:pt x="18262" y="60232"/>
                  <a:pt x="22565" y="56732"/>
                </a:cubicBezTo>
                <a:cubicBezTo>
                  <a:pt x="27425" y="52972"/>
                  <a:pt x="26268" y="43197"/>
                  <a:pt x="25169" y="33594"/>
                </a:cubicBezTo>
                <a:cubicBezTo>
                  <a:pt x="23954" y="22835"/>
                  <a:pt x="22797" y="12713"/>
                  <a:pt x="30259" y="10977"/>
                </a:cubicBezTo>
                <a:cubicBezTo>
                  <a:pt x="31965" y="10497"/>
                  <a:pt x="33544" y="9647"/>
                  <a:pt x="34886" y="8490"/>
                </a:cubicBezTo>
                <a:cubicBezTo>
                  <a:pt x="28523" y="2706"/>
                  <a:pt x="25400" y="1665"/>
                  <a:pt x="24127" y="1665"/>
                </a:cubicBezTo>
                <a:cubicBezTo>
                  <a:pt x="19673" y="2069"/>
                  <a:pt x="14467" y="9068"/>
                  <a:pt x="11055" y="13696"/>
                </a:cubicBezTo>
                <a:cubicBezTo>
                  <a:pt x="8856" y="16646"/>
                  <a:pt x="7757" y="18092"/>
                  <a:pt x="6774" y="18555"/>
                </a:cubicBezTo>
                <a:cubicBezTo>
                  <a:pt x="5744" y="18971"/>
                  <a:pt x="4645" y="19168"/>
                  <a:pt x="3535" y="19133"/>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5" name="Forma libre: forma 374">
            <a:extLst>
              <a:ext uri="{FF2B5EF4-FFF2-40B4-BE49-F238E27FC236}">
                <a16:creationId xmlns:a16="http://schemas.microsoft.com/office/drawing/2014/main" id="{C8AF71A7-548C-C8B7-7107-856CE4CB044B}"/>
              </a:ext>
            </a:extLst>
          </p:cNvPr>
          <p:cNvSpPr/>
          <p:nvPr/>
        </p:nvSpPr>
        <p:spPr>
          <a:xfrm>
            <a:off x="4131934" y="3920226"/>
            <a:ext cx="80933" cy="65085"/>
          </a:xfrm>
          <a:custGeom>
            <a:avLst/>
            <a:gdLst>
              <a:gd name="connsiteX0" fmla="*/ 74225 w 80933"/>
              <a:gd name="connsiteY0" fmla="*/ 64905 h 65085"/>
              <a:gd name="connsiteX1" fmla="*/ 73762 w 80933"/>
              <a:gd name="connsiteY1" fmla="*/ 64905 h 65085"/>
              <a:gd name="connsiteX2" fmla="*/ 49873 w 80933"/>
              <a:gd name="connsiteY2" fmla="*/ 57732 h 65085"/>
              <a:gd name="connsiteX3" fmla="*/ 36742 w 80933"/>
              <a:gd name="connsiteY3" fmla="*/ 59930 h 65085"/>
              <a:gd name="connsiteX4" fmla="*/ 23206 w 80933"/>
              <a:gd name="connsiteY4" fmla="*/ 62128 h 65085"/>
              <a:gd name="connsiteX5" fmla="*/ 820 w 80933"/>
              <a:gd name="connsiteY5" fmla="*/ 54261 h 65085"/>
              <a:gd name="connsiteX6" fmla="*/ 184 w 80933"/>
              <a:gd name="connsiteY6" fmla="*/ 49981 h 65085"/>
              <a:gd name="connsiteX7" fmla="*/ 20488 w 80933"/>
              <a:gd name="connsiteY7" fmla="*/ 44196 h 65085"/>
              <a:gd name="connsiteX8" fmla="*/ 30495 w 80933"/>
              <a:gd name="connsiteY8" fmla="*/ 44196 h 65085"/>
              <a:gd name="connsiteX9" fmla="*/ 39807 w 80933"/>
              <a:gd name="connsiteY9" fmla="*/ 44196 h 65085"/>
              <a:gd name="connsiteX10" fmla="*/ 53401 w 80933"/>
              <a:gd name="connsiteY10" fmla="*/ 40552 h 65085"/>
              <a:gd name="connsiteX11" fmla="*/ 43278 w 80933"/>
              <a:gd name="connsiteY11" fmla="*/ 25281 h 65085"/>
              <a:gd name="connsiteX12" fmla="*/ 32404 w 80933"/>
              <a:gd name="connsiteY12" fmla="*/ 7176 h 65085"/>
              <a:gd name="connsiteX13" fmla="*/ 35701 w 80933"/>
              <a:gd name="connsiteY13" fmla="*/ 2028 h 65085"/>
              <a:gd name="connsiteX14" fmla="*/ 43799 w 80933"/>
              <a:gd name="connsiteY14" fmla="*/ -113 h 65085"/>
              <a:gd name="connsiteX15" fmla="*/ 66936 w 80933"/>
              <a:gd name="connsiteY15" fmla="*/ 5672 h 65085"/>
              <a:gd name="connsiteX16" fmla="*/ 79951 w 80933"/>
              <a:gd name="connsiteY16" fmla="*/ 9721 h 65085"/>
              <a:gd name="connsiteX17" fmla="*/ 80819 w 80933"/>
              <a:gd name="connsiteY17" fmla="*/ 10994 h 65085"/>
              <a:gd name="connsiteX18" fmla="*/ 75440 w 80933"/>
              <a:gd name="connsiteY18" fmla="*/ 64037 h 65085"/>
              <a:gd name="connsiteX19" fmla="*/ 74861 w 80933"/>
              <a:gd name="connsiteY19" fmla="*/ 64905 h 65085"/>
              <a:gd name="connsiteX20" fmla="*/ 74225 w 80933"/>
              <a:gd name="connsiteY20" fmla="*/ 64905 h 65085"/>
              <a:gd name="connsiteX21" fmla="*/ 49873 w 80933"/>
              <a:gd name="connsiteY21" fmla="*/ 55360 h 65085"/>
              <a:gd name="connsiteX22" fmla="*/ 73010 w 80933"/>
              <a:gd name="connsiteY22" fmla="*/ 62012 h 65085"/>
              <a:gd name="connsiteX23" fmla="*/ 78158 w 80933"/>
              <a:gd name="connsiteY23" fmla="*/ 11514 h 65085"/>
              <a:gd name="connsiteX24" fmla="*/ 65953 w 80933"/>
              <a:gd name="connsiteY24" fmla="*/ 7639 h 65085"/>
              <a:gd name="connsiteX25" fmla="*/ 43567 w 80933"/>
              <a:gd name="connsiteY25" fmla="*/ 2201 h 65085"/>
              <a:gd name="connsiteX26" fmla="*/ 36800 w 80933"/>
              <a:gd name="connsiteY26" fmla="*/ 3937 h 65085"/>
              <a:gd name="connsiteX27" fmla="*/ 34428 w 80933"/>
              <a:gd name="connsiteY27" fmla="*/ 7465 h 65085"/>
              <a:gd name="connsiteX28" fmla="*/ 44724 w 80933"/>
              <a:gd name="connsiteY28" fmla="*/ 23835 h 65085"/>
              <a:gd name="connsiteX29" fmla="*/ 55425 w 80933"/>
              <a:gd name="connsiteY29" fmla="*/ 40610 h 65085"/>
              <a:gd name="connsiteX30" fmla="*/ 39576 w 80933"/>
              <a:gd name="connsiteY30" fmla="*/ 46394 h 65085"/>
              <a:gd name="connsiteX31" fmla="*/ 30205 w 80933"/>
              <a:gd name="connsiteY31" fmla="*/ 46394 h 65085"/>
              <a:gd name="connsiteX32" fmla="*/ 20256 w 80933"/>
              <a:gd name="connsiteY32" fmla="*/ 46394 h 65085"/>
              <a:gd name="connsiteX33" fmla="*/ 2035 w 80933"/>
              <a:gd name="connsiteY33" fmla="*/ 51022 h 65085"/>
              <a:gd name="connsiteX34" fmla="*/ 2440 w 80933"/>
              <a:gd name="connsiteY34" fmla="*/ 53162 h 65085"/>
              <a:gd name="connsiteX35" fmla="*/ 23322 w 80933"/>
              <a:gd name="connsiteY35" fmla="*/ 59756 h 65085"/>
              <a:gd name="connsiteX36" fmla="*/ 36106 w 80933"/>
              <a:gd name="connsiteY36" fmla="*/ 57674 h 65085"/>
              <a:gd name="connsiteX37" fmla="*/ 49873 w 80933"/>
              <a:gd name="connsiteY37" fmla="*/ 55360 h 65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0933" h="65085">
                <a:moveTo>
                  <a:pt x="74225" y="64905"/>
                </a:moveTo>
                <a:lnTo>
                  <a:pt x="73762" y="64905"/>
                </a:lnTo>
                <a:cubicBezTo>
                  <a:pt x="66509" y="60584"/>
                  <a:pt x="58306" y="58119"/>
                  <a:pt x="49873" y="57732"/>
                </a:cubicBezTo>
                <a:cubicBezTo>
                  <a:pt x="45407" y="57772"/>
                  <a:pt x="40976" y="58513"/>
                  <a:pt x="36742" y="59930"/>
                </a:cubicBezTo>
                <a:cubicBezTo>
                  <a:pt x="32380" y="61393"/>
                  <a:pt x="27805" y="62140"/>
                  <a:pt x="23206" y="62128"/>
                </a:cubicBezTo>
                <a:cubicBezTo>
                  <a:pt x="13488" y="62128"/>
                  <a:pt x="3828" y="58715"/>
                  <a:pt x="820" y="54261"/>
                </a:cubicBezTo>
                <a:cubicBezTo>
                  <a:pt x="-128" y="53046"/>
                  <a:pt x="-371" y="51421"/>
                  <a:pt x="184" y="49981"/>
                </a:cubicBezTo>
                <a:cubicBezTo>
                  <a:pt x="2324" y="44659"/>
                  <a:pt x="11753" y="44196"/>
                  <a:pt x="20488" y="44196"/>
                </a:cubicBezTo>
                <a:cubicBezTo>
                  <a:pt x="23727" y="44196"/>
                  <a:pt x="27140" y="44196"/>
                  <a:pt x="30495" y="44196"/>
                </a:cubicBezTo>
                <a:cubicBezTo>
                  <a:pt x="33850" y="44196"/>
                  <a:pt x="36858" y="44196"/>
                  <a:pt x="39807" y="44196"/>
                </a:cubicBezTo>
                <a:cubicBezTo>
                  <a:pt x="45592" y="44196"/>
                  <a:pt x="53401" y="43791"/>
                  <a:pt x="53401" y="40552"/>
                </a:cubicBezTo>
                <a:cubicBezTo>
                  <a:pt x="53401" y="37313"/>
                  <a:pt x="48253" y="30776"/>
                  <a:pt x="43278" y="25281"/>
                </a:cubicBezTo>
                <a:cubicBezTo>
                  <a:pt x="37494" y="18687"/>
                  <a:pt x="31709" y="12498"/>
                  <a:pt x="32404" y="7176"/>
                </a:cubicBezTo>
                <a:cubicBezTo>
                  <a:pt x="32687" y="5059"/>
                  <a:pt x="33896" y="3173"/>
                  <a:pt x="35701" y="2028"/>
                </a:cubicBezTo>
                <a:cubicBezTo>
                  <a:pt x="38113" y="495"/>
                  <a:pt x="40941" y="-251"/>
                  <a:pt x="43799" y="-113"/>
                </a:cubicBezTo>
                <a:cubicBezTo>
                  <a:pt x="51752" y="680"/>
                  <a:pt x="59550" y="2629"/>
                  <a:pt x="66936" y="5672"/>
                </a:cubicBezTo>
                <a:cubicBezTo>
                  <a:pt x="71333" y="7176"/>
                  <a:pt x="75845" y="8680"/>
                  <a:pt x="79951" y="9721"/>
                </a:cubicBezTo>
                <a:cubicBezTo>
                  <a:pt x="80507" y="9883"/>
                  <a:pt x="80871" y="10415"/>
                  <a:pt x="80819" y="10994"/>
                </a:cubicBezTo>
                <a:cubicBezTo>
                  <a:pt x="78852" y="25050"/>
                  <a:pt x="76770" y="45700"/>
                  <a:pt x="75440" y="64037"/>
                </a:cubicBezTo>
                <a:cubicBezTo>
                  <a:pt x="75393" y="64401"/>
                  <a:pt x="75180" y="64725"/>
                  <a:pt x="74861" y="64905"/>
                </a:cubicBezTo>
                <a:cubicBezTo>
                  <a:pt x="74653" y="64974"/>
                  <a:pt x="74433" y="64974"/>
                  <a:pt x="74225" y="64905"/>
                </a:cubicBezTo>
                <a:close/>
                <a:moveTo>
                  <a:pt x="49873" y="55360"/>
                </a:moveTo>
                <a:cubicBezTo>
                  <a:pt x="58011" y="55673"/>
                  <a:pt x="65948" y="57957"/>
                  <a:pt x="73010" y="62012"/>
                </a:cubicBezTo>
                <a:cubicBezTo>
                  <a:pt x="74341" y="44659"/>
                  <a:pt x="76307" y="25108"/>
                  <a:pt x="78158" y="11514"/>
                </a:cubicBezTo>
                <a:cubicBezTo>
                  <a:pt x="74167" y="10473"/>
                  <a:pt x="70002" y="9027"/>
                  <a:pt x="65953" y="7639"/>
                </a:cubicBezTo>
                <a:cubicBezTo>
                  <a:pt x="58786" y="4769"/>
                  <a:pt x="51249" y="2936"/>
                  <a:pt x="43567" y="2201"/>
                </a:cubicBezTo>
                <a:cubicBezTo>
                  <a:pt x="41184" y="2068"/>
                  <a:pt x="38824" y="2675"/>
                  <a:pt x="36800" y="3937"/>
                </a:cubicBezTo>
                <a:cubicBezTo>
                  <a:pt x="35539" y="4717"/>
                  <a:pt x="34671" y="6002"/>
                  <a:pt x="34428" y="7465"/>
                </a:cubicBezTo>
                <a:cubicBezTo>
                  <a:pt x="33908" y="11803"/>
                  <a:pt x="39403" y="17935"/>
                  <a:pt x="44724" y="23835"/>
                </a:cubicBezTo>
                <a:cubicBezTo>
                  <a:pt x="50046" y="29735"/>
                  <a:pt x="55425" y="35404"/>
                  <a:pt x="55425" y="40610"/>
                </a:cubicBezTo>
                <a:cubicBezTo>
                  <a:pt x="55425" y="45816"/>
                  <a:pt x="47790" y="46394"/>
                  <a:pt x="39576" y="46394"/>
                </a:cubicBezTo>
                <a:cubicBezTo>
                  <a:pt x="36626" y="46394"/>
                  <a:pt x="33445" y="46394"/>
                  <a:pt x="30205" y="46394"/>
                </a:cubicBezTo>
                <a:lnTo>
                  <a:pt x="20256" y="46394"/>
                </a:lnTo>
                <a:cubicBezTo>
                  <a:pt x="13257" y="46394"/>
                  <a:pt x="3713" y="46857"/>
                  <a:pt x="2035" y="51022"/>
                </a:cubicBezTo>
                <a:cubicBezTo>
                  <a:pt x="1781" y="51757"/>
                  <a:pt x="1937" y="52572"/>
                  <a:pt x="2440" y="53162"/>
                </a:cubicBezTo>
                <a:cubicBezTo>
                  <a:pt x="8201" y="58131"/>
                  <a:pt x="15750" y="60514"/>
                  <a:pt x="23322" y="59756"/>
                </a:cubicBezTo>
                <a:cubicBezTo>
                  <a:pt x="27672" y="59774"/>
                  <a:pt x="31987" y="59074"/>
                  <a:pt x="36106" y="57674"/>
                </a:cubicBezTo>
                <a:cubicBezTo>
                  <a:pt x="40542" y="56176"/>
                  <a:pt x="45187" y="55395"/>
                  <a:pt x="49873" y="5536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6" name="Forma libre: forma 375">
            <a:extLst>
              <a:ext uri="{FF2B5EF4-FFF2-40B4-BE49-F238E27FC236}">
                <a16:creationId xmlns:a16="http://schemas.microsoft.com/office/drawing/2014/main" id="{DD4C68C4-2208-6607-5EE0-2B90DF4568AD}"/>
              </a:ext>
            </a:extLst>
          </p:cNvPr>
          <p:cNvSpPr/>
          <p:nvPr/>
        </p:nvSpPr>
        <p:spPr>
          <a:xfrm>
            <a:off x="4205169" y="3929994"/>
            <a:ext cx="95211" cy="57637"/>
          </a:xfrm>
          <a:custGeom>
            <a:avLst/>
            <a:gdLst>
              <a:gd name="connsiteX0" fmla="*/ 7931 w 95211"/>
              <a:gd name="connsiteY0" fmla="*/ 57508 h 57637"/>
              <a:gd name="connsiteX1" fmla="*/ 7931 w 95211"/>
              <a:gd name="connsiteY1" fmla="*/ 57508 h 57637"/>
              <a:gd name="connsiteX2" fmla="*/ 2551 w 95211"/>
              <a:gd name="connsiteY2" fmla="*/ 56062 h 57637"/>
              <a:gd name="connsiteX3" fmla="*/ 700 w 95211"/>
              <a:gd name="connsiteY3" fmla="*/ 55137 h 57637"/>
              <a:gd name="connsiteX4" fmla="*/ -110 w 95211"/>
              <a:gd name="connsiteY4" fmla="*/ 53922 h 57637"/>
              <a:gd name="connsiteX5" fmla="*/ 5270 w 95211"/>
              <a:gd name="connsiteY5" fmla="*/ 763 h 57637"/>
              <a:gd name="connsiteX6" fmla="*/ 5733 w 95211"/>
              <a:gd name="connsiteY6" fmla="*/ -47 h 57637"/>
              <a:gd name="connsiteX7" fmla="*/ 6659 w 95211"/>
              <a:gd name="connsiteY7" fmla="*/ -47 h 57637"/>
              <a:gd name="connsiteX8" fmla="*/ 20888 w 95211"/>
              <a:gd name="connsiteY8" fmla="*/ 879 h 57637"/>
              <a:gd name="connsiteX9" fmla="*/ 27656 w 95211"/>
              <a:gd name="connsiteY9" fmla="*/ 11 h 57637"/>
              <a:gd name="connsiteX10" fmla="*/ 95102 w 95211"/>
              <a:gd name="connsiteY10" fmla="*/ 32231 h 57637"/>
              <a:gd name="connsiteX11" fmla="*/ 76939 w 95211"/>
              <a:gd name="connsiteY11" fmla="*/ 42469 h 57637"/>
              <a:gd name="connsiteX12" fmla="*/ 67163 w 95211"/>
              <a:gd name="connsiteY12" fmla="*/ 42469 h 57637"/>
              <a:gd name="connsiteX13" fmla="*/ 55595 w 95211"/>
              <a:gd name="connsiteY13" fmla="*/ 42180 h 57637"/>
              <a:gd name="connsiteX14" fmla="*/ 37084 w 95211"/>
              <a:gd name="connsiteY14" fmla="*/ 44494 h 57637"/>
              <a:gd name="connsiteX15" fmla="*/ 17822 w 95211"/>
              <a:gd name="connsiteY15" fmla="*/ 53748 h 57637"/>
              <a:gd name="connsiteX16" fmla="*/ 7931 w 95211"/>
              <a:gd name="connsiteY16" fmla="*/ 57508 h 57637"/>
              <a:gd name="connsiteX17" fmla="*/ 2146 w 95211"/>
              <a:gd name="connsiteY17" fmla="*/ 53344 h 57637"/>
              <a:gd name="connsiteX18" fmla="*/ 3477 w 95211"/>
              <a:gd name="connsiteY18" fmla="*/ 54038 h 57637"/>
              <a:gd name="connsiteX19" fmla="*/ 16839 w 95211"/>
              <a:gd name="connsiteY19" fmla="*/ 51377 h 57637"/>
              <a:gd name="connsiteX20" fmla="*/ 36853 w 95211"/>
              <a:gd name="connsiteY20" fmla="*/ 41890 h 57637"/>
              <a:gd name="connsiteX21" fmla="*/ 56057 w 95211"/>
              <a:gd name="connsiteY21" fmla="*/ 39461 h 57637"/>
              <a:gd name="connsiteX22" fmla="*/ 67626 w 95211"/>
              <a:gd name="connsiteY22" fmla="*/ 39461 h 57637"/>
              <a:gd name="connsiteX23" fmla="*/ 77286 w 95211"/>
              <a:gd name="connsiteY23" fmla="*/ 39750 h 57637"/>
              <a:gd name="connsiteX24" fmla="*/ 93193 w 95211"/>
              <a:gd name="connsiteY24" fmla="*/ 31768 h 57637"/>
              <a:gd name="connsiteX25" fmla="*/ 28003 w 95211"/>
              <a:gd name="connsiteY25" fmla="*/ 1804 h 57637"/>
              <a:gd name="connsiteX26" fmla="*/ 22218 w 95211"/>
              <a:gd name="connsiteY26" fmla="*/ 2556 h 57637"/>
              <a:gd name="connsiteX27" fmla="*/ 7931 w 95211"/>
              <a:gd name="connsiteY27" fmla="*/ 2036 h 57637"/>
              <a:gd name="connsiteX28" fmla="*/ 2146 w 95211"/>
              <a:gd name="connsiteY28" fmla="*/ 53344 h 5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5211" h="57637">
                <a:moveTo>
                  <a:pt x="7931" y="57508"/>
                </a:moveTo>
                <a:lnTo>
                  <a:pt x="7931" y="57508"/>
                </a:lnTo>
                <a:cubicBezTo>
                  <a:pt x="6051" y="57457"/>
                  <a:pt x="4206" y="56965"/>
                  <a:pt x="2551" y="56062"/>
                </a:cubicBezTo>
                <a:lnTo>
                  <a:pt x="700" y="55137"/>
                </a:lnTo>
                <a:cubicBezTo>
                  <a:pt x="238" y="54900"/>
                  <a:pt x="-69" y="54437"/>
                  <a:pt x="-110" y="53922"/>
                </a:cubicBezTo>
                <a:cubicBezTo>
                  <a:pt x="1221" y="35701"/>
                  <a:pt x="3361" y="14819"/>
                  <a:pt x="5270" y="763"/>
                </a:cubicBezTo>
                <a:cubicBezTo>
                  <a:pt x="5316" y="445"/>
                  <a:pt x="5484" y="156"/>
                  <a:pt x="5733" y="-47"/>
                </a:cubicBezTo>
                <a:cubicBezTo>
                  <a:pt x="6034" y="-156"/>
                  <a:pt x="6358" y="-156"/>
                  <a:pt x="6659" y="-47"/>
                </a:cubicBezTo>
                <a:cubicBezTo>
                  <a:pt x="11222" y="1573"/>
                  <a:pt x="16151" y="1897"/>
                  <a:pt x="20888" y="879"/>
                </a:cubicBezTo>
                <a:cubicBezTo>
                  <a:pt x="23086" y="237"/>
                  <a:pt x="25371" y="-58"/>
                  <a:pt x="27656" y="11"/>
                </a:cubicBezTo>
                <a:cubicBezTo>
                  <a:pt x="48827" y="11"/>
                  <a:pt x="95102" y="16208"/>
                  <a:pt x="95102" y="32231"/>
                </a:cubicBezTo>
                <a:cubicBezTo>
                  <a:pt x="95102" y="41254"/>
                  <a:pt x="86368" y="42469"/>
                  <a:pt x="76939" y="42469"/>
                </a:cubicBezTo>
                <a:cubicBezTo>
                  <a:pt x="73931" y="42469"/>
                  <a:pt x="70634" y="42469"/>
                  <a:pt x="67163" y="42469"/>
                </a:cubicBezTo>
                <a:cubicBezTo>
                  <a:pt x="63693" y="42469"/>
                  <a:pt x="59702" y="42180"/>
                  <a:pt x="55595" y="42180"/>
                </a:cubicBezTo>
                <a:cubicBezTo>
                  <a:pt x="49342" y="41972"/>
                  <a:pt x="43094" y="42752"/>
                  <a:pt x="37084" y="44494"/>
                </a:cubicBezTo>
                <a:cubicBezTo>
                  <a:pt x="30299" y="46750"/>
                  <a:pt x="23826" y="49861"/>
                  <a:pt x="17822" y="53748"/>
                </a:cubicBezTo>
                <a:cubicBezTo>
                  <a:pt x="14913" y="55848"/>
                  <a:pt x="11500" y="57144"/>
                  <a:pt x="7931" y="57508"/>
                </a:cubicBezTo>
                <a:close/>
                <a:moveTo>
                  <a:pt x="2146" y="53344"/>
                </a:moveTo>
                <a:lnTo>
                  <a:pt x="3477" y="54038"/>
                </a:lnTo>
                <a:cubicBezTo>
                  <a:pt x="8452" y="56525"/>
                  <a:pt x="11170" y="54848"/>
                  <a:pt x="16839" y="51377"/>
                </a:cubicBezTo>
                <a:cubicBezTo>
                  <a:pt x="23086" y="47386"/>
                  <a:pt x="29808" y="44198"/>
                  <a:pt x="36853" y="41890"/>
                </a:cubicBezTo>
                <a:cubicBezTo>
                  <a:pt x="43083" y="40051"/>
                  <a:pt x="49567" y="39235"/>
                  <a:pt x="56057" y="39461"/>
                </a:cubicBezTo>
                <a:cubicBezTo>
                  <a:pt x="59875" y="39461"/>
                  <a:pt x="63751" y="39461"/>
                  <a:pt x="67626" y="39461"/>
                </a:cubicBezTo>
                <a:cubicBezTo>
                  <a:pt x="71502" y="39461"/>
                  <a:pt x="74278" y="39750"/>
                  <a:pt x="77286" y="39750"/>
                </a:cubicBezTo>
                <a:cubicBezTo>
                  <a:pt x="88855" y="39750"/>
                  <a:pt x="93193" y="37494"/>
                  <a:pt x="93193" y="31768"/>
                </a:cubicBezTo>
                <a:cubicBezTo>
                  <a:pt x="93193" y="18290"/>
                  <a:pt x="49521" y="1804"/>
                  <a:pt x="28003" y="1804"/>
                </a:cubicBezTo>
                <a:cubicBezTo>
                  <a:pt x="26048" y="1775"/>
                  <a:pt x="24098" y="2030"/>
                  <a:pt x="22218" y="2556"/>
                </a:cubicBezTo>
                <a:cubicBezTo>
                  <a:pt x="17498" y="3690"/>
                  <a:pt x="12558" y="3511"/>
                  <a:pt x="7931" y="2036"/>
                </a:cubicBezTo>
                <a:cubicBezTo>
                  <a:pt x="5502" y="16092"/>
                  <a:pt x="3477" y="35875"/>
                  <a:pt x="2146" y="53344"/>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7" name="Forma libre: forma 376">
            <a:extLst>
              <a:ext uri="{FF2B5EF4-FFF2-40B4-BE49-F238E27FC236}">
                <a16:creationId xmlns:a16="http://schemas.microsoft.com/office/drawing/2014/main" id="{89E93004-CA0C-9F9F-F40A-0818604CD524}"/>
              </a:ext>
            </a:extLst>
          </p:cNvPr>
          <p:cNvSpPr/>
          <p:nvPr/>
        </p:nvSpPr>
        <p:spPr>
          <a:xfrm>
            <a:off x="3777339" y="4064622"/>
            <a:ext cx="118214" cy="121857"/>
          </a:xfrm>
          <a:custGeom>
            <a:avLst/>
            <a:gdLst>
              <a:gd name="connsiteX0" fmla="*/ 98183 w 118214"/>
              <a:gd name="connsiteY0" fmla="*/ 121691 h 121857"/>
              <a:gd name="connsiteX1" fmla="*/ 89737 w 118214"/>
              <a:gd name="connsiteY1" fmla="*/ 119551 h 121857"/>
              <a:gd name="connsiteX2" fmla="*/ 75218 w 118214"/>
              <a:gd name="connsiteY2" fmla="*/ 116890 h 121857"/>
              <a:gd name="connsiteX3" fmla="*/ 62897 w 118214"/>
              <a:gd name="connsiteY3" fmla="*/ 115155 h 121857"/>
              <a:gd name="connsiteX4" fmla="*/ 55493 w 118214"/>
              <a:gd name="connsiteY4" fmla="*/ 114056 h 121857"/>
              <a:gd name="connsiteX5" fmla="*/ 48436 w 118214"/>
              <a:gd name="connsiteY5" fmla="*/ 114403 h 121857"/>
              <a:gd name="connsiteX6" fmla="*/ 47279 w 118214"/>
              <a:gd name="connsiteY6" fmla="*/ 113593 h 121857"/>
              <a:gd name="connsiteX7" fmla="*/ 38429 w 118214"/>
              <a:gd name="connsiteY7" fmla="*/ 103181 h 121857"/>
              <a:gd name="connsiteX8" fmla="*/ 20787 w 118214"/>
              <a:gd name="connsiteY8" fmla="*/ 86290 h 121857"/>
              <a:gd name="connsiteX9" fmla="*/ 5111 w 118214"/>
              <a:gd name="connsiteY9" fmla="*/ 71077 h 121857"/>
              <a:gd name="connsiteX10" fmla="*/ 310 w 118214"/>
              <a:gd name="connsiteY10" fmla="*/ 59508 h 121857"/>
              <a:gd name="connsiteX11" fmla="*/ 1178 w 118214"/>
              <a:gd name="connsiteY11" fmla="*/ 58525 h 121857"/>
              <a:gd name="connsiteX12" fmla="*/ 11069 w 118214"/>
              <a:gd name="connsiteY12" fmla="*/ 56211 h 121857"/>
              <a:gd name="connsiteX13" fmla="*/ 18762 w 118214"/>
              <a:gd name="connsiteY13" fmla="*/ 49154 h 121857"/>
              <a:gd name="connsiteX14" fmla="*/ 18357 w 118214"/>
              <a:gd name="connsiteY14" fmla="*/ 46551 h 121857"/>
              <a:gd name="connsiteX15" fmla="*/ 19283 w 118214"/>
              <a:gd name="connsiteY15" fmla="*/ 35677 h 121857"/>
              <a:gd name="connsiteX16" fmla="*/ 28596 w 118214"/>
              <a:gd name="connsiteY16" fmla="*/ 31685 h 121857"/>
              <a:gd name="connsiteX17" fmla="*/ 57518 w 118214"/>
              <a:gd name="connsiteY17" fmla="*/ 19712 h 121857"/>
              <a:gd name="connsiteX18" fmla="*/ 71863 w 118214"/>
              <a:gd name="connsiteY18" fmla="*/ 12365 h 121857"/>
              <a:gd name="connsiteX19" fmla="*/ 79383 w 118214"/>
              <a:gd name="connsiteY19" fmla="*/ 12770 h 121857"/>
              <a:gd name="connsiteX20" fmla="*/ 84820 w 118214"/>
              <a:gd name="connsiteY20" fmla="*/ 12770 h 121857"/>
              <a:gd name="connsiteX21" fmla="*/ 91530 w 118214"/>
              <a:gd name="connsiteY21" fmla="*/ 9300 h 121857"/>
              <a:gd name="connsiteX22" fmla="*/ 116114 w 118214"/>
              <a:gd name="connsiteY22" fmla="*/ -129 h 121857"/>
              <a:gd name="connsiteX23" fmla="*/ 116924 w 118214"/>
              <a:gd name="connsiteY23" fmla="*/ -129 h 121857"/>
              <a:gd name="connsiteX24" fmla="*/ 118023 w 118214"/>
              <a:gd name="connsiteY24" fmla="*/ 970 h 121857"/>
              <a:gd name="connsiteX25" fmla="*/ 118023 w 118214"/>
              <a:gd name="connsiteY25" fmla="*/ 1028 h 121857"/>
              <a:gd name="connsiteX26" fmla="*/ 118023 w 118214"/>
              <a:gd name="connsiteY26" fmla="*/ 1780 h 121857"/>
              <a:gd name="connsiteX27" fmla="*/ 118023 w 118214"/>
              <a:gd name="connsiteY27" fmla="*/ 3920 h 121857"/>
              <a:gd name="connsiteX28" fmla="*/ 116577 w 118214"/>
              <a:gd name="connsiteY28" fmla="*/ 18323 h 121857"/>
              <a:gd name="connsiteX29" fmla="*/ 111718 w 118214"/>
              <a:gd name="connsiteY29" fmla="*/ 32958 h 121857"/>
              <a:gd name="connsiteX30" fmla="*/ 109231 w 118214"/>
              <a:gd name="connsiteY30" fmla="*/ 57542 h 121857"/>
              <a:gd name="connsiteX31" fmla="*/ 108305 w 118214"/>
              <a:gd name="connsiteY31" fmla="*/ 79234 h 121857"/>
              <a:gd name="connsiteX32" fmla="*/ 105818 w 118214"/>
              <a:gd name="connsiteY32" fmla="*/ 86464 h 121857"/>
              <a:gd name="connsiteX33" fmla="*/ 101537 w 118214"/>
              <a:gd name="connsiteY33" fmla="*/ 113419 h 121857"/>
              <a:gd name="connsiteX34" fmla="*/ 105297 w 118214"/>
              <a:gd name="connsiteY34" fmla="*/ 119204 h 121857"/>
              <a:gd name="connsiteX35" fmla="*/ 105297 w 118214"/>
              <a:gd name="connsiteY35" fmla="*/ 120303 h 121857"/>
              <a:gd name="connsiteX36" fmla="*/ 104430 w 118214"/>
              <a:gd name="connsiteY36" fmla="*/ 120997 h 121857"/>
              <a:gd name="connsiteX37" fmla="*/ 98183 w 118214"/>
              <a:gd name="connsiteY37" fmla="*/ 121691 h 121857"/>
              <a:gd name="connsiteX38" fmla="*/ 55493 w 118214"/>
              <a:gd name="connsiteY38" fmla="*/ 111800 h 121857"/>
              <a:gd name="connsiteX39" fmla="*/ 63881 w 118214"/>
              <a:gd name="connsiteY39" fmla="*/ 113130 h 121857"/>
              <a:gd name="connsiteX40" fmla="*/ 75450 w 118214"/>
              <a:gd name="connsiteY40" fmla="*/ 114634 h 121857"/>
              <a:gd name="connsiteX41" fmla="*/ 91241 w 118214"/>
              <a:gd name="connsiteY41" fmla="*/ 117700 h 121857"/>
              <a:gd name="connsiteX42" fmla="*/ 102116 w 118214"/>
              <a:gd name="connsiteY42" fmla="*/ 119262 h 121857"/>
              <a:gd name="connsiteX43" fmla="*/ 99339 w 118214"/>
              <a:gd name="connsiteY43" fmla="*/ 114808 h 121857"/>
              <a:gd name="connsiteX44" fmla="*/ 103504 w 118214"/>
              <a:gd name="connsiteY44" fmla="*/ 85885 h 121857"/>
              <a:gd name="connsiteX45" fmla="*/ 105934 w 118214"/>
              <a:gd name="connsiteY45" fmla="*/ 78713 h 121857"/>
              <a:gd name="connsiteX46" fmla="*/ 106743 w 118214"/>
              <a:gd name="connsiteY46" fmla="*/ 57773 h 121857"/>
              <a:gd name="connsiteX47" fmla="*/ 109809 w 118214"/>
              <a:gd name="connsiteY47" fmla="*/ 31627 h 121857"/>
              <a:gd name="connsiteX48" fmla="*/ 114090 w 118214"/>
              <a:gd name="connsiteY48" fmla="*/ 18439 h 121857"/>
              <a:gd name="connsiteX49" fmla="*/ 115594 w 118214"/>
              <a:gd name="connsiteY49" fmla="*/ 3746 h 121857"/>
              <a:gd name="connsiteX50" fmla="*/ 115594 w 118214"/>
              <a:gd name="connsiteY50" fmla="*/ 2300 h 121857"/>
              <a:gd name="connsiteX51" fmla="*/ 92456 w 118214"/>
              <a:gd name="connsiteY51" fmla="*/ 11324 h 121857"/>
              <a:gd name="connsiteX52" fmla="*/ 84820 w 118214"/>
              <a:gd name="connsiteY52" fmla="*/ 15142 h 121857"/>
              <a:gd name="connsiteX53" fmla="*/ 79036 w 118214"/>
              <a:gd name="connsiteY53" fmla="*/ 15142 h 121857"/>
              <a:gd name="connsiteX54" fmla="*/ 71690 w 118214"/>
              <a:gd name="connsiteY54" fmla="*/ 14737 h 121857"/>
              <a:gd name="connsiteX55" fmla="*/ 59542 w 118214"/>
              <a:gd name="connsiteY55" fmla="*/ 20521 h 121857"/>
              <a:gd name="connsiteX56" fmla="*/ 28711 w 118214"/>
              <a:gd name="connsiteY56" fmla="*/ 34231 h 121857"/>
              <a:gd name="connsiteX57" fmla="*/ 21076 w 118214"/>
              <a:gd name="connsiteY57" fmla="*/ 37296 h 121857"/>
              <a:gd name="connsiteX58" fmla="*/ 20671 w 118214"/>
              <a:gd name="connsiteY58" fmla="*/ 46436 h 121857"/>
              <a:gd name="connsiteX59" fmla="*/ 20671 w 118214"/>
              <a:gd name="connsiteY59" fmla="*/ 50543 h 121857"/>
              <a:gd name="connsiteX60" fmla="*/ 12168 w 118214"/>
              <a:gd name="connsiteY60" fmla="*/ 58583 h 121857"/>
              <a:gd name="connsiteX61" fmla="*/ 11705 w 118214"/>
              <a:gd name="connsiteY61" fmla="*/ 58583 h 121857"/>
              <a:gd name="connsiteX62" fmla="*/ 2392 w 118214"/>
              <a:gd name="connsiteY62" fmla="*/ 60781 h 121857"/>
              <a:gd name="connsiteX63" fmla="*/ 6094 w 118214"/>
              <a:gd name="connsiteY63" fmla="*/ 69226 h 121857"/>
              <a:gd name="connsiteX64" fmla="*/ 22349 w 118214"/>
              <a:gd name="connsiteY64" fmla="*/ 84960 h 121857"/>
              <a:gd name="connsiteX65" fmla="*/ 39413 w 118214"/>
              <a:gd name="connsiteY65" fmla="*/ 101272 h 121857"/>
              <a:gd name="connsiteX66" fmla="*/ 49015 w 118214"/>
              <a:gd name="connsiteY66" fmla="*/ 112205 h 121857"/>
              <a:gd name="connsiteX67" fmla="*/ 55493 w 118214"/>
              <a:gd name="connsiteY67" fmla="*/ 111800 h 12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8214" h="121857">
                <a:moveTo>
                  <a:pt x="98183" y="121691"/>
                </a:moveTo>
                <a:cubicBezTo>
                  <a:pt x="95209" y="121911"/>
                  <a:pt x="92248" y="121159"/>
                  <a:pt x="89737" y="119551"/>
                </a:cubicBezTo>
                <a:cubicBezTo>
                  <a:pt x="85219" y="117399"/>
                  <a:pt x="80210" y="116479"/>
                  <a:pt x="75218" y="116890"/>
                </a:cubicBezTo>
                <a:cubicBezTo>
                  <a:pt x="71042" y="117087"/>
                  <a:pt x="66860" y="116497"/>
                  <a:pt x="62897" y="115155"/>
                </a:cubicBezTo>
                <a:cubicBezTo>
                  <a:pt x="60537" y="114264"/>
                  <a:pt x="58010" y="113888"/>
                  <a:pt x="55493" y="114056"/>
                </a:cubicBezTo>
                <a:cubicBezTo>
                  <a:pt x="53584" y="114056"/>
                  <a:pt x="51329" y="114056"/>
                  <a:pt x="48436" y="114403"/>
                </a:cubicBezTo>
                <a:cubicBezTo>
                  <a:pt x="47858" y="114403"/>
                  <a:pt x="47395" y="114113"/>
                  <a:pt x="47279" y="113593"/>
                </a:cubicBezTo>
                <a:cubicBezTo>
                  <a:pt x="45787" y="109110"/>
                  <a:pt x="42617" y="105379"/>
                  <a:pt x="38429" y="103181"/>
                </a:cubicBezTo>
                <a:cubicBezTo>
                  <a:pt x="31702" y="98507"/>
                  <a:pt x="25750" y="92804"/>
                  <a:pt x="20787" y="86290"/>
                </a:cubicBezTo>
                <a:cubicBezTo>
                  <a:pt x="16298" y="80512"/>
                  <a:pt x="11023" y="75393"/>
                  <a:pt x="5111" y="71077"/>
                </a:cubicBezTo>
                <a:cubicBezTo>
                  <a:pt x="964" y="68856"/>
                  <a:pt x="-1044" y="64014"/>
                  <a:pt x="310" y="59508"/>
                </a:cubicBezTo>
                <a:cubicBezTo>
                  <a:pt x="368" y="59034"/>
                  <a:pt x="715" y="58641"/>
                  <a:pt x="1178" y="58525"/>
                </a:cubicBezTo>
                <a:lnTo>
                  <a:pt x="11069" y="56211"/>
                </a:lnTo>
                <a:cubicBezTo>
                  <a:pt x="13944" y="54227"/>
                  <a:pt x="16535" y="51850"/>
                  <a:pt x="18762" y="49154"/>
                </a:cubicBezTo>
                <a:cubicBezTo>
                  <a:pt x="18699" y="48275"/>
                  <a:pt x="18566" y="47408"/>
                  <a:pt x="18357" y="46551"/>
                </a:cubicBezTo>
                <a:cubicBezTo>
                  <a:pt x="17114" y="42959"/>
                  <a:pt x="17449" y="39008"/>
                  <a:pt x="19283" y="35677"/>
                </a:cubicBezTo>
                <a:cubicBezTo>
                  <a:pt x="21666" y="33068"/>
                  <a:pt x="25061" y="31610"/>
                  <a:pt x="28596" y="31685"/>
                </a:cubicBezTo>
                <a:cubicBezTo>
                  <a:pt x="43577" y="30586"/>
                  <a:pt x="55204" y="29024"/>
                  <a:pt x="57518" y="19712"/>
                </a:cubicBezTo>
                <a:cubicBezTo>
                  <a:pt x="59253" y="12365"/>
                  <a:pt x="68740" y="12365"/>
                  <a:pt x="71863" y="12365"/>
                </a:cubicBezTo>
                <a:cubicBezTo>
                  <a:pt x="74987" y="12365"/>
                  <a:pt x="77069" y="12365"/>
                  <a:pt x="79383" y="12770"/>
                </a:cubicBezTo>
                <a:cubicBezTo>
                  <a:pt x="81194" y="12892"/>
                  <a:pt x="83010" y="12892"/>
                  <a:pt x="84820" y="12770"/>
                </a:cubicBezTo>
                <a:cubicBezTo>
                  <a:pt x="87204" y="11920"/>
                  <a:pt x="89459" y="10751"/>
                  <a:pt x="91530" y="9300"/>
                </a:cubicBezTo>
                <a:cubicBezTo>
                  <a:pt x="98744" y="4036"/>
                  <a:pt x="107229" y="779"/>
                  <a:pt x="116114" y="-129"/>
                </a:cubicBezTo>
                <a:lnTo>
                  <a:pt x="116924" y="-129"/>
                </a:lnTo>
                <a:cubicBezTo>
                  <a:pt x="117531" y="-129"/>
                  <a:pt x="118023" y="363"/>
                  <a:pt x="118023" y="970"/>
                </a:cubicBezTo>
                <a:cubicBezTo>
                  <a:pt x="118023" y="987"/>
                  <a:pt x="118023" y="1011"/>
                  <a:pt x="118023" y="1028"/>
                </a:cubicBezTo>
                <a:lnTo>
                  <a:pt x="118023" y="1780"/>
                </a:lnTo>
                <a:cubicBezTo>
                  <a:pt x="118133" y="2491"/>
                  <a:pt x="118133" y="3209"/>
                  <a:pt x="118023" y="3920"/>
                </a:cubicBezTo>
                <a:cubicBezTo>
                  <a:pt x="117213" y="8681"/>
                  <a:pt x="116727" y="13493"/>
                  <a:pt x="116577" y="18323"/>
                </a:cubicBezTo>
                <a:cubicBezTo>
                  <a:pt x="117103" y="23668"/>
                  <a:pt x="115339" y="28990"/>
                  <a:pt x="111718" y="32958"/>
                </a:cubicBezTo>
                <a:cubicBezTo>
                  <a:pt x="108247" y="36776"/>
                  <a:pt x="108768" y="47303"/>
                  <a:pt x="109231" y="57542"/>
                </a:cubicBezTo>
                <a:cubicBezTo>
                  <a:pt x="110017" y="64778"/>
                  <a:pt x="109705" y="72090"/>
                  <a:pt x="108305" y="79234"/>
                </a:cubicBezTo>
                <a:cubicBezTo>
                  <a:pt x="107611" y="81489"/>
                  <a:pt x="106743" y="83919"/>
                  <a:pt x="105818" y="86464"/>
                </a:cubicBezTo>
                <a:cubicBezTo>
                  <a:pt x="102347" y="96355"/>
                  <a:pt x="98414" y="107577"/>
                  <a:pt x="101537" y="113419"/>
                </a:cubicBezTo>
                <a:cubicBezTo>
                  <a:pt x="102174" y="114576"/>
                  <a:pt x="103388" y="116485"/>
                  <a:pt x="105297" y="119204"/>
                </a:cubicBezTo>
                <a:cubicBezTo>
                  <a:pt x="105494" y="119545"/>
                  <a:pt x="105494" y="119961"/>
                  <a:pt x="105297" y="120303"/>
                </a:cubicBezTo>
                <a:cubicBezTo>
                  <a:pt x="105153" y="120673"/>
                  <a:pt x="104823" y="120939"/>
                  <a:pt x="104430" y="120997"/>
                </a:cubicBezTo>
                <a:cubicBezTo>
                  <a:pt x="102365" y="121367"/>
                  <a:pt x="100276" y="121599"/>
                  <a:pt x="98183" y="121691"/>
                </a:cubicBezTo>
                <a:close/>
                <a:moveTo>
                  <a:pt x="55493" y="111800"/>
                </a:moveTo>
                <a:cubicBezTo>
                  <a:pt x="58351" y="111615"/>
                  <a:pt x="61220" y="112066"/>
                  <a:pt x="63881" y="113130"/>
                </a:cubicBezTo>
                <a:cubicBezTo>
                  <a:pt x="67617" y="114304"/>
                  <a:pt x="71534" y="114814"/>
                  <a:pt x="75450" y="114634"/>
                </a:cubicBezTo>
                <a:cubicBezTo>
                  <a:pt x="80893" y="114200"/>
                  <a:pt x="86353" y="115259"/>
                  <a:pt x="91241" y="117700"/>
                </a:cubicBezTo>
                <a:cubicBezTo>
                  <a:pt x="94550" y="119534"/>
                  <a:pt x="98420" y="120089"/>
                  <a:pt x="102116" y="119262"/>
                </a:cubicBezTo>
                <a:cubicBezTo>
                  <a:pt x="100785" y="117237"/>
                  <a:pt x="99860" y="115791"/>
                  <a:pt x="99339" y="114808"/>
                </a:cubicBezTo>
                <a:cubicBezTo>
                  <a:pt x="95695" y="108098"/>
                  <a:pt x="99860" y="96355"/>
                  <a:pt x="103504" y="85885"/>
                </a:cubicBezTo>
                <a:cubicBezTo>
                  <a:pt x="104372" y="83398"/>
                  <a:pt x="105239" y="80969"/>
                  <a:pt x="105934" y="78713"/>
                </a:cubicBezTo>
                <a:cubicBezTo>
                  <a:pt x="107195" y="71806"/>
                  <a:pt x="107466" y="64755"/>
                  <a:pt x="106743" y="57773"/>
                </a:cubicBezTo>
                <a:cubicBezTo>
                  <a:pt x="106223" y="46609"/>
                  <a:pt x="105760" y="36082"/>
                  <a:pt x="109809" y="31627"/>
                </a:cubicBezTo>
                <a:cubicBezTo>
                  <a:pt x="113048" y="28041"/>
                  <a:pt x="114610" y="23246"/>
                  <a:pt x="114090" y="18439"/>
                </a:cubicBezTo>
                <a:cubicBezTo>
                  <a:pt x="114234" y="13511"/>
                  <a:pt x="114738" y="8600"/>
                  <a:pt x="115594" y="3746"/>
                </a:cubicBezTo>
                <a:cubicBezTo>
                  <a:pt x="115651" y="3266"/>
                  <a:pt x="115651" y="2781"/>
                  <a:pt x="115594" y="2300"/>
                </a:cubicBezTo>
                <a:cubicBezTo>
                  <a:pt x="107241" y="3295"/>
                  <a:pt x="99276" y="6402"/>
                  <a:pt x="92456" y="11324"/>
                </a:cubicBezTo>
                <a:cubicBezTo>
                  <a:pt x="90142" y="13007"/>
                  <a:pt x="87556" y="14297"/>
                  <a:pt x="84820" y="15142"/>
                </a:cubicBezTo>
                <a:cubicBezTo>
                  <a:pt x="83548" y="15142"/>
                  <a:pt x="81465" y="15142"/>
                  <a:pt x="79036" y="15142"/>
                </a:cubicBezTo>
                <a:cubicBezTo>
                  <a:pt x="76607" y="15142"/>
                  <a:pt x="74235" y="14737"/>
                  <a:pt x="71690" y="14737"/>
                </a:cubicBezTo>
                <a:cubicBezTo>
                  <a:pt x="64344" y="14737"/>
                  <a:pt x="60468" y="16530"/>
                  <a:pt x="59542" y="20521"/>
                </a:cubicBezTo>
                <a:cubicBezTo>
                  <a:pt x="56997" y="31338"/>
                  <a:pt x="44619" y="33074"/>
                  <a:pt x="28711" y="34231"/>
                </a:cubicBezTo>
                <a:cubicBezTo>
                  <a:pt x="25848" y="34126"/>
                  <a:pt x="23072" y="35237"/>
                  <a:pt x="21076" y="37296"/>
                </a:cubicBezTo>
                <a:cubicBezTo>
                  <a:pt x="19694" y="40160"/>
                  <a:pt x="19543" y="43463"/>
                  <a:pt x="20671" y="46436"/>
                </a:cubicBezTo>
                <a:cubicBezTo>
                  <a:pt x="21088" y="47772"/>
                  <a:pt x="21088" y="49206"/>
                  <a:pt x="20671" y="50543"/>
                </a:cubicBezTo>
                <a:cubicBezTo>
                  <a:pt x="18207" y="53591"/>
                  <a:pt x="15349" y="56292"/>
                  <a:pt x="12168" y="58583"/>
                </a:cubicBezTo>
                <a:lnTo>
                  <a:pt x="11705" y="58583"/>
                </a:lnTo>
                <a:lnTo>
                  <a:pt x="2392" y="60781"/>
                </a:lnTo>
                <a:cubicBezTo>
                  <a:pt x="1415" y="64125"/>
                  <a:pt x="2977" y="67682"/>
                  <a:pt x="6094" y="69226"/>
                </a:cubicBezTo>
                <a:cubicBezTo>
                  <a:pt x="12266" y="73634"/>
                  <a:pt x="17744" y="78938"/>
                  <a:pt x="22349" y="84960"/>
                </a:cubicBezTo>
                <a:cubicBezTo>
                  <a:pt x="27161" y="91248"/>
                  <a:pt x="32917" y="96749"/>
                  <a:pt x="39413" y="101272"/>
                </a:cubicBezTo>
                <a:cubicBezTo>
                  <a:pt x="43832" y="103632"/>
                  <a:pt x="47245" y="107513"/>
                  <a:pt x="49015" y="112205"/>
                </a:cubicBezTo>
                <a:cubicBezTo>
                  <a:pt x="51676" y="111857"/>
                  <a:pt x="53989" y="111800"/>
                  <a:pt x="55493" y="11180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8" name="Forma libre: forma 377">
            <a:extLst>
              <a:ext uri="{FF2B5EF4-FFF2-40B4-BE49-F238E27FC236}">
                <a16:creationId xmlns:a16="http://schemas.microsoft.com/office/drawing/2014/main" id="{2BDBB81C-462B-7285-DFE4-B947BF3A698B}"/>
              </a:ext>
            </a:extLst>
          </p:cNvPr>
          <p:cNvSpPr/>
          <p:nvPr/>
        </p:nvSpPr>
        <p:spPr>
          <a:xfrm>
            <a:off x="4148985" y="4339050"/>
            <a:ext cx="1081626" cy="1113775"/>
          </a:xfrm>
          <a:custGeom>
            <a:avLst/>
            <a:gdLst>
              <a:gd name="connsiteX0" fmla="*/ 562617 w 1081626"/>
              <a:gd name="connsiteY0" fmla="*/ 1113590 h 1113775"/>
              <a:gd name="connsiteX1" fmla="*/ 562617 w 1081626"/>
              <a:gd name="connsiteY1" fmla="*/ 1113590 h 1113775"/>
              <a:gd name="connsiteX2" fmla="*/ 561750 w 1081626"/>
              <a:gd name="connsiteY2" fmla="*/ 1112954 h 1113775"/>
              <a:gd name="connsiteX3" fmla="*/ 558221 w 1081626"/>
              <a:gd name="connsiteY3" fmla="*/ 1078884 h 1113775"/>
              <a:gd name="connsiteX4" fmla="*/ 558742 w 1081626"/>
              <a:gd name="connsiteY4" fmla="*/ 1071017 h 1113775"/>
              <a:gd name="connsiteX5" fmla="*/ 546536 w 1081626"/>
              <a:gd name="connsiteY5" fmla="*/ 1054763 h 1113775"/>
              <a:gd name="connsiteX6" fmla="*/ 540752 w 1081626"/>
              <a:gd name="connsiteY6" fmla="*/ 1050309 h 1113775"/>
              <a:gd name="connsiteX7" fmla="*/ 531092 w 1081626"/>
              <a:gd name="connsiteY7" fmla="*/ 1043599 h 1113775"/>
              <a:gd name="connsiteX8" fmla="*/ 509516 w 1081626"/>
              <a:gd name="connsiteY8" fmla="*/ 1026882 h 1113775"/>
              <a:gd name="connsiteX9" fmla="*/ 505120 w 1081626"/>
              <a:gd name="connsiteY9" fmla="*/ 1023527 h 1113775"/>
              <a:gd name="connsiteX10" fmla="*/ 499624 w 1081626"/>
              <a:gd name="connsiteY10" fmla="*/ 1027923 h 1113775"/>
              <a:gd name="connsiteX11" fmla="*/ 495344 w 1081626"/>
              <a:gd name="connsiteY11" fmla="*/ 1031683 h 1113775"/>
              <a:gd name="connsiteX12" fmla="*/ 494766 w 1081626"/>
              <a:gd name="connsiteY12" fmla="*/ 1031683 h 1113775"/>
              <a:gd name="connsiteX13" fmla="*/ 490138 w 1081626"/>
              <a:gd name="connsiteY13" fmla="*/ 1025898 h 1113775"/>
              <a:gd name="connsiteX14" fmla="*/ 481982 w 1081626"/>
              <a:gd name="connsiteY14" fmla="*/ 1011958 h 1113775"/>
              <a:gd name="connsiteX15" fmla="*/ 465728 w 1081626"/>
              <a:gd name="connsiteY15" fmla="*/ 1002414 h 1113775"/>
              <a:gd name="connsiteX16" fmla="*/ 459943 w 1081626"/>
              <a:gd name="connsiteY16" fmla="*/ 1003629 h 1113775"/>
              <a:gd name="connsiteX17" fmla="*/ 451151 w 1081626"/>
              <a:gd name="connsiteY17" fmla="*/ 1004265 h 1113775"/>
              <a:gd name="connsiteX18" fmla="*/ 450226 w 1081626"/>
              <a:gd name="connsiteY18" fmla="*/ 1003513 h 1113775"/>
              <a:gd name="connsiteX19" fmla="*/ 450226 w 1081626"/>
              <a:gd name="connsiteY19" fmla="*/ 1002414 h 1113775"/>
              <a:gd name="connsiteX20" fmla="*/ 456704 w 1081626"/>
              <a:gd name="connsiteY20" fmla="*/ 995299 h 1113775"/>
              <a:gd name="connsiteX21" fmla="*/ 474057 w 1081626"/>
              <a:gd name="connsiteY21" fmla="*/ 973839 h 1113775"/>
              <a:gd name="connsiteX22" fmla="*/ 521663 w 1081626"/>
              <a:gd name="connsiteY22" fmla="*/ 923745 h 1113775"/>
              <a:gd name="connsiteX23" fmla="*/ 537166 w 1081626"/>
              <a:gd name="connsiteY23" fmla="*/ 916052 h 1113775"/>
              <a:gd name="connsiteX24" fmla="*/ 554519 w 1081626"/>
              <a:gd name="connsiteY24" fmla="*/ 905872 h 1113775"/>
              <a:gd name="connsiteX25" fmla="*/ 550123 w 1081626"/>
              <a:gd name="connsiteY25" fmla="*/ 865381 h 1113775"/>
              <a:gd name="connsiteX26" fmla="*/ 538554 w 1081626"/>
              <a:gd name="connsiteY26" fmla="*/ 864282 h 1113775"/>
              <a:gd name="connsiteX27" fmla="*/ 532770 w 1081626"/>
              <a:gd name="connsiteY27" fmla="*/ 864282 h 1113775"/>
              <a:gd name="connsiteX28" fmla="*/ 531902 w 1081626"/>
              <a:gd name="connsiteY28" fmla="*/ 863934 h 1113775"/>
              <a:gd name="connsiteX29" fmla="*/ 531555 w 1081626"/>
              <a:gd name="connsiteY29" fmla="*/ 863125 h 1113775"/>
              <a:gd name="connsiteX30" fmla="*/ 534389 w 1081626"/>
              <a:gd name="connsiteY30" fmla="*/ 845308 h 1113775"/>
              <a:gd name="connsiteX31" fmla="*/ 534794 w 1081626"/>
              <a:gd name="connsiteY31" fmla="*/ 815287 h 1113775"/>
              <a:gd name="connsiteX32" fmla="*/ 529414 w 1081626"/>
              <a:gd name="connsiteY32" fmla="*/ 814015 h 1113775"/>
              <a:gd name="connsiteX33" fmla="*/ 517325 w 1081626"/>
              <a:gd name="connsiteY33" fmla="*/ 818179 h 1113775"/>
              <a:gd name="connsiteX34" fmla="*/ 512292 w 1081626"/>
              <a:gd name="connsiteY34" fmla="*/ 820262 h 1113775"/>
              <a:gd name="connsiteX35" fmla="*/ 498063 w 1081626"/>
              <a:gd name="connsiteY35" fmla="*/ 789142 h 1113775"/>
              <a:gd name="connsiteX36" fmla="*/ 480710 w 1081626"/>
              <a:gd name="connsiteY36" fmla="*/ 766814 h 1113775"/>
              <a:gd name="connsiteX37" fmla="*/ 472322 w 1081626"/>
              <a:gd name="connsiteY37" fmla="*/ 767508 h 1113775"/>
              <a:gd name="connsiteX38" fmla="*/ 456299 w 1081626"/>
              <a:gd name="connsiteY38" fmla="*/ 764558 h 1113775"/>
              <a:gd name="connsiteX39" fmla="*/ 440334 w 1081626"/>
              <a:gd name="connsiteY39" fmla="*/ 760278 h 1113775"/>
              <a:gd name="connsiteX40" fmla="*/ 441260 w 1081626"/>
              <a:gd name="connsiteY40" fmla="*/ 741247 h 1113775"/>
              <a:gd name="connsiteX41" fmla="*/ 437037 w 1081626"/>
              <a:gd name="connsiteY41" fmla="*/ 718456 h 1113775"/>
              <a:gd name="connsiteX42" fmla="*/ 437037 w 1081626"/>
              <a:gd name="connsiteY42" fmla="*/ 706887 h 1113775"/>
              <a:gd name="connsiteX43" fmla="*/ 440277 w 1081626"/>
              <a:gd name="connsiteY43" fmla="*/ 703532 h 1113775"/>
              <a:gd name="connsiteX44" fmla="*/ 435591 w 1081626"/>
              <a:gd name="connsiteY44" fmla="*/ 693988 h 1113775"/>
              <a:gd name="connsiteX45" fmla="*/ 435591 w 1081626"/>
              <a:gd name="connsiteY45" fmla="*/ 693120 h 1113775"/>
              <a:gd name="connsiteX46" fmla="*/ 436112 w 1081626"/>
              <a:gd name="connsiteY46" fmla="*/ 692368 h 1113775"/>
              <a:gd name="connsiteX47" fmla="*/ 443920 w 1081626"/>
              <a:gd name="connsiteY47" fmla="*/ 675015 h 1113775"/>
              <a:gd name="connsiteX48" fmla="*/ 445829 w 1081626"/>
              <a:gd name="connsiteY48" fmla="*/ 660207 h 1113775"/>
              <a:gd name="connsiteX49" fmla="*/ 447160 w 1081626"/>
              <a:gd name="connsiteY49" fmla="*/ 639672 h 1113775"/>
              <a:gd name="connsiteX50" fmla="*/ 439062 w 1081626"/>
              <a:gd name="connsiteY50" fmla="*/ 628103 h 1113775"/>
              <a:gd name="connsiteX51" fmla="*/ 430963 w 1081626"/>
              <a:gd name="connsiteY51" fmla="*/ 612485 h 1113775"/>
              <a:gd name="connsiteX52" fmla="*/ 415635 w 1081626"/>
              <a:gd name="connsiteY52" fmla="*/ 599702 h 1113775"/>
              <a:gd name="connsiteX53" fmla="*/ 409503 w 1081626"/>
              <a:gd name="connsiteY53" fmla="*/ 599702 h 1113775"/>
              <a:gd name="connsiteX54" fmla="*/ 405049 w 1081626"/>
              <a:gd name="connsiteY54" fmla="*/ 599702 h 1113775"/>
              <a:gd name="connsiteX55" fmla="*/ 378441 w 1081626"/>
              <a:gd name="connsiteY55" fmla="*/ 584836 h 1113775"/>
              <a:gd name="connsiteX56" fmla="*/ 374797 w 1081626"/>
              <a:gd name="connsiteY56" fmla="*/ 574019 h 1113775"/>
              <a:gd name="connsiteX57" fmla="*/ 375838 w 1081626"/>
              <a:gd name="connsiteY57" fmla="*/ 561120 h 1113775"/>
              <a:gd name="connsiteX58" fmla="*/ 377747 w 1081626"/>
              <a:gd name="connsiteY58" fmla="*/ 559384 h 1113775"/>
              <a:gd name="connsiteX59" fmla="*/ 375259 w 1081626"/>
              <a:gd name="connsiteY59" fmla="*/ 553600 h 1113775"/>
              <a:gd name="connsiteX60" fmla="*/ 371210 w 1081626"/>
              <a:gd name="connsiteY60" fmla="*/ 541048 h 1113775"/>
              <a:gd name="connsiteX61" fmla="*/ 362881 w 1081626"/>
              <a:gd name="connsiteY61" fmla="*/ 525025 h 1113775"/>
              <a:gd name="connsiteX62" fmla="*/ 361088 w 1081626"/>
              <a:gd name="connsiteY62" fmla="*/ 523521 h 1113775"/>
              <a:gd name="connsiteX63" fmla="*/ 352179 w 1081626"/>
              <a:gd name="connsiteY63" fmla="*/ 521901 h 1113775"/>
              <a:gd name="connsiteX64" fmla="*/ 347668 w 1081626"/>
              <a:gd name="connsiteY64" fmla="*/ 521901 h 1113775"/>
              <a:gd name="connsiteX65" fmla="*/ 343098 w 1081626"/>
              <a:gd name="connsiteY65" fmla="*/ 521901 h 1113775"/>
              <a:gd name="connsiteX66" fmla="*/ 330777 w 1081626"/>
              <a:gd name="connsiteY66" fmla="*/ 516117 h 1113775"/>
              <a:gd name="connsiteX67" fmla="*/ 309317 w 1081626"/>
              <a:gd name="connsiteY67" fmla="*/ 506746 h 1113775"/>
              <a:gd name="connsiteX68" fmla="*/ 302954 w 1081626"/>
              <a:gd name="connsiteY68" fmla="*/ 500962 h 1113775"/>
              <a:gd name="connsiteX69" fmla="*/ 298095 w 1081626"/>
              <a:gd name="connsiteY69" fmla="*/ 497028 h 1113775"/>
              <a:gd name="connsiteX70" fmla="*/ 289534 w 1081626"/>
              <a:gd name="connsiteY70" fmla="*/ 494888 h 1113775"/>
              <a:gd name="connsiteX71" fmla="*/ 282188 w 1081626"/>
              <a:gd name="connsiteY71" fmla="*/ 492690 h 1113775"/>
              <a:gd name="connsiteX72" fmla="*/ 278775 w 1081626"/>
              <a:gd name="connsiteY72" fmla="*/ 492690 h 1113775"/>
              <a:gd name="connsiteX73" fmla="*/ 245457 w 1081626"/>
              <a:gd name="connsiteY73" fmla="*/ 472907 h 1113775"/>
              <a:gd name="connsiteX74" fmla="*/ 236318 w 1081626"/>
              <a:gd name="connsiteY74" fmla="*/ 418591 h 1113775"/>
              <a:gd name="connsiteX75" fmla="*/ 236318 w 1081626"/>
              <a:gd name="connsiteY75" fmla="*/ 416798 h 1113775"/>
              <a:gd name="connsiteX76" fmla="*/ 232847 w 1081626"/>
              <a:gd name="connsiteY76" fmla="*/ 415988 h 1113775"/>
              <a:gd name="connsiteX77" fmla="*/ 223187 w 1081626"/>
              <a:gd name="connsiteY77" fmla="*/ 417145 h 1113775"/>
              <a:gd name="connsiteX78" fmla="*/ 211618 w 1081626"/>
              <a:gd name="connsiteY78" fmla="*/ 418418 h 1113775"/>
              <a:gd name="connsiteX79" fmla="*/ 186803 w 1081626"/>
              <a:gd name="connsiteY79" fmla="*/ 428714 h 1113775"/>
              <a:gd name="connsiteX80" fmla="*/ 179861 w 1081626"/>
              <a:gd name="connsiteY80" fmla="*/ 432821 h 1113775"/>
              <a:gd name="connsiteX81" fmla="*/ 167425 w 1081626"/>
              <a:gd name="connsiteY81" fmla="*/ 438605 h 1113775"/>
              <a:gd name="connsiteX82" fmla="*/ 156724 w 1081626"/>
              <a:gd name="connsiteY82" fmla="*/ 444390 h 1113775"/>
              <a:gd name="connsiteX83" fmla="*/ 132140 w 1081626"/>
              <a:gd name="connsiteY83" fmla="*/ 450174 h 1113775"/>
              <a:gd name="connsiteX84" fmla="*/ 112299 w 1081626"/>
              <a:gd name="connsiteY84" fmla="*/ 447340 h 1113775"/>
              <a:gd name="connsiteX85" fmla="*/ 97318 w 1081626"/>
              <a:gd name="connsiteY85" fmla="*/ 449307 h 1113775"/>
              <a:gd name="connsiteX86" fmla="*/ 93037 w 1081626"/>
              <a:gd name="connsiteY86" fmla="*/ 449596 h 1113775"/>
              <a:gd name="connsiteX87" fmla="*/ 89624 w 1081626"/>
              <a:gd name="connsiteY87" fmla="*/ 419980 h 1113775"/>
              <a:gd name="connsiteX88" fmla="*/ 89624 w 1081626"/>
              <a:gd name="connsiteY88" fmla="*/ 414195 h 1113775"/>
              <a:gd name="connsiteX89" fmla="*/ 87542 w 1081626"/>
              <a:gd name="connsiteY89" fmla="*/ 409510 h 1113775"/>
              <a:gd name="connsiteX90" fmla="*/ 79675 w 1081626"/>
              <a:gd name="connsiteY90" fmla="*/ 417087 h 1113775"/>
              <a:gd name="connsiteX91" fmla="*/ 66834 w 1081626"/>
              <a:gd name="connsiteY91" fmla="*/ 422467 h 1113775"/>
              <a:gd name="connsiteX92" fmla="*/ 58909 w 1081626"/>
              <a:gd name="connsiteY92" fmla="*/ 422120 h 1113775"/>
              <a:gd name="connsiteX93" fmla="*/ 49596 w 1081626"/>
              <a:gd name="connsiteY93" fmla="*/ 421773 h 1113775"/>
              <a:gd name="connsiteX94" fmla="*/ 39068 w 1081626"/>
              <a:gd name="connsiteY94" fmla="*/ 411592 h 1113775"/>
              <a:gd name="connsiteX95" fmla="*/ 35135 w 1081626"/>
              <a:gd name="connsiteY95" fmla="*/ 406444 h 1113775"/>
              <a:gd name="connsiteX96" fmla="*/ 22525 w 1081626"/>
              <a:gd name="connsiteY96" fmla="*/ 402857 h 1113775"/>
              <a:gd name="connsiteX97" fmla="*/ 20211 w 1081626"/>
              <a:gd name="connsiteY97" fmla="*/ 394702 h 1113775"/>
              <a:gd name="connsiteX98" fmla="*/ 13038 w 1081626"/>
              <a:gd name="connsiteY98" fmla="*/ 377811 h 1113775"/>
              <a:gd name="connsiteX99" fmla="*/ 9047 w 1081626"/>
              <a:gd name="connsiteY99" fmla="*/ 372027 h 1113775"/>
              <a:gd name="connsiteX100" fmla="*/ 7601 w 1081626"/>
              <a:gd name="connsiteY100" fmla="*/ 369771 h 1113775"/>
              <a:gd name="connsiteX101" fmla="*/ 1817 w 1081626"/>
              <a:gd name="connsiteY101" fmla="*/ 347269 h 1113775"/>
              <a:gd name="connsiteX102" fmla="*/ 2858 w 1081626"/>
              <a:gd name="connsiteY102" fmla="*/ 340733 h 1113775"/>
              <a:gd name="connsiteX103" fmla="*/ 5924 w 1081626"/>
              <a:gd name="connsiteY103" fmla="*/ 329453 h 1113775"/>
              <a:gd name="connsiteX104" fmla="*/ 13675 w 1081626"/>
              <a:gd name="connsiteY104" fmla="*/ 324131 h 1113775"/>
              <a:gd name="connsiteX105" fmla="*/ 17724 w 1081626"/>
              <a:gd name="connsiteY105" fmla="*/ 315976 h 1113775"/>
              <a:gd name="connsiteX106" fmla="*/ 21831 w 1081626"/>
              <a:gd name="connsiteY106" fmla="*/ 301341 h 1113775"/>
              <a:gd name="connsiteX107" fmla="*/ 26574 w 1081626"/>
              <a:gd name="connsiteY107" fmla="*/ 289772 h 1113775"/>
              <a:gd name="connsiteX108" fmla="*/ 38143 w 1081626"/>
              <a:gd name="connsiteY108" fmla="*/ 279360 h 1113775"/>
              <a:gd name="connsiteX109" fmla="*/ 51447 w 1081626"/>
              <a:gd name="connsiteY109" fmla="*/ 272882 h 1113775"/>
              <a:gd name="connsiteX110" fmla="*/ 69494 w 1081626"/>
              <a:gd name="connsiteY110" fmla="*/ 266229 h 1113775"/>
              <a:gd name="connsiteX111" fmla="*/ 84476 w 1081626"/>
              <a:gd name="connsiteY111" fmla="*/ 260734 h 1113775"/>
              <a:gd name="connsiteX112" fmla="*/ 94310 w 1081626"/>
              <a:gd name="connsiteY112" fmla="*/ 256859 h 1113775"/>
              <a:gd name="connsiteX113" fmla="*/ 101078 w 1081626"/>
              <a:gd name="connsiteY113" fmla="*/ 258073 h 1113775"/>
              <a:gd name="connsiteX114" fmla="*/ 108424 w 1081626"/>
              <a:gd name="connsiteY114" fmla="*/ 258883 h 1113775"/>
              <a:gd name="connsiteX115" fmla="*/ 118026 w 1081626"/>
              <a:gd name="connsiteY115" fmla="*/ 222904 h 1113775"/>
              <a:gd name="connsiteX116" fmla="*/ 123810 w 1081626"/>
              <a:gd name="connsiteY116" fmla="*/ 185305 h 1113775"/>
              <a:gd name="connsiteX117" fmla="*/ 116001 w 1081626"/>
              <a:gd name="connsiteY117" fmla="*/ 163267 h 1113775"/>
              <a:gd name="connsiteX118" fmla="*/ 106283 w 1081626"/>
              <a:gd name="connsiteY118" fmla="*/ 141286 h 1113775"/>
              <a:gd name="connsiteX119" fmla="*/ 115654 w 1081626"/>
              <a:gd name="connsiteY119" fmla="*/ 128734 h 1113775"/>
              <a:gd name="connsiteX120" fmla="*/ 125314 w 1081626"/>
              <a:gd name="connsiteY120" fmla="*/ 125668 h 1113775"/>
              <a:gd name="connsiteX121" fmla="*/ 128901 w 1081626"/>
              <a:gd name="connsiteY121" fmla="*/ 120924 h 1113775"/>
              <a:gd name="connsiteX122" fmla="*/ 120224 w 1081626"/>
              <a:gd name="connsiteY122" fmla="*/ 116470 h 1113775"/>
              <a:gd name="connsiteX123" fmla="*/ 114440 w 1081626"/>
              <a:gd name="connsiteY123" fmla="*/ 111438 h 1113775"/>
              <a:gd name="connsiteX124" fmla="*/ 112473 w 1081626"/>
              <a:gd name="connsiteY124" fmla="*/ 99869 h 1113775"/>
              <a:gd name="connsiteX125" fmla="*/ 133702 w 1081626"/>
              <a:gd name="connsiteY125" fmla="*/ 95589 h 1113775"/>
              <a:gd name="connsiteX126" fmla="*/ 147468 w 1081626"/>
              <a:gd name="connsiteY126" fmla="*/ 95878 h 1113775"/>
              <a:gd name="connsiteX127" fmla="*/ 154815 w 1081626"/>
              <a:gd name="connsiteY127" fmla="*/ 95878 h 1113775"/>
              <a:gd name="connsiteX128" fmla="*/ 181076 w 1081626"/>
              <a:gd name="connsiteY128" fmla="*/ 88185 h 1113775"/>
              <a:gd name="connsiteX129" fmla="*/ 182349 w 1081626"/>
              <a:gd name="connsiteY129" fmla="*/ 88185 h 1113775"/>
              <a:gd name="connsiteX130" fmla="*/ 195422 w 1081626"/>
              <a:gd name="connsiteY130" fmla="*/ 105538 h 1113775"/>
              <a:gd name="connsiteX131" fmla="*/ 203173 w 1081626"/>
              <a:gd name="connsiteY131" fmla="*/ 115776 h 1113775"/>
              <a:gd name="connsiteX132" fmla="*/ 206181 w 1081626"/>
              <a:gd name="connsiteY132" fmla="*/ 118263 h 1113775"/>
              <a:gd name="connsiteX133" fmla="*/ 214741 w 1081626"/>
              <a:gd name="connsiteY133" fmla="*/ 123354 h 1113775"/>
              <a:gd name="connsiteX134" fmla="*/ 218270 w 1081626"/>
              <a:gd name="connsiteY134" fmla="*/ 122197 h 1113775"/>
              <a:gd name="connsiteX135" fmla="*/ 218617 w 1081626"/>
              <a:gd name="connsiteY135" fmla="*/ 122197 h 1113775"/>
              <a:gd name="connsiteX136" fmla="*/ 228855 w 1081626"/>
              <a:gd name="connsiteY136" fmla="*/ 118263 h 1113775"/>
              <a:gd name="connsiteX137" fmla="*/ 234235 w 1081626"/>
              <a:gd name="connsiteY137" fmla="*/ 119941 h 1113775"/>
              <a:gd name="connsiteX138" fmla="*/ 250027 w 1081626"/>
              <a:gd name="connsiteY138" fmla="*/ 111727 h 1113775"/>
              <a:gd name="connsiteX139" fmla="*/ 251704 w 1081626"/>
              <a:gd name="connsiteY139" fmla="*/ 110223 h 1113775"/>
              <a:gd name="connsiteX140" fmla="*/ 262405 w 1081626"/>
              <a:gd name="connsiteY140" fmla="*/ 106174 h 1113775"/>
              <a:gd name="connsiteX141" fmla="*/ 269404 w 1081626"/>
              <a:gd name="connsiteY141" fmla="*/ 101720 h 1113775"/>
              <a:gd name="connsiteX142" fmla="*/ 285890 w 1081626"/>
              <a:gd name="connsiteY142" fmla="*/ 86160 h 1113775"/>
              <a:gd name="connsiteX143" fmla="*/ 292195 w 1081626"/>
              <a:gd name="connsiteY143" fmla="*/ 79681 h 1113775"/>
              <a:gd name="connsiteX144" fmla="*/ 289419 w 1081626"/>
              <a:gd name="connsiteY144" fmla="*/ 76905 h 1113775"/>
              <a:gd name="connsiteX145" fmla="*/ 289361 w 1081626"/>
              <a:gd name="connsiteY145" fmla="*/ 76905 h 1113775"/>
              <a:gd name="connsiteX146" fmla="*/ 284155 w 1081626"/>
              <a:gd name="connsiteY146" fmla="*/ 78177 h 1113775"/>
              <a:gd name="connsiteX147" fmla="*/ 278949 w 1081626"/>
              <a:gd name="connsiteY147" fmla="*/ 79392 h 1113775"/>
              <a:gd name="connsiteX148" fmla="*/ 274263 w 1081626"/>
              <a:gd name="connsiteY148" fmla="*/ 72509 h 1113775"/>
              <a:gd name="connsiteX149" fmla="*/ 270677 w 1081626"/>
              <a:gd name="connsiteY149" fmla="*/ 63890 h 1113775"/>
              <a:gd name="connsiteX150" fmla="*/ 266917 w 1081626"/>
              <a:gd name="connsiteY150" fmla="*/ 55329 h 1113775"/>
              <a:gd name="connsiteX151" fmla="*/ 256794 w 1081626"/>
              <a:gd name="connsiteY151" fmla="*/ 35778 h 1113775"/>
              <a:gd name="connsiteX152" fmla="*/ 253902 w 1081626"/>
              <a:gd name="connsiteY152" fmla="*/ 31497 h 1113775"/>
              <a:gd name="connsiteX153" fmla="*/ 265008 w 1081626"/>
              <a:gd name="connsiteY153" fmla="*/ 27737 h 1113775"/>
              <a:gd name="connsiteX154" fmla="*/ 276230 w 1081626"/>
              <a:gd name="connsiteY154" fmla="*/ 30745 h 1113775"/>
              <a:gd name="connsiteX155" fmla="*/ 286758 w 1081626"/>
              <a:gd name="connsiteY155" fmla="*/ 33406 h 1113775"/>
              <a:gd name="connsiteX156" fmla="*/ 300293 w 1081626"/>
              <a:gd name="connsiteY156" fmla="*/ 39190 h 1113775"/>
              <a:gd name="connsiteX157" fmla="*/ 306078 w 1081626"/>
              <a:gd name="connsiteY157" fmla="*/ 44975 h 1113775"/>
              <a:gd name="connsiteX158" fmla="*/ 308970 w 1081626"/>
              <a:gd name="connsiteY158" fmla="*/ 40290 h 1113775"/>
              <a:gd name="connsiteX159" fmla="*/ 329158 w 1081626"/>
              <a:gd name="connsiteY159" fmla="*/ 28721 h 1113775"/>
              <a:gd name="connsiteX160" fmla="*/ 352295 w 1081626"/>
              <a:gd name="connsiteY160" fmla="*/ 20449 h 1113775"/>
              <a:gd name="connsiteX161" fmla="*/ 362418 w 1081626"/>
              <a:gd name="connsiteY161" fmla="*/ 15648 h 1113775"/>
              <a:gd name="connsiteX162" fmla="*/ 367855 w 1081626"/>
              <a:gd name="connsiteY162" fmla="*/ 8822 h 1113775"/>
              <a:gd name="connsiteX163" fmla="*/ 380118 w 1081626"/>
              <a:gd name="connsiteY163" fmla="*/ 30 h 1113775"/>
              <a:gd name="connsiteX164" fmla="*/ 387812 w 1081626"/>
              <a:gd name="connsiteY164" fmla="*/ 12582 h 1113775"/>
              <a:gd name="connsiteX165" fmla="*/ 391918 w 1081626"/>
              <a:gd name="connsiteY165" fmla="*/ 23052 h 1113775"/>
              <a:gd name="connsiteX166" fmla="*/ 399612 w 1081626"/>
              <a:gd name="connsiteY166" fmla="*/ 34621 h 1113775"/>
              <a:gd name="connsiteX167" fmla="*/ 394579 w 1081626"/>
              <a:gd name="connsiteY167" fmla="*/ 48041 h 1113775"/>
              <a:gd name="connsiteX168" fmla="*/ 390067 w 1081626"/>
              <a:gd name="connsiteY168" fmla="*/ 60362 h 1113775"/>
              <a:gd name="connsiteX169" fmla="*/ 400480 w 1081626"/>
              <a:gd name="connsiteY169" fmla="*/ 94779 h 1113775"/>
              <a:gd name="connsiteX170" fmla="*/ 421535 w 1081626"/>
              <a:gd name="connsiteY170" fmla="*/ 107273 h 1113775"/>
              <a:gd name="connsiteX171" fmla="*/ 428303 w 1081626"/>
              <a:gd name="connsiteY171" fmla="*/ 104670 h 1113775"/>
              <a:gd name="connsiteX172" fmla="*/ 436748 w 1081626"/>
              <a:gd name="connsiteY172" fmla="*/ 102009 h 1113775"/>
              <a:gd name="connsiteX173" fmla="*/ 446234 w 1081626"/>
              <a:gd name="connsiteY173" fmla="*/ 98365 h 1113775"/>
              <a:gd name="connsiteX174" fmla="*/ 451672 w 1081626"/>
              <a:gd name="connsiteY174" fmla="*/ 94721 h 1113775"/>
              <a:gd name="connsiteX175" fmla="*/ 452771 w 1081626"/>
              <a:gd name="connsiteY175" fmla="*/ 94721 h 1113775"/>
              <a:gd name="connsiteX176" fmla="*/ 460348 w 1081626"/>
              <a:gd name="connsiteY176" fmla="*/ 91539 h 1113775"/>
              <a:gd name="connsiteX177" fmla="*/ 467695 w 1081626"/>
              <a:gd name="connsiteY177" fmla="*/ 88763 h 1113775"/>
              <a:gd name="connsiteX178" fmla="*/ 479264 w 1081626"/>
              <a:gd name="connsiteY178" fmla="*/ 90903 h 1113775"/>
              <a:gd name="connsiteX179" fmla="*/ 493146 w 1081626"/>
              <a:gd name="connsiteY179" fmla="*/ 92118 h 1113775"/>
              <a:gd name="connsiteX180" fmla="*/ 496848 w 1081626"/>
              <a:gd name="connsiteY180" fmla="*/ 83846 h 1113775"/>
              <a:gd name="connsiteX181" fmla="*/ 505236 w 1081626"/>
              <a:gd name="connsiteY181" fmla="*/ 74707 h 1113775"/>
              <a:gd name="connsiteX182" fmla="*/ 517961 w 1081626"/>
              <a:gd name="connsiteY182" fmla="*/ 73666 h 1113775"/>
              <a:gd name="connsiteX183" fmla="*/ 527968 w 1081626"/>
              <a:gd name="connsiteY183" fmla="*/ 72625 h 1113775"/>
              <a:gd name="connsiteX184" fmla="*/ 536471 w 1081626"/>
              <a:gd name="connsiteY184" fmla="*/ 76095 h 1113775"/>
              <a:gd name="connsiteX185" fmla="*/ 562212 w 1081626"/>
              <a:gd name="connsiteY185" fmla="*/ 83846 h 1113775"/>
              <a:gd name="connsiteX186" fmla="*/ 573781 w 1081626"/>
              <a:gd name="connsiteY186" fmla="*/ 82169 h 1113775"/>
              <a:gd name="connsiteX187" fmla="*/ 576673 w 1081626"/>
              <a:gd name="connsiteY187" fmla="*/ 82169 h 1113775"/>
              <a:gd name="connsiteX188" fmla="*/ 590440 w 1081626"/>
              <a:gd name="connsiteY188" fmla="*/ 72162 h 1113775"/>
              <a:gd name="connsiteX189" fmla="*/ 623006 w 1081626"/>
              <a:gd name="connsiteY189" fmla="*/ 28200 h 1113775"/>
              <a:gd name="connsiteX190" fmla="*/ 624279 w 1081626"/>
              <a:gd name="connsiteY190" fmla="*/ 28200 h 1113775"/>
              <a:gd name="connsiteX191" fmla="*/ 635096 w 1081626"/>
              <a:gd name="connsiteY191" fmla="*/ 54172 h 1113775"/>
              <a:gd name="connsiteX192" fmla="*/ 644235 w 1081626"/>
              <a:gd name="connsiteY192" fmla="*/ 80954 h 1113775"/>
              <a:gd name="connsiteX193" fmla="*/ 656267 w 1081626"/>
              <a:gd name="connsiteY193" fmla="*/ 90498 h 1113775"/>
              <a:gd name="connsiteX194" fmla="*/ 666853 w 1081626"/>
              <a:gd name="connsiteY194" fmla="*/ 111265 h 1113775"/>
              <a:gd name="connsiteX195" fmla="*/ 638972 w 1081626"/>
              <a:gd name="connsiteY195" fmla="*/ 145971 h 1113775"/>
              <a:gd name="connsiteX196" fmla="*/ 637988 w 1081626"/>
              <a:gd name="connsiteY196" fmla="*/ 145971 h 1113775"/>
              <a:gd name="connsiteX197" fmla="*/ 627056 w 1081626"/>
              <a:gd name="connsiteY197" fmla="*/ 155689 h 1113775"/>
              <a:gd name="connsiteX198" fmla="*/ 630989 w 1081626"/>
              <a:gd name="connsiteY198" fmla="*/ 166159 h 1113775"/>
              <a:gd name="connsiteX199" fmla="*/ 634170 w 1081626"/>
              <a:gd name="connsiteY199" fmla="*/ 167258 h 1113775"/>
              <a:gd name="connsiteX200" fmla="*/ 636947 w 1081626"/>
              <a:gd name="connsiteY200" fmla="*/ 161473 h 1113775"/>
              <a:gd name="connsiteX201" fmla="*/ 647590 w 1081626"/>
              <a:gd name="connsiteY201" fmla="*/ 145045 h 1113775"/>
              <a:gd name="connsiteX202" fmla="*/ 661415 w 1081626"/>
              <a:gd name="connsiteY202" fmla="*/ 143021 h 1113775"/>
              <a:gd name="connsiteX203" fmla="*/ 703121 w 1081626"/>
              <a:gd name="connsiteY203" fmla="*/ 155458 h 1113775"/>
              <a:gd name="connsiteX204" fmla="*/ 704220 w 1081626"/>
              <a:gd name="connsiteY204" fmla="*/ 161242 h 1113775"/>
              <a:gd name="connsiteX205" fmla="*/ 680099 w 1081626"/>
              <a:gd name="connsiteY205" fmla="*/ 193346 h 1113775"/>
              <a:gd name="connsiteX206" fmla="*/ 677380 w 1081626"/>
              <a:gd name="connsiteY206" fmla="*/ 197857 h 1113775"/>
              <a:gd name="connsiteX207" fmla="*/ 681950 w 1081626"/>
              <a:gd name="connsiteY207" fmla="*/ 200750 h 1113775"/>
              <a:gd name="connsiteX208" fmla="*/ 692420 w 1081626"/>
              <a:gd name="connsiteY208" fmla="*/ 191321 h 1113775"/>
              <a:gd name="connsiteX209" fmla="*/ 702311 w 1081626"/>
              <a:gd name="connsiteY209" fmla="*/ 182760 h 1113775"/>
              <a:gd name="connsiteX210" fmla="*/ 707286 w 1081626"/>
              <a:gd name="connsiteY210" fmla="*/ 183801 h 1113775"/>
              <a:gd name="connsiteX211" fmla="*/ 709947 w 1081626"/>
              <a:gd name="connsiteY211" fmla="*/ 184437 h 1113775"/>
              <a:gd name="connsiteX212" fmla="*/ 711740 w 1081626"/>
              <a:gd name="connsiteY212" fmla="*/ 178653 h 1113775"/>
              <a:gd name="connsiteX213" fmla="*/ 753214 w 1081626"/>
              <a:gd name="connsiteY213" fmla="*/ 165523 h 1113775"/>
              <a:gd name="connsiteX214" fmla="*/ 818173 w 1081626"/>
              <a:gd name="connsiteY214" fmla="*/ 205377 h 1113775"/>
              <a:gd name="connsiteX215" fmla="*/ 812389 w 1081626"/>
              <a:gd name="connsiteY215" fmla="*/ 222210 h 1113775"/>
              <a:gd name="connsiteX216" fmla="*/ 809323 w 1081626"/>
              <a:gd name="connsiteY216" fmla="*/ 230713 h 1113775"/>
              <a:gd name="connsiteX217" fmla="*/ 811058 w 1081626"/>
              <a:gd name="connsiteY217" fmla="*/ 230250 h 1113775"/>
              <a:gd name="connsiteX218" fmla="*/ 821933 w 1081626"/>
              <a:gd name="connsiteY218" fmla="*/ 223193 h 1113775"/>
              <a:gd name="connsiteX219" fmla="*/ 843972 w 1081626"/>
              <a:gd name="connsiteY219" fmla="*/ 212260 h 1113775"/>
              <a:gd name="connsiteX220" fmla="*/ 847442 w 1081626"/>
              <a:gd name="connsiteY220" fmla="*/ 212665 h 1113775"/>
              <a:gd name="connsiteX221" fmla="*/ 861672 w 1081626"/>
              <a:gd name="connsiteY221" fmla="*/ 217987 h 1113775"/>
              <a:gd name="connsiteX222" fmla="*/ 892098 w 1081626"/>
              <a:gd name="connsiteY222" fmla="*/ 226548 h 1113775"/>
              <a:gd name="connsiteX223" fmla="*/ 900833 w 1081626"/>
              <a:gd name="connsiteY223" fmla="*/ 225391 h 1113775"/>
              <a:gd name="connsiteX224" fmla="*/ 923623 w 1081626"/>
              <a:gd name="connsiteY224" fmla="*/ 222094 h 1113775"/>
              <a:gd name="connsiteX225" fmla="*/ 981930 w 1081626"/>
              <a:gd name="connsiteY225" fmla="*/ 250554 h 1113775"/>
              <a:gd name="connsiteX226" fmla="*/ 1043939 w 1081626"/>
              <a:gd name="connsiteY226" fmla="*/ 285260 h 1113775"/>
              <a:gd name="connsiteX227" fmla="*/ 1046485 w 1081626"/>
              <a:gd name="connsiteY227" fmla="*/ 285260 h 1113775"/>
              <a:gd name="connsiteX228" fmla="*/ 1051343 w 1081626"/>
              <a:gd name="connsiteY228" fmla="*/ 284855 h 1113775"/>
              <a:gd name="connsiteX229" fmla="*/ 1056607 w 1081626"/>
              <a:gd name="connsiteY229" fmla="*/ 284508 h 1113775"/>
              <a:gd name="connsiteX230" fmla="*/ 1071242 w 1081626"/>
              <a:gd name="connsiteY230" fmla="*/ 301862 h 1113775"/>
              <a:gd name="connsiteX231" fmla="*/ 1074192 w 1081626"/>
              <a:gd name="connsiteY231" fmla="*/ 313141 h 1113775"/>
              <a:gd name="connsiteX232" fmla="*/ 1076621 w 1081626"/>
              <a:gd name="connsiteY232" fmla="*/ 381860 h 1113775"/>
              <a:gd name="connsiteX233" fmla="*/ 1037866 w 1081626"/>
              <a:gd name="connsiteY233" fmla="*/ 436407 h 1113775"/>
              <a:gd name="connsiteX234" fmla="*/ 1032081 w 1081626"/>
              <a:gd name="connsiteY234" fmla="*/ 438374 h 1113775"/>
              <a:gd name="connsiteX235" fmla="*/ 1012356 w 1081626"/>
              <a:gd name="connsiteY235" fmla="*/ 455727 h 1113775"/>
              <a:gd name="connsiteX236" fmla="*/ 1010216 w 1081626"/>
              <a:gd name="connsiteY236" fmla="*/ 461512 h 1113775"/>
              <a:gd name="connsiteX237" fmla="*/ 990086 w 1081626"/>
              <a:gd name="connsiteY237" fmla="*/ 498879 h 1113775"/>
              <a:gd name="connsiteX238" fmla="*/ 984996 w 1081626"/>
              <a:gd name="connsiteY238" fmla="*/ 500499 h 1113775"/>
              <a:gd name="connsiteX239" fmla="*/ 976030 w 1081626"/>
              <a:gd name="connsiteY239" fmla="*/ 496102 h 1113775"/>
              <a:gd name="connsiteX240" fmla="*/ 972212 w 1081626"/>
              <a:gd name="connsiteY240" fmla="*/ 493615 h 1113775"/>
              <a:gd name="connsiteX241" fmla="*/ 967007 w 1081626"/>
              <a:gd name="connsiteY241" fmla="*/ 497086 h 1113775"/>
              <a:gd name="connsiteX242" fmla="*/ 968221 w 1081626"/>
              <a:gd name="connsiteY242" fmla="*/ 499342 h 1113775"/>
              <a:gd name="connsiteX243" fmla="*/ 974006 w 1081626"/>
              <a:gd name="connsiteY243" fmla="*/ 505126 h 1113775"/>
              <a:gd name="connsiteX244" fmla="*/ 970246 w 1081626"/>
              <a:gd name="connsiteY244" fmla="*/ 512010 h 1113775"/>
              <a:gd name="connsiteX245" fmla="*/ 964461 w 1081626"/>
              <a:gd name="connsiteY245" fmla="*/ 551170 h 1113775"/>
              <a:gd name="connsiteX246" fmla="*/ 965908 w 1081626"/>
              <a:gd name="connsiteY246" fmla="*/ 567945 h 1113775"/>
              <a:gd name="connsiteX247" fmla="*/ 964404 w 1081626"/>
              <a:gd name="connsiteY247" fmla="*/ 604850 h 1113775"/>
              <a:gd name="connsiteX248" fmla="*/ 962321 w 1081626"/>
              <a:gd name="connsiteY248" fmla="*/ 627988 h 1113775"/>
              <a:gd name="connsiteX249" fmla="*/ 961280 w 1081626"/>
              <a:gd name="connsiteY249" fmla="*/ 638920 h 1113775"/>
              <a:gd name="connsiteX250" fmla="*/ 953934 w 1081626"/>
              <a:gd name="connsiteY250" fmla="*/ 644704 h 1113775"/>
              <a:gd name="connsiteX251" fmla="*/ 947513 w 1081626"/>
              <a:gd name="connsiteY251" fmla="*/ 652745 h 1113775"/>
              <a:gd name="connsiteX252" fmla="*/ 945546 w 1081626"/>
              <a:gd name="connsiteY252" fmla="*/ 667727 h 1113775"/>
              <a:gd name="connsiteX253" fmla="*/ 943232 w 1081626"/>
              <a:gd name="connsiteY253" fmla="*/ 686063 h 1113775"/>
              <a:gd name="connsiteX254" fmla="*/ 937448 w 1081626"/>
              <a:gd name="connsiteY254" fmla="*/ 696186 h 1113775"/>
              <a:gd name="connsiteX255" fmla="*/ 932936 w 1081626"/>
              <a:gd name="connsiteY255" fmla="*/ 700987 h 1113775"/>
              <a:gd name="connsiteX256" fmla="*/ 931374 w 1081626"/>
              <a:gd name="connsiteY256" fmla="*/ 706772 h 1113775"/>
              <a:gd name="connsiteX257" fmla="*/ 921599 w 1081626"/>
              <a:gd name="connsiteY257" fmla="*/ 726959 h 1113775"/>
              <a:gd name="connsiteX258" fmla="*/ 911187 w 1081626"/>
              <a:gd name="connsiteY258" fmla="*/ 750907 h 1113775"/>
              <a:gd name="connsiteX259" fmla="*/ 897941 w 1081626"/>
              <a:gd name="connsiteY259" fmla="*/ 766582 h 1113775"/>
              <a:gd name="connsiteX260" fmla="*/ 883873 w 1081626"/>
              <a:gd name="connsiteY260" fmla="*/ 781541 h 1113775"/>
              <a:gd name="connsiteX261" fmla="*/ 883884 w 1081626"/>
              <a:gd name="connsiteY261" fmla="*/ 781796 h 1113775"/>
              <a:gd name="connsiteX262" fmla="*/ 867052 w 1081626"/>
              <a:gd name="connsiteY262" fmla="*/ 790819 h 1113775"/>
              <a:gd name="connsiteX263" fmla="*/ 858896 w 1081626"/>
              <a:gd name="connsiteY263" fmla="*/ 790819 h 1113775"/>
              <a:gd name="connsiteX264" fmla="*/ 841542 w 1081626"/>
              <a:gd name="connsiteY264" fmla="*/ 789431 h 1113775"/>
              <a:gd name="connsiteX265" fmla="*/ 823842 w 1081626"/>
              <a:gd name="connsiteY265" fmla="*/ 787985 h 1113775"/>
              <a:gd name="connsiteX266" fmla="*/ 814413 w 1081626"/>
              <a:gd name="connsiteY266" fmla="*/ 789952 h 1113775"/>
              <a:gd name="connsiteX267" fmla="*/ 809901 w 1081626"/>
              <a:gd name="connsiteY267" fmla="*/ 794348 h 1113775"/>
              <a:gd name="connsiteX268" fmla="*/ 792548 w 1081626"/>
              <a:gd name="connsiteY268" fmla="*/ 806553 h 1113775"/>
              <a:gd name="connsiteX269" fmla="*/ 787863 w 1081626"/>
              <a:gd name="connsiteY269" fmla="*/ 810024 h 1113775"/>
              <a:gd name="connsiteX270" fmla="*/ 777220 w 1081626"/>
              <a:gd name="connsiteY270" fmla="*/ 815056 h 1113775"/>
              <a:gd name="connsiteX271" fmla="*/ 742166 w 1081626"/>
              <a:gd name="connsiteY271" fmla="*/ 830500 h 1113775"/>
              <a:gd name="connsiteX272" fmla="*/ 741876 w 1081626"/>
              <a:gd name="connsiteY272" fmla="*/ 830500 h 1113775"/>
              <a:gd name="connsiteX273" fmla="*/ 706823 w 1081626"/>
              <a:gd name="connsiteY273" fmla="*/ 856646 h 1113775"/>
              <a:gd name="connsiteX274" fmla="*/ 703005 w 1081626"/>
              <a:gd name="connsiteY274" fmla="*/ 862430 h 1113775"/>
              <a:gd name="connsiteX275" fmla="*/ 699303 w 1081626"/>
              <a:gd name="connsiteY275" fmla="*/ 875908 h 1113775"/>
              <a:gd name="connsiteX276" fmla="*/ 697452 w 1081626"/>
              <a:gd name="connsiteY276" fmla="*/ 903789 h 1113775"/>
              <a:gd name="connsiteX277" fmla="*/ 698898 w 1081626"/>
              <a:gd name="connsiteY277" fmla="*/ 915821 h 1113775"/>
              <a:gd name="connsiteX278" fmla="*/ 690048 w 1081626"/>
              <a:gd name="connsiteY278" fmla="*/ 956312 h 1113775"/>
              <a:gd name="connsiteX279" fmla="*/ 663613 w 1081626"/>
              <a:gd name="connsiteY279" fmla="*/ 984771 h 1113775"/>
              <a:gd name="connsiteX280" fmla="*/ 659159 w 1081626"/>
              <a:gd name="connsiteY280" fmla="*/ 994142 h 1113775"/>
              <a:gd name="connsiteX281" fmla="*/ 628155 w 1081626"/>
              <a:gd name="connsiteY281" fmla="*/ 1038451 h 1113775"/>
              <a:gd name="connsiteX282" fmla="*/ 615082 w 1081626"/>
              <a:gd name="connsiteY282" fmla="*/ 1046317 h 1113775"/>
              <a:gd name="connsiteX283" fmla="*/ 613636 w 1081626"/>
              <a:gd name="connsiteY283" fmla="*/ 1045392 h 1113775"/>
              <a:gd name="connsiteX284" fmla="*/ 624858 w 1081626"/>
              <a:gd name="connsiteY284" fmla="*/ 1028039 h 1113775"/>
              <a:gd name="connsiteX285" fmla="*/ 635501 w 1081626"/>
              <a:gd name="connsiteY285" fmla="*/ 1004323 h 1113775"/>
              <a:gd name="connsiteX286" fmla="*/ 632666 w 1081626"/>
              <a:gd name="connsiteY286" fmla="*/ 1002877 h 1113775"/>
              <a:gd name="connsiteX287" fmla="*/ 625610 w 1081626"/>
              <a:gd name="connsiteY287" fmla="*/ 1004901 h 1113775"/>
              <a:gd name="connsiteX288" fmla="*/ 617627 w 1081626"/>
              <a:gd name="connsiteY288" fmla="*/ 1017338 h 1113775"/>
              <a:gd name="connsiteX289" fmla="*/ 611380 w 1081626"/>
              <a:gd name="connsiteY289" fmla="*/ 1033765 h 1113775"/>
              <a:gd name="connsiteX290" fmla="*/ 601893 w 1081626"/>
              <a:gd name="connsiteY290" fmla="*/ 1051813 h 1113775"/>
              <a:gd name="connsiteX291" fmla="*/ 597034 w 1081626"/>
              <a:gd name="connsiteY291" fmla="*/ 1066852 h 1113775"/>
              <a:gd name="connsiteX292" fmla="*/ 592060 w 1081626"/>
              <a:gd name="connsiteY292" fmla="*/ 1079173 h 1113775"/>
              <a:gd name="connsiteX293" fmla="*/ 576095 w 1081626"/>
              <a:gd name="connsiteY293" fmla="*/ 1101096 h 1113775"/>
              <a:gd name="connsiteX294" fmla="*/ 563600 w 1081626"/>
              <a:gd name="connsiteY294" fmla="*/ 1113475 h 1113775"/>
              <a:gd name="connsiteX295" fmla="*/ 562617 w 1081626"/>
              <a:gd name="connsiteY295" fmla="*/ 1113590 h 1113775"/>
              <a:gd name="connsiteX296" fmla="*/ 505351 w 1081626"/>
              <a:gd name="connsiteY296" fmla="*/ 1021039 h 1113775"/>
              <a:gd name="connsiteX297" fmla="*/ 511598 w 1081626"/>
              <a:gd name="connsiteY297" fmla="*/ 1025378 h 1113775"/>
              <a:gd name="connsiteX298" fmla="*/ 532075 w 1081626"/>
              <a:gd name="connsiteY298" fmla="*/ 1041459 h 1113775"/>
              <a:gd name="connsiteX299" fmla="*/ 542198 w 1081626"/>
              <a:gd name="connsiteY299" fmla="*/ 1048573 h 1113775"/>
              <a:gd name="connsiteX300" fmla="*/ 547636 w 1081626"/>
              <a:gd name="connsiteY300" fmla="*/ 1052623 h 1113775"/>
              <a:gd name="connsiteX301" fmla="*/ 560882 w 1081626"/>
              <a:gd name="connsiteY301" fmla="*/ 1070786 h 1113775"/>
              <a:gd name="connsiteX302" fmla="*/ 560361 w 1081626"/>
              <a:gd name="connsiteY302" fmla="*/ 1078826 h 1113775"/>
              <a:gd name="connsiteX303" fmla="*/ 562906 w 1081626"/>
              <a:gd name="connsiteY303" fmla="*/ 1110062 h 1113775"/>
              <a:gd name="connsiteX304" fmla="*/ 574475 w 1081626"/>
              <a:gd name="connsiteY304" fmla="*/ 1098493 h 1113775"/>
              <a:gd name="connsiteX305" fmla="*/ 589630 w 1081626"/>
              <a:gd name="connsiteY305" fmla="*/ 1077727 h 1113775"/>
              <a:gd name="connsiteX306" fmla="*/ 594721 w 1081626"/>
              <a:gd name="connsiteY306" fmla="*/ 1065001 h 1113775"/>
              <a:gd name="connsiteX307" fmla="*/ 599348 w 1081626"/>
              <a:gd name="connsiteY307" fmla="*/ 1050714 h 1113775"/>
              <a:gd name="connsiteX308" fmla="*/ 609529 w 1081626"/>
              <a:gd name="connsiteY308" fmla="*/ 1031394 h 1113775"/>
              <a:gd name="connsiteX309" fmla="*/ 615313 w 1081626"/>
              <a:gd name="connsiteY309" fmla="*/ 1016701 h 1113775"/>
              <a:gd name="connsiteX310" fmla="*/ 624568 w 1081626"/>
              <a:gd name="connsiteY310" fmla="*/ 1002125 h 1113775"/>
              <a:gd name="connsiteX311" fmla="*/ 632609 w 1081626"/>
              <a:gd name="connsiteY311" fmla="*/ 999869 h 1113775"/>
              <a:gd name="connsiteX312" fmla="*/ 637468 w 1081626"/>
              <a:gd name="connsiteY312" fmla="*/ 1002587 h 1113775"/>
              <a:gd name="connsiteX313" fmla="*/ 626535 w 1081626"/>
              <a:gd name="connsiteY313" fmla="*/ 1028675 h 1113775"/>
              <a:gd name="connsiteX314" fmla="*/ 615950 w 1081626"/>
              <a:gd name="connsiteY314" fmla="*/ 1043310 h 1113775"/>
              <a:gd name="connsiteX315" fmla="*/ 626824 w 1081626"/>
              <a:gd name="connsiteY315" fmla="*/ 1036137 h 1113775"/>
              <a:gd name="connsiteX316" fmla="*/ 657135 w 1081626"/>
              <a:gd name="connsiteY316" fmla="*/ 992696 h 1113775"/>
              <a:gd name="connsiteX317" fmla="*/ 661589 w 1081626"/>
              <a:gd name="connsiteY317" fmla="*/ 983267 h 1113775"/>
              <a:gd name="connsiteX318" fmla="*/ 689759 w 1081626"/>
              <a:gd name="connsiteY318" fmla="*/ 953535 h 1113775"/>
              <a:gd name="connsiteX319" fmla="*/ 696642 w 1081626"/>
              <a:gd name="connsiteY319" fmla="*/ 915416 h 1113775"/>
              <a:gd name="connsiteX320" fmla="*/ 695254 w 1081626"/>
              <a:gd name="connsiteY320" fmla="*/ 903558 h 1113775"/>
              <a:gd name="connsiteX321" fmla="*/ 697394 w 1081626"/>
              <a:gd name="connsiteY321" fmla="*/ 874115 h 1113775"/>
              <a:gd name="connsiteX322" fmla="*/ 700749 w 1081626"/>
              <a:gd name="connsiteY322" fmla="*/ 861736 h 1113775"/>
              <a:gd name="connsiteX323" fmla="*/ 706823 w 1081626"/>
              <a:gd name="connsiteY323" fmla="*/ 853638 h 1113775"/>
              <a:gd name="connsiteX324" fmla="*/ 740315 w 1081626"/>
              <a:gd name="connsiteY324" fmla="*/ 828187 h 1113775"/>
              <a:gd name="connsiteX325" fmla="*/ 740315 w 1081626"/>
              <a:gd name="connsiteY325" fmla="*/ 828187 h 1113775"/>
              <a:gd name="connsiteX326" fmla="*/ 776757 w 1081626"/>
              <a:gd name="connsiteY326" fmla="*/ 812106 h 1113775"/>
              <a:gd name="connsiteX327" fmla="*/ 785607 w 1081626"/>
              <a:gd name="connsiteY327" fmla="*/ 808288 h 1113775"/>
              <a:gd name="connsiteX328" fmla="*/ 791738 w 1081626"/>
              <a:gd name="connsiteY328" fmla="*/ 803661 h 1113775"/>
              <a:gd name="connsiteX329" fmla="*/ 807877 w 1081626"/>
              <a:gd name="connsiteY329" fmla="*/ 792092 h 1113775"/>
              <a:gd name="connsiteX330" fmla="*/ 812446 w 1081626"/>
              <a:gd name="connsiteY330" fmla="*/ 787580 h 1113775"/>
              <a:gd name="connsiteX331" fmla="*/ 823437 w 1081626"/>
              <a:gd name="connsiteY331" fmla="*/ 785035 h 1113775"/>
              <a:gd name="connsiteX332" fmla="*/ 841369 w 1081626"/>
              <a:gd name="connsiteY332" fmla="*/ 786481 h 1113775"/>
              <a:gd name="connsiteX333" fmla="*/ 858722 w 1081626"/>
              <a:gd name="connsiteY333" fmla="*/ 787927 h 1113775"/>
              <a:gd name="connsiteX334" fmla="*/ 867225 w 1081626"/>
              <a:gd name="connsiteY334" fmla="*/ 787927 h 1113775"/>
              <a:gd name="connsiteX335" fmla="*/ 881802 w 1081626"/>
              <a:gd name="connsiteY335" fmla="*/ 781159 h 1113775"/>
              <a:gd name="connsiteX336" fmla="*/ 897981 w 1081626"/>
              <a:gd name="connsiteY336" fmla="*/ 763812 h 1113775"/>
              <a:gd name="connsiteX337" fmla="*/ 898114 w 1081626"/>
              <a:gd name="connsiteY337" fmla="*/ 763806 h 1113775"/>
              <a:gd name="connsiteX338" fmla="*/ 909104 w 1081626"/>
              <a:gd name="connsiteY338" fmla="*/ 750386 h 1113775"/>
              <a:gd name="connsiteX339" fmla="*/ 920673 w 1081626"/>
              <a:gd name="connsiteY339" fmla="*/ 724645 h 1113775"/>
              <a:gd name="connsiteX340" fmla="*/ 929581 w 1081626"/>
              <a:gd name="connsiteY340" fmla="*/ 705730 h 1113775"/>
              <a:gd name="connsiteX341" fmla="*/ 931143 w 1081626"/>
              <a:gd name="connsiteY341" fmla="*/ 699946 h 1113775"/>
              <a:gd name="connsiteX342" fmla="*/ 936928 w 1081626"/>
              <a:gd name="connsiteY342" fmla="*/ 693814 h 1113775"/>
              <a:gd name="connsiteX343" fmla="*/ 941439 w 1081626"/>
              <a:gd name="connsiteY343" fmla="*/ 685716 h 1113775"/>
              <a:gd name="connsiteX344" fmla="*/ 943811 w 1081626"/>
              <a:gd name="connsiteY344" fmla="*/ 666975 h 1113775"/>
              <a:gd name="connsiteX345" fmla="*/ 945720 w 1081626"/>
              <a:gd name="connsiteY345" fmla="*/ 652398 h 1113775"/>
              <a:gd name="connsiteX346" fmla="*/ 953297 w 1081626"/>
              <a:gd name="connsiteY346" fmla="*/ 642333 h 1113775"/>
              <a:gd name="connsiteX347" fmla="*/ 959834 w 1081626"/>
              <a:gd name="connsiteY347" fmla="*/ 637243 h 1113775"/>
              <a:gd name="connsiteX348" fmla="*/ 960528 w 1081626"/>
              <a:gd name="connsiteY348" fmla="*/ 627814 h 1113775"/>
              <a:gd name="connsiteX349" fmla="*/ 962726 w 1081626"/>
              <a:gd name="connsiteY349" fmla="*/ 603577 h 1113775"/>
              <a:gd name="connsiteX350" fmla="*/ 964114 w 1081626"/>
              <a:gd name="connsiteY350" fmla="*/ 567714 h 1113775"/>
              <a:gd name="connsiteX351" fmla="*/ 962668 w 1081626"/>
              <a:gd name="connsiteY351" fmla="*/ 550360 h 1113775"/>
              <a:gd name="connsiteX352" fmla="*/ 969089 w 1081626"/>
              <a:gd name="connsiteY352" fmla="*/ 509522 h 1113775"/>
              <a:gd name="connsiteX353" fmla="*/ 972097 w 1081626"/>
              <a:gd name="connsiteY353" fmla="*/ 504606 h 1113775"/>
              <a:gd name="connsiteX354" fmla="*/ 967527 w 1081626"/>
              <a:gd name="connsiteY354" fmla="*/ 500499 h 1113775"/>
              <a:gd name="connsiteX355" fmla="*/ 965156 w 1081626"/>
              <a:gd name="connsiteY355" fmla="*/ 495698 h 1113775"/>
              <a:gd name="connsiteX356" fmla="*/ 973196 w 1081626"/>
              <a:gd name="connsiteY356" fmla="*/ 490550 h 1113775"/>
              <a:gd name="connsiteX357" fmla="*/ 977823 w 1081626"/>
              <a:gd name="connsiteY357" fmla="*/ 493500 h 1113775"/>
              <a:gd name="connsiteX358" fmla="*/ 985343 w 1081626"/>
              <a:gd name="connsiteY358" fmla="*/ 497375 h 1113775"/>
              <a:gd name="connsiteX359" fmla="*/ 989277 w 1081626"/>
              <a:gd name="connsiteY359" fmla="*/ 496102 h 1113775"/>
              <a:gd name="connsiteX360" fmla="*/ 1008423 w 1081626"/>
              <a:gd name="connsiteY360" fmla="*/ 459776 h 1113775"/>
              <a:gd name="connsiteX361" fmla="*/ 1010621 w 1081626"/>
              <a:gd name="connsiteY361" fmla="*/ 453992 h 1113775"/>
              <a:gd name="connsiteX362" fmla="*/ 1031792 w 1081626"/>
              <a:gd name="connsiteY362" fmla="*/ 435308 h 1113775"/>
              <a:gd name="connsiteX363" fmla="*/ 1037229 w 1081626"/>
              <a:gd name="connsiteY363" fmla="*/ 433399 h 1113775"/>
              <a:gd name="connsiteX364" fmla="*/ 1074828 w 1081626"/>
              <a:gd name="connsiteY364" fmla="*/ 380125 h 1113775"/>
              <a:gd name="connsiteX365" fmla="*/ 1072283 w 1081626"/>
              <a:gd name="connsiteY365" fmla="*/ 312794 h 1113775"/>
              <a:gd name="connsiteX366" fmla="*/ 1069333 w 1081626"/>
              <a:gd name="connsiteY366" fmla="*/ 301225 h 1113775"/>
              <a:gd name="connsiteX367" fmla="*/ 1056897 w 1081626"/>
              <a:gd name="connsiteY367" fmla="*/ 285549 h 1113775"/>
              <a:gd name="connsiteX368" fmla="*/ 1051864 w 1081626"/>
              <a:gd name="connsiteY368" fmla="*/ 285897 h 1113775"/>
              <a:gd name="connsiteX369" fmla="*/ 1046832 w 1081626"/>
              <a:gd name="connsiteY369" fmla="*/ 286301 h 1113775"/>
              <a:gd name="connsiteX370" fmla="*/ 1044229 w 1081626"/>
              <a:gd name="connsiteY370" fmla="*/ 286301 h 1113775"/>
              <a:gd name="connsiteX371" fmla="*/ 980600 w 1081626"/>
              <a:gd name="connsiteY371" fmla="*/ 250727 h 1113775"/>
              <a:gd name="connsiteX372" fmla="*/ 923970 w 1081626"/>
              <a:gd name="connsiteY372" fmla="*/ 223078 h 1113775"/>
              <a:gd name="connsiteX373" fmla="*/ 901758 w 1081626"/>
              <a:gd name="connsiteY373" fmla="*/ 226259 h 1113775"/>
              <a:gd name="connsiteX374" fmla="*/ 892445 w 1081626"/>
              <a:gd name="connsiteY374" fmla="*/ 227474 h 1113775"/>
              <a:gd name="connsiteX375" fmla="*/ 861151 w 1081626"/>
              <a:gd name="connsiteY375" fmla="*/ 218739 h 1113775"/>
              <a:gd name="connsiteX376" fmla="*/ 847269 w 1081626"/>
              <a:gd name="connsiteY376" fmla="*/ 213533 h 1113775"/>
              <a:gd name="connsiteX377" fmla="*/ 844319 w 1081626"/>
              <a:gd name="connsiteY377" fmla="*/ 213186 h 1113775"/>
              <a:gd name="connsiteX378" fmla="*/ 823668 w 1081626"/>
              <a:gd name="connsiteY378" fmla="*/ 223598 h 1113775"/>
              <a:gd name="connsiteX379" fmla="*/ 812099 w 1081626"/>
              <a:gd name="connsiteY379" fmla="*/ 231060 h 1113775"/>
              <a:gd name="connsiteX380" fmla="*/ 807645 w 1081626"/>
              <a:gd name="connsiteY380" fmla="*/ 230597 h 1113775"/>
              <a:gd name="connsiteX381" fmla="*/ 810595 w 1081626"/>
              <a:gd name="connsiteY381" fmla="*/ 219896 h 1113775"/>
              <a:gd name="connsiteX382" fmla="*/ 816033 w 1081626"/>
              <a:gd name="connsiteY382" fmla="*/ 203931 h 1113775"/>
              <a:gd name="connsiteX383" fmla="*/ 752404 w 1081626"/>
              <a:gd name="connsiteY383" fmla="*/ 166275 h 1113775"/>
              <a:gd name="connsiteX384" fmla="*/ 729266 w 1081626"/>
              <a:gd name="connsiteY384" fmla="*/ 160490 h 1113775"/>
              <a:gd name="connsiteX385" fmla="*/ 714053 w 1081626"/>
              <a:gd name="connsiteY385" fmla="*/ 177091 h 1113775"/>
              <a:gd name="connsiteX386" fmla="*/ 710004 w 1081626"/>
              <a:gd name="connsiteY386" fmla="*/ 185305 h 1113775"/>
              <a:gd name="connsiteX387" fmla="*/ 706592 w 1081626"/>
              <a:gd name="connsiteY387" fmla="*/ 184553 h 1113775"/>
              <a:gd name="connsiteX388" fmla="*/ 702369 w 1081626"/>
              <a:gd name="connsiteY388" fmla="*/ 183628 h 1113775"/>
              <a:gd name="connsiteX389" fmla="*/ 694560 w 1081626"/>
              <a:gd name="connsiteY389" fmla="*/ 190858 h 1113775"/>
              <a:gd name="connsiteX390" fmla="*/ 682008 w 1081626"/>
              <a:gd name="connsiteY390" fmla="*/ 201617 h 1113775"/>
              <a:gd name="connsiteX391" fmla="*/ 675240 w 1081626"/>
              <a:gd name="connsiteY391" fmla="*/ 197105 h 1113775"/>
              <a:gd name="connsiteX392" fmla="*/ 679000 w 1081626"/>
              <a:gd name="connsiteY392" fmla="*/ 190048 h 1113775"/>
              <a:gd name="connsiteX393" fmla="*/ 702137 w 1081626"/>
              <a:gd name="connsiteY393" fmla="*/ 159159 h 1113775"/>
              <a:gd name="connsiteX394" fmla="*/ 701328 w 1081626"/>
              <a:gd name="connsiteY394" fmla="*/ 155631 h 1113775"/>
              <a:gd name="connsiteX395" fmla="*/ 661473 w 1081626"/>
              <a:gd name="connsiteY395" fmla="*/ 144062 h 1113775"/>
              <a:gd name="connsiteX396" fmla="*/ 648516 w 1081626"/>
              <a:gd name="connsiteY396" fmla="*/ 145971 h 1113775"/>
              <a:gd name="connsiteX397" fmla="*/ 639261 w 1081626"/>
              <a:gd name="connsiteY397" fmla="*/ 160663 h 1113775"/>
              <a:gd name="connsiteX398" fmla="*/ 634228 w 1081626"/>
              <a:gd name="connsiteY398" fmla="*/ 168473 h 1113775"/>
              <a:gd name="connsiteX399" fmla="*/ 629948 w 1081626"/>
              <a:gd name="connsiteY399" fmla="*/ 167084 h 1113775"/>
              <a:gd name="connsiteX400" fmla="*/ 624163 w 1081626"/>
              <a:gd name="connsiteY400" fmla="*/ 154012 h 1113775"/>
              <a:gd name="connsiteX401" fmla="*/ 637236 w 1081626"/>
              <a:gd name="connsiteY401" fmla="*/ 142443 h 1113775"/>
              <a:gd name="connsiteX402" fmla="*/ 638220 w 1081626"/>
              <a:gd name="connsiteY402" fmla="*/ 142443 h 1113775"/>
              <a:gd name="connsiteX403" fmla="*/ 664018 w 1081626"/>
              <a:gd name="connsiteY403" fmla="*/ 109182 h 1113775"/>
              <a:gd name="connsiteX404" fmla="*/ 654243 w 1081626"/>
              <a:gd name="connsiteY404" fmla="*/ 91250 h 1113775"/>
              <a:gd name="connsiteX405" fmla="*/ 641806 w 1081626"/>
              <a:gd name="connsiteY405" fmla="*/ 81359 h 1113775"/>
              <a:gd name="connsiteX406" fmla="*/ 632088 w 1081626"/>
              <a:gd name="connsiteY406" fmla="*/ 53536 h 1113775"/>
              <a:gd name="connsiteX407" fmla="*/ 623238 w 1081626"/>
              <a:gd name="connsiteY407" fmla="*/ 29531 h 1113775"/>
              <a:gd name="connsiteX408" fmla="*/ 591828 w 1081626"/>
              <a:gd name="connsiteY408" fmla="*/ 71988 h 1113775"/>
              <a:gd name="connsiteX409" fmla="*/ 575863 w 1081626"/>
              <a:gd name="connsiteY409" fmla="*/ 83557 h 1113775"/>
              <a:gd name="connsiteX410" fmla="*/ 573145 w 1081626"/>
              <a:gd name="connsiteY410" fmla="*/ 83557 h 1113775"/>
              <a:gd name="connsiteX411" fmla="*/ 562501 w 1081626"/>
              <a:gd name="connsiteY411" fmla="*/ 85119 h 1113775"/>
              <a:gd name="connsiteX412" fmla="*/ 534100 w 1081626"/>
              <a:gd name="connsiteY412" fmla="*/ 76442 h 1113775"/>
              <a:gd name="connsiteX413" fmla="*/ 527563 w 1081626"/>
              <a:gd name="connsiteY413" fmla="*/ 74013 h 1113775"/>
              <a:gd name="connsiteX414" fmla="*/ 517903 w 1081626"/>
              <a:gd name="connsiteY414" fmla="*/ 75054 h 1113775"/>
              <a:gd name="connsiteX415" fmla="*/ 504657 w 1081626"/>
              <a:gd name="connsiteY415" fmla="*/ 76095 h 1113775"/>
              <a:gd name="connsiteX416" fmla="*/ 498872 w 1081626"/>
              <a:gd name="connsiteY416" fmla="*/ 83268 h 1113775"/>
              <a:gd name="connsiteX417" fmla="*/ 494014 w 1081626"/>
              <a:gd name="connsiteY417" fmla="*/ 93217 h 1113775"/>
              <a:gd name="connsiteX418" fmla="*/ 478454 w 1081626"/>
              <a:gd name="connsiteY418" fmla="*/ 92234 h 1113775"/>
              <a:gd name="connsiteX419" fmla="*/ 466885 w 1081626"/>
              <a:gd name="connsiteY419" fmla="*/ 90151 h 1113775"/>
              <a:gd name="connsiteX420" fmla="*/ 461100 w 1081626"/>
              <a:gd name="connsiteY420" fmla="*/ 92176 h 1113775"/>
              <a:gd name="connsiteX421" fmla="*/ 451788 w 1081626"/>
              <a:gd name="connsiteY421" fmla="*/ 96109 h 1113775"/>
              <a:gd name="connsiteX422" fmla="*/ 447333 w 1081626"/>
              <a:gd name="connsiteY422" fmla="*/ 98481 h 1113775"/>
              <a:gd name="connsiteX423" fmla="*/ 435765 w 1081626"/>
              <a:gd name="connsiteY423" fmla="*/ 103398 h 1113775"/>
              <a:gd name="connsiteX424" fmla="*/ 428881 w 1081626"/>
              <a:gd name="connsiteY424" fmla="*/ 105191 h 1113775"/>
              <a:gd name="connsiteX425" fmla="*/ 420378 w 1081626"/>
              <a:gd name="connsiteY425" fmla="*/ 108662 h 1113775"/>
              <a:gd name="connsiteX426" fmla="*/ 397645 w 1081626"/>
              <a:gd name="connsiteY426" fmla="*/ 95415 h 1113775"/>
              <a:gd name="connsiteX427" fmla="*/ 386655 w 1081626"/>
              <a:gd name="connsiteY427" fmla="*/ 59263 h 1113775"/>
              <a:gd name="connsiteX428" fmla="*/ 392092 w 1081626"/>
              <a:gd name="connsiteY428" fmla="*/ 45380 h 1113775"/>
              <a:gd name="connsiteX429" fmla="*/ 396199 w 1081626"/>
              <a:gd name="connsiteY429" fmla="*/ 33811 h 1113775"/>
              <a:gd name="connsiteX430" fmla="*/ 389836 w 1081626"/>
              <a:gd name="connsiteY430" fmla="*/ 24151 h 1113775"/>
              <a:gd name="connsiteX431" fmla="*/ 384399 w 1081626"/>
              <a:gd name="connsiteY431" fmla="*/ 11772 h 1113775"/>
              <a:gd name="connsiteX432" fmla="*/ 378614 w 1081626"/>
              <a:gd name="connsiteY432" fmla="*/ 1303 h 1113775"/>
              <a:gd name="connsiteX433" fmla="*/ 368665 w 1081626"/>
              <a:gd name="connsiteY433" fmla="*/ 8880 h 1113775"/>
              <a:gd name="connsiteX434" fmla="*/ 361897 w 1081626"/>
              <a:gd name="connsiteY434" fmla="*/ 16863 h 1113775"/>
              <a:gd name="connsiteX435" fmla="*/ 352122 w 1081626"/>
              <a:gd name="connsiteY435" fmla="*/ 21490 h 1113775"/>
              <a:gd name="connsiteX436" fmla="*/ 327711 w 1081626"/>
              <a:gd name="connsiteY436" fmla="*/ 29993 h 1113775"/>
              <a:gd name="connsiteX437" fmla="*/ 310358 w 1081626"/>
              <a:gd name="connsiteY437" fmla="*/ 39538 h 1113775"/>
              <a:gd name="connsiteX438" fmla="*/ 305210 w 1081626"/>
              <a:gd name="connsiteY438" fmla="*/ 46479 h 1113775"/>
              <a:gd name="connsiteX439" fmla="*/ 297459 w 1081626"/>
              <a:gd name="connsiteY439" fmla="*/ 38959 h 1113775"/>
              <a:gd name="connsiteX440" fmla="*/ 285890 w 1081626"/>
              <a:gd name="connsiteY440" fmla="*/ 34679 h 1113775"/>
              <a:gd name="connsiteX441" fmla="*/ 273916 w 1081626"/>
              <a:gd name="connsiteY441" fmla="*/ 31382 h 1113775"/>
              <a:gd name="connsiteX442" fmla="*/ 264314 w 1081626"/>
              <a:gd name="connsiteY442" fmla="*/ 29010 h 1113775"/>
              <a:gd name="connsiteX443" fmla="*/ 255406 w 1081626"/>
              <a:gd name="connsiteY443" fmla="*/ 31092 h 1113775"/>
              <a:gd name="connsiteX444" fmla="*/ 257257 w 1081626"/>
              <a:gd name="connsiteY444" fmla="*/ 32828 h 1113775"/>
              <a:gd name="connsiteX445" fmla="*/ 268479 w 1081626"/>
              <a:gd name="connsiteY445" fmla="*/ 54346 h 1113775"/>
              <a:gd name="connsiteX446" fmla="*/ 271602 w 1081626"/>
              <a:gd name="connsiteY446" fmla="*/ 61287 h 1113775"/>
              <a:gd name="connsiteX447" fmla="*/ 275883 w 1081626"/>
              <a:gd name="connsiteY447" fmla="*/ 71526 h 1113775"/>
              <a:gd name="connsiteX448" fmla="*/ 278255 w 1081626"/>
              <a:gd name="connsiteY448" fmla="*/ 76153 h 1113775"/>
              <a:gd name="connsiteX449" fmla="*/ 282766 w 1081626"/>
              <a:gd name="connsiteY449" fmla="*/ 75054 h 1113775"/>
              <a:gd name="connsiteX450" fmla="*/ 288551 w 1081626"/>
              <a:gd name="connsiteY450" fmla="*/ 73666 h 1113775"/>
              <a:gd name="connsiteX451" fmla="*/ 293641 w 1081626"/>
              <a:gd name="connsiteY451" fmla="*/ 78467 h 1113775"/>
              <a:gd name="connsiteX452" fmla="*/ 285485 w 1081626"/>
              <a:gd name="connsiteY452" fmla="*/ 87433 h 1113775"/>
              <a:gd name="connsiteX453" fmla="*/ 271197 w 1081626"/>
              <a:gd name="connsiteY453" fmla="*/ 102530 h 1113775"/>
              <a:gd name="connsiteX454" fmla="*/ 262232 w 1081626"/>
              <a:gd name="connsiteY454" fmla="*/ 108314 h 1113775"/>
              <a:gd name="connsiteX455" fmla="*/ 252803 w 1081626"/>
              <a:gd name="connsiteY455" fmla="*/ 111843 h 1113775"/>
              <a:gd name="connsiteX456" fmla="*/ 251126 w 1081626"/>
              <a:gd name="connsiteY456" fmla="*/ 113347 h 1113775"/>
              <a:gd name="connsiteX457" fmla="*/ 236086 w 1081626"/>
              <a:gd name="connsiteY457" fmla="*/ 122833 h 1113775"/>
              <a:gd name="connsiteX458" fmla="*/ 232558 w 1081626"/>
              <a:gd name="connsiteY458" fmla="*/ 121792 h 1113775"/>
              <a:gd name="connsiteX459" fmla="*/ 219369 w 1081626"/>
              <a:gd name="connsiteY459" fmla="*/ 124106 h 1113775"/>
              <a:gd name="connsiteX460" fmla="*/ 219022 w 1081626"/>
              <a:gd name="connsiteY460" fmla="*/ 124106 h 1113775"/>
              <a:gd name="connsiteX461" fmla="*/ 214336 w 1081626"/>
              <a:gd name="connsiteY461" fmla="*/ 125552 h 1113775"/>
              <a:gd name="connsiteX462" fmla="*/ 204329 w 1081626"/>
              <a:gd name="connsiteY462" fmla="*/ 119768 h 1113775"/>
              <a:gd name="connsiteX463" fmla="*/ 201321 w 1081626"/>
              <a:gd name="connsiteY463" fmla="*/ 117280 h 1113775"/>
              <a:gd name="connsiteX464" fmla="*/ 193050 w 1081626"/>
              <a:gd name="connsiteY464" fmla="*/ 106463 h 1113775"/>
              <a:gd name="connsiteX465" fmla="*/ 180903 w 1081626"/>
              <a:gd name="connsiteY465" fmla="*/ 90209 h 1113775"/>
              <a:gd name="connsiteX466" fmla="*/ 154410 w 1081626"/>
              <a:gd name="connsiteY466" fmla="*/ 97787 h 1113775"/>
              <a:gd name="connsiteX467" fmla="*/ 147006 w 1081626"/>
              <a:gd name="connsiteY467" fmla="*/ 97787 h 1113775"/>
              <a:gd name="connsiteX468" fmla="*/ 133297 w 1081626"/>
              <a:gd name="connsiteY468" fmla="*/ 97787 h 1113775"/>
              <a:gd name="connsiteX469" fmla="*/ 114208 w 1081626"/>
              <a:gd name="connsiteY469" fmla="*/ 100506 h 1113775"/>
              <a:gd name="connsiteX470" fmla="*/ 115944 w 1081626"/>
              <a:gd name="connsiteY470" fmla="*/ 110050 h 1113775"/>
              <a:gd name="connsiteX471" fmla="*/ 120513 w 1081626"/>
              <a:gd name="connsiteY471" fmla="*/ 114041 h 1113775"/>
              <a:gd name="connsiteX472" fmla="*/ 130867 w 1081626"/>
              <a:gd name="connsiteY472" fmla="*/ 120230 h 1113775"/>
              <a:gd name="connsiteX473" fmla="*/ 126413 w 1081626"/>
              <a:gd name="connsiteY473" fmla="*/ 127288 h 1113775"/>
              <a:gd name="connsiteX474" fmla="*/ 115597 w 1081626"/>
              <a:gd name="connsiteY474" fmla="*/ 130758 h 1113775"/>
              <a:gd name="connsiteX475" fmla="*/ 108308 w 1081626"/>
              <a:gd name="connsiteY475" fmla="*/ 141054 h 1113775"/>
              <a:gd name="connsiteX476" fmla="*/ 117563 w 1081626"/>
              <a:gd name="connsiteY476" fmla="*/ 161705 h 1113775"/>
              <a:gd name="connsiteX477" fmla="*/ 125719 w 1081626"/>
              <a:gd name="connsiteY477" fmla="*/ 185710 h 1113775"/>
              <a:gd name="connsiteX478" fmla="*/ 119935 w 1081626"/>
              <a:gd name="connsiteY478" fmla="*/ 222673 h 1113775"/>
              <a:gd name="connsiteX479" fmla="*/ 108366 w 1081626"/>
              <a:gd name="connsiteY479" fmla="*/ 260908 h 1113775"/>
              <a:gd name="connsiteX480" fmla="*/ 99921 w 1081626"/>
              <a:gd name="connsiteY480" fmla="*/ 259982 h 1113775"/>
              <a:gd name="connsiteX481" fmla="*/ 93789 w 1081626"/>
              <a:gd name="connsiteY481" fmla="*/ 258883 h 1113775"/>
              <a:gd name="connsiteX482" fmla="*/ 85402 w 1081626"/>
              <a:gd name="connsiteY482" fmla="*/ 262296 h 1113775"/>
              <a:gd name="connsiteX483" fmla="*/ 69321 w 1081626"/>
              <a:gd name="connsiteY483" fmla="*/ 268080 h 1113775"/>
              <a:gd name="connsiteX484" fmla="*/ 52315 w 1081626"/>
              <a:gd name="connsiteY484" fmla="*/ 274328 h 1113775"/>
              <a:gd name="connsiteX485" fmla="*/ 38374 w 1081626"/>
              <a:gd name="connsiteY485" fmla="*/ 281153 h 1113775"/>
              <a:gd name="connsiteX486" fmla="*/ 28483 w 1081626"/>
              <a:gd name="connsiteY486" fmla="*/ 289599 h 1113775"/>
              <a:gd name="connsiteX487" fmla="*/ 23393 w 1081626"/>
              <a:gd name="connsiteY487" fmla="*/ 302267 h 1113775"/>
              <a:gd name="connsiteX488" fmla="*/ 19575 w 1081626"/>
              <a:gd name="connsiteY488" fmla="*/ 315166 h 1113775"/>
              <a:gd name="connsiteX489" fmla="*/ 14369 w 1081626"/>
              <a:gd name="connsiteY489" fmla="*/ 325809 h 1113775"/>
              <a:gd name="connsiteX490" fmla="*/ 7196 w 1081626"/>
              <a:gd name="connsiteY490" fmla="*/ 330726 h 1113775"/>
              <a:gd name="connsiteX491" fmla="*/ 4709 w 1081626"/>
              <a:gd name="connsiteY491" fmla="*/ 340039 h 1113775"/>
              <a:gd name="connsiteX492" fmla="*/ 3205 w 1081626"/>
              <a:gd name="connsiteY492" fmla="*/ 348426 h 1113775"/>
              <a:gd name="connsiteX493" fmla="*/ 8989 w 1081626"/>
              <a:gd name="connsiteY493" fmla="*/ 368267 h 1113775"/>
              <a:gd name="connsiteX494" fmla="*/ 10435 w 1081626"/>
              <a:gd name="connsiteY494" fmla="*/ 370523 h 1113775"/>
              <a:gd name="connsiteX495" fmla="*/ 14369 w 1081626"/>
              <a:gd name="connsiteY495" fmla="*/ 376307 h 1113775"/>
              <a:gd name="connsiteX496" fmla="*/ 21947 w 1081626"/>
              <a:gd name="connsiteY496" fmla="*/ 394644 h 1113775"/>
              <a:gd name="connsiteX497" fmla="*/ 23682 w 1081626"/>
              <a:gd name="connsiteY497" fmla="*/ 401064 h 1113775"/>
              <a:gd name="connsiteX498" fmla="*/ 34383 w 1081626"/>
              <a:gd name="connsiteY498" fmla="*/ 403957 h 1113775"/>
              <a:gd name="connsiteX499" fmla="*/ 40746 w 1081626"/>
              <a:gd name="connsiteY499" fmla="*/ 410840 h 1113775"/>
              <a:gd name="connsiteX500" fmla="*/ 49076 w 1081626"/>
              <a:gd name="connsiteY500" fmla="*/ 419285 h 1113775"/>
              <a:gd name="connsiteX501" fmla="*/ 58562 w 1081626"/>
              <a:gd name="connsiteY501" fmla="*/ 419632 h 1113775"/>
              <a:gd name="connsiteX502" fmla="*/ 66313 w 1081626"/>
              <a:gd name="connsiteY502" fmla="*/ 419980 h 1113775"/>
              <a:gd name="connsiteX503" fmla="*/ 77130 w 1081626"/>
              <a:gd name="connsiteY503" fmla="*/ 415930 h 1113775"/>
              <a:gd name="connsiteX504" fmla="*/ 87021 w 1081626"/>
              <a:gd name="connsiteY504" fmla="*/ 407022 h 1113775"/>
              <a:gd name="connsiteX505" fmla="*/ 91360 w 1081626"/>
              <a:gd name="connsiteY505" fmla="*/ 413964 h 1113775"/>
              <a:gd name="connsiteX506" fmla="*/ 91360 w 1081626"/>
              <a:gd name="connsiteY506" fmla="*/ 419748 h 1113775"/>
              <a:gd name="connsiteX507" fmla="*/ 94136 w 1081626"/>
              <a:gd name="connsiteY507" fmla="*/ 447745 h 1113775"/>
              <a:gd name="connsiteX508" fmla="*/ 96450 w 1081626"/>
              <a:gd name="connsiteY508" fmla="*/ 448208 h 1113775"/>
              <a:gd name="connsiteX509" fmla="*/ 112184 w 1081626"/>
              <a:gd name="connsiteY509" fmla="*/ 446067 h 1113775"/>
              <a:gd name="connsiteX510" fmla="*/ 132776 w 1081626"/>
              <a:gd name="connsiteY510" fmla="*/ 449017 h 1113775"/>
              <a:gd name="connsiteX511" fmla="*/ 154989 w 1081626"/>
              <a:gd name="connsiteY511" fmla="*/ 443638 h 1113775"/>
              <a:gd name="connsiteX512" fmla="*/ 166557 w 1081626"/>
              <a:gd name="connsiteY512" fmla="*/ 436986 h 1113775"/>
              <a:gd name="connsiteX513" fmla="*/ 178705 w 1081626"/>
              <a:gd name="connsiteY513" fmla="*/ 431201 h 1113775"/>
              <a:gd name="connsiteX514" fmla="*/ 185588 w 1081626"/>
              <a:gd name="connsiteY514" fmla="*/ 427094 h 1113775"/>
              <a:gd name="connsiteX515" fmla="*/ 211560 w 1081626"/>
              <a:gd name="connsiteY515" fmla="*/ 416509 h 1113775"/>
              <a:gd name="connsiteX516" fmla="*/ 223129 w 1081626"/>
              <a:gd name="connsiteY516" fmla="*/ 415236 h 1113775"/>
              <a:gd name="connsiteX517" fmla="*/ 233136 w 1081626"/>
              <a:gd name="connsiteY517" fmla="*/ 414079 h 1113775"/>
              <a:gd name="connsiteX518" fmla="*/ 238400 w 1081626"/>
              <a:gd name="connsiteY518" fmla="*/ 415815 h 1113775"/>
              <a:gd name="connsiteX519" fmla="*/ 238805 w 1081626"/>
              <a:gd name="connsiteY519" fmla="*/ 419575 h 1113775"/>
              <a:gd name="connsiteX520" fmla="*/ 247481 w 1081626"/>
              <a:gd name="connsiteY520" fmla="*/ 471634 h 1113775"/>
              <a:gd name="connsiteX521" fmla="*/ 275073 w 1081626"/>
              <a:gd name="connsiteY521" fmla="*/ 490897 h 1113775"/>
              <a:gd name="connsiteX522" fmla="*/ 278775 w 1081626"/>
              <a:gd name="connsiteY522" fmla="*/ 490897 h 1113775"/>
              <a:gd name="connsiteX523" fmla="*/ 282477 w 1081626"/>
              <a:gd name="connsiteY523" fmla="*/ 490608 h 1113775"/>
              <a:gd name="connsiteX524" fmla="*/ 290980 w 1081626"/>
              <a:gd name="connsiteY524" fmla="*/ 493095 h 1113775"/>
              <a:gd name="connsiteX525" fmla="*/ 298211 w 1081626"/>
              <a:gd name="connsiteY525" fmla="*/ 494946 h 1113775"/>
              <a:gd name="connsiteX526" fmla="*/ 305384 w 1081626"/>
              <a:gd name="connsiteY526" fmla="*/ 500730 h 1113775"/>
              <a:gd name="connsiteX527" fmla="*/ 309606 w 1081626"/>
              <a:gd name="connsiteY527" fmla="*/ 504837 h 1113775"/>
              <a:gd name="connsiteX528" fmla="*/ 333322 w 1081626"/>
              <a:gd name="connsiteY528" fmla="*/ 516406 h 1113775"/>
              <a:gd name="connsiteX529" fmla="*/ 343387 w 1081626"/>
              <a:gd name="connsiteY529" fmla="*/ 520050 h 1113775"/>
              <a:gd name="connsiteX530" fmla="*/ 347899 w 1081626"/>
              <a:gd name="connsiteY530" fmla="*/ 520050 h 1113775"/>
              <a:gd name="connsiteX531" fmla="*/ 352469 w 1081626"/>
              <a:gd name="connsiteY531" fmla="*/ 520050 h 1113775"/>
              <a:gd name="connsiteX532" fmla="*/ 362823 w 1081626"/>
              <a:gd name="connsiteY532" fmla="*/ 522190 h 1113775"/>
              <a:gd name="connsiteX533" fmla="*/ 364616 w 1081626"/>
              <a:gd name="connsiteY533" fmla="*/ 523694 h 1113775"/>
              <a:gd name="connsiteX534" fmla="*/ 373698 w 1081626"/>
              <a:gd name="connsiteY534" fmla="*/ 541800 h 1113775"/>
              <a:gd name="connsiteX535" fmla="*/ 377457 w 1081626"/>
              <a:gd name="connsiteY535" fmla="*/ 552790 h 1113775"/>
              <a:gd name="connsiteX536" fmla="*/ 380176 w 1081626"/>
              <a:gd name="connsiteY536" fmla="*/ 560425 h 1113775"/>
              <a:gd name="connsiteX537" fmla="*/ 377168 w 1081626"/>
              <a:gd name="connsiteY537" fmla="*/ 563607 h 1113775"/>
              <a:gd name="connsiteX538" fmla="*/ 377168 w 1081626"/>
              <a:gd name="connsiteY538" fmla="*/ 573498 h 1113775"/>
              <a:gd name="connsiteX539" fmla="*/ 381044 w 1081626"/>
              <a:gd name="connsiteY539" fmla="*/ 585067 h 1113775"/>
              <a:gd name="connsiteX540" fmla="*/ 405396 w 1081626"/>
              <a:gd name="connsiteY540" fmla="*/ 597851 h 1113775"/>
              <a:gd name="connsiteX541" fmla="*/ 409735 w 1081626"/>
              <a:gd name="connsiteY541" fmla="*/ 597851 h 1113775"/>
              <a:gd name="connsiteX542" fmla="*/ 415982 w 1081626"/>
              <a:gd name="connsiteY542" fmla="*/ 597851 h 1113775"/>
              <a:gd name="connsiteX543" fmla="*/ 433335 w 1081626"/>
              <a:gd name="connsiteY543" fmla="*/ 612890 h 1113775"/>
              <a:gd name="connsiteX544" fmla="*/ 440739 w 1081626"/>
              <a:gd name="connsiteY544" fmla="*/ 626889 h 1113775"/>
              <a:gd name="connsiteX545" fmla="*/ 449416 w 1081626"/>
              <a:gd name="connsiteY545" fmla="*/ 639210 h 1113775"/>
              <a:gd name="connsiteX546" fmla="*/ 448085 w 1081626"/>
              <a:gd name="connsiteY546" fmla="*/ 661017 h 1113775"/>
              <a:gd name="connsiteX547" fmla="*/ 446234 w 1081626"/>
              <a:gd name="connsiteY547" fmla="*/ 674899 h 1113775"/>
              <a:gd name="connsiteX548" fmla="*/ 438426 w 1081626"/>
              <a:gd name="connsiteY548" fmla="*/ 693872 h 1113775"/>
              <a:gd name="connsiteX549" fmla="*/ 442879 w 1081626"/>
              <a:gd name="connsiteY549" fmla="*/ 704342 h 1113775"/>
              <a:gd name="connsiteX550" fmla="*/ 438483 w 1081626"/>
              <a:gd name="connsiteY550" fmla="*/ 709259 h 1113775"/>
              <a:gd name="connsiteX551" fmla="*/ 439640 w 1081626"/>
              <a:gd name="connsiteY551" fmla="*/ 718051 h 1113775"/>
              <a:gd name="connsiteX552" fmla="*/ 444036 w 1081626"/>
              <a:gd name="connsiteY552" fmla="*/ 742114 h 1113775"/>
              <a:gd name="connsiteX553" fmla="*/ 442648 w 1081626"/>
              <a:gd name="connsiteY553" fmla="*/ 759468 h 1113775"/>
              <a:gd name="connsiteX554" fmla="*/ 456935 w 1081626"/>
              <a:gd name="connsiteY554" fmla="*/ 762880 h 1113775"/>
              <a:gd name="connsiteX555" fmla="*/ 473652 w 1081626"/>
              <a:gd name="connsiteY555" fmla="*/ 765946 h 1113775"/>
              <a:gd name="connsiteX556" fmla="*/ 480016 w 1081626"/>
              <a:gd name="connsiteY556" fmla="*/ 765483 h 1113775"/>
              <a:gd name="connsiteX557" fmla="*/ 482676 w 1081626"/>
              <a:gd name="connsiteY557" fmla="*/ 764731 h 1113775"/>
              <a:gd name="connsiteX558" fmla="*/ 500550 w 1081626"/>
              <a:gd name="connsiteY558" fmla="*/ 789142 h 1113775"/>
              <a:gd name="connsiteX559" fmla="*/ 512697 w 1081626"/>
              <a:gd name="connsiteY559" fmla="*/ 818584 h 1113775"/>
              <a:gd name="connsiteX560" fmla="*/ 516515 w 1081626"/>
              <a:gd name="connsiteY560" fmla="*/ 816791 h 1113775"/>
              <a:gd name="connsiteX561" fmla="*/ 529704 w 1081626"/>
              <a:gd name="connsiteY561" fmla="*/ 812337 h 1113775"/>
              <a:gd name="connsiteX562" fmla="*/ 536067 w 1081626"/>
              <a:gd name="connsiteY562" fmla="*/ 813841 h 1113775"/>
              <a:gd name="connsiteX563" fmla="*/ 536934 w 1081626"/>
              <a:gd name="connsiteY563" fmla="*/ 846350 h 1113775"/>
              <a:gd name="connsiteX564" fmla="*/ 534158 w 1081626"/>
              <a:gd name="connsiteY564" fmla="*/ 862546 h 1113775"/>
              <a:gd name="connsiteX565" fmla="*/ 539074 w 1081626"/>
              <a:gd name="connsiteY565" fmla="*/ 862546 h 1113775"/>
              <a:gd name="connsiteX566" fmla="*/ 551453 w 1081626"/>
              <a:gd name="connsiteY566" fmla="*/ 863934 h 1113775"/>
              <a:gd name="connsiteX567" fmla="*/ 557238 w 1081626"/>
              <a:gd name="connsiteY567" fmla="*/ 907086 h 1113775"/>
              <a:gd name="connsiteX568" fmla="*/ 538843 w 1081626"/>
              <a:gd name="connsiteY568" fmla="*/ 918655 h 1113775"/>
              <a:gd name="connsiteX569" fmla="*/ 523630 w 1081626"/>
              <a:gd name="connsiteY569" fmla="*/ 926175 h 1113775"/>
              <a:gd name="connsiteX570" fmla="*/ 476718 w 1081626"/>
              <a:gd name="connsiteY570" fmla="*/ 975516 h 1113775"/>
              <a:gd name="connsiteX571" fmla="*/ 458960 w 1081626"/>
              <a:gd name="connsiteY571" fmla="*/ 997323 h 1113775"/>
              <a:gd name="connsiteX572" fmla="*/ 453986 w 1081626"/>
              <a:gd name="connsiteY572" fmla="*/ 1002761 h 1113775"/>
              <a:gd name="connsiteX573" fmla="*/ 459365 w 1081626"/>
              <a:gd name="connsiteY573" fmla="*/ 1002125 h 1113775"/>
              <a:gd name="connsiteX574" fmla="*/ 466017 w 1081626"/>
              <a:gd name="connsiteY574" fmla="*/ 1000678 h 1113775"/>
              <a:gd name="connsiteX575" fmla="*/ 484007 w 1081626"/>
              <a:gd name="connsiteY575" fmla="*/ 1010975 h 1113775"/>
              <a:gd name="connsiteX576" fmla="*/ 492510 w 1081626"/>
              <a:gd name="connsiteY576" fmla="*/ 1025551 h 1113775"/>
              <a:gd name="connsiteX577" fmla="*/ 495055 w 1081626"/>
              <a:gd name="connsiteY577" fmla="*/ 1029716 h 1113775"/>
              <a:gd name="connsiteX578" fmla="*/ 498178 w 1081626"/>
              <a:gd name="connsiteY578" fmla="*/ 1026766 h 1113775"/>
              <a:gd name="connsiteX579" fmla="*/ 505351 w 1081626"/>
              <a:gd name="connsiteY579" fmla="*/ 1021271 h 111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Lst>
            <a:rect l="l" t="t" r="r" b="b"/>
            <a:pathLst>
              <a:path w="1081626" h="1113775">
                <a:moveTo>
                  <a:pt x="562617" y="1113590"/>
                </a:moveTo>
                <a:lnTo>
                  <a:pt x="562617" y="1113590"/>
                </a:lnTo>
                <a:cubicBezTo>
                  <a:pt x="562247" y="1113527"/>
                  <a:pt x="561923" y="1113290"/>
                  <a:pt x="561750" y="1112954"/>
                </a:cubicBezTo>
                <a:cubicBezTo>
                  <a:pt x="557480" y="1102132"/>
                  <a:pt x="556260" y="1090348"/>
                  <a:pt x="558221" y="1078884"/>
                </a:cubicBezTo>
                <a:cubicBezTo>
                  <a:pt x="558510" y="1075818"/>
                  <a:pt x="558742" y="1073099"/>
                  <a:pt x="558742" y="1071017"/>
                </a:cubicBezTo>
                <a:cubicBezTo>
                  <a:pt x="558742" y="1062514"/>
                  <a:pt x="551974" y="1058233"/>
                  <a:pt x="546536" y="1054763"/>
                </a:cubicBezTo>
                <a:cubicBezTo>
                  <a:pt x="544419" y="1053542"/>
                  <a:pt x="542476" y="1052044"/>
                  <a:pt x="540752" y="1050309"/>
                </a:cubicBezTo>
                <a:cubicBezTo>
                  <a:pt x="537785" y="1047729"/>
                  <a:pt x="534545" y="1045479"/>
                  <a:pt x="531092" y="1043599"/>
                </a:cubicBezTo>
                <a:cubicBezTo>
                  <a:pt x="522913" y="1039434"/>
                  <a:pt x="515596" y="1033760"/>
                  <a:pt x="509516" y="1026882"/>
                </a:cubicBezTo>
                <a:cubicBezTo>
                  <a:pt x="507954" y="1024684"/>
                  <a:pt x="506508" y="1023527"/>
                  <a:pt x="505120" y="1023527"/>
                </a:cubicBezTo>
                <a:cubicBezTo>
                  <a:pt x="503732" y="1023527"/>
                  <a:pt x="501302" y="1025898"/>
                  <a:pt x="499624" y="1027923"/>
                </a:cubicBezTo>
                <a:cubicBezTo>
                  <a:pt x="497947" y="1029948"/>
                  <a:pt x="496848" y="1031394"/>
                  <a:pt x="495344" y="1031683"/>
                </a:cubicBezTo>
                <a:lnTo>
                  <a:pt x="494766" y="1031683"/>
                </a:lnTo>
                <a:cubicBezTo>
                  <a:pt x="492510" y="1031683"/>
                  <a:pt x="491584" y="1029485"/>
                  <a:pt x="490138" y="1025898"/>
                </a:cubicBezTo>
                <a:cubicBezTo>
                  <a:pt x="488183" y="1020843"/>
                  <a:pt x="485430" y="1016140"/>
                  <a:pt x="481982" y="1011958"/>
                </a:cubicBezTo>
                <a:cubicBezTo>
                  <a:pt x="478263" y="1006509"/>
                  <a:pt x="472299" y="1003009"/>
                  <a:pt x="465728" y="1002414"/>
                </a:cubicBezTo>
                <a:cubicBezTo>
                  <a:pt x="463732" y="1002396"/>
                  <a:pt x="461760" y="1002807"/>
                  <a:pt x="459943" y="1003629"/>
                </a:cubicBezTo>
                <a:cubicBezTo>
                  <a:pt x="457121" y="1004623"/>
                  <a:pt x="454084" y="1004843"/>
                  <a:pt x="451151" y="1004265"/>
                </a:cubicBezTo>
                <a:cubicBezTo>
                  <a:pt x="450735" y="1004195"/>
                  <a:pt x="450382" y="1003906"/>
                  <a:pt x="450226" y="1003513"/>
                </a:cubicBezTo>
                <a:cubicBezTo>
                  <a:pt x="450029" y="1003171"/>
                  <a:pt x="450029" y="1002755"/>
                  <a:pt x="450226" y="1002414"/>
                </a:cubicBezTo>
                <a:cubicBezTo>
                  <a:pt x="452192" y="1000100"/>
                  <a:pt x="454448" y="997728"/>
                  <a:pt x="456704" y="995299"/>
                </a:cubicBezTo>
                <a:cubicBezTo>
                  <a:pt x="463194" y="988745"/>
                  <a:pt x="469008" y="981555"/>
                  <a:pt x="474057" y="973839"/>
                </a:cubicBezTo>
                <a:cubicBezTo>
                  <a:pt x="486997" y="954582"/>
                  <a:pt x="503095" y="937651"/>
                  <a:pt x="521663" y="923745"/>
                </a:cubicBezTo>
                <a:cubicBezTo>
                  <a:pt x="526632" y="920801"/>
                  <a:pt x="531815" y="918233"/>
                  <a:pt x="537166" y="916052"/>
                </a:cubicBezTo>
                <a:cubicBezTo>
                  <a:pt x="544975" y="912639"/>
                  <a:pt x="553073" y="909111"/>
                  <a:pt x="554519" y="905872"/>
                </a:cubicBezTo>
                <a:cubicBezTo>
                  <a:pt x="556890" y="900087"/>
                  <a:pt x="554519" y="867579"/>
                  <a:pt x="550123" y="865381"/>
                </a:cubicBezTo>
                <a:cubicBezTo>
                  <a:pt x="546368" y="864304"/>
                  <a:pt x="542447" y="863934"/>
                  <a:pt x="538554" y="864282"/>
                </a:cubicBezTo>
                <a:lnTo>
                  <a:pt x="532770" y="864282"/>
                </a:lnTo>
                <a:cubicBezTo>
                  <a:pt x="532445" y="864293"/>
                  <a:pt x="532127" y="864166"/>
                  <a:pt x="531902" y="863934"/>
                </a:cubicBezTo>
                <a:cubicBezTo>
                  <a:pt x="531682" y="863721"/>
                  <a:pt x="531560" y="863431"/>
                  <a:pt x="531555" y="863125"/>
                </a:cubicBezTo>
                <a:cubicBezTo>
                  <a:pt x="532040" y="857121"/>
                  <a:pt x="532989" y="851162"/>
                  <a:pt x="534389" y="845308"/>
                </a:cubicBezTo>
                <a:cubicBezTo>
                  <a:pt x="536934" y="833103"/>
                  <a:pt x="540173" y="817890"/>
                  <a:pt x="534794" y="815287"/>
                </a:cubicBezTo>
                <a:cubicBezTo>
                  <a:pt x="533128" y="814437"/>
                  <a:pt x="531283" y="813998"/>
                  <a:pt x="529414" y="814015"/>
                </a:cubicBezTo>
                <a:cubicBezTo>
                  <a:pt x="525105" y="814391"/>
                  <a:pt x="520952" y="815820"/>
                  <a:pt x="517325" y="818179"/>
                </a:cubicBezTo>
                <a:cubicBezTo>
                  <a:pt x="515821" y="819232"/>
                  <a:pt x="514103" y="819944"/>
                  <a:pt x="512292" y="820262"/>
                </a:cubicBezTo>
                <a:cubicBezTo>
                  <a:pt x="507029" y="820262"/>
                  <a:pt x="498178" y="789489"/>
                  <a:pt x="498063" y="789142"/>
                </a:cubicBezTo>
                <a:cubicBezTo>
                  <a:pt x="495402" y="779308"/>
                  <a:pt x="485973" y="763632"/>
                  <a:pt x="480710" y="766814"/>
                </a:cubicBezTo>
                <a:cubicBezTo>
                  <a:pt x="478286" y="768647"/>
                  <a:pt x="475018" y="768919"/>
                  <a:pt x="472322" y="767508"/>
                </a:cubicBezTo>
                <a:cubicBezTo>
                  <a:pt x="467203" y="765559"/>
                  <a:pt x="461777" y="764564"/>
                  <a:pt x="456299" y="764558"/>
                </a:cubicBezTo>
                <a:cubicBezTo>
                  <a:pt x="447970" y="764153"/>
                  <a:pt x="442706" y="763401"/>
                  <a:pt x="440334" y="760278"/>
                </a:cubicBezTo>
                <a:cubicBezTo>
                  <a:pt x="437963" y="757154"/>
                  <a:pt x="438946" y="751254"/>
                  <a:pt x="441260" y="741247"/>
                </a:cubicBezTo>
                <a:cubicBezTo>
                  <a:pt x="442631" y="733392"/>
                  <a:pt x="441132" y="725299"/>
                  <a:pt x="437037" y="718456"/>
                </a:cubicBezTo>
                <a:cubicBezTo>
                  <a:pt x="434665" y="713424"/>
                  <a:pt x="432583" y="709085"/>
                  <a:pt x="437037" y="706887"/>
                </a:cubicBezTo>
                <a:cubicBezTo>
                  <a:pt x="439004" y="705846"/>
                  <a:pt x="440045" y="704747"/>
                  <a:pt x="440277" y="703532"/>
                </a:cubicBezTo>
                <a:cubicBezTo>
                  <a:pt x="440508" y="702318"/>
                  <a:pt x="439293" y="698731"/>
                  <a:pt x="435591" y="693988"/>
                </a:cubicBezTo>
                <a:cubicBezTo>
                  <a:pt x="435458" y="693716"/>
                  <a:pt x="435458" y="693392"/>
                  <a:pt x="435591" y="693120"/>
                </a:cubicBezTo>
                <a:cubicBezTo>
                  <a:pt x="435620" y="692796"/>
                  <a:pt x="435816" y="692507"/>
                  <a:pt x="436112" y="692368"/>
                </a:cubicBezTo>
                <a:cubicBezTo>
                  <a:pt x="441636" y="688400"/>
                  <a:pt x="444615" y="681783"/>
                  <a:pt x="443920" y="675015"/>
                </a:cubicBezTo>
                <a:cubicBezTo>
                  <a:pt x="443550" y="670000"/>
                  <a:pt x="444204" y="664962"/>
                  <a:pt x="445829" y="660207"/>
                </a:cubicBezTo>
                <a:cubicBezTo>
                  <a:pt x="448212" y="653630"/>
                  <a:pt x="448675" y="646504"/>
                  <a:pt x="447160" y="639672"/>
                </a:cubicBezTo>
                <a:cubicBezTo>
                  <a:pt x="445488" y="635189"/>
                  <a:pt x="442700" y="631209"/>
                  <a:pt x="439062" y="628103"/>
                </a:cubicBezTo>
                <a:cubicBezTo>
                  <a:pt x="434162" y="624372"/>
                  <a:pt x="431189" y="618640"/>
                  <a:pt x="430963" y="612485"/>
                </a:cubicBezTo>
                <a:cubicBezTo>
                  <a:pt x="430963" y="602073"/>
                  <a:pt x="428071" y="599702"/>
                  <a:pt x="415635" y="599702"/>
                </a:cubicBezTo>
                <a:lnTo>
                  <a:pt x="409503" y="599702"/>
                </a:lnTo>
                <a:cubicBezTo>
                  <a:pt x="407999" y="599702"/>
                  <a:pt x="406495" y="599702"/>
                  <a:pt x="405049" y="599702"/>
                </a:cubicBezTo>
                <a:cubicBezTo>
                  <a:pt x="383994" y="599702"/>
                  <a:pt x="378961" y="591661"/>
                  <a:pt x="378441" y="584836"/>
                </a:cubicBezTo>
                <a:cubicBezTo>
                  <a:pt x="377915" y="581036"/>
                  <a:pt x="376676" y="577362"/>
                  <a:pt x="374797" y="574019"/>
                </a:cubicBezTo>
                <a:cubicBezTo>
                  <a:pt x="372425" y="569160"/>
                  <a:pt x="369996" y="564070"/>
                  <a:pt x="375838" y="561120"/>
                </a:cubicBezTo>
                <a:cubicBezTo>
                  <a:pt x="376682" y="560819"/>
                  <a:pt x="377365" y="560194"/>
                  <a:pt x="377747" y="559384"/>
                </a:cubicBezTo>
                <a:cubicBezTo>
                  <a:pt x="378094" y="557996"/>
                  <a:pt x="376705" y="555856"/>
                  <a:pt x="375259" y="553600"/>
                </a:cubicBezTo>
                <a:cubicBezTo>
                  <a:pt x="372408" y="550060"/>
                  <a:pt x="370967" y="545588"/>
                  <a:pt x="371210" y="541048"/>
                </a:cubicBezTo>
                <a:cubicBezTo>
                  <a:pt x="372541" y="533007"/>
                  <a:pt x="368087" y="529479"/>
                  <a:pt x="362881" y="525025"/>
                </a:cubicBezTo>
                <a:lnTo>
                  <a:pt x="361088" y="523521"/>
                </a:lnTo>
                <a:cubicBezTo>
                  <a:pt x="358334" y="522132"/>
                  <a:pt x="355245" y="521571"/>
                  <a:pt x="352179" y="521901"/>
                </a:cubicBezTo>
                <a:lnTo>
                  <a:pt x="347668" y="521901"/>
                </a:lnTo>
                <a:lnTo>
                  <a:pt x="343098" y="521901"/>
                </a:lnTo>
                <a:cubicBezTo>
                  <a:pt x="339107" y="521901"/>
                  <a:pt x="330777" y="521901"/>
                  <a:pt x="330777" y="516117"/>
                </a:cubicBezTo>
                <a:cubicBezTo>
                  <a:pt x="330777" y="507209"/>
                  <a:pt x="312903" y="506746"/>
                  <a:pt x="309317" y="506746"/>
                </a:cubicBezTo>
                <a:cubicBezTo>
                  <a:pt x="304574" y="506746"/>
                  <a:pt x="303533" y="503391"/>
                  <a:pt x="302954" y="500962"/>
                </a:cubicBezTo>
                <a:cubicBezTo>
                  <a:pt x="302376" y="498532"/>
                  <a:pt x="301508" y="496797"/>
                  <a:pt x="298095" y="497028"/>
                </a:cubicBezTo>
                <a:cubicBezTo>
                  <a:pt x="295076" y="497358"/>
                  <a:pt x="292039" y="496600"/>
                  <a:pt x="289534" y="494888"/>
                </a:cubicBezTo>
                <a:cubicBezTo>
                  <a:pt x="287383" y="493390"/>
                  <a:pt x="284808" y="492620"/>
                  <a:pt x="282188" y="492690"/>
                </a:cubicBezTo>
                <a:cubicBezTo>
                  <a:pt x="281205" y="492690"/>
                  <a:pt x="280048" y="492690"/>
                  <a:pt x="278775" y="492690"/>
                </a:cubicBezTo>
                <a:cubicBezTo>
                  <a:pt x="265702" y="494425"/>
                  <a:pt x="258240" y="488178"/>
                  <a:pt x="245457" y="472907"/>
                </a:cubicBezTo>
                <a:cubicBezTo>
                  <a:pt x="232673" y="457636"/>
                  <a:pt x="233888" y="427383"/>
                  <a:pt x="236318" y="418591"/>
                </a:cubicBezTo>
                <a:cubicBezTo>
                  <a:pt x="236560" y="418019"/>
                  <a:pt x="236560" y="417371"/>
                  <a:pt x="236318" y="416798"/>
                </a:cubicBezTo>
                <a:cubicBezTo>
                  <a:pt x="236318" y="416509"/>
                  <a:pt x="235334" y="415988"/>
                  <a:pt x="232847" y="415988"/>
                </a:cubicBezTo>
                <a:cubicBezTo>
                  <a:pt x="229602" y="416121"/>
                  <a:pt x="226374" y="416509"/>
                  <a:pt x="223187" y="417145"/>
                </a:cubicBezTo>
                <a:cubicBezTo>
                  <a:pt x="219369" y="417851"/>
                  <a:pt x="215499" y="418279"/>
                  <a:pt x="211618" y="418418"/>
                </a:cubicBezTo>
                <a:cubicBezTo>
                  <a:pt x="203635" y="418418"/>
                  <a:pt x="195422" y="423392"/>
                  <a:pt x="186803" y="428714"/>
                </a:cubicBezTo>
                <a:cubicBezTo>
                  <a:pt x="184547" y="430102"/>
                  <a:pt x="182233" y="431490"/>
                  <a:pt x="179861" y="432821"/>
                </a:cubicBezTo>
                <a:cubicBezTo>
                  <a:pt x="175870" y="435065"/>
                  <a:pt x="171711" y="436997"/>
                  <a:pt x="167425" y="438605"/>
                </a:cubicBezTo>
                <a:cubicBezTo>
                  <a:pt x="163474" y="439728"/>
                  <a:pt x="159824" y="441700"/>
                  <a:pt x="156724" y="444390"/>
                </a:cubicBezTo>
                <a:cubicBezTo>
                  <a:pt x="150332" y="450897"/>
                  <a:pt x="140764" y="453147"/>
                  <a:pt x="132140" y="450174"/>
                </a:cubicBezTo>
                <a:cubicBezTo>
                  <a:pt x="125719" y="448179"/>
                  <a:pt x="119021" y="447224"/>
                  <a:pt x="112299" y="447340"/>
                </a:cubicBezTo>
                <a:cubicBezTo>
                  <a:pt x="107232" y="447213"/>
                  <a:pt x="102182" y="447878"/>
                  <a:pt x="97318" y="449307"/>
                </a:cubicBezTo>
                <a:cubicBezTo>
                  <a:pt x="96062" y="450215"/>
                  <a:pt x="94402" y="450324"/>
                  <a:pt x="93037" y="449596"/>
                </a:cubicBezTo>
                <a:cubicBezTo>
                  <a:pt x="88930" y="445373"/>
                  <a:pt x="89335" y="430681"/>
                  <a:pt x="89624" y="419980"/>
                </a:cubicBezTo>
                <a:cubicBezTo>
                  <a:pt x="89624" y="417666"/>
                  <a:pt x="89624" y="415641"/>
                  <a:pt x="89624" y="414195"/>
                </a:cubicBezTo>
                <a:cubicBezTo>
                  <a:pt x="89624" y="412749"/>
                  <a:pt x="89624" y="409510"/>
                  <a:pt x="87542" y="409510"/>
                </a:cubicBezTo>
                <a:cubicBezTo>
                  <a:pt x="85460" y="409510"/>
                  <a:pt x="81757" y="412633"/>
                  <a:pt x="79675" y="417087"/>
                </a:cubicBezTo>
                <a:cubicBezTo>
                  <a:pt x="77593" y="421541"/>
                  <a:pt x="71982" y="422467"/>
                  <a:pt x="66834" y="422467"/>
                </a:cubicBezTo>
                <a:cubicBezTo>
                  <a:pt x="64404" y="422467"/>
                  <a:pt x="61744" y="422467"/>
                  <a:pt x="58909" y="422120"/>
                </a:cubicBezTo>
                <a:cubicBezTo>
                  <a:pt x="56075" y="421773"/>
                  <a:pt x="52720" y="421773"/>
                  <a:pt x="49596" y="421773"/>
                </a:cubicBezTo>
                <a:cubicBezTo>
                  <a:pt x="41498" y="421773"/>
                  <a:pt x="40109" y="415988"/>
                  <a:pt x="39068" y="411592"/>
                </a:cubicBezTo>
                <a:cubicBezTo>
                  <a:pt x="38027" y="407196"/>
                  <a:pt x="37507" y="405808"/>
                  <a:pt x="35135" y="406444"/>
                </a:cubicBezTo>
                <a:cubicBezTo>
                  <a:pt x="30600" y="407277"/>
                  <a:pt x="25944" y="405952"/>
                  <a:pt x="22525" y="402857"/>
                </a:cubicBezTo>
                <a:cubicBezTo>
                  <a:pt x="20581" y="400613"/>
                  <a:pt x="19737" y="397628"/>
                  <a:pt x="20211" y="394702"/>
                </a:cubicBezTo>
                <a:cubicBezTo>
                  <a:pt x="20790" y="388917"/>
                  <a:pt x="17203" y="383769"/>
                  <a:pt x="13038" y="377811"/>
                </a:cubicBezTo>
                <a:cubicBezTo>
                  <a:pt x="11708" y="375960"/>
                  <a:pt x="10378" y="374051"/>
                  <a:pt x="9047" y="372027"/>
                </a:cubicBezTo>
                <a:lnTo>
                  <a:pt x="7601" y="369771"/>
                </a:lnTo>
                <a:cubicBezTo>
                  <a:pt x="2337" y="361557"/>
                  <a:pt x="-3100" y="353112"/>
                  <a:pt x="1817" y="347269"/>
                </a:cubicBezTo>
                <a:cubicBezTo>
                  <a:pt x="3269" y="345418"/>
                  <a:pt x="3662" y="342943"/>
                  <a:pt x="2858" y="340733"/>
                </a:cubicBezTo>
                <a:cubicBezTo>
                  <a:pt x="1585" y="336695"/>
                  <a:pt x="2783" y="332287"/>
                  <a:pt x="5924" y="329453"/>
                </a:cubicBezTo>
                <a:cubicBezTo>
                  <a:pt x="8174" y="327238"/>
                  <a:pt x="10800" y="325439"/>
                  <a:pt x="13675" y="324131"/>
                </a:cubicBezTo>
                <a:cubicBezTo>
                  <a:pt x="17377" y="322165"/>
                  <a:pt x="19054" y="321297"/>
                  <a:pt x="17724" y="315976"/>
                </a:cubicBezTo>
                <a:cubicBezTo>
                  <a:pt x="16914" y="310735"/>
                  <a:pt x="18407" y="305396"/>
                  <a:pt x="21831" y="301341"/>
                </a:cubicBezTo>
                <a:cubicBezTo>
                  <a:pt x="24353" y="297940"/>
                  <a:pt x="25984" y="293966"/>
                  <a:pt x="26574" y="289772"/>
                </a:cubicBezTo>
                <a:cubicBezTo>
                  <a:pt x="27152" y="282946"/>
                  <a:pt x="32359" y="281269"/>
                  <a:pt x="38143" y="279360"/>
                </a:cubicBezTo>
                <a:cubicBezTo>
                  <a:pt x="42933" y="278018"/>
                  <a:pt x="47439" y="275826"/>
                  <a:pt x="51447" y="272882"/>
                </a:cubicBezTo>
                <a:cubicBezTo>
                  <a:pt x="56722" y="269023"/>
                  <a:pt x="62975" y="266715"/>
                  <a:pt x="69494" y="266229"/>
                </a:cubicBezTo>
                <a:cubicBezTo>
                  <a:pt x="74903" y="265836"/>
                  <a:pt x="80097" y="263933"/>
                  <a:pt x="84476" y="260734"/>
                </a:cubicBezTo>
                <a:cubicBezTo>
                  <a:pt x="87183" y="258305"/>
                  <a:pt x="90671" y="256928"/>
                  <a:pt x="94310" y="256859"/>
                </a:cubicBezTo>
                <a:cubicBezTo>
                  <a:pt x="96612" y="256957"/>
                  <a:pt x="98885" y="257368"/>
                  <a:pt x="101078" y="258073"/>
                </a:cubicBezTo>
                <a:cubicBezTo>
                  <a:pt x="103426" y="258918"/>
                  <a:pt x="105948" y="259195"/>
                  <a:pt x="108424" y="258883"/>
                </a:cubicBezTo>
                <a:cubicBezTo>
                  <a:pt x="114208" y="257611"/>
                  <a:pt x="118026" y="232969"/>
                  <a:pt x="118026" y="222904"/>
                </a:cubicBezTo>
                <a:cubicBezTo>
                  <a:pt x="118772" y="210219"/>
                  <a:pt x="120704" y="197626"/>
                  <a:pt x="123810" y="185305"/>
                </a:cubicBezTo>
                <a:cubicBezTo>
                  <a:pt x="126066" y="177381"/>
                  <a:pt x="121149" y="170497"/>
                  <a:pt x="116001" y="163267"/>
                </a:cubicBezTo>
                <a:cubicBezTo>
                  <a:pt x="110506" y="157164"/>
                  <a:pt x="107099" y="149459"/>
                  <a:pt x="106283" y="141286"/>
                </a:cubicBezTo>
                <a:cubicBezTo>
                  <a:pt x="106283" y="130353"/>
                  <a:pt x="109812" y="129254"/>
                  <a:pt x="115654" y="128734"/>
                </a:cubicBezTo>
                <a:cubicBezTo>
                  <a:pt x="119102" y="128652"/>
                  <a:pt x="122451" y="127594"/>
                  <a:pt x="125314" y="125668"/>
                </a:cubicBezTo>
                <a:cubicBezTo>
                  <a:pt x="127860" y="123817"/>
                  <a:pt x="129132" y="122139"/>
                  <a:pt x="128901" y="120924"/>
                </a:cubicBezTo>
                <a:cubicBezTo>
                  <a:pt x="128669" y="119710"/>
                  <a:pt x="127281" y="118090"/>
                  <a:pt x="120224" y="116470"/>
                </a:cubicBezTo>
                <a:cubicBezTo>
                  <a:pt x="117691" y="115649"/>
                  <a:pt x="115602" y="113833"/>
                  <a:pt x="114440" y="111438"/>
                </a:cubicBezTo>
                <a:cubicBezTo>
                  <a:pt x="112259" y="108002"/>
                  <a:pt x="111547" y="103831"/>
                  <a:pt x="112473" y="99869"/>
                </a:cubicBezTo>
                <a:cubicBezTo>
                  <a:pt x="113167" y="97787"/>
                  <a:pt x="116233" y="95589"/>
                  <a:pt x="133702" y="95589"/>
                </a:cubicBezTo>
                <a:cubicBezTo>
                  <a:pt x="138503" y="95589"/>
                  <a:pt x="143477" y="95589"/>
                  <a:pt x="147468" y="95878"/>
                </a:cubicBezTo>
                <a:lnTo>
                  <a:pt x="154815" y="95878"/>
                </a:lnTo>
                <a:cubicBezTo>
                  <a:pt x="163937" y="94802"/>
                  <a:pt x="172816" y="92199"/>
                  <a:pt x="181076" y="88185"/>
                </a:cubicBezTo>
                <a:cubicBezTo>
                  <a:pt x="181464" y="87930"/>
                  <a:pt x="181961" y="87930"/>
                  <a:pt x="182349" y="88185"/>
                </a:cubicBezTo>
                <a:cubicBezTo>
                  <a:pt x="187387" y="93425"/>
                  <a:pt x="191777" y="99250"/>
                  <a:pt x="195422" y="105538"/>
                </a:cubicBezTo>
                <a:cubicBezTo>
                  <a:pt x="197434" y="109344"/>
                  <a:pt x="200055" y="112803"/>
                  <a:pt x="203173" y="115776"/>
                </a:cubicBezTo>
                <a:lnTo>
                  <a:pt x="206181" y="118263"/>
                </a:lnTo>
                <a:cubicBezTo>
                  <a:pt x="210056" y="121445"/>
                  <a:pt x="212370" y="123354"/>
                  <a:pt x="214741" y="123354"/>
                </a:cubicBezTo>
                <a:cubicBezTo>
                  <a:pt x="216003" y="123302"/>
                  <a:pt x="217223" y="122903"/>
                  <a:pt x="218270" y="122197"/>
                </a:cubicBezTo>
                <a:lnTo>
                  <a:pt x="218617" y="122197"/>
                </a:lnTo>
                <a:cubicBezTo>
                  <a:pt x="221648" y="120045"/>
                  <a:pt x="225165" y="118692"/>
                  <a:pt x="228855" y="118263"/>
                </a:cubicBezTo>
                <a:cubicBezTo>
                  <a:pt x="230776" y="118263"/>
                  <a:pt x="232656" y="118848"/>
                  <a:pt x="234235" y="119941"/>
                </a:cubicBezTo>
                <a:cubicBezTo>
                  <a:pt x="237995" y="122428"/>
                  <a:pt x="243779" y="117338"/>
                  <a:pt x="250027" y="111727"/>
                </a:cubicBezTo>
                <a:lnTo>
                  <a:pt x="251704" y="110223"/>
                </a:lnTo>
                <a:cubicBezTo>
                  <a:pt x="254712" y="107701"/>
                  <a:pt x="258483" y="106278"/>
                  <a:pt x="262405" y="106174"/>
                </a:cubicBezTo>
                <a:cubicBezTo>
                  <a:pt x="265934" y="105769"/>
                  <a:pt x="268190" y="105480"/>
                  <a:pt x="269404" y="101720"/>
                </a:cubicBezTo>
                <a:cubicBezTo>
                  <a:pt x="271024" y="93553"/>
                  <a:pt x="277641" y="87305"/>
                  <a:pt x="285890" y="86160"/>
                </a:cubicBezTo>
                <a:cubicBezTo>
                  <a:pt x="290344" y="85350"/>
                  <a:pt x="292426" y="82285"/>
                  <a:pt x="292195" y="79681"/>
                </a:cubicBezTo>
                <a:cubicBezTo>
                  <a:pt x="292195" y="78148"/>
                  <a:pt x="290952" y="76905"/>
                  <a:pt x="289419" y="76905"/>
                </a:cubicBezTo>
                <a:cubicBezTo>
                  <a:pt x="289401" y="76905"/>
                  <a:pt x="289378" y="76905"/>
                  <a:pt x="289361" y="76905"/>
                </a:cubicBezTo>
                <a:cubicBezTo>
                  <a:pt x="287568" y="77055"/>
                  <a:pt x="285815" y="77489"/>
                  <a:pt x="284155" y="78177"/>
                </a:cubicBezTo>
                <a:cubicBezTo>
                  <a:pt x="282494" y="78854"/>
                  <a:pt x="280736" y="79265"/>
                  <a:pt x="278949" y="79392"/>
                </a:cubicBezTo>
                <a:cubicBezTo>
                  <a:pt x="275883" y="79392"/>
                  <a:pt x="274263" y="77078"/>
                  <a:pt x="274263" y="72509"/>
                </a:cubicBezTo>
                <a:cubicBezTo>
                  <a:pt x="274564" y="69218"/>
                  <a:pt x="273222" y="65996"/>
                  <a:pt x="270677" y="63890"/>
                </a:cubicBezTo>
                <a:cubicBezTo>
                  <a:pt x="268184" y="61762"/>
                  <a:pt x="266801" y="58609"/>
                  <a:pt x="266917" y="55329"/>
                </a:cubicBezTo>
                <a:cubicBezTo>
                  <a:pt x="266917" y="46016"/>
                  <a:pt x="265934" y="41099"/>
                  <a:pt x="256794" y="35778"/>
                </a:cubicBezTo>
                <a:cubicBezTo>
                  <a:pt x="254480" y="34389"/>
                  <a:pt x="253497" y="32943"/>
                  <a:pt x="253902" y="31497"/>
                </a:cubicBezTo>
                <a:cubicBezTo>
                  <a:pt x="254654" y="28721"/>
                  <a:pt x="260381" y="27737"/>
                  <a:pt x="265008" y="27737"/>
                </a:cubicBezTo>
                <a:cubicBezTo>
                  <a:pt x="268976" y="27512"/>
                  <a:pt x="272910" y="28565"/>
                  <a:pt x="276230" y="30745"/>
                </a:cubicBezTo>
                <a:cubicBezTo>
                  <a:pt x="279423" y="32596"/>
                  <a:pt x="283067" y="33516"/>
                  <a:pt x="286758" y="33406"/>
                </a:cubicBezTo>
                <a:cubicBezTo>
                  <a:pt x="292889" y="33985"/>
                  <a:pt x="299194" y="34563"/>
                  <a:pt x="300293" y="39190"/>
                </a:cubicBezTo>
                <a:cubicBezTo>
                  <a:pt x="300745" y="42181"/>
                  <a:pt x="303087" y="44524"/>
                  <a:pt x="306078" y="44975"/>
                </a:cubicBezTo>
                <a:cubicBezTo>
                  <a:pt x="307929" y="44975"/>
                  <a:pt x="308970" y="43298"/>
                  <a:pt x="308970" y="40290"/>
                </a:cubicBezTo>
                <a:cubicBezTo>
                  <a:pt x="308970" y="30283"/>
                  <a:pt x="320539" y="26812"/>
                  <a:pt x="329158" y="28721"/>
                </a:cubicBezTo>
                <a:cubicBezTo>
                  <a:pt x="334479" y="29820"/>
                  <a:pt x="344313" y="24556"/>
                  <a:pt x="352295" y="20449"/>
                </a:cubicBezTo>
                <a:cubicBezTo>
                  <a:pt x="355552" y="18615"/>
                  <a:pt x="358936" y="17013"/>
                  <a:pt x="362418" y="15648"/>
                </a:cubicBezTo>
                <a:cubicBezTo>
                  <a:pt x="365021" y="14780"/>
                  <a:pt x="366409" y="11888"/>
                  <a:pt x="367855" y="8822"/>
                </a:cubicBezTo>
                <a:cubicBezTo>
                  <a:pt x="370054" y="4253"/>
                  <a:pt x="372599" y="-1127"/>
                  <a:pt x="380118" y="30"/>
                </a:cubicBezTo>
                <a:cubicBezTo>
                  <a:pt x="387638" y="1187"/>
                  <a:pt x="387522" y="7145"/>
                  <a:pt x="387812" y="12582"/>
                </a:cubicBezTo>
                <a:cubicBezTo>
                  <a:pt x="387812" y="17152"/>
                  <a:pt x="388332" y="21432"/>
                  <a:pt x="391918" y="23052"/>
                </a:cubicBezTo>
                <a:cubicBezTo>
                  <a:pt x="396384" y="25238"/>
                  <a:pt x="399323" y="29658"/>
                  <a:pt x="399612" y="34621"/>
                </a:cubicBezTo>
                <a:cubicBezTo>
                  <a:pt x="400364" y="39665"/>
                  <a:pt x="398461" y="44738"/>
                  <a:pt x="394579" y="48041"/>
                </a:cubicBezTo>
                <a:cubicBezTo>
                  <a:pt x="391664" y="51482"/>
                  <a:pt x="390062" y="55850"/>
                  <a:pt x="390067" y="60362"/>
                </a:cubicBezTo>
                <a:cubicBezTo>
                  <a:pt x="388754" y="72769"/>
                  <a:pt x="392508" y="85177"/>
                  <a:pt x="400480" y="94779"/>
                </a:cubicBezTo>
                <a:cubicBezTo>
                  <a:pt x="410255" y="105653"/>
                  <a:pt x="417833" y="107273"/>
                  <a:pt x="421535" y="107273"/>
                </a:cubicBezTo>
                <a:cubicBezTo>
                  <a:pt x="424063" y="107435"/>
                  <a:pt x="426533" y="106487"/>
                  <a:pt x="428303" y="104670"/>
                </a:cubicBezTo>
                <a:cubicBezTo>
                  <a:pt x="430038" y="102472"/>
                  <a:pt x="433277" y="102241"/>
                  <a:pt x="436748" y="102009"/>
                </a:cubicBezTo>
                <a:cubicBezTo>
                  <a:pt x="440219" y="101778"/>
                  <a:pt x="444672" y="101431"/>
                  <a:pt x="446234" y="98365"/>
                </a:cubicBezTo>
                <a:cubicBezTo>
                  <a:pt x="447015" y="96063"/>
                  <a:pt x="449242" y="94565"/>
                  <a:pt x="451672" y="94721"/>
                </a:cubicBezTo>
                <a:lnTo>
                  <a:pt x="452771" y="94721"/>
                </a:lnTo>
                <a:cubicBezTo>
                  <a:pt x="455686" y="95114"/>
                  <a:pt x="458590" y="93900"/>
                  <a:pt x="460348" y="91539"/>
                </a:cubicBezTo>
                <a:cubicBezTo>
                  <a:pt x="462257" y="89561"/>
                  <a:pt x="464953" y="88543"/>
                  <a:pt x="467695" y="88763"/>
                </a:cubicBezTo>
                <a:cubicBezTo>
                  <a:pt x="471622" y="89029"/>
                  <a:pt x="475504" y="89752"/>
                  <a:pt x="479264" y="90903"/>
                </a:cubicBezTo>
                <a:cubicBezTo>
                  <a:pt x="483671" y="92673"/>
                  <a:pt x="488501" y="93096"/>
                  <a:pt x="493146" y="92118"/>
                </a:cubicBezTo>
                <a:cubicBezTo>
                  <a:pt x="495923" y="90556"/>
                  <a:pt x="496385" y="87317"/>
                  <a:pt x="496848" y="83846"/>
                </a:cubicBezTo>
                <a:cubicBezTo>
                  <a:pt x="497484" y="79334"/>
                  <a:pt x="498178" y="74244"/>
                  <a:pt x="505236" y="74707"/>
                </a:cubicBezTo>
                <a:cubicBezTo>
                  <a:pt x="509504" y="74857"/>
                  <a:pt x="513773" y="74510"/>
                  <a:pt x="517961" y="73666"/>
                </a:cubicBezTo>
                <a:cubicBezTo>
                  <a:pt x="521270" y="73093"/>
                  <a:pt x="524613" y="72740"/>
                  <a:pt x="527968" y="72625"/>
                </a:cubicBezTo>
                <a:cubicBezTo>
                  <a:pt x="531213" y="72231"/>
                  <a:pt x="534430" y="73544"/>
                  <a:pt x="536471" y="76095"/>
                </a:cubicBezTo>
                <a:cubicBezTo>
                  <a:pt x="542256" y="85061"/>
                  <a:pt x="550470" y="87664"/>
                  <a:pt x="562212" y="83846"/>
                </a:cubicBezTo>
                <a:cubicBezTo>
                  <a:pt x="565949" y="82649"/>
                  <a:pt x="569859" y="82082"/>
                  <a:pt x="573781" y="82169"/>
                </a:cubicBezTo>
                <a:lnTo>
                  <a:pt x="576673" y="82169"/>
                </a:lnTo>
                <a:cubicBezTo>
                  <a:pt x="582458" y="82169"/>
                  <a:pt x="586796" y="82921"/>
                  <a:pt x="590440" y="72162"/>
                </a:cubicBezTo>
                <a:cubicBezTo>
                  <a:pt x="595820" y="55908"/>
                  <a:pt x="616702" y="34389"/>
                  <a:pt x="623006" y="28200"/>
                </a:cubicBezTo>
                <a:cubicBezTo>
                  <a:pt x="623388" y="27928"/>
                  <a:pt x="623897" y="27928"/>
                  <a:pt x="624279" y="28200"/>
                </a:cubicBezTo>
                <a:cubicBezTo>
                  <a:pt x="630526" y="31324"/>
                  <a:pt x="632724" y="42430"/>
                  <a:pt x="635096" y="54172"/>
                </a:cubicBezTo>
                <a:cubicBezTo>
                  <a:pt x="637120" y="64642"/>
                  <a:pt x="639261" y="75401"/>
                  <a:pt x="644235" y="80954"/>
                </a:cubicBezTo>
                <a:cubicBezTo>
                  <a:pt x="647833" y="84627"/>
                  <a:pt x="651871" y="87832"/>
                  <a:pt x="656267" y="90498"/>
                </a:cubicBezTo>
                <a:cubicBezTo>
                  <a:pt x="664192" y="95762"/>
                  <a:pt x="671654" y="100679"/>
                  <a:pt x="666853" y="111265"/>
                </a:cubicBezTo>
                <a:cubicBezTo>
                  <a:pt x="656325" y="134402"/>
                  <a:pt x="646954" y="145971"/>
                  <a:pt x="638972" y="145971"/>
                </a:cubicBezTo>
                <a:lnTo>
                  <a:pt x="637988" y="145971"/>
                </a:lnTo>
                <a:cubicBezTo>
                  <a:pt x="632684" y="146631"/>
                  <a:pt x="628334" y="150494"/>
                  <a:pt x="627056" y="155689"/>
                </a:cubicBezTo>
                <a:cubicBezTo>
                  <a:pt x="625737" y="159669"/>
                  <a:pt x="627379" y="164030"/>
                  <a:pt x="630989" y="166159"/>
                </a:cubicBezTo>
                <a:cubicBezTo>
                  <a:pt x="631949" y="166772"/>
                  <a:pt x="633037" y="167154"/>
                  <a:pt x="634170" y="167258"/>
                </a:cubicBezTo>
                <a:cubicBezTo>
                  <a:pt x="635732" y="167258"/>
                  <a:pt x="636195" y="165465"/>
                  <a:pt x="636947" y="161473"/>
                </a:cubicBezTo>
                <a:cubicBezTo>
                  <a:pt x="637190" y="154451"/>
                  <a:pt x="641285" y="148140"/>
                  <a:pt x="647590" y="145045"/>
                </a:cubicBezTo>
                <a:cubicBezTo>
                  <a:pt x="652044" y="143565"/>
                  <a:pt x="656724" y="142882"/>
                  <a:pt x="661415" y="143021"/>
                </a:cubicBezTo>
                <a:cubicBezTo>
                  <a:pt x="676802" y="143021"/>
                  <a:pt x="697741" y="148169"/>
                  <a:pt x="703121" y="155458"/>
                </a:cubicBezTo>
                <a:cubicBezTo>
                  <a:pt x="704440" y="157077"/>
                  <a:pt x="704850" y="159252"/>
                  <a:pt x="704220" y="161242"/>
                </a:cubicBezTo>
                <a:cubicBezTo>
                  <a:pt x="699893" y="174286"/>
                  <a:pt x="691425" y="185560"/>
                  <a:pt x="680099" y="193346"/>
                </a:cubicBezTo>
                <a:cubicBezTo>
                  <a:pt x="677901" y="194618"/>
                  <a:pt x="676917" y="196296"/>
                  <a:pt x="677380" y="197857"/>
                </a:cubicBezTo>
                <a:cubicBezTo>
                  <a:pt x="678074" y="199743"/>
                  <a:pt x="679948" y="200929"/>
                  <a:pt x="681950" y="200750"/>
                </a:cubicBezTo>
                <a:cubicBezTo>
                  <a:pt x="683801" y="200750"/>
                  <a:pt x="688602" y="199824"/>
                  <a:pt x="692420" y="191321"/>
                </a:cubicBezTo>
                <a:cubicBezTo>
                  <a:pt x="695023" y="185536"/>
                  <a:pt x="698204" y="182760"/>
                  <a:pt x="702311" y="182760"/>
                </a:cubicBezTo>
                <a:cubicBezTo>
                  <a:pt x="704017" y="182824"/>
                  <a:pt x="705695" y="183177"/>
                  <a:pt x="707286" y="183801"/>
                </a:cubicBezTo>
                <a:cubicBezTo>
                  <a:pt x="708142" y="184119"/>
                  <a:pt x="709038" y="184334"/>
                  <a:pt x="709947" y="184437"/>
                </a:cubicBezTo>
                <a:cubicBezTo>
                  <a:pt x="710409" y="184437"/>
                  <a:pt x="711740" y="184437"/>
                  <a:pt x="711740" y="178653"/>
                </a:cubicBezTo>
                <a:cubicBezTo>
                  <a:pt x="711740" y="159391"/>
                  <a:pt x="725622" y="154648"/>
                  <a:pt x="753214" y="165523"/>
                </a:cubicBezTo>
                <a:cubicBezTo>
                  <a:pt x="797407" y="182876"/>
                  <a:pt x="818636" y="195775"/>
                  <a:pt x="818173" y="205377"/>
                </a:cubicBezTo>
                <a:cubicBezTo>
                  <a:pt x="817224" y="211277"/>
                  <a:pt x="815269" y="216975"/>
                  <a:pt x="812389" y="222210"/>
                </a:cubicBezTo>
                <a:cubicBezTo>
                  <a:pt x="810862" y="224836"/>
                  <a:pt x="809826" y="227717"/>
                  <a:pt x="809323" y="230713"/>
                </a:cubicBezTo>
                <a:cubicBezTo>
                  <a:pt x="809919" y="230644"/>
                  <a:pt x="810503" y="230487"/>
                  <a:pt x="811058" y="230250"/>
                </a:cubicBezTo>
                <a:cubicBezTo>
                  <a:pt x="814986" y="228405"/>
                  <a:pt x="818648" y="226033"/>
                  <a:pt x="821933" y="223193"/>
                </a:cubicBezTo>
                <a:cubicBezTo>
                  <a:pt x="828585" y="218045"/>
                  <a:pt x="836105" y="212260"/>
                  <a:pt x="843972" y="212260"/>
                </a:cubicBezTo>
                <a:cubicBezTo>
                  <a:pt x="845140" y="212278"/>
                  <a:pt x="846303" y="212417"/>
                  <a:pt x="847442" y="212665"/>
                </a:cubicBezTo>
                <a:cubicBezTo>
                  <a:pt x="852324" y="214036"/>
                  <a:pt x="857085" y="215818"/>
                  <a:pt x="861672" y="217987"/>
                </a:cubicBezTo>
                <a:cubicBezTo>
                  <a:pt x="871141" y="222840"/>
                  <a:pt x="881484" y="225756"/>
                  <a:pt x="892098" y="226548"/>
                </a:cubicBezTo>
                <a:cubicBezTo>
                  <a:pt x="895048" y="226554"/>
                  <a:pt x="897987" y="226167"/>
                  <a:pt x="900833" y="225391"/>
                </a:cubicBezTo>
                <a:cubicBezTo>
                  <a:pt x="908248" y="223280"/>
                  <a:pt x="915913" y="222169"/>
                  <a:pt x="923623" y="222094"/>
                </a:cubicBezTo>
                <a:cubicBezTo>
                  <a:pt x="944852" y="222094"/>
                  <a:pt x="964461" y="231696"/>
                  <a:pt x="981930" y="250554"/>
                </a:cubicBezTo>
                <a:cubicBezTo>
                  <a:pt x="1003333" y="273691"/>
                  <a:pt x="1024156" y="285260"/>
                  <a:pt x="1043939" y="285260"/>
                </a:cubicBezTo>
                <a:lnTo>
                  <a:pt x="1046485" y="285260"/>
                </a:lnTo>
                <a:cubicBezTo>
                  <a:pt x="1048220" y="285260"/>
                  <a:pt x="1049839" y="285260"/>
                  <a:pt x="1051343" y="284855"/>
                </a:cubicBezTo>
                <a:cubicBezTo>
                  <a:pt x="1052847" y="284450"/>
                  <a:pt x="1054988" y="284508"/>
                  <a:pt x="1056607" y="284508"/>
                </a:cubicBezTo>
                <a:cubicBezTo>
                  <a:pt x="1063259" y="284508"/>
                  <a:pt x="1067829" y="287343"/>
                  <a:pt x="1071242" y="301862"/>
                </a:cubicBezTo>
                <a:cubicBezTo>
                  <a:pt x="1072052" y="305332"/>
                  <a:pt x="1073093" y="309150"/>
                  <a:pt x="1074192" y="313141"/>
                </a:cubicBezTo>
                <a:cubicBezTo>
                  <a:pt x="1079571" y="332635"/>
                  <a:pt x="1086282" y="356929"/>
                  <a:pt x="1076621" y="381860"/>
                </a:cubicBezTo>
                <a:cubicBezTo>
                  <a:pt x="1065052" y="411534"/>
                  <a:pt x="1046716" y="432590"/>
                  <a:pt x="1037866" y="436407"/>
                </a:cubicBezTo>
                <a:cubicBezTo>
                  <a:pt x="1036015" y="437159"/>
                  <a:pt x="1034164" y="437738"/>
                  <a:pt x="1032081" y="438374"/>
                </a:cubicBezTo>
                <a:cubicBezTo>
                  <a:pt x="1022832" y="440127"/>
                  <a:pt x="1015272" y="446779"/>
                  <a:pt x="1012356" y="455727"/>
                </a:cubicBezTo>
                <a:lnTo>
                  <a:pt x="1010216" y="461512"/>
                </a:lnTo>
                <a:cubicBezTo>
                  <a:pt x="1003911" y="477650"/>
                  <a:pt x="997432" y="494367"/>
                  <a:pt x="990086" y="498879"/>
                </a:cubicBezTo>
                <a:cubicBezTo>
                  <a:pt x="988588" y="499909"/>
                  <a:pt x="986812" y="500470"/>
                  <a:pt x="984996" y="500499"/>
                </a:cubicBezTo>
                <a:cubicBezTo>
                  <a:pt x="981583" y="500123"/>
                  <a:pt x="978413" y="498572"/>
                  <a:pt x="976030" y="496102"/>
                </a:cubicBezTo>
                <a:cubicBezTo>
                  <a:pt x="974914" y="495061"/>
                  <a:pt x="973618" y="494217"/>
                  <a:pt x="972212" y="493615"/>
                </a:cubicBezTo>
                <a:cubicBezTo>
                  <a:pt x="969858" y="493326"/>
                  <a:pt x="967648" y="494801"/>
                  <a:pt x="967007" y="497086"/>
                </a:cubicBezTo>
                <a:cubicBezTo>
                  <a:pt x="966740" y="498040"/>
                  <a:pt x="967278" y="499035"/>
                  <a:pt x="968221" y="499342"/>
                </a:cubicBezTo>
                <a:cubicBezTo>
                  <a:pt x="970708" y="500557"/>
                  <a:pt x="973601" y="502408"/>
                  <a:pt x="974006" y="505126"/>
                </a:cubicBezTo>
                <a:cubicBezTo>
                  <a:pt x="973936" y="507891"/>
                  <a:pt x="972536" y="510459"/>
                  <a:pt x="970246" y="512010"/>
                </a:cubicBezTo>
                <a:cubicBezTo>
                  <a:pt x="964461" y="517158"/>
                  <a:pt x="964461" y="535147"/>
                  <a:pt x="964461" y="551170"/>
                </a:cubicBezTo>
                <a:cubicBezTo>
                  <a:pt x="964583" y="556787"/>
                  <a:pt x="965063" y="562392"/>
                  <a:pt x="965908" y="567945"/>
                </a:cubicBezTo>
                <a:cubicBezTo>
                  <a:pt x="968429" y="580185"/>
                  <a:pt x="967909" y="592853"/>
                  <a:pt x="964404" y="604850"/>
                </a:cubicBezTo>
                <a:cubicBezTo>
                  <a:pt x="961685" y="612242"/>
                  <a:pt x="960962" y="620225"/>
                  <a:pt x="962321" y="627988"/>
                </a:cubicBezTo>
                <a:cubicBezTo>
                  <a:pt x="963304" y="631638"/>
                  <a:pt x="962934" y="635519"/>
                  <a:pt x="961280" y="638920"/>
                </a:cubicBezTo>
                <a:cubicBezTo>
                  <a:pt x="959382" y="641460"/>
                  <a:pt x="956849" y="643455"/>
                  <a:pt x="953934" y="644704"/>
                </a:cubicBezTo>
                <a:cubicBezTo>
                  <a:pt x="950347" y="646613"/>
                  <a:pt x="947513" y="648117"/>
                  <a:pt x="947513" y="652745"/>
                </a:cubicBezTo>
                <a:cubicBezTo>
                  <a:pt x="947276" y="657783"/>
                  <a:pt x="946616" y="662798"/>
                  <a:pt x="945546" y="667727"/>
                </a:cubicBezTo>
                <a:cubicBezTo>
                  <a:pt x="944245" y="673760"/>
                  <a:pt x="943470" y="679897"/>
                  <a:pt x="943232" y="686063"/>
                </a:cubicBezTo>
                <a:cubicBezTo>
                  <a:pt x="943232" y="693294"/>
                  <a:pt x="940167" y="694856"/>
                  <a:pt x="937448" y="696186"/>
                </a:cubicBezTo>
                <a:cubicBezTo>
                  <a:pt x="935261" y="696967"/>
                  <a:pt x="933584" y="698754"/>
                  <a:pt x="932936" y="700987"/>
                </a:cubicBezTo>
                <a:cubicBezTo>
                  <a:pt x="932358" y="702722"/>
                  <a:pt x="931895" y="704689"/>
                  <a:pt x="931374" y="706772"/>
                </a:cubicBezTo>
                <a:cubicBezTo>
                  <a:pt x="929581" y="714176"/>
                  <a:pt x="927557" y="722505"/>
                  <a:pt x="921599" y="726959"/>
                </a:cubicBezTo>
                <a:cubicBezTo>
                  <a:pt x="914218" y="732599"/>
                  <a:pt x="910279" y="741658"/>
                  <a:pt x="911187" y="750907"/>
                </a:cubicBezTo>
                <a:cubicBezTo>
                  <a:pt x="911187" y="764095"/>
                  <a:pt x="906501" y="766582"/>
                  <a:pt x="897941" y="766582"/>
                </a:cubicBezTo>
                <a:cubicBezTo>
                  <a:pt x="889923" y="766831"/>
                  <a:pt x="883630" y="773524"/>
                  <a:pt x="883873" y="781541"/>
                </a:cubicBezTo>
                <a:cubicBezTo>
                  <a:pt x="883878" y="781628"/>
                  <a:pt x="883878" y="781709"/>
                  <a:pt x="883884" y="781796"/>
                </a:cubicBezTo>
                <a:cubicBezTo>
                  <a:pt x="883884" y="790183"/>
                  <a:pt x="876596" y="790819"/>
                  <a:pt x="867052" y="790819"/>
                </a:cubicBezTo>
                <a:lnTo>
                  <a:pt x="858896" y="790819"/>
                </a:lnTo>
                <a:cubicBezTo>
                  <a:pt x="853094" y="790652"/>
                  <a:pt x="847298" y="790189"/>
                  <a:pt x="841542" y="789431"/>
                </a:cubicBezTo>
                <a:cubicBezTo>
                  <a:pt x="835671" y="788650"/>
                  <a:pt x="829765" y="788164"/>
                  <a:pt x="823842" y="787985"/>
                </a:cubicBezTo>
                <a:cubicBezTo>
                  <a:pt x="820568" y="787592"/>
                  <a:pt x="817259" y="788286"/>
                  <a:pt x="814413" y="789952"/>
                </a:cubicBezTo>
                <a:cubicBezTo>
                  <a:pt x="812909" y="791282"/>
                  <a:pt x="811463" y="792786"/>
                  <a:pt x="809901" y="794348"/>
                </a:cubicBezTo>
                <a:cubicBezTo>
                  <a:pt x="805337" y="799918"/>
                  <a:pt x="799333" y="804141"/>
                  <a:pt x="792548" y="806553"/>
                </a:cubicBezTo>
                <a:cubicBezTo>
                  <a:pt x="789078" y="807478"/>
                  <a:pt x="788499" y="808693"/>
                  <a:pt x="787863" y="810024"/>
                </a:cubicBezTo>
                <a:cubicBezTo>
                  <a:pt x="786590" y="812569"/>
                  <a:pt x="785086" y="814420"/>
                  <a:pt x="777220" y="815056"/>
                </a:cubicBezTo>
                <a:cubicBezTo>
                  <a:pt x="763106" y="816329"/>
                  <a:pt x="755123" y="817543"/>
                  <a:pt x="742166" y="830500"/>
                </a:cubicBezTo>
                <a:lnTo>
                  <a:pt x="741876" y="830500"/>
                </a:lnTo>
                <a:cubicBezTo>
                  <a:pt x="728456" y="843920"/>
                  <a:pt x="715731" y="856646"/>
                  <a:pt x="706823" y="856646"/>
                </a:cubicBezTo>
                <a:cubicBezTo>
                  <a:pt x="703468" y="856646"/>
                  <a:pt x="703236" y="858092"/>
                  <a:pt x="703005" y="862430"/>
                </a:cubicBezTo>
                <a:cubicBezTo>
                  <a:pt x="703034" y="867179"/>
                  <a:pt x="701750" y="871842"/>
                  <a:pt x="699303" y="875908"/>
                </a:cubicBezTo>
                <a:cubicBezTo>
                  <a:pt x="694618" y="883197"/>
                  <a:pt x="695948" y="892741"/>
                  <a:pt x="697452" y="903789"/>
                </a:cubicBezTo>
                <a:cubicBezTo>
                  <a:pt x="698031" y="907665"/>
                  <a:pt x="698551" y="911714"/>
                  <a:pt x="698898" y="915821"/>
                </a:cubicBezTo>
                <a:cubicBezTo>
                  <a:pt x="700228" y="933637"/>
                  <a:pt x="699766" y="955039"/>
                  <a:pt x="690048" y="956312"/>
                </a:cubicBezTo>
                <a:cubicBezTo>
                  <a:pt x="680330" y="957584"/>
                  <a:pt x="672695" y="965856"/>
                  <a:pt x="663613" y="984771"/>
                </a:cubicBezTo>
                <a:lnTo>
                  <a:pt x="659159" y="994142"/>
                </a:lnTo>
                <a:cubicBezTo>
                  <a:pt x="650945" y="1011495"/>
                  <a:pt x="643830" y="1026998"/>
                  <a:pt x="628155" y="1038451"/>
                </a:cubicBezTo>
                <a:cubicBezTo>
                  <a:pt x="618726" y="1045392"/>
                  <a:pt x="616586" y="1046317"/>
                  <a:pt x="615082" y="1046317"/>
                </a:cubicBezTo>
                <a:cubicBezTo>
                  <a:pt x="614457" y="1046323"/>
                  <a:pt x="613890" y="1045959"/>
                  <a:pt x="613636" y="1045392"/>
                </a:cubicBezTo>
                <a:cubicBezTo>
                  <a:pt x="612884" y="1043830"/>
                  <a:pt x="614272" y="1041054"/>
                  <a:pt x="624858" y="1028039"/>
                </a:cubicBezTo>
                <a:cubicBezTo>
                  <a:pt x="634286" y="1016123"/>
                  <a:pt x="637005" y="1007388"/>
                  <a:pt x="635501" y="1004323"/>
                </a:cubicBezTo>
                <a:cubicBezTo>
                  <a:pt x="635501" y="1003976"/>
                  <a:pt x="634807" y="1002877"/>
                  <a:pt x="632666" y="1002877"/>
                </a:cubicBezTo>
                <a:cubicBezTo>
                  <a:pt x="630202" y="1003067"/>
                  <a:pt x="627802" y="1003756"/>
                  <a:pt x="625610" y="1004901"/>
                </a:cubicBezTo>
                <a:cubicBezTo>
                  <a:pt x="617338" y="1008776"/>
                  <a:pt x="617453" y="1012363"/>
                  <a:pt x="617627" y="1017338"/>
                </a:cubicBezTo>
                <a:cubicBezTo>
                  <a:pt x="618431" y="1023515"/>
                  <a:pt x="616088" y="1029681"/>
                  <a:pt x="611380" y="1033765"/>
                </a:cubicBezTo>
                <a:cubicBezTo>
                  <a:pt x="605983" y="1038312"/>
                  <a:pt x="602576" y="1044790"/>
                  <a:pt x="601893" y="1051813"/>
                </a:cubicBezTo>
                <a:cubicBezTo>
                  <a:pt x="601164" y="1057071"/>
                  <a:pt x="599522" y="1062161"/>
                  <a:pt x="597034" y="1066852"/>
                </a:cubicBezTo>
                <a:cubicBezTo>
                  <a:pt x="594946" y="1070774"/>
                  <a:pt x="593280" y="1074904"/>
                  <a:pt x="592060" y="1079173"/>
                </a:cubicBezTo>
                <a:cubicBezTo>
                  <a:pt x="589821" y="1088295"/>
                  <a:pt x="584089" y="1096168"/>
                  <a:pt x="576095" y="1101096"/>
                </a:cubicBezTo>
                <a:cubicBezTo>
                  <a:pt x="571346" y="1104590"/>
                  <a:pt x="567135" y="1108761"/>
                  <a:pt x="563600" y="1113475"/>
                </a:cubicBezTo>
                <a:cubicBezTo>
                  <a:pt x="563305" y="1113654"/>
                  <a:pt x="562947" y="1113694"/>
                  <a:pt x="562617" y="1113590"/>
                </a:cubicBezTo>
                <a:close/>
                <a:moveTo>
                  <a:pt x="505351" y="1021039"/>
                </a:moveTo>
                <a:cubicBezTo>
                  <a:pt x="507549" y="1021039"/>
                  <a:pt x="509574" y="1022486"/>
                  <a:pt x="511598" y="1025378"/>
                </a:cubicBezTo>
                <a:cubicBezTo>
                  <a:pt x="517400" y="1031926"/>
                  <a:pt x="524336" y="1037375"/>
                  <a:pt x="532075" y="1041459"/>
                </a:cubicBezTo>
                <a:cubicBezTo>
                  <a:pt x="535714" y="1043425"/>
                  <a:pt x="539115" y="1045814"/>
                  <a:pt x="542198" y="1048573"/>
                </a:cubicBezTo>
                <a:cubicBezTo>
                  <a:pt x="543824" y="1050158"/>
                  <a:pt x="545651" y="1051523"/>
                  <a:pt x="547636" y="1052623"/>
                </a:cubicBezTo>
                <a:cubicBezTo>
                  <a:pt x="553420" y="1056151"/>
                  <a:pt x="560882" y="1061068"/>
                  <a:pt x="560882" y="1070786"/>
                </a:cubicBezTo>
                <a:cubicBezTo>
                  <a:pt x="560882" y="1073099"/>
                  <a:pt x="560882" y="1075760"/>
                  <a:pt x="560361" y="1078826"/>
                </a:cubicBezTo>
                <a:cubicBezTo>
                  <a:pt x="558643" y="1089290"/>
                  <a:pt x="559517" y="1100014"/>
                  <a:pt x="562906" y="1110062"/>
                </a:cubicBezTo>
                <a:cubicBezTo>
                  <a:pt x="566250" y="1105730"/>
                  <a:pt x="570143" y="1101842"/>
                  <a:pt x="574475" y="1098493"/>
                </a:cubicBezTo>
                <a:cubicBezTo>
                  <a:pt x="582099" y="1093871"/>
                  <a:pt x="587554" y="1086398"/>
                  <a:pt x="589630" y="1077727"/>
                </a:cubicBezTo>
                <a:cubicBezTo>
                  <a:pt x="590891" y="1073325"/>
                  <a:pt x="592598" y="1069056"/>
                  <a:pt x="594721" y="1065001"/>
                </a:cubicBezTo>
                <a:cubicBezTo>
                  <a:pt x="597150" y="1060570"/>
                  <a:pt x="598718" y="1055723"/>
                  <a:pt x="599348" y="1050714"/>
                </a:cubicBezTo>
                <a:cubicBezTo>
                  <a:pt x="600135" y="1043206"/>
                  <a:pt x="603779" y="1036287"/>
                  <a:pt x="609529" y="1031394"/>
                </a:cubicBezTo>
                <a:cubicBezTo>
                  <a:pt x="613856" y="1027819"/>
                  <a:pt x="616042" y="1022266"/>
                  <a:pt x="615313" y="1016701"/>
                </a:cubicBezTo>
                <a:cubicBezTo>
                  <a:pt x="615313" y="1011495"/>
                  <a:pt x="614966" y="1006578"/>
                  <a:pt x="624568" y="1002125"/>
                </a:cubicBezTo>
                <a:cubicBezTo>
                  <a:pt x="627061" y="1000817"/>
                  <a:pt x="629797" y="1000048"/>
                  <a:pt x="632609" y="999869"/>
                </a:cubicBezTo>
                <a:cubicBezTo>
                  <a:pt x="634633" y="999684"/>
                  <a:pt x="636565" y="1000765"/>
                  <a:pt x="637468" y="1002587"/>
                </a:cubicBezTo>
                <a:cubicBezTo>
                  <a:pt x="639724" y="1007272"/>
                  <a:pt x="635443" y="1017511"/>
                  <a:pt x="626535" y="1028675"/>
                </a:cubicBezTo>
                <a:cubicBezTo>
                  <a:pt x="622677" y="1033308"/>
                  <a:pt x="619143" y="1038196"/>
                  <a:pt x="615950" y="1043310"/>
                </a:cubicBezTo>
                <a:cubicBezTo>
                  <a:pt x="619767" y="1041227"/>
                  <a:pt x="623406" y="1038827"/>
                  <a:pt x="626824" y="1036137"/>
                </a:cubicBezTo>
                <a:cubicBezTo>
                  <a:pt x="641980" y="1025031"/>
                  <a:pt x="649036" y="1010049"/>
                  <a:pt x="657135" y="992696"/>
                </a:cubicBezTo>
                <a:cubicBezTo>
                  <a:pt x="658581" y="989572"/>
                  <a:pt x="660027" y="986449"/>
                  <a:pt x="661589" y="983267"/>
                </a:cubicBezTo>
                <a:cubicBezTo>
                  <a:pt x="671191" y="963542"/>
                  <a:pt x="679347" y="954923"/>
                  <a:pt x="689759" y="953535"/>
                </a:cubicBezTo>
                <a:cubicBezTo>
                  <a:pt x="695890" y="952725"/>
                  <a:pt x="698378" y="938843"/>
                  <a:pt x="696642" y="915416"/>
                </a:cubicBezTo>
                <a:cubicBezTo>
                  <a:pt x="696353" y="911367"/>
                  <a:pt x="695775" y="907376"/>
                  <a:pt x="695254" y="903558"/>
                </a:cubicBezTo>
                <a:cubicBezTo>
                  <a:pt x="693692" y="892510"/>
                  <a:pt x="692246" y="882098"/>
                  <a:pt x="697394" y="874115"/>
                </a:cubicBezTo>
                <a:cubicBezTo>
                  <a:pt x="699616" y="870372"/>
                  <a:pt x="700778" y="866092"/>
                  <a:pt x="700749" y="861736"/>
                </a:cubicBezTo>
                <a:cubicBezTo>
                  <a:pt x="700749" y="857572"/>
                  <a:pt x="701154" y="853638"/>
                  <a:pt x="706823" y="853638"/>
                </a:cubicBezTo>
                <a:cubicBezTo>
                  <a:pt x="714805" y="853638"/>
                  <a:pt x="727762" y="840681"/>
                  <a:pt x="740315" y="828187"/>
                </a:cubicBezTo>
                <a:lnTo>
                  <a:pt x="740315" y="828187"/>
                </a:lnTo>
                <a:cubicBezTo>
                  <a:pt x="749552" y="817792"/>
                  <a:pt x="762851" y="811921"/>
                  <a:pt x="776757" y="812106"/>
                </a:cubicBezTo>
                <a:cubicBezTo>
                  <a:pt x="784045" y="811470"/>
                  <a:pt x="784739" y="809966"/>
                  <a:pt x="785607" y="808288"/>
                </a:cubicBezTo>
                <a:cubicBezTo>
                  <a:pt x="786677" y="805760"/>
                  <a:pt x="789014" y="804002"/>
                  <a:pt x="791738" y="803661"/>
                </a:cubicBezTo>
                <a:cubicBezTo>
                  <a:pt x="798049" y="801306"/>
                  <a:pt x="803619" y="797309"/>
                  <a:pt x="807877" y="792092"/>
                </a:cubicBezTo>
                <a:cubicBezTo>
                  <a:pt x="809438" y="790472"/>
                  <a:pt x="810942" y="788968"/>
                  <a:pt x="812446" y="787580"/>
                </a:cubicBezTo>
                <a:cubicBezTo>
                  <a:pt x="815709" y="785486"/>
                  <a:pt x="819590" y="784590"/>
                  <a:pt x="823437" y="785035"/>
                </a:cubicBezTo>
                <a:cubicBezTo>
                  <a:pt x="829435" y="785214"/>
                  <a:pt x="835422" y="785694"/>
                  <a:pt x="841369" y="786481"/>
                </a:cubicBezTo>
                <a:cubicBezTo>
                  <a:pt x="847124" y="787262"/>
                  <a:pt x="852915" y="787742"/>
                  <a:pt x="858722" y="787927"/>
                </a:cubicBezTo>
                <a:lnTo>
                  <a:pt x="867225" y="787927"/>
                </a:lnTo>
                <a:cubicBezTo>
                  <a:pt x="877521" y="787927"/>
                  <a:pt x="881802" y="787002"/>
                  <a:pt x="881802" y="781159"/>
                </a:cubicBezTo>
                <a:cubicBezTo>
                  <a:pt x="881478" y="771898"/>
                  <a:pt x="888726" y="764136"/>
                  <a:pt x="897981" y="763812"/>
                </a:cubicBezTo>
                <a:cubicBezTo>
                  <a:pt x="898027" y="763806"/>
                  <a:pt x="898068" y="763806"/>
                  <a:pt x="898114" y="763806"/>
                </a:cubicBezTo>
                <a:cubicBezTo>
                  <a:pt x="905865" y="763806"/>
                  <a:pt x="909104" y="761955"/>
                  <a:pt x="909104" y="750386"/>
                </a:cubicBezTo>
                <a:cubicBezTo>
                  <a:pt x="908231" y="740379"/>
                  <a:pt x="912610" y="730632"/>
                  <a:pt x="920673" y="724645"/>
                </a:cubicBezTo>
                <a:cubicBezTo>
                  <a:pt x="925937" y="720654"/>
                  <a:pt x="927904" y="712729"/>
                  <a:pt x="929581" y="705730"/>
                </a:cubicBezTo>
                <a:cubicBezTo>
                  <a:pt x="930102" y="703590"/>
                  <a:pt x="930622" y="701566"/>
                  <a:pt x="931143" y="699946"/>
                </a:cubicBezTo>
                <a:cubicBezTo>
                  <a:pt x="932005" y="697111"/>
                  <a:pt x="934145" y="694844"/>
                  <a:pt x="936928" y="693814"/>
                </a:cubicBezTo>
                <a:cubicBezTo>
                  <a:pt x="939473" y="692542"/>
                  <a:pt x="941439" y="691559"/>
                  <a:pt x="941439" y="685716"/>
                </a:cubicBezTo>
                <a:cubicBezTo>
                  <a:pt x="941659" y="679411"/>
                  <a:pt x="942451" y="673135"/>
                  <a:pt x="943811" y="666975"/>
                </a:cubicBezTo>
                <a:cubicBezTo>
                  <a:pt x="944858" y="662179"/>
                  <a:pt x="945494" y="657303"/>
                  <a:pt x="945720" y="652398"/>
                </a:cubicBezTo>
                <a:cubicBezTo>
                  <a:pt x="945720" y="646613"/>
                  <a:pt x="949595" y="644357"/>
                  <a:pt x="953297" y="642333"/>
                </a:cubicBezTo>
                <a:cubicBezTo>
                  <a:pt x="955883" y="641240"/>
                  <a:pt x="958139" y="639487"/>
                  <a:pt x="959834" y="637243"/>
                </a:cubicBezTo>
                <a:cubicBezTo>
                  <a:pt x="961164" y="634281"/>
                  <a:pt x="961413" y="630944"/>
                  <a:pt x="960528" y="627814"/>
                </a:cubicBezTo>
                <a:cubicBezTo>
                  <a:pt x="959157" y="619681"/>
                  <a:pt x="959915" y="611334"/>
                  <a:pt x="962726" y="603577"/>
                </a:cubicBezTo>
                <a:cubicBezTo>
                  <a:pt x="966115" y="591916"/>
                  <a:pt x="966590" y="579601"/>
                  <a:pt x="964114" y="567714"/>
                </a:cubicBezTo>
                <a:cubicBezTo>
                  <a:pt x="963276" y="561964"/>
                  <a:pt x="962790" y="556168"/>
                  <a:pt x="962668" y="550360"/>
                </a:cubicBezTo>
                <a:cubicBezTo>
                  <a:pt x="962668" y="533007"/>
                  <a:pt x="962668" y="515307"/>
                  <a:pt x="969089" y="509522"/>
                </a:cubicBezTo>
                <a:cubicBezTo>
                  <a:pt x="971287" y="507614"/>
                  <a:pt x="972270" y="505936"/>
                  <a:pt x="972097" y="504606"/>
                </a:cubicBezTo>
                <a:cubicBezTo>
                  <a:pt x="971923" y="503275"/>
                  <a:pt x="970477" y="501945"/>
                  <a:pt x="967527" y="500499"/>
                </a:cubicBezTo>
                <a:cubicBezTo>
                  <a:pt x="965641" y="499724"/>
                  <a:pt x="964623" y="497664"/>
                  <a:pt x="965156" y="495698"/>
                </a:cubicBezTo>
                <a:cubicBezTo>
                  <a:pt x="966139" y="492186"/>
                  <a:pt x="969598" y="489971"/>
                  <a:pt x="973196" y="490550"/>
                </a:cubicBezTo>
                <a:cubicBezTo>
                  <a:pt x="974914" y="491226"/>
                  <a:pt x="976487" y="492227"/>
                  <a:pt x="977823" y="493500"/>
                </a:cubicBezTo>
                <a:cubicBezTo>
                  <a:pt x="979831" y="495594"/>
                  <a:pt x="982474" y="496959"/>
                  <a:pt x="985343" y="497375"/>
                </a:cubicBezTo>
                <a:cubicBezTo>
                  <a:pt x="986749" y="497335"/>
                  <a:pt x="988114" y="496895"/>
                  <a:pt x="989277" y="496102"/>
                </a:cubicBezTo>
                <a:cubicBezTo>
                  <a:pt x="995986" y="491996"/>
                  <a:pt x="1002581" y="474874"/>
                  <a:pt x="1008423" y="459776"/>
                </a:cubicBezTo>
                <a:lnTo>
                  <a:pt x="1010621" y="453992"/>
                </a:lnTo>
                <a:cubicBezTo>
                  <a:pt x="1013768" y="444384"/>
                  <a:pt x="1021872" y="437240"/>
                  <a:pt x="1031792" y="435308"/>
                </a:cubicBezTo>
                <a:cubicBezTo>
                  <a:pt x="1033701" y="434672"/>
                  <a:pt x="1035552" y="434151"/>
                  <a:pt x="1037229" y="433399"/>
                </a:cubicBezTo>
                <a:cubicBezTo>
                  <a:pt x="1045733" y="429755"/>
                  <a:pt x="1063549" y="409221"/>
                  <a:pt x="1074828" y="380125"/>
                </a:cubicBezTo>
                <a:cubicBezTo>
                  <a:pt x="1084199" y="355888"/>
                  <a:pt x="1077605" y="331998"/>
                  <a:pt x="1072283" y="312794"/>
                </a:cubicBezTo>
                <a:cubicBezTo>
                  <a:pt x="1071184" y="308803"/>
                  <a:pt x="1070143" y="304985"/>
                  <a:pt x="1069333" y="301225"/>
                </a:cubicBezTo>
                <a:cubicBezTo>
                  <a:pt x="1065920" y="286706"/>
                  <a:pt x="1061698" y="285549"/>
                  <a:pt x="1056897" y="285549"/>
                </a:cubicBezTo>
                <a:cubicBezTo>
                  <a:pt x="1055393" y="285549"/>
                  <a:pt x="1053657" y="285549"/>
                  <a:pt x="1051864" y="285897"/>
                </a:cubicBezTo>
                <a:cubicBezTo>
                  <a:pt x="1050071" y="286244"/>
                  <a:pt x="1048625" y="286244"/>
                  <a:pt x="1046832" y="286301"/>
                </a:cubicBezTo>
                <a:lnTo>
                  <a:pt x="1044229" y="286301"/>
                </a:lnTo>
                <a:cubicBezTo>
                  <a:pt x="1023809" y="286301"/>
                  <a:pt x="1002407" y="274328"/>
                  <a:pt x="980600" y="250727"/>
                </a:cubicBezTo>
                <a:cubicBezTo>
                  <a:pt x="963594" y="232391"/>
                  <a:pt x="944505" y="223078"/>
                  <a:pt x="923970" y="223078"/>
                </a:cubicBezTo>
                <a:cubicBezTo>
                  <a:pt x="916456" y="223147"/>
                  <a:pt x="908989" y="224217"/>
                  <a:pt x="901758" y="226259"/>
                </a:cubicBezTo>
                <a:cubicBezTo>
                  <a:pt x="898721" y="227080"/>
                  <a:pt x="895592" y="227485"/>
                  <a:pt x="892445" y="227474"/>
                </a:cubicBezTo>
                <a:cubicBezTo>
                  <a:pt x="881530" y="226716"/>
                  <a:pt x="870881" y="223743"/>
                  <a:pt x="861151" y="218739"/>
                </a:cubicBezTo>
                <a:cubicBezTo>
                  <a:pt x="856686" y="216605"/>
                  <a:pt x="852041" y="214858"/>
                  <a:pt x="847269" y="213533"/>
                </a:cubicBezTo>
                <a:cubicBezTo>
                  <a:pt x="846303" y="213296"/>
                  <a:pt x="845314" y="213181"/>
                  <a:pt x="844319" y="213186"/>
                </a:cubicBezTo>
                <a:cubicBezTo>
                  <a:pt x="837204" y="213186"/>
                  <a:pt x="830031" y="218971"/>
                  <a:pt x="823668" y="223598"/>
                </a:cubicBezTo>
                <a:cubicBezTo>
                  <a:pt x="820180" y="226618"/>
                  <a:pt x="816287" y="229128"/>
                  <a:pt x="812099" y="231060"/>
                </a:cubicBezTo>
                <a:cubicBezTo>
                  <a:pt x="809438" y="232043"/>
                  <a:pt x="808108" y="231060"/>
                  <a:pt x="807645" y="230597"/>
                </a:cubicBezTo>
                <a:cubicBezTo>
                  <a:pt x="806546" y="228862"/>
                  <a:pt x="807645" y="225738"/>
                  <a:pt x="810595" y="219896"/>
                </a:cubicBezTo>
                <a:cubicBezTo>
                  <a:pt x="813297" y="214921"/>
                  <a:pt x="815130" y="209519"/>
                  <a:pt x="816033" y="203931"/>
                </a:cubicBezTo>
                <a:cubicBezTo>
                  <a:pt x="816033" y="199188"/>
                  <a:pt x="808339" y="188024"/>
                  <a:pt x="752404" y="166275"/>
                </a:cubicBezTo>
                <a:cubicBezTo>
                  <a:pt x="745098" y="162977"/>
                  <a:pt x="737261" y="161017"/>
                  <a:pt x="729266" y="160490"/>
                </a:cubicBezTo>
                <a:cubicBezTo>
                  <a:pt x="719028" y="160490"/>
                  <a:pt x="714053" y="165870"/>
                  <a:pt x="714053" y="177091"/>
                </a:cubicBezTo>
                <a:cubicBezTo>
                  <a:pt x="714053" y="181141"/>
                  <a:pt x="713533" y="185305"/>
                  <a:pt x="710004" y="185305"/>
                </a:cubicBezTo>
                <a:cubicBezTo>
                  <a:pt x="708836" y="185201"/>
                  <a:pt x="707691" y="184952"/>
                  <a:pt x="706592" y="184553"/>
                </a:cubicBezTo>
                <a:cubicBezTo>
                  <a:pt x="705244" y="184015"/>
                  <a:pt x="703815" y="183703"/>
                  <a:pt x="702369" y="183628"/>
                </a:cubicBezTo>
                <a:cubicBezTo>
                  <a:pt x="700402" y="183628"/>
                  <a:pt x="697452" y="184380"/>
                  <a:pt x="694560" y="190858"/>
                </a:cubicBezTo>
                <a:cubicBezTo>
                  <a:pt x="690164" y="200576"/>
                  <a:pt x="684321" y="201617"/>
                  <a:pt x="682008" y="201617"/>
                </a:cubicBezTo>
                <a:cubicBezTo>
                  <a:pt x="679000" y="201785"/>
                  <a:pt x="676241" y="199946"/>
                  <a:pt x="675240" y="197105"/>
                </a:cubicBezTo>
                <a:cubicBezTo>
                  <a:pt x="674696" y="194167"/>
                  <a:pt x="676258" y="191240"/>
                  <a:pt x="679000" y="190048"/>
                </a:cubicBezTo>
                <a:cubicBezTo>
                  <a:pt x="689874" y="182546"/>
                  <a:pt x="697996" y="171700"/>
                  <a:pt x="702137" y="159159"/>
                </a:cubicBezTo>
                <a:cubicBezTo>
                  <a:pt x="702490" y="157922"/>
                  <a:pt x="702184" y="156591"/>
                  <a:pt x="701328" y="155631"/>
                </a:cubicBezTo>
                <a:cubicBezTo>
                  <a:pt x="696527" y="149037"/>
                  <a:pt x="676339" y="144062"/>
                  <a:pt x="661473" y="144062"/>
                </a:cubicBezTo>
                <a:cubicBezTo>
                  <a:pt x="657071" y="143883"/>
                  <a:pt x="652675" y="144531"/>
                  <a:pt x="648516" y="145971"/>
                </a:cubicBezTo>
                <a:cubicBezTo>
                  <a:pt x="642922" y="148748"/>
                  <a:pt x="639348" y="154416"/>
                  <a:pt x="639261" y="160663"/>
                </a:cubicBezTo>
                <a:cubicBezTo>
                  <a:pt x="638509" y="164713"/>
                  <a:pt x="637815" y="168473"/>
                  <a:pt x="634228" y="168473"/>
                </a:cubicBezTo>
                <a:cubicBezTo>
                  <a:pt x="632713" y="168357"/>
                  <a:pt x="631244" y="167882"/>
                  <a:pt x="629948" y="167084"/>
                </a:cubicBezTo>
                <a:cubicBezTo>
                  <a:pt x="625043" y="164765"/>
                  <a:pt x="622579" y="159200"/>
                  <a:pt x="624163" y="154012"/>
                </a:cubicBezTo>
                <a:cubicBezTo>
                  <a:pt x="625575" y="147741"/>
                  <a:pt x="630844" y="143085"/>
                  <a:pt x="637236" y="142443"/>
                </a:cubicBezTo>
                <a:lnTo>
                  <a:pt x="638220" y="142443"/>
                </a:lnTo>
                <a:cubicBezTo>
                  <a:pt x="645045" y="142443"/>
                  <a:pt x="654185" y="130874"/>
                  <a:pt x="664018" y="109182"/>
                </a:cubicBezTo>
                <a:cubicBezTo>
                  <a:pt x="668067" y="100448"/>
                  <a:pt x="662283" y="96572"/>
                  <a:pt x="654243" y="91250"/>
                </a:cubicBezTo>
                <a:cubicBezTo>
                  <a:pt x="649702" y="88480"/>
                  <a:pt x="645525" y="85159"/>
                  <a:pt x="641806" y="81359"/>
                </a:cubicBezTo>
                <a:cubicBezTo>
                  <a:pt x="636426" y="75575"/>
                  <a:pt x="634228" y="64006"/>
                  <a:pt x="632088" y="53536"/>
                </a:cubicBezTo>
                <a:cubicBezTo>
                  <a:pt x="629948" y="43066"/>
                  <a:pt x="627981" y="32712"/>
                  <a:pt x="623238" y="29531"/>
                </a:cubicBezTo>
                <a:cubicBezTo>
                  <a:pt x="616412" y="36356"/>
                  <a:pt x="596919" y="56717"/>
                  <a:pt x="591828" y="71988"/>
                </a:cubicBezTo>
                <a:cubicBezTo>
                  <a:pt x="588184" y="82979"/>
                  <a:pt x="583730" y="83557"/>
                  <a:pt x="575863" y="83557"/>
                </a:cubicBezTo>
                <a:lnTo>
                  <a:pt x="573145" y="83557"/>
                </a:lnTo>
                <a:cubicBezTo>
                  <a:pt x="569535" y="83499"/>
                  <a:pt x="565943" y="84031"/>
                  <a:pt x="562501" y="85119"/>
                </a:cubicBezTo>
                <a:cubicBezTo>
                  <a:pt x="549660" y="89110"/>
                  <a:pt x="540347" y="86276"/>
                  <a:pt x="534100" y="76442"/>
                </a:cubicBezTo>
                <a:cubicBezTo>
                  <a:pt x="533117" y="74765"/>
                  <a:pt x="531034" y="74013"/>
                  <a:pt x="527563" y="74013"/>
                </a:cubicBezTo>
                <a:cubicBezTo>
                  <a:pt x="524324" y="74140"/>
                  <a:pt x="521097" y="74487"/>
                  <a:pt x="517903" y="75054"/>
                </a:cubicBezTo>
                <a:cubicBezTo>
                  <a:pt x="513542" y="75898"/>
                  <a:pt x="509099" y="76246"/>
                  <a:pt x="504657" y="76095"/>
                </a:cubicBezTo>
                <a:cubicBezTo>
                  <a:pt x="500029" y="75690"/>
                  <a:pt x="499393" y="78409"/>
                  <a:pt x="498872" y="83268"/>
                </a:cubicBezTo>
                <a:cubicBezTo>
                  <a:pt x="498954" y="87172"/>
                  <a:pt x="497149" y="90880"/>
                  <a:pt x="494014" y="93217"/>
                </a:cubicBezTo>
                <a:cubicBezTo>
                  <a:pt x="488854" y="94571"/>
                  <a:pt x="483399" y="94224"/>
                  <a:pt x="478454" y="92234"/>
                </a:cubicBezTo>
                <a:cubicBezTo>
                  <a:pt x="474694" y="91071"/>
                  <a:pt x="470813" y="90371"/>
                  <a:pt x="466885" y="90151"/>
                </a:cubicBezTo>
                <a:cubicBezTo>
                  <a:pt x="464750" y="89908"/>
                  <a:pt x="462622" y="90655"/>
                  <a:pt x="461100" y="92176"/>
                </a:cubicBezTo>
                <a:cubicBezTo>
                  <a:pt x="458937" y="95074"/>
                  <a:pt x="455374" y="96578"/>
                  <a:pt x="451788" y="96109"/>
                </a:cubicBezTo>
                <a:cubicBezTo>
                  <a:pt x="450052" y="96109"/>
                  <a:pt x="448722" y="95704"/>
                  <a:pt x="447333" y="98481"/>
                </a:cubicBezTo>
                <a:cubicBezTo>
                  <a:pt x="445193" y="102704"/>
                  <a:pt x="440277" y="103108"/>
                  <a:pt x="435765" y="103398"/>
                </a:cubicBezTo>
                <a:cubicBezTo>
                  <a:pt x="432814" y="103398"/>
                  <a:pt x="429980" y="103802"/>
                  <a:pt x="428881" y="105191"/>
                </a:cubicBezTo>
                <a:cubicBezTo>
                  <a:pt x="426706" y="107562"/>
                  <a:pt x="423588" y="108835"/>
                  <a:pt x="420378" y="108662"/>
                </a:cubicBezTo>
                <a:cubicBezTo>
                  <a:pt x="415461" y="108662"/>
                  <a:pt x="407479" y="106405"/>
                  <a:pt x="397645" y="95415"/>
                </a:cubicBezTo>
                <a:cubicBezTo>
                  <a:pt x="389269" y="85333"/>
                  <a:pt x="385313" y="72301"/>
                  <a:pt x="386655" y="59263"/>
                </a:cubicBezTo>
                <a:cubicBezTo>
                  <a:pt x="386684" y="54120"/>
                  <a:pt x="388621" y="49174"/>
                  <a:pt x="392092" y="45380"/>
                </a:cubicBezTo>
                <a:cubicBezTo>
                  <a:pt x="395337" y="42470"/>
                  <a:pt x="396882" y="38115"/>
                  <a:pt x="396199" y="33811"/>
                </a:cubicBezTo>
                <a:cubicBezTo>
                  <a:pt x="395956" y="29687"/>
                  <a:pt x="393532" y="26002"/>
                  <a:pt x="389836" y="24151"/>
                </a:cubicBezTo>
                <a:cubicBezTo>
                  <a:pt x="384977" y="22011"/>
                  <a:pt x="384688" y="16573"/>
                  <a:pt x="384399" y="11772"/>
                </a:cubicBezTo>
                <a:cubicBezTo>
                  <a:pt x="384052" y="5988"/>
                  <a:pt x="383473" y="1997"/>
                  <a:pt x="378614" y="1303"/>
                </a:cubicBezTo>
                <a:cubicBezTo>
                  <a:pt x="372830" y="493"/>
                  <a:pt x="370748" y="4542"/>
                  <a:pt x="368665" y="8880"/>
                </a:cubicBezTo>
                <a:cubicBezTo>
                  <a:pt x="367103" y="12235"/>
                  <a:pt x="365426" y="15706"/>
                  <a:pt x="361897" y="16863"/>
                </a:cubicBezTo>
                <a:cubicBezTo>
                  <a:pt x="358543" y="18193"/>
                  <a:pt x="355280" y="19743"/>
                  <a:pt x="352122" y="21490"/>
                </a:cubicBezTo>
                <a:cubicBezTo>
                  <a:pt x="343503" y="26060"/>
                  <a:pt x="333496" y="31208"/>
                  <a:pt x="327711" y="29993"/>
                </a:cubicBezTo>
                <a:cubicBezTo>
                  <a:pt x="320250" y="28547"/>
                  <a:pt x="310358" y="31324"/>
                  <a:pt x="310358" y="39538"/>
                </a:cubicBezTo>
                <a:cubicBezTo>
                  <a:pt x="310358" y="44686"/>
                  <a:pt x="307697" y="46479"/>
                  <a:pt x="305210" y="46479"/>
                </a:cubicBezTo>
                <a:cubicBezTo>
                  <a:pt x="301219" y="46022"/>
                  <a:pt x="298037" y="42933"/>
                  <a:pt x="297459" y="38959"/>
                </a:cubicBezTo>
                <a:cubicBezTo>
                  <a:pt x="296707" y="35662"/>
                  <a:pt x="291270" y="35141"/>
                  <a:pt x="285890" y="34679"/>
                </a:cubicBezTo>
                <a:cubicBezTo>
                  <a:pt x="281656" y="34840"/>
                  <a:pt x="277474" y="33690"/>
                  <a:pt x="273916" y="31382"/>
                </a:cubicBezTo>
                <a:cubicBezTo>
                  <a:pt x="271070" y="29536"/>
                  <a:pt x="267692" y="28698"/>
                  <a:pt x="264314" y="29010"/>
                </a:cubicBezTo>
                <a:cubicBezTo>
                  <a:pt x="258530" y="29010"/>
                  <a:pt x="255579" y="30340"/>
                  <a:pt x="255406" y="31092"/>
                </a:cubicBezTo>
                <a:cubicBezTo>
                  <a:pt x="255232" y="31844"/>
                  <a:pt x="255406" y="31844"/>
                  <a:pt x="257257" y="32828"/>
                </a:cubicBezTo>
                <a:cubicBezTo>
                  <a:pt x="267669" y="38901"/>
                  <a:pt x="268479" y="45264"/>
                  <a:pt x="268479" y="54346"/>
                </a:cubicBezTo>
                <a:cubicBezTo>
                  <a:pt x="268352" y="57024"/>
                  <a:pt x="269508" y="59604"/>
                  <a:pt x="271602" y="61287"/>
                </a:cubicBezTo>
                <a:cubicBezTo>
                  <a:pt x="274570" y="63827"/>
                  <a:pt x="276161" y="67627"/>
                  <a:pt x="275883" y="71526"/>
                </a:cubicBezTo>
                <a:cubicBezTo>
                  <a:pt x="275883" y="76153"/>
                  <a:pt x="277445" y="76153"/>
                  <a:pt x="278255" y="76153"/>
                </a:cubicBezTo>
                <a:cubicBezTo>
                  <a:pt x="279805" y="76008"/>
                  <a:pt x="281326" y="75638"/>
                  <a:pt x="282766" y="75054"/>
                </a:cubicBezTo>
                <a:cubicBezTo>
                  <a:pt x="284606" y="74285"/>
                  <a:pt x="286561" y="73816"/>
                  <a:pt x="288551" y="73666"/>
                </a:cubicBezTo>
                <a:cubicBezTo>
                  <a:pt x="291264" y="73631"/>
                  <a:pt x="293520" y="75754"/>
                  <a:pt x="293641" y="78467"/>
                </a:cubicBezTo>
                <a:cubicBezTo>
                  <a:pt x="293687" y="83129"/>
                  <a:pt x="290130" y="87039"/>
                  <a:pt x="285485" y="87433"/>
                </a:cubicBezTo>
                <a:cubicBezTo>
                  <a:pt x="277902" y="88740"/>
                  <a:pt x="272088" y="94889"/>
                  <a:pt x="271197" y="102530"/>
                </a:cubicBezTo>
                <a:cubicBezTo>
                  <a:pt x="269636" y="107736"/>
                  <a:pt x="265876" y="108314"/>
                  <a:pt x="262232" y="108314"/>
                </a:cubicBezTo>
                <a:cubicBezTo>
                  <a:pt x="258784" y="108424"/>
                  <a:pt x="255470" y="109662"/>
                  <a:pt x="252803" y="111843"/>
                </a:cubicBezTo>
                <a:lnTo>
                  <a:pt x="251126" y="113347"/>
                </a:lnTo>
                <a:cubicBezTo>
                  <a:pt x="245341" y="118437"/>
                  <a:pt x="240540" y="122833"/>
                  <a:pt x="236086" y="122833"/>
                </a:cubicBezTo>
                <a:cubicBezTo>
                  <a:pt x="234831" y="122845"/>
                  <a:pt x="233605" y="122480"/>
                  <a:pt x="232558" y="121792"/>
                </a:cubicBezTo>
                <a:cubicBezTo>
                  <a:pt x="228508" y="119131"/>
                  <a:pt x="224749" y="120982"/>
                  <a:pt x="219369" y="124106"/>
                </a:cubicBezTo>
                <a:lnTo>
                  <a:pt x="219022" y="124106"/>
                </a:lnTo>
                <a:cubicBezTo>
                  <a:pt x="217616" y="124991"/>
                  <a:pt x="215997" y="125488"/>
                  <a:pt x="214336" y="125552"/>
                </a:cubicBezTo>
                <a:cubicBezTo>
                  <a:pt x="211213" y="125552"/>
                  <a:pt x="208552" y="123412"/>
                  <a:pt x="204329" y="119768"/>
                </a:cubicBezTo>
                <a:lnTo>
                  <a:pt x="201321" y="117280"/>
                </a:lnTo>
                <a:cubicBezTo>
                  <a:pt x="198007" y="114139"/>
                  <a:pt x="195213" y="110484"/>
                  <a:pt x="193050" y="106463"/>
                </a:cubicBezTo>
                <a:cubicBezTo>
                  <a:pt x="189649" y="100586"/>
                  <a:pt x="185571" y="95132"/>
                  <a:pt x="180903" y="90209"/>
                </a:cubicBezTo>
                <a:cubicBezTo>
                  <a:pt x="172561" y="94206"/>
                  <a:pt x="163601" y="96763"/>
                  <a:pt x="154410" y="97787"/>
                </a:cubicBezTo>
                <a:lnTo>
                  <a:pt x="147006" y="97787"/>
                </a:lnTo>
                <a:cubicBezTo>
                  <a:pt x="142841" y="97787"/>
                  <a:pt x="138040" y="97787"/>
                  <a:pt x="133297" y="97787"/>
                </a:cubicBezTo>
                <a:cubicBezTo>
                  <a:pt x="116406" y="97787"/>
                  <a:pt x="114440" y="99869"/>
                  <a:pt x="114208" y="100506"/>
                </a:cubicBezTo>
                <a:cubicBezTo>
                  <a:pt x="113578" y="103791"/>
                  <a:pt x="114197" y="107198"/>
                  <a:pt x="115944" y="110050"/>
                </a:cubicBezTo>
                <a:cubicBezTo>
                  <a:pt x="116875" y="111935"/>
                  <a:pt x="118523" y="113370"/>
                  <a:pt x="120513" y="114041"/>
                </a:cubicBezTo>
                <a:cubicBezTo>
                  <a:pt x="124620" y="114967"/>
                  <a:pt x="130115" y="116644"/>
                  <a:pt x="130867" y="120230"/>
                </a:cubicBezTo>
                <a:cubicBezTo>
                  <a:pt x="131330" y="122486"/>
                  <a:pt x="129884" y="124742"/>
                  <a:pt x="126413" y="127288"/>
                </a:cubicBezTo>
                <a:cubicBezTo>
                  <a:pt x="123214" y="129451"/>
                  <a:pt x="119460" y="130660"/>
                  <a:pt x="115597" y="130758"/>
                </a:cubicBezTo>
                <a:cubicBezTo>
                  <a:pt x="110911" y="131163"/>
                  <a:pt x="108308" y="131394"/>
                  <a:pt x="108308" y="141054"/>
                </a:cubicBezTo>
                <a:cubicBezTo>
                  <a:pt x="109153" y="148736"/>
                  <a:pt x="112392" y="155961"/>
                  <a:pt x="117563" y="161705"/>
                </a:cubicBezTo>
                <a:cubicBezTo>
                  <a:pt x="122885" y="169109"/>
                  <a:pt x="128322" y="176686"/>
                  <a:pt x="125719" y="185710"/>
                </a:cubicBezTo>
                <a:cubicBezTo>
                  <a:pt x="122671" y="197828"/>
                  <a:pt x="120739" y="210201"/>
                  <a:pt x="119935" y="222673"/>
                </a:cubicBezTo>
                <a:cubicBezTo>
                  <a:pt x="119935" y="229903"/>
                  <a:pt x="116985" y="259057"/>
                  <a:pt x="108366" y="260908"/>
                </a:cubicBezTo>
                <a:cubicBezTo>
                  <a:pt x="105520" y="261284"/>
                  <a:pt x="102622" y="260966"/>
                  <a:pt x="99921" y="259982"/>
                </a:cubicBezTo>
                <a:cubicBezTo>
                  <a:pt x="97931" y="259357"/>
                  <a:pt x="95871" y="258987"/>
                  <a:pt x="93789" y="258883"/>
                </a:cubicBezTo>
                <a:cubicBezTo>
                  <a:pt x="90666" y="258924"/>
                  <a:pt x="87669" y="260144"/>
                  <a:pt x="85402" y="262296"/>
                </a:cubicBezTo>
                <a:cubicBezTo>
                  <a:pt x="80693" y="265697"/>
                  <a:pt x="75117" y="267699"/>
                  <a:pt x="69321" y="268080"/>
                </a:cubicBezTo>
                <a:cubicBezTo>
                  <a:pt x="63190" y="268572"/>
                  <a:pt x="57307" y="270735"/>
                  <a:pt x="52315" y="274328"/>
                </a:cubicBezTo>
                <a:cubicBezTo>
                  <a:pt x="48109" y="277411"/>
                  <a:pt x="43389" y="279724"/>
                  <a:pt x="38374" y="281153"/>
                </a:cubicBezTo>
                <a:cubicBezTo>
                  <a:pt x="32590" y="283004"/>
                  <a:pt x="28946" y="284219"/>
                  <a:pt x="28483" y="289599"/>
                </a:cubicBezTo>
                <a:cubicBezTo>
                  <a:pt x="27893" y="294185"/>
                  <a:pt x="26140" y="298547"/>
                  <a:pt x="23393" y="302267"/>
                </a:cubicBezTo>
                <a:cubicBezTo>
                  <a:pt x="20315" y="305812"/>
                  <a:pt x="18927" y="310515"/>
                  <a:pt x="19575" y="315166"/>
                </a:cubicBezTo>
                <a:cubicBezTo>
                  <a:pt x="21368" y="322165"/>
                  <a:pt x="18245" y="323784"/>
                  <a:pt x="14369" y="325809"/>
                </a:cubicBezTo>
                <a:cubicBezTo>
                  <a:pt x="11725" y="327047"/>
                  <a:pt x="9308" y="328707"/>
                  <a:pt x="7196" y="330726"/>
                </a:cubicBezTo>
                <a:cubicBezTo>
                  <a:pt x="4547" y="333034"/>
                  <a:pt x="3564" y="336719"/>
                  <a:pt x="4709" y="340039"/>
                </a:cubicBezTo>
                <a:cubicBezTo>
                  <a:pt x="5675" y="342908"/>
                  <a:pt x="5108" y="346072"/>
                  <a:pt x="3205" y="348426"/>
                </a:cubicBezTo>
                <a:cubicBezTo>
                  <a:pt x="-729" y="352996"/>
                  <a:pt x="4073" y="360400"/>
                  <a:pt x="8989" y="368267"/>
                </a:cubicBezTo>
                <a:lnTo>
                  <a:pt x="10435" y="370523"/>
                </a:lnTo>
                <a:cubicBezTo>
                  <a:pt x="11708" y="372547"/>
                  <a:pt x="13038" y="374456"/>
                  <a:pt x="14369" y="376307"/>
                </a:cubicBezTo>
                <a:cubicBezTo>
                  <a:pt x="18765" y="382612"/>
                  <a:pt x="22583" y="387876"/>
                  <a:pt x="21947" y="394644"/>
                </a:cubicBezTo>
                <a:cubicBezTo>
                  <a:pt x="21542" y="396934"/>
                  <a:pt x="22178" y="399288"/>
                  <a:pt x="23682" y="401064"/>
                </a:cubicBezTo>
                <a:cubicBezTo>
                  <a:pt x="26609" y="403638"/>
                  <a:pt x="30559" y="404703"/>
                  <a:pt x="34383" y="403957"/>
                </a:cubicBezTo>
                <a:cubicBezTo>
                  <a:pt x="38837" y="403494"/>
                  <a:pt x="40167" y="407427"/>
                  <a:pt x="40746" y="410840"/>
                </a:cubicBezTo>
                <a:cubicBezTo>
                  <a:pt x="41787" y="415178"/>
                  <a:pt x="42770" y="419285"/>
                  <a:pt x="49076" y="419285"/>
                </a:cubicBezTo>
                <a:cubicBezTo>
                  <a:pt x="52315" y="419285"/>
                  <a:pt x="55496" y="419285"/>
                  <a:pt x="58562" y="419632"/>
                </a:cubicBezTo>
                <a:cubicBezTo>
                  <a:pt x="61628" y="419980"/>
                  <a:pt x="63941" y="419980"/>
                  <a:pt x="66313" y="419980"/>
                </a:cubicBezTo>
                <a:cubicBezTo>
                  <a:pt x="72618" y="419980"/>
                  <a:pt x="75858" y="418765"/>
                  <a:pt x="77130" y="415930"/>
                </a:cubicBezTo>
                <a:cubicBezTo>
                  <a:pt x="78981" y="411650"/>
                  <a:pt x="83319" y="407022"/>
                  <a:pt x="87021" y="407022"/>
                </a:cubicBezTo>
                <a:cubicBezTo>
                  <a:pt x="88294" y="407022"/>
                  <a:pt x="91360" y="407717"/>
                  <a:pt x="91360" y="413964"/>
                </a:cubicBezTo>
                <a:cubicBezTo>
                  <a:pt x="91360" y="415583"/>
                  <a:pt x="91360" y="417666"/>
                  <a:pt x="91360" y="419748"/>
                </a:cubicBezTo>
                <a:cubicBezTo>
                  <a:pt x="91360" y="428887"/>
                  <a:pt x="90666" y="444216"/>
                  <a:pt x="94136" y="447745"/>
                </a:cubicBezTo>
                <a:cubicBezTo>
                  <a:pt x="94709" y="448416"/>
                  <a:pt x="95663" y="448607"/>
                  <a:pt x="96450" y="448208"/>
                </a:cubicBezTo>
                <a:cubicBezTo>
                  <a:pt x="101540" y="446634"/>
                  <a:pt x="106856" y="445911"/>
                  <a:pt x="112184" y="446067"/>
                </a:cubicBezTo>
                <a:cubicBezTo>
                  <a:pt x="119160" y="445963"/>
                  <a:pt x="126107" y="446958"/>
                  <a:pt x="132776" y="449017"/>
                </a:cubicBezTo>
                <a:cubicBezTo>
                  <a:pt x="140597" y="451632"/>
                  <a:pt x="149227" y="449538"/>
                  <a:pt x="154989" y="443638"/>
                </a:cubicBezTo>
                <a:cubicBezTo>
                  <a:pt x="158303" y="440589"/>
                  <a:pt x="162254" y="438322"/>
                  <a:pt x="166557" y="436986"/>
                </a:cubicBezTo>
                <a:cubicBezTo>
                  <a:pt x="170751" y="435384"/>
                  <a:pt x="174817" y="433446"/>
                  <a:pt x="178705" y="431201"/>
                </a:cubicBezTo>
                <a:lnTo>
                  <a:pt x="185588" y="427094"/>
                </a:lnTo>
                <a:cubicBezTo>
                  <a:pt x="194496" y="421657"/>
                  <a:pt x="202941" y="416509"/>
                  <a:pt x="211560" y="416509"/>
                </a:cubicBezTo>
                <a:cubicBezTo>
                  <a:pt x="215442" y="416382"/>
                  <a:pt x="219311" y="415954"/>
                  <a:pt x="223129" y="415236"/>
                </a:cubicBezTo>
                <a:cubicBezTo>
                  <a:pt x="226432" y="414617"/>
                  <a:pt x="229775" y="414230"/>
                  <a:pt x="233136" y="414079"/>
                </a:cubicBezTo>
                <a:cubicBezTo>
                  <a:pt x="235855" y="414079"/>
                  <a:pt x="237532" y="414600"/>
                  <a:pt x="238400" y="415815"/>
                </a:cubicBezTo>
                <a:cubicBezTo>
                  <a:pt x="239140" y="416925"/>
                  <a:pt x="239291" y="418331"/>
                  <a:pt x="238805" y="419575"/>
                </a:cubicBezTo>
                <a:cubicBezTo>
                  <a:pt x="236202" y="428078"/>
                  <a:pt x="235045" y="457058"/>
                  <a:pt x="247481" y="471634"/>
                </a:cubicBezTo>
                <a:cubicBezTo>
                  <a:pt x="258414" y="484707"/>
                  <a:pt x="265355" y="490897"/>
                  <a:pt x="275073" y="490897"/>
                </a:cubicBezTo>
                <a:cubicBezTo>
                  <a:pt x="276305" y="490978"/>
                  <a:pt x="277543" y="490978"/>
                  <a:pt x="278775" y="490897"/>
                </a:cubicBezTo>
                <a:cubicBezTo>
                  <a:pt x="280002" y="490723"/>
                  <a:pt x="281239" y="490625"/>
                  <a:pt x="282477" y="490608"/>
                </a:cubicBezTo>
                <a:cubicBezTo>
                  <a:pt x="285503" y="490521"/>
                  <a:pt x="288476" y="491394"/>
                  <a:pt x="290980" y="493095"/>
                </a:cubicBezTo>
                <a:cubicBezTo>
                  <a:pt x="293063" y="494622"/>
                  <a:pt x="295654" y="495287"/>
                  <a:pt x="298211" y="494946"/>
                </a:cubicBezTo>
                <a:cubicBezTo>
                  <a:pt x="303648" y="494425"/>
                  <a:pt x="304690" y="497954"/>
                  <a:pt x="305384" y="500730"/>
                </a:cubicBezTo>
                <a:cubicBezTo>
                  <a:pt x="306078" y="503507"/>
                  <a:pt x="306714" y="504837"/>
                  <a:pt x="309606" y="504837"/>
                </a:cubicBezTo>
                <a:cubicBezTo>
                  <a:pt x="315391" y="504837"/>
                  <a:pt x="333322" y="505647"/>
                  <a:pt x="333322" y="516406"/>
                </a:cubicBezTo>
                <a:cubicBezTo>
                  <a:pt x="333322" y="519009"/>
                  <a:pt x="336272" y="520050"/>
                  <a:pt x="343387" y="520050"/>
                </a:cubicBezTo>
                <a:lnTo>
                  <a:pt x="347899" y="520050"/>
                </a:lnTo>
                <a:lnTo>
                  <a:pt x="352469" y="520050"/>
                </a:lnTo>
                <a:cubicBezTo>
                  <a:pt x="356061" y="519668"/>
                  <a:pt x="359676" y="520414"/>
                  <a:pt x="362823" y="522190"/>
                </a:cubicBezTo>
                <a:lnTo>
                  <a:pt x="364616" y="523694"/>
                </a:lnTo>
                <a:cubicBezTo>
                  <a:pt x="369822" y="527975"/>
                  <a:pt x="375259" y="532487"/>
                  <a:pt x="373698" y="541800"/>
                </a:cubicBezTo>
                <a:cubicBezTo>
                  <a:pt x="373565" y="545797"/>
                  <a:pt x="374901" y="549707"/>
                  <a:pt x="377457" y="552790"/>
                </a:cubicBezTo>
                <a:cubicBezTo>
                  <a:pt x="379251" y="555624"/>
                  <a:pt x="380812" y="558112"/>
                  <a:pt x="380176" y="560425"/>
                </a:cubicBezTo>
                <a:cubicBezTo>
                  <a:pt x="379713" y="561889"/>
                  <a:pt x="378603" y="563063"/>
                  <a:pt x="377168" y="563607"/>
                </a:cubicBezTo>
                <a:cubicBezTo>
                  <a:pt x="373582" y="565400"/>
                  <a:pt x="374276" y="567598"/>
                  <a:pt x="377168" y="573498"/>
                </a:cubicBezTo>
                <a:cubicBezTo>
                  <a:pt x="379181" y="577073"/>
                  <a:pt x="380494" y="581001"/>
                  <a:pt x="381044" y="585067"/>
                </a:cubicBezTo>
                <a:cubicBezTo>
                  <a:pt x="381680" y="593570"/>
                  <a:pt x="389894" y="597851"/>
                  <a:pt x="405396" y="597851"/>
                </a:cubicBezTo>
                <a:lnTo>
                  <a:pt x="409735" y="597851"/>
                </a:lnTo>
                <a:lnTo>
                  <a:pt x="415982" y="597851"/>
                </a:lnTo>
                <a:cubicBezTo>
                  <a:pt x="429633" y="597851"/>
                  <a:pt x="433335" y="601206"/>
                  <a:pt x="433335" y="612890"/>
                </a:cubicBezTo>
                <a:cubicBezTo>
                  <a:pt x="433549" y="618438"/>
                  <a:pt x="436274" y="623592"/>
                  <a:pt x="440739" y="626889"/>
                </a:cubicBezTo>
                <a:cubicBezTo>
                  <a:pt x="444632" y="630192"/>
                  <a:pt x="447617" y="634431"/>
                  <a:pt x="449416" y="639210"/>
                </a:cubicBezTo>
                <a:cubicBezTo>
                  <a:pt x="451064" y="646457"/>
                  <a:pt x="450607" y="654023"/>
                  <a:pt x="448085" y="661017"/>
                </a:cubicBezTo>
                <a:cubicBezTo>
                  <a:pt x="446605" y="665488"/>
                  <a:pt x="445974" y="670197"/>
                  <a:pt x="446234" y="674899"/>
                </a:cubicBezTo>
                <a:cubicBezTo>
                  <a:pt x="447096" y="682147"/>
                  <a:pt x="444140" y="689331"/>
                  <a:pt x="438426" y="693872"/>
                </a:cubicBezTo>
                <a:cubicBezTo>
                  <a:pt x="442070" y="698731"/>
                  <a:pt x="443400" y="701797"/>
                  <a:pt x="442879" y="704342"/>
                </a:cubicBezTo>
                <a:cubicBezTo>
                  <a:pt x="442226" y="706557"/>
                  <a:pt x="440612" y="708362"/>
                  <a:pt x="438483" y="709259"/>
                </a:cubicBezTo>
                <a:cubicBezTo>
                  <a:pt x="436227" y="710473"/>
                  <a:pt x="436979" y="712556"/>
                  <a:pt x="439640" y="718051"/>
                </a:cubicBezTo>
                <a:cubicBezTo>
                  <a:pt x="443892" y="725305"/>
                  <a:pt x="445453" y="733825"/>
                  <a:pt x="444036" y="742114"/>
                </a:cubicBezTo>
                <a:cubicBezTo>
                  <a:pt x="441896" y="751369"/>
                  <a:pt x="440681" y="756865"/>
                  <a:pt x="442648" y="759468"/>
                </a:cubicBezTo>
                <a:cubicBezTo>
                  <a:pt x="444615" y="762071"/>
                  <a:pt x="448143" y="762476"/>
                  <a:pt x="456935" y="762880"/>
                </a:cubicBezTo>
                <a:cubicBezTo>
                  <a:pt x="462645" y="762933"/>
                  <a:pt x="468296" y="763968"/>
                  <a:pt x="473652" y="765946"/>
                </a:cubicBezTo>
                <a:cubicBezTo>
                  <a:pt x="475642" y="767219"/>
                  <a:pt x="478234" y="767034"/>
                  <a:pt x="480016" y="765483"/>
                </a:cubicBezTo>
                <a:cubicBezTo>
                  <a:pt x="480808" y="764974"/>
                  <a:pt x="481734" y="764714"/>
                  <a:pt x="482676" y="764731"/>
                </a:cubicBezTo>
                <a:cubicBezTo>
                  <a:pt x="489907" y="764731"/>
                  <a:pt x="498294" y="780870"/>
                  <a:pt x="500550" y="789142"/>
                </a:cubicBezTo>
                <a:cubicBezTo>
                  <a:pt x="503847" y="801116"/>
                  <a:pt x="510441" y="818064"/>
                  <a:pt x="512697" y="818584"/>
                </a:cubicBezTo>
                <a:cubicBezTo>
                  <a:pt x="514051" y="818179"/>
                  <a:pt x="515341" y="817578"/>
                  <a:pt x="516515" y="816791"/>
                </a:cubicBezTo>
                <a:cubicBezTo>
                  <a:pt x="520460" y="814206"/>
                  <a:pt x="525001" y="812673"/>
                  <a:pt x="529704" y="812337"/>
                </a:cubicBezTo>
                <a:cubicBezTo>
                  <a:pt x="531913" y="812309"/>
                  <a:pt x="534100" y="812829"/>
                  <a:pt x="536067" y="813841"/>
                </a:cubicBezTo>
                <a:cubicBezTo>
                  <a:pt x="542950" y="817254"/>
                  <a:pt x="539884" y="832062"/>
                  <a:pt x="536934" y="846350"/>
                </a:cubicBezTo>
                <a:cubicBezTo>
                  <a:pt x="535679" y="851689"/>
                  <a:pt x="534753" y="857097"/>
                  <a:pt x="534158" y="862546"/>
                </a:cubicBezTo>
                <a:lnTo>
                  <a:pt x="539074" y="862546"/>
                </a:lnTo>
                <a:cubicBezTo>
                  <a:pt x="543251" y="862245"/>
                  <a:pt x="547445" y="862714"/>
                  <a:pt x="551453" y="863934"/>
                </a:cubicBezTo>
                <a:cubicBezTo>
                  <a:pt x="557238" y="866827"/>
                  <a:pt x="559551" y="900492"/>
                  <a:pt x="557238" y="907086"/>
                </a:cubicBezTo>
                <a:cubicBezTo>
                  <a:pt x="555560" y="911193"/>
                  <a:pt x="547809" y="914606"/>
                  <a:pt x="538843" y="918655"/>
                </a:cubicBezTo>
                <a:cubicBezTo>
                  <a:pt x="533579" y="920755"/>
                  <a:pt x="528495" y="923265"/>
                  <a:pt x="523630" y="926175"/>
                </a:cubicBezTo>
                <a:cubicBezTo>
                  <a:pt x="505334" y="939872"/>
                  <a:pt x="489473" y="956549"/>
                  <a:pt x="476718" y="975516"/>
                </a:cubicBezTo>
                <a:cubicBezTo>
                  <a:pt x="471547" y="983365"/>
                  <a:pt x="465595" y="990671"/>
                  <a:pt x="458960" y="997323"/>
                </a:cubicBezTo>
                <a:lnTo>
                  <a:pt x="453986" y="1002761"/>
                </a:lnTo>
                <a:cubicBezTo>
                  <a:pt x="455802" y="1002957"/>
                  <a:pt x="457641" y="1002737"/>
                  <a:pt x="459365" y="1002125"/>
                </a:cubicBezTo>
                <a:cubicBezTo>
                  <a:pt x="461447" y="1001159"/>
                  <a:pt x="463721" y="1000661"/>
                  <a:pt x="466017" y="1000678"/>
                </a:cubicBezTo>
                <a:cubicBezTo>
                  <a:pt x="473254" y="1001234"/>
                  <a:pt x="479859" y="1005017"/>
                  <a:pt x="484007" y="1010975"/>
                </a:cubicBezTo>
                <a:cubicBezTo>
                  <a:pt x="487587" y="1015359"/>
                  <a:pt x="490462" y="1020276"/>
                  <a:pt x="492510" y="1025551"/>
                </a:cubicBezTo>
                <a:cubicBezTo>
                  <a:pt x="493551" y="1027981"/>
                  <a:pt x="494245" y="1029716"/>
                  <a:pt x="495055" y="1029716"/>
                </a:cubicBezTo>
                <a:cubicBezTo>
                  <a:pt x="495865" y="1029716"/>
                  <a:pt x="497195" y="1027981"/>
                  <a:pt x="498178" y="1026766"/>
                </a:cubicBezTo>
                <a:cubicBezTo>
                  <a:pt x="500087" y="1024047"/>
                  <a:pt x="502343" y="1021271"/>
                  <a:pt x="505351" y="102127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79" name="Forma libre: forma 378">
            <a:extLst>
              <a:ext uri="{FF2B5EF4-FFF2-40B4-BE49-F238E27FC236}">
                <a16:creationId xmlns:a16="http://schemas.microsoft.com/office/drawing/2014/main" id="{D9DCCC24-640A-FC0E-8FCE-BB5C05A2B3B4}"/>
              </a:ext>
            </a:extLst>
          </p:cNvPr>
          <p:cNvSpPr/>
          <p:nvPr/>
        </p:nvSpPr>
        <p:spPr>
          <a:xfrm>
            <a:off x="4574924" y="5339394"/>
            <a:ext cx="138389" cy="146696"/>
          </a:xfrm>
          <a:custGeom>
            <a:avLst/>
            <a:gdLst>
              <a:gd name="connsiteX0" fmla="*/ 60439 w 138389"/>
              <a:gd name="connsiteY0" fmla="*/ 146564 h 146696"/>
              <a:gd name="connsiteX1" fmla="*/ 52168 w 138389"/>
              <a:gd name="connsiteY1" fmla="*/ 144193 h 146696"/>
              <a:gd name="connsiteX2" fmla="*/ 21279 w 138389"/>
              <a:gd name="connsiteY2" fmla="*/ 134938 h 146696"/>
              <a:gd name="connsiteX3" fmla="*/ 17634 w 138389"/>
              <a:gd name="connsiteY3" fmla="*/ 134938 h 146696"/>
              <a:gd name="connsiteX4" fmla="*/ 7107 w 138389"/>
              <a:gd name="connsiteY4" fmla="*/ 130484 h 146696"/>
              <a:gd name="connsiteX5" fmla="*/ 5950 w 138389"/>
              <a:gd name="connsiteY5" fmla="*/ 129385 h 146696"/>
              <a:gd name="connsiteX6" fmla="*/ 5950 w 138389"/>
              <a:gd name="connsiteY6" fmla="*/ 128170 h 146696"/>
              <a:gd name="connsiteX7" fmla="*/ 8264 w 138389"/>
              <a:gd name="connsiteY7" fmla="*/ 117931 h 146696"/>
              <a:gd name="connsiteX8" fmla="*/ 6470 w 138389"/>
              <a:gd name="connsiteY8" fmla="*/ 117064 h 146696"/>
              <a:gd name="connsiteX9" fmla="*/ -66 w 138389"/>
              <a:gd name="connsiteY9" fmla="*/ 100463 h 146696"/>
              <a:gd name="connsiteX10" fmla="*/ 3347 w 138389"/>
              <a:gd name="connsiteY10" fmla="*/ 84961 h 146696"/>
              <a:gd name="connsiteX11" fmla="*/ 7280 w 138389"/>
              <a:gd name="connsiteY11" fmla="*/ 64888 h 146696"/>
              <a:gd name="connsiteX12" fmla="*/ 13065 w 138389"/>
              <a:gd name="connsiteY12" fmla="*/ 34462 h 146696"/>
              <a:gd name="connsiteX13" fmla="*/ 16478 w 138389"/>
              <a:gd name="connsiteY13" fmla="*/ 18266 h 146696"/>
              <a:gd name="connsiteX14" fmla="*/ 25212 w 138389"/>
              <a:gd name="connsiteY14" fmla="*/ 2127 h 146696"/>
              <a:gd name="connsiteX15" fmla="*/ 26195 w 138389"/>
              <a:gd name="connsiteY15" fmla="*/ 1722 h 146696"/>
              <a:gd name="connsiteX16" fmla="*/ 33773 w 138389"/>
              <a:gd name="connsiteY16" fmla="*/ 1318 h 146696"/>
              <a:gd name="connsiteX17" fmla="*/ 40425 w 138389"/>
              <a:gd name="connsiteY17" fmla="*/ -129 h 146696"/>
              <a:gd name="connsiteX18" fmla="*/ 58415 w 138389"/>
              <a:gd name="connsiteY18" fmla="*/ 10168 h 146696"/>
              <a:gd name="connsiteX19" fmla="*/ 66918 w 138389"/>
              <a:gd name="connsiteY19" fmla="*/ 24744 h 146696"/>
              <a:gd name="connsiteX20" fmla="*/ 69463 w 138389"/>
              <a:gd name="connsiteY20" fmla="*/ 28909 h 146696"/>
              <a:gd name="connsiteX21" fmla="*/ 72586 w 138389"/>
              <a:gd name="connsiteY21" fmla="*/ 25959 h 146696"/>
              <a:gd name="connsiteX22" fmla="*/ 79817 w 138389"/>
              <a:gd name="connsiteY22" fmla="*/ 20695 h 146696"/>
              <a:gd name="connsiteX23" fmla="*/ 86064 w 138389"/>
              <a:gd name="connsiteY23" fmla="*/ 25034 h 146696"/>
              <a:gd name="connsiteX24" fmla="*/ 106541 w 138389"/>
              <a:gd name="connsiteY24" fmla="*/ 41114 h 146696"/>
              <a:gd name="connsiteX25" fmla="*/ 116664 w 138389"/>
              <a:gd name="connsiteY25" fmla="*/ 48229 h 146696"/>
              <a:gd name="connsiteX26" fmla="*/ 122101 w 138389"/>
              <a:gd name="connsiteY26" fmla="*/ 52278 h 146696"/>
              <a:gd name="connsiteX27" fmla="*/ 135348 w 138389"/>
              <a:gd name="connsiteY27" fmla="*/ 70442 h 146696"/>
              <a:gd name="connsiteX28" fmla="*/ 134827 w 138389"/>
              <a:gd name="connsiteY28" fmla="*/ 78482 h 146696"/>
              <a:gd name="connsiteX29" fmla="*/ 138124 w 138389"/>
              <a:gd name="connsiteY29" fmla="*/ 111395 h 146696"/>
              <a:gd name="connsiteX30" fmla="*/ 138124 w 138389"/>
              <a:gd name="connsiteY30" fmla="*/ 112552 h 146696"/>
              <a:gd name="connsiteX31" fmla="*/ 132340 w 138389"/>
              <a:gd name="connsiteY31" fmla="*/ 120592 h 146696"/>
              <a:gd name="connsiteX32" fmla="*/ 115970 w 138389"/>
              <a:gd name="connsiteY32" fmla="*/ 138409 h 146696"/>
              <a:gd name="connsiteX33" fmla="*/ 89535 w 138389"/>
              <a:gd name="connsiteY33" fmla="*/ 145350 h 146696"/>
              <a:gd name="connsiteX34" fmla="*/ 89535 w 138389"/>
              <a:gd name="connsiteY34" fmla="*/ 145350 h 146696"/>
              <a:gd name="connsiteX35" fmla="*/ 74032 w 138389"/>
              <a:gd name="connsiteY35" fmla="*/ 144019 h 146696"/>
              <a:gd name="connsiteX36" fmla="*/ 70620 w 138389"/>
              <a:gd name="connsiteY36" fmla="*/ 144019 h 146696"/>
              <a:gd name="connsiteX37" fmla="*/ 64835 w 138389"/>
              <a:gd name="connsiteY37" fmla="*/ 145408 h 146696"/>
              <a:gd name="connsiteX38" fmla="*/ 60439 w 138389"/>
              <a:gd name="connsiteY38" fmla="*/ 146564 h 146696"/>
              <a:gd name="connsiteX39" fmla="*/ 21279 w 138389"/>
              <a:gd name="connsiteY39" fmla="*/ 132682 h 146696"/>
              <a:gd name="connsiteX40" fmla="*/ 53093 w 138389"/>
              <a:gd name="connsiteY40" fmla="*/ 142111 h 146696"/>
              <a:gd name="connsiteX41" fmla="*/ 60439 w 138389"/>
              <a:gd name="connsiteY41" fmla="*/ 144308 h 146696"/>
              <a:gd name="connsiteX42" fmla="*/ 63621 w 138389"/>
              <a:gd name="connsiteY42" fmla="*/ 143383 h 146696"/>
              <a:gd name="connsiteX43" fmla="*/ 70273 w 138389"/>
              <a:gd name="connsiteY43" fmla="*/ 141706 h 146696"/>
              <a:gd name="connsiteX44" fmla="*/ 74032 w 138389"/>
              <a:gd name="connsiteY44" fmla="*/ 142053 h 146696"/>
              <a:gd name="connsiteX45" fmla="*/ 89361 w 138389"/>
              <a:gd name="connsiteY45" fmla="*/ 143383 h 146696"/>
              <a:gd name="connsiteX46" fmla="*/ 114639 w 138389"/>
              <a:gd name="connsiteY46" fmla="*/ 136789 h 146696"/>
              <a:gd name="connsiteX47" fmla="*/ 130315 w 138389"/>
              <a:gd name="connsiteY47" fmla="*/ 119435 h 146696"/>
              <a:gd name="connsiteX48" fmla="*/ 135695 w 138389"/>
              <a:gd name="connsiteY48" fmla="*/ 111858 h 146696"/>
              <a:gd name="connsiteX49" fmla="*/ 132455 w 138389"/>
              <a:gd name="connsiteY49" fmla="*/ 78424 h 146696"/>
              <a:gd name="connsiteX50" fmla="*/ 132976 w 138389"/>
              <a:gd name="connsiteY50" fmla="*/ 70557 h 146696"/>
              <a:gd name="connsiteX51" fmla="*/ 120771 w 138389"/>
              <a:gd name="connsiteY51" fmla="*/ 54303 h 146696"/>
              <a:gd name="connsiteX52" fmla="*/ 114986 w 138389"/>
              <a:gd name="connsiteY52" fmla="*/ 49849 h 146696"/>
              <a:gd name="connsiteX53" fmla="*/ 105326 w 138389"/>
              <a:gd name="connsiteY53" fmla="*/ 43139 h 146696"/>
              <a:gd name="connsiteX54" fmla="*/ 83577 w 138389"/>
              <a:gd name="connsiteY54" fmla="*/ 26538 h 146696"/>
              <a:gd name="connsiteX55" fmla="*/ 79181 w 138389"/>
              <a:gd name="connsiteY55" fmla="*/ 23183 h 146696"/>
              <a:gd name="connsiteX56" fmla="*/ 73685 w 138389"/>
              <a:gd name="connsiteY56" fmla="*/ 27579 h 146696"/>
              <a:gd name="connsiteX57" fmla="*/ 69405 w 138389"/>
              <a:gd name="connsiteY57" fmla="*/ 31339 h 146696"/>
              <a:gd name="connsiteX58" fmla="*/ 68827 w 138389"/>
              <a:gd name="connsiteY58" fmla="*/ 31339 h 146696"/>
              <a:gd name="connsiteX59" fmla="*/ 64199 w 138389"/>
              <a:gd name="connsiteY59" fmla="*/ 25554 h 146696"/>
              <a:gd name="connsiteX60" fmla="*/ 56043 w 138389"/>
              <a:gd name="connsiteY60" fmla="*/ 11614 h 146696"/>
              <a:gd name="connsiteX61" fmla="*/ 39789 w 138389"/>
              <a:gd name="connsiteY61" fmla="*/ 2070 h 146696"/>
              <a:gd name="connsiteX62" fmla="*/ 34004 w 138389"/>
              <a:gd name="connsiteY62" fmla="*/ 3284 h 146696"/>
              <a:gd name="connsiteX63" fmla="*/ 25848 w 138389"/>
              <a:gd name="connsiteY63" fmla="*/ 3979 h 146696"/>
              <a:gd name="connsiteX64" fmla="*/ 18039 w 138389"/>
              <a:gd name="connsiteY64" fmla="*/ 18208 h 146696"/>
              <a:gd name="connsiteX65" fmla="*/ 14511 w 138389"/>
              <a:gd name="connsiteY65" fmla="*/ 35041 h 146696"/>
              <a:gd name="connsiteX66" fmla="*/ 8726 w 138389"/>
              <a:gd name="connsiteY66" fmla="*/ 64888 h 146696"/>
              <a:gd name="connsiteX67" fmla="*/ 4562 w 138389"/>
              <a:gd name="connsiteY67" fmla="*/ 85770 h 146696"/>
              <a:gd name="connsiteX68" fmla="*/ 1323 w 138389"/>
              <a:gd name="connsiteY68" fmla="*/ 100521 h 146696"/>
              <a:gd name="connsiteX69" fmla="*/ 6355 w 138389"/>
              <a:gd name="connsiteY69" fmla="*/ 114866 h 146696"/>
              <a:gd name="connsiteX70" fmla="*/ 8958 w 138389"/>
              <a:gd name="connsiteY70" fmla="*/ 116254 h 146696"/>
              <a:gd name="connsiteX71" fmla="*/ 7454 w 138389"/>
              <a:gd name="connsiteY71" fmla="*/ 128170 h 146696"/>
              <a:gd name="connsiteX72" fmla="*/ 8090 w 138389"/>
              <a:gd name="connsiteY72" fmla="*/ 128806 h 146696"/>
              <a:gd name="connsiteX73" fmla="*/ 16825 w 138389"/>
              <a:gd name="connsiteY73" fmla="*/ 132624 h 146696"/>
              <a:gd name="connsiteX74" fmla="*/ 21163 w 138389"/>
              <a:gd name="connsiteY74" fmla="*/ 132682 h 14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38389" h="146696">
                <a:moveTo>
                  <a:pt x="60439" y="146564"/>
                </a:moveTo>
                <a:cubicBezTo>
                  <a:pt x="57553" y="146327"/>
                  <a:pt x="54742" y="145518"/>
                  <a:pt x="52168" y="144193"/>
                </a:cubicBezTo>
                <a:cubicBezTo>
                  <a:pt x="42635" y="138981"/>
                  <a:pt x="32107" y="135828"/>
                  <a:pt x="21279" y="134938"/>
                </a:cubicBezTo>
                <a:cubicBezTo>
                  <a:pt x="20064" y="134938"/>
                  <a:pt x="18849" y="134938"/>
                  <a:pt x="17634" y="134938"/>
                </a:cubicBezTo>
                <a:cubicBezTo>
                  <a:pt x="13603" y="135279"/>
                  <a:pt x="9669" y="133613"/>
                  <a:pt x="7107" y="130484"/>
                </a:cubicBezTo>
                <a:lnTo>
                  <a:pt x="5950" y="129385"/>
                </a:lnTo>
                <a:cubicBezTo>
                  <a:pt x="5689" y="129021"/>
                  <a:pt x="5689" y="128534"/>
                  <a:pt x="5950" y="128170"/>
                </a:cubicBezTo>
                <a:cubicBezTo>
                  <a:pt x="9189" y="119378"/>
                  <a:pt x="8379" y="118047"/>
                  <a:pt x="8264" y="117931"/>
                </a:cubicBezTo>
                <a:cubicBezTo>
                  <a:pt x="7743" y="117509"/>
                  <a:pt x="7130" y="117208"/>
                  <a:pt x="6470" y="117064"/>
                </a:cubicBezTo>
                <a:cubicBezTo>
                  <a:pt x="2769" y="115733"/>
                  <a:pt x="-529" y="113478"/>
                  <a:pt x="-66" y="100463"/>
                </a:cubicBezTo>
                <a:cubicBezTo>
                  <a:pt x="-89" y="95106"/>
                  <a:pt x="1079" y="89814"/>
                  <a:pt x="3347" y="84961"/>
                </a:cubicBezTo>
                <a:cubicBezTo>
                  <a:pt x="6164" y="78655"/>
                  <a:pt x="7506" y="71789"/>
                  <a:pt x="7280" y="64888"/>
                </a:cubicBezTo>
                <a:cubicBezTo>
                  <a:pt x="7737" y="54523"/>
                  <a:pt x="9687" y="44273"/>
                  <a:pt x="13065" y="34462"/>
                </a:cubicBezTo>
                <a:cubicBezTo>
                  <a:pt x="14974" y="29256"/>
                  <a:pt x="16125" y="23802"/>
                  <a:pt x="16478" y="18266"/>
                </a:cubicBezTo>
                <a:cubicBezTo>
                  <a:pt x="17513" y="12065"/>
                  <a:pt x="20590" y="6385"/>
                  <a:pt x="25212" y="2127"/>
                </a:cubicBezTo>
                <a:cubicBezTo>
                  <a:pt x="25449" y="1832"/>
                  <a:pt x="25819" y="1682"/>
                  <a:pt x="26195" y="1722"/>
                </a:cubicBezTo>
                <a:cubicBezTo>
                  <a:pt x="28717" y="2220"/>
                  <a:pt x="31320" y="2081"/>
                  <a:pt x="33773" y="1318"/>
                </a:cubicBezTo>
                <a:cubicBezTo>
                  <a:pt x="35855" y="352"/>
                  <a:pt x="38129" y="-146"/>
                  <a:pt x="40425" y="-129"/>
                </a:cubicBezTo>
                <a:cubicBezTo>
                  <a:pt x="47661" y="427"/>
                  <a:pt x="54267" y="4210"/>
                  <a:pt x="58415" y="10168"/>
                </a:cubicBezTo>
                <a:cubicBezTo>
                  <a:pt x="61995" y="14552"/>
                  <a:pt x="64870" y="19469"/>
                  <a:pt x="66918" y="24744"/>
                </a:cubicBezTo>
                <a:cubicBezTo>
                  <a:pt x="67959" y="27174"/>
                  <a:pt x="68653" y="28909"/>
                  <a:pt x="69463" y="28909"/>
                </a:cubicBezTo>
                <a:cubicBezTo>
                  <a:pt x="70273" y="28909"/>
                  <a:pt x="71603" y="27174"/>
                  <a:pt x="72586" y="25959"/>
                </a:cubicBezTo>
                <a:cubicBezTo>
                  <a:pt x="74553" y="23472"/>
                  <a:pt x="76809" y="20695"/>
                  <a:pt x="79817" y="20695"/>
                </a:cubicBezTo>
                <a:cubicBezTo>
                  <a:pt x="82825" y="20695"/>
                  <a:pt x="84040" y="22141"/>
                  <a:pt x="86064" y="25034"/>
                </a:cubicBezTo>
                <a:cubicBezTo>
                  <a:pt x="91866" y="31582"/>
                  <a:pt x="98802" y="37031"/>
                  <a:pt x="106541" y="41114"/>
                </a:cubicBezTo>
                <a:cubicBezTo>
                  <a:pt x="110180" y="43081"/>
                  <a:pt x="113581" y="45470"/>
                  <a:pt x="116664" y="48229"/>
                </a:cubicBezTo>
                <a:cubicBezTo>
                  <a:pt x="118289" y="49814"/>
                  <a:pt x="120117" y="51179"/>
                  <a:pt x="122101" y="52278"/>
                </a:cubicBezTo>
                <a:cubicBezTo>
                  <a:pt x="127885" y="55807"/>
                  <a:pt x="135348" y="60724"/>
                  <a:pt x="135348" y="70442"/>
                </a:cubicBezTo>
                <a:cubicBezTo>
                  <a:pt x="135348" y="72755"/>
                  <a:pt x="135348" y="75416"/>
                  <a:pt x="134827" y="78482"/>
                </a:cubicBezTo>
                <a:cubicBezTo>
                  <a:pt x="132912" y="89547"/>
                  <a:pt x="134052" y="100925"/>
                  <a:pt x="138124" y="111395"/>
                </a:cubicBezTo>
                <a:cubicBezTo>
                  <a:pt x="138332" y="111754"/>
                  <a:pt x="138332" y="112193"/>
                  <a:pt x="138124" y="112552"/>
                </a:cubicBezTo>
                <a:cubicBezTo>
                  <a:pt x="136042" y="115213"/>
                  <a:pt x="134191" y="117931"/>
                  <a:pt x="132340" y="120592"/>
                </a:cubicBezTo>
                <a:cubicBezTo>
                  <a:pt x="128239" y="127644"/>
                  <a:pt x="122651" y="133723"/>
                  <a:pt x="115970" y="138409"/>
                </a:cubicBezTo>
                <a:cubicBezTo>
                  <a:pt x="107987" y="143169"/>
                  <a:pt x="98825" y="145576"/>
                  <a:pt x="89535" y="145350"/>
                </a:cubicBezTo>
                <a:lnTo>
                  <a:pt x="89535" y="145350"/>
                </a:lnTo>
                <a:cubicBezTo>
                  <a:pt x="84341" y="145263"/>
                  <a:pt x="79163" y="144824"/>
                  <a:pt x="74032" y="144019"/>
                </a:cubicBezTo>
                <a:cubicBezTo>
                  <a:pt x="72899" y="143944"/>
                  <a:pt x="71754" y="143944"/>
                  <a:pt x="70620" y="144019"/>
                </a:cubicBezTo>
                <a:cubicBezTo>
                  <a:pt x="68601" y="143944"/>
                  <a:pt x="66600" y="144424"/>
                  <a:pt x="64835" y="145408"/>
                </a:cubicBezTo>
                <a:cubicBezTo>
                  <a:pt x="63511" y="146206"/>
                  <a:pt x="61984" y="146605"/>
                  <a:pt x="60439" y="146564"/>
                </a:cubicBezTo>
                <a:close/>
                <a:moveTo>
                  <a:pt x="21279" y="132682"/>
                </a:moveTo>
                <a:cubicBezTo>
                  <a:pt x="32425" y="133567"/>
                  <a:pt x="43265" y="136777"/>
                  <a:pt x="53093" y="142111"/>
                </a:cubicBezTo>
                <a:cubicBezTo>
                  <a:pt x="55372" y="143314"/>
                  <a:pt x="57871" y="144060"/>
                  <a:pt x="60439" y="144308"/>
                </a:cubicBezTo>
                <a:cubicBezTo>
                  <a:pt x="61561" y="144286"/>
                  <a:pt x="62660" y="143967"/>
                  <a:pt x="63621" y="143383"/>
                </a:cubicBezTo>
                <a:cubicBezTo>
                  <a:pt x="65645" y="142226"/>
                  <a:pt x="67942" y="141648"/>
                  <a:pt x="70273" y="141706"/>
                </a:cubicBezTo>
                <a:cubicBezTo>
                  <a:pt x="71534" y="141717"/>
                  <a:pt x="72789" y="141833"/>
                  <a:pt x="74032" y="142053"/>
                </a:cubicBezTo>
                <a:cubicBezTo>
                  <a:pt x="79105" y="142862"/>
                  <a:pt x="84225" y="143308"/>
                  <a:pt x="89361" y="143383"/>
                </a:cubicBezTo>
                <a:cubicBezTo>
                  <a:pt x="98235" y="143568"/>
                  <a:pt x="106986" y="141289"/>
                  <a:pt x="114639" y="136789"/>
                </a:cubicBezTo>
                <a:cubicBezTo>
                  <a:pt x="121025" y="132173"/>
                  <a:pt x="126370" y="126255"/>
                  <a:pt x="130315" y="119435"/>
                </a:cubicBezTo>
                <a:cubicBezTo>
                  <a:pt x="131993" y="116948"/>
                  <a:pt x="133728" y="114403"/>
                  <a:pt x="135695" y="111858"/>
                </a:cubicBezTo>
                <a:cubicBezTo>
                  <a:pt x="131640" y="101203"/>
                  <a:pt x="130524" y="89657"/>
                  <a:pt x="132455" y="78424"/>
                </a:cubicBezTo>
                <a:cubicBezTo>
                  <a:pt x="132745" y="75358"/>
                  <a:pt x="132976" y="72640"/>
                  <a:pt x="132976" y="70557"/>
                </a:cubicBezTo>
                <a:cubicBezTo>
                  <a:pt x="132976" y="62054"/>
                  <a:pt x="126208" y="57774"/>
                  <a:pt x="120771" y="54303"/>
                </a:cubicBezTo>
                <a:cubicBezTo>
                  <a:pt x="118654" y="53082"/>
                  <a:pt x="116710" y="51584"/>
                  <a:pt x="114986" y="49849"/>
                </a:cubicBezTo>
                <a:cubicBezTo>
                  <a:pt x="112019" y="47269"/>
                  <a:pt x="108780" y="45019"/>
                  <a:pt x="105326" y="43139"/>
                </a:cubicBezTo>
                <a:cubicBezTo>
                  <a:pt x="97095" y="39026"/>
                  <a:pt x="89714" y="33392"/>
                  <a:pt x="83577" y="26538"/>
                </a:cubicBezTo>
                <a:cubicBezTo>
                  <a:pt x="82015" y="24339"/>
                  <a:pt x="80569" y="23183"/>
                  <a:pt x="79181" y="23183"/>
                </a:cubicBezTo>
                <a:cubicBezTo>
                  <a:pt x="77792" y="23183"/>
                  <a:pt x="75363" y="25554"/>
                  <a:pt x="73685" y="27579"/>
                </a:cubicBezTo>
                <a:cubicBezTo>
                  <a:pt x="72008" y="29603"/>
                  <a:pt x="70909" y="31050"/>
                  <a:pt x="69405" y="31339"/>
                </a:cubicBezTo>
                <a:lnTo>
                  <a:pt x="68827" y="31339"/>
                </a:lnTo>
                <a:cubicBezTo>
                  <a:pt x="66571" y="31339"/>
                  <a:pt x="65645" y="29141"/>
                  <a:pt x="64199" y="25554"/>
                </a:cubicBezTo>
                <a:cubicBezTo>
                  <a:pt x="62244" y="20499"/>
                  <a:pt x="59491" y="15796"/>
                  <a:pt x="56043" y="11614"/>
                </a:cubicBezTo>
                <a:cubicBezTo>
                  <a:pt x="52324" y="6165"/>
                  <a:pt x="46360" y="2665"/>
                  <a:pt x="39789" y="2070"/>
                </a:cubicBezTo>
                <a:cubicBezTo>
                  <a:pt x="37793" y="2052"/>
                  <a:pt x="35821" y="2463"/>
                  <a:pt x="34004" y="3284"/>
                </a:cubicBezTo>
                <a:cubicBezTo>
                  <a:pt x="31390" y="4210"/>
                  <a:pt x="28584" y="4447"/>
                  <a:pt x="25848" y="3979"/>
                </a:cubicBezTo>
                <a:cubicBezTo>
                  <a:pt x="21782" y="7755"/>
                  <a:pt x="19040" y="12748"/>
                  <a:pt x="18039" y="18208"/>
                </a:cubicBezTo>
                <a:cubicBezTo>
                  <a:pt x="17687" y="23963"/>
                  <a:pt x="16501" y="29632"/>
                  <a:pt x="14511" y="35041"/>
                </a:cubicBezTo>
                <a:cubicBezTo>
                  <a:pt x="11133" y="44655"/>
                  <a:pt x="9183" y="54708"/>
                  <a:pt x="8726" y="64888"/>
                </a:cubicBezTo>
                <a:cubicBezTo>
                  <a:pt x="8888" y="72073"/>
                  <a:pt x="7465" y="79199"/>
                  <a:pt x="4562" y="85770"/>
                </a:cubicBezTo>
                <a:cubicBezTo>
                  <a:pt x="2433" y="90398"/>
                  <a:pt x="1328" y="95430"/>
                  <a:pt x="1323" y="100521"/>
                </a:cubicBezTo>
                <a:cubicBezTo>
                  <a:pt x="860" y="112899"/>
                  <a:pt x="3925" y="113998"/>
                  <a:pt x="6355" y="114866"/>
                </a:cubicBezTo>
                <a:cubicBezTo>
                  <a:pt x="7327" y="115097"/>
                  <a:pt x="8223" y="115572"/>
                  <a:pt x="8958" y="116254"/>
                </a:cubicBezTo>
                <a:cubicBezTo>
                  <a:pt x="10404" y="117642"/>
                  <a:pt x="9999" y="121171"/>
                  <a:pt x="7454" y="128170"/>
                </a:cubicBezTo>
                <a:lnTo>
                  <a:pt x="8090" y="128806"/>
                </a:lnTo>
                <a:cubicBezTo>
                  <a:pt x="10178" y="131467"/>
                  <a:pt x="13458" y="132896"/>
                  <a:pt x="16825" y="132624"/>
                </a:cubicBezTo>
                <a:cubicBezTo>
                  <a:pt x="18271" y="132537"/>
                  <a:pt x="19723" y="132555"/>
                  <a:pt x="21163" y="13268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0" name="Forma libre: forma 379">
            <a:extLst>
              <a:ext uri="{FF2B5EF4-FFF2-40B4-BE49-F238E27FC236}">
                <a16:creationId xmlns:a16="http://schemas.microsoft.com/office/drawing/2014/main" id="{D16E9530-CA00-A988-2689-C61B80076180}"/>
              </a:ext>
            </a:extLst>
          </p:cNvPr>
          <p:cNvSpPr/>
          <p:nvPr/>
        </p:nvSpPr>
        <p:spPr>
          <a:xfrm>
            <a:off x="4156204" y="5095986"/>
            <a:ext cx="551709" cy="1085400"/>
          </a:xfrm>
          <a:custGeom>
            <a:avLst/>
            <a:gdLst>
              <a:gd name="connsiteX0" fmla="*/ 187798 w 551709"/>
              <a:gd name="connsiteY0" fmla="*/ 1085261 h 1085400"/>
              <a:gd name="connsiteX1" fmla="*/ 181551 w 551709"/>
              <a:gd name="connsiteY1" fmla="*/ 1083757 h 1085400"/>
              <a:gd name="connsiteX2" fmla="*/ 179816 w 551709"/>
              <a:gd name="connsiteY2" fmla="*/ 1083121 h 1085400"/>
              <a:gd name="connsiteX3" fmla="*/ 179816 w 551709"/>
              <a:gd name="connsiteY3" fmla="*/ 1083121 h 1085400"/>
              <a:gd name="connsiteX4" fmla="*/ 160149 w 551709"/>
              <a:gd name="connsiteY4" fmla="*/ 1079998 h 1085400"/>
              <a:gd name="connsiteX5" fmla="*/ 143663 w 551709"/>
              <a:gd name="connsiteY5" fmla="*/ 1080634 h 1085400"/>
              <a:gd name="connsiteX6" fmla="*/ 134234 w 551709"/>
              <a:gd name="connsiteY6" fmla="*/ 1080634 h 1085400"/>
              <a:gd name="connsiteX7" fmla="*/ 133077 w 551709"/>
              <a:gd name="connsiteY7" fmla="*/ 989529 h 1085400"/>
              <a:gd name="connsiteX8" fmla="*/ 133540 w 551709"/>
              <a:gd name="connsiteY8" fmla="*/ 988661 h 1085400"/>
              <a:gd name="connsiteX9" fmla="*/ 134466 w 551709"/>
              <a:gd name="connsiteY9" fmla="*/ 988661 h 1085400"/>
              <a:gd name="connsiteX10" fmla="*/ 146787 w 551709"/>
              <a:gd name="connsiteY10" fmla="*/ 1000751 h 1085400"/>
              <a:gd name="connsiteX11" fmla="*/ 144299 w 551709"/>
              <a:gd name="connsiteY11" fmla="*/ 1005552 h 1085400"/>
              <a:gd name="connsiteX12" fmla="*/ 136953 w 551709"/>
              <a:gd name="connsiteY12" fmla="*/ 1014286 h 1085400"/>
              <a:gd name="connsiteX13" fmla="*/ 139093 w 551709"/>
              <a:gd name="connsiteY13" fmla="*/ 1015154 h 1085400"/>
              <a:gd name="connsiteX14" fmla="*/ 141234 w 551709"/>
              <a:gd name="connsiteY14" fmla="*/ 1015154 h 1085400"/>
              <a:gd name="connsiteX15" fmla="*/ 150142 w 551709"/>
              <a:gd name="connsiteY15" fmla="*/ 1019897 h 1085400"/>
              <a:gd name="connsiteX16" fmla="*/ 155406 w 551709"/>
              <a:gd name="connsiteY16" fmla="*/ 1028111 h 1085400"/>
              <a:gd name="connsiteX17" fmla="*/ 161190 w 551709"/>
              <a:gd name="connsiteY17" fmla="*/ 1033202 h 1085400"/>
              <a:gd name="connsiteX18" fmla="*/ 208391 w 551709"/>
              <a:gd name="connsiteY18" fmla="*/ 1063628 h 1085400"/>
              <a:gd name="connsiteX19" fmla="*/ 230950 w 551709"/>
              <a:gd name="connsiteY19" fmla="*/ 1068891 h 1085400"/>
              <a:gd name="connsiteX20" fmla="*/ 227132 w 551709"/>
              <a:gd name="connsiteY20" fmla="*/ 1074213 h 1085400"/>
              <a:gd name="connsiteX21" fmla="*/ 209143 w 551709"/>
              <a:gd name="connsiteY21" fmla="*/ 1078609 h 1085400"/>
              <a:gd name="connsiteX22" fmla="*/ 193409 w 551709"/>
              <a:gd name="connsiteY22" fmla="*/ 1083063 h 1085400"/>
              <a:gd name="connsiteX23" fmla="*/ 187798 w 551709"/>
              <a:gd name="connsiteY23" fmla="*/ 1085261 h 1085400"/>
              <a:gd name="connsiteX24" fmla="*/ 180626 w 551709"/>
              <a:gd name="connsiteY24" fmla="*/ 1080981 h 1085400"/>
              <a:gd name="connsiteX25" fmla="*/ 182361 w 551709"/>
              <a:gd name="connsiteY25" fmla="*/ 1081617 h 1085400"/>
              <a:gd name="connsiteX26" fmla="*/ 187798 w 551709"/>
              <a:gd name="connsiteY26" fmla="*/ 1083005 h 1085400"/>
              <a:gd name="connsiteX27" fmla="*/ 191732 w 551709"/>
              <a:gd name="connsiteY27" fmla="*/ 1081212 h 1085400"/>
              <a:gd name="connsiteX28" fmla="*/ 209085 w 551709"/>
              <a:gd name="connsiteY28" fmla="*/ 1076006 h 1085400"/>
              <a:gd name="connsiteX29" fmla="*/ 226091 w 551709"/>
              <a:gd name="connsiteY29" fmla="*/ 1071899 h 1085400"/>
              <a:gd name="connsiteX30" fmla="*/ 228925 w 551709"/>
              <a:gd name="connsiteY30" fmla="*/ 1069123 h 1085400"/>
              <a:gd name="connsiteX31" fmla="*/ 208507 w 551709"/>
              <a:gd name="connsiteY31" fmla="*/ 1065537 h 1085400"/>
              <a:gd name="connsiteX32" fmla="*/ 159859 w 551709"/>
              <a:gd name="connsiteY32" fmla="*/ 1034590 h 1085400"/>
              <a:gd name="connsiteX33" fmla="*/ 154075 w 551709"/>
              <a:gd name="connsiteY33" fmla="*/ 1029557 h 1085400"/>
              <a:gd name="connsiteX34" fmla="*/ 148291 w 551709"/>
              <a:gd name="connsiteY34" fmla="*/ 1020187 h 1085400"/>
              <a:gd name="connsiteX35" fmla="*/ 144588 w 551709"/>
              <a:gd name="connsiteY35" fmla="*/ 1016774 h 1085400"/>
              <a:gd name="connsiteX36" fmla="*/ 141870 w 551709"/>
              <a:gd name="connsiteY36" fmla="*/ 1017063 h 1085400"/>
              <a:gd name="connsiteX37" fmla="*/ 139383 w 551709"/>
              <a:gd name="connsiteY37" fmla="*/ 1017063 h 1085400"/>
              <a:gd name="connsiteX38" fmla="*/ 135044 w 551709"/>
              <a:gd name="connsiteY38" fmla="*/ 1014460 h 1085400"/>
              <a:gd name="connsiteX39" fmla="*/ 143605 w 551709"/>
              <a:gd name="connsiteY39" fmla="*/ 1003180 h 1085400"/>
              <a:gd name="connsiteX40" fmla="*/ 144820 w 551709"/>
              <a:gd name="connsiteY40" fmla="*/ 1000693 h 1085400"/>
              <a:gd name="connsiteX41" fmla="*/ 135565 w 551709"/>
              <a:gd name="connsiteY41" fmla="*/ 990917 h 1085400"/>
              <a:gd name="connsiteX42" fmla="*/ 135160 w 551709"/>
              <a:gd name="connsiteY42" fmla="*/ 1078262 h 1085400"/>
              <a:gd name="connsiteX43" fmla="*/ 143837 w 551709"/>
              <a:gd name="connsiteY43" fmla="*/ 1077973 h 1085400"/>
              <a:gd name="connsiteX44" fmla="*/ 160438 w 551709"/>
              <a:gd name="connsiteY44" fmla="*/ 1077337 h 1085400"/>
              <a:gd name="connsiteX45" fmla="*/ 180626 w 551709"/>
              <a:gd name="connsiteY45" fmla="*/ 1080923 h 1085400"/>
              <a:gd name="connsiteX46" fmla="*/ 136375 w 551709"/>
              <a:gd name="connsiteY46" fmla="*/ 980274 h 1085400"/>
              <a:gd name="connsiteX47" fmla="*/ 127351 w 551709"/>
              <a:gd name="connsiteY47" fmla="*/ 978076 h 1085400"/>
              <a:gd name="connsiteX48" fmla="*/ 113237 w 551709"/>
              <a:gd name="connsiteY48" fmla="*/ 975993 h 1085400"/>
              <a:gd name="connsiteX49" fmla="*/ 112022 w 551709"/>
              <a:gd name="connsiteY49" fmla="*/ 975993 h 1085400"/>
              <a:gd name="connsiteX50" fmla="*/ 97793 w 551709"/>
              <a:gd name="connsiteY50" fmla="*/ 967780 h 1085400"/>
              <a:gd name="connsiteX51" fmla="*/ 82232 w 551709"/>
              <a:gd name="connsiteY51" fmla="*/ 966391 h 1085400"/>
              <a:gd name="connsiteX52" fmla="*/ 49840 w 551709"/>
              <a:gd name="connsiteY52" fmla="*/ 968590 h 1085400"/>
              <a:gd name="connsiteX53" fmla="*/ 40469 w 551709"/>
              <a:gd name="connsiteY53" fmla="*/ 961474 h 1085400"/>
              <a:gd name="connsiteX54" fmla="*/ 36535 w 551709"/>
              <a:gd name="connsiteY54" fmla="*/ 957136 h 1085400"/>
              <a:gd name="connsiteX55" fmla="*/ 34337 w 551709"/>
              <a:gd name="connsiteY55" fmla="*/ 955864 h 1085400"/>
              <a:gd name="connsiteX56" fmla="*/ 33817 w 551709"/>
              <a:gd name="connsiteY56" fmla="*/ 924512 h 1085400"/>
              <a:gd name="connsiteX57" fmla="*/ 33817 w 551709"/>
              <a:gd name="connsiteY57" fmla="*/ 921735 h 1085400"/>
              <a:gd name="connsiteX58" fmla="*/ 20686 w 551709"/>
              <a:gd name="connsiteY58" fmla="*/ 919190 h 1085400"/>
              <a:gd name="connsiteX59" fmla="*/ 9117 w 551709"/>
              <a:gd name="connsiteY59" fmla="*/ 917629 h 1085400"/>
              <a:gd name="connsiteX60" fmla="*/ 6283 w 551709"/>
              <a:gd name="connsiteY60" fmla="*/ 909762 h 1085400"/>
              <a:gd name="connsiteX61" fmla="*/ 3911 w 551709"/>
              <a:gd name="connsiteY61" fmla="*/ 899350 h 1085400"/>
              <a:gd name="connsiteX62" fmla="*/ 1771 w 551709"/>
              <a:gd name="connsiteY62" fmla="*/ 877311 h 1085400"/>
              <a:gd name="connsiteX63" fmla="*/ 2812 w 551709"/>
              <a:gd name="connsiteY63" fmla="*/ 873031 h 1085400"/>
              <a:gd name="connsiteX64" fmla="*/ 18662 w 551709"/>
              <a:gd name="connsiteY64" fmla="*/ 854000 h 1085400"/>
              <a:gd name="connsiteX65" fmla="*/ 23347 w 551709"/>
              <a:gd name="connsiteY65" fmla="*/ 847406 h 1085400"/>
              <a:gd name="connsiteX66" fmla="*/ 29536 w 551709"/>
              <a:gd name="connsiteY66" fmla="*/ 835316 h 1085400"/>
              <a:gd name="connsiteX67" fmla="*/ 29131 w 551709"/>
              <a:gd name="connsiteY67" fmla="*/ 825772 h 1085400"/>
              <a:gd name="connsiteX68" fmla="*/ 28669 w 551709"/>
              <a:gd name="connsiteY68" fmla="*/ 814203 h 1085400"/>
              <a:gd name="connsiteX69" fmla="*/ 32255 w 551709"/>
              <a:gd name="connsiteY69" fmla="*/ 805816 h 1085400"/>
              <a:gd name="connsiteX70" fmla="*/ 40642 w 551709"/>
              <a:gd name="connsiteY70" fmla="*/ 795924 h 1085400"/>
              <a:gd name="connsiteX71" fmla="*/ 44923 w 551709"/>
              <a:gd name="connsiteY71" fmla="*/ 787016 h 1085400"/>
              <a:gd name="connsiteX72" fmla="*/ 48741 w 551709"/>
              <a:gd name="connsiteY72" fmla="*/ 777067 h 1085400"/>
              <a:gd name="connsiteX73" fmla="*/ 50938 w 551709"/>
              <a:gd name="connsiteY73" fmla="*/ 775621 h 1085400"/>
              <a:gd name="connsiteX74" fmla="*/ 50071 w 551709"/>
              <a:gd name="connsiteY74" fmla="*/ 769200 h 1085400"/>
              <a:gd name="connsiteX75" fmla="*/ 48741 w 551709"/>
              <a:gd name="connsiteY75" fmla="*/ 756590 h 1085400"/>
              <a:gd name="connsiteX76" fmla="*/ 48220 w 551709"/>
              <a:gd name="connsiteY76" fmla="*/ 746814 h 1085400"/>
              <a:gd name="connsiteX77" fmla="*/ 53542 w 551709"/>
              <a:gd name="connsiteY77" fmla="*/ 734494 h 1085400"/>
              <a:gd name="connsiteX78" fmla="*/ 58111 w 551709"/>
              <a:gd name="connsiteY78" fmla="*/ 730329 h 1085400"/>
              <a:gd name="connsiteX79" fmla="*/ 49145 w 551709"/>
              <a:gd name="connsiteY79" fmla="*/ 718355 h 1085400"/>
              <a:gd name="connsiteX80" fmla="*/ 46138 w 551709"/>
              <a:gd name="connsiteY80" fmla="*/ 713323 h 1085400"/>
              <a:gd name="connsiteX81" fmla="*/ 60483 w 551709"/>
              <a:gd name="connsiteY81" fmla="*/ 710604 h 1085400"/>
              <a:gd name="connsiteX82" fmla="*/ 63375 w 551709"/>
              <a:gd name="connsiteY82" fmla="*/ 709621 h 1085400"/>
              <a:gd name="connsiteX83" fmla="*/ 64185 w 551709"/>
              <a:gd name="connsiteY83" fmla="*/ 707133 h 1085400"/>
              <a:gd name="connsiteX84" fmla="*/ 58401 w 551709"/>
              <a:gd name="connsiteY84" fmla="*/ 700308 h 1085400"/>
              <a:gd name="connsiteX85" fmla="*/ 56897 w 551709"/>
              <a:gd name="connsiteY85" fmla="*/ 700308 h 1085400"/>
              <a:gd name="connsiteX86" fmla="*/ 44576 w 551709"/>
              <a:gd name="connsiteY86" fmla="*/ 695622 h 1085400"/>
              <a:gd name="connsiteX87" fmla="*/ 47584 w 551709"/>
              <a:gd name="connsiteY87" fmla="*/ 684516 h 1085400"/>
              <a:gd name="connsiteX88" fmla="*/ 46080 w 551709"/>
              <a:gd name="connsiteY88" fmla="*/ 675030 h 1085400"/>
              <a:gd name="connsiteX89" fmla="*/ 43245 w 551709"/>
              <a:gd name="connsiteY89" fmla="*/ 667568 h 1085400"/>
              <a:gd name="connsiteX90" fmla="*/ 41221 w 551709"/>
              <a:gd name="connsiteY90" fmla="*/ 654264 h 1085400"/>
              <a:gd name="connsiteX91" fmla="*/ 39485 w 551709"/>
              <a:gd name="connsiteY91" fmla="*/ 633902 h 1085400"/>
              <a:gd name="connsiteX92" fmla="*/ 45733 w 551709"/>
              <a:gd name="connsiteY92" fmla="*/ 623490 h 1085400"/>
              <a:gd name="connsiteX93" fmla="*/ 47005 w 551709"/>
              <a:gd name="connsiteY93" fmla="*/ 602435 h 1085400"/>
              <a:gd name="connsiteX94" fmla="*/ 46427 w 551709"/>
              <a:gd name="connsiteY94" fmla="*/ 595089 h 1085400"/>
              <a:gd name="connsiteX95" fmla="*/ 43535 w 551709"/>
              <a:gd name="connsiteY95" fmla="*/ 586123 h 1085400"/>
              <a:gd name="connsiteX96" fmla="*/ 40700 w 551709"/>
              <a:gd name="connsiteY96" fmla="*/ 576058 h 1085400"/>
              <a:gd name="connsiteX97" fmla="*/ 43766 w 551709"/>
              <a:gd name="connsiteY97" fmla="*/ 569869 h 1085400"/>
              <a:gd name="connsiteX98" fmla="*/ 48046 w 551709"/>
              <a:gd name="connsiteY98" fmla="*/ 557374 h 1085400"/>
              <a:gd name="connsiteX99" fmla="*/ 56376 w 551709"/>
              <a:gd name="connsiteY99" fmla="*/ 539038 h 1085400"/>
              <a:gd name="connsiteX100" fmla="*/ 57475 w 551709"/>
              <a:gd name="connsiteY100" fmla="*/ 528336 h 1085400"/>
              <a:gd name="connsiteX101" fmla="*/ 57070 w 551709"/>
              <a:gd name="connsiteY101" fmla="*/ 519486 h 1085400"/>
              <a:gd name="connsiteX102" fmla="*/ 64301 w 551709"/>
              <a:gd name="connsiteY102" fmla="*/ 514917 h 1085400"/>
              <a:gd name="connsiteX103" fmla="*/ 72688 w 551709"/>
              <a:gd name="connsiteY103" fmla="*/ 508785 h 1085400"/>
              <a:gd name="connsiteX104" fmla="*/ 69160 w 551709"/>
              <a:gd name="connsiteY104" fmla="*/ 499993 h 1085400"/>
              <a:gd name="connsiteX105" fmla="*/ 66152 w 551709"/>
              <a:gd name="connsiteY105" fmla="*/ 493167 h 1085400"/>
              <a:gd name="connsiteX106" fmla="*/ 66152 w 551709"/>
              <a:gd name="connsiteY106" fmla="*/ 476739 h 1085400"/>
              <a:gd name="connsiteX107" fmla="*/ 65226 w 551709"/>
              <a:gd name="connsiteY107" fmla="*/ 457304 h 1085400"/>
              <a:gd name="connsiteX108" fmla="*/ 81480 w 551709"/>
              <a:gd name="connsiteY108" fmla="*/ 432546 h 1085400"/>
              <a:gd name="connsiteX109" fmla="*/ 86108 w 551709"/>
              <a:gd name="connsiteY109" fmla="*/ 429423 h 1085400"/>
              <a:gd name="connsiteX110" fmla="*/ 85356 w 551709"/>
              <a:gd name="connsiteY110" fmla="*/ 413631 h 1085400"/>
              <a:gd name="connsiteX111" fmla="*/ 86397 w 551709"/>
              <a:gd name="connsiteY111" fmla="*/ 394774 h 1085400"/>
              <a:gd name="connsiteX112" fmla="*/ 90562 w 551709"/>
              <a:gd name="connsiteY112" fmla="*/ 385345 h 1085400"/>
              <a:gd name="connsiteX113" fmla="*/ 94380 w 551709"/>
              <a:gd name="connsiteY113" fmla="*/ 375165 h 1085400"/>
              <a:gd name="connsiteX114" fmla="*/ 99065 w 551709"/>
              <a:gd name="connsiteY114" fmla="*/ 363596 h 1085400"/>
              <a:gd name="connsiteX115" fmla="*/ 101379 w 551709"/>
              <a:gd name="connsiteY115" fmla="*/ 353010 h 1085400"/>
              <a:gd name="connsiteX116" fmla="*/ 98602 w 551709"/>
              <a:gd name="connsiteY116" fmla="*/ 340342 h 1085400"/>
              <a:gd name="connsiteX117" fmla="*/ 94785 w 551709"/>
              <a:gd name="connsiteY117" fmla="*/ 329641 h 1085400"/>
              <a:gd name="connsiteX118" fmla="*/ 85819 w 551709"/>
              <a:gd name="connsiteY118" fmla="*/ 302917 h 1085400"/>
              <a:gd name="connsiteX119" fmla="*/ 82984 w 551709"/>
              <a:gd name="connsiteY119" fmla="*/ 274573 h 1085400"/>
              <a:gd name="connsiteX120" fmla="*/ 86744 w 551709"/>
              <a:gd name="connsiteY120" fmla="*/ 271566 h 1085400"/>
              <a:gd name="connsiteX121" fmla="*/ 89405 w 551709"/>
              <a:gd name="connsiteY121" fmla="*/ 264740 h 1085400"/>
              <a:gd name="connsiteX122" fmla="*/ 97908 w 551709"/>
              <a:gd name="connsiteY122" fmla="*/ 250279 h 1085400"/>
              <a:gd name="connsiteX123" fmla="*/ 101321 w 551709"/>
              <a:gd name="connsiteY123" fmla="*/ 247676 h 1085400"/>
              <a:gd name="connsiteX124" fmla="*/ 97156 w 551709"/>
              <a:gd name="connsiteY124" fmla="*/ 223902 h 1085400"/>
              <a:gd name="connsiteX125" fmla="*/ 100627 w 551709"/>
              <a:gd name="connsiteY125" fmla="*/ 213837 h 1085400"/>
              <a:gd name="connsiteX126" fmla="*/ 104502 w 551709"/>
              <a:gd name="connsiteY126" fmla="*/ 208689 h 1085400"/>
              <a:gd name="connsiteX127" fmla="*/ 117459 w 551709"/>
              <a:gd name="connsiteY127" fmla="*/ 183122 h 1085400"/>
              <a:gd name="connsiteX128" fmla="*/ 124979 w 551709"/>
              <a:gd name="connsiteY128" fmla="*/ 161141 h 1085400"/>
              <a:gd name="connsiteX129" fmla="*/ 134581 w 551709"/>
              <a:gd name="connsiteY129" fmla="*/ 151654 h 1085400"/>
              <a:gd name="connsiteX130" fmla="*/ 141754 w 551709"/>
              <a:gd name="connsiteY130" fmla="*/ 147201 h 1085400"/>
              <a:gd name="connsiteX131" fmla="*/ 140424 w 551709"/>
              <a:gd name="connsiteY131" fmla="*/ 140433 h 1085400"/>
              <a:gd name="connsiteX132" fmla="*/ 137821 w 551709"/>
              <a:gd name="connsiteY132" fmla="*/ 132740 h 1085400"/>
              <a:gd name="connsiteX133" fmla="*/ 141176 w 551709"/>
              <a:gd name="connsiteY133" fmla="*/ 128980 h 1085400"/>
              <a:gd name="connsiteX134" fmla="*/ 140019 w 551709"/>
              <a:gd name="connsiteY134" fmla="*/ 112899 h 1085400"/>
              <a:gd name="connsiteX135" fmla="*/ 138515 w 551709"/>
              <a:gd name="connsiteY135" fmla="*/ 99652 h 1085400"/>
              <a:gd name="connsiteX136" fmla="*/ 140135 w 551709"/>
              <a:gd name="connsiteY136" fmla="*/ 88488 h 1085400"/>
              <a:gd name="connsiteX137" fmla="*/ 139730 w 551709"/>
              <a:gd name="connsiteY137" fmla="*/ 80622 h 1085400"/>
              <a:gd name="connsiteX138" fmla="*/ 157546 w 551709"/>
              <a:gd name="connsiteY138" fmla="*/ 65582 h 1085400"/>
              <a:gd name="connsiteX139" fmla="*/ 171023 w 551709"/>
              <a:gd name="connsiteY139" fmla="*/ 55633 h 1085400"/>
              <a:gd name="connsiteX140" fmla="*/ 176519 w 551709"/>
              <a:gd name="connsiteY140" fmla="*/ 24166 h 1085400"/>
              <a:gd name="connsiteX141" fmla="*/ 176981 w 551709"/>
              <a:gd name="connsiteY141" fmla="*/ 23298 h 1085400"/>
              <a:gd name="connsiteX142" fmla="*/ 196764 w 551709"/>
              <a:gd name="connsiteY142" fmla="*/ 6928 h 1085400"/>
              <a:gd name="connsiteX143" fmla="*/ 207639 w 551709"/>
              <a:gd name="connsiteY143" fmla="*/ -129 h 1085400"/>
              <a:gd name="connsiteX144" fmla="*/ 213423 w 551709"/>
              <a:gd name="connsiteY144" fmla="*/ 2243 h 1085400"/>
              <a:gd name="connsiteX145" fmla="*/ 222042 w 551709"/>
              <a:gd name="connsiteY145" fmla="*/ 5771 h 1085400"/>
              <a:gd name="connsiteX146" fmla="*/ 226843 w 551709"/>
              <a:gd name="connsiteY146" fmla="*/ 6350 h 1085400"/>
              <a:gd name="connsiteX147" fmla="*/ 254377 w 551709"/>
              <a:gd name="connsiteY147" fmla="*/ 19307 h 1085400"/>
              <a:gd name="connsiteX148" fmla="*/ 256806 w 551709"/>
              <a:gd name="connsiteY148" fmla="*/ 21852 h 1085400"/>
              <a:gd name="connsiteX149" fmla="*/ 264615 w 551709"/>
              <a:gd name="connsiteY149" fmla="*/ 10283 h 1085400"/>
              <a:gd name="connsiteX150" fmla="*/ 268664 w 551709"/>
              <a:gd name="connsiteY150" fmla="*/ 2879 h 1085400"/>
              <a:gd name="connsiteX151" fmla="*/ 277573 w 551709"/>
              <a:gd name="connsiteY151" fmla="*/ 623 h 1085400"/>
              <a:gd name="connsiteX152" fmla="*/ 292843 w 551709"/>
              <a:gd name="connsiteY152" fmla="*/ 1780 h 1085400"/>
              <a:gd name="connsiteX153" fmla="*/ 296661 w 551709"/>
              <a:gd name="connsiteY153" fmla="*/ 2185 h 1085400"/>
              <a:gd name="connsiteX154" fmla="*/ 297529 w 551709"/>
              <a:gd name="connsiteY154" fmla="*/ 2763 h 1085400"/>
              <a:gd name="connsiteX155" fmla="*/ 335012 w 551709"/>
              <a:gd name="connsiteY155" fmla="*/ 41172 h 1085400"/>
              <a:gd name="connsiteX156" fmla="*/ 347159 w 551709"/>
              <a:gd name="connsiteY156" fmla="*/ 51006 h 1085400"/>
              <a:gd name="connsiteX157" fmla="*/ 364917 w 551709"/>
              <a:gd name="connsiteY157" fmla="*/ 59913 h 1085400"/>
              <a:gd name="connsiteX158" fmla="*/ 396038 w 551709"/>
              <a:gd name="connsiteY158" fmla="*/ 75878 h 1085400"/>
              <a:gd name="connsiteX159" fmla="*/ 423051 w 551709"/>
              <a:gd name="connsiteY159" fmla="*/ 89356 h 1085400"/>
              <a:gd name="connsiteX160" fmla="*/ 446941 w 551709"/>
              <a:gd name="connsiteY160" fmla="*/ 101446 h 1085400"/>
              <a:gd name="connsiteX161" fmla="*/ 439247 w 551709"/>
              <a:gd name="connsiteY161" fmla="*/ 115617 h 1085400"/>
              <a:gd name="connsiteX162" fmla="*/ 425770 w 551709"/>
              <a:gd name="connsiteY162" fmla="*/ 138755 h 1085400"/>
              <a:gd name="connsiteX163" fmla="*/ 419060 w 551709"/>
              <a:gd name="connsiteY163" fmla="*/ 153852 h 1085400"/>
              <a:gd name="connsiteX164" fmla="*/ 416746 w 551709"/>
              <a:gd name="connsiteY164" fmla="*/ 156860 h 1085400"/>
              <a:gd name="connsiteX165" fmla="*/ 427100 w 551709"/>
              <a:gd name="connsiteY165" fmla="*/ 158943 h 1085400"/>
              <a:gd name="connsiteX166" fmla="*/ 441677 w 551709"/>
              <a:gd name="connsiteY166" fmla="*/ 161604 h 1085400"/>
              <a:gd name="connsiteX167" fmla="*/ 447172 w 551709"/>
              <a:gd name="connsiteY167" fmla="*/ 162876 h 1085400"/>
              <a:gd name="connsiteX168" fmla="*/ 452956 w 551709"/>
              <a:gd name="connsiteY168" fmla="*/ 162471 h 1085400"/>
              <a:gd name="connsiteX169" fmla="*/ 459377 w 551709"/>
              <a:gd name="connsiteY169" fmla="*/ 162009 h 1085400"/>
              <a:gd name="connsiteX170" fmla="*/ 468054 w 551709"/>
              <a:gd name="connsiteY170" fmla="*/ 164033 h 1085400"/>
              <a:gd name="connsiteX171" fmla="*/ 471929 w 551709"/>
              <a:gd name="connsiteY171" fmla="*/ 165132 h 1085400"/>
              <a:gd name="connsiteX172" fmla="*/ 481300 w 551709"/>
              <a:gd name="connsiteY172" fmla="*/ 161893 h 1085400"/>
              <a:gd name="connsiteX173" fmla="*/ 489919 w 551709"/>
              <a:gd name="connsiteY173" fmla="*/ 158827 h 1085400"/>
              <a:gd name="connsiteX174" fmla="*/ 491539 w 551709"/>
              <a:gd name="connsiteY174" fmla="*/ 158827 h 1085400"/>
              <a:gd name="connsiteX175" fmla="*/ 500389 w 551709"/>
              <a:gd name="connsiteY175" fmla="*/ 154200 h 1085400"/>
              <a:gd name="connsiteX176" fmla="*/ 512652 w 551709"/>
              <a:gd name="connsiteY176" fmla="*/ 148068 h 1085400"/>
              <a:gd name="connsiteX177" fmla="*/ 512652 w 551709"/>
              <a:gd name="connsiteY177" fmla="*/ 148068 h 1085400"/>
              <a:gd name="connsiteX178" fmla="*/ 516122 w 551709"/>
              <a:gd name="connsiteY178" fmla="*/ 146102 h 1085400"/>
              <a:gd name="connsiteX179" fmla="*/ 525320 w 551709"/>
              <a:gd name="connsiteY179" fmla="*/ 109197 h 1085400"/>
              <a:gd name="connsiteX180" fmla="*/ 525320 w 551709"/>
              <a:gd name="connsiteY180" fmla="*/ 106247 h 1085400"/>
              <a:gd name="connsiteX181" fmla="*/ 526419 w 551709"/>
              <a:gd name="connsiteY181" fmla="*/ 105148 h 1085400"/>
              <a:gd name="connsiteX182" fmla="*/ 532550 w 551709"/>
              <a:gd name="connsiteY182" fmla="*/ 105148 h 1085400"/>
              <a:gd name="connsiteX183" fmla="*/ 544929 w 551709"/>
              <a:gd name="connsiteY183" fmla="*/ 106536 h 1085400"/>
              <a:gd name="connsiteX184" fmla="*/ 550713 w 551709"/>
              <a:gd name="connsiteY184" fmla="*/ 149688 h 1085400"/>
              <a:gd name="connsiteX185" fmla="*/ 532319 w 551709"/>
              <a:gd name="connsiteY185" fmla="*/ 161257 h 1085400"/>
              <a:gd name="connsiteX186" fmla="*/ 517106 w 551709"/>
              <a:gd name="connsiteY186" fmla="*/ 168776 h 1085400"/>
              <a:gd name="connsiteX187" fmla="*/ 470194 w 551709"/>
              <a:gd name="connsiteY187" fmla="*/ 218118 h 1085400"/>
              <a:gd name="connsiteX188" fmla="*/ 452320 w 551709"/>
              <a:gd name="connsiteY188" fmla="*/ 240041 h 1085400"/>
              <a:gd name="connsiteX189" fmla="*/ 437801 w 551709"/>
              <a:gd name="connsiteY189" fmla="*/ 261674 h 1085400"/>
              <a:gd name="connsiteX190" fmla="*/ 434273 w 551709"/>
              <a:gd name="connsiteY190" fmla="*/ 278507 h 1085400"/>
              <a:gd name="connsiteX191" fmla="*/ 428488 w 551709"/>
              <a:gd name="connsiteY191" fmla="*/ 308355 h 1085400"/>
              <a:gd name="connsiteX192" fmla="*/ 424324 w 551709"/>
              <a:gd name="connsiteY192" fmla="*/ 329236 h 1085400"/>
              <a:gd name="connsiteX193" fmla="*/ 421084 w 551709"/>
              <a:gd name="connsiteY193" fmla="*/ 343987 h 1085400"/>
              <a:gd name="connsiteX194" fmla="*/ 426117 w 551709"/>
              <a:gd name="connsiteY194" fmla="*/ 358332 h 1085400"/>
              <a:gd name="connsiteX195" fmla="*/ 428720 w 551709"/>
              <a:gd name="connsiteY195" fmla="*/ 359720 h 1085400"/>
              <a:gd name="connsiteX196" fmla="*/ 426984 w 551709"/>
              <a:gd name="connsiteY196" fmla="*/ 372330 h 1085400"/>
              <a:gd name="connsiteX197" fmla="*/ 426175 w 551709"/>
              <a:gd name="connsiteY197" fmla="*/ 373082 h 1085400"/>
              <a:gd name="connsiteX198" fmla="*/ 425133 w 551709"/>
              <a:gd name="connsiteY198" fmla="*/ 373082 h 1085400"/>
              <a:gd name="connsiteX199" fmla="*/ 422183 w 551709"/>
              <a:gd name="connsiteY199" fmla="*/ 371636 h 1085400"/>
              <a:gd name="connsiteX200" fmla="*/ 416861 w 551709"/>
              <a:gd name="connsiteY200" fmla="*/ 374760 h 1085400"/>
              <a:gd name="connsiteX201" fmla="*/ 414432 w 551709"/>
              <a:gd name="connsiteY201" fmla="*/ 381065 h 1085400"/>
              <a:gd name="connsiteX202" fmla="*/ 435603 w 551709"/>
              <a:gd name="connsiteY202" fmla="*/ 391477 h 1085400"/>
              <a:gd name="connsiteX203" fmla="*/ 453304 w 551709"/>
              <a:gd name="connsiteY203" fmla="*/ 401253 h 1085400"/>
              <a:gd name="connsiteX204" fmla="*/ 451510 w 551709"/>
              <a:gd name="connsiteY204" fmla="*/ 409756 h 1085400"/>
              <a:gd name="connsiteX205" fmla="*/ 447750 w 551709"/>
              <a:gd name="connsiteY205" fmla="*/ 425663 h 1085400"/>
              <a:gd name="connsiteX206" fmla="*/ 455617 w 551709"/>
              <a:gd name="connsiteY206" fmla="*/ 431447 h 1085400"/>
              <a:gd name="connsiteX207" fmla="*/ 468690 w 551709"/>
              <a:gd name="connsiteY207" fmla="*/ 439603 h 1085400"/>
              <a:gd name="connsiteX208" fmla="*/ 467938 w 551709"/>
              <a:gd name="connsiteY208" fmla="*/ 451172 h 1085400"/>
              <a:gd name="connsiteX209" fmla="*/ 459030 w 551709"/>
              <a:gd name="connsiteY209" fmla="*/ 463030 h 1085400"/>
              <a:gd name="connsiteX210" fmla="*/ 443238 w 551709"/>
              <a:gd name="connsiteY210" fmla="*/ 486573 h 1085400"/>
              <a:gd name="connsiteX211" fmla="*/ 390253 w 551709"/>
              <a:gd name="connsiteY211" fmla="*/ 512892 h 1085400"/>
              <a:gd name="connsiteX212" fmla="*/ 334202 w 551709"/>
              <a:gd name="connsiteY212" fmla="*/ 519544 h 1085400"/>
              <a:gd name="connsiteX213" fmla="*/ 318989 w 551709"/>
              <a:gd name="connsiteY213" fmla="*/ 516825 h 1085400"/>
              <a:gd name="connsiteX214" fmla="*/ 312771 w 551709"/>
              <a:gd name="connsiteY214" fmla="*/ 516716 h 1085400"/>
              <a:gd name="connsiteX215" fmla="*/ 312048 w 551709"/>
              <a:gd name="connsiteY215" fmla="*/ 517635 h 1085400"/>
              <a:gd name="connsiteX216" fmla="*/ 311180 w 551709"/>
              <a:gd name="connsiteY216" fmla="*/ 526543 h 1085400"/>
              <a:gd name="connsiteX217" fmla="*/ 314940 w 551709"/>
              <a:gd name="connsiteY217" fmla="*/ 533716 h 1085400"/>
              <a:gd name="connsiteX218" fmla="*/ 317543 w 551709"/>
              <a:gd name="connsiteY218" fmla="*/ 540831 h 1085400"/>
              <a:gd name="connsiteX219" fmla="*/ 311759 w 551709"/>
              <a:gd name="connsiteY219" fmla="*/ 547252 h 1085400"/>
              <a:gd name="connsiteX220" fmla="*/ 308403 w 551709"/>
              <a:gd name="connsiteY220" fmla="*/ 565415 h 1085400"/>
              <a:gd name="connsiteX221" fmla="*/ 309850 w 551709"/>
              <a:gd name="connsiteY221" fmla="*/ 572356 h 1085400"/>
              <a:gd name="connsiteX222" fmla="*/ 277110 w 551709"/>
              <a:gd name="connsiteY222" fmla="*/ 589189 h 1085400"/>
              <a:gd name="connsiteX223" fmla="*/ 251427 w 551709"/>
              <a:gd name="connsiteY223" fmla="*/ 581091 h 1085400"/>
              <a:gd name="connsiteX224" fmla="*/ 237139 w 551709"/>
              <a:gd name="connsiteY224" fmla="*/ 576174 h 1085400"/>
              <a:gd name="connsiteX225" fmla="*/ 234479 w 551709"/>
              <a:gd name="connsiteY225" fmla="*/ 577215 h 1085400"/>
              <a:gd name="connsiteX226" fmla="*/ 235809 w 551709"/>
              <a:gd name="connsiteY226" fmla="*/ 601510 h 1085400"/>
              <a:gd name="connsiteX227" fmla="*/ 236908 w 551709"/>
              <a:gd name="connsiteY227" fmla="*/ 611632 h 1085400"/>
              <a:gd name="connsiteX228" fmla="*/ 237255 w 551709"/>
              <a:gd name="connsiteY228" fmla="*/ 618979 h 1085400"/>
              <a:gd name="connsiteX229" fmla="*/ 239048 w 551709"/>
              <a:gd name="connsiteY229" fmla="*/ 621524 h 1085400"/>
              <a:gd name="connsiteX230" fmla="*/ 246857 w 551709"/>
              <a:gd name="connsiteY230" fmla="*/ 625457 h 1085400"/>
              <a:gd name="connsiteX231" fmla="*/ 253972 w 551709"/>
              <a:gd name="connsiteY231" fmla="*/ 628754 h 1085400"/>
              <a:gd name="connsiteX232" fmla="*/ 258253 w 551709"/>
              <a:gd name="connsiteY232" fmla="*/ 625688 h 1085400"/>
              <a:gd name="connsiteX233" fmla="*/ 266408 w 551709"/>
              <a:gd name="connsiteY233" fmla="*/ 621177 h 1085400"/>
              <a:gd name="connsiteX234" fmla="*/ 273639 w 551709"/>
              <a:gd name="connsiteY234" fmla="*/ 624184 h 1085400"/>
              <a:gd name="connsiteX235" fmla="*/ 276705 w 551709"/>
              <a:gd name="connsiteY235" fmla="*/ 635522 h 1085400"/>
              <a:gd name="connsiteX236" fmla="*/ 261492 w 551709"/>
              <a:gd name="connsiteY236" fmla="*/ 647496 h 1085400"/>
              <a:gd name="connsiteX237" fmla="*/ 254493 w 551709"/>
              <a:gd name="connsiteY237" fmla="*/ 642695 h 1085400"/>
              <a:gd name="connsiteX238" fmla="*/ 246452 w 551709"/>
              <a:gd name="connsiteY238" fmla="*/ 638472 h 1085400"/>
              <a:gd name="connsiteX239" fmla="*/ 240263 w 551709"/>
              <a:gd name="connsiteY239" fmla="*/ 642001 h 1085400"/>
              <a:gd name="connsiteX240" fmla="*/ 245411 w 551709"/>
              <a:gd name="connsiteY240" fmla="*/ 647149 h 1085400"/>
              <a:gd name="connsiteX241" fmla="*/ 249750 w 551709"/>
              <a:gd name="connsiteY241" fmla="*/ 651603 h 1085400"/>
              <a:gd name="connsiteX242" fmla="*/ 238181 w 551709"/>
              <a:gd name="connsiteY242" fmla="*/ 658428 h 1085400"/>
              <a:gd name="connsiteX243" fmla="*/ 228289 w 551709"/>
              <a:gd name="connsiteY243" fmla="*/ 685210 h 1085400"/>
              <a:gd name="connsiteX244" fmla="*/ 220480 w 551709"/>
              <a:gd name="connsiteY244" fmla="*/ 704935 h 1085400"/>
              <a:gd name="connsiteX245" fmla="*/ 218167 w 551709"/>
              <a:gd name="connsiteY245" fmla="*/ 711934 h 1085400"/>
              <a:gd name="connsiteX246" fmla="*/ 213365 w 551709"/>
              <a:gd name="connsiteY246" fmla="*/ 719627 h 1085400"/>
              <a:gd name="connsiteX247" fmla="*/ 169404 w 551709"/>
              <a:gd name="connsiteY247" fmla="*/ 744501 h 1085400"/>
              <a:gd name="connsiteX248" fmla="*/ 167726 w 551709"/>
              <a:gd name="connsiteY248" fmla="*/ 764515 h 1085400"/>
              <a:gd name="connsiteX249" fmla="*/ 187625 w 551709"/>
              <a:gd name="connsiteY249" fmla="*/ 784702 h 1085400"/>
              <a:gd name="connsiteX250" fmla="*/ 197863 w 551709"/>
              <a:gd name="connsiteY250" fmla="*/ 786264 h 1085400"/>
              <a:gd name="connsiteX251" fmla="*/ 215621 w 551709"/>
              <a:gd name="connsiteY251" fmla="*/ 793032 h 1085400"/>
              <a:gd name="connsiteX252" fmla="*/ 213018 w 551709"/>
              <a:gd name="connsiteY252" fmla="*/ 803675 h 1085400"/>
              <a:gd name="connsiteX253" fmla="*/ 210589 w 551709"/>
              <a:gd name="connsiteY253" fmla="*/ 819062 h 1085400"/>
              <a:gd name="connsiteX254" fmla="*/ 194682 w 551709"/>
              <a:gd name="connsiteY254" fmla="*/ 835316 h 1085400"/>
              <a:gd name="connsiteX255" fmla="*/ 178254 w 551709"/>
              <a:gd name="connsiteY255" fmla="*/ 847174 h 1085400"/>
              <a:gd name="connsiteX256" fmla="*/ 177676 w 551709"/>
              <a:gd name="connsiteY256" fmla="*/ 847695 h 1085400"/>
              <a:gd name="connsiteX257" fmla="*/ 159281 w 551709"/>
              <a:gd name="connsiteY257" fmla="*/ 876617 h 1085400"/>
              <a:gd name="connsiteX258" fmla="*/ 140945 w 551709"/>
              <a:gd name="connsiteY258" fmla="*/ 897036 h 1085400"/>
              <a:gd name="connsiteX259" fmla="*/ 135160 w 551709"/>
              <a:gd name="connsiteY259" fmla="*/ 900565 h 1085400"/>
              <a:gd name="connsiteX260" fmla="*/ 127582 w 551709"/>
              <a:gd name="connsiteY260" fmla="*/ 907737 h 1085400"/>
              <a:gd name="connsiteX261" fmla="*/ 122376 w 551709"/>
              <a:gd name="connsiteY261" fmla="*/ 928214 h 1085400"/>
              <a:gd name="connsiteX262" fmla="*/ 122376 w 551709"/>
              <a:gd name="connsiteY262" fmla="*/ 932263 h 1085400"/>
              <a:gd name="connsiteX263" fmla="*/ 123880 w 551709"/>
              <a:gd name="connsiteY263" fmla="*/ 941750 h 1085400"/>
              <a:gd name="connsiteX264" fmla="*/ 125384 w 551709"/>
              <a:gd name="connsiteY264" fmla="*/ 953029 h 1085400"/>
              <a:gd name="connsiteX265" fmla="*/ 132441 w 551709"/>
              <a:gd name="connsiteY265" fmla="*/ 963730 h 1085400"/>
              <a:gd name="connsiteX266" fmla="*/ 139556 w 551709"/>
              <a:gd name="connsiteY266" fmla="*/ 979117 h 1085400"/>
              <a:gd name="connsiteX267" fmla="*/ 136375 w 551709"/>
              <a:gd name="connsiteY267" fmla="*/ 980274 h 1085400"/>
              <a:gd name="connsiteX268" fmla="*/ 116129 w 551709"/>
              <a:gd name="connsiteY268" fmla="*/ 973217 h 1085400"/>
              <a:gd name="connsiteX269" fmla="*/ 128045 w 551709"/>
              <a:gd name="connsiteY269" fmla="*/ 975936 h 1085400"/>
              <a:gd name="connsiteX270" fmla="*/ 136375 w 551709"/>
              <a:gd name="connsiteY270" fmla="*/ 978018 h 1085400"/>
              <a:gd name="connsiteX271" fmla="*/ 137879 w 551709"/>
              <a:gd name="connsiteY271" fmla="*/ 977613 h 1085400"/>
              <a:gd name="connsiteX272" fmla="*/ 130590 w 551709"/>
              <a:gd name="connsiteY272" fmla="*/ 965234 h 1085400"/>
              <a:gd name="connsiteX273" fmla="*/ 123013 w 551709"/>
              <a:gd name="connsiteY273" fmla="*/ 952856 h 1085400"/>
              <a:gd name="connsiteX274" fmla="*/ 121566 w 551709"/>
              <a:gd name="connsiteY274" fmla="*/ 942328 h 1085400"/>
              <a:gd name="connsiteX275" fmla="*/ 120005 w 551709"/>
              <a:gd name="connsiteY275" fmla="*/ 932321 h 1085400"/>
              <a:gd name="connsiteX276" fmla="*/ 120005 w 551709"/>
              <a:gd name="connsiteY276" fmla="*/ 928388 h 1085400"/>
              <a:gd name="connsiteX277" fmla="*/ 126136 w 551709"/>
              <a:gd name="connsiteY277" fmla="*/ 905944 h 1085400"/>
              <a:gd name="connsiteX278" fmla="*/ 133309 w 551709"/>
              <a:gd name="connsiteY278" fmla="*/ 899119 h 1085400"/>
              <a:gd name="connsiteX279" fmla="*/ 141581 w 551709"/>
              <a:gd name="connsiteY279" fmla="*/ 894896 h 1085400"/>
              <a:gd name="connsiteX280" fmla="*/ 157141 w 551709"/>
              <a:gd name="connsiteY280" fmla="*/ 876617 h 1085400"/>
              <a:gd name="connsiteX281" fmla="*/ 176403 w 551709"/>
              <a:gd name="connsiteY281" fmla="*/ 845960 h 1085400"/>
              <a:gd name="connsiteX282" fmla="*/ 176981 w 551709"/>
              <a:gd name="connsiteY282" fmla="*/ 845439 h 1085400"/>
              <a:gd name="connsiteX283" fmla="*/ 193641 w 551709"/>
              <a:gd name="connsiteY283" fmla="*/ 833407 h 1085400"/>
              <a:gd name="connsiteX284" fmla="*/ 208854 w 551709"/>
              <a:gd name="connsiteY284" fmla="*/ 820277 h 1085400"/>
              <a:gd name="connsiteX285" fmla="*/ 211052 w 551709"/>
              <a:gd name="connsiteY285" fmla="*/ 802923 h 1085400"/>
              <a:gd name="connsiteX286" fmla="*/ 213481 w 551709"/>
              <a:gd name="connsiteY286" fmla="*/ 792916 h 1085400"/>
              <a:gd name="connsiteX287" fmla="*/ 197863 w 551709"/>
              <a:gd name="connsiteY287" fmla="*/ 788404 h 1085400"/>
              <a:gd name="connsiteX288" fmla="*/ 186988 w 551709"/>
              <a:gd name="connsiteY288" fmla="*/ 786727 h 1085400"/>
              <a:gd name="connsiteX289" fmla="*/ 165818 w 551709"/>
              <a:gd name="connsiteY289" fmla="*/ 765209 h 1085400"/>
              <a:gd name="connsiteX290" fmla="*/ 167611 w 551709"/>
              <a:gd name="connsiteY290" fmla="*/ 743286 h 1085400"/>
              <a:gd name="connsiteX291" fmla="*/ 213365 w 551709"/>
              <a:gd name="connsiteY291" fmla="*/ 717256 h 1085400"/>
              <a:gd name="connsiteX292" fmla="*/ 216084 w 551709"/>
              <a:gd name="connsiteY292" fmla="*/ 711819 h 1085400"/>
              <a:gd name="connsiteX293" fmla="*/ 219497 w 551709"/>
              <a:gd name="connsiteY293" fmla="*/ 702853 h 1085400"/>
              <a:gd name="connsiteX294" fmla="*/ 226207 w 551709"/>
              <a:gd name="connsiteY294" fmla="*/ 685095 h 1085400"/>
              <a:gd name="connsiteX295" fmla="*/ 238123 w 551709"/>
              <a:gd name="connsiteY295" fmla="*/ 656172 h 1085400"/>
              <a:gd name="connsiteX296" fmla="*/ 247899 w 551709"/>
              <a:gd name="connsiteY296" fmla="*/ 651429 h 1085400"/>
              <a:gd name="connsiteX297" fmla="*/ 245238 w 551709"/>
              <a:gd name="connsiteY297" fmla="*/ 649347 h 1085400"/>
              <a:gd name="connsiteX298" fmla="*/ 238412 w 551709"/>
              <a:gd name="connsiteY298" fmla="*/ 641827 h 1085400"/>
              <a:gd name="connsiteX299" fmla="*/ 246626 w 551709"/>
              <a:gd name="connsiteY299" fmla="*/ 636043 h 1085400"/>
              <a:gd name="connsiteX300" fmla="*/ 248419 w 551709"/>
              <a:gd name="connsiteY300" fmla="*/ 636043 h 1085400"/>
              <a:gd name="connsiteX301" fmla="*/ 256864 w 551709"/>
              <a:gd name="connsiteY301" fmla="*/ 641480 h 1085400"/>
              <a:gd name="connsiteX302" fmla="*/ 261897 w 551709"/>
              <a:gd name="connsiteY302" fmla="*/ 645240 h 1085400"/>
              <a:gd name="connsiteX303" fmla="*/ 274970 w 551709"/>
              <a:gd name="connsiteY303" fmla="*/ 634770 h 1085400"/>
              <a:gd name="connsiteX304" fmla="*/ 272135 w 551709"/>
              <a:gd name="connsiteY304" fmla="*/ 626035 h 1085400"/>
              <a:gd name="connsiteX305" fmla="*/ 261018 w 551709"/>
              <a:gd name="connsiteY305" fmla="*/ 625706 h 1085400"/>
              <a:gd name="connsiteX306" fmla="*/ 259641 w 551709"/>
              <a:gd name="connsiteY306" fmla="*/ 627424 h 1085400"/>
              <a:gd name="connsiteX307" fmla="*/ 254261 w 551709"/>
              <a:gd name="connsiteY307" fmla="*/ 631126 h 1085400"/>
              <a:gd name="connsiteX308" fmla="*/ 252931 w 551709"/>
              <a:gd name="connsiteY308" fmla="*/ 631126 h 1085400"/>
              <a:gd name="connsiteX309" fmla="*/ 245295 w 551709"/>
              <a:gd name="connsiteY309" fmla="*/ 627250 h 1085400"/>
              <a:gd name="connsiteX310" fmla="*/ 238875 w 551709"/>
              <a:gd name="connsiteY310" fmla="*/ 623779 h 1085400"/>
              <a:gd name="connsiteX311" fmla="*/ 234884 w 551709"/>
              <a:gd name="connsiteY311" fmla="*/ 619441 h 1085400"/>
              <a:gd name="connsiteX312" fmla="*/ 234479 w 551709"/>
              <a:gd name="connsiteY312" fmla="*/ 611632 h 1085400"/>
              <a:gd name="connsiteX313" fmla="*/ 233611 w 551709"/>
              <a:gd name="connsiteY313" fmla="*/ 602493 h 1085400"/>
              <a:gd name="connsiteX314" fmla="*/ 232512 w 551709"/>
              <a:gd name="connsiteY314" fmla="*/ 575942 h 1085400"/>
              <a:gd name="connsiteX315" fmla="*/ 236966 w 551709"/>
              <a:gd name="connsiteY315" fmla="*/ 573918 h 1085400"/>
              <a:gd name="connsiteX316" fmla="*/ 252179 w 551709"/>
              <a:gd name="connsiteY316" fmla="*/ 579008 h 1085400"/>
              <a:gd name="connsiteX317" fmla="*/ 277110 w 551709"/>
              <a:gd name="connsiteY317" fmla="*/ 586991 h 1085400"/>
              <a:gd name="connsiteX318" fmla="*/ 307420 w 551709"/>
              <a:gd name="connsiteY318" fmla="*/ 572356 h 1085400"/>
              <a:gd name="connsiteX319" fmla="*/ 305627 w 551709"/>
              <a:gd name="connsiteY319" fmla="*/ 566109 h 1085400"/>
              <a:gd name="connsiteX320" fmla="*/ 309850 w 551709"/>
              <a:gd name="connsiteY320" fmla="*/ 545401 h 1085400"/>
              <a:gd name="connsiteX321" fmla="*/ 314535 w 551709"/>
              <a:gd name="connsiteY321" fmla="*/ 540426 h 1085400"/>
              <a:gd name="connsiteX322" fmla="*/ 312279 w 551709"/>
              <a:gd name="connsiteY322" fmla="*/ 535047 h 1085400"/>
              <a:gd name="connsiteX323" fmla="*/ 308230 w 551709"/>
              <a:gd name="connsiteY323" fmla="*/ 527295 h 1085400"/>
              <a:gd name="connsiteX324" fmla="*/ 309445 w 551709"/>
              <a:gd name="connsiteY324" fmla="*/ 516363 h 1085400"/>
              <a:gd name="connsiteX325" fmla="*/ 318729 w 551709"/>
              <a:gd name="connsiteY325" fmla="*/ 514396 h 1085400"/>
              <a:gd name="connsiteX326" fmla="*/ 319799 w 551709"/>
              <a:gd name="connsiteY326" fmla="*/ 515264 h 1085400"/>
              <a:gd name="connsiteX327" fmla="*/ 333392 w 551709"/>
              <a:gd name="connsiteY327" fmla="*/ 517346 h 1085400"/>
              <a:gd name="connsiteX328" fmla="*/ 389038 w 551709"/>
              <a:gd name="connsiteY328" fmla="*/ 510752 h 1085400"/>
              <a:gd name="connsiteX329" fmla="*/ 440231 w 551709"/>
              <a:gd name="connsiteY329" fmla="*/ 486168 h 1085400"/>
              <a:gd name="connsiteX330" fmla="*/ 456485 w 551709"/>
              <a:gd name="connsiteY330" fmla="*/ 461700 h 1085400"/>
              <a:gd name="connsiteX331" fmla="*/ 465220 w 551709"/>
              <a:gd name="connsiteY331" fmla="*/ 450131 h 1085400"/>
              <a:gd name="connsiteX332" fmla="*/ 465856 w 551709"/>
              <a:gd name="connsiteY332" fmla="*/ 440587 h 1085400"/>
              <a:gd name="connsiteX333" fmla="*/ 454287 w 551709"/>
              <a:gd name="connsiteY333" fmla="*/ 433645 h 1085400"/>
              <a:gd name="connsiteX334" fmla="*/ 444627 w 551709"/>
              <a:gd name="connsiteY334" fmla="*/ 426357 h 1085400"/>
              <a:gd name="connsiteX335" fmla="*/ 448734 w 551709"/>
              <a:gd name="connsiteY335" fmla="*/ 408194 h 1085400"/>
              <a:gd name="connsiteX336" fmla="*/ 450180 w 551709"/>
              <a:gd name="connsiteY336" fmla="*/ 401947 h 1085400"/>
              <a:gd name="connsiteX337" fmla="*/ 434331 w 551709"/>
              <a:gd name="connsiteY337" fmla="*/ 393617 h 1085400"/>
              <a:gd name="connsiteX338" fmla="*/ 411193 w 551709"/>
              <a:gd name="connsiteY338" fmla="*/ 381701 h 1085400"/>
              <a:gd name="connsiteX339" fmla="*/ 414201 w 551709"/>
              <a:gd name="connsiteY339" fmla="*/ 372967 h 1085400"/>
              <a:gd name="connsiteX340" fmla="*/ 421084 w 551709"/>
              <a:gd name="connsiteY340" fmla="*/ 369265 h 1085400"/>
              <a:gd name="connsiteX341" fmla="*/ 424266 w 551709"/>
              <a:gd name="connsiteY341" fmla="*/ 370306 h 1085400"/>
              <a:gd name="connsiteX342" fmla="*/ 426059 w 551709"/>
              <a:gd name="connsiteY342" fmla="*/ 361514 h 1085400"/>
              <a:gd name="connsiteX343" fmla="*/ 424266 w 551709"/>
              <a:gd name="connsiteY343" fmla="*/ 360646 h 1085400"/>
              <a:gd name="connsiteX344" fmla="*/ 417729 w 551709"/>
              <a:gd name="connsiteY344" fmla="*/ 344045 h 1085400"/>
              <a:gd name="connsiteX345" fmla="*/ 421142 w 551709"/>
              <a:gd name="connsiteY345" fmla="*/ 328542 h 1085400"/>
              <a:gd name="connsiteX346" fmla="*/ 425076 w 551709"/>
              <a:gd name="connsiteY346" fmla="*/ 308471 h 1085400"/>
              <a:gd name="connsiteX347" fmla="*/ 430860 w 551709"/>
              <a:gd name="connsiteY347" fmla="*/ 278044 h 1085400"/>
              <a:gd name="connsiteX348" fmla="*/ 434273 w 551709"/>
              <a:gd name="connsiteY348" fmla="*/ 261848 h 1085400"/>
              <a:gd name="connsiteX349" fmla="*/ 449370 w 551709"/>
              <a:gd name="connsiteY349" fmla="*/ 238710 h 1085400"/>
              <a:gd name="connsiteX350" fmla="*/ 466723 w 551709"/>
              <a:gd name="connsiteY350" fmla="*/ 217192 h 1085400"/>
              <a:gd name="connsiteX351" fmla="*/ 514329 w 551709"/>
              <a:gd name="connsiteY351" fmla="*/ 167099 h 1085400"/>
              <a:gd name="connsiteX352" fmla="*/ 529832 w 551709"/>
              <a:gd name="connsiteY352" fmla="*/ 159406 h 1085400"/>
              <a:gd name="connsiteX353" fmla="*/ 547185 w 551709"/>
              <a:gd name="connsiteY353" fmla="*/ 149225 h 1085400"/>
              <a:gd name="connsiteX354" fmla="*/ 542789 w 551709"/>
              <a:gd name="connsiteY354" fmla="*/ 108734 h 1085400"/>
              <a:gd name="connsiteX355" fmla="*/ 531220 w 551709"/>
              <a:gd name="connsiteY355" fmla="*/ 107635 h 1085400"/>
              <a:gd name="connsiteX356" fmla="*/ 526245 w 551709"/>
              <a:gd name="connsiteY356" fmla="*/ 107635 h 1085400"/>
              <a:gd name="connsiteX357" fmla="*/ 526245 w 551709"/>
              <a:gd name="connsiteY357" fmla="*/ 109197 h 1085400"/>
              <a:gd name="connsiteX358" fmla="*/ 516470 w 551709"/>
              <a:gd name="connsiteY358" fmla="*/ 147837 h 1085400"/>
              <a:gd name="connsiteX359" fmla="*/ 511090 w 551709"/>
              <a:gd name="connsiteY359" fmla="*/ 150613 h 1085400"/>
              <a:gd name="connsiteX360" fmla="*/ 510454 w 551709"/>
              <a:gd name="connsiteY360" fmla="*/ 150613 h 1085400"/>
              <a:gd name="connsiteX361" fmla="*/ 500447 w 551709"/>
              <a:gd name="connsiteY361" fmla="*/ 156398 h 1085400"/>
              <a:gd name="connsiteX362" fmla="*/ 491018 w 551709"/>
              <a:gd name="connsiteY362" fmla="*/ 161662 h 1085400"/>
              <a:gd name="connsiteX363" fmla="*/ 489630 w 551709"/>
              <a:gd name="connsiteY363" fmla="*/ 161662 h 1085400"/>
              <a:gd name="connsiteX364" fmla="*/ 480895 w 551709"/>
              <a:gd name="connsiteY364" fmla="*/ 164380 h 1085400"/>
              <a:gd name="connsiteX365" fmla="*/ 470541 w 551709"/>
              <a:gd name="connsiteY365" fmla="*/ 167851 h 1085400"/>
              <a:gd name="connsiteX366" fmla="*/ 465509 w 551709"/>
              <a:gd name="connsiteY366" fmla="*/ 166462 h 1085400"/>
              <a:gd name="connsiteX367" fmla="*/ 457989 w 551709"/>
              <a:gd name="connsiteY367" fmla="*/ 164727 h 1085400"/>
              <a:gd name="connsiteX368" fmla="*/ 451800 w 551709"/>
              <a:gd name="connsiteY368" fmla="*/ 165132 h 1085400"/>
              <a:gd name="connsiteX369" fmla="*/ 446015 w 551709"/>
              <a:gd name="connsiteY369" fmla="*/ 165595 h 1085400"/>
              <a:gd name="connsiteX370" fmla="*/ 439305 w 551709"/>
              <a:gd name="connsiteY370" fmla="*/ 163975 h 1085400"/>
              <a:gd name="connsiteX371" fmla="*/ 425828 w 551709"/>
              <a:gd name="connsiteY371" fmla="*/ 161662 h 1085400"/>
              <a:gd name="connsiteX372" fmla="*/ 413333 w 551709"/>
              <a:gd name="connsiteY372" fmla="*/ 157323 h 1085400"/>
              <a:gd name="connsiteX373" fmla="*/ 416514 w 551709"/>
              <a:gd name="connsiteY373" fmla="*/ 152522 h 1085400"/>
              <a:gd name="connsiteX374" fmla="*/ 422299 w 551709"/>
              <a:gd name="connsiteY374" fmla="*/ 139218 h 1085400"/>
              <a:gd name="connsiteX375" fmla="*/ 436355 w 551709"/>
              <a:gd name="connsiteY375" fmla="*/ 114518 h 1085400"/>
              <a:gd name="connsiteX376" fmla="*/ 443759 w 551709"/>
              <a:gd name="connsiteY376" fmla="*/ 102950 h 1085400"/>
              <a:gd name="connsiteX377" fmla="*/ 420969 w 551709"/>
              <a:gd name="connsiteY377" fmla="*/ 91844 h 1085400"/>
              <a:gd name="connsiteX378" fmla="*/ 393030 w 551709"/>
              <a:gd name="connsiteY378" fmla="*/ 77672 h 1085400"/>
              <a:gd name="connsiteX379" fmla="*/ 363471 w 551709"/>
              <a:gd name="connsiteY379" fmla="*/ 62574 h 1085400"/>
              <a:gd name="connsiteX380" fmla="*/ 344383 w 551709"/>
              <a:gd name="connsiteY380" fmla="*/ 53030 h 1085400"/>
              <a:gd name="connsiteX381" fmla="*/ 332814 w 551709"/>
              <a:gd name="connsiteY381" fmla="*/ 43543 h 1085400"/>
              <a:gd name="connsiteX382" fmla="*/ 294810 w 551709"/>
              <a:gd name="connsiteY382" fmla="*/ 4788 h 1085400"/>
              <a:gd name="connsiteX383" fmla="*/ 291571 w 551709"/>
              <a:gd name="connsiteY383" fmla="*/ 4441 h 1085400"/>
              <a:gd name="connsiteX384" fmla="*/ 276531 w 551709"/>
              <a:gd name="connsiteY384" fmla="*/ 3284 h 1085400"/>
              <a:gd name="connsiteX385" fmla="*/ 269359 w 551709"/>
              <a:gd name="connsiteY385" fmla="*/ 4730 h 1085400"/>
              <a:gd name="connsiteX386" fmla="*/ 265599 w 551709"/>
              <a:gd name="connsiteY386" fmla="*/ 11671 h 1085400"/>
              <a:gd name="connsiteX387" fmla="*/ 255765 w 551709"/>
              <a:gd name="connsiteY387" fmla="*/ 24397 h 1085400"/>
              <a:gd name="connsiteX388" fmla="*/ 251369 w 551709"/>
              <a:gd name="connsiteY388" fmla="*/ 20637 h 1085400"/>
              <a:gd name="connsiteX389" fmla="*/ 225570 w 551709"/>
              <a:gd name="connsiteY389" fmla="*/ 9068 h 1085400"/>
              <a:gd name="connsiteX390" fmla="*/ 220712 w 551709"/>
              <a:gd name="connsiteY390" fmla="*/ 8490 h 1085400"/>
              <a:gd name="connsiteX391" fmla="*/ 211167 w 551709"/>
              <a:gd name="connsiteY391" fmla="*/ 4556 h 1085400"/>
              <a:gd name="connsiteX392" fmla="*/ 206656 w 551709"/>
              <a:gd name="connsiteY392" fmla="*/ 2590 h 1085400"/>
              <a:gd name="connsiteX393" fmla="*/ 197458 w 551709"/>
              <a:gd name="connsiteY393" fmla="*/ 8953 h 1085400"/>
              <a:gd name="connsiteX394" fmla="*/ 177733 w 551709"/>
              <a:gd name="connsiteY394" fmla="*/ 25323 h 1085400"/>
              <a:gd name="connsiteX395" fmla="*/ 171949 w 551709"/>
              <a:gd name="connsiteY395" fmla="*/ 57195 h 1085400"/>
              <a:gd name="connsiteX396" fmla="*/ 157719 w 551709"/>
              <a:gd name="connsiteY396" fmla="*/ 67954 h 1085400"/>
              <a:gd name="connsiteX397" fmla="*/ 140945 w 551709"/>
              <a:gd name="connsiteY397" fmla="*/ 81374 h 1085400"/>
              <a:gd name="connsiteX398" fmla="*/ 141292 w 551709"/>
              <a:gd name="connsiteY398" fmla="*/ 88662 h 1085400"/>
              <a:gd name="connsiteX399" fmla="*/ 138920 w 551709"/>
              <a:gd name="connsiteY399" fmla="*/ 101851 h 1085400"/>
              <a:gd name="connsiteX400" fmla="*/ 141060 w 551709"/>
              <a:gd name="connsiteY400" fmla="*/ 112552 h 1085400"/>
              <a:gd name="connsiteX401" fmla="*/ 141060 w 551709"/>
              <a:gd name="connsiteY401" fmla="*/ 131467 h 1085400"/>
              <a:gd name="connsiteX402" fmla="*/ 138862 w 551709"/>
              <a:gd name="connsiteY402" fmla="*/ 133781 h 1085400"/>
              <a:gd name="connsiteX403" fmla="*/ 141176 w 551709"/>
              <a:gd name="connsiteY403" fmla="*/ 139565 h 1085400"/>
              <a:gd name="connsiteX404" fmla="*/ 142101 w 551709"/>
              <a:gd name="connsiteY404" fmla="*/ 149225 h 1085400"/>
              <a:gd name="connsiteX405" fmla="*/ 134466 w 551709"/>
              <a:gd name="connsiteY405" fmla="*/ 154026 h 1085400"/>
              <a:gd name="connsiteX406" fmla="*/ 126079 w 551709"/>
              <a:gd name="connsiteY406" fmla="*/ 161488 h 1085400"/>
              <a:gd name="connsiteX407" fmla="*/ 117228 w 551709"/>
              <a:gd name="connsiteY407" fmla="*/ 185493 h 1085400"/>
              <a:gd name="connsiteX408" fmla="*/ 105659 w 551709"/>
              <a:gd name="connsiteY408" fmla="*/ 209036 h 1085400"/>
              <a:gd name="connsiteX409" fmla="*/ 100454 w 551709"/>
              <a:gd name="connsiteY409" fmla="*/ 216209 h 1085400"/>
              <a:gd name="connsiteX410" fmla="*/ 98198 w 551709"/>
              <a:gd name="connsiteY410" fmla="*/ 223497 h 1085400"/>
              <a:gd name="connsiteX411" fmla="*/ 102247 w 551709"/>
              <a:gd name="connsiteY411" fmla="*/ 249064 h 1085400"/>
              <a:gd name="connsiteX412" fmla="*/ 97446 w 551709"/>
              <a:gd name="connsiteY412" fmla="*/ 252824 h 1085400"/>
              <a:gd name="connsiteX413" fmla="*/ 90504 w 551709"/>
              <a:gd name="connsiteY413" fmla="*/ 265550 h 1085400"/>
              <a:gd name="connsiteX414" fmla="*/ 85645 w 551709"/>
              <a:gd name="connsiteY414" fmla="*/ 274169 h 1085400"/>
              <a:gd name="connsiteX415" fmla="*/ 83910 w 551709"/>
              <a:gd name="connsiteY415" fmla="*/ 275962 h 1085400"/>
              <a:gd name="connsiteX416" fmla="*/ 86513 w 551709"/>
              <a:gd name="connsiteY416" fmla="*/ 301876 h 1085400"/>
              <a:gd name="connsiteX417" fmla="*/ 95826 w 551709"/>
              <a:gd name="connsiteY417" fmla="*/ 329641 h 1085400"/>
              <a:gd name="connsiteX418" fmla="*/ 99297 w 551709"/>
              <a:gd name="connsiteY418" fmla="*/ 339186 h 1085400"/>
              <a:gd name="connsiteX419" fmla="*/ 102304 w 551709"/>
              <a:gd name="connsiteY419" fmla="*/ 353762 h 1085400"/>
              <a:gd name="connsiteX420" fmla="*/ 100106 w 551709"/>
              <a:gd name="connsiteY420" fmla="*/ 363943 h 1085400"/>
              <a:gd name="connsiteX421" fmla="*/ 94322 w 551709"/>
              <a:gd name="connsiteY421" fmla="*/ 377247 h 1085400"/>
              <a:gd name="connsiteX422" fmla="*/ 91372 w 551709"/>
              <a:gd name="connsiteY422" fmla="*/ 385750 h 1085400"/>
              <a:gd name="connsiteX423" fmla="*/ 85935 w 551709"/>
              <a:gd name="connsiteY423" fmla="*/ 397319 h 1085400"/>
              <a:gd name="connsiteX424" fmla="*/ 85935 w 551709"/>
              <a:gd name="connsiteY424" fmla="*/ 413689 h 1085400"/>
              <a:gd name="connsiteX425" fmla="*/ 85935 w 551709"/>
              <a:gd name="connsiteY425" fmla="*/ 431621 h 1085400"/>
              <a:gd name="connsiteX426" fmla="*/ 81018 w 551709"/>
              <a:gd name="connsiteY426" fmla="*/ 434976 h 1085400"/>
              <a:gd name="connsiteX427" fmla="*/ 65805 w 551709"/>
              <a:gd name="connsiteY427" fmla="*/ 457825 h 1085400"/>
              <a:gd name="connsiteX428" fmla="*/ 66730 w 551709"/>
              <a:gd name="connsiteY428" fmla="*/ 477086 h 1085400"/>
              <a:gd name="connsiteX429" fmla="*/ 66730 w 551709"/>
              <a:gd name="connsiteY429" fmla="*/ 494440 h 1085400"/>
              <a:gd name="connsiteX430" fmla="*/ 68986 w 551709"/>
              <a:gd name="connsiteY430" fmla="*/ 499010 h 1085400"/>
              <a:gd name="connsiteX431" fmla="*/ 73267 w 551709"/>
              <a:gd name="connsiteY431" fmla="*/ 509884 h 1085400"/>
              <a:gd name="connsiteX432" fmla="*/ 62912 w 551709"/>
              <a:gd name="connsiteY432" fmla="*/ 517867 h 1085400"/>
              <a:gd name="connsiteX433" fmla="*/ 57707 w 551709"/>
              <a:gd name="connsiteY433" fmla="*/ 520528 h 1085400"/>
              <a:gd name="connsiteX434" fmla="*/ 58054 w 551709"/>
              <a:gd name="connsiteY434" fmla="*/ 528857 h 1085400"/>
              <a:gd name="connsiteX435" fmla="*/ 55161 w 551709"/>
              <a:gd name="connsiteY435" fmla="*/ 541988 h 1085400"/>
              <a:gd name="connsiteX436" fmla="*/ 48683 w 551709"/>
              <a:gd name="connsiteY436" fmla="*/ 558126 h 1085400"/>
              <a:gd name="connsiteX437" fmla="*/ 43940 w 551709"/>
              <a:gd name="connsiteY437" fmla="*/ 571951 h 1085400"/>
              <a:gd name="connsiteX438" fmla="*/ 41336 w 551709"/>
              <a:gd name="connsiteY438" fmla="*/ 577157 h 1085400"/>
              <a:gd name="connsiteX439" fmla="*/ 43940 w 551709"/>
              <a:gd name="connsiteY439" fmla="*/ 585892 h 1085400"/>
              <a:gd name="connsiteX440" fmla="*/ 47063 w 551709"/>
              <a:gd name="connsiteY440" fmla="*/ 595841 h 1085400"/>
              <a:gd name="connsiteX441" fmla="*/ 47584 w 551709"/>
              <a:gd name="connsiteY441" fmla="*/ 602956 h 1085400"/>
              <a:gd name="connsiteX442" fmla="*/ 44460 w 551709"/>
              <a:gd name="connsiteY442" fmla="*/ 626498 h 1085400"/>
              <a:gd name="connsiteX443" fmla="*/ 40064 w 551709"/>
              <a:gd name="connsiteY443" fmla="*/ 635175 h 1085400"/>
              <a:gd name="connsiteX444" fmla="*/ 40816 w 551709"/>
              <a:gd name="connsiteY444" fmla="*/ 653164 h 1085400"/>
              <a:gd name="connsiteX445" fmla="*/ 43650 w 551709"/>
              <a:gd name="connsiteY445" fmla="*/ 669361 h 1085400"/>
              <a:gd name="connsiteX446" fmla="*/ 46138 w 551709"/>
              <a:gd name="connsiteY446" fmla="*/ 674278 h 1085400"/>
              <a:gd name="connsiteX447" fmla="*/ 47526 w 551709"/>
              <a:gd name="connsiteY447" fmla="*/ 686830 h 1085400"/>
              <a:gd name="connsiteX448" fmla="*/ 45039 w 551709"/>
              <a:gd name="connsiteY448" fmla="*/ 695507 h 1085400"/>
              <a:gd name="connsiteX449" fmla="*/ 54641 w 551709"/>
              <a:gd name="connsiteY449" fmla="*/ 698862 h 1085400"/>
              <a:gd name="connsiteX450" fmla="*/ 64746 w 551709"/>
              <a:gd name="connsiteY450" fmla="*/ 704594 h 1085400"/>
              <a:gd name="connsiteX451" fmla="*/ 64995 w 551709"/>
              <a:gd name="connsiteY451" fmla="*/ 707654 h 1085400"/>
              <a:gd name="connsiteX452" fmla="*/ 63549 w 551709"/>
              <a:gd name="connsiteY452" fmla="*/ 711645 h 1085400"/>
              <a:gd name="connsiteX453" fmla="*/ 59037 w 551709"/>
              <a:gd name="connsiteY453" fmla="*/ 713381 h 1085400"/>
              <a:gd name="connsiteX454" fmla="*/ 46832 w 551709"/>
              <a:gd name="connsiteY454" fmla="*/ 714595 h 1085400"/>
              <a:gd name="connsiteX455" fmla="*/ 46832 w 551709"/>
              <a:gd name="connsiteY455" fmla="*/ 714595 h 1085400"/>
              <a:gd name="connsiteX456" fmla="*/ 49088 w 551709"/>
              <a:gd name="connsiteY456" fmla="*/ 717082 h 1085400"/>
              <a:gd name="connsiteX457" fmla="*/ 58921 w 551709"/>
              <a:gd name="connsiteY457" fmla="*/ 731196 h 1085400"/>
              <a:gd name="connsiteX458" fmla="*/ 53137 w 551709"/>
              <a:gd name="connsiteY458" fmla="*/ 736981 h 1085400"/>
              <a:gd name="connsiteX459" fmla="*/ 49203 w 551709"/>
              <a:gd name="connsiteY459" fmla="*/ 746699 h 1085400"/>
              <a:gd name="connsiteX460" fmla="*/ 49724 w 551709"/>
              <a:gd name="connsiteY460" fmla="*/ 757573 h 1085400"/>
              <a:gd name="connsiteX461" fmla="*/ 50996 w 551709"/>
              <a:gd name="connsiteY461" fmla="*/ 769142 h 1085400"/>
              <a:gd name="connsiteX462" fmla="*/ 51748 w 551709"/>
              <a:gd name="connsiteY462" fmla="*/ 777298 h 1085400"/>
              <a:gd name="connsiteX463" fmla="*/ 48162 w 551709"/>
              <a:gd name="connsiteY463" fmla="*/ 779902 h 1085400"/>
              <a:gd name="connsiteX464" fmla="*/ 45964 w 551709"/>
              <a:gd name="connsiteY464" fmla="*/ 787421 h 1085400"/>
              <a:gd name="connsiteX465" fmla="*/ 39775 w 551709"/>
              <a:gd name="connsiteY465" fmla="*/ 798990 h 1085400"/>
              <a:gd name="connsiteX466" fmla="*/ 33296 w 551709"/>
              <a:gd name="connsiteY466" fmla="*/ 806915 h 1085400"/>
              <a:gd name="connsiteX467" fmla="*/ 28842 w 551709"/>
              <a:gd name="connsiteY467" fmla="*/ 816748 h 1085400"/>
              <a:gd name="connsiteX468" fmla="*/ 29883 w 551709"/>
              <a:gd name="connsiteY468" fmla="*/ 825540 h 1085400"/>
              <a:gd name="connsiteX469" fmla="*/ 29536 w 551709"/>
              <a:gd name="connsiteY469" fmla="*/ 838151 h 1085400"/>
              <a:gd name="connsiteX470" fmla="*/ 24388 w 551709"/>
              <a:gd name="connsiteY470" fmla="*/ 848621 h 1085400"/>
              <a:gd name="connsiteX471" fmla="*/ 17447 w 551709"/>
              <a:gd name="connsiteY471" fmla="*/ 857181 h 1085400"/>
              <a:gd name="connsiteX472" fmla="*/ 3854 w 551709"/>
              <a:gd name="connsiteY472" fmla="*/ 874535 h 1085400"/>
              <a:gd name="connsiteX473" fmla="*/ 2754 w 551709"/>
              <a:gd name="connsiteY473" fmla="*/ 879104 h 1085400"/>
              <a:gd name="connsiteX474" fmla="*/ 4374 w 551709"/>
              <a:gd name="connsiteY474" fmla="*/ 899061 h 1085400"/>
              <a:gd name="connsiteX475" fmla="*/ 7324 w 551709"/>
              <a:gd name="connsiteY475" fmla="*/ 911381 h 1085400"/>
              <a:gd name="connsiteX476" fmla="*/ 8944 w 551709"/>
              <a:gd name="connsiteY476" fmla="*/ 916819 h 1085400"/>
              <a:gd name="connsiteX477" fmla="*/ 19703 w 551709"/>
              <a:gd name="connsiteY477" fmla="*/ 918149 h 1085400"/>
              <a:gd name="connsiteX478" fmla="*/ 34569 w 551709"/>
              <a:gd name="connsiteY478" fmla="*/ 921678 h 1085400"/>
              <a:gd name="connsiteX479" fmla="*/ 34916 w 551709"/>
              <a:gd name="connsiteY479" fmla="*/ 926421 h 1085400"/>
              <a:gd name="connsiteX480" fmla="*/ 34916 w 551709"/>
              <a:gd name="connsiteY480" fmla="*/ 955748 h 1085400"/>
              <a:gd name="connsiteX481" fmla="*/ 35321 w 551709"/>
              <a:gd name="connsiteY481" fmla="*/ 956095 h 1085400"/>
              <a:gd name="connsiteX482" fmla="*/ 41105 w 551709"/>
              <a:gd name="connsiteY482" fmla="*/ 961474 h 1085400"/>
              <a:gd name="connsiteX483" fmla="*/ 48278 w 551709"/>
              <a:gd name="connsiteY483" fmla="*/ 967259 h 1085400"/>
              <a:gd name="connsiteX484" fmla="*/ 80960 w 551709"/>
              <a:gd name="connsiteY484" fmla="*/ 965061 h 1085400"/>
              <a:gd name="connsiteX485" fmla="*/ 97098 w 551709"/>
              <a:gd name="connsiteY485" fmla="*/ 966507 h 1085400"/>
              <a:gd name="connsiteX486" fmla="*/ 111733 w 551709"/>
              <a:gd name="connsiteY486" fmla="*/ 974779 h 1085400"/>
              <a:gd name="connsiteX487" fmla="*/ 116129 w 551709"/>
              <a:gd name="connsiteY487" fmla="*/ 973217 h 10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Lst>
            <a:rect l="l" t="t" r="r" b="b"/>
            <a:pathLst>
              <a:path w="551709" h="1085400">
                <a:moveTo>
                  <a:pt x="187798" y="1085261"/>
                </a:moveTo>
                <a:cubicBezTo>
                  <a:pt x="185646" y="1085123"/>
                  <a:pt x="183529" y="1084614"/>
                  <a:pt x="181551" y="1083757"/>
                </a:cubicBezTo>
                <a:lnTo>
                  <a:pt x="179816" y="1083121"/>
                </a:lnTo>
                <a:lnTo>
                  <a:pt x="179816" y="1083121"/>
                </a:lnTo>
                <a:cubicBezTo>
                  <a:pt x="173609" y="1080501"/>
                  <a:pt x="166859" y="1079431"/>
                  <a:pt x="160149" y="1079998"/>
                </a:cubicBezTo>
                <a:cubicBezTo>
                  <a:pt x="154364" y="1079998"/>
                  <a:pt x="148580" y="1080345"/>
                  <a:pt x="143663" y="1080634"/>
                </a:cubicBezTo>
                <a:cubicBezTo>
                  <a:pt x="140522" y="1080871"/>
                  <a:pt x="137376" y="1080871"/>
                  <a:pt x="134234" y="1080634"/>
                </a:cubicBezTo>
                <a:cubicBezTo>
                  <a:pt x="132615" y="1080634"/>
                  <a:pt x="128450" y="1079766"/>
                  <a:pt x="133077" y="989529"/>
                </a:cubicBezTo>
                <a:cubicBezTo>
                  <a:pt x="133135" y="989199"/>
                  <a:pt x="133297" y="988899"/>
                  <a:pt x="133540" y="988661"/>
                </a:cubicBezTo>
                <a:cubicBezTo>
                  <a:pt x="133835" y="988523"/>
                  <a:pt x="134171" y="988523"/>
                  <a:pt x="134466" y="988661"/>
                </a:cubicBezTo>
                <a:cubicBezTo>
                  <a:pt x="140429" y="990217"/>
                  <a:pt x="145115" y="994822"/>
                  <a:pt x="146787" y="1000751"/>
                </a:cubicBezTo>
                <a:cubicBezTo>
                  <a:pt x="147180" y="1002735"/>
                  <a:pt x="146145" y="1004725"/>
                  <a:pt x="144299" y="1005552"/>
                </a:cubicBezTo>
                <a:cubicBezTo>
                  <a:pt x="140250" y="1007577"/>
                  <a:pt x="136490" y="1012435"/>
                  <a:pt x="136953" y="1014286"/>
                </a:cubicBezTo>
                <a:cubicBezTo>
                  <a:pt x="136953" y="1014980"/>
                  <a:pt x="138226" y="1015154"/>
                  <a:pt x="139093" y="1015154"/>
                </a:cubicBezTo>
                <a:cubicBezTo>
                  <a:pt x="139805" y="1015200"/>
                  <a:pt x="140522" y="1015200"/>
                  <a:pt x="141234" y="1015154"/>
                </a:cubicBezTo>
                <a:cubicBezTo>
                  <a:pt x="148291" y="1013997"/>
                  <a:pt x="149158" y="1016774"/>
                  <a:pt x="150142" y="1019897"/>
                </a:cubicBezTo>
                <a:cubicBezTo>
                  <a:pt x="150905" y="1023154"/>
                  <a:pt x="152762" y="1026058"/>
                  <a:pt x="155406" y="1028111"/>
                </a:cubicBezTo>
                <a:lnTo>
                  <a:pt x="161190" y="1033202"/>
                </a:lnTo>
                <a:cubicBezTo>
                  <a:pt x="173395" y="1043671"/>
                  <a:pt x="195897" y="1063107"/>
                  <a:pt x="208391" y="1063628"/>
                </a:cubicBezTo>
                <a:cubicBezTo>
                  <a:pt x="227190" y="1064380"/>
                  <a:pt x="230372" y="1066578"/>
                  <a:pt x="230950" y="1068891"/>
                </a:cubicBezTo>
                <a:cubicBezTo>
                  <a:pt x="231529" y="1071205"/>
                  <a:pt x="229041" y="1072998"/>
                  <a:pt x="227132" y="1074213"/>
                </a:cubicBezTo>
                <a:cubicBezTo>
                  <a:pt x="221516" y="1076943"/>
                  <a:pt x="215384" y="1078441"/>
                  <a:pt x="209143" y="1078609"/>
                </a:cubicBezTo>
                <a:cubicBezTo>
                  <a:pt x="203561" y="1078390"/>
                  <a:pt x="198048" y="1079951"/>
                  <a:pt x="193409" y="1083063"/>
                </a:cubicBezTo>
                <a:cubicBezTo>
                  <a:pt x="191946" y="1084573"/>
                  <a:pt x="189898" y="1085371"/>
                  <a:pt x="187798" y="1085261"/>
                </a:cubicBezTo>
                <a:close/>
                <a:moveTo>
                  <a:pt x="180626" y="1080981"/>
                </a:moveTo>
                <a:lnTo>
                  <a:pt x="182361" y="1081617"/>
                </a:lnTo>
                <a:cubicBezTo>
                  <a:pt x="184073" y="1082404"/>
                  <a:pt x="185918" y="1082872"/>
                  <a:pt x="187798" y="1083005"/>
                </a:cubicBezTo>
                <a:cubicBezTo>
                  <a:pt x="189314" y="1083029"/>
                  <a:pt x="190760" y="1082369"/>
                  <a:pt x="191732" y="1081212"/>
                </a:cubicBezTo>
                <a:cubicBezTo>
                  <a:pt x="195202" y="1077395"/>
                  <a:pt x="201854" y="1076701"/>
                  <a:pt x="209085" y="1076006"/>
                </a:cubicBezTo>
                <a:cubicBezTo>
                  <a:pt x="214985" y="1075873"/>
                  <a:pt x="220781" y="1074474"/>
                  <a:pt x="226091" y="1071899"/>
                </a:cubicBezTo>
                <a:cubicBezTo>
                  <a:pt x="228521" y="1070395"/>
                  <a:pt x="229041" y="1069412"/>
                  <a:pt x="228925" y="1069123"/>
                </a:cubicBezTo>
                <a:cubicBezTo>
                  <a:pt x="228810" y="1068833"/>
                  <a:pt x="226785" y="1066288"/>
                  <a:pt x="208507" y="1065537"/>
                </a:cubicBezTo>
                <a:cubicBezTo>
                  <a:pt x="195434" y="1065016"/>
                  <a:pt x="172296" y="1045233"/>
                  <a:pt x="159859" y="1034590"/>
                </a:cubicBezTo>
                <a:cubicBezTo>
                  <a:pt x="157430" y="1032450"/>
                  <a:pt x="155406" y="1030714"/>
                  <a:pt x="154075" y="1029557"/>
                </a:cubicBezTo>
                <a:cubicBezTo>
                  <a:pt x="151148" y="1027168"/>
                  <a:pt x="149112" y="1023871"/>
                  <a:pt x="148291" y="1020187"/>
                </a:cubicBezTo>
                <a:cubicBezTo>
                  <a:pt x="147481" y="1017699"/>
                  <a:pt x="147249" y="1016774"/>
                  <a:pt x="144588" y="1016774"/>
                </a:cubicBezTo>
                <a:cubicBezTo>
                  <a:pt x="143675" y="1016803"/>
                  <a:pt x="142766" y="1016901"/>
                  <a:pt x="141870" y="1017063"/>
                </a:cubicBezTo>
                <a:cubicBezTo>
                  <a:pt x="141043" y="1017115"/>
                  <a:pt x="140210" y="1017115"/>
                  <a:pt x="139383" y="1017063"/>
                </a:cubicBezTo>
                <a:cubicBezTo>
                  <a:pt x="136143" y="1017063"/>
                  <a:pt x="135276" y="1015443"/>
                  <a:pt x="135044" y="1014460"/>
                </a:cubicBezTo>
                <a:cubicBezTo>
                  <a:pt x="134177" y="1010816"/>
                  <a:pt x="139556" y="1005205"/>
                  <a:pt x="143605" y="1003180"/>
                </a:cubicBezTo>
                <a:cubicBezTo>
                  <a:pt x="144548" y="1002741"/>
                  <a:pt x="145051" y="1001705"/>
                  <a:pt x="144820" y="1000693"/>
                </a:cubicBezTo>
                <a:cubicBezTo>
                  <a:pt x="143437" y="996164"/>
                  <a:pt x="140013" y="992543"/>
                  <a:pt x="135565" y="990917"/>
                </a:cubicBezTo>
                <a:cubicBezTo>
                  <a:pt x="133193" y="1040779"/>
                  <a:pt x="133020" y="1074850"/>
                  <a:pt x="135160" y="1078262"/>
                </a:cubicBezTo>
                <a:cubicBezTo>
                  <a:pt x="138058" y="1078332"/>
                  <a:pt x="140950" y="1078239"/>
                  <a:pt x="143837" y="1077973"/>
                </a:cubicBezTo>
                <a:cubicBezTo>
                  <a:pt x="148638" y="1077973"/>
                  <a:pt x="154596" y="1077337"/>
                  <a:pt x="160438" y="1077337"/>
                </a:cubicBezTo>
                <a:cubicBezTo>
                  <a:pt x="167356" y="1076880"/>
                  <a:pt x="174286" y="1078112"/>
                  <a:pt x="180626" y="1080923"/>
                </a:cubicBezTo>
                <a:close/>
                <a:moveTo>
                  <a:pt x="136375" y="980274"/>
                </a:moveTo>
                <a:cubicBezTo>
                  <a:pt x="133280" y="979950"/>
                  <a:pt x="130249" y="979210"/>
                  <a:pt x="127351" y="978076"/>
                </a:cubicBezTo>
                <a:cubicBezTo>
                  <a:pt x="122937" y="976051"/>
                  <a:pt x="118044" y="975328"/>
                  <a:pt x="113237" y="975993"/>
                </a:cubicBezTo>
                <a:cubicBezTo>
                  <a:pt x="112867" y="976236"/>
                  <a:pt x="112392" y="976236"/>
                  <a:pt x="112022" y="975993"/>
                </a:cubicBezTo>
                <a:cubicBezTo>
                  <a:pt x="108025" y="972124"/>
                  <a:pt x="103137" y="969307"/>
                  <a:pt x="97793" y="967780"/>
                </a:cubicBezTo>
                <a:cubicBezTo>
                  <a:pt x="92679" y="966698"/>
                  <a:pt x="87456" y="966229"/>
                  <a:pt x="82232" y="966391"/>
                </a:cubicBezTo>
                <a:cubicBezTo>
                  <a:pt x="71404" y="966547"/>
                  <a:pt x="60593" y="967282"/>
                  <a:pt x="49840" y="968590"/>
                </a:cubicBezTo>
                <a:cubicBezTo>
                  <a:pt x="45444" y="969168"/>
                  <a:pt x="42783" y="965061"/>
                  <a:pt x="40469" y="961474"/>
                </a:cubicBezTo>
                <a:cubicBezTo>
                  <a:pt x="39080" y="959334"/>
                  <a:pt x="37692" y="957136"/>
                  <a:pt x="36535" y="957136"/>
                </a:cubicBezTo>
                <a:cubicBezTo>
                  <a:pt x="35627" y="957136"/>
                  <a:pt x="34788" y="956650"/>
                  <a:pt x="34337" y="955864"/>
                </a:cubicBezTo>
                <a:cubicBezTo>
                  <a:pt x="31098" y="951410"/>
                  <a:pt x="30809" y="933536"/>
                  <a:pt x="33817" y="924512"/>
                </a:cubicBezTo>
                <a:cubicBezTo>
                  <a:pt x="34262" y="923639"/>
                  <a:pt x="34262" y="922609"/>
                  <a:pt x="33817" y="921735"/>
                </a:cubicBezTo>
                <a:cubicBezTo>
                  <a:pt x="32255" y="919537"/>
                  <a:pt x="26123" y="919364"/>
                  <a:pt x="20686" y="919190"/>
                </a:cubicBezTo>
                <a:cubicBezTo>
                  <a:pt x="16764" y="919399"/>
                  <a:pt x="12842" y="918872"/>
                  <a:pt x="9117" y="917629"/>
                </a:cubicBezTo>
                <a:cubicBezTo>
                  <a:pt x="5300" y="915720"/>
                  <a:pt x="5820" y="912712"/>
                  <a:pt x="6283" y="909762"/>
                </a:cubicBezTo>
                <a:cubicBezTo>
                  <a:pt x="7405" y="906118"/>
                  <a:pt x="6503" y="902149"/>
                  <a:pt x="3911" y="899350"/>
                </a:cubicBezTo>
                <a:cubicBezTo>
                  <a:pt x="-2278" y="892466"/>
                  <a:pt x="93" y="883732"/>
                  <a:pt x="1771" y="877311"/>
                </a:cubicBezTo>
                <a:cubicBezTo>
                  <a:pt x="2193" y="875906"/>
                  <a:pt x="2541" y="874477"/>
                  <a:pt x="2812" y="873031"/>
                </a:cubicBezTo>
                <a:cubicBezTo>
                  <a:pt x="3622" y="867246"/>
                  <a:pt x="8597" y="854000"/>
                  <a:pt x="18662" y="854000"/>
                </a:cubicBezTo>
                <a:cubicBezTo>
                  <a:pt x="22190" y="854000"/>
                  <a:pt x="22653" y="851860"/>
                  <a:pt x="23347" y="847406"/>
                </a:cubicBezTo>
                <a:cubicBezTo>
                  <a:pt x="23451" y="842639"/>
                  <a:pt x="25730" y="838185"/>
                  <a:pt x="29536" y="835316"/>
                </a:cubicBezTo>
                <a:cubicBezTo>
                  <a:pt x="33123" y="833060"/>
                  <a:pt x="31734" y="830226"/>
                  <a:pt x="29131" y="825772"/>
                </a:cubicBezTo>
                <a:cubicBezTo>
                  <a:pt x="26528" y="821318"/>
                  <a:pt x="24330" y="817442"/>
                  <a:pt x="28669" y="814203"/>
                </a:cubicBezTo>
                <a:cubicBezTo>
                  <a:pt x="31005" y="812046"/>
                  <a:pt x="32307" y="808997"/>
                  <a:pt x="32255" y="805816"/>
                </a:cubicBezTo>
                <a:cubicBezTo>
                  <a:pt x="32718" y="801651"/>
                  <a:pt x="33296" y="796965"/>
                  <a:pt x="40642" y="795924"/>
                </a:cubicBezTo>
                <a:cubicBezTo>
                  <a:pt x="45559" y="795230"/>
                  <a:pt x="45444" y="792107"/>
                  <a:pt x="44923" y="787016"/>
                </a:cubicBezTo>
                <a:cubicBezTo>
                  <a:pt x="44518" y="783025"/>
                  <a:pt x="44055" y="778513"/>
                  <a:pt x="48741" y="777067"/>
                </a:cubicBezTo>
                <a:cubicBezTo>
                  <a:pt x="49631" y="776882"/>
                  <a:pt x="50418" y="776361"/>
                  <a:pt x="50938" y="775621"/>
                </a:cubicBezTo>
                <a:cubicBezTo>
                  <a:pt x="51355" y="773446"/>
                  <a:pt x="51054" y="771190"/>
                  <a:pt x="50071" y="769200"/>
                </a:cubicBezTo>
                <a:cubicBezTo>
                  <a:pt x="48463" y="765203"/>
                  <a:pt x="48000" y="760836"/>
                  <a:pt x="48741" y="756590"/>
                </a:cubicBezTo>
                <a:cubicBezTo>
                  <a:pt x="49394" y="753339"/>
                  <a:pt x="49215" y="749978"/>
                  <a:pt x="48220" y="746814"/>
                </a:cubicBezTo>
                <a:cubicBezTo>
                  <a:pt x="47121" y="741956"/>
                  <a:pt x="46080" y="737328"/>
                  <a:pt x="53542" y="734494"/>
                </a:cubicBezTo>
                <a:cubicBezTo>
                  <a:pt x="56318" y="733394"/>
                  <a:pt x="57880" y="732006"/>
                  <a:pt x="58111" y="730329"/>
                </a:cubicBezTo>
                <a:cubicBezTo>
                  <a:pt x="58574" y="727495"/>
                  <a:pt x="55393" y="723214"/>
                  <a:pt x="49145" y="718355"/>
                </a:cubicBezTo>
                <a:cubicBezTo>
                  <a:pt x="47410" y="717025"/>
                  <a:pt x="45501" y="715232"/>
                  <a:pt x="46138" y="713323"/>
                </a:cubicBezTo>
                <a:cubicBezTo>
                  <a:pt x="46774" y="711414"/>
                  <a:pt x="51922" y="710604"/>
                  <a:pt x="60483" y="710604"/>
                </a:cubicBezTo>
                <a:cubicBezTo>
                  <a:pt x="61541" y="710673"/>
                  <a:pt x="62577" y="710321"/>
                  <a:pt x="63375" y="709621"/>
                </a:cubicBezTo>
                <a:cubicBezTo>
                  <a:pt x="63942" y="708921"/>
                  <a:pt x="64231" y="708036"/>
                  <a:pt x="64185" y="707133"/>
                </a:cubicBezTo>
                <a:cubicBezTo>
                  <a:pt x="64249" y="703726"/>
                  <a:pt x="61773" y="700805"/>
                  <a:pt x="58401" y="700308"/>
                </a:cubicBezTo>
                <a:cubicBezTo>
                  <a:pt x="57903" y="700221"/>
                  <a:pt x="57394" y="700221"/>
                  <a:pt x="56897" y="700308"/>
                </a:cubicBezTo>
                <a:cubicBezTo>
                  <a:pt x="52194" y="702193"/>
                  <a:pt x="46832" y="700157"/>
                  <a:pt x="44576" y="695622"/>
                </a:cubicBezTo>
                <a:cubicBezTo>
                  <a:pt x="43153" y="691654"/>
                  <a:pt x="44356" y="687223"/>
                  <a:pt x="47584" y="684516"/>
                </a:cubicBezTo>
                <a:cubicBezTo>
                  <a:pt x="50938" y="681103"/>
                  <a:pt x="49261" y="678732"/>
                  <a:pt x="46080" y="675030"/>
                </a:cubicBezTo>
                <a:cubicBezTo>
                  <a:pt x="44055" y="672716"/>
                  <a:pt x="41915" y="670287"/>
                  <a:pt x="43245" y="667568"/>
                </a:cubicBezTo>
                <a:cubicBezTo>
                  <a:pt x="46045" y="663264"/>
                  <a:pt x="45172" y="657543"/>
                  <a:pt x="41221" y="654264"/>
                </a:cubicBezTo>
                <a:cubicBezTo>
                  <a:pt x="37403" y="651718"/>
                  <a:pt x="37924" y="640844"/>
                  <a:pt x="39485" y="633902"/>
                </a:cubicBezTo>
                <a:cubicBezTo>
                  <a:pt x="40295" y="630258"/>
                  <a:pt x="42204" y="624011"/>
                  <a:pt x="45733" y="623490"/>
                </a:cubicBezTo>
                <a:cubicBezTo>
                  <a:pt x="49261" y="622970"/>
                  <a:pt x="47642" y="609087"/>
                  <a:pt x="47005" y="602435"/>
                </a:cubicBezTo>
                <a:cubicBezTo>
                  <a:pt x="46716" y="599369"/>
                  <a:pt x="46427" y="596651"/>
                  <a:pt x="46427" y="595089"/>
                </a:cubicBezTo>
                <a:cubicBezTo>
                  <a:pt x="46085" y="591937"/>
                  <a:pt x="45102" y="588882"/>
                  <a:pt x="43535" y="586123"/>
                </a:cubicBezTo>
                <a:cubicBezTo>
                  <a:pt x="41643" y="583109"/>
                  <a:pt x="40660" y="579616"/>
                  <a:pt x="40700" y="576058"/>
                </a:cubicBezTo>
                <a:cubicBezTo>
                  <a:pt x="41157" y="573762"/>
                  <a:pt x="42216" y="571627"/>
                  <a:pt x="43766" y="569869"/>
                </a:cubicBezTo>
                <a:cubicBezTo>
                  <a:pt x="46675" y="566369"/>
                  <a:pt x="48197" y="561921"/>
                  <a:pt x="48046" y="557374"/>
                </a:cubicBezTo>
                <a:cubicBezTo>
                  <a:pt x="48046" y="545805"/>
                  <a:pt x="50649" y="540021"/>
                  <a:pt x="56376" y="539038"/>
                </a:cubicBezTo>
                <a:cubicBezTo>
                  <a:pt x="58516" y="538691"/>
                  <a:pt x="57938" y="533253"/>
                  <a:pt x="57475" y="528336"/>
                </a:cubicBezTo>
                <a:cubicBezTo>
                  <a:pt x="57035" y="525410"/>
                  <a:pt x="56902" y="522442"/>
                  <a:pt x="57070" y="519486"/>
                </a:cubicBezTo>
                <a:cubicBezTo>
                  <a:pt x="57533" y="515726"/>
                  <a:pt x="61119" y="515264"/>
                  <a:pt x="64301" y="514917"/>
                </a:cubicBezTo>
                <a:cubicBezTo>
                  <a:pt x="67482" y="514570"/>
                  <a:pt x="71878" y="513933"/>
                  <a:pt x="72688" y="508785"/>
                </a:cubicBezTo>
                <a:cubicBezTo>
                  <a:pt x="73567" y="505396"/>
                  <a:pt x="72139" y="501832"/>
                  <a:pt x="69160" y="499993"/>
                </a:cubicBezTo>
                <a:cubicBezTo>
                  <a:pt x="66713" y="498674"/>
                  <a:pt x="65475" y="495863"/>
                  <a:pt x="66152" y="493167"/>
                </a:cubicBezTo>
                <a:cubicBezTo>
                  <a:pt x="66979" y="487724"/>
                  <a:pt x="66979" y="482183"/>
                  <a:pt x="66152" y="476739"/>
                </a:cubicBezTo>
                <a:cubicBezTo>
                  <a:pt x="65747" y="471534"/>
                  <a:pt x="65226" y="465171"/>
                  <a:pt x="65226" y="457304"/>
                </a:cubicBezTo>
                <a:cubicBezTo>
                  <a:pt x="65226" y="442554"/>
                  <a:pt x="74597" y="436769"/>
                  <a:pt x="81480" y="432546"/>
                </a:cubicBezTo>
                <a:cubicBezTo>
                  <a:pt x="83089" y="431609"/>
                  <a:pt x="84639" y="430562"/>
                  <a:pt x="86108" y="429423"/>
                </a:cubicBezTo>
                <a:cubicBezTo>
                  <a:pt x="88364" y="427456"/>
                  <a:pt x="86744" y="420110"/>
                  <a:pt x="85356" y="413631"/>
                </a:cubicBezTo>
                <a:cubicBezTo>
                  <a:pt x="83505" y="405013"/>
                  <a:pt x="81712" y="396856"/>
                  <a:pt x="86397" y="394774"/>
                </a:cubicBezTo>
                <a:cubicBezTo>
                  <a:pt x="89752" y="393270"/>
                  <a:pt x="90157" y="389395"/>
                  <a:pt x="90562" y="385345"/>
                </a:cubicBezTo>
                <a:cubicBezTo>
                  <a:pt x="90302" y="381562"/>
                  <a:pt x="91696" y="377849"/>
                  <a:pt x="94380" y="375165"/>
                </a:cubicBezTo>
                <a:cubicBezTo>
                  <a:pt x="97619" y="372909"/>
                  <a:pt x="98255" y="368686"/>
                  <a:pt x="99065" y="363596"/>
                </a:cubicBezTo>
                <a:cubicBezTo>
                  <a:pt x="99533" y="360010"/>
                  <a:pt x="100309" y="356470"/>
                  <a:pt x="101379" y="353010"/>
                </a:cubicBezTo>
                <a:cubicBezTo>
                  <a:pt x="102495" y="348586"/>
                  <a:pt x="101466" y="343894"/>
                  <a:pt x="98602" y="340342"/>
                </a:cubicBezTo>
                <a:cubicBezTo>
                  <a:pt x="96340" y="337207"/>
                  <a:pt x="95022" y="333500"/>
                  <a:pt x="94785" y="329641"/>
                </a:cubicBezTo>
                <a:cubicBezTo>
                  <a:pt x="95091" y="319947"/>
                  <a:pt x="91910" y="310466"/>
                  <a:pt x="85819" y="302917"/>
                </a:cubicBezTo>
                <a:cubicBezTo>
                  <a:pt x="80514" y="294426"/>
                  <a:pt x="79467" y="283950"/>
                  <a:pt x="82984" y="274573"/>
                </a:cubicBezTo>
                <a:cubicBezTo>
                  <a:pt x="84257" y="272086"/>
                  <a:pt x="85703" y="271566"/>
                  <a:pt x="86744" y="271566"/>
                </a:cubicBezTo>
                <a:cubicBezTo>
                  <a:pt x="87786" y="271566"/>
                  <a:pt x="88711" y="267922"/>
                  <a:pt x="89405" y="264740"/>
                </a:cubicBezTo>
                <a:cubicBezTo>
                  <a:pt x="90620" y="258956"/>
                  <a:pt x="92124" y="251841"/>
                  <a:pt x="97908" y="250279"/>
                </a:cubicBezTo>
                <a:cubicBezTo>
                  <a:pt x="99383" y="249972"/>
                  <a:pt x="100639" y="249018"/>
                  <a:pt x="101321" y="247676"/>
                </a:cubicBezTo>
                <a:cubicBezTo>
                  <a:pt x="103866" y="242759"/>
                  <a:pt x="100164" y="232289"/>
                  <a:pt x="97156" y="223902"/>
                </a:cubicBezTo>
                <a:cubicBezTo>
                  <a:pt x="94553" y="216556"/>
                  <a:pt x="97908" y="215052"/>
                  <a:pt x="100627" y="213837"/>
                </a:cubicBezTo>
                <a:cubicBezTo>
                  <a:pt x="103346" y="212622"/>
                  <a:pt x="104502" y="212044"/>
                  <a:pt x="104502" y="208689"/>
                </a:cubicBezTo>
                <a:cubicBezTo>
                  <a:pt x="104502" y="199145"/>
                  <a:pt x="109708" y="186535"/>
                  <a:pt x="117459" y="183122"/>
                </a:cubicBezTo>
                <a:cubicBezTo>
                  <a:pt x="125211" y="179709"/>
                  <a:pt x="124979" y="165768"/>
                  <a:pt x="124979" y="161141"/>
                </a:cubicBezTo>
                <a:cubicBezTo>
                  <a:pt x="124979" y="156513"/>
                  <a:pt x="129665" y="154315"/>
                  <a:pt x="134581" y="151654"/>
                </a:cubicBezTo>
                <a:cubicBezTo>
                  <a:pt x="137109" y="150405"/>
                  <a:pt x="139516" y="148919"/>
                  <a:pt x="141754" y="147201"/>
                </a:cubicBezTo>
                <a:cubicBezTo>
                  <a:pt x="143489" y="145754"/>
                  <a:pt x="142622" y="143903"/>
                  <a:pt x="140424" y="140433"/>
                </a:cubicBezTo>
                <a:cubicBezTo>
                  <a:pt x="138567" y="138316"/>
                  <a:pt x="137630" y="135545"/>
                  <a:pt x="137821" y="132740"/>
                </a:cubicBezTo>
                <a:cubicBezTo>
                  <a:pt x="138370" y="131073"/>
                  <a:pt x="139585" y="129714"/>
                  <a:pt x="141176" y="128980"/>
                </a:cubicBezTo>
                <a:cubicBezTo>
                  <a:pt x="145398" y="126666"/>
                  <a:pt x="142506" y="119378"/>
                  <a:pt x="140019" y="112899"/>
                </a:cubicBezTo>
                <a:cubicBezTo>
                  <a:pt x="137532" y="106420"/>
                  <a:pt x="135738" y="101908"/>
                  <a:pt x="138515" y="99652"/>
                </a:cubicBezTo>
                <a:cubicBezTo>
                  <a:pt x="141292" y="97396"/>
                  <a:pt x="140655" y="93058"/>
                  <a:pt x="140135" y="88488"/>
                </a:cubicBezTo>
                <a:cubicBezTo>
                  <a:pt x="139689" y="85891"/>
                  <a:pt x="139550" y="83248"/>
                  <a:pt x="139730" y="80622"/>
                </a:cubicBezTo>
                <a:cubicBezTo>
                  <a:pt x="140250" y="76746"/>
                  <a:pt x="147134" y="72118"/>
                  <a:pt x="157546" y="65582"/>
                </a:cubicBezTo>
                <a:cubicBezTo>
                  <a:pt x="162514" y="62962"/>
                  <a:pt x="167055" y="59607"/>
                  <a:pt x="171023" y="55633"/>
                </a:cubicBezTo>
                <a:cubicBezTo>
                  <a:pt x="174402" y="45476"/>
                  <a:pt x="176252" y="34867"/>
                  <a:pt x="176519" y="24166"/>
                </a:cubicBezTo>
                <a:cubicBezTo>
                  <a:pt x="176519" y="23819"/>
                  <a:pt x="176692" y="23489"/>
                  <a:pt x="176981" y="23298"/>
                </a:cubicBezTo>
                <a:cubicBezTo>
                  <a:pt x="184206" y="18647"/>
                  <a:pt x="190847" y="13152"/>
                  <a:pt x="196764" y="6928"/>
                </a:cubicBezTo>
                <a:cubicBezTo>
                  <a:pt x="201449" y="2011"/>
                  <a:pt x="204689" y="-129"/>
                  <a:pt x="207639" y="-129"/>
                </a:cubicBezTo>
                <a:cubicBezTo>
                  <a:pt x="209762" y="62"/>
                  <a:pt x="211780" y="889"/>
                  <a:pt x="213423" y="2243"/>
                </a:cubicBezTo>
                <a:cubicBezTo>
                  <a:pt x="215974" y="4088"/>
                  <a:pt x="218930" y="5297"/>
                  <a:pt x="222042" y="5771"/>
                </a:cubicBezTo>
                <a:lnTo>
                  <a:pt x="226843" y="6350"/>
                </a:lnTo>
                <a:cubicBezTo>
                  <a:pt x="237834" y="7622"/>
                  <a:pt x="249229" y="8953"/>
                  <a:pt x="254377" y="19307"/>
                </a:cubicBezTo>
                <a:cubicBezTo>
                  <a:pt x="255187" y="20926"/>
                  <a:pt x="256054" y="21852"/>
                  <a:pt x="256806" y="21852"/>
                </a:cubicBezTo>
                <a:cubicBezTo>
                  <a:pt x="259120" y="21852"/>
                  <a:pt x="262591" y="14968"/>
                  <a:pt x="264615" y="10283"/>
                </a:cubicBezTo>
                <a:cubicBezTo>
                  <a:pt x="265703" y="7680"/>
                  <a:pt x="267062" y="5199"/>
                  <a:pt x="268664" y="2879"/>
                </a:cubicBezTo>
                <a:cubicBezTo>
                  <a:pt x="269937" y="1317"/>
                  <a:pt x="272772" y="623"/>
                  <a:pt x="277573" y="623"/>
                </a:cubicBezTo>
                <a:cubicBezTo>
                  <a:pt x="282374" y="623"/>
                  <a:pt x="287811" y="1259"/>
                  <a:pt x="292843" y="1780"/>
                </a:cubicBezTo>
                <a:lnTo>
                  <a:pt x="296661" y="2185"/>
                </a:lnTo>
                <a:cubicBezTo>
                  <a:pt x="297020" y="2254"/>
                  <a:pt x="297332" y="2462"/>
                  <a:pt x="297529" y="2763"/>
                </a:cubicBezTo>
                <a:cubicBezTo>
                  <a:pt x="307559" y="17757"/>
                  <a:pt x="320267" y="30777"/>
                  <a:pt x="335012" y="41172"/>
                </a:cubicBezTo>
                <a:cubicBezTo>
                  <a:pt x="339472" y="43908"/>
                  <a:pt x="343556" y="47217"/>
                  <a:pt x="347159" y="51006"/>
                </a:cubicBezTo>
                <a:cubicBezTo>
                  <a:pt x="351567" y="56333"/>
                  <a:pt x="358011" y="59566"/>
                  <a:pt x="364917" y="59913"/>
                </a:cubicBezTo>
                <a:cubicBezTo>
                  <a:pt x="377163" y="60301"/>
                  <a:pt x="388582" y="66161"/>
                  <a:pt x="396038" y="75878"/>
                </a:cubicBezTo>
                <a:cubicBezTo>
                  <a:pt x="398814" y="79465"/>
                  <a:pt x="411714" y="84729"/>
                  <a:pt x="423051" y="89356"/>
                </a:cubicBezTo>
                <a:cubicBezTo>
                  <a:pt x="436760" y="95141"/>
                  <a:pt x="445263" y="98495"/>
                  <a:pt x="446941" y="101446"/>
                </a:cubicBezTo>
                <a:cubicBezTo>
                  <a:pt x="448618" y="104396"/>
                  <a:pt x="444800" y="109255"/>
                  <a:pt x="439247" y="115617"/>
                </a:cubicBezTo>
                <a:cubicBezTo>
                  <a:pt x="433694" y="121980"/>
                  <a:pt x="425770" y="131120"/>
                  <a:pt x="425770" y="138755"/>
                </a:cubicBezTo>
                <a:cubicBezTo>
                  <a:pt x="426475" y="144638"/>
                  <a:pt x="423895" y="150434"/>
                  <a:pt x="419060" y="153852"/>
                </a:cubicBezTo>
                <a:cubicBezTo>
                  <a:pt x="417498" y="155009"/>
                  <a:pt x="416746" y="155646"/>
                  <a:pt x="416746" y="156860"/>
                </a:cubicBezTo>
                <a:cubicBezTo>
                  <a:pt x="416746" y="158075"/>
                  <a:pt x="422530" y="158712"/>
                  <a:pt x="427100" y="158943"/>
                </a:cubicBezTo>
                <a:cubicBezTo>
                  <a:pt x="432098" y="158746"/>
                  <a:pt x="437072" y="159654"/>
                  <a:pt x="441677" y="161604"/>
                </a:cubicBezTo>
                <a:cubicBezTo>
                  <a:pt x="443349" y="162541"/>
                  <a:pt x="445257" y="162986"/>
                  <a:pt x="447172" y="162876"/>
                </a:cubicBezTo>
                <a:cubicBezTo>
                  <a:pt x="448965" y="162876"/>
                  <a:pt x="450816" y="162876"/>
                  <a:pt x="452956" y="162471"/>
                </a:cubicBezTo>
                <a:cubicBezTo>
                  <a:pt x="455085" y="162199"/>
                  <a:pt x="457231" y="162043"/>
                  <a:pt x="459377" y="162009"/>
                </a:cubicBezTo>
                <a:cubicBezTo>
                  <a:pt x="462397" y="161881"/>
                  <a:pt x="465399" y="162581"/>
                  <a:pt x="468054" y="164033"/>
                </a:cubicBezTo>
                <a:cubicBezTo>
                  <a:pt x="469217" y="164762"/>
                  <a:pt x="470558" y="165144"/>
                  <a:pt x="471929" y="165132"/>
                </a:cubicBezTo>
                <a:cubicBezTo>
                  <a:pt x="475255" y="164756"/>
                  <a:pt x="478454" y="163651"/>
                  <a:pt x="481300" y="161893"/>
                </a:cubicBezTo>
                <a:cubicBezTo>
                  <a:pt x="483903" y="160227"/>
                  <a:pt x="486847" y="159174"/>
                  <a:pt x="489919" y="158827"/>
                </a:cubicBezTo>
                <a:cubicBezTo>
                  <a:pt x="490457" y="158741"/>
                  <a:pt x="491001" y="158741"/>
                  <a:pt x="491539" y="158827"/>
                </a:cubicBezTo>
                <a:cubicBezTo>
                  <a:pt x="494084" y="159348"/>
                  <a:pt x="497323" y="156918"/>
                  <a:pt x="500389" y="154200"/>
                </a:cubicBezTo>
                <a:cubicBezTo>
                  <a:pt x="503512" y="150625"/>
                  <a:pt x="507914" y="148421"/>
                  <a:pt x="512652" y="148068"/>
                </a:cubicBezTo>
                <a:lnTo>
                  <a:pt x="512652" y="148068"/>
                </a:lnTo>
                <a:cubicBezTo>
                  <a:pt x="514046" y="147970"/>
                  <a:pt x="515324" y="147247"/>
                  <a:pt x="516122" y="146102"/>
                </a:cubicBezTo>
                <a:cubicBezTo>
                  <a:pt x="521907" y="139276"/>
                  <a:pt x="526650" y="118336"/>
                  <a:pt x="525320" y="109197"/>
                </a:cubicBezTo>
                <a:cubicBezTo>
                  <a:pt x="525256" y="108214"/>
                  <a:pt x="525256" y="107230"/>
                  <a:pt x="525320" y="106247"/>
                </a:cubicBezTo>
                <a:cubicBezTo>
                  <a:pt x="525348" y="105651"/>
                  <a:pt x="525823" y="105177"/>
                  <a:pt x="526419" y="105148"/>
                </a:cubicBezTo>
                <a:cubicBezTo>
                  <a:pt x="528385" y="105148"/>
                  <a:pt x="530468" y="105148"/>
                  <a:pt x="532550" y="105148"/>
                </a:cubicBezTo>
                <a:cubicBezTo>
                  <a:pt x="536727" y="104847"/>
                  <a:pt x="540920" y="105315"/>
                  <a:pt x="544929" y="106536"/>
                </a:cubicBezTo>
                <a:cubicBezTo>
                  <a:pt x="550713" y="109428"/>
                  <a:pt x="553027" y="143094"/>
                  <a:pt x="550713" y="149688"/>
                </a:cubicBezTo>
                <a:cubicBezTo>
                  <a:pt x="549036" y="153795"/>
                  <a:pt x="541285" y="157208"/>
                  <a:pt x="532319" y="161257"/>
                </a:cubicBezTo>
                <a:cubicBezTo>
                  <a:pt x="527055" y="163356"/>
                  <a:pt x="521970" y="165867"/>
                  <a:pt x="517106" y="168776"/>
                </a:cubicBezTo>
                <a:cubicBezTo>
                  <a:pt x="498809" y="182474"/>
                  <a:pt x="482949" y="199150"/>
                  <a:pt x="470194" y="218118"/>
                </a:cubicBezTo>
                <a:cubicBezTo>
                  <a:pt x="465000" y="226013"/>
                  <a:pt x="459007" y="233359"/>
                  <a:pt x="452320" y="240041"/>
                </a:cubicBezTo>
                <a:cubicBezTo>
                  <a:pt x="444511" y="248312"/>
                  <a:pt x="437801" y="255485"/>
                  <a:pt x="437801" y="261674"/>
                </a:cubicBezTo>
                <a:cubicBezTo>
                  <a:pt x="437448" y="267430"/>
                  <a:pt x="436262" y="273098"/>
                  <a:pt x="434273" y="278507"/>
                </a:cubicBezTo>
                <a:cubicBezTo>
                  <a:pt x="430895" y="288121"/>
                  <a:pt x="428945" y="298174"/>
                  <a:pt x="428488" y="308355"/>
                </a:cubicBezTo>
                <a:cubicBezTo>
                  <a:pt x="428650" y="315539"/>
                  <a:pt x="427227" y="322665"/>
                  <a:pt x="424324" y="329236"/>
                </a:cubicBezTo>
                <a:cubicBezTo>
                  <a:pt x="422195" y="333864"/>
                  <a:pt x="421090" y="338896"/>
                  <a:pt x="421084" y="343987"/>
                </a:cubicBezTo>
                <a:cubicBezTo>
                  <a:pt x="420622" y="356365"/>
                  <a:pt x="423687" y="357464"/>
                  <a:pt x="426117" y="358332"/>
                </a:cubicBezTo>
                <a:cubicBezTo>
                  <a:pt x="427088" y="358564"/>
                  <a:pt x="427985" y="359038"/>
                  <a:pt x="428720" y="359720"/>
                </a:cubicBezTo>
                <a:cubicBezTo>
                  <a:pt x="430224" y="361167"/>
                  <a:pt x="429761" y="364869"/>
                  <a:pt x="426984" y="372330"/>
                </a:cubicBezTo>
                <a:cubicBezTo>
                  <a:pt x="426845" y="372689"/>
                  <a:pt x="426545" y="372967"/>
                  <a:pt x="426175" y="373082"/>
                </a:cubicBezTo>
                <a:cubicBezTo>
                  <a:pt x="425845" y="373250"/>
                  <a:pt x="425463" y="373250"/>
                  <a:pt x="425133" y="373082"/>
                </a:cubicBezTo>
                <a:cubicBezTo>
                  <a:pt x="424376" y="372238"/>
                  <a:pt x="423317" y="371717"/>
                  <a:pt x="422183" y="371636"/>
                </a:cubicBezTo>
                <a:cubicBezTo>
                  <a:pt x="420089" y="371995"/>
                  <a:pt x="418198" y="373105"/>
                  <a:pt x="416861" y="374760"/>
                </a:cubicBezTo>
                <a:cubicBezTo>
                  <a:pt x="414548" y="376958"/>
                  <a:pt x="413738" y="378983"/>
                  <a:pt x="414432" y="381065"/>
                </a:cubicBezTo>
                <a:cubicBezTo>
                  <a:pt x="416109" y="386155"/>
                  <a:pt x="426753" y="390609"/>
                  <a:pt x="435603" y="391477"/>
                </a:cubicBezTo>
                <a:cubicBezTo>
                  <a:pt x="444453" y="392345"/>
                  <a:pt x="451337" y="396336"/>
                  <a:pt x="453304" y="401253"/>
                </a:cubicBezTo>
                <a:cubicBezTo>
                  <a:pt x="454437" y="404191"/>
                  <a:pt x="453732" y="407523"/>
                  <a:pt x="451510" y="409756"/>
                </a:cubicBezTo>
                <a:cubicBezTo>
                  <a:pt x="447681" y="414100"/>
                  <a:pt x="446270" y="420064"/>
                  <a:pt x="447750" y="425663"/>
                </a:cubicBezTo>
                <a:cubicBezTo>
                  <a:pt x="449081" y="428914"/>
                  <a:pt x="452118" y="431147"/>
                  <a:pt x="455617" y="431447"/>
                </a:cubicBezTo>
                <a:cubicBezTo>
                  <a:pt x="461066" y="431806"/>
                  <a:pt x="465971" y="434866"/>
                  <a:pt x="468690" y="439603"/>
                </a:cubicBezTo>
                <a:cubicBezTo>
                  <a:pt x="470373" y="443346"/>
                  <a:pt x="470090" y="447678"/>
                  <a:pt x="467938" y="451172"/>
                </a:cubicBezTo>
                <a:cubicBezTo>
                  <a:pt x="465208" y="455297"/>
                  <a:pt x="462235" y="459259"/>
                  <a:pt x="459030" y="463030"/>
                </a:cubicBezTo>
                <a:cubicBezTo>
                  <a:pt x="452494" y="471244"/>
                  <a:pt x="444338" y="481425"/>
                  <a:pt x="443238" y="486573"/>
                </a:cubicBezTo>
                <a:cubicBezTo>
                  <a:pt x="441214" y="496117"/>
                  <a:pt x="419407" y="506934"/>
                  <a:pt x="390253" y="512892"/>
                </a:cubicBezTo>
                <a:cubicBezTo>
                  <a:pt x="371807" y="516779"/>
                  <a:pt x="353048" y="519006"/>
                  <a:pt x="334202" y="519544"/>
                </a:cubicBezTo>
                <a:cubicBezTo>
                  <a:pt x="325815" y="519544"/>
                  <a:pt x="320840" y="518619"/>
                  <a:pt x="318989" y="516825"/>
                </a:cubicBezTo>
                <a:cubicBezTo>
                  <a:pt x="317300" y="515079"/>
                  <a:pt x="314518" y="515032"/>
                  <a:pt x="312771" y="516716"/>
                </a:cubicBezTo>
                <a:cubicBezTo>
                  <a:pt x="312493" y="516987"/>
                  <a:pt x="312250" y="517300"/>
                  <a:pt x="312048" y="517635"/>
                </a:cubicBezTo>
                <a:cubicBezTo>
                  <a:pt x="310364" y="520302"/>
                  <a:pt x="310041" y="523605"/>
                  <a:pt x="311180" y="526543"/>
                </a:cubicBezTo>
                <a:cubicBezTo>
                  <a:pt x="312065" y="529112"/>
                  <a:pt x="313332" y="531529"/>
                  <a:pt x="314940" y="533716"/>
                </a:cubicBezTo>
                <a:cubicBezTo>
                  <a:pt x="316745" y="535631"/>
                  <a:pt x="317688" y="538205"/>
                  <a:pt x="317543" y="540831"/>
                </a:cubicBezTo>
                <a:cubicBezTo>
                  <a:pt x="317138" y="542971"/>
                  <a:pt x="315403" y="544938"/>
                  <a:pt x="311759" y="547252"/>
                </a:cubicBezTo>
                <a:cubicBezTo>
                  <a:pt x="304528" y="552053"/>
                  <a:pt x="306610" y="559110"/>
                  <a:pt x="308403" y="565415"/>
                </a:cubicBezTo>
                <a:cubicBezTo>
                  <a:pt x="309190" y="567653"/>
                  <a:pt x="309682" y="569990"/>
                  <a:pt x="309850" y="572356"/>
                </a:cubicBezTo>
                <a:cubicBezTo>
                  <a:pt x="309850" y="579471"/>
                  <a:pt x="296545" y="590519"/>
                  <a:pt x="277110" y="589189"/>
                </a:cubicBezTo>
                <a:cubicBezTo>
                  <a:pt x="268155" y="587957"/>
                  <a:pt x="259467" y="585221"/>
                  <a:pt x="251427" y="581091"/>
                </a:cubicBezTo>
                <a:cubicBezTo>
                  <a:pt x="246973" y="578661"/>
                  <a:pt x="242143" y="576995"/>
                  <a:pt x="237139" y="576174"/>
                </a:cubicBezTo>
                <a:cubicBezTo>
                  <a:pt x="236133" y="576041"/>
                  <a:pt x="235126" y="576434"/>
                  <a:pt x="234479" y="577215"/>
                </a:cubicBezTo>
                <a:cubicBezTo>
                  <a:pt x="230082" y="583346"/>
                  <a:pt x="233495" y="596246"/>
                  <a:pt x="235809" y="601510"/>
                </a:cubicBezTo>
                <a:cubicBezTo>
                  <a:pt x="236792" y="604789"/>
                  <a:pt x="237163" y="608220"/>
                  <a:pt x="236908" y="611632"/>
                </a:cubicBezTo>
                <a:cubicBezTo>
                  <a:pt x="236833" y="614085"/>
                  <a:pt x="236949" y="616543"/>
                  <a:pt x="237255" y="618979"/>
                </a:cubicBezTo>
                <a:cubicBezTo>
                  <a:pt x="237776" y="621524"/>
                  <a:pt x="238643" y="621524"/>
                  <a:pt x="239048" y="621524"/>
                </a:cubicBezTo>
                <a:cubicBezTo>
                  <a:pt x="242022" y="621917"/>
                  <a:pt x="244769" y="623305"/>
                  <a:pt x="246857" y="625457"/>
                </a:cubicBezTo>
                <a:cubicBezTo>
                  <a:pt x="249287" y="627482"/>
                  <a:pt x="251658" y="629333"/>
                  <a:pt x="253972" y="628754"/>
                </a:cubicBezTo>
                <a:cubicBezTo>
                  <a:pt x="255638" y="628118"/>
                  <a:pt x="257113" y="627059"/>
                  <a:pt x="258253" y="625688"/>
                </a:cubicBezTo>
                <a:cubicBezTo>
                  <a:pt x="260219" y="623109"/>
                  <a:pt x="263175" y="621472"/>
                  <a:pt x="266408" y="621177"/>
                </a:cubicBezTo>
                <a:cubicBezTo>
                  <a:pt x="269087" y="621338"/>
                  <a:pt x="271632" y="622397"/>
                  <a:pt x="273639" y="624184"/>
                </a:cubicBezTo>
                <a:cubicBezTo>
                  <a:pt x="277179" y="626787"/>
                  <a:pt x="278446" y="631490"/>
                  <a:pt x="276705" y="635522"/>
                </a:cubicBezTo>
                <a:cubicBezTo>
                  <a:pt x="274223" y="642012"/>
                  <a:pt x="268381" y="646611"/>
                  <a:pt x="261492" y="647496"/>
                </a:cubicBezTo>
                <a:cubicBezTo>
                  <a:pt x="258380" y="647525"/>
                  <a:pt x="255586" y="645604"/>
                  <a:pt x="254493" y="642695"/>
                </a:cubicBezTo>
                <a:cubicBezTo>
                  <a:pt x="253295" y="639432"/>
                  <a:pt x="249819" y="637604"/>
                  <a:pt x="246452" y="638472"/>
                </a:cubicBezTo>
                <a:cubicBezTo>
                  <a:pt x="242692" y="638877"/>
                  <a:pt x="240668" y="640150"/>
                  <a:pt x="240263" y="642001"/>
                </a:cubicBezTo>
                <a:cubicBezTo>
                  <a:pt x="239858" y="643852"/>
                  <a:pt x="242403" y="646339"/>
                  <a:pt x="245411" y="647149"/>
                </a:cubicBezTo>
                <a:cubicBezTo>
                  <a:pt x="248419" y="647959"/>
                  <a:pt x="249923" y="649578"/>
                  <a:pt x="249750" y="651603"/>
                </a:cubicBezTo>
                <a:cubicBezTo>
                  <a:pt x="249750" y="654958"/>
                  <a:pt x="244775" y="657676"/>
                  <a:pt x="238181" y="658428"/>
                </a:cubicBezTo>
                <a:cubicBezTo>
                  <a:pt x="228289" y="659528"/>
                  <a:pt x="228289" y="674972"/>
                  <a:pt x="228289" y="685210"/>
                </a:cubicBezTo>
                <a:cubicBezTo>
                  <a:pt x="228289" y="694465"/>
                  <a:pt x="227017" y="701002"/>
                  <a:pt x="220480" y="704935"/>
                </a:cubicBezTo>
                <a:cubicBezTo>
                  <a:pt x="218167" y="706323"/>
                  <a:pt x="218167" y="709042"/>
                  <a:pt x="218167" y="711934"/>
                </a:cubicBezTo>
                <a:cubicBezTo>
                  <a:pt x="218167" y="714827"/>
                  <a:pt x="218167" y="719223"/>
                  <a:pt x="213365" y="719627"/>
                </a:cubicBezTo>
                <a:cubicBezTo>
                  <a:pt x="192484" y="721305"/>
                  <a:pt x="177328" y="729866"/>
                  <a:pt x="169404" y="744501"/>
                </a:cubicBezTo>
                <a:cubicBezTo>
                  <a:pt x="165829" y="750568"/>
                  <a:pt x="165210" y="757938"/>
                  <a:pt x="167726" y="764515"/>
                </a:cubicBezTo>
                <a:cubicBezTo>
                  <a:pt x="171654" y="773458"/>
                  <a:pt x="178740" y="780642"/>
                  <a:pt x="187625" y="784702"/>
                </a:cubicBezTo>
                <a:cubicBezTo>
                  <a:pt x="190974" y="785576"/>
                  <a:pt x="194404" y="786102"/>
                  <a:pt x="197863" y="786264"/>
                </a:cubicBezTo>
                <a:cubicBezTo>
                  <a:pt x="206598" y="787132"/>
                  <a:pt x="215621" y="788057"/>
                  <a:pt x="215621" y="793032"/>
                </a:cubicBezTo>
                <a:cubicBezTo>
                  <a:pt x="215205" y="796676"/>
                  <a:pt x="214331" y="800251"/>
                  <a:pt x="213018" y="803675"/>
                </a:cubicBezTo>
                <a:cubicBezTo>
                  <a:pt x="211225" y="809460"/>
                  <a:pt x="209027" y="816575"/>
                  <a:pt x="210589" y="819062"/>
                </a:cubicBezTo>
                <a:cubicBezTo>
                  <a:pt x="213076" y="823053"/>
                  <a:pt x="205383" y="828201"/>
                  <a:pt x="194682" y="835316"/>
                </a:cubicBezTo>
                <a:cubicBezTo>
                  <a:pt x="189001" y="838978"/>
                  <a:pt x="183518" y="842934"/>
                  <a:pt x="178254" y="847174"/>
                </a:cubicBezTo>
                <a:lnTo>
                  <a:pt x="177676" y="847695"/>
                </a:lnTo>
                <a:cubicBezTo>
                  <a:pt x="166107" y="857760"/>
                  <a:pt x="159801" y="862850"/>
                  <a:pt x="159281" y="876617"/>
                </a:cubicBezTo>
                <a:cubicBezTo>
                  <a:pt x="158587" y="892004"/>
                  <a:pt x="147076" y="898366"/>
                  <a:pt x="140945" y="897036"/>
                </a:cubicBezTo>
                <a:cubicBezTo>
                  <a:pt x="138457" y="896515"/>
                  <a:pt x="137416" y="897614"/>
                  <a:pt x="135160" y="900565"/>
                </a:cubicBezTo>
                <a:cubicBezTo>
                  <a:pt x="132927" y="903249"/>
                  <a:pt x="130382" y="905655"/>
                  <a:pt x="127582" y="907737"/>
                </a:cubicBezTo>
                <a:cubicBezTo>
                  <a:pt x="121162" y="912365"/>
                  <a:pt x="121798" y="921504"/>
                  <a:pt x="122376" y="928214"/>
                </a:cubicBezTo>
                <a:cubicBezTo>
                  <a:pt x="122376" y="929718"/>
                  <a:pt x="122376" y="931106"/>
                  <a:pt x="122376" y="932263"/>
                </a:cubicBezTo>
                <a:cubicBezTo>
                  <a:pt x="122556" y="935468"/>
                  <a:pt x="123059" y="938644"/>
                  <a:pt x="123880" y="941750"/>
                </a:cubicBezTo>
                <a:cubicBezTo>
                  <a:pt x="124951" y="945411"/>
                  <a:pt x="125460" y="949218"/>
                  <a:pt x="125384" y="953029"/>
                </a:cubicBezTo>
                <a:cubicBezTo>
                  <a:pt x="125384" y="954996"/>
                  <a:pt x="129202" y="959855"/>
                  <a:pt x="132441" y="963730"/>
                </a:cubicBezTo>
                <a:cubicBezTo>
                  <a:pt x="137705" y="970036"/>
                  <a:pt x="142680" y="976051"/>
                  <a:pt x="139556" y="979117"/>
                </a:cubicBezTo>
                <a:cubicBezTo>
                  <a:pt x="138717" y="979956"/>
                  <a:pt x="137555" y="980378"/>
                  <a:pt x="136375" y="980274"/>
                </a:cubicBezTo>
                <a:close/>
                <a:moveTo>
                  <a:pt x="116129" y="973217"/>
                </a:moveTo>
                <a:cubicBezTo>
                  <a:pt x="120213" y="973541"/>
                  <a:pt x="124227" y="974455"/>
                  <a:pt x="128045" y="975936"/>
                </a:cubicBezTo>
                <a:cubicBezTo>
                  <a:pt x="130723" y="976977"/>
                  <a:pt x="133523" y="977677"/>
                  <a:pt x="136375" y="978018"/>
                </a:cubicBezTo>
                <a:cubicBezTo>
                  <a:pt x="136907" y="978047"/>
                  <a:pt x="137433" y="977908"/>
                  <a:pt x="137879" y="977613"/>
                </a:cubicBezTo>
                <a:cubicBezTo>
                  <a:pt x="139498" y="975936"/>
                  <a:pt x="134119" y="969515"/>
                  <a:pt x="130590" y="965234"/>
                </a:cubicBezTo>
                <a:cubicBezTo>
                  <a:pt x="127062" y="960954"/>
                  <a:pt x="122723" y="955748"/>
                  <a:pt x="123013" y="952856"/>
                </a:cubicBezTo>
                <a:cubicBezTo>
                  <a:pt x="123036" y="949298"/>
                  <a:pt x="122544" y="945753"/>
                  <a:pt x="121566" y="942328"/>
                </a:cubicBezTo>
                <a:cubicBezTo>
                  <a:pt x="120716" y="939054"/>
                  <a:pt x="120196" y="935699"/>
                  <a:pt x="120005" y="932321"/>
                </a:cubicBezTo>
                <a:cubicBezTo>
                  <a:pt x="120005" y="931222"/>
                  <a:pt x="120005" y="929892"/>
                  <a:pt x="120005" y="928388"/>
                </a:cubicBezTo>
                <a:cubicBezTo>
                  <a:pt x="119484" y="921620"/>
                  <a:pt x="118732" y="911034"/>
                  <a:pt x="126136" y="905944"/>
                </a:cubicBezTo>
                <a:cubicBezTo>
                  <a:pt x="128820" y="903995"/>
                  <a:pt x="131226" y="901698"/>
                  <a:pt x="133309" y="899119"/>
                </a:cubicBezTo>
                <a:cubicBezTo>
                  <a:pt x="135854" y="896226"/>
                  <a:pt x="137879" y="894086"/>
                  <a:pt x="141581" y="894896"/>
                </a:cubicBezTo>
                <a:cubicBezTo>
                  <a:pt x="145283" y="895706"/>
                  <a:pt x="156562" y="890789"/>
                  <a:pt x="157141" y="876617"/>
                </a:cubicBezTo>
                <a:cubicBezTo>
                  <a:pt x="157719" y="862445"/>
                  <a:pt x="164371" y="856140"/>
                  <a:pt x="176403" y="845960"/>
                </a:cubicBezTo>
                <a:lnTo>
                  <a:pt x="176981" y="845439"/>
                </a:lnTo>
                <a:cubicBezTo>
                  <a:pt x="182320" y="841141"/>
                  <a:pt x="187885" y="837127"/>
                  <a:pt x="193641" y="833407"/>
                </a:cubicBezTo>
                <a:cubicBezTo>
                  <a:pt x="200987" y="828490"/>
                  <a:pt x="210184" y="822359"/>
                  <a:pt x="208854" y="820277"/>
                </a:cubicBezTo>
                <a:cubicBezTo>
                  <a:pt x="206713" y="816864"/>
                  <a:pt x="208854" y="809865"/>
                  <a:pt x="211052" y="802923"/>
                </a:cubicBezTo>
                <a:cubicBezTo>
                  <a:pt x="212255" y="799696"/>
                  <a:pt x="213071" y="796335"/>
                  <a:pt x="213481" y="792916"/>
                </a:cubicBezTo>
                <a:cubicBezTo>
                  <a:pt x="213481" y="789966"/>
                  <a:pt x="204457" y="789099"/>
                  <a:pt x="197863" y="788404"/>
                </a:cubicBezTo>
                <a:cubicBezTo>
                  <a:pt x="194190" y="788219"/>
                  <a:pt x="190546" y="787658"/>
                  <a:pt x="186988" y="786727"/>
                </a:cubicBezTo>
                <a:cubicBezTo>
                  <a:pt x="177554" y="782365"/>
                  <a:pt x="170028" y="774713"/>
                  <a:pt x="165818" y="765209"/>
                </a:cubicBezTo>
                <a:cubicBezTo>
                  <a:pt x="163081" y="758007"/>
                  <a:pt x="163741" y="749950"/>
                  <a:pt x="167611" y="743286"/>
                </a:cubicBezTo>
                <a:cubicBezTo>
                  <a:pt x="173395" y="732642"/>
                  <a:pt x="186005" y="719396"/>
                  <a:pt x="213365" y="717256"/>
                </a:cubicBezTo>
                <a:cubicBezTo>
                  <a:pt x="215853" y="717256"/>
                  <a:pt x="216084" y="715636"/>
                  <a:pt x="216084" y="711819"/>
                </a:cubicBezTo>
                <a:cubicBezTo>
                  <a:pt x="215477" y="708429"/>
                  <a:pt x="216790" y="704981"/>
                  <a:pt x="219497" y="702853"/>
                </a:cubicBezTo>
                <a:cubicBezTo>
                  <a:pt x="225281" y="699498"/>
                  <a:pt x="226207" y="693771"/>
                  <a:pt x="226207" y="685095"/>
                </a:cubicBezTo>
                <a:cubicBezTo>
                  <a:pt x="226207" y="674741"/>
                  <a:pt x="226207" y="657387"/>
                  <a:pt x="238123" y="656172"/>
                </a:cubicBezTo>
                <a:cubicBezTo>
                  <a:pt x="244659" y="655478"/>
                  <a:pt x="247783" y="652991"/>
                  <a:pt x="247899" y="651429"/>
                </a:cubicBezTo>
                <a:cubicBezTo>
                  <a:pt x="248014" y="649867"/>
                  <a:pt x="246973" y="649809"/>
                  <a:pt x="245238" y="649347"/>
                </a:cubicBezTo>
                <a:cubicBezTo>
                  <a:pt x="241513" y="648699"/>
                  <a:pt x="238701" y="645599"/>
                  <a:pt x="238412" y="641827"/>
                </a:cubicBezTo>
                <a:cubicBezTo>
                  <a:pt x="238412" y="640381"/>
                  <a:pt x="239569" y="636968"/>
                  <a:pt x="246626" y="636043"/>
                </a:cubicBezTo>
                <a:lnTo>
                  <a:pt x="248419" y="636043"/>
                </a:lnTo>
                <a:cubicBezTo>
                  <a:pt x="252098" y="635892"/>
                  <a:pt x="255476" y="638067"/>
                  <a:pt x="256864" y="641480"/>
                </a:cubicBezTo>
                <a:cubicBezTo>
                  <a:pt x="258079" y="643620"/>
                  <a:pt x="259005" y="645240"/>
                  <a:pt x="261897" y="645240"/>
                </a:cubicBezTo>
                <a:cubicBezTo>
                  <a:pt x="267797" y="644297"/>
                  <a:pt x="272760" y="640317"/>
                  <a:pt x="274970" y="634770"/>
                </a:cubicBezTo>
                <a:cubicBezTo>
                  <a:pt x="276184" y="631554"/>
                  <a:pt x="275010" y="627927"/>
                  <a:pt x="272135" y="626035"/>
                </a:cubicBezTo>
                <a:cubicBezTo>
                  <a:pt x="269156" y="622871"/>
                  <a:pt x="264176" y="622727"/>
                  <a:pt x="261018" y="625706"/>
                </a:cubicBezTo>
                <a:cubicBezTo>
                  <a:pt x="260480" y="626209"/>
                  <a:pt x="260017" y="626787"/>
                  <a:pt x="259641" y="627424"/>
                </a:cubicBezTo>
                <a:cubicBezTo>
                  <a:pt x="258212" y="629119"/>
                  <a:pt x="256355" y="630397"/>
                  <a:pt x="254261" y="631126"/>
                </a:cubicBezTo>
                <a:lnTo>
                  <a:pt x="252931" y="631126"/>
                </a:lnTo>
                <a:cubicBezTo>
                  <a:pt x="250021" y="630738"/>
                  <a:pt x="247326" y="629367"/>
                  <a:pt x="245295" y="627250"/>
                </a:cubicBezTo>
                <a:cubicBezTo>
                  <a:pt x="243583" y="625428"/>
                  <a:pt x="241333" y="624213"/>
                  <a:pt x="238875" y="623779"/>
                </a:cubicBezTo>
                <a:cubicBezTo>
                  <a:pt x="236792" y="623779"/>
                  <a:pt x="235462" y="622276"/>
                  <a:pt x="234884" y="619441"/>
                </a:cubicBezTo>
                <a:cubicBezTo>
                  <a:pt x="234531" y="616856"/>
                  <a:pt x="234397" y="614241"/>
                  <a:pt x="234479" y="611632"/>
                </a:cubicBezTo>
                <a:cubicBezTo>
                  <a:pt x="234704" y="608561"/>
                  <a:pt x="234409" y="605472"/>
                  <a:pt x="233611" y="602493"/>
                </a:cubicBezTo>
                <a:cubicBezTo>
                  <a:pt x="231471" y="597634"/>
                  <a:pt x="227074" y="583462"/>
                  <a:pt x="232512" y="575942"/>
                </a:cubicBezTo>
                <a:cubicBezTo>
                  <a:pt x="233542" y="574531"/>
                  <a:pt x="235231" y="573767"/>
                  <a:pt x="236966" y="573918"/>
                </a:cubicBezTo>
                <a:cubicBezTo>
                  <a:pt x="242287" y="574734"/>
                  <a:pt x="247436" y="576457"/>
                  <a:pt x="252179" y="579008"/>
                </a:cubicBezTo>
                <a:cubicBezTo>
                  <a:pt x="259982" y="583046"/>
                  <a:pt x="268410" y="585747"/>
                  <a:pt x="277110" y="586991"/>
                </a:cubicBezTo>
                <a:cubicBezTo>
                  <a:pt x="294463" y="588205"/>
                  <a:pt x="307420" y="578488"/>
                  <a:pt x="307420" y="572356"/>
                </a:cubicBezTo>
                <a:cubicBezTo>
                  <a:pt x="307068" y="570210"/>
                  <a:pt x="306466" y="568116"/>
                  <a:pt x="305627" y="566109"/>
                </a:cubicBezTo>
                <a:cubicBezTo>
                  <a:pt x="303776" y="559804"/>
                  <a:pt x="301289" y="551127"/>
                  <a:pt x="309850" y="545401"/>
                </a:cubicBezTo>
                <a:cubicBezTo>
                  <a:pt x="312684" y="543492"/>
                  <a:pt x="314246" y="541872"/>
                  <a:pt x="314535" y="540426"/>
                </a:cubicBezTo>
                <a:cubicBezTo>
                  <a:pt x="314824" y="538980"/>
                  <a:pt x="313725" y="537187"/>
                  <a:pt x="312279" y="535047"/>
                </a:cubicBezTo>
                <a:cubicBezTo>
                  <a:pt x="310526" y="532692"/>
                  <a:pt x="309161" y="530078"/>
                  <a:pt x="308230" y="527295"/>
                </a:cubicBezTo>
                <a:cubicBezTo>
                  <a:pt x="306848" y="523669"/>
                  <a:pt x="307299" y="519596"/>
                  <a:pt x="309445" y="516363"/>
                </a:cubicBezTo>
                <a:cubicBezTo>
                  <a:pt x="311463" y="513256"/>
                  <a:pt x="315623" y="512377"/>
                  <a:pt x="318729" y="514396"/>
                </a:cubicBezTo>
                <a:cubicBezTo>
                  <a:pt x="319116" y="514651"/>
                  <a:pt x="319475" y="514940"/>
                  <a:pt x="319799" y="515264"/>
                </a:cubicBezTo>
                <a:cubicBezTo>
                  <a:pt x="320377" y="515900"/>
                  <a:pt x="322980" y="517346"/>
                  <a:pt x="333392" y="517346"/>
                </a:cubicBezTo>
                <a:cubicBezTo>
                  <a:pt x="352099" y="516791"/>
                  <a:pt x="370719" y="514587"/>
                  <a:pt x="389038" y="510752"/>
                </a:cubicBezTo>
                <a:cubicBezTo>
                  <a:pt x="420217" y="504331"/>
                  <a:pt x="438727" y="493399"/>
                  <a:pt x="440231" y="486168"/>
                </a:cubicBezTo>
                <a:cubicBezTo>
                  <a:pt x="441445" y="480384"/>
                  <a:pt x="449428" y="470492"/>
                  <a:pt x="456485" y="461700"/>
                </a:cubicBezTo>
                <a:cubicBezTo>
                  <a:pt x="459603" y="458004"/>
                  <a:pt x="462518" y="454140"/>
                  <a:pt x="465220" y="450131"/>
                </a:cubicBezTo>
                <a:cubicBezTo>
                  <a:pt x="466995" y="447251"/>
                  <a:pt x="467232" y="443676"/>
                  <a:pt x="465856" y="440587"/>
                </a:cubicBezTo>
                <a:cubicBezTo>
                  <a:pt x="463420" y="436468"/>
                  <a:pt x="459070" y="433860"/>
                  <a:pt x="454287" y="433645"/>
                </a:cubicBezTo>
                <a:cubicBezTo>
                  <a:pt x="449920" y="433310"/>
                  <a:pt x="446148" y="430464"/>
                  <a:pt x="444627" y="426357"/>
                </a:cubicBezTo>
                <a:cubicBezTo>
                  <a:pt x="442770" y="420000"/>
                  <a:pt x="444326" y="413134"/>
                  <a:pt x="448734" y="408194"/>
                </a:cubicBezTo>
                <a:cubicBezTo>
                  <a:pt x="450434" y="406592"/>
                  <a:pt x="451001" y="404128"/>
                  <a:pt x="450180" y="401947"/>
                </a:cubicBezTo>
                <a:cubicBezTo>
                  <a:pt x="446536" y="396793"/>
                  <a:pt x="440641" y="393698"/>
                  <a:pt x="434331" y="393617"/>
                </a:cubicBezTo>
                <a:cubicBezTo>
                  <a:pt x="426117" y="392807"/>
                  <a:pt x="413564" y="388527"/>
                  <a:pt x="411193" y="381701"/>
                </a:cubicBezTo>
                <a:cubicBezTo>
                  <a:pt x="410239" y="378445"/>
                  <a:pt x="411442" y="374945"/>
                  <a:pt x="414201" y="372967"/>
                </a:cubicBezTo>
                <a:cubicBezTo>
                  <a:pt x="415936" y="370902"/>
                  <a:pt x="418400" y="369577"/>
                  <a:pt x="421084" y="369265"/>
                </a:cubicBezTo>
                <a:cubicBezTo>
                  <a:pt x="422224" y="369288"/>
                  <a:pt x="423329" y="369652"/>
                  <a:pt x="424266" y="370306"/>
                </a:cubicBezTo>
                <a:cubicBezTo>
                  <a:pt x="426869" y="362786"/>
                  <a:pt x="426117" y="361629"/>
                  <a:pt x="426059" y="361514"/>
                </a:cubicBezTo>
                <a:cubicBezTo>
                  <a:pt x="425538" y="361091"/>
                  <a:pt x="424925" y="360791"/>
                  <a:pt x="424266" y="360646"/>
                </a:cubicBezTo>
                <a:cubicBezTo>
                  <a:pt x="420564" y="359316"/>
                  <a:pt x="417266" y="357060"/>
                  <a:pt x="417729" y="344045"/>
                </a:cubicBezTo>
                <a:cubicBezTo>
                  <a:pt x="417706" y="338688"/>
                  <a:pt x="418875" y="333395"/>
                  <a:pt x="421142" y="328542"/>
                </a:cubicBezTo>
                <a:cubicBezTo>
                  <a:pt x="423959" y="322237"/>
                  <a:pt x="425301" y="315371"/>
                  <a:pt x="425076" y="308471"/>
                </a:cubicBezTo>
                <a:cubicBezTo>
                  <a:pt x="425532" y="298105"/>
                  <a:pt x="427482" y="287855"/>
                  <a:pt x="430860" y="278044"/>
                </a:cubicBezTo>
                <a:cubicBezTo>
                  <a:pt x="432769" y="272838"/>
                  <a:pt x="433920" y="267384"/>
                  <a:pt x="434273" y="261848"/>
                </a:cubicBezTo>
                <a:cubicBezTo>
                  <a:pt x="434273" y="254791"/>
                  <a:pt x="441272" y="247329"/>
                  <a:pt x="449370" y="238710"/>
                </a:cubicBezTo>
                <a:cubicBezTo>
                  <a:pt x="455854" y="232133"/>
                  <a:pt x="461668" y="224926"/>
                  <a:pt x="466723" y="217192"/>
                </a:cubicBezTo>
                <a:cubicBezTo>
                  <a:pt x="479663" y="197941"/>
                  <a:pt x="495761" y="181005"/>
                  <a:pt x="514329" y="167099"/>
                </a:cubicBezTo>
                <a:cubicBezTo>
                  <a:pt x="519298" y="164155"/>
                  <a:pt x="524481" y="161586"/>
                  <a:pt x="529832" y="159406"/>
                </a:cubicBezTo>
                <a:cubicBezTo>
                  <a:pt x="537640" y="155993"/>
                  <a:pt x="545739" y="152464"/>
                  <a:pt x="547185" y="149225"/>
                </a:cubicBezTo>
                <a:cubicBezTo>
                  <a:pt x="549556" y="143441"/>
                  <a:pt x="547185" y="110932"/>
                  <a:pt x="542789" y="108734"/>
                </a:cubicBezTo>
                <a:cubicBezTo>
                  <a:pt x="539035" y="107658"/>
                  <a:pt x="535113" y="107288"/>
                  <a:pt x="531220" y="107635"/>
                </a:cubicBezTo>
                <a:lnTo>
                  <a:pt x="526245" y="107635"/>
                </a:lnTo>
                <a:cubicBezTo>
                  <a:pt x="526210" y="108156"/>
                  <a:pt x="526210" y="108676"/>
                  <a:pt x="526245" y="109197"/>
                </a:cubicBezTo>
                <a:cubicBezTo>
                  <a:pt x="527633" y="118915"/>
                  <a:pt x="522832" y="140548"/>
                  <a:pt x="516470" y="147837"/>
                </a:cubicBezTo>
                <a:cubicBezTo>
                  <a:pt x="515266" y="149618"/>
                  <a:pt x="513242" y="150665"/>
                  <a:pt x="511090" y="150613"/>
                </a:cubicBezTo>
                <a:lnTo>
                  <a:pt x="510454" y="150613"/>
                </a:lnTo>
                <a:cubicBezTo>
                  <a:pt x="506572" y="151394"/>
                  <a:pt x="503055" y="153425"/>
                  <a:pt x="500447" y="156398"/>
                </a:cubicBezTo>
                <a:cubicBezTo>
                  <a:pt x="497983" y="159163"/>
                  <a:pt x="494662" y="161014"/>
                  <a:pt x="491018" y="161662"/>
                </a:cubicBezTo>
                <a:lnTo>
                  <a:pt x="489630" y="161662"/>
                </a:lnTo>
                <a:cubicBezTo>
                  <a:pt x="486500" y="161615"/>
                  <a:pt x="483440" y="162570"/>
                  <a:pt x="480895" y="164380"/>
                </a:cubicBezTo>
                <a:cubicBezTo>
                  <a:pt x="477760" y="166318"/>
                  <a:pt x="474214" y="167510"/>
                  <a:pt x="470541" y="167851"/>
                </a:cubicBezTo>
                <a:cubicBezTo>
                  <a:pt x="468771" y="167857"/>
                  <a:pt x="467030" y="167377"/>
                  <a:pt x="465509" y="166462"/>
                </a:cubicBezTo>
                <a:cubicBezTo>
                  <a:pt x="463212" y="165196"/>
                  <a:pt x="460609" y="164594"/>
                  <a:pt x="457989" y="164727"/>
                </a:cubicBezTo>
                <a:cubicBezTo>
                  <a:pt x="455918" y="164745"/>
                  <a:pt x="453853" y="164884"/>
                  <a:pt x="451800" y="165132"/>
                </a:cubicBezTo>
                <a:cubicBezTo>
                  <a:pt x="449879" y="165392"/>
                  <a:pt x="447953" y="165549"/>
                  <a:pt x="446015" y="165595"/>
                </a:cubicBezTo>
                <a:cubicBezTo>
                  <a:pt x="443667" y="165716"/>
                  <a:pt x="441336" y="165155"/>
                  <a:pt x="439305" y="163975"/>
                </a:cubicBezTo>
                <a:cubicBezTo>
                  <a:pt x="435013" y="162315"/>
                  <a:pt x="430432" y="161529"/>
                  <a:pt x="425828" y="161662"/>
                </a:cubicBezTo>
                <a:cubicBezTo>
                  <a:pt x="419118" y="161315"/>
                  <a:pt x="413333" y="161025"/>
                  <a:pt x="413333" y="157323"/>
                </a:cubicBezTo>
                <a:cubicBezTo>
                  <a:pt x="413333" y="154952"/>
                  <a:pt x="414895" y="153795"/>
                  <a:pt x="416514" y="152522"/>
                </a:cubicBezTo>
                <a:cubicBezTo>
                  <a:pt x="420801" y="149537"/>
                  <a:pt x="423039" y="144389"/>
                  <a:pt x="422299" y="139218"/>
                </a:cubicBezTo>
                <a:cubicBezTo>
                  <a:pt x="422299" y="130599"/>
                  <a:pt x="430108" y="121865"/>
                  <a:pt x="436355" y="114518"/>
                </a:cubicBezTo>
                <a:cubicBezTo>
                  <a:pt x="440520" y="109717"/>
                  <a:pt x="444858" y="104743"/>
                  <a:pt x="443759" y="102950"/>
                </a:cubicBezTo>
                <a:cubicBezTo>
                  <a:pt x="442660" y="101156"/>
                  <a:pt x="431033" y="95893"/>
                  <a:pt x="420969" y="91844"/>
                </a:cubicBezTo>
                <a:cubicBezTo>
                  <a:pt x="408821" y="86869"/>
                  <a:pt x="396211" y="81779"/>
                  <a:pt x="393030" y="77672"/>
                </a:cubicBezTo>
                <a:cubicBezTo>
                  <a:pt x="385938" y="68463"/>
                  <a:pt x="375092" y="62921"/>
                  <a:pt x="363471" y="62574"/>
                </a:cubicBezTo>
                <a:cubicBezTo>
                  <a:pt x="356061" y="62169"/>
                  <a:pt x="349155" y="58716"/>
                  <a:pt x="344383" y="53030"/>
                </a:cubicBezTo>
                <a:cubicBezTo>
                  <a:pt x="340958" y="49374"/>
                  <a:pt x="337065" y="46187"/>
                  <a:pt x="332814" y="43543"/>
                </a:cubicBezTo>
                <a:cubicBezTo>
                  <a:pt x="317867" y="33080"/>
                  <a:pt x="304979" y="19937"/>
                  <a:pt x="294810" y="4788"/>
                </a:cubicBezTo>
                <a:lnTo>
                  <a:pt x="291571" y="4441"/>
                </a:lnTo>
                <a:cubicBezTo>
                  <a:pt x="286579" y="3787"/>
                  <a:pt x="281564" y="3405"/>
                  <a:pt x="276531" y="3284"/>
                </a:cubicBezTo>
                <a:cubicBezTo>
                  <a:pt x="271325" y="3284"/>
                  <a:pt x="269821" y="4151"/>
                  <a:pt x="269359" y="4730"/>
                </a:cubicBezTo>
                <a:cubicBezTo>
                  <a:pt x="267872" y="6911"/>
                  <a:pt x="266611" y="9236"/>
                  <a:pt x="265599" y="11671"/>
                </a:cubicBezTo>
                <a:cubicBezTo>
                  <a:pt x="262591" y="17918"/>
                  <a:pt x="259525" y="24397"/>
                  <a:pt x="255765" y="24397"/>
                </a:cubicBezTo>
                <a:cubicBezTo>
                  <a:pt x="254030" y="24397"/>
                  <a:pt x="252584" y="23125"/>
                  <a:pt x="251369" y="20637"/>
                </a:cubicBezTo>
                <a:cubicBezTo>
                  <a:pt x="246684" y="11382"/>
                  <a:pt x="235925" y="10110"/>
                  <a:pt x="225570" y="9068"/>
                </a:cubicBezTo>
                <a:lnTo>
                  <a:pt x="220712" y="8490"/>
                </a:lnTo>
                <a:cubicBezTo>
                  <a:pt x="217252" y="7992"/>
                  <a:pt x="213973" y="6639"/>
                  <a:pt x="211167" y="4556"/>
                </a:cubicBezTo>
                <a:cubicBezTo>
                  <a:pt x="209883" y="3481"/>
                  <a:pt x="208316" y="2798"/>
                  <a:pt x="206656" y="2590"/>
                </a:cubicBezTo>
                <a:cubicBezTo>
                  <a:pt x="204400" y="2590"/>
                  <a:pt x="201565" y="4556"/>
                  <a:pt x="197458" y="8953"/>
                </a:cubicBezTo>
                <a:cubicBezTo>
                  <a:pt x="191529" y="15148"/>
                  <a:pt x="184912" y="20637"/>
                  <a:pt x="177733" y="25323"/>
                </a:cubicBezTo>
                <a:cubicBezTo>
                  <a:pt x="177409" y="36174"/>
                  <a:pt x="175460" y="46922"/>
                  <a:pt x="171949" y="57195"/>
                </a:cubicBezTo>
                <a:cubicBezTo>
                  <a:pt x="167865" y="61579"/>
                  <a:pt x="163052" y="65218"/>
                  <a:pt x="157719" y="67954"/>
                </a:cubicBezTo>
                <a:cubicBezTo>
                  <a:pt x="150431" y="72523"/>
                  <a:pt x="141349" y="78250"/>
                  <a:pt x="140945" y="81374"/>
                </a:cubicBezTo>
                <a:cubicBezTo>
                  <a:pt x="140776" y="83809"/>
                  <a:pt x="140892" y="86256"/>
                  <a:pt x="141292" y="88662"/>
                </a:cubicBezTo>
                <a:cubicBezTo>
                  <a:pt x="141928" y="93637"/>
                  <a:pt x="142564" y="98785"/>
                  <a:pt x="138920" y="101851"/>
                </a:cubicBezTo>
                <a:cubicBezTo>
                  <a:pt x="137416" y="103065"/>
                  <a:pt x="139383" y="108098"/>
                  <a:pt x="141060" y="112552"/>
                </a:cubicBezTo>
                <a:cubicBezTo>
                  <a:pt x="143952" y="119898"/>
                  <a:pt x="146844" y="128170"/>
                  <a:pt x="141060" y="131467"/>
                </a:cubicBezTo>
                <a:cubicBezTo>
                  <a:pt x="140036" y="131901"/>
                  <a:pt x="139244" y="132740"/>
                  <a:pt x="138862" y="133781"/>
                </a:cubicBezTo>
                <a:cubicBezTo>
                  <a:pt x="138457" y="135400"/>
                  <a:pt x="139845" y="137598"/>
                  <a:pt x="141176" y="139565"/>
                </a:cubicBezTo>
                <a:cubicBezTo>
                  <a:pt x="143085" y="142573"/>
                  <a:pt x="145456" y="146391"/>
                  <a:pt x="142101" y="149225"/>
                </a:cubicBezTo>
                <a:cubicBezTo>
                  <a:pt x="139730" y="151082"/>
                  <a:pt x="137167" y="152690"/>
                  <a:pt x="134466" y="154026"/>
                </a:cubicBezTo>
                <a:cubicBezTo>
                  <a:pt x="130185" y="156282"/>
                  <a:pt x="126079" y="158480"/>
                  <a:pt x="126079" y="161488"/>
                </a:cubicBezTo>
                <a:cubicBezTo>
                  <a:pt x="126079" y="167272"/>
                  <a:pt x="125211" y="181907"/>
                  <a:pt x="117228" y="185493"/>
                </a:cubicBezTo>
                <a:cubicBezTo>
                  <a:pt x="110345" y="188559"/>
                  <a:pt x="105659" y="200360"/>
                  <a:pt x="105659" y="209036"/>
                </a:cubicBezTo>
                <a:cubicBezTo>
                  <a:pt x="105787" y="212339"/>
                  <a:pt x="103635" y="215306"/>
                  <a:pt x="100454" y="216209"/>
                </a:cubicBezTo>
                <a:cubicBezTo>
                  <a:pt x="97850" y="217423"/>
                  <a:pt x="96289" y="218118"/>
                  <a:pt x="98198" y="223497"/>
                </a:cubicBezTo>
                <a:cubicBezTo>
                  <a:pt x="101495" y="232752"/>
                  <a:pt x="105254" y="243280"/>
                  <a:pt x="102247" y="249064"/>
                </a:cubicBezTo>
                <a:cubicBezTo>
                  <a:pt x="101263" y="250950"/>
                  <a:pt x="99511" y="252321"/>
                  <a:pt x="97446" y="252824"/>
                </a:cubicBezTo>
                <a:cubicBezTo>
                  <a:pt x="92991" y="254039"/>
                  <a:pt x="91661" y="260170"/>
                  <a:pt x="90504" y="265550"/>
                </a:cubicBezTo>
                <a:cubicBezTo>
                  <a:pt x="89347" y="270929"/>
                  <a:pt x="88711" y="274169"/>
                  <a:pt x="85645" y="274169"/>
                </a:cubicBezTo>
                <a:cubicBezTo>
                  <a:pt x="85125" y="274169"/>
                  <a:pt x="84431" y="274805"/>
                  <a:pt x="83910" y="275962"/>
                </a:cubicBezTo>
                <a:cubicBezTo>
                  <a:pt x="80792" y="284546"/>
                  <a:pt x="81747" y="294085"/>
                  <a:pt x="86513" y="301876"/>
                </a:cubicBezTo>
                <a:cubicBezTo>
                  <a:pt x="92824" y="309731"/>
                  <a:pt x="96121" y="319571"/>
                  <a:pt x="95826" y="329641"/>
                </a:cubicBezTo>
                <a:cubicBezTo>
                  <a:pt x="96086" y="333083"/>
                  <a:pt x="97283" y="336380"/>
                  <a:pt x="99297" y="339186"/>
                </a:cubicBezTo>
                <a:cubicBezTo>
                  <a:pt x="102594" y="343275"/>
                  <a:pt x="103716" y="348701"/>
                  <a:pt x="102304" y="353762"/>
                </a:cubicBezTo>
                <a:cubicBezTo>
                  <a:pt x="101257" y="357083"/>
                  <a:pt x="100517" y="360490"/>
                  <a:pt x="100106" y="363943"/>
                </a:cubicBezTo>
                <a:cubicBezTo>
                  <a:pt x="100100" y="368987"/>
                  <a:pt x="98007" y="373806"/>
                  <a:pt x="94322" y="377247"/>
                </a:cubicBezTo>
                <a:cubicBezTo>
                  <a:pt x="92066" y="378867"/>
                  <a:pt x="91719" y="382222"/>
                  <a:pt x="91372" y="385750"/>
                </a:cubicBezTo>
                <a:cubicBezTo>
                  <a:pt x="91025" y="389279"/>
                  <a:pt x="90504" y="395005"/>
                  <a:pt x="85935" y="397319"/>
                </a:cubicBezTo>
                <a:cubicBezTo>
                  <a:pt x="82927" y="398707"/>
                  <a:pt x="84662" y="406690"/>
                  <a:pt x="85935" y="413689"/>
                </a:cubicBezTo>
                <a:cubicBezTo>
                  <a:pt x="87207" y="420688"/>
                  <a:pt x="89232" y="428844"/>
                  <a:pt x="85935" y="431621"/>
                </a:cubicBezTo>
                <a:cubicBezTo>
                  <a:pt x="84378" y="432859"/>
                  <a:pt x="82736" y="433981"/>
                  <a:pt x="81018" y="434976"/>
                </a:cubicBezTo>
                <a:cubicBezTo>
                  <a:pt x="74250" y="439141"/>
                  <a:pt x="65805" y="444347"/>
                  <a:pt x="65805" y="457825"/>
                </a:cubicBezTo>
                <a:cubicBezTo>
                  <a:pt x="65805" y="465518"/>
                  <a:pt x="66325" y="471938"/>
                  <a:pt x="66730" y="477086"/>
                </a:cubicBezTo>
                <a:cubicBezTo>
                  <a:pt x="67644" y="482836"/>
                  <a:pt x="67644" y="488690"/>
                  <a:pt x="66730" y="494440"/>
                </a:cubicBezTo>
                <a:cubicBezTo>
                  <a:pt x="66152" y="496580"/>
                  <a:pt x="67077" y="497448"/>
                  <a:pt x="68986" y="499010"/>
                </a:cubicBezTo>
                <a:cubicBezTo>
                  <a:pt x="72573" y="501364"/>
                  <a:pt x="74291" y="505719"/>
                  <a:pt x="73267" y="509884"/>
                </a:cubicBezTo>
                <a:cubicBezTo>
                  <a:pt x="72225" y="516710"/>
                  <a:pt x="66846" y="517404"/>
                  <a:pt x="62912" y="517867"/>
                </a:cubicBezTo>
                <a:cubicBezTo>
                  <a:pt x="58979" y="518329"/>
                  <a:pt x="57938" y="518676"/>
                  <a:pt x="57707" y="520528"/>
                </a:cubicBezTo>
                <a:cubicBezTo>
                  <a:pt x="57550" y="523310"/>
                  <a:pt x="57666" y="526098"/>
                  <a:pt x="58054" y="528857"/>
                </a:cubicBezTo>
                <a:cubicBezTo>
                  <a:pt x="58690" y="534989"/>
                  <a:pt x="59384" y="541294"/>
                  <a:pt x="55161" y="541988"/>
                </a:cubicBezTo>
                <a:cubicBezTo>
                  <a:pt x="52153" y="542508"/>
                  <a:pt x="48683" y="544764"/>
                  <a:pt x="48683" y="558126"/>
                </a:cubicBezTo>
                <a:cubicBezTo>
                  <a:pt x="48851" y="563159"/>
                  <a:pt x="47162" y="568081"/>
                  <a:pt x="43940" y="571951"/>
                </a:cubicBezTo>
                <a:cubicBezTo>
                  <a:pt x="42644" y="573438"/>
                  <a:pt x="41747" y="575231"/>
                  <a:pt x="41336" y="577157"/>
                </a:cubicBezTo>
                <a:cubicBezTo>
                  <a:pt x="41348" y="580257"/>
                  <a:pt x="42251" y="583288"/>
                  <a:pt x="43940" y="585892"/>
                </a:cubicBezTo>
                <a:cubicBezTo>
                  <a:pt x="45727" y="588928"/>
                  <a:pt x="46791" y="592330"/>
                  <a:pt x="47063" y="595841"/>
                </a:cubicBezTo>
                <a:cubicBezTo>
                  <a:pt x="47063" y="597402"/>
                  <a:pt x="47063" y="600006"/>
                  <a:pt x="47584" y="602956"/>
                </a:cubicBezTo>
                <a:cubicBezTo>
                  <a:pt x="48856" y="615855"/>
                  <a:pt x="49435" y="625746"/>
                  <a:pt x="44460" y="626498"/>
                </a:cubicBezTo>
                <a:cubicBezTo>
                  <a:pt x="43188" y="626498"/>
                  <a:pt x="41336" y="629391"/>
                  <a:pt x="40064" y="635175"/>
                </a:cubicBezTo>
                <a:cubicBezTo>
                  <a:pt x="38271" y="643100"/>
                  <a:pt x="38618" y="651660"/>
                  <a:pt x="40816" y="653164"/>
                </a:cubicBezTo>
                <a:cubicBezTo>
                  <a:pt x="45750" y="657052"/>
                  <a:pt x="46971" y="664028"/>
                  <a:pt x="43650" y="669361"/>
                </a:cubicBezTo>
                <a:cubicBezTo>
                  <a:pt x="43014" y="670576"/>
                  <a:pt x="44171" y="672022"/>
                  <a:pt x="46138" y="674278"/>
                </a:cubicBezTo>
                <a:cubicBezTo>
                  <a:pt x="48914" y="677459"/>
                  <a:pt x="52616" y="681740"/>
                  <a:pt x="47526" y="686830"/>
                </a:cubicBezTo>
                <a:cubicBezTo>
                  <a:pt x="44998" y="688941"/>
                  <a:pt x="44015" y="692377"/>
                  <a:pt x="45039" y="695507"/>
                </a:cubicBezTo>
                <a:cubicBezTo>
                  <a:pt x="46861" y="698971"/>
                  <a:pt x="51054" y="700435"/>
                  <a:pt x="54641" y="698862"/>
                </a:cubicBezTo>
                <a:cubicBezTo>
                  <a:pt x="59014" y="697653"/>
                  <a:pt x="63537" y="700221"/>
                  <a:pt x="64746" y="704594"/>
                </a:cubicBezTo>
                <a:cubicBezTo>
                  <a:pt x="65018" y="705589"/>
                  <a:pt x="65105" y="706624"/>
                  <a:pt x="64995" y="707654"/>
                </a:cubicBezTo>
                <a:cubicBezTo>
                  <a:pt x="65035" y="709117"/>
                  <a:pt x="64520" y="710546"/>
                  <a:pt x="63549" y="711645"/>
                </a:cubicBezTo>
                <a:cubicBezTo>
                  <a:pt x="62369" y="712854"/>
                  <a:pt x="60720" y="713490"/>
                  <a:pt x="59037" y="713381"/>
                </a:cubicBezTo>
                <a:cubicBezTo>
                  <a:pt x="54988" y="713381"/>
                  <a:pt x="47468" y="713381"/>
                  <a:pt x="46832" y="714595"/>
                </a:cubicBezTo>
                <a:lnTo>
                  <a:pt x="46832" y="714595"/>
                </a:lnTo>
                <a:cubicBezTo>
                  <a:pt x="46832" y="714595"/>
                  <a:pt x="46832" y="715289"/>
                  <a:pt x="49088" y="717082"/>
                </a:cubicBezTo>
                <a:cubicBezTo>
                  <a:pt x="56145" y="722867"/>
                  <a:pt x="59500" y="727379"/>
                  <a:pt x="58921" y="731196"/>
                </a:cubicBezTo>
                <a:cubicBezTo>
                  <a:pt x="58516" y="733742"/>
                  <a:pt x="56492" y="735708"/>
                  <a:pt x="53137" y="736981"/>
                </a:cubicBezTo>
                <a:cubicBezTo>
                  <a:pt x="47352" y="739121"/>
                  <a:pt x="48162" y="742013"/>
                  <a:pt x="49203" y="746699"/>
                </a:cubicBezTo>
                <a:cubicBezTo>
                  <a:pt x="50291" y="750221"/>
                  <a:pt x="50470" y="753964"/>
                  <a:pt x="49724" y="757573"/>
                </a:cubicBezTo>
                <a:cubicBezTo>
                  <a:pt x="49064" y="761472"/>
                  <a:pt x="49504" y="765481"/>
                  <a:pt x="50996" y="769142"/>
                </a:cubicBezTo>
                <a:cubicBezTo>
                  <a:pt x="52292" y="771658"/>
                  <a:pt x="52564" y="774586"/>
                  <a:pt x="51748" y="777298"/>
                </a:cubicBezTo>
                <a:cubicBezTo>
                  <a:pt x="50944" y="778606"/>
                  <a:pt x="49654" y="779543"/>
                  <a:pt x="48162" y="779902"/>
                </a:cubicBezTo>
                <a:cubicBezTo>
                  <a:pt x="45386" y="780711"/>
                  <a:pt x="45501" y="783314"/>
                  <a:pt x="45964" y="787421"/>
                </a:cubicBezTo>
                <a:cubicBezTo>
                  <a:pt x="46427" y="791528"/>
                  <a:pt x="47063" y="797775"/>
                  <a:pt x="39775" y="798990"/>
                </a:cubicBezTo>
                <a:cubicBezTo>
                  <a:pt x="33990" y="799800"/>
                  <a:pt x="33990" y="802750"/>
                  <a:pt x="33296" y="806915"/>
                </a:cubicBezTo>
                <a:cubicBezTo>
                  <a:pt x="33273" y="810675"/>
                  <a:pt x="31653" y="814249"/>
                  <a:pt x="28842" y="816748"/>
                </a:cubicBezTo>
                <a:cubicBezTo>
                  <a:pt x="26181" y="818831"/>
                  <a:pt x="27512" y="821434"/>
                  <a:pt x="29883" y="825540"/>
                </a:cubicBezTo>
                <a:cubicBezTo>
                  <a:pt x="32255" y="829647"/>
                  <a:pt x="35147" y="834622"/>
                  <a:pt x="29536" y="838151"/>
                </a:cubicBezTo>
                <a:cubicBezTo>
                  <a:pt x="26303" y="840661"/>
                  <a:pt x="24400" y="844525"/>
                  <a:pt x="24388" y="848621"/>
                </a:cubicBezTo>
                <a:cubicBezTo>
                  <a:pt x="23694" y="852843"/>
                  <a:pt x="23058" y="857181"/>
                  <a:pt x="17447" y="857181"/>
                </a:cubicBezTo>
                <a:cubicBezTo>
                  <a:pt x="9522" y="857181"/>
                  <a:pt x="4663" y="868287"/>
                  <a:pt x="3854" y="874535"/>
                </a:cubicBezTo>
                <a:cubicBezTo>
                  <a:pt x="3854" y="875865"/>
                  <a:pt x="3217" y="877369"/>
                  <a:pt x="2754" y="879104"/>
                </a:cubicBezTo>
                <a:cubicBezTo>
                  <a:pt x="1193" y="884889"/>
                  <a:pt x="-1006" y="893103"/>
                  <a:pt x="4374" y="899061"/>
                </a:cubicBezTo>
                <a:cubicBezTo>
                  <a:pt x="7417" y="902387"/>
                  <a:pt x="8527" y="907043"/>
                  <a:pt x="7324" y="911381"/>
                </a:cubicBezTo>
                <a:cubicBezTo>
                  <a:pt x="6804" y="914332"/>
                  <a:pt x="6688" y="915720"/>
                  <a:pt x="8944" y="916819"/>
                </a:cubicBezTo>
                <a:cubicBezTo>
                  <a:pt x="12426" y="917889"/>
                  <a:pt x="16064" y="918335"/>
                  <a:pt x="19703" y="918149"/>
                </a:cubicBezTo>
                <a:cubicBezTo>
                  <a:pt x="26181" y="918149"/>
                  <a:pt x="32313" y="918496"/>
                  <a:pt x="34569" y="921678"/>
                </a:cubicBezTo>
                <a:cubicBezTo>
                  <a:pt x="35454" y="923106"/>
                  <a:pt x="35581" y="924877"/>
                  <a:pt x="34916" y="926421"/>
                </a:cubicBezTo>
                <a:cubicBezTo>
                  <a:pt x="32024" y="935213"/>
                  <a:pt x="32544" y="952162"/>
                  <a:pt x="34916" y="955748"/>
                </a:cubicBezTo>
                <a:cubicBezTo>
                  <a:pt x="35020" y="955898"/>
                  <a:pt x="35159" y="956014"/>
                  <a:pt x="35321" y="956095"/>
                </a:cubicBezTo>
                <a:cubicBezTo>
                  <a:pt x="37692" y="956095"/>
                  <a:pt x="39370" y="958698"/>
                  <a:pt x="41105" y="961474"/>
                </a:cubicBezTo>
                <a:cubicBezTo>
                  <a:pt x="42841" y="964251"/>
                  <a:pt x="45270" y="968069"/>
                  <a:pt x="48278" y="967259"/>
                </a:cubicBezTo>
                <a:cubicBezTo>
                  <a:pt x="59124" y="965958"/>
                  <a:pt x="70033" y="965223"/>
                  <a:pt x="80960" y="965061"/>
                </a:cubicBezTo>
                <a:cubicBezTo>
                  <a:pt x="86380" y="964887"/>
                  <a:pt x="91800" y="965373"/>
                  <a:pt x="97098" y="966507"/>
                </a:cubicBezTo>
                <a:cubicBezTo>
                  <a:pt x="102559" y="968080"/>
                  <a:pt x="107574" y="970909"/>
                  <a:pt x="111733" y="974779"/>
                </a:cubicBezTo>
                <a:cubicBezTo>
                  <a:pt x="113064" y="973934"/>
                  <a:pt x="114567" y="973402"/>
                  <a:pt x="116129" y="97321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1" name="Forma libre: forma 380">
            <a:extLst>
              <a:ext uri="{FF2B5EF4-FFF2-40B4-BE49-F238E27FC236}">
                <a16:creationId xmlns:a16="http://schemas.microsoft.com/office/drawing/2014/main" id="{5161A690-E374-ED28-CDF2-5254A5A601D0}"/>
              </a:ext>
            </a:extLst>
          </p:cNvPr>
          <p:cNvSpPr/>
          <p:nvPr/>
        </p:nvSpPr>
        <p:spPr>
          <a:xfrm>
            <a:off x="4097699" y="4969596"/>
            <a:ext cx="240400" cy="1232474"/>
          </a:xfrm>
          <a:custGeom>
            <a:avLst/>
            <a:gdLst>
              <a:gd name="connsiteX0" fmla="*/ 205754 w 240400"/>
              <a:gd name="connsiteY0" fmla="*/ 1232186 h 1232474"/>
              <a:gd name="connsiteX1" fmla="*/ 203556 w 240400"/>
              <a:gd name="connsiteY1" fmla="*/ 1231839 h 1232474"/>
              <a:gd name="connsiteX2" fmla="*/ 190946 w 240400"/>
              <a:gd name="connsiteY2" fmla="*/ 1220848 h 1232474"/>
              <a:gd name="connsiteX3" fmla="*/ 176022 w 240400"/>
              <a:gd name="connsiteY3" fmla="*/ 1211073 h 1232474"/>
              <a:gd name="connsiteX4" fmla="*/ 175154 w 240400"/>
              <a:gd name="connsiteY4" fmla="*/ 1218419 h 1232474"/>
              <a:gd name="connsiteX5" fmla="*/ 175617 w 240400"/>
              <a:gd name="connsiteY5" fmla="*/ 1222005 h 1232474"/>
              <a:gd name="connsiteX6" fmla="*/ 165321 w 240400"/>
              <a:gd name="connsiteY6" fmla="*/ 1220906 h 1232474"/>
              <a:gd name="connsiteX7" fmla="*/ 150397 w 240400"/>
              <a:gd name="connsiteY7" fmla="*/ 1201586 h 1232474"/>
              <a:gd name="connsiteX8" fmla="*/ 146521 w 240400"/>
              <a:gd name="connsiteY8" fmla="*/ 1195802 h 1232474"/>
              <a:gd name="connsiteX9" fmla="*/ 142356 w 240400"/>
              <a:gd name="connsiteY9" fmla="*/ 1208412 h 1232474"/>
              <a:gd name="connsiteX10" fmla="*/ 138655 w 240400"/>
              <a:gd name="connsiteY10" fmla="*/ 1218014 h 1232474"/>
              <a:gd name="connsiteX11" fmla="*/ 135936 w 240400"/>
              <a:gd name="connsiteY11" fmla="*/ 1216857 h 1232474"/>
              <a:gd name="connsiteX12" fmla="*/ 130151 w 240400"/>
              <a:gd name="connsiteY12" fmla="*/ 1204421 h 1232474"/>
              <a:gd name="connsiteX13" fmla="*/ 122516 w 240400"/>
              <a:gd name="connsiteY13" fmla="*/ 1192852 h 1232474"/>
              <a:gd name="connsiteX14" fmla="*/ 118930 w 240400"/>
              <a:gd name="connsiteY14" fmla="*/ 1192447 h 1232474"/>
              <a:gd name="connsiteX15" fmla="*/ 111410 w 240400"/>
              <a:gd name="connsiteY15" fmla="*/ 1193604 h 1232474"/>
              <a:gd name="connsiteX16" fmla="*/ 106551 w 240400"/>
              <a:gd name="connsiteY16" fmla="*/ 1194414 h 1232474"/>
              <a:gd name="connsiteX17" fmla="*/ 101692 w 240400"/>
              <a:gd name="connsiteY17" fmla="*/ 1187472 h 1232474"/>
              <a:gd name="connsiteX18" fmla="*/ 113666 w 240400"/>
              <a:gd name="connsiteY18" fmla="*/ 1179200 h 1232474"/>
              <a:gd name="connsiteX19" fmla="*/ 117021 w 240400"/>
              <a:gd name="connsiteY19" fmla="*/ 1178796 h 1232474"/>
              <a:gd name="connsiteX20" fmla="*/ 115922 w 240400"/>
              <a:gd name="connsiteY20" fmla="*/ 1177407 h 1232474"/>
              <a:gd name="connsiteX21" fmla="*/ 113434 w 240400"/>
              <a:gd name="connsiteY21" fmla="*/ 1167342 h 1232474"/>
              <a:gd name="connsiteX22" fmla="*/ 119566 w 240400"/>
              <a:gd name="connsiteY22" fmla="*/ 1162946 h 1232474"/>
              <a:gd name="connsiteX23" fmla="*/ 124830 w 240400"/>
              <a:gd name="connsiteY23" fmla="*/ 1165549 h 1232474"/>
              <a:gd name="connsiteX24" fmla="*/ 137845 w 240400"/>
              <a:gd name="connsiteY24" fmla="*/ 1176424 h 1232474"/>
              <a:gd name="connsiteX25" fmla="*/ 136283 w 240400"/>
              <a:gd name="connsiteY25" fmla="*/ 1171623 h 1232474"/>
              <a:gd name="connsiteX26" fmla="*/ 134953 w 240400"/>
              <a:gd name="connsiteY26" fmla="*/ 1155253 h 1232474"/>
              <a:gd name="connsiteX27" fmla="*/ 143224 w 240400"/>
              <a:gd name="connsiteY27" fmla="*/ 1153113 h 1232474"/>
              <a:gd name="connsiteX28" fmla="*/ 147678 w 240400"/>
              <a:gd name="connsiteY28" fmla="*/ 1165144 h 1232474"/>
              <a:gd name="connsiteX29" fmla="*/ 151901 w 240400"/>
              <a:gd name="connsiteY29" fmla="*/ 1176135 h 1232474"/>
              <a:gd name="connsiteX30" fmla="*/ 153810 w 240400"/>
              <a:gd name="connsiteY30" fmla="*/ 1175614 h 1232474"/>
              <a:gd name="connsiteX31" fmla="*/ 156818 w 240400"/>
              <a:gd name="connsiteY31" fmla="*/ 1172895 h 1232474"/>
              <a:gd name="connsiteX32" fmla="*/ 154504 w 240400"/>
              <a:gd name="connsiteY32" fmla="*/ 1166590 h 1232474"/>
              <a:gd name="connsiteX33" fmla="*/ 152075 w 240400"/>
              <a:gd name="connsiteY33" fmla="*/ 1156757 h 1232474"/>
              <a:gd name="connsiteX34" fmla="*/ 162602 w 240400"/>
              <a:gd name="connsiteY34" fmla="*/ 1150510 h 1232474"/>
              <a:gd name="connsiteX35" fmla="*/ 168386 w 240400"/>
              <a:gd name="connsiteY35" fmla="*/ 1147733 h 1232474"/>
              <a:gd name="connsiteX36" fmla="*/ 167287 w 240400"/>
              <a:gd name="connsiteY36" fmla="*/ 1145882 h 1232474"/>
              <a:gd name="connsiteX37" fmla="*/ 163586 w 240400"/>
              <a:gd name="connsiteY37" fmla="*/ 1144320 h 1232474"/>
              <a:gd name="connsiteX38" fmla="*/ 157280 w 240400"/>
              <a:gd name="connsiteY38" fmla="*/ 1145940 h 1232474"/>
              <a:gd name="connsiteX39" fmla="*/ 149472 w 240400"/>
              <a:gd name="connsiteY39" fmla="*/ 1147849 h 1232474"/>
              <a:gd name="connsiteX40" fmla="*/ 142472 w 240400"/>
              <a:gd name="connsiteY40" fmla="*/ 1144667 h 1232474"/>
              <a:gd name="connsiteX41" fmla="*/ 137382 w 240400"/>
              <a:gd name="connsiteY41" fmla="*/ 1134545 h 1232474"/>
              <a:gd name="connsiteX42" fmla="*/ 147100 w 240400"/>
              <a:gd name="connsiteY42" fmla="*/ 1127083 h 1232474"/>
              <a:gd name="connsiteX43" fmla="*/ 157685 w 240400"/>
              <a:gd name="connsiteY43" fmla="*/ 1115514 h 1232474"/>
              <a:gd name="connsiteX44" fmla="*/ 155892 w 240400"/>
              <a:gd name="connsiteY44" fmla="*/ 1114646 h 1232474"/>
              <a:gd name="connsiteX45" fmla="*/ 151496 w 240400"/>
              <a:gd name="connsiteY45" fmla="*/ 1115572 h 1232474"/>
              <a:gd name="connsiteX46" fmla="*/ 128011 w 240400"/>
              <a:gd name="connsiteY46" fmla="*/ 1140271 h 1232474"/>
              <a:gd name="connsiteX47" fmla="*/ 125003 w 240400"/>
              <a:gd name="connsiteY47" fmla="*/ 1156236 h 1232474"/>
              <a:gd name="connsiteX48" fmla="*/ 105221 w 240400"/>
              <a:gd name="connsiteY48" fmla="*/ 1160921 h 1232474"/>
              <a:gd name="connsiteX49" fmla="*/ 99436 w 240400"/>
              <a:gd name="connsiteY49" fmla="*/ 1159475 h 1232474"/>
              <a:gd name="connsiteX50" fmla="*/ 93941 w 240400"/>
              <a:gd name="connsiteY50" fmla="*/ 1163004 h 1232474"/>
              <a:gd name="connsiteX51" fmla="*/ 95272 w 240400"/>
              <a:gd name="connsiteY51" fmla="*/ 1166880 h 1232474"/>
              <a:gd name="connsiteX52" fmla="*/ 99089 w 240400"/>
              <a:gd name="connsiteY52" fmla="*/ 1168615 h 1232474"/>
              <a:gd name="connsiteX53" fmla="*/ 103659 w 240400"/>
              <a:gd name="connsiteY53" fmla="*/ 1172028 h 1232474"/>
              <a:gd name="connsiteX54" fmla="*/ 100246 w 240400"/>
              <a:gd name="connsiteY54" fmla="*/ 1177812 h 1232474"/>
              <a:gd name="connsiteX55" fmla="*/ 94462 w 240400"/>
              <a:gd name="connsiteY55" fmla="*/ 1180762 h 1232474"/>
              <a:gd name="connsiteX56" fmla="*/ 88677 w 240400"/>
              <a:gd name="connsiteY56" fmla="*/ 1176944 h 1232474"/>
              <a:gd name="connsiteX57" fmla="*/ 81215 w 240400"/>
              <a:gd name="connsiteY57" fmla="*/ 1170639 h 1232474"/>
              <a:gd name="connsiteX58" fmla="*/ 74274 w 240400"/>
              <a:gd name="connsiteY58" fmla="*/ 1168442 h 1232474"/>
              <a:gd name="connsiteX59" fmla="*/ 70167 w 240400"/>
              <a:gd name="connsiteY59" fmla="*/ 1168904 h 1232474"/>
              <a:gd name="connsiteX60" fmla="*/ 66176 w 240400"/>
              <a:gd name="connsiteY60" fmla="*/ 1169367 h 1232474"/>
              <a:gd name="connsiteX61" fmla="*/ 57441 w 240400"/>
              <a:gd name="connsiteY61" fmla="*/ 1165029 h 1232474"/>
              <a:gd name="connsiteX62" fmla="*/ 48880 w 240400"/>
              <a:gd name="connsiteY62" fmla="*/ 1147675 h 1232474"/>
              <a:gd name="connsiteX63" fmla="*/ 55359 w 240400"/>
              <a:gd name="connsiteY63" fmla="*/ 1145246 h 1232474"/>
              <a:gd name="connsiteX64" fmla="*/ 67622 w 240400"/>
              <a:gd name="connsiteY64" fmla="*/ 1148832 h 1232474"/>
              <a:gd name="connsiteX65" fmla="*/ 80637 w 240400"/>
              <a:gd name="connsiteY65" fmla="*/ 1152303 h 1232474"/>
              <a:gd name="connsiteX66" fmla="*/ 82777 w 240400"/>
              <a:gd name="connsiteY66" fmla="*/ 1151724 h 1232474"/>
              <a:gd name="connsiteX67" fmla="*/ 83182 w 240400"/>
              <a:gd name="connsiteY67" fmla="*/ 1150047 h 1232474"/>
              <a:gd name="connsiteX68" fmla="*/ 87751 w 240400"/>
              <a:gd name="connsiteY68" fmla="*/ 1136801 h 1232474"/>
              <a:gd name="connsiteX69" fmla="*/ 98268 w 240400"/>
              <a:gd name="connsiteY69" fmla="*/ 1135227 h 1232474"/>
              <a:gd name="connsiteX70" fmla="*/ 98973 w 240400"/>
              <a:gd name="connsiteY70" fmla="*/ 1135817 h 1232474"/>
              <a:gd name="connsiteX71" fmla="*/ 104758 w 240400"/>
              <a:gd name="connsiteY71" fmla="*/ 1137668 h 1232474"/>
              <a:gd name="connsiteX72" fmla="*/ 117599 w 240400"/>
              <a:gd name="connsiteY72" fmla="*/ 1131479 h 1232474"/>
              <a:gd name="connsiteX73" fmla="*/ 117599 w 240400"/>
              <a:gd name="connsiteY73" fmla="*/ 1125695 h 1232474"/>
              <a:gd name="connsiteX74" fmla="*/ 114707 w 240400"/>
              <a:gd name="connsiteY74" fmla="*/ 1123265 h 1232474"/>
              <a:gd name="connsiteX75" fmla="*/ 107824 w 240400"/>
              <a:gd name="connsiteY75" fmla="*/ 1126273 h 1232474"/>
              <a:gd name="connsiteX76" fmla="*/ 87636 w 240400"/>
              <a:gd name="connsiteY76" fmla="*/ 1132346 h 1232474"/>
              <a:gd name="connsiteX77" fmla="*/ 73348 w 240400"/>
              <a:gd name="connsiteY77" fmla="*/ 1138131 h 1232474"/>
              <a:gd name="connsiteX78" fmla="*/ 65655 w 240400"/>
              <a:gd name="connsiteY78" fmla="*/ 1142816 h 1232474"/>
              <a:gd name="connsiteX79" fmla="*/ 62589 w 240400"/>
              <a:gd name="connsiteY79" fmla="*/ 1142354 h 1232474"/>
              <a:gd name="connsiteX80" fmla="*/ 56805 w 240400"/>
              <a:gd name="connsiteY80" fmla="*/ 1139172 h 1232474"/>
              <a:gd name="connsiteX81" fmla="*/ 58309 w 240400"/>
              <a:gd name="connsiteY81" fmla="*/ 1136049 h 1232474"/>
              <a:gd name="connsiteX82" fmla="*/ 61317 w 240400"/>
              <a:gd name="connsiteY82" fmla="*/ 1130264 h 1232474"/>
              <a:gd name="connsiteX83" fmla="*/ 74737 w 240400"/>
              <a:gd name="connsiteY83" fmla="*/ 1117943 h 1232474"/>
              <a:gd name="connsiteX84" fmla="*/ 78612 w 240400"/>
              <a:gd name="connsiteY84" fmla="*/ 1120315 h 1232474"/>
              <a:gd name="connsiteX85" fmla="*/ 82488 w 240400"/>
              <a:gd name="connsiteY85" fmla="*/ 1121877 h 1232474"/>
              <a:gd name="connsiteX86" fmla="*/ 93478 w 240400"/>
              <a:gd name="connsiteY86" fmla="*/ 1117249 h 1232474"/>
              <a:gd name="connsiteX87" fmla="*/ 102965 w 240400"/>
              <a:gd name="connsiteY87" fmla="*/ 1114878 h 1232474"/>
              <a:gd name="connsiteX88" fmla="*/ 105568 w 240400"/>
              <a:gd name="connsiteY88" fmla="*/ 1114878 h 1232474"/>
              <a:gd name="connsiteX89" fmla="*/ 110427 w 240400"/>
              <a:gd name="connsiteY89" fmla="*/ 1113952 h 1232474"/>
              <a:gd name="connsiteX90" fmla="*/ 110427 w 240400"/>
              <a:gd name="connsiteY90" fmla="*/ 1112506 h 1232474"/>
              <a:gd name="connsiteX91" fmla="*/ 87983 w 240400"/>
              <a:gd name="connsiteY91" fmla="*/ 1106721 h 1232474"/>
              <a:gd name="connsiteX92" fmla="*/ 70630 w 240400"/>
              <a:gd name="connsiteY92" fmla="*/ 1110539 h 1232474"/>
              <a:gd name="connsiteX93" fmla="*/ 69820 w 240400"/>
              <a:gd name="connsiteY93" fmla="*/ 1111407 h 1232474"/>
              <a:gd name="connsiteX94" fmla="*/ 55533 w 240400"/>
              <a:gd name="connsiteY94" fmla="*/ 1120835 h 1232474"/>
              <a:gd name="connsiteX95" fmla="*/ 48996 w 240400"/>
              <a:gd name="connsiteY95" fmla="*/ 1117076 h 1232474"/>
              <a:gd name="connsiteX96" fmla="*/ 47145 w 240400"/>
              <a:gd name="connsiteY96" fmla="*/ 1104003 h 1232474"/>
              <a:gd name="connsiteX97" fmla="*/ 57962 w 240400"/>
              <a:gd name="connsiteY97" fmla="*/ 1098913 h 1232474"/>
              <a:gd name="connsiteX98" fmla="*/ 62531 w 240400"/>
              <a:gd name="connsiteY98" fmla="*/ 1099318 h 1232474"/>
              <a:gd name="connsiteX99" fmla="*/ 80405 w 240400"/>
              <a:gd name="connsiteY99" fmla="*/ 1093533 h 1232474"/>
              <a:gd name="connsiteX100" fmla="*/ 80926 w 240400"/>
              <a:gd name="connsiteY100" fmla="*/ 1090699 h 1232474"/>
              <a:gd name="connsiteX101" fmla="*/ 68432 w 240400"/>
              <a:gd name="connsiteY101" fmla="*/ 1081617 h 1232474"/>
              <a:gd name="connsiteX102" fmla="*/ 65551 w 240400"/>
              <a:gd name="connsiteY102" fmla="*/ 1083775 h 1232474"/>
              <a:gd name="connsiteX103" fmla="*/ 65539 w 240400"/>
              <a:gd name="connsiteY103" fmla="*/ 1084394 h 1232474"/>
              <a:gd name="connsiteX104" fmla="*/ 59755 w 240400"/>
              <a:gd name="connsiteY104" fmla="*/ 1093244 h 1232474"/>
              <a:gd name="connsiteX105" fmla="*/ 54433 w 240400"/>
              <a:gd name="connsiteY105" fmla="*/ 1087460 h 1232474"/>
              <a:gd name="connsiteX106" fmla="*/ 50442 w 240400"/>
              <a:gd name="connsiteY106" fmla="*/ 1084509 h 1232474"/>
              <a:gd name="connsiteX107" fmla="*/ 44658 w 240400"/>
              <a:gd name="connsiteY107" fmla="*/ 1085608 h 1232474"/>
              <a:gd name="connsiteX108" fmla="*/ 38873 w 240400"/>
              <a:gd name="connsiteY108" fmla="*/ 1086360 h 1232474"/>
              <a:gd name="connsiteX109" fmla="*/ 37196 w 240400"/>
              <a:gd name="connsiteY109" fmla="*/ 1084047 h 1232474"/>
              <a:gd name="connsiteX110" fmla="*/ 51599 w 240400"/>
              <a:gd name="connsiteY110" fmla="*/ 1071437 h 1232474"/>
              <a:gd name="connsiteX111" fmla="*/ 54723 w 240400"/>
              <a:gd name="connsiteY111" fmla="*/ 1067503 h 1232474"/>
              <a:gd name="connsiteX112" fmla="*/ 49921 w 240400"/>
              <a:gd name="connsiteY112" fmla="*/ 1063801 h 1232474"/>
              <a:gd name="connsiteX113" fmla="*/ 46913 w 240400"/>
              <a:gd name="connsiteY113" fmla="*/ 1064495 h 1232474"/>
              <a:gd name="connsiteX114" fmla="*/ 39741 w 240400"/>
              <a:gd name="connsiteY114" fmla="*/ 1066635 h 1232474"/>
              <a:gd name="connsiteX115" fmla="*/ 35750 w 240400"/>
              <a:gd name="connsiteY115" fmla="*/ 1065421 h 1232474"/>
              <a:gd name="connsiteX116" fmla="*/ 32163 w 240400"/>
              <a:gd name="connsiteY116" fmla="*/ 1063917 h 1232474"/>
              <a:gd name="connsiteX117" fmla="*/ 25164 w 240400"/>
              <a:gd name="connsiteY117" fmla="*/ 1066693 h 1232474"/>
              <a:gd name="connsiteX118" fmla="*/ 20189 w 240400"/>
              <a:gd name="connsiteY118" fmla="*/ 1069412 h 1232474"/>
              <a:gd name="connsiteX119" fmla="*/ 17124 w 240400"/>
              <a:gd name="connsiteY119" fmla="*/ 1067850 h 1232474"/>
              <a:gd name="connsiteX120" fmla="*/ 18165 w 240400"/>
              <a:gd name="connsiteY120" fmla="*/ 1059231 h 1232474"/>
              <a:gd name="connsiteX121" fmla="*/ 18165 w 240400"/>
              <a:gd name="connsiteY121" fmla="*/ 1051711 h 1232474"/>
              <a:gd name="connsiteX122" fmla="*/ 15620 w 240400"/>
              <a:gd name="connsiteY122" fmla="*/ 1048588 h 1232474"/>
              <a:gd name="connsiteX123" fmla="*/ 19784 w 240400"/>
              <a:gd name="connsiteY123" fmla="*/ 1046968 h 1232474"/>
              <a:gd name="connsiteX124" fmla="*/ 26726 w 240400"/>
              <a:gd name="connsiteY124" fmla="*/ 1043556 h 1232474"/>
              <a:gd name="connsiteX125" fmla="*/ 31006 w 240400"/>
              <a:gd name="connsiteY125" fmla="*/ 1036961 h 1232474"/>
              <a:gd name="connsiteX126" fmla="*/ 34014 w 240400"/>
              <a:gd name="connsiteY126" fmla="*/ 1033144 h 1232474"/>
              <a:gd name="connsiteX127" fmla="*/ 36270 w 240400"/>
              <a:gd name="connsiteY127" fmla="*/ 1022095 h 1232474"/>
              <a:gd name="connsiteX128" fmla="*/ 38237 w 240400"/>
              <a:gd name="connsiteY128" fmla="*/ 1012551 h 1232474"/>
              <a:gd name="connsiteX129" fmla="*/ 41361 w 240400"/>
              <a:gd name="connsiteY129" fmla="*/ 1005089 h 1232474"/>
              <a:gd name="connsiteX130" fmla="*/ 42228 w 240400"/>
              <a:gd name="connsiteY130" fmla="*/ 994041 h 1232474"/>
              <a:gd name="connsiteX131" fmla="*/ 38989 w 240400"/>
              <a:gd name="connsiteY131" fmla="*/ 992479 h 1232474"/>
              <a:gd name="connsiteX132" fmla="*/ 35055 w 240400"/>
              <a:gd name="connsiteY132" fmla="*/ 995024 h 1232474"/>
              <a:gd name="connsiteX133" fmla="*/ 32568 w 240400"/>
              <a:gd name="connsiteY133" fmla="*/ 1005610 h 1232474"/>
              <a:gd name="connsiteX134" fmla="*/ 31527 w 240400"/>
              <a:gd name="connsiteY134" fmla="*/ 1015038 h 1232474"/>
              <a:gd name="connsiteX135" fmla="*/ 22850 w 240400"/>
              <a:gd name="connsiteY135" fmla="*/ 1017931 h 1232474"/>
              <a:gd name="connsiteX136" fmla="*/ 17702 w 240400"/>
              <a:gd name="connsiteY136" fmla="*/ 1010237 h 1232474"/>
              <a:gd name="connsiteX137" fmla="*/ 17702 w 240400"/>
              <a:gd name="connsiteY137" fmla="*/ 1008965 h 1232474"/>
              <a:gd name="connsiteX138" fmla="*/ 16777 w 240400"/>
              <a:gd name="connsiteY138" fmla="*/ 1009370 h 1232474"/>
              <a:gd name="connsiteX139" fmla="*/ 13769 w 240400"/>
              <a:gd name="connsiteY139" fmla="*/ 1010064 h 1232474"/>
              <a:gd name="connsiteX140" fmla="*/ 6422 w 240400"/>
              <a:gd name="connsiteY140" fmla="*/ 1004569 h 1232474"/>
              <a:gd name="connsiteX141" fmla="*/ 9546 w 240400"/>
              <a:gd name="connsiteY141" fmla="*/ 995892 h 1232474"/>
              <a:gd name="connsiteX142" fmla="*/ 23718 w 240400"/>
              <a:gd name="connsiteY142" fmla="*/ 980043 h 1232474"/>
              <a:gd name="connsiteX143" fmla="*/ 31006 w 240400"/>
              <a:gd name="connsiteY143" fmla="*/ 975762 h 1232474"/>
              <a:gd name="connsiteX144" fmla="*/ 37601 w 240400"/>
              <a:gd name="connsiteY144" fmla="*/ 968994 h 1232474"/>
              <a:gd name="connsiteX145" fmla="*/ 34419 w 240400"/>
              <a:gd name="connsiteY145" fmla="*/ 963210 h 1232474"/>
              <a:gd name="connsiteX146" fmla="*/ 28172 w 240400"/>
              <a:gd name="connsiteY146" fmla="*/ 968011 h 1232474"/>
              <a:gd name="connsiteX147" fmla="*/ 14058 w 240400"/>
              <a:gd name="connsiteY147" fmla="*/ 977092 h 1232474"/>
              <a:gd name="connsiteX148" fmla="*/ 13422 w 240400"/>
              <a:gd name="connsiteY148" fmla="*/ 977092 h 1232474"/>
              <a:gd name="connsiteX149" fmla="*/ 8563 w 240400"/>
              <a:gd name="connsiteY149" fmla="*/ 972291 h 1232474"/>
              <a:gd name="connsiteX150" fmla="*/ 2779 w 240400"/>
              <a:gd name="connsiteY150" fmla="*/ 964772 h 1232474"/>
              <a:gd name="connsiteX151" fmla="*/ 1217 w 240400"/>
              <a:gd name="connsiteY151" fmla="*/ 959739 h 1232474"/>
              <a:gd name="connsiteX152" fmla="*/ 19958 w 240400"/>
              <a:gd name="connsiteY152" fmla="*/ 947245 h 1232474"/>
              <a:gd name="connsiteX153" fmla="*/ 22098 w 240400"/>
              <a:gd name="connsiteY153" fmla="*/ 947650 h 1232474"/>
              <a:gd name="connsiteX154" fmla="*/ 23082 w 240400"/>
              <a:gd name="connsiteY154" fmla="*/ 948112 h 1232474"/>
              <a:gd name="connsiteX155" fmla="*/ 31238 w 240400"/>
              <a:gd name="connsiteY155" fmla="*/ 950658 h 1232474"/>
              <a:gd name="connsiteX156" fmla="*/ 37022 w 240400"/>
              <a:gd name="connsiteY156" fmla="*/ 946898 h 1232474"/>
              <a:gd name="connsiteX157" fmla="*/ 43096 w 240400"/>
              <a:gd name="connsiteY157" fmla="*/ 943253 h 1232474"/>
              <a:gd name="connsiteX158" fmla="*/ 56979 w 240400"/>
              <a:gd name="connsiteY158" fmla="*/ 950889 h 1232474"/>
              <a:gd name="connsiteX159" fmla="*/ 57846 w 240400"/>
              <a:gd name="connsiteY159" fmla="*/ 951410 h 1232474"/>
              <a:gd name="connsiteX160" fmla="*/ 58945 w 240400"/>
              <a:gd name="connsiteY160" fmla="*/ 949269 h 1232474"/>
              <a:gd name="connsiteX161" fmla="*/ 55185 w 240400"/>
              <a:gd name="connsiteY161" fmla="*/ 941865 h 1232474"/>
              <a:gd name="connsiteX162" fmla="*/ 44368 w 240400"/>
              <a:gd name="connsiteY162" fmla="*/ 942559 h 1232474"/>
              <a:gd name="connsiteX163" fmla="*/ 36097 w 240400"/>
              <a:gd name="connsiteY163" fmla="*/ 943658 h 1232474"/>
              <a:gd name="connsiteX164" fmla="*/ 28982 w 240400"/>
              <a:gd name="connsiteY164" fmla="*/ 938510 h 1232474"/>
              <a:gd name="connsiteX165" fmla="*/ 32915 w 240400"/>
              <a:gd name="connsiteY165" fmla="*/ 922950 h 1232474"/>
              <a:gd name="connsiteX166" fmla="*/ 38700 w 240400"/>
              <a:gd name="connsiteY166" fmla="*/ 920289 h 1232474"/>
              <a:gd name="connsiteX167" fmla="*/ 38700 w 240400"/>
              <a:gd name="connsiteY167" fmla="*/ 920289 h 1232474"/>
              <a:gd name="connsiteX168" fmla="*/ 41129 w 240400"/>
              <a:gd name="connsiteY168" fmla="*/ 916703 h 1232474"/>
              <a:gd name="connsiteX169" fmla="*/ 35865 w 240400"/>
              <a:gd name="connsiteY169" fmla="*/ 908605 h 1232474"/>
              <a:gd name="connsiteX170" fmla="*/ 27767 w 240400"/>
              <a:gd name="connsiteY170" fmla="*/ 909530 h 1232474"/>
              <a:gd name="connsiteX171" fmla="*/ 24065 w 240400"/>
              <a:gd name="connsiteY171" fmla="*/ 910398 h 1232474"/>
              <a:gd name="connsiteX172" fmla="*/ 19322 w 240400"/>
              <a:gd name="connsiteY172" fmla="*/ 906060 h 1232474"/>
              <a:gd name="connsiteX173" fmla="*/ 13538 w 240400"/>
              <a:gd name="connsiteY173" fmla="*/ 901548 h 1232474"/>
              <a:gd name="connsiteX174" fmla="*/ 8916 w 240400"/>
              <a:gd name="connsiteY174" fmla="*/ 905579 h 1232474"/>
              <a:gd name="connsiteX175" fmla="*/ 8910 w 240400"/>
              <a:gd name="connsiteY175" fmla="*/ 905655 h 1232474"/>
              <a:gd name="connsiteX176" fmla="*/ 1390 w 240400"/>
              <a:gd name="connsiteY176" fmla="*/ 909241 h 1232474"/>
              <a:gd name="connsiteX177" fmla="*/ -56 w 240400"/>
              <a:gd name="connsiteY177" fmla="*/ 904324 h 1232474"/>
              <a:gd name="connsiteX178" fmla="*/ 17760 w 240400"/>
              <a:gd name="connsiteY178" fmla="*/ 886971 h 1232474"/>
              <a:gd name="connsiteX179" fmla="*/ 18628 w 240400"/>
              <a:gd name="connsiteY179" fmla="*/ 886508 h 1232474"/>
              <a:gd name="connsiteX180" fmla="*/ 17124 w 240400"/>
              <a:gd name="connsiteY180" fmla="*/ 884079 h 1232474"/>
              <a:gd name="connsiteX181" fmla="*/ 15967 w 240400"/>
              <a:gd name="connsiteY181" fmla="*/ 873898 h 1232474"/>
              <a:gd name="connsiteX182" fmla="*/ 24991 w 240400"/>
              <a:gd name="connsiteY182" fmla="*/ 869271 h 1232474"/>
              <a:gd name="connsiteX183" fmla="*/ 31469 w 240400"/>
              <a:gd name="connsiteY183" fmla="*/ 863486 h 1232474"/>
              <a:gd name="connsiteX184" fmla="*/ 32452 w 240400"/>
              <a:gd name="connsiteY184" fmla="*/ 859900 h 1232474"/>
              <a:gd name="connsiteX185" fmla="*/ 36675 w 240400"/>
              <a:gd name="connsiteY185" fmla="*/ 858570 h 1232474"/>
              <a:gd name="connsiteX186" fmla="*/ 39914 w 240400"/>
              <a:gd name="connsiteY186" fmla="*/ 858570 h 1232474"/>
              <a:gd name="connsiteX187" fmla="*/ 42980 w 240400"/>
              <a:gd name="connsiteY187" fmla="*/ 858570 h 1232474"/>
              <a:gd name="connsiteX188" fmla="*/ 45988 w 240400"/>
              <a:gd name="connsiteY188" fmla="*/ 856371 h 1232474"/>
              <a:gd name="connsiteX189" fmla="*/ 39857 w 240400"/>
              <a:gd name="connsiteY189" fmla="*/ 846307 h 1232474"/>
              <a:gd name="connsiteX190" fmla="*/ 34477 w 240400"/>
              <a:gd name="connsiteY190" fmla="*/ 836588 h 1232474"/>
              <a:gd name="connsiteX191" fmla="*/ 37601 w 240400"/>
              <a:gd name="connsiteY191" fmla="*/ 833465 h 1232474"/>
              <a:gd name="connsiteX192" fmla="*/ 40724 w 240400"/>
              <a:gd name="connsiteY192" fmla="*/ 832887 h 1232474"/>
              <a:gd name="connsiteX193" fmla="*/ 53277 w 240400"/>
              <a:gd name="connsiteY193" fmla="*/ 842489 h 1232474"/>
              <a:gd name="connsiteX194" fmla="*/ 53277 w 240400"/>
              <a:gd name="connsiteY194" fmla="*/ 855215 h 1232474"/>
              <a:gd name="connsiteX195" fmla="*/ 46913 w 240400"/>
              <a:gd name="connsiteY195" fmla="*/ 862214 h 1232474"/>
              <a:gd name="connsiteX196" fmla="*/ 40435 w 240400"/>
              <a:gd name="connsiteY196" fmla="*/ 870833 h 1232474"/>
              <a:gd name="connsiteX197" fmla="*/ 40956 w 240400"/>
              <a:gd name="connsiteY197" fmla="*/ 871874 h 1232474"/>
              <a:gd name="connsiteX198" fmla="*/ 42865 w 240400"/>
              <a:gd name="connsiteY198" fmla="*/ 873551 h 1232474"/>
              <a:gd name="connsiteX199" fmla="*/ 56805 w 240400"/>
              <a:gd name="connsiteY199" fmla="*/ 879336 h 1232474"/>
              <a:gd name="connsiteX200" fmla="*/ 54896 w 240400"/>
              <a:gd name="connsiteY200" fmla="*/ 871064 h 1232474"/>
              <a:gd name="connsiteX201" fmla="*/ 54896 w 240400"/>
              <a:gd name="connsiteY201" fmla="*/ 860825 h 1232474"/>
              <a:gd name="connsiteX202" fmla="*/ 64498 w 240400"/>
              <a:gd name="connsiteY202" fmla="*/ 857760 h 1232474"/>
              <a:gd name="connsiteX203" fmla="*/ 69010 w 240400"/>
              <a:gd name="connsiteY203" fmla="*/ 856545 h 1232474"/>
              <a:gd name="connsiteX204" fmla="*/ 68547 w 240400"/>
              <a:gd name="connsiteY204" fmla="*/ 854347 h 1232474"/>
              <a:gd name="connsiteX205" fmla="*/ 64498 w 240400"/>
              <a:gd name="connsiteY205" fmla="*/ 838902 h 1232474"/>
              <a:gd name="connsiteX206" fmla="*/ 68085 w 240400"/>
              <a:gd name="connsiteY206" fmla="*/ 836415 h 1232474"/>
              <a:gd name="connsiteX207" fmla="*/ 69184 w 240400"/>
              <a:gd name="connsiteY207" fmla="*/ 835837 h 1232474"/>
              <a:gd name="connsiteX208" fmla="*/ 68143 w 240400"/>
              <a:gd name="connsiteY208" fmla="*/ 832250 h 1232474"/>
              <a:gd name="connsiteX209" fmla="*/ 68143 w 240400"/>
              <a:gd name="connsiteY209" fmla="*/ 824962 h 1232474"/>
              <a:gd name="connsiteX210" fmla="*/ 68547 w 240400"/>
              <a:gd name="connsiteY210" fmla="*/ 822879 h 1232474"/>
              <a:gd name="connsiteX211" fmla="*/ 66349 w 240400"/>
              <a:gd name="connsiteY211" fmla="*/ 812583 h 1232474"/>
              <a:gd name="connsiteX212" fmla="*/ 70283 w 240400"/>
              <a:gd name="connsiteY212" fmla="*/ 802750 h 1232474"/>
              <a:gd name="connsiteX213" fmla="*/ 71324 w 240400"/>
              <a:gd name="connsiteY213" fmla="*/ 795519 h 1232474"/>
              <a:gd name="connsiteX214" fmla="*/ 76472 w 240400"/>
              <a:gd name="connsiteY214" fmla="*/ 775100 h 1232474"/>
              <a:gd name="connsiteX215" fmla="*/ 78034 w 240400"/>
              <a:gd name="connsiteY215" fmla="*/ 772671 h 1232474"/>
              <a:gd name="connsiteX216" fmla="*/ 78034 w 240400"/>
              <a:gd name="connsiteY216" fmla="*/ 763184 h 1232474"/>
              <a:gd name="connsiteX217" fmla="*/ 80926 w 240400"/>
              <a:gd name="connsiteY217" fmla="*/ 749302 h 1232474"/>
              <a:gd name="connsiteX218" fmla="*/ 85149 w 240400"/>
              <a:gd name="connsiteY218" fmla="*/ 743517 h 1232474"/>
              <a:gd name="connsiteX219" fmla="*/ 79364 w 240400"/>
              <a:gd name="connsiteY219" fmla="*/ 739005 h 1232474"/>
              <a:gd name="connsiteX220" fmla="*/ 76009 w 240400"/>
              <a:gd name="connsiteY220" fmla="*/ 731890 h 1232474"/>
              <a:gd name="connsiteX221" fmla="*/ 75662 w 240400"/>
              <a:gd name="connsiteY221" fmla="*/ 728651 h 1232474"/>
              <a:gd name="connsiteX222" fmla="*/ 72712 w 240400"/>
              <a:gd name="connsiteY222" fmla="*/ 728651 h 1232474"/>
              <a:gd name="connsiteX223" fmla="*/ 68374 w 240400"/>
              <a:gd name="connsiteY223" fmla="*/ 733742 h 1232474"/>
              <a:gd name="connsiteX224" fmla="*/ 62126 w 240400"/>
              <a:gd name="connsiteY224" fmla="*/ 739063 h 1232474"/>
              <a:gd name="connsiteX225" fmla="*/ 59697 w 240400"/>
              <a:gd name="connsiteY225" fmla="*/ 744038 h 1232474"/>
              <a:gd name="connsiteX226" fmla="*/ 59234 w 240400"/>
              <a:gd name="connsiteY226" fmla="*/ 757747 h 1232474"/>
              <a:gd name="connsiteX227" fmla="*/ 50095 w 240400"/>
              <a:gd name="connsiteY227" fmla="*/ 788115 h 1232474"/>
              <a:gd name="connsiteX228" fmla="*/ 48996 w 240400"/>
              <a:gd name="connsiteY228" fmla="*/ 788115 h 1232474"/>
              <a:gd name="connsiteX229" fmla="*/ 42460 w 240400"/>
              <a:gd name="connsiteY229" fmla="*/ 788462 h 1232474"/>
              <a:gd name="connsiteX230" fmla="*/ 36675 w 240400"/>
              <a:gd name="connsiteY230" fmla="*/ 786669 h 1232474"/>
              <a:gd name="connsiteX231" fmla="*/ 36270 w 240400"/>
              <a:gd name="connsiteY231" fmla="*/ 768564 h 1232474"/>
              <a:gd name="connsiteX232" fmla="*/ 48880 w 240400"/>
              <a:gd name="connsiteY232" fmla="*/ 737906 h 1232474"/>
              <a:gd name="connsiteX233" fmla="*/ 52582 w 240400"/>
              <a:gd name="connsiteY233" fmla="*/ 736518 h 1232474"/>
              <a:gd name="connsiteX234" fmla="*/ 50268 w 240400"/>
              <a:gd name="connsiteY234" fmla="*/ 723040 h 1232474"/>
              <a:gd name="connsiteX235" fmla="*/ 51310 w 240400"/>
              <a:gd name="connsiteY235" fmla="*/ 702332 h 1232474"/>
              <a:gd name="connsiteX236" fmla="*/ 53797 w 240400"/>
              <a:gd name="connsiteY236" fmla="*/ 690763 h 1232474"/>
              <a:gd name="connsiteX237" fmla="*/ 57788 w 240400"/>
              <a:gd name="connsiteY237" fmla="*/ 677343 h 1232474"/>
              <a:gd name="connsiteX238" fmla="*/ 62358 w 240400"/>
              <a:gd name="connsiteY238" fmla="*/ 667452 h 1232474"/>
              <a:gd name="connsiteX239" fmla="*/ 63226 w 240400"/>
              <a:gd name="connsiteY239" fmla="*/ 664618 h 1232474"/>
              <a:gd name="connsiteX240" fmla="*/ 61259 w 240400"/>
              <a:gd name="connsiteY240" fmla="*/ 640497 h 1232474"/>
              <a:gd name="connsiteX241" fmla="*/ 58714 w 240400"/>
              <a:gd name="connsiteY241" fmla="*/ 621466 h 1232474"/>
              <a:gd name="connsiteX242" fmla="*/ 57557 w 240400"/>
              <a:gd name="connsiteY242" fmla="*/ 605790 h 1232474"/>
              <a:gd name="connsiteX243" fmla="*/ 55764 w 240400"/>
              <a:gd name="connsiteY243" fmla="*/ 587453 h 1232474"/>
              <a:gd name="connsiteX244" fmla="*/ 62242 w 240400"/>
              <a:gd name="connsiteY244" fmla="*/ 584214 h 1232474"/>
              <a:gd name="connsiteX245" fmla="*/ 70456 w 240400"/>
              <a:gd name="connsiteY245" fmla="*/ 572645 h 1232474"/>
              <a:gd name="connsiteX246" fmla="*/ 73869 w 240400"/>
              <a:gd name="connsiteY246" fmla="*/ 562985 h 1232474"/>
              <a:gd name="connsiteX247" fmla="*/ 79653 w 240400"/>
              <a:gd name="connsiteY247" fmla="*/ 549739 h 1232474"/>
              <a:gd name="connsiteX248" fmla="*/ 95098 w 240400"/>
              <a:gd name="connsiteY248" fmla="*/ 505141 h 1232474"/>
              <a:gd name="connsiteX249" fmla="*/ 101229 w 240400"/>
              <a:gd name="connsiteY249" fmla="*/ 485994 h 1232474"/>
              <a:gd name="connsiteX250" fmla="*/ 104758 w 240400"/>
              <a:gd name="connsiteY250" fmla="*/ 471475 h 1232474"/>
              <a:gd name="connsiteX251" fmla="*/ 108460 w 240400"/>
              <a:gd name="connsiteY251" fmla="*/ 457593 h 1232474"/>
              <a:gd name="connsiteX252" fmla="*/ 110832 w 240400"/>
              <a:gd name="connsiteY252" fmla="*/ 452560 h 1232474"/>
              <a:gd name="connsiteX253" fmla="*/ 111294 w 240400"/>
              <a:gd name="connsiteY253" fmla="*/ 444115 h 1232474"/>
              <a:gd name="connsiteX254" fmla="*/ 110832 w 240400"/>
              <a:gd name="connsiteY254" fmla="*/ 392749 h 1232474"/>
              <a:gd name="connsiteX255" fmla="*/ 116616 w 240400"/>
              <a:gd name="connsiteY255" fmla="*/ 372273 h 1232474"/>
              <a:gd name="connsiteX256" fmla="*/ 121186 w 240400"/>
              <a:gd name="connsiteY256" fmla="*/ 362844 h 1232474"/>
              <a:gd name="connsiteX257" fmla="*/ 115401 w 240400"/>
              <a:gd name="connsiteY257" fmla="*/ 347689 h 1232474"/>
              <a:gd name="connsiteX258" fmla="*/ 111526 w 240400"/>
              <a:gd name="connsiteY258" fmla="*/ 329294 h 1232474"/>
              <a:gd name="connsiteX259" fmla="*/ 123095 w 240400"/>
              <a:gd name="connsiteY259" fmla="*/ 306677 h 1232474"/>
              <a:gd name="connsiteX260" fmla="*/ 126796 w 240400"/>
              <a:gd name="connsiteY260" fmla="*/ 289844 h 1232474"/>
              <a:gd name="connsiteX261" fmla="*/ 130383 w 240400"/>
              <a:gd name="connsiteY261" fmla="*/ 277986 h 1232474"/>
              <a:gd name="connsiteX262" fmla="*/ 134779 w 240400"/>
              <a:gd name="connsiteY262" fmla="*/ 257567 h 1232474"/>
              <a:gd name="connsiteX263" fmla="*/ 142472 w 240400"/>
              <a:gd name="connsiteY263" fmla="*/ 215688 h 1232474"/>
              <a:gd name="connsiteX264" fmla="*/ 142472 w 240400"/>
              <a:gd name="connsiteY264" fmla="*/ 203193 h 1232474"/>
              <a:gd name="connsiteX265" fmla="*/ 146001 w 240400"/>
              <a:gd name="connsiteY265" fmla="*/ 178494 h 1232474"/>
              <a:gd name="connsiteX266" fmla="*/ 145191 w 240400"/>
              <a:gd name="connsiteY266" fmla="*/ 174792 h 1232474"/>
              <a:gd name="connsiteX267" fmla="*/ 142125 w 240400"/>
              <a:gd name="connsiteY267" fmla="*/ 163223 h 1232474"/>
              <a:gd name="connsiteX268" fmla="*/ 153000 w 240400"/>
              <a:gd name="connsiteY268" fmla="*/ 122211 h 1232474"/>
              <a:gd name="connsiteX269" fmla="*/ 151207 w 240400"/>
              <a:gd name="connsiteY269" fmla="*/ 52798 h 1232474"/>
              <a:gd name="connsiteX270" fmla="*/ 150455 w 240400"/>
              <a:gd name="connsiteY270" fmla="*/ 35040 h 1232474"/>
              <a:gd name="connsiteX271" fmla="*/ 150860 w 240400"/>
              <a:gd name="connsiteY271" fmla="*/ 27810 h 1232474"/>
              <a:gd name="connsiteX272" fmla="*/ 151265 w 240400"/>
              <a:gd name="connsiteY272" fmla="*/ 26942 h 1232474"/>
              <a:gd name="connsiteX273" fmla="*/ 157454 w 240400"/>
              <a:gd name="connsiteY273" fmla="*/ 22488 h 1232474"/>
              <a:gd name="connsiteX274" fmla="*/ 166131 w 240400"/>
              <a:gd name="connsiteY274" fmla="*/ 7217 h 1232474"/>
              <a:gd name="connsiteX275" fmla="*/ 168271 w 240400"/>
              <a:gd name="connsiteY275" fmla="*/ 1433 h 1232474"/>
              <a:gd name="connsiteX276" fmla="*/ 170353 w 240400"/>
              <a:gd name="connsiteY276" fmla="*/ -129 h 1232474"/>
              <a:gd name="connsiteX277" fmla="*/ 173419 w 240400"/>
              <a:gd name="connsiteY277" fmla="*/ 2994 h 1232474"/>
              <a:gd name="connsiteX278" fmla="*/ 182038 w 240400"/>
              <a:gd name="connsiteY278" fmla="*/ 13233 h 1232474"/>
              <a:gd name="connsiteX279" fmla="*/ 186260 w 240400"/>
              <a:gd name="connsiteY279" fmla="*/ 28388 h 1232474"/>
              <a:gd name="connsiteX280" fmla="*/ 188690 w 240400"/>
              <a:gd name="connsiteY280" fmla="*/ 42444 h 1232474"/>
              <a:gd name="connsiteX281" fmla="*/ 197366 w 240400"/>
              <a:gd name="connsiteY281" fmla="*/ 50311 h 1232474"/>
              <a:gd name="connsiteX282" fmla="*/ 202052 w 240400"/>
              <a:gd name="connsiteY282" fmla="*/ 55691 h 1232474"/>
              <a:gd name="connsiteX283" fmla="*/ 199854 w 240400"/>
              <a:gd name="connsiteY283" fmla="*/ 59393 h 1232474"/>
              <a:gd name="connsiteX284" fmla="*/ 197714 w 240400"/>
              <a:gd name="connsiteY284" fmla="*/ 67838 h 1232474"/>
              <a:gd name="connsiteX285" fmla="*/ 194127 w 240400"/>
              <a:gd name="connsiteY285" fmla="*/ 78771 h 1232474"/>
              <a:gd name="connsiteX286" fmla="*/ 192450 w 240400"/>
              <a:gd name="connsiteY286" fmla="*/ 83919 h 1232474"/>
              <a:gd name="connsiteX287" fmla="*/ 203614 w 240400"/>
              <a:gd name="connsiteY287" fmla="*/ 99537 h 1232474"/>
              <a:gd name="connsiteX288" fmla="*/ 209398 w 240400"/>
              <a:gd name="connsiteY288" fmla="*/ 111684 h 1232474"/>
              <a:gd name="connsiteX289" fmla="*/ 213910 w 240400"/>
              <a:gd name="connsiteY289" fmla="*/ 124815 h 1232474"/>
              <a:gd name="connsiteX290" fmla="*/ 219695 w 240400"/>
              <a:gd name="connsiteY290" fmla="*/ 145928 h 1232474"/>
              <a:gd name="connsiteX291" fmla="*/ 220736 w 240400"/>
              <a:gd name="connsiteY291" fmla="*/ 155009 h 1232474"/>
              <a:gd name="connsiteX292" fmla="*/ 222182 w 240400"/>
              <a:gd name="connsiteY292" fmla="*/ 155646 h 1232474"/>
              <a:gd name="connsiteX293" fmla="*/ 236238 w 240400"/>
              <a:gd name="connsiteY293" fmla="*/ 149225 h 1232474"/>
              <a:gd name="connsiteX294" fmla="*/ 237453 w 240400"/>
              <a:gd name="connsiteY294" fmla="*/ 149225 h 1232474"/>
              <a:gd name="connsiteX295" fmla="*/ 237973 w 240400"/>
              <a:gd name="connsiteY295" fmla="*/ 150266 h 1232474"/>
              <a:gd name="connsiteX296" fmla="*/ 232189 w 240400"/>
              <a:gd name="connsiteY296" fmla="*/ 182659 h 1232474"/>
              <a:gd name="connsiteX297" fmla="*/ 217959 w 240400"/>
              <a:gd name="connsiteY297" fmla="*/ 193418 h 1232474"/>
              <a:gd name="connsiteX298" fmla="*/ 201184 w 240400"/>
              <a:gd name="connsiteY298" fmla="*/ 206838 h 1232474"/>
              <a:gd name="connsiteX299" fmla="*/ 201531 w 240400"/>
              <a:gd name="connsiteY299" fmla="*/ 214126 h 1232474"/>
              <a:gd name="connsiteX300" fmla="*/ 199160 w 240400"/>
              <a:gd name="connsiteY300" fmla="*/ 227315 h 1232474"/>
              <a:gd name="connsiteX301" fmla="*/ 201300 w 240400"/>
              <a:gd name="connsiteY301" fmla="*/ 238016 h 1232474"/>
              <a:gd name="connsiteX302" fmla="*/ 201300 w 240400"/>
              <a:gd name="connsiteY302" fmla="*/ 256931 h 1232474"/>
              <a:gd name="connsiteX303" fmla="*/ 199102 w 240400"/>
              <a:gd name="connsiteY303" fmla="*/ 259245 h 1232474"/>
              <a:gd name="connsiteX304" fmla="*/ 201416 w 240400"/>
              <a:gd name="connsiteY304" fmla="*/ 265029 h 1232474"/>
              <a:gd name="connsiteX305" fmla="*/ 202341 w 240400"/>
              <a:gd name="connsiteY305" fmla="*/ 274689 h 1232474"/>
              <a:gd name="connsiteX306" fmla="*/ 194706 w 240400"/>
              <a:gd name="connsiteY306" fmla="*/ 279490 h 1232474"/>
              <a:gd name="connsiteX307" fmla="*/ 186318 w 240400"/>
              <a:gd name="connsiteY307" fmla="*/ 286952 h 1232474"/>
              <a:gd name="connsiteX308" fmla="*/ 177468 w 240400"/>
              <a:gd name="connsiteY308" fmla="*/ 310957 h 1232474"/>
              <a:gd name="connsiteX309" fmla="*/ 165899 w 240400"/>
              <a:gd name="connsiteY309" fmla="*/ 334500 h 1232474"/>
              <a:gd name="connsiteX310" fmla="*/ 160693 w 240400"/>
              <a:gd name="connsiteY310" fmla="*/ 341673 h 1232474"/>
              <a:gd name="connsiteX311" fmla="*/ 158437 w 240400"/>
              <a:gd name="connsiteY311" fmla="*/ 348961 h 1232474"/>
              <a:gd name="connsiteX312" fmla="*/ 162487 w 240400"/>
              <a:gd name="connsiteY312" fmla="*/ 374529 h 1232474"/>
              <a:gd name="connsiteX313" fmla="*/ 157685 w 240400"/>
              <a:gd name="connsiteY313" fmla="*/ 378288 h 1232474"/>
              <a:gd name="connsiteX314" fmla="*/ 150744 w 240400"/>
              <a:gd name="connsiteY314" fmla="*/ 391014 h 1232474"/>
              <a:gd name="connsiteX315" fmla="*/ 145885 w 240400"/>
              <a:gd name="connsiteY315" fmla="*/ 399633 h 1232474"/>
              <a:gd name="connsiteX316" fmla="*/ 144150 w 240400"/>
              <a:gd name="connsiteY316" fmla="*/ 401426 h 1232474"/>
              <a:gd name="connsiteX317" fmla="*/ 146753 w 240400"/>
              <a:gd name="connsiteY317" fmla="*/ 427340 h 1232474"/>
              <a:gd name="connsiteX318" fmla="*/ 156066 w 240400"/>
              <a:gd name="connsiteY318" fmla="*/ 455106 h 1232474"/>
              <a:gd name="connsiteX319" fmla="*/ 159536 w 240400"/>
              <a:gd name="connsiteY319" fmla="*/ 464650 h 1232474"/>
              <a:gd name="connsiteX320" fmla="*/ 162544 w 240400"/>
              <a:gd name="connsiteY320" fmla="*/ 479227 h 1232474"/>
              <a:gd name="connsiteX321" fmla="*/ 160346 w 240400"/>
              <a:gd name="connsiteY321" fmla="*/ 489407 h 1232474"/>
              <a:gd name="connsiteX322" fmla="*/ 154562 w 240400"/>
              <a:gd name="connsiteY322" fmla="*/ 502711 h 1232474"/>
              <a:gd name="connsiteX323" fmla="*/ 151612 w 240400"/>
              <a:gd name="connsiteY323" fmla="*/ 511214 h 1232474"/>
              <a:gd name="connsiteX324" fmla="*/ 146174 w 240400"/>
              <a:gd name="connsiteY324" fmla="*/ 522783 h 1232474"/>
              <a:gd name="connsiteX325" fmla="*/ 146174 w 240400"/>
              <a:gd name="connsiteY325" fmla="*/ 539153 h 1232474"/>
              <a:gd name="connsiteX326" fmla="*/ 146174 w 240400"/>
              <a:gd name="connsiteY326" fmla="*/ 557085 h 1232474"/>
              <a:gd name="connsiteX327" fmla="*/ 141257 w 240400"/>
              <a:gd name="connsiteY327" fmla="*/ 560440 h 1232474"/>
              <a:gd name="connsiteX328" fmla="*/ 126045 w 240400"/>
              <a:gd name="connsiteY328" fmla="*/ 583288 h 1232474"/>
              <a:gd name="connsiteX329" fmla="*/ 126970 w 240400"/>
              <a:gd name="connsiteY329" fmla="*/ 602551 h 1232474"/>
              <a:gd name="connsiteX330" fmla="*/ 126970 w 240400"/>
              <a:gd name="connsiteY330" fmla="*/ 619904 h 1232474"/>
              <a:gd name="connsiteX331" fmla="*/ 129226 w 240400"/>
              <a:gd name="connsiteY331" fmla="*/ 624474 h 1232474"/>
              <a:gd name="connsiteX332" fmla="*/ 133507 w 240400"/>
              <a:gd name="connsiteY332" fmla="*/ 635348 h 1232474"/>
              <a:gd name="connsiteX333" fmla="*/ 123152 w 240400"/>
              <a:gd name="connsiteY333" fmla="*/ 643331 h 1232474"/>
              <a:gd name="connsiteX334" fmla="*/ 117946 w 240400"/>
              <a:gd name="connsiteY334" fmla="*/ 645992 h 1232474"/>
              <a:gd name="connsiteX335" fmla="*/ 118293 w 240400"/>
              <a:gd name="connsiteY335" fmla="*/ 654321 h 1232474"/>
              <a:gd name="connsiteX336" fmla="*/ 115401 w 240400"/>
              <a:gd name="connsiteY336" fmla="*/ 667452 h 1232474"/>
              <a:gd name="connsiteX337" fmla="*/ 108923 w 240400"/>
              <a:gd name="connsiteY337" fmla="*/ 683591 h 1232474"/>
              <a:gd name="connsiteX338" fmla="*/ 104179 w 240400"/>
              <a:gd name="connsiteY338" fmla="*/ 697415 h 1232474"/>
              <a:gd name="connsiteX339" fmla="*/ 101576 w 240400"/>
              <a:gd name="connsiteY339" fmla="*/ 702621 h 1232474"/>
              <a:gd name="connsiteX340" fmla="*/ 104179 w 240400"/>
              <a:gd name="connsiteY340" fmla="*/ 711356 h 1232474"/>
              <a:gd name="connsiteX341" fmla="*/ 107303 w 240400"/>
              <a:gd name="connsiteY341" fmla="*/ 721305 h 1232474"/>
              <a:gd name="connsiteX342" fmla="*/ 107824 w 240400"/>
              <a:gd name="connsiteY342" fmla="*/ 728420 h 1232474"/>
              <a:gd name="connsiteX343" fmla="*/ 104700 w 240400"/>
              <a:gd name="connsiteY343" fmla="*/ 751963 h 1232474"/>
              <a:gd name="connsiteX344" fmla="*/ 100304 w 240400"/>
              <a:gd name="connsiteY344" fmla="*/ 760639 h 1232474"/>
              <a:gd name="connsiteX345" fmla="*/ 101056 w 240400"/>
              <a:gd name="connsiteY345" fmla="*/ 778629 h 1232474"/>
              <a:gd name="connsiteX346" fmla="*/ 103890 w 240400"/>
              <a:gd name="connsiteY346" fmla="*/ 794825 h 1232474"/>
              <a:gd name="connsiteX347" fmla="*/ 106378 w 240400"/>
              <a:gd name="connsiteY347" fmla="*/ 799742 h 1232474"/>
              <a:gd name="connsiteX348" fmla="*/ 107766 w 240400"/>
              <a:gd name="connsiteY348" fmla="*/ 812294 h 1232474"/>
              <a:gd name="connsiteX349" fmla="*/ 105278 w 240400"/>
              <a:gd name="connsiteY349" fmla="*/ 820971 h 1232474"/>
              <a:gd name="connsiteX350" fmla="*/ 114880 w 240400"/>
              <a:gd name="connsiteY350" fmla="*/ 824326 h 1232474"/>
              <a:gd name="connsiteX351" fmla="*/ 124986 w 240400"/>
              <a:gd name="connsiteY351" fmla="*/ 830058 h 1232474"/>
              <a:gd name="connsiteX352" fmla="*/ 125235 w 240400"/>
              <a:gd name="connsiteY352" fmla="*/ 833118 h 1232474"/>
              <a:gd name="connsiteX353" fmla="*/ 123789 w 240400"/>
              <a:gd name="connsiteY353" fmla="*/ 837109 h 1232474"/>
              <a:gd name="connsiteX354" fmla="*/ 119277 w 240400"/>
              <a:gd name="connsiteY354" fmla="*/ 838844 h 1232474"/>
              <a:gd name="connsiteX355" fmla="*/ 107072 w 240400"/>
              <a:gd name="connsiteY355" fmla="*/ 840059 h 1232474"/>
              <a:gd name="connsiteX356" fmla="*/ 107072 w 240400"/>
              <a:gd name="connsiteY356" fmla="*/ 840059 h 1232474"/>
              <a:gd name="connsiteX357" fmla="*/ 109328 w 240400"/>
              <a:gd name="connsiteY357" fmla="*/ 842547 h 1232474"/>
              <a:gd name="connsiteX358" fmla="*/ 119161 w 240400"/>
              <a:gd name="connsiteY358" fmla="*/ 856661 h 1232474"/>
              <a:gd name="connsiteX359" fmla="*/ 113377 w 240400"/>
              <a:gd name="connsiteY359" fmla="*/ 862445 h 1232474"/>
              <a:gd name="connsiteX360" fmla="*/ 109443 w 240400"/>
              <a:gd name="connsiteY360" fmla="*/ 872163 h 1232474"/>
              <a:gd name="connsiteX361" fmla="*/ 109964 w 240400"/>
              <a:gd name="connsiteY361" fmla="*/ 883038 h 1232474"/>
              <a:gd name="connsiteX362" fmla="*/ 111237 w 240400"/>
              <a:gd name="connsiteY362" fmla="*/ 894606 h 1232474"/>
              <a:gd name="connsiteX363" fmla="*/ 111988 w 240400"/>
              <a:gd name="connsiteY363" fmla="*/ 902762 h 1232474"/>
              <a:gd name="connsiteX364" fmla="*/ 108402 w 240400"/>
              <a:gd name="connsiteY364" fmla="*/ 905365 h 1232474"/>
              <a:gd name="connsiteX365" fmla="*/ 106204 w 240400"/>
              <a:gd name="connsiteY365" fmla="*/ 912885 h 1232474"/>
              <a:gd name="connsiteX366" fmla="*/ 100015 w 240400"/>
              <a:gd name="connsiteY366" fmla="*/ 924454 h 1232474"/>
              <a:gd name="connsiteX367" fmla="*/ 93536 w 240400"/>
              <a:gd name="connsiteY367" fmla="*/ 932379 h 1232474"/>
              <a:gd name="connsiteX368" fmla="*/ 89082 w 240400"/>
              <a:gd name="connsiteY368" fmla="*/ 942212 h 1232474"/>
              <a:gd name="connsiteX369" fmla="*/ 90123 w 240400"/>
              <a:gd name="connsiteY369" fmla="*/ 951005 h 1232474"/>
              <a:gd name="connsiteX370" fmla="*/ 89776 w 240400"/>
              <a:gd name="connsiteY370" fmla="*/ 963615 h 1232474"/>
              <a:gd name="connsiteX371" fmla="*/ 84628 w 240400"/>
              <a:gd name="connsiteY371" fmla="*/ 974084 h 1232474"/>
              <a:gd name="connsiteX372" fmla="*/ 77687 w 240400"/>
              <a:gd name="connsiteY372" fmla="*/ 982645 h 1232474"/>
              <a:gd name="connsiteX373" fmla="*/ 64093 w 240400"/>
              <a:gd name="connsiteY373" fmla="*/ 999999 h 1232474"/>
              <a:gd name="connsiteX374" fmla="*/ 62994 w 240400"/>
              <a:gd name="connsiteY374" fmla="*/ 1004569 h 1232474"/>
              <a:gd name="connsiteX375" fmla="*/ 64614 w 240400"/>
              <a:gd name="connsiteY375" fmla="*/ 1024525 h 1232474"/>
              <a:gd name="connsiteX376" fmla="*/ 67564 w 240400"/>
              <a:gd name="connsiteY376" fmla="*/ 1036846 h 1232474"/>
              <a:gd name="connsiteX377" fmla="*/ 69184 w 240400"/>
              <a:gd name="connsiteY377" fmla="*/ 1042283 h 1232474"/>
              <a:gd name="connsiteX378" fmla="*/ 79943 w 240400"/>
              <a:gd name="connsiteY378" fmla="*/ 1043613 h 1232474"/>
              <a:gd name="connsiteX379" fmla="*/ 94809 w 240400"/>
              <a:gd name="connsiteY379" fmla="*/ 1047142 h 1232474"/>
              <a:gd name="connsiteX380" fmla="*/ 95156 w 240400"/>
              <a:gd name="connsiteY380" fmla="*/ 1051885 h 1232474"/>
              <a:gd name="connsiteX381" fmla="*/ 95156 w 240400"/>
              <a:gd name="connsiteY381" fmla="*/ 1081212 h 1232474"/>
              <a:gd name="connsiteX382" fmla="*/ 95561 w 240400"/>
              <a:gd name="connsiteY382" fmla="*/ 1081559 h 1232474"/>
              <a:gd name="connsiteX383" fmla="*/ 101345 w 240400"/>
              <a:gd name="connsiteY383" fmla="*/ 1086939 h 1232474"/>
              <a:gd name="connsiteX384" fmla="*/ 108518 w 240400"/>
              <a:gd name="connsiteY384" fmla="*/ 1092723 h 1232474"/>
              <a:gd name="connsiteX385" fmla="*/ 141200 w 240400"/>
              <a:gd name="connsiteY385" fmla="*/ 1090525 h 1232474"/>
              <a:gd name="connsiteX386" fmla="*/ 157338 w 240400"/>
              <a:gd name="connsiteY386" fmla="*/ 1091971 h 1232474"/>
              <a:gd name="connsiteX387" fmla="*/ 172493 w 240400"/>
              <a:gd name="connsiteY387" fmla="*/ 1100706 h 1232474"/>
              <a:gd name="connsiteX388" fmla="*/ 172898 w 240400"/>
              <a:gd name="connsiteY388" fmla="*/ 1101747 h 1232474"/>
              <a:gd name="connsiteX389" fmla="*/ 172204 w 240400"/>
              <a:gd name="connsiteY389" fmla="*/ 1102615 h 1232474"/>
              <a:gd name="connsiteX390" fmla="*/ 169659 w 240400"/>
              <a:gd name="connsiteY390" fmla="*/ 1105854 h 1232474"/>
              <a:gd name="connsiteX391" fmla="*/ 170353 w 240400"/>
              <a:gd name="connsiteY391" fmla="*/ 1111638 h 1232474"/>
              <a:gd name="connsiteX392" fmla="*/ 184352 w 240400"/>
              <a:gd name="connsiteY392" fmla="*/ 1115167 h 1232474"/>
              <a:gd name="connsiteX393" fmla="*/ 188169 w 240400"/>
              <a:gd name="connsiteY393" fmla="*/ 1115167 h 1232474"/>
              <a:gd name="connsiteX394" fmla="*/ 193202 w 240400"/>
              <a:gd name="connsiteY394" fmla="*/ 1115514 h 1232474"/>
              <a:gd name="connsiteX395" fmla="*/ 194069 w 240400"/>
              <a:gd name="connsiteY395" fmla="*/ 1116671 h 1232474"/>
              <a:gd name="connsiteX396" fmla="*/ 193549 w 240400"/>
              <a:gd name="connsiteY396" fmla="*/ 1205462 h 1232474"/>
              <a:gd name="connsiteX397" fmla="*/ 202226 w 240400"/>
              <a:gd name="connsiteY397" fmla="*/ 1205173 h 1232474"/>
              <a:gd name="connsiteX398" fmla="*/ 218827 w 240400"/>
              <a:gd name="connsiteY398" fmla="*/ 1204536 h 1232474"/>
              <a:gd name="connsiteX399" fmla="*/ 239535 w 240400"/>
              <a:gd name="connsiteY399" fmla="*/ 1207949 h 1232474"/>
              <a:gd name="connsiteX400" fmla="*/ 240287 w 240400"/>
              <a:gd name="connsiteY400" fmla="*/ 1208990 h 1232474"/>
              <a:gd name="connsiteX401" fmla="*/ 239310 w 240400"/>
              <a:gd name="connsiteY401" fmla="*/ 1210089 h 1232474"/>
              <a:gd name="connsiteX402" fmla="*/ 239188 w 240400"/>
              <a:gd name="connsiteY402" fmla="*/ 1210089 h 1232474"/>
              <a:gd name="connsiteX403" fmla="*/ 238783 w 240400"/>
              <a:gd name="connsiteY403" fmla="*/ 1210089 h 1232474"/>
              <a:gd name="connsiteX404" fmla="*/ 237048 w 240400"/>
              <a:gd name="connsiteY404" fmla="*/ 1209684 h 1232474"/>
              <a:gd name="connsiteX405" fmla="*/ 235717 w 240400"/>
              <a:gd name="connsiteY405" fmla="*/ 1211073 h 1232474"/>
              <a:gd name="connsiteX406" fmla="*/ 227619 w 240400"/>
              <a:gd name="connsiteY406" fmla="*/ 1216857 h 1232474"/>
              <a:gd name="connsiteX407" fmla="*/ 216050 w 240400"/>
              <a:gd name="connsiteY407" fmla="*/ 1214312 h 1232474"/>
              <a:gd name="connsiteX408" fmla="*/ 200837 w 240400"/>
              <a:gd name="connsiteY408" fmla="*/ 1210436 h 1232474"/>
              <a:gd name="connsiteX409" fmla="*/ 199970 w 240400"/>
              <a:gd name="connsiteY409" fmla="*/ 1210436 h 1232474"/>
              <a:gd name="connsiteX410" fmla="*/ 201531 w 240400"/>
              <a:gd name="connsiteY410" fmla="*/ 1212461 h 1232474"/>
              <a:gd name="connsiteX411" fmla="*/ 209687 w 240400"/>
              <a:gd name="connsiteY411" fmla="*/ 1230798 h 1232474"/>
              <a:gd name="connsiteX412" fmla="*/ 205754 w 240400"/>
              <a:gd name="connsiteY412" fmla="*/ 1232186 h 1232474"/>
              <a:gd name="connsiteX413" fmla="*/ 178278 w 240400"/>
              <a:gd name="connsiteY413" fmla="*/ 1208065 h 1232474"/>
              <a:gd name="connsiteX414" fmla="*/ 192681 w 240400"/>
              <a:gd name="connsiteY414" fmla="*/ 1219634 h 1232474"/>
              <a:gd name="connsiteX415" fmla="*/ 204250 w 240400"/>
              <a:gd name="connsiteY415" fmla="*/ 1229930 h 1232474"/>
              <a:gd name="connsiteX416" fmla="*/ 205870 w 240400"/>
              <a:gd name="connsiteY416" fmla="*/ 1229930 h 1232474"/>
              <a:gd name="connsiteX417" fmla="*/ 207258 w 240400"/>
              <a:gd name="connsiteY417" fmla="*/ 1229293 h 1232474"/>
              <a:gd name="connsiteX418" fmla="*/ 199507 w 240400"/>
              <a:gd name="connsiteY418" fmla="*/ 1213328 h 1232474"/>
              <a:gd name="connsiteX419" fmla="*/ 197540 w 240400"/>
              <a:gd name="connsiteY419" fmla="*/ 1208817 h 1232474"/>
              <a:gd name="connsiteX420" fmla="*/ 200490 w 240400"/>
              <a:gd name="connsiteY420" fmla="*/ 1207486 h 1232474"/>
              <a:gd name="connsiteX421" fmla="*/ 216397 w 240400"/>
              <a:gd name="connsiteY421" fmla="*/ 1211477 h 1232474"/>
              <a:gd name="connsiteX422" fmla="*/ 227272 w 240400"/>
              <a:gd name="connsiteY422" fmla="*/ 1213907 h 1232474"/>
              <a:gd name="connsiteX423" fmla="*/ 233057 w 240400"/>
              <a:gd name="connsiteY423" fmla="*/ 1209858 h 1232474"/>
              <a:gd name="connsiteX424" fmla="*/ 234213 w 240400"/>
              <a:gd name="connsiteY424" fmla="*/ 1207776 h 1232474"/>
              <a:gd name="connsiteX425" fmla="*/ 218364 w 240400"/>
              <a:gd name="connsiteY425" fmla="*/ 1206214 h 1232474"/>
              <a:gd name="connsiteX426" fmla="*/ 201878 w 240400"/>
              <a:gd name="connsiteY426" fmla="*/ 1206850 h 1232474"/>
              <a:gd name="connsiteX427" fmla="*/ 192450 w 240400"/>
              <a:gd name="connsiteY427" fmla="*/ 1206850 h 1232474"/>
              <a:gd name="connsiteX428" fmla="*/ 191293 w 240400"/>
              <a:gd name="connsiteY428" fmla="*/ 1116671 h 1232474"/>
              <a:gd name="connsiteX429" fmla="*/ 187764 w 240400"/>
              <a:gd name="connsiteY429" fmla="*/ 1116671 h 1232474"/>
              <a:gd name="connsiteX430" fmla="*/ 183889 w 240400"/>
              <a:gd name="connsiteY430" fmla="*/ 1116671 h 1232474"/>
              <a:gd name="connsiteX431" fmla="*/ 168097 w 240400"/>
              <a:gd name="connsiteY431" fmla="*/ 1112275 h 1232474"/>
              <a:gd name="connsiteX432" fmla="*/ 166998 w 240400"/>
              <a:gd name="connsiteY432" fmla="*/ 1104870 h 1232474"/>
              <a:gd name="connsiteX433" fmla="*/ 169370 w 240400"/>
              <a:gd name="connsiteY433" fmla="*/ 1100937 h 1232474"/>
              <a:gd name="connsiteX434" fmla="*/ 156297 w 240400"/>
              <a:gd name="connsiteY434" fmla="*/ 1093706 h 1232474"/>
              <a:gd name="connsiteX435" fmla="*/ 140737 w 240400"/>
              <a:gd name="connsiteY435" fmla="*/ 1092318 h 1232474"/>
              <a:gd name="connsiteX436" fmla="*/ 108344 w 240400"/>
              <a:gd name="connsiteY436" fmla="*/ 1094516 h 1232474"/>
              <a:gd name="connsiteX437" fmla="*/ 98973 w 240400"/>
              <a:gd name="connsiteY437" fmla="*/ 1087402 h 1232474"/>
              <a:gd name="connsiteX438" fmla="*/ 95040 w 240400"/>
              <a:gd name="connsiteY438" fmla="*/ 1083063 h 1232474"/>
              <a:gd name="connsiteX439" fmla="*/ 92842 w 240400"/>
              <a:gd name="connsiteY439" fmla="*/ 1081791 h 1232474"/>
              <a:gd name="connsiteX440" fmla="*/ 92321 w 240400"/>
              <a:gd name="connsiteY440" fmla="*/ 1050439 h 1232474"/>
              <a:gd name="connsiteX441" fmla="*/ 92321 w 240400"/>
              <a:gd name="connsiteY441" fmla="*/ 1047663 h 1232474"/>
              <a:gd name="connsiteX442" fmla="*/ 79191 w 240400"/>
              <a:gd name="connsiteY442" fmla="*/ 1045117 h 1232474"/>
              <a:gd name="connsiteX443" fmla="*/ 67622 w 240400"/>
              <a:gd name="connsiteY443" fmla="*/ 1043556 h 1232474"/>
              <a:gd name="connsiteX444" fmla="*/ 64787 w 240400"/>
              <a:gd name="connsiteY444" fmla="*/ 1035689 h 1232474"/>
              <a:gd name="connsiteX445" fmla="*/ 62416 w 240400"/>
              <a:gd name="connsiteY445" fmla="*/ 1025277 h 1232474"/>
              <a:gd name="connsiteX446" fmla="*/ 60275 w 240400"/>
              <a:gd name="connsiteY446" fmla="*/ 1003238 h 1232474"/>
              <a:gd name="connsiteX447" fmla="*/ 61317 w 240400"/>
              <a:gd name="connsiteY447" fmla="*/ 998957 h 1232474"/>
              <a:gd name="connsiteX448" fmla="*/ 77166 w 240400"/>
              <a:gd name="connsiteY448" fmla="*/ 979927 h 1232474"/>
              <a:gd name="connsiteX449" fmla="*/ 81852 w 240400"/>
              <a:gd name="connsiteY449" fmla="*/ 973332 h 1232474"/>
              <a:gd name="connsiteX450" fmla="*/ 88041 w 240400"/>
              <a:gd name="connsiteY450" fmla="*/ 961243 h 1232474"/>
              <a:gd name="connsiteX451" fmla="*/ 87636 w 240400"/>
              <a:gd name="connsiteY451" fmla="*/ 951699 h 1232474"/>
              <a:gd name="connsiteX452" fmla="*/ 87173 w 240400"/>
              <a:gd name="connsiteY452" fmla="*/ 940130 h 1232474"/>
              <a:gd name="connsiteX453" fmla="*/ 90759 w 240400"/>
              <a:gd name="connsiteY453" fmla="*/ 931742 h 1232474"/>
              <a:gd name="connsiteX454" fmla="*/ 99147 w 240400"/>
              <a:gd name="connsiteY454" fmla="*/ 921851 h 1232474"/>
              <a:gd name="connsiteX455" fmla="*/ 103427 w 240400"/>
              <a:gd name="connsiteY455" fmla="*/ 912943 h 1232474"/>
              <a:gd name="connsiteX456" fmla="*/ 107245 w 240400"/>
              <a:gd name="connsiteY456" fmla="*/ 902994 h 1232474"/>
              <a:gd name="connsiteX457" fmla="*/ 109443 w 240400"/>
              <a:gd name="connsiteY457" fmla="*/ 901548 h 1232474"/>
              <a:gd name="connsiteX458" fmla="*/ 108576 w 240400"/>
              <a:gd name="connsiteY458" fmla="*/ 895127 h 1232474"/>
              <a:gd name="connsiteX459" fmla="*/ 107245 w 240400"/>
              <a:gd name="connsiteY459" fmla="*/ 882517 h 1232474"/>
              <a:gd name="connsiteX460" fmla="*/ 106725 w 240400"/>
              <a:gd name="connsiteY460" fmla="*/ 872741 h 1232474"/>
              <a:gd name="connsiteX461" fmla="*/ 112046 w 240400"/>
              <a:gd name="connsiteY461" fmla="*/ 860421 h 1232474"/>
              <a:gd name="connsiteX462" fmla="*/ 116616 w 240400"/>
              <a:gd name="connsiteY462" fmla="*/ 856256 h 1232474"/>
              <a:gd name="connsiteX463" fmla="*/ 107650 w 240400"/>
              <a:gd name="connsiteY463" fmla="*/ 844282 h 1232474"/>
              <a:gd name="connsiteX464" fmla="*/ 104642 w 240400"/>
              <a:gd name="connsiteY464" fmla="*/ 839249 h 1232474"/>
              <a:gd name="connsiteX465" fmla="*/ 118988 w 240400"/>
              <a:gd name="connsiteY465" fmla="*/ 836531 h 1232474"/>
              <a:gd name="connsiteX466" fmla="*/ 121880 w 240400"/>
              <a:gd name="connsiteY466" fmla="*/ 835547 h 1232474"/>
              <a:gd name="connsiteX467" fmla="*/ 122690 w 240400"/>
              <a:gd name="connsiteY467" fmla="*/ 833060 h 1232474"/>
              <a:gd name="connsiteX468" fmla="*/ 116905 w 240400"/>
              <a:gd name="connsiteY468" fmla="*/ 826234 h 1232474"/>
              <a:gd name="connsiteX469" fmla="*/ 115401 w 240400"/>
              <a:gd name="connsiteY469" fmla="*/ 826234 h 1232474"/>
              <a:gd name="connsiteX470" fmla="*/ 103080 w 240400"/>
              <a:gd name="connsiteY470" fmla="*/ 821549 h 1232474"/>
              <a:gd name="connsiteX471" fmla="*/ 106088 w 240400"/>
              <a:gd name="connsiteY471" fmla="*/ 810443 h 1232474"/>
              <a:gd name="connsiteX472" fmla="*/ 104584 w 240400"/>
              <a:gd name="connsiteY472" fmla="*/ 800957 h 1232474"/>
              <a:gd name="connsiteX473" fmla="*/ 101750 w 240400"/>
              <a:gd name="connsiteY473" fmla="*/ 793495 h 1232474"/>
              <a:gd name="connsiteX474" fmla="*/ 99725 w 240400"/>
              <a:gd name="connsiteY474" fmla="*/ 780190 h 1232474"/>
              <a:gd name="connsiteX475" fmla="*/ 97990 w 240400"/>
              <a:gd name="connsiteY475" fmla="*/ 759829 h 1232474"/>
              <a:gd name="connsiteX476" fmla="*/ 104237 w 240400"/>
              <a:gd name="connsiteY476" fmla="*/ 749417 h 1232474"/>
              <a:gd name="connsiteX477" fmla="*/ 105510 w 240400"/>
              <a:gd name="connsiteY477" fmla="*/ 728362 h 1232474"/>
              <a:gd name="connsiteX478" fmla="*/ 104931 w 240400"/>
              <a:gd name="connsiteY478" fmla="*/ 721016 h 1232474"/>
              <a:gd name="connsiteX479" fmla="*/ 102039 w 240400"/>
              <a:gd name="connsiteY479" fmla="*/ 712050 h 1232474"/>
              <a:gd name="connsiteX480" fmla="*/ 99205 w 240400"/>
              <a:gd name="connsiteY480" fmla="*/ 701985 h 1232474"/>
              <a:gd name="connsiteX481" fmla="*/ 102270 w 240400"/>
              <a:gd name="connsiteY481" fmla="*/ 695796 h 1232474"/>
              <a:gd name="connsiteX482" fmla="*/ 106551 w 240400"/>
              <a:gd name="connsiteY482" fmla="*/ 683301 h 1232474"/>
              <a:gd name="connsiteX483" fmla="*/ 114880 w 240400"/>
              <a:gd name="connsiteY483" fmla="*/ 664965 h 1232474"/>
              <a:gd name="connsiteX484" fmla="*/ 115980 w 240400"/>
              <a:gd name="connsiteY484" fmla="*/ 654264 h 1232474"/>
              <a:gd name="connsiteX485" fmla="*/ 115575 w 240400"/>
              <a:gd name="connsiteY485" fmla="*/ 645413 h 1232474"/>
              <a:gd name="connsiteX486" fmla="*/ 122805 w 240400"/>
              <a:gd name="connsiteY486" fmla="*/ 640844 h 1232474"/>
              <a:gd name="connsiteX487" fmla="*/ 131193 w 240400"/>
              <a:gd name="connsiteY487" fmla="*/ 634712 h 1232474"/>
              <a:gd name="connsiteX488" fmla="*/ 127664 w 240400"/>
              <a:gd name="connsiteY488" fmla="*/ 625920 h 1232474"/>
              <a:gd name="connsiteX489" fmla="*/ 124656 w 240400"/>
              <a:gd name="connsiteY489" fmla="*/ 619094 h 1232474"/>
              <a:gd name="connsiteX490" fmla="*/ 124656 w 240400"/>
              <a:gd name="connsiteY490" fmla="*/ 602666 h 1232474"/>
              <a:gd name="connsiteX491" fmla="*/ 123731 w 240400"/>
              <a:gd name="connsiteY491" fmla="*/ 583231 h 1232474"/>
              <a:gd name="connsiteX492" fmla="*/ 139985 w 240400"/>
              <a:gd name="connsiteY492" fmla="*/ 558473 h 1232474"/>
              <a:gd name="connsiteX493" fmla="*/ 144613 w 240400"/>
              <a:gd name="connsiteY493" fmla="*/ 555350 h 1232474"/>
              <a:gd name="connsiteX494" fmla="*/ 143861 w 240400"/>
              <a:gd name="connsiteY494" fmla="*/ 539558 h 1232474"/>
              <a:gd name="connsiteX495" fmla="*/ 144902 w 240400"/>
              <a:gd name="connsiteY495" fmla="*/ 520701 h 1232474"/>
              <a:gd name="connsiteX496" fmla="*/ 149067 w 240400"/>
              <a:gd name="connsiteY496" fmla="*/ 511272 h 1232474"/>
              <a:gd name="connsiteX497" fmla="*/ 152884 w 240400"/>
              <a:gd name="connsiteY497" fmla="*/ 501092 h 1232474"/>
              <a:gd name="connsiteX498" fmla="*/ 157570 w 240400"/>
              <a:gd name="connsiteY498" fmla="*/ 489523 h 1232474"/>
              <a:gd name="connsiteX499" fmla="*/ 159883 w 240400"/>
              <a:gd name="connsiteY499" fmla="*/ 478937 h 1232474"/>
              <a:gd name="connsiteX500" fmla="*/ 157107 w 240400"/>
              <a:gd name="connsiteY500" fmla="*/ 466270 h 1232474"/>
              <a:gd name="connsiteX501" fmla="*/ 153289 w 240400"/>
              <a:gd name="connsiteY501" fmla="*/ 455568 h 1232474"/>
              <a:gd name="connsiteX502" fmla="*/ 144323 w 240400"/>
              <a:gd name="connsiteY502" fmla="*/ 429307 h 1232474"/>
              <a:gd name="connsiteX503" fmla="*/ 141489 w 240400"/>
              <a:gd name="connsiteY503" fmla="*/ 400963 h 1232474"/>
              <a:gd name="connsiteX504" fmla="*/ 145249 w 240400"/>
              <a:gd name="connsiteY504" fmla="*/ 397955 h 1232474"/>
              <a:gd name="connsiteX505" fmla="*/ 147910 w 240400"/>
              <a:gd name="connsiteY505" fmla="*/ 391130 h 1232474"/>
              <a:gd name="connsiteX506" fmla="*/ 156413 w 240400"/>
              <a:gd name="connsiteY506" fmla="*/ 376669 h 1232474"/>
              <a:gd name="connsiteX507" fmla="*/ 159826 w 240400"/>
              <a:gd name="connsiteY507" fmla="*/ 374066 h 1232474"/>
              <a:gd name="connsiteX508" fmla="*/ 155661 w 240400"/>
              <a:gd name="connsiteY508" fmla="*/ 350292 h 1232474"/>
              <a:gd name="connsiteX509" fmla="*/ 159131 w 240400"/>
              <a:gd name="connsiteY509" fmla="*/ 340227 h 1232474"/>
              <a:gd name="connsiteX510" fmla="*/ 163007 w 240400"/>
              <a:gd name="connsiteY510" fmla="*/ 335079 h 1232474"/>
              <a:gd name="connsiteX511" fmla="*/ 175964 w 240400"/>
              <a:gd name="connsiteY511" fmla="*/ 309511 h 1232474"/>
              <a:gd name="connsiteX512" fmla="*/ 183484 w 240400"/>
              <a:gd name="connsiteY512" fmla="*/ 287531 h 1232474"/>
              <a:gd name="connsiteX513" fmla="*/ 193086 w 240400"/>
              <a:gd name="connsiteY513" fmla="*/ 278044 h 1232474"/>
              <a:gd name="connsiteX514" fmla="*/ 200259 w 240400"/>
              <a:gd name="connsiteY514" fmla="*/ 273590 h 1232474"/>
              <a:gd name="connsiteX515" fmla="*/ 198928 w 240400"/>
              <a:gd name="connsiteY515" fmla="*/ 266822 h 1232474"/>
              <a:gd name="connsiteX516" fmla="*/ 196325 w 240400"/>
              <a:gd name="connsiteY516" fmla="*/ 259129 h 1232474"/>
              <a:gd name="connsiteX517" fmla="*/ 199680 w 240400"/>
              <a:gd name="connsiteY517" fmla="*/ 255369 h 1232474"/>
              <a:gd name="connsiteX518" fmla="*/ 198523 w 240400"/>
              <a:gd name="connsiteY518" fmla="*/ 239289 h 1232474"/>
              <a:gd name="connsiteX519" fmla="*/ 197019 w 240400"/>
              <a:gd name="connsiteY519" fmla="*/ 226042 h 1232474"/>
              <a:gd name="connsiteX520" fmla="*/ 198639 w 240400"/>
              <a:gd name="connsiteY520" fmla="*/ 214878 h 1232474"/>
              <a:gd name="connsiteX521" fmla="*/ 198234 w 240400"/>
              <a:gd name="connsiteY521" fmla="*/ 207011 h 1232474"/>
              <a:gd name="connsiteX522" fmla="*/ 216050 w 240400"/>
              <a:gd name="connsiteY522" fmla="*/ 191972 h 1232474"/>
              <a:gd name="connsiteX523" fmla="*/ 229528 w 240400"/>
              <a:gd name="connsiteY523" fmla="*/ 182023 h 1232474"/>
              <a:gd name="connsiteX524" fmla="*/ 234850 w 240400"/>
              <a:gd name="connsiteY524" fmla="*/ 152753 h 1232474"/>
              <a:gd name="connsiteX525" fmla="*/ 221430 w 240400"/>
              <a:gd name="connsiteY525" fmla="*/ 158538 h 1232474"/>
              <a:gd name="connsiteX526" fmla="*/ 217901 w 240400"/>
              <a:gd name="connsiteY526" fmla="*/ 156571 h 1232474"/>
              <a:gd name="connsiteX527" fmla="*/ 216687 w 240400"/>
              <a:gd name="connsiteY527" fmla="*/ 146680 h 1232474"/>
              <a:gd name="connsiteX528" fmla="*/ 211712 w 240400"/>
              <a:gd name="connsiteY528" fmla="*/ 127071 h 1232474"/>
              <a:gd name="connsiteX529" fmla="*/ 206564 w 240400"/>
              <a:gd name="connsiteY529" fmla="*/ 112667 h 1232474"/>
              <a:gd name="connsiteX530" fmla="*/ 202341 w 240400"/>
              <a:gd name="connsiteY530" fmla="*/ 102255 h 1232474"/>
              <a:gd name="connsiteX531" fmla="*/ 189847 w 240400"/>
              <a:gd name="connsiteY531" fmla="*/ 84902 h 1232474"/>
              <a:gd name="connsiteX532" fmla="*/ 192450 w 240400"/>
              <a:gd name="connsiteY532" fmla="*/ 77729 h 1232474"/>
              <a:gd name="connsiteX533" fmla="*/ 195111 w 240400"/>
              <a:gd name="connsiteY533" fmla="*/ 68648 h 1232474"/>
              <a:gd name="connsiteX534" fmla="*/ 198061 w 240400"/>
              <a:gd name="connsiteY534" fmla="*/ 58467 h 1232474"/>
              <a:gd name="connsiteX535" fmla="*/ 199449 w 240400"/>
              <a:gd name="connsiteY535" fmla="*/ 56500 h 1232474"/>
              <a:gd name="connsiteX536" fmla="*/ 195689 w 240400"/>
              <a:gd name="connsiteY536" fmla="*/ 52914 h 1232474"/>
              <a:gd name="connsiteX537" fmla="*/ 186608 w 240400"/>
              <a:gd name="connsiteY537" fmla="*/ 44642 h 1232474"/>
              <a:gd name="connsiteX538" fmla="*/ 183657 w 240400"/>
              <a:gd name="connsiteY538" fmla="*/ 28909 h 1232474"/>
              <a:gd name="connsiteX539" fmla="*/ 180302 w 240400"/>
              <a:gd name="connsiteY539" fmla="*/ 15778 h 1232474"/>
              <a:gd name="connsiteX540" fmla="*/ 171105 w 240400"/>
              <a:gd name="connsiteY540" fmla="*/ 4846 h 1232474"/>
              <a:gd name="connsiteX541" fmla="*/ 170006 w 240400"/>
              <a:gd name="connsiteY541" fmla="*/ 3110 h 1232474"/>
              <a:gd name="connsiteX542" fmla="*/ 170006 w 240400"/>
              <a:gd name="connsiteY542" fmla="*/ 3110 h 1232474"/>
              <a:gd name="connsiteX543" fmla="*/ 168155 w 240400"/>
              <a:gd name="connsiteY543" fmla="*/ 8895 h 1232474"/>
              <a:gd name="connsiteX544" fmla="*/ 158264 w 240400"/>
              <a:gd name="connsiteY544" fmla="*/ 25612 h 1232474"/>
              <a:gd name="connsiteX545" fmla="*/ 152942 w 240400"/>
              <a:gd name="connsiteY545" fmla="*/ 29429 h 1232474"/>
              <a:gd name="connsiteX546" fmla="*/ 152537 w 240400"/>
              <a:gd name="connsiteY546" fmla="*/ 36313 h 1232474"/>
              <a:gd name="connsiteX547" fmla="*/ 153116 w 240400"/>
              <a:gd name="connsiteY547" fmla="*/ 53088 h 1232474"/>
              <a:gd name="connsiteX548" fmla="*/ 155024 w 240400"/>
              <a:gd name="connsiteY548" fmla="*/ 124005 h 1232474"/>
              <a:gd name="connsiteX549" fmla="*/ 144092 w 240400"/>
              <a:gd name="connsiteY549" fmla="*/ 165306 h 1232474"/>
              <a:gd name="connsiteX550" fmla="*/ 146637 w 240400"/>
              <a:gd name="connsiteY550" fmla="*/ 174618 h 1232474"/>
              <a:gd name="connsiteX551" fmla="*/ 147447 w 240400"/>
              <a:gd name="connsiteY551" fmla="*/ 181502 h 1232474"/>
              <a:gd name="connsiteX552" fmla="*/ 144555 w 240400"/>
              <a:gd name="connsiteY552" fmla="*/ 204640 h 1232474"/>
              <a:gd name="connsiteX553" fmla="*/ 144555 w 240400"/>
              <a:gd name="connsiteY553" fmla="*/ 217192 h 1232474"/>
              <a:gd name="connsiteX554" fmla="*/ 136804 w 240400"/>
              <a:gd name="connsiteY554" fmla="*/ 259650 h 1232474"/>
              <a:gd name="connsiteX555" fmla="*/ 132465 w 240400"/>
              <a:gd name="connsiteY555" fmla="*/ 279606 h 1232474"/>
              <a:gd name="connsiteX556" fmla="*/ 128705 w 240400"/>
              <a:gd name="connsiteY556" fmla="*/ 292216 h 1232474"/>
              <a:gd name="connsiteX557" fmla="*/ 125177 w 240400"/>
              <a:gd name="connsiteY557" fmla="*/ 307950 h 1232474"/>
              <a:gd name="connsiteX558" fmla="*/ 112683 w 240400"/>
              <a:gd name="connsiteY558" fmla="*/ 332534 h 1232474"/>
              <a:gd name="connsiteX559" fmla="*/ 117079 w 240400"/>
              <a:gd name="connsiteY559" fmla="*/ 348094 h 1232474"/>
              <a:gd name="connsiteX560" fmla="*/ 123384 w 240400"/>
              <a:gd name="connsiteY560" fmla="*/ 364463 h 1232474"/>
              <a:gd name="connsiteX561" fmla="*/ 118409 w 240400"/>
              <a:gd name="connsiteY561" fmla="*/ 375107 h 1232474"/>
              <a:gd name="connsiteX562" fmla="*/ 113087 w 240400"/>
              <a:gd name="connsiteY562" fmla="*/ 393848 h 1232474"/>
              <a:gd name="connsiteX563" fmla="*/ 113550 w 240400"/>
              <a:gd name="connsiteY563" fmla="*/ 445908 h 1232474"/>
              <a:gd name="connsiteX564" fmla="*/ 113087 w 240400"/>
              <a:gd name="connsiteY564" fmla="*/ 454238 h 1232474"/>
              <a:gd name="connsiteX565" fmla="*/ 110138 w 240400"/>
              <a:gd name="connsiteY565" fmla="*/ 460716 h 1232474"/>
              <a:gd name="connsiteX566" fmla="*/ 107014 w 240400"/>
              <a:gd name="connsiteY566" fmla="*/ 472806 h 1232474"/>
              <a:gd name="connsiteX567" fmla="*/ 103254 w 240400"/>
              <a:gd name="connsiteY567" fmla="*/ 488771 h 1232474"/>
              <a:gd name="connsiteX568" fmla="*/ 97470 w 240400"/>
              <a:gd name="connsiteY568" fmla="*/ 507050 h 1232474"/>
              <a:gd name="connsiteX569" fmla="*/ 81852 w 240400"/>
              <a:gd name="connsiteY569" fmla="*/ 552342 h 1232474"/>
              <a:gd name="connsiteX570" fmla="*/ 76067 w 240400"/>
              <a:gd name="connsiteY570" fmla="*/ 565472 h 1232474"/>
              <a:gd name="connsiteX571" fmla="*/ 72712 w 240400"/>
              <a:gd name="connsiteY571" fmla="*/ 575075 h 1232474"/>
              <a:gd name="connsiteX572" fmla="*/ 62300 w 240400"/>
              <a:gd name="connsiteY572" fmla="*/ 587974 h 1232474"/>
              <a:gd name="connsiteX573" fmla="*/ 57673 w 240400"/>
              <a:gd name="connsiteY573" fmla="*/ 590172 h 1232474"/>
              <a:gd name="connsiteX574" fmla="*/ 59697 w 240400"/>
              <a:gd name="connsiteY574" fmla="*/ 606368 h 1232474"/>
              <a:gd name="connsiteX575" fmla="*/ 61027 w 240400"/>
              <a:gd name="connsiteY575" fmla="*/ 623259 h 1232474"/>
              <a:gd name="connsiteX576" fmla="*/ 63226 w 240400"/>
              <a:gd name="connsiteY576" fmla="*/ 640612 h 1232474"/>
              <a:gd name="connsiteX577" fmla="*/ 65424 w 240400"/>
              <a:gd name="connsiteY577" fmla="*/ 666642 h 1232474"/>
              <a:gd name="connsiteX578" fmla="*/ 64556 w 240400"/>
              <a:gd name="connsiteY578" fmla="*/ 669477 h 1232474"/>
              <a:gd name="connsiteX579" fmla="*/ 59755 w 240400"/>
              <a:gd name="connsiteY579" fmla="*/ 679773 h 1232474"/>
              <a:gd name="connsiteX580" fmla="*/ 56111 w 240400"/>
              <a:gd name="connsiteY580" fmla="*/ 692094 h 1232474"/>
              <a:gd name="connsiteX581" fmla="*/ 53508 w 240400"/>
              <a:gd name="connsiteY581" fmla="*/ 704588 h 1232474"/>
              <a:gd name="connsiteX582" fmla="*/ 52409 w 240400"/>
              <a:gd name="connsiteY582" fmla="*/ 723792 h 1232474"/>
              <a:gd name="connsiteX583" fmla="*/ 54491 w 240400"/>
              <a:gd name="connsiteY583" fmla="*/ 739352 h 1232474"/>
              <a:gd name="connsiteX584" fmla="*/ 48707 w 240400"/>
              <a:gd name="connsiteY584" fmla="*/ 741666 h 1232474"/>
              <a:gd name="connsiteX585" fmla="*/ 38295 w 240400"/>
              <a:gd name="connsiteY585" fmla="*/ 770588 h 1232474"/>
              <a:gd name="connsiteX586" fmla="*/ 38295 w 240400"/>
              <a:gd name="connsiteY586" fmla="*/ 786958 h 1232474"/>
              <a:gd name="connsiteX587" fmla="*/ 48764 w 240400"/>
              <a:gd name="connsiteY587" fmla="*/ 787652 h 1232474"/>
              <a:gd name="connsiteX588" fmla="*/ 49864 w 240400"/>
              <a:gd name="connsiteY588" fmla="*/ 787652 h 1232474"/>
              <a:gd name="connsiteX589" fmla="*/ 56979 w 240400"/>
              <a:gd name="connsiteY589" fmla="*/ 759540 h 1232474"/>
              <a:gd name="connsiteX590" fmla="*/ 57557 w 240400"/>
              <a:gd name="connsiteY590" fmla="*/ 744558 h 1232474"/>
              <a:gd name="connsiteX591" fmla="*/ 62184 w 240400"/>
              <a:gd name="connsiteY591" fmla="*/ 737617 h 1232474"/>
              <a:gd name="connsiteX592" fmla="*/ 66176 w 240400"/>
              <a:gd name="connsiteY592" fmla="*/ 734262 h 1232474"/>
              <a:gd name="connsiteX593" fmla="*/ 71960 w 240400"/>
              <a:gd name="connsiteY593" fmla="*/ 727321 h 1232474"/>
              <a:gd name="connsiteX594" fmla="*/ 77108 w 240400"/>
              <a:gd name="connsiteY594" fmla="*/ 727899 h 1232474"/>
              <a:gd name="connsiteX595" fmla="*/ 78092 w 240400"/>
              <a:gd name="connsiteY595" fmla="*/ 732758 h 1232474"/>
              <a:gd name="connsiteX596" fmla="*/ 79827 w 240400"/>
              <a:gd name="connsiteY596" fmla="*/ 737617 h 1232474"/>
              <a:gd name="connsiteX597" fmla="*/ 87173 w 240400"/>
              <a:gd name="connsiteY597" fmla="*/ 744038 h 1232474"/>
              <a:gd name="connsiteX598" fmla="*/ 81909 w 240400"/>
              <a:gd name="connsiteY598" fmla="*/ 751731 h 1232474"/>
              <a:gd name="connsiteX599" fmla="*/ 80001 w 240400"/>
              <a:gd name="connsiteY599" fmla="*/ 763300 h 1232474"/>
              <a:gd name="connsiteX600" fmla="*/ 80001 w 240400"/>
              <a:gd name="connsiteY600" fmla="*/ 774522 h 1232474"/>
              <a:gd name="connsiteX601" fmla="*/ 78381 w 240400"/>
              <a:gd name="connsiteY601" fmla="*/ 777009 h 1232474"/>
              <a:gd name="connsiteX602" fmla="*/ 73406 w 240400"/>
              <a:gd name="connsiteY602" fmla="*/ 795230 h 1232474"/>
              <a:gd name="connsiteX603" fmla="*/ 72134 w 240400"/>
              <a:gd name="connsiteY603" fmla="*/ 804717 h 1232474"/>
              <a:gd name="connsiteX604" fmla="*/ 68663 w 240400"/>
              <a:gd name="connsiteY604" fmla="*/ 813335 h 1232474"/>
              <a:gd name="connsiteX605" fmla="*/ 70572 w 240400"/>
              <a:gd name="connsiteY605" fmla="*/ 822474 h 1232474"/>
              <a:gd name="connsiteX606" fmla="*/ 69299 w 240400"/>
              <a:gd name="connsiteY606" fmla="*/ 827565 h 1232474"/>
              <a:gd name="connsiteX607" fmla="*/ 69994 w 240400"/>
              <a:gd name="connsiteY607" fmla="*/ 831961 h 1232474"/>
              <a:gd name="connsiteX608" fmla="*/ 71035 w 240400"/>
              <a:gd name="connsiteY608" fmla="*/ 837745 h 1232474"/>
              <a:gd name="connsiteX609" fmla="*/ 68374 w 240400"/>
              <a:gd name="connsiteY609" fmla="*/ 839481 h 1232474"/>
              <a:gd name="connsiteX610" fmla="*/ 66349 w 240400"/>
              <a:gd name="connsiteY610" fmla="*/ 840753 h 1232474"/>
              <a:gd name="connsiteX611" fmla="*/ 70341 w 240400"/>
              <a:gd name="connsiteY611" fmla="*/ 854173 h 1232474"/>
              <a:gd name="connsiteX612" fmla="*/ 70861 w 240400"/>
              <a:gd name="connsiteY612" fmla="*/ 858454 h 1232474"/>
              <a:gd name="connsiteX613" fmla="*/ 64614 w 240400"/>
              <a:gd name="connsiteY613" fmla="*/ 860825 h 1232474"/>
              <a:gd name="connsiteX614" fmla="*/ 56111 w 240400"/>
              <a:gd name="connsiteY614" fmla="*/ 863428 h 1232474"/>
              <a:gd name="connsiteX615" fmla="*/ 56921 w 240400"/>
              <a:gd name="connsiteY615" fmla="*/ 870775 h 1232474"/>
              <a:gd name="connsiteX616" fmla="*/ 58829 w 240400"/>
              <a:gd name="connsiteY616" fmla="*/ 881302 h 1232474"/>
              <a:gd name="connsiteX617" fmla="*/ 54433 w 240400"/>
              <a:gd name="connsiteY617" fmla="*/ 884079 h 1232474"/>
              <a:gd name="connsiteX618" fmla="*/ 41418 w 240400"/>
              <a:gd name="connsiteY618" fmla="*/ 875980 h 1232474"/>
              <a:gd name="connsiteX619" fmla="*/ 39567 w 240400"/>
              <a:gd name="connsiteY619" fmla="*/ 874303 h 1232474"/>
              <a:gd name="connsiteX620" fmla="*/ 38179 w 240400"/>
              <a:gd name="connsiteY620" fmla="*/ 871700 h 1232474"/>
              <a:gd name="connsiteX621" fmla="*/ 45352 w 240400"/>
              <a:gd name="connsiteY621" fmla="*/ 861404 h 1232474"/>
              <a:gd name="connsiteX622" fmla="*/ 45352 w 240400"/>
              <a:gd name="connsiteY622" fmla="*/ 861404 h 1232474"/>
              <a:gd name="connsiteX623" fmla="*/ 39567 w 240400"/>
              <a:gd name="connsiteY623" fmla="*/ 861404 h 1232474"/>
              <a:gd name="connsiteX624" fmla="*/ 36559 w 240400"/>
              <a:gd name="connsiteY624" fmla="*/ 861404 h 1232474"/>
              <a:gd name="connsiteX625" fmla="*/ 34014 w 240400"/>
              <a:gd name="connsiteY625" fmla="*/ 862040 h 1232474"/>
              <a:gd name="connsiteX626" fmla="*/ 33609 w 240400"/>
              <a:gd name="connsiteY626" fmla="*/ 863949 h 1232474"/>
              <a:gd name="connsiteX627" fmla="*/ 25453 w 240400"/>
              <a:gd name="connsiteY627" fmla="*/ 872279 h 1232474"/>
              <a:gd name="connsiteX628" fmla="*/ 17529 w 240400"/>
              <a:gd name="connsiteY628" fmla="*/ 876270 h 1232474"/>
              <a:gd name="connsiteX629" fmla="*/ 18859 w 240400"/>
              <a:gd name="connsiteY629" fmla="*/ 883616 h 1232474"/>
              <a:gd name="connsiteX630" fmla="*/ 20652 w 240400"/>
              <a:gd name="connsiteY630" fmla="*/ 888070 h 1232474"/>
              <a:gd name="connsiteX631" fmla="*/ 18281 w 240400"/>
              <a:gd name="connsiteY631" fmla="*/ 889979 h 1232474"/>
              <a:gd name="connsiteX632" fmla="*/ 2084 w 240400"/>
              <a:gd name="connsiteY632" fmla="*/ 905308 h 1232474"/>
              <a:gd name="connsiteX633" fmla="*/ 2952 w 240400"/>
              <a:gd name="connsiteY633" fmla="*/ 908489 h 1232474"/>
              <a:gd name="connsiteX634" fmla="*/ 4572 w 240400"/>
              <a:gd name="connsiteY634" fmla="*/ 909299 h 1232474"/>
              <a:gd name="connsiteX635" fmla="*/ 6480 w 240400"/>
              <a:gd name="connsiteY635" fmla="*/ 906407 h 1232474"/>
              <a:gd name="connsiteX636" fmla="*/ 13173 w 240400"/>
              <a:gd name="connsiteY636" fmla="*/ 900032 h 1232474"/>
              <a:gd name="connsiteX637" fmla="*/ 13422 w 240400"/>
              <a:gd name="connsiteY637" fmla="*/ 900044 h 1232474"/>
              <a:gd name="connsiteX638" fmla="*/ 21404 w 240400"/>
              <a:gd name="connsiteY638" fmla="*/ 905828 h 1232474"/>
              <a:gd name="connsiteX639" fmla="*/ 24065 w 240400"/>
              <a:gd name="connsiteY639" fmla="*/ 908721 h 1232474"/>
              <a:gd name="connsiteX640" fmla="*/ 27073 w 240400"/>
              <a:gd name="connsiteY640" fmla="*/ 907968 h 1232474"/>
              <a:gd name="connsiteX641" fmla="*/ 33436 w 240400"/>
              <a:gd name="connsiteY641" fmla="*/ 906638 h 1232474"/>
              <a:gd name="connsiteX642" fmla="*/ 36328 w 240400"/>
              <a:gd name="connsiteY642" fmla="*/ 906985 h 1232474"/>
              <a:gd name="connsiteX643" fmla="*/ 43385 w 240400"/>
              <a:gd name="connsiteY643" fmla="*/ 917513 h 1232474"/>
              <a:gd name="connsiteX644" fmla="*/ 38353 w 240400"/>
              <a:gd name="connsiteY644" fmla="*/ 923297 h 1232474"/>
              <a:gd name="connsiteX645" fmla="*/ 34593 w 240400"/>
              <a:gd name="connsiteY645" fmla="*/ 925264 h 1232474"/>
              <a:gd name="connsiteX646" fmla="*/ 31180 w 240400"/>
              <a:gd name="connsiteY646" fmla="*/ 939031 h 1232474"/>
              <a:gd name="connsiteX647" fmla="*/ 36039 w 240400"/>
              <a:gd name="connsiteY647" fmla="*/ 942212 h 1232474"/>
              <a:gd name="connsiteX648" fmla="*/ 43906 w 240400"/>
              <a:gd name="connsiteY648" fmla="*/ 941171 h 1232474"/>
              <a:gd name="connsiteX649" fmla="*/ 55822 w 240400"/>
              <a:gd name="connsiteY649" fmla="*/ 940535 h 1232474"/>
              <a:gd name="connsiteX650" fmla="*/ 61143 w 240400"/>
              <a:gd name="connsiteY650" fmla="*/ 950426 h 1232474"/>
              <a:gd name="connsiteX651" fmla="*/ 57788 w 240400"/>
              <a:gd name="connsiteY651" fmla="*/ 954475 h 1232474"/>
              <a:gd name="connsiteX652" fmla="*/ 55301 w 240400"/>
              <a:gd name="connsiteY652" fmla="*/ 953261 h 1232474"/>
              <a:gd name="connsiteX653" fmla="*/ 43038 w 240400"/>
              <a:gd name="connsiteY653" fmla="*/ 946319 h 1232474"/>
              <a:gd name="connsiteX654" fmla="*/ 38873 w 240400"/>
              <a:gd name="connsiteY654" fmla="*/ 948864 h 1232474"/>
              <a:gd name="connsiteX655" fmla="*/ 31180 w 240400"/>
              <a:gd name="connsiteY655" fmla="*/ 953723 h 1232474"/>
              <a:gd name="connsiteX656" fmla="*/ 22098 w 240400"/>
              <a:gd name="connsiteY656" fmla="*/ 950947 h 1232474"/>
              <a:gd name="connsiteX657" fmla="*/ 21115 w 240400"/>
              <a:gd name="connsiteY657" fmla="*/ 950542 h 1232474"/>
              <a:gd name="connsiteX658" fmla="*/ 19900 w 240400"/>
              <a:gd name="connsiteY658" fmla="*/ 950542 h 1232474"/>
              <a:gd name="connsiteX659" fmla="*/ 3299 w 240400"/>
              <a:gd name="connsiteY659" fmla="*/ 961474 h 1232474"/>
              <a:gd name="connsiteX660" fmla="*/ 4051 w 240400"/>
              <a:gd name="connsiteY660" fmla="*/ 963962 h 1232474"/>
              <a:gd name="connsiteX661" fmla="*/ 10414 w 240400"/>
              <a:gd name="connsiteY661" fmla="*/ 972349 h 1232474"/>
              <a:gd name="connsiteX662" fmla="*/ 13248 w 240400"/>
              <a:gd name="connsiteY662" fmla="*/ 975878 h 1232474"/>
              <a:gd name="connsiteX663" fmla="*/ 26032 w 240400"/>
              <a:gd name="connsiteY663" fmla="*/ 968011 h 1232474"/>
              <a:gd name="connsiteX664" fmla="*/ 34246 w 240400"/>
              <a:gd name="connsiteY664" fmla="*/ 962226 h 1232474"/>
              <a:gd name="connsiteX665" fmla="*/ 39683 w 240400"/>
              <a:gd name="connsiteY665" fmla="*/ 969804 h 1232474"/>
              <a:gd name="connsiteX666" fmla="*/ 31296 w 240400"/>
              <a:gd name="connsiteY666" fmla="*/ 978944 h 1232474"/>
              <a:gd name="connsiteX667" fmla="*/ 25511 w 240400"/>
              <a:gd name="connsiteY667" fmla="*/ 981894 h 1232474"/>
              <a:gd name="connsiteX668" fmla="*/ 10587 w 240400"/>
              <a:gd name="connsiteY668" fmla="*/ 998668 h 1232474"/>
              <a:gd name="connsiteX669" fmla="*/ 8273 w 240400"/>
              <a:gd name="connsiteY669" fmla="*/ 1004858 h 1232474"/>
              <a:gd name="connsiteX670" fmla="*/ 15504 w 240400"/>
              <a:gd name="connsiteY670" fmla="*/ 1008328 h 1232474"/>
              <a:gd name="connsiteX671" fmla="*/ 19090 w 240400"/>
              <a:gd name="connsiteY671" fmla="*/ 1008328 h 1232474"/>
              <a:gd name="connsiteX672" fmla="*/ 19611 w 240400"/>
              <a:gd name="connsiteY672" fmla="*/ 1011510 h 1232474"/>
              <a:gd name="connsiteX673" fmla="*/ 22850 w 240400"/>
              <a:gd name="connsiteY673" fmla="*/ 1016774 h 1232474"/>
              <a:gd name="connsiteX674" fmla="*/ 29387 w 240400"/>
              <a:gd name="connsiteY674" fmla="*/ 1014807 h 1232474"/>
              <a:gd name="connsiteX675" fmla="*/ 30081 w 240400"/>
              <a:gd name="connsiteY675" fmla="*/ 1007345 h 1232474"/>
              <a:gd name="connsiteX676" fmla="*/ 32915 w 240400"/>
              <a:gd name="connsiteY676" fmla="*/ 994735 h 1232474"/>
              <a:gd name="connsiteX677" fmla="*/ 41794 w 240400"/>
              <a:gd name="connsiteY677" fmla="*/ 992172 h 1232474"/>
              <a:gd name="connsiteX678" fmla="*/ 43443 w 240400"/>
              <a:gd name="connsiteY678" fmla="*/ 993463 h 1232474"/>
              <a:gd name="connsiteX679" fmla="*/ 42922 w 240400"/>
              <a:gd name="connsiteY679" fmla="*/ 1007403 h 1232474"/>
              <a:gd name="connsiteX680" fmla="*/ 40146 w 240400"/>
              <a:gd name="connsiteY680" fmla="*/ 1013650 h 1232474"/>
              <a:gd name="connsiteX681" fmla="*/ 38063 w 240400"/>
              <a:gd name="connsiteY681" fmla="*/ 1023831 h 1232474"/>
              <a:gd name="connsiteX682" fmla="*/ 35923 w 240400"/>
              <a:gd name="connsiteY682" fmla="*/ 1034243 h 1232474"/>
              <a:gd name="connsiteX683" fmla="*/ 31527 w 240400"/>
              <a:gd name="connsiteY683" fmla="*/ 1040027 h 1232474"/>
              <a:gd name="connsiteX684" fmla="*/ 28635 w 240400"/>
              <a:gd name="connsiteY684" fmla="*/ 1044365 h 1232474"/>
              <a:gd name="connsiteX685" fmla="*/ 19669 w 240400"/>
              <a:gd name="connsiteY685" fmla="*/ 1050150 h 1232474"/>
              <a:gd name="connsiteX686" fmla="*/ 18338 w 240400"/>
              <a:gd name="connsiteY686" fmla="*/ 1050150 h 1232474"/>
              <a:gd name="connsiteX687" fmla="*/ 19033 w 240400"/>
              <a:gd name="connsiteY687" fmla="*/ 1050612 h 1232474"/>
              <a:gd name="connsiteX688" fmla="*/ 19958 w 240400"/>
              <a:gd name="connsiteY688" fmla="*/ 1061198 h 1232474"/>
              <a:gd name="connsiteX689" fmla="*/ 18686 w 240400"/>
              <a:gd name="connsiteY689" fmla="*/ 1066982 h 1232474"/>
              <a:gd name="connsiteX690" fmla="*/ 20016 w 240400"/>
              <a:gd name="connsiteY690" fmla="*/ 1067734 h 1232474"/>
              <a:gd name="connsiteX691" fmla="*/ 23487 w 240400"/>
              <a:gd name="connsiteY691" fmla="*/ 1065536 h 1232474"/>
              <a:gd name="connsiteX692" fmla="*/ 30486 w 240400"/>
              <a:gd name="connsiteY692" fmla="*/ 1061950 h 1232474"/>
              <a:gd name="connsiteX693" fmla="*/ 32742 w 240400"/>
              <a:gd name="connsiteY693" fmla="*/ 1062355 h 1232474"/>
              <a:gd name="connsiteX694" fmla="*/ 36559 w 240400"/>
              <a:gd name="connsiteY694" fmla="*/ 1063974 h 1232474"/>
              <a:gd name="connsiteX695" fmla="*/ 39567 w 240400"/>
              <a:gd name="connsiteY695" fmla="*/ 1064958 h 1232474"/>
              <a:gd name="connsiteX696" fmla="*/ 45988 w 240400"/>
              <a:gd name="connsiteY696" fmla="*/ 1062702 h 1232474"/>
              <a:gd name="connsiteX697" fmla="*/ 49864 w 240400"/>
              <a:gd name="connsiteY697" fmla="*/ 1061834 h 1232474"/>
              <a:gd name="connsiteX698" fmla="*/ 56921 w 240400"/>
              <a:gd name="connsiteY698" fmla="*/ 1067619 h 1232474"/>
              <a:gd name="connsiteX699" fmla="*/ 52177 w 240400"/>
              <a:gd name="connsiteY699" fmla="*/ 1074097 h 1232474"/>
              <a:gd name="connsiteX700" fmla="*/ 39741 w 240400"/>
              <a:gd name="connsiteY700" fmla="*/ 1083584 h 1232474"/>
              <a:gd name="connsiteX701" fmla="*/ 39394 w 240400"/>
              <a:gd name="connsiteY701" fmla="*/ 1084625 h 1232474"/>
              <a:gd name="connsiteX702" fmla="*/ 40146 w 240400"/>
              <a:gd name="connsiteY702" fmla="*/ 1084625 h 1232474"/>
              <a:gd name="connsiteX703" fmla="*/ 44253 w 240400"/>
              <a:gd name="connsiteY703" fmla="*/ 1083757 h 1232474"/>
              <a:gd name="connsiteX704" fmla="*/ 50442 w 240400"/>
              <a:gd name="connsiteY704" fmla="*/ 1082600 h 1232474"/>
              <a:gd name="connsiteX705" fmla="*/ 56574 w 240400"/>
              <a:gd name="connsiteY705" fmla="*/ 1087112 h 1232474"/>
              <a:gd name="connsiteX706" fmla="*/ 59755 w 240400"/>
              <a:gd name="connsiteY706" fmla="*/ 1091103 h 1232474"/>
              <a:gd name="connsiteX707" fmla="*/ 63457 w 240400"/>
              <a:gd name="connsiteY707" fmla="*/ 1084336 h 1232474"/>
              <a:gd name="connsiteX708" fmla="*/ 68067 w 240400"/>
              <a:gd name="connsiteY708" fmla="*/ 1079459 h 1232474"/>
              <a:gd name="connsiteX709" fmla="*/ 68605 w 240400"/>
              <a:gd name="connsiteY709" fmla="*/ 1079477 h 1232474"/>
              <a:gd name="connsiteX710" fmla="*/ 83240 w 240400"/>
              <a:gd name="connsiteY710" fmla="*/ 1090120 h 1232474"/>
              <a:gd name="connsiteX711" fmla="*/ 82430 w 240400"/>
              <a:gd name="connsiteY711" fmla="*/ 1094979 h 1232474"/>
              <a:gd name="connsiteX712" fmla="*/ 57731 w 240400"/>
              <a:gd name="connsiteY712" fmla="*/ 1101226 h 1232474"/>
              <a:gd name="connsiteX713" fmla="*/ 49343 w 240400"/>
              <a:gd name="connsiteY713" fmla="*/ 1105102 h 1232474"/>
              <a:gd name="connsiteX714" fmla="*/ 50905 w 240400"/>
              <a:gd name="connsiteY714" fmla="*/ 1115861 h 1232474"/>
              <a:gd name="connsiteX715" fmla="*/ 55706 w 240400"/>
              <a:gd name="connsiteY715" fmla="*/ 1118695 h 1232474"/>
              <a:gd name="connsiteX716" fmla="*/ 68374 w 240400"/>
              <a:gd name="connsiteY716" fmla="*/ 1109903 h 1232474"/>
              <a:gd name="connsiteX717" fmla="*/ 69126 w 240400"/>
              <a:gd name="connsiteY717" fmla="*/ 1108977 h 1232474"/>
              <a:gd name="connsiteX718" fmla="*/ 88214 w 240400"/>
              <a:gd name="connsiteY718" fmla="*/ 1104465 h 1232474"/>
              <a:gd name="connsiteX719" fmla="*/ 112798 w 240400"/>
              <a:gd name="connsiteY719" fmla="*/ 1111812 h 1232474"/>
              <a:gd name="connsiteX720" fmla="*/ 112798 w 240400"/>
              <a:gd name="connsiteY720" fmla="*/ 1115225 h 1232474"/>
              <a:gd name="connsiteX721" fmla="*/ 103427 w 240400"/>
              <a:gd name="connsiteY721" fmla="*/ 1117076 h 1232474"/>
              <a:gd name="connsiteX722" fmla="*/ 100824 w 240400"/>
              <a:gd name="connsiteY722" fmla="*/ 1117076 h 1232474"/>
              <a:gd name="connsiteX723" fmla="*/ 96081 w 240400"/>
              <a:gd name="connsiteY723" fmla="*/ 1118117 h 1232474"/>
              <a:gd name="connsiteX724" fmla="*/ 83009 w 240400"/>
              <a:gd name="connsiteY724" fmla="*/ 1123901 h 1232474"/>
              <a:gd name="connsiteX725" fmla="*/ 77224 w 240400"/>
              <a:gd name="connsiteY725" fmla="*/ 1120893 h 1232474"/>
              <a:gd name="connsiteX726" fmla="*/ 75431 w 240400"/>
              <a:gd name="connsiteY726" fmla="*/ 1119968 h 1232474"/>
              <a:gd name="connsiteX727" fmla="*/ 64267 w 240400"/>
              <a:gd name="connsiteY727" fmla="*/ 1130206 h 1232474"/>
              <a:gd name="connsiteX728" fmla="*/ 60623 w 240400"/>
              <a:gd name="connsiteY728" fmla="*/ 1137379 h 1232474"/>
              <a:gd name="connsiteX729" fmla="*/ 59697 w 240400"/>
              <a:gd name="connsiteY729" fmla="*/ 1138536 h 1232474"/>
              <a:gd name="connsiteX730" fmla="*/ 64035 w 240400"/>
              <a:gd name="connsiteY730" fmla="*/ 1139982 h 1232474"/>
              <a:gd name="connsiteX731" fmla="*/ 66465 w 240400"/>
              <a:gd name="connsiteY731" fmla="*/ 1140387 h 1232474"/>
              <a:gd name="connsiteX732" fmla="*/ 72249 w 240400"/>
              <a:gd name="connsiteY732" fmla="*/ 1136511 h 1232474"/>
              <a:gd name="connsiteX733" fmla="*/ 88446 w 240400"/>
              <a:gd name="connsiteY733" fmla="*/ 1129628 h 1232474"/>
              <a:gd name="connsiteX734" fmla="*/ 107303 w 240400"/>
              <a:gd name="connsiteY734" fmla="*/ 1123843 h 1232474"/>
              <a:gd name="connsiteX735" fmla="*/ 115401 w 240400"/>
              <a:gd name="connsiteY735" fmla="*/ 1120546 h 1232474"/>
              <a:gd name="connsiteX736" fmla="*/ 120318 w 240400"/>
              <a:gd name="connsiteY736" fmla="*/ 1124191 h 1232474"/>
              <a:gd name="connsiteX737" fmla="*/ 119971 w 240400"/>
              <a:gd name="connsiteY737" fmla="*/ 1132173 h 1232474"/>
              <a:gd name="connsiteX738" fmla="*/ 105221 w 240400"/>
              <a:gd name="connsiteY738" fmla="*/ 1139461 h 1232474"/>
              <a:gd name="connsiteX739" fmla="*/ 97990 w 240400"/>
              <a:gd name="connsiteY739" fmla="*/ 1137032 h 1232474"/>
              <a:gd name="connsiteX740" fmla="*/ 94520 w 240400"/>
              <a:gd name="connsiteY740" fmla="*/ 1135528 h 1232474"/>
              <a:gd name="connsiteX741" fmla="*/ 89950 w 240400"/>
              <a:gd name="connsiteY741" fmla="*/ 1137900 h 1232474"/>
              <a:gd name="connsiteX742" fmla="*/ 85958 w 240400"/>
              <a:gd name="connsiteY742" fmla="*/ 1149468 h 1232474"/>
              <a:gd name="connsiteX743" fmla="*/ 84917 w 240400"/>
              <a:gd name="connsiteY743" fmla="*/ 1152881 h 1232474"/>
              <a:gd name="connsiteX744" fmla="*/ 81157 w 240400"/>
              <a:gd name="connsiteY744" fmla="*/ 1154154 h 1232474"/>
              <a:gd name="connsiteX745" fmla="*/ 67391 w 240400"/>
              <a:gd name="connsiteY745" fmla="*/ 1150510 h 1232474"/>
              <a:gd name="connsiteX746" fmla="*/ 55822 w 240400"/>
              <a:gd name="connsiteY746" fmla="*/ 1147097 h 1232474"/>
              <a:gd name="connsiteX747" fmla="*/ 54491 w 240400"/>
              <a:gd name="connsiteY747" fmla="*/ 1147097 h 1232474"/>
              <a:gd name="connsiteX748" fmla="*/ 51715 w 240400"/>
              <a:gd name="connsiteY748" fmla="*/ 1148311 h 1232474"/>
              <a:gd name="connsiteX749" fmla="*/ 59813 w 240400"/>
              <a:gd name="connsiteY749" fmla="*/ 1163467 h 1232474"/>
              <a:gd name="connsiteX750" fmla="*/ 66928 w 240400"/>
              <a:gd name="connsiteY750" fmla="*/ 1167111 h 1232474"/>
              <a:gd name="connsiteX751" fmla="*/ 70514 w 240400"/>
              <a:gd name="connsiteY751" fmla="*/ 1166706 h 1232474"/>
              <a:gd name="connsiteX752" fmla="*/ 75026 w 240400"/>
              <a:gd name="connsiteY752" fmla="*/ 1166186 h 1232474"/>
              <a:gd name="connsiteX753" fmla="*/ 83240 w 240400"/>
              <a:gd name="connsiteY753" fmla="*/ 1168789 h 1232474"/>
              <a:gd name="connsiteX754" fmla="*/ 91049 w 240400"/>
              <a:gd name="connsiteY754" fmla="*/ 1175383 h 1232474"/>
              <a:gd name="connsiteX755" fmla="*/ 99436 w 240400"/>
              <a:gd name="connsiteY755" fmla="*/ 1176135 h 1232474"/>
              <a:gd name="connsiteX756" fmla="*/ 102097 w 240400"/>
              <a:gd name="connsiteY756" fmla="*/ 1172490 h 1232474"/>
              <a:gd name="connsiteX757" fmla="*/ 98973 w 240400"/>
              <a:gd name="connsiteY757" fmla="*/ 1170755 h 1232474"/>
              <a:gd name="connsiteX758" fmla="*/ 94751 w 240400"/>
              <a:gd name="connsiteY758" fmla="*/ 1168846 h 1232474"/>
              <a:gd name="connsiteX759" fmla="*/ 92495 w 240400"/>
              <a:gd name="connsiteY759" fmla="*/ 1162483 h 1232474"/>
              <a:gd name="connsiteX760" fmla="*/ 100130 w 240400"/>
              <a:gd name="connsiteY760" fmla="*/ 1157277 h 1232474"/>
              <a:gd name="connsiteX761" fmla="*/ 106725 w 240400"/>
              <a:gd name="connsiteY761" fmla="*/ 1158955 h 1232474"/>
              <a:gd name="connsiteX762" fmla="*/ 123731 w 240400"/>
              <a:gd name="connsiteY762" fmla="*/ 1154906 h 1232474"/>
              <a:gd name="connsiteX763" fmla="*/ 126334 w 240400"/>
              <a:gd name="connsiteY763" fmla="*/ 1140908 h 1232474"/>
              <a:gd name="connsiteX764" fmla="*/ 151265 w 240400"/>
              <a:gd name="connsiteY764" fmla="*/ 1113489 h 1232474"/>
              <a:gd name="connsiteX765" fmla="*/ 156413 w 240400"/>
              <a:gd name="connsiteY765" fmla="*/ 1112448 h 1232474"/>
              <a:gd name="connsiteX766" fmla="*/ 160404 w 240400"/>
              <a:gd name="connsiteY766" fmla="*/ 1115109 h 1232474"/>
              <a:gd name="connsiteX767" fmla="*/ 148488 w 240400"/>
              <a:gd name="connsiteY767" fmla="*/ 1128934 h 1232474"/>
              <a:gd name="connsiteX768" fmla="*/ 140101 w 240400"/>
              <a:gd name="connsiteY768" fmla="*/ 1134718 h 1232474"/>
              <a:gd name="connsiteX769" fmla="*/ 144613 w 240400"/>
              <a:gd name="connsiteY769" fmla="*/ 1142816 h 1232474"/>
              <a:gd name="connsiteX770" fmla="*/ 149992 w 240400"/>
              <a:gd name="connsiteY770" fmla="*/ 1145304 h 1232474"/>
              <a:gd name="connsiteX771" fmla="*/ 156991 w 240400"/>
              <a:gd name="connsiteY771" fmla="*/ 1143568 h 1232474"/>
              <a:gd name="connsiteX772" fmla="*/ 164106 w 240400"/>
              <a:gd name="connsiteY772" fmla="*/ 1141775 h 1232474"/>
              <a:gd name="connsiteX773" fmla="*/ 169428 w 240400"/>
              <a:gd name="connsiteY773" fmla="*/ 1144031 h 1232474"/>
              <a:gd name="connsiteX774" fmla="*/ 171105 w 240400"/>
              <a:gd name="connsiteY774" fmla="*/ 1147964 h 1232474"/>
              <a:gd name="connsiteX775" fmla="*/ 163701 w 240400"/>
              <a:gd name="connsiteY775" fmla="*/ 1152361 h 1232474"/>
              <a:gd name="connsiteX776" fmla="*/ 154504 w 240400"/>
              <a:gd name="connsiteY776" fmla="*/ 1157451 h 1232474"/>
              <a:gd name="connsiteX777" fmla="*/ 156818 w 240400"/>
              <a:gd name="connsiteY777" fmla="*/ 1165086 h 1232474"/>
              <a:gd name="connsiteX778" fmla="*/ 159363 w 240400"/>
              <a:gd name="connsiteY778" fmla="*/ 1173242 h 1232474"/>
              <a:gd name="connsiteX779" fmla="*/ 155198 w 240400"/>
              <a:gd name="connsiteY779" fmla="*/ 1177349 h 1232474"/>
              <a:gd name="connsiteX780" fmla="*/ 152306 w 240400"/>
              <a:gd name="connsiteY780" fmla="*/ 1178101 h 1232474"/>
              <a:gd name="connsiteX781" fmla="*/ 145885 w 240400"/>
              <a:gd name="connsiteY781" fmla="*/ 1165086 h 1232474"/>
              <a:gd name="connsiteX782" fmla="*/ 142761 w 240400"/>
              <a:gd name="connsiteY782" fmla="*/ 1154964 h 1232474"/>
              <a:gd name="connsiteX783" fmla="*/ 137267 w 240400"/>
              <a:gd name="connsiteY783" fmla="*/ 1156236 h 1232474"/>
              <a:gd name="connsiteX784" fmla="*/ 138770 w 240400"/>
              <a:gd name="connsiteY784" fmla="*/ 1170408 h 1232474"/>
              <a:gd name="connsiteX785" fmla="*/ 140043 w 240400"/>
              <a:gd name="connsiteY785" fmla="*/ 1177523 h 1232474"/>
              <a:gd name="connsiteX786" fmla="*/ 138308 w 240400"/>
              <a:gd name="connsiteY786" fmla="*/ 1178391 h 1232474"/>
              <a:gd name="connsiteX787" fmla="*/ 123557 w 240400"/>
              <a:gd name="connsiteY787" fmla="*/ 1166822 h 1232474"/>
              <a:gd name="connsiteX788" fmla="*/ 117397 w 240400"/>
              <a:gd name="connsiteY788" fmla="*/ 1165977 h 1232474"/>
              <a:gd name="connsiteX789" fmla="*/ 115922 w 240400"/>
              <a:gd name="connsiteY789" fmla="*/ 1167979 h 1232474"/>
              <a:gd name="connsiteX790" fmla="*/ 117946 w 240400"/>
              <a:gd name="connsiteY790" fmla="*/ 1175614 h 1232474"/>
              <a:gd name="connsiteX791" fmla="*/ 119682 w 240400"/>
              <a:gd name="connsiteY791" fmla="*/ 1179374 h 1232474"/>
              <a:gd name="connsiteX792" fmla="*/ 114244 w 240400"/>
              <a:gd name="connsiteY792" fmla="*/ 1181225 h 1232474"/>
              <a:gd name="connsiteX793" fmla="*/ 104353 w 240400"/>
              <a:gd name="connsiteY793" fmla="*/ 1187009 h 1232474"/>
              <a:gd name="connsiteX794" fmla="*/ 106956 w 240400"/>
              <a:gd name="connsiteY794" fmla="*/ 1191695 h 1232474"/>
              <a:gd name="connsiteX795" fmla="*/ 111294 w 240400"/>
              <a:gd name="connsiteY795" fmla="*/ 1190943 h 1232474"/>
              <a:gd name="connsiteX796" fmla="*/ 119335 w 240400"/>
              <a:gd name="connsiteY796" fmla="*/ 1189728 h 1232474"/>
              <a:gd name="connsiteX797" fmla="*/ 123442 w 240400"/>
              <a:gd name="connsiteY797" fmla="*/ 1190191 h 1232474"/>
              <a:gd name="connsiteX798" fmla="*/ 132754 w 240400"/>
              <a:gd name="connsiteY798" fmla="*/ 1203553 h 1232474"/>
              <a:gd name="connsiteX799" fmla="*/ 137845 w 240400"/>
              <a:gd name="connsiteY799" fmla="*/ 1214659 h 1232474"/>
              <a:gd name="connsiteX800" fmla="*/ 139175 w 240400"/>
              <a:gd name="connsiteY800" fmla="*/ 1215353 h 1232474"/>
              <a:gd name="connsiteX801" fmla="*/ 140621 w 240400"/>
              <a:gd name="connsiteY801" fmla="*/ 1207833 h 1232474"/>
              <a:gd name="connsiteX802" fmla="*/ 146406 w 240400"/>
              <a:gd name="connsiteY802" fmla="*/ 1193199 h 1232474"/>
              <a:gd name="connsiteX803" fmla="*/ 147621 w 240400"/>
              <a:gd name="connsiteY803" fmla="*/ 1193199 h 1232474"/>
              <a:gd name="connsiteX804" fmla="*/ 152942 w 240400"/>
              <a:gd name="connsiteY804" fmla="*/ 1201181 h 1232474"/>
              <a:gd name="connsiteX805" fmla="*/ 166362 w 240400"/>
              <a:gd name="connsiteY805" fmla="*/ 1218824 h 1232474"/>
              <a:gd name="connsiteX806" fmla="*/ 173882 w 240400"/>
              <a:gd name="connsiteY806" fmla="*/ 1220675 h 1232474"/>
              <a:gd name="connsiteX807" fmla="*/ 173882 w 240400"/>
              <a:gd name="connsiteY807" fmla="*/ 1220675 h 1232474"/>
              <a:gd name="connsiteX808" fmla="*/ 173361 w 240400"/>
              <a:gd name="connsiteY808" fmla="*/ 1219344 h 1232474"/>
              <a:gd name="connsiteX809" fmla="*/ 175039 w 240400"/>
              <a:gd name="connsiteY809" fmla="*/ 1209337 h 1232474"/>
              <a:gd name="connsiteX810" fmla="*/ 178278 w 240400"/>
              <a:gd name="connsiteY810" fmla="*/ 1208065 h 1232474"/>
              <a:gd name="connsiteX811" fmla="*/ 40551 w 240400"/>
              <a:gd name="connsiteY811" fmla="*/ 835779 h 1232474"/>
              <a:gd name="connsiteX812" fmla="*/ 38295 w 240400"/>
              <a:gd name="connsiteY812" fmla="*/ 836241 h 1232474"/>
              <a:gd name="connsiteX813" fmla="*/ 36502 w 240400"/>
              <a:gd name="connsiteY813" fmla="*/ 837745 h 1232474"/>
              <a:gd name="connsiteX814" fmla="*/ 41361 w 240400"/>
              <a:gd name="connsiteY814" fmla="*/ 845497 h 1232474"/>
              <a:gd name="connsiteX815" fmla="*/ 48070 w 240400"/>
              <a:gd name="connsiteY815" fmla="*/ 857066 h 1232474"/>
              <a:gd name="connsiteX816" fmla="*/ 48070 w 240400"/>
              <a:gd name="connsiteY816" fmla="*/ 858801 h 1232474"/>
              <a:gd name="connsiteX817" fmla="*/ 51772 w 240400"/>
              <a:gd name="connsiteY817" fmla="*/ 854463 h 1232474"/>
              <a:gd name="connsiteX818" fmla="*/ 51368 w 240400"/>
              <a:gd name="connsiteY818" fmla="*/ 844051 h 1232474"/>
              <a:gd name="connsiteX819" fmla="*/ 40551 w 240400"/>
              <a:gd name="connsiteY819" fmla="*/ 835779 h 1232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Lst>
            <a:rect l="l" t="t" r="r" b="b"/>
            <a:pathLst>
              <a:path w="240400" h="1232474">
                <a:moveTo>
                  <a:pt x="205754" y="1232186"/>
                </a:moveTo>
                <a:cubicBezTo>
                  <a:pt x="205008" y="1232168"/>
                  <a:pt x="204267" y="1232053"/>
                  <a:pt x="203556" y="1231839"/>
                </a:cubicBezTo>
                <a:cubicBezTo>
                  <a:pt x="198472" y="1229334"/>
                  <a:pt x="194127" y="1225545"/>
                  <a:pt x="190946" y="1220848"/>
                </a:cubicBezTo>
                <a:cubicBezTo>
                  <a:pt x="185624" y="1214601"/>
                  <a:pt x="180071" y="1208181"/>
                  <a:pt x="176022" y="1211073"/>
                </a:cubicBezTo>
                <a:cubicBezTo>
                  <a:pt x="173188" y="1213155"/>
                  <a:pt x="173882" y="1215527"/>
                  <a:pt x="175154" y="1218419"/>
                </a:cubicBezTo>
                <a:cubicBezTo>
                  <a:pt x="175733" y="1219807"/>
                  <a:pt x="176254" y="1221022"/>
                  <a:pt x="175617" y="1222005"/>
                </a:cubicBezTo>
                <a:cubicBezTo>
                  <a:pt x="174981" y="1222989"/>
                  <a:pt x="172551" y="1223278"/>
                  <a:pt x="165321" y="1220906"/>
                </a:cubicBezTo>
                <a:cubicBezTo>
                  <a:pt x="156928" y="1218037"/>
                  <a:pt x="151056" y="1210431"/>
                  <a:pt x="150397" y="1201586"/>
                </a:cubicBezTo>
                <a:cubicBezTo>
                  <a:pt x="149298" y="1196612"/>
                  <a:pt x="148777" y="1195050"/>
                  <a:pt x="146521" y="1195802"/>
                </a:cubicBezTo>
                <a:cubicBezTo>
                  <a:pt x="143108" y="1196554"/>
                  <a:pt x="142704" y="1203090"/>
                  <a:pt x="142356" y="1208412"/>
                </a:cubicBezTo>
                <a:cubicBezTo>
                  <a:pt x="142009" y="1213733"/>
                  <a:pt x="141720" y="1218014"/>
                  <a:pt x="138655" y="1218014"/>
                </a:cubicBezTo>
                <a:cubicBezTo>
                  <a:pt x="137648" y="1217927"/>
                  <a:pt x="136694" y="1217522"/>
                  <a:pt x="135936" y="1216857"/>
                </a:cubicBezTo>
                <a:cubicBezTo>
                  <a:pt x="132604" y="1213519"/>
                  <a:pt x="130556" y="1209118"/>
                  <a:pt x="130151" y="1204421"/>
                </a:cubicBezTo>
                <a:cubicBezTo>
                  <a:pt x="128937" y="1198636"/>
                  <a:pt x="127895" y="1194009"/>
                  <a:pt x="122516" y="1192852"/>
                </a:cubicBezTo>
                <a:cubicBezTo>
                  <a:pt x="121336" y="1192597"/>
                  <a:pt x="120133" y="1192458"/>
                  <a:pt x="118930" y="1192447"/>
                </a:cubicBezTo>
                <a:cubicBezTo>
                  <a:pt x="116384" y="1192539"/>
                  <a:pt x="113863" y="1192927"/>
                  <a:pt x="111410" y="1193604"/>
                </a:cubicBezTo>
                <a:cubicBezTo>
                  <a:pt x="109819" y="1194038"/>
                  <a:pt x="108194" y="1194309"/>
                  <a:pt x="106551" y="1194414"/>
                </a:cubicBezTo>
                <a:cubicBezTo>
                  <a:pt x="102213" y="1194414"/>
                  <a:pt x="101692" y="1190480"/>
                  <a:pt x="101692" y="1187472"/>
                </a:cubicBezTo>
                <a:cubicBezTo>
                  <a:pt x="101692" y="1180126"/>
                  <a:pt x="109212" y="1179548"/>
                  <a:pt x="113666" y="1179200"/>
                </a:cubicBezTo>
                <a:cubicBezTo>
                  <a:pt x="114794" y="1179189"/>
                  <a:pt x="115922" y="1179056"/>
                  <a:pt x="117021" y="1178796"/>
                </a:cubicBezTo>
                <a:cubicBezTo>
                  <a:pt x="116714" y="1178286"/>
                  <a:pt x="116344" y="1177824"/>
                  <a:pt x="115922" y="1177407"/>
                </a:cubicBezTo>
                <a:cubicBezTo>
                  <a:pt x="113070" y="1174902"/>
                  <a:pt x="112081" y="1170888"/>
                  <a:pt x="113434" y="1167342"/>
                </a:cubicBezTo>
                <a:cubicBezTo>
                  <a:pt x="114412" y="1164780"/>
                  <a:pt x="116824" y="1163044"/>
                  <a:pt x="119566" y="1162946"/>
                </a:cubicBezTo>
                <a:cubicBezTo>
                  <a:pt x="121614" y="1163015"/>
                  <a:pt x="123534" y="1163964"/>
                  <a:pt x="124830" y="1165549"/>
                </a:cubicBezTo>
                <a:cubicBezTo>
                  <a:pt x="128399" y="1170009"/>
                  <a:pt x="132824" y="1173705"/>
                  <a:pt x="137845" y="1176424"/>
                </a:cubicBezTo>
                <a:cubicBezTo>
                  <a:pt x="137573" y="1174752"/>
                  <a:pt x="137047" y="1173133"/>
                  <a:pt x="136283" y="1171623"/>
                </a:cubicBezTo>
                <a:cubicBezTo>
                  <a:pt x="133217" y="1164508"/>
                  <a:pt x="132697" y="1158666"/>
                  <a:pt x="134953" y="1155253"/>
                </a:cubicBezTo>
                <a:cubicBezTo>
                  <a:pt x="136815" y="1152610"/>
                  <a:pt x="140315" y="1151701"/>
                  <a:pt x="143224" y="1153113"/>
                </a:cubicBezTo>
                <a:cubicBezTo>
                  <a:pt x="146348" y="1154385"/>
                  <a:pt x="147042" y="1159591"/>
                  <a:pt x="147678" y="1165144"/>
                </a:cubicBezTo>
                <a:cubicBezTo>
                  <a:pt x="148315" y="1170697"/>
                  <a:pt x="149067" y="1176135"/>
                  <a:pt x="151901" y="1176135"/>
                </a:cubicBezTo>
                <a:cubicBezTo>
                  <a:pt x="152566" y="1176106"/>
                  <a:pt x="153220" y="1175926"/>
                  <a:pt x="153810" y="1175614"/>
                </a:cubicBezTo>
                <a:cubicBezTo>
                  <a:pt x="155545" y="1174804"/>
                  <a:pt x="156528" y="1173936"/>
                  <a:pt x="156818" y="1172895"/>
                </a:cubicBezTo>
                <a:cubicBezTo>
                  <a:pt x="157107" y="1171854"/>
                  <a:pt x="155950" y="1168962"/>
                  <a:pt x="154504" y="1166590"/>
                </a:cubicBezTo>
                <a:cubicBezTo>
                  <a:pt x="153058" y="1164219"/>
                  <a:pt x="150513" y="1160112"/>
                  <a:pt x="152075" y="1156757"/>
                </a:cubicBezTo>
                <a:cubicBezTo>
                  <a:pt x="153636" y="1153402"/>
                  <a:pt x="158379" y="1151840"/>
                  <a:pt x="162602" y="1150510"/>
                </a:cubicBezTo>
                <a:cubicBezTo>
                  <a:pt x="165090" y="1149700"/>
                  <a:pt x="168386" y="1148716"/>
                  <a:pt x="168386" y="1147733"/>
                </a:cubicBezTo>
                <a:cubicBezTo>
                  <a:pt x="168386" y="1146750"/>
                  <a:pt x="168386" y="1146692"/>
                  <a:pt x="167287" y="1145882"/>
                </a:cubicBezTo>
                <a:cubicBezTo>
                  <a:pt x="166333" y="1144858"/>
                  <a:pt x="164985" y="1144291"/>
                  <a:pt x="163586" y="1144320"/>
                </a:cubicBezTo>
                <a:cubicBezTo>
                  <a:pt x="161410" y="1144517"/>
                  <a:pt x="159282" y="1145067"/>
                  <a:pt x="157280" y="1145940"/>
                </a:cubicBezTo>
                <a:cubicBezTo>
                  <a:pt x="154810" y="1147027"/>
                  <a:pt x="152167" y="1147675"/>
                  <a:pt x="149472" y="1147849"/>
                </a:cubicBezTo>
                <a:cubicBezTo>
                  <a:pt x="146782" y="1147872"/>
                  <a:pt x="144225" y="1146703"/>
                  <a:pt x="142472" y="1144667"/>
                </a:cubicBezTo>
                <a:cubicBezTo>
                  <a:pt x="138308" y="1140213"/>
                  <a:pt x="136688" y="1137148"/>
                  <a:pt x="137382" y="1134545"/>
                </a:cubicBezTo>
                <a:cubicBezTo>
                  <a:pt x="138076" y="1131941"/>
                  <a:pt x="141778" y="1129281"/>
                  <a:pt x="147100" y="1127083"/>
                </a:cubicBezTo>
                <a:cubicBezTo>
                  <a:pt x="153405" y="1124480"/>
                  <a:pt x="158148" y="1118175"/>
                  <a:pt x="157685" y="1115514"/>
                </a:cubicBezTo>
                <a:cubicBezTo>
                  <a:pt x="157685" y="1115514"/>
                  <a:pt x="157685" y="1114646"/>
                  <a:pt x="155892" y="1114646"/>
                </a:cubicBezTo>
                <a:cubicBezTo>
                  <a:pt x="154388" y="1114716"/>
                  <a:pt x="152901" y="1115028"/>
                  <a:pt x="151496" y="1115572"/>
                </a:cubicBezTo>
                <a:cubicBezTo>
                  <a:pt x="137324" y="1120488"/>
                  <a:pt x="124656" y="1127141"/>
                  <a:pt x="128011" y="1140271"/>
                </a:cubicBezTo>
                <a:cubicBezTo>
                  <a:pt x="129579" y="1145772"/>
                  <a:pt x="128462" y="1151684"/>
                  <a:pt x="125003" y="1156236"/>
                </a:cubicBezTo>
                <a:cubicBezTo>
                  <a:pt x="120307" y="1162217"/>
                  <a:pt x="112098" y="1164161"/>
                  <a:pt x="105221" y="1160921"/>
                </a:cubicBezTo>
                <a:cubicBezTo>
                  <a:pt x="103422" y="1160025"/>
                  <a:pt x="101449" y="1159533"/>
                  <a:pt x="99436" y="1159475"/>
                </a:cubicBezTo>
                <a:cubicBezTo>
                  <a:pt x="97012" y="1159256"/>
                  <a:pt x="94751" y="1160708"/>
                  <a:pt x="93941" y="1163004"/>
                </a:cubicBezTo>
                <a:cubicBezTo>
                  <a:pt x="93432" y="1164450"/>
                  <a:pt x="93981" y="1166052"/>
                  <a:pt x="95272" y="1166880"/>
                </a:cubicBezTo>
                <a:cubicBezTo>
                  <a:pt x="96475" y="1167597"/>
                  <a:pt x="97759" y="1168181"/>
                  <a:pt x="99089" y="1168615"/>
                </a:cubicBezTo>
                <a:cubicBezTo>
                  <a:pt x="101345" y="1169483"/>
                  <a:pt x="103312" y="1170177"/>
                  <a:pt x="103659" y="1172028"/>
                </a:cubicBezTo>
                <a:cubicBezTo>
                  <a:pt x="104006" y="1173879"/>
                  <a:pt x="102907" y="1175267"/>
                  <a:pt x="100246" y="1177812"/>
                </a:cubicBezTo>
                <a:cubicBezTo>
                  <a:pt x="98771" y="1179501"/>
                  <a:pt x="96694" y="1180560"/>
                  <a:pt x="94462" y="1180762"/>
                </a:cubicBezTo>
                <a:cubicBezTo>
                  <a:pt x="92263" y="1180762"/>
                  <a:pt x="90702" y="1179143"/>
                  <a:pt x="88677" y="1176944"/>
                </a:cubicBezTo>
                <a:cubicBezTo>
                  <a:pt x="86438" y="1174567"/>
                  <a:pt x="83934" y="1172450"/>
                  <a:pt x="81215" y="1170639"/>
                </a:cubicBezTo>
                <a:cubicBezTo>
                  <a:pt x="79173" y="1169222"/>
                  <a:pt x="76755" y="1168459"/>
                  <a:pt x="74274" y="1168442"/>
                </a:cubicBezTo>
                <a:cubicBezTo>
                  <a:pt x="72891" y="1168476"/>
                  <a:pt x="71521" y="1168627"/>
                  <a:pt x="70167" y="1168904"/>
                </a:cubicBezTo>
                <a:cubicBezTo>
                  <a:pt x="68854" y="1169176"/>
                  <a:pt x="67518" y="1169332"/>
                  <a:pt x="66176" y="1169367"/>
                </a:cubicBezTo>
                <a:cubicBezTo>
                  <a:pt x="62769" y="1169280"/>
                  <a:pt x="59570" y="1167690"/>
                  <a:pt x="57441" y="1165029"/>
                </a:cubicBezTo>
                <a:cubicBezTo>
                  <a:pt x="52351" y="1159591"/>
                  <a:pt x="47029" y="1151667"/>
                  <a:pt x="48880" y="1147675"/>
                </a:cubicBezTo>
                <a:cubicBezTo>
                  <a:pt x="49459" y="1146345"/>
                  <a:pt x="51078" y="1144783"/>
                  <a:pt x="55359" y="1145246"/>
                </a:cubicBezTo>
                <a:cubicBezTo>
                  <a:pt x="59552" y="1146044"/>
                  <a:pt x="63659" y="1147247"/>
                  <a:pt x="67622" y="1148832"/>
                </a:cubicBezTo>
                <a:cubicBezTo>
                  <a:pt x="71781" y="1150579"/>
                  <a:pt x="76160" y="1151747"/>
                  <a:pt x="80637" y="1152303"/>
                </a:cubicBezTo>
                <a:cubicBezTo>
                  <a:pt x="81400" y="1152395"/>
                  <a:pt x="82164" y="1152187"/>
                  <a:pt x="82777" y="1151724"/>
                </a:cubicBezTo>
                <a:cubicBezTo>
                  <a:pt x="83130" y="1151239"/>
                  <a:pt x="83274" y="1150637"/>
                  <a:pt x="83182" y="1150047"/>
                </a:cubicBezTo>
                <a:cubicBezTo>
                  <a:pt x="82881" y="1145200"/>
                  <a:pt x="84524" y="1140433"/>
                  <a:pt x="87751" y="1136801"/>
                </a:cubicBezTo>
                <a:cubicBezTo>
                  <a:pt x="90221" y="1133463"/>
                  <a:pt x="94930" y="1132757"/>
                  <a:pt x="98268" y="1135227"/>
                </a:cubicBezTo>
                <a:cubicBezTo>
                  <a:pt x="98516" y="1135406"/>
                  <a:pt x="98754" y="1135609"/>
                  <a:pt x="98973" y="1135817"/>
                </a:cubicBezTo>
                <a:cubicBezTo>
                  <a:pt x="100616" y="1137113"/>
                  <a:pt x="102670" y="1137766"/>
                  <a:pt x="104758" y="1137668"/>
                </a:cubicBezTo>
                <a:cubicBezTo>
                  <a:pt x="109762" y="1137686"/>
                  <a:pt x="114493" y="1135401"/>
                  <a:pt x="117599" y="1131479"/>
                </a:cubicBezTo>
                <a:cubicBezTo>
                  <a:pt x="118635" y="1129691"/>
                  <a:pt x="118635" y="1127482"/>
                  <a:pt x="117599" y="1125695"/>
                </a:cubicBezTo>
                <a:cubicBezTo>
                  <a:pt x="116558" y="1123554"/>
                  <a:pt x="115517" y="1123265"/>
                  <a:pt x="114707" y="1123265"/>
                </a:cubicBezTo>
                <a:cubicBezTo>
                  <a:pt x="112220" y="1123751"/>
                  <a:pt x="109871" y="1124780"/>
                  <a:pt x="107824" y="1126273"/>
                </a:cubicBezTo>
                <a:cubicBezTo>
                  <a:pt x="101900" y="1130368"/>
                  <a:pt x="94838" y="1132491"/>
                  <a:pt x="87636" y="1132346"/>
                </a:cubicBezTo>
                <a:cubicBezTo>
                  <a:pt x="82164" y="1131433"/>
                  <a:pt x="76645" y="1133671"/>
                  <a:pt x="73348" y="1138131"/>
                </a:cubicBezTo>
                <a:cubicBezTo>
                  <a:pt x="71694" y="1140844"/>
                  <a:pt x="68825" y="1142591"/>
                  <a:pt x="65655" y="1142816"/>
                </a:cubicBezTo>
                <a:cubicBezTo>
                  <a:pt x="64620" y="1142793"/>
                  <a:pt x="63584" y="1142643"/>
                  <a:pt x="62589" y="1142354"/>
                </a:cubicBezTo>
                <a:cubicBezTo>
                  <a:pt x="58482" y="1141197"/>
                  <a:pt x="56805" y="1140387"/>
                  <a:pt x="56805" y="1139172"/>
                </a:cubicBezTo>
                <a:cubicBezTo>
                  <a:pt x="56805" y="1137957"/>
                  <a:pt x="57383" y="1137032"/>
                  <a:pt x="58309" y="1136049"/>
                </a:cubicBezTo>
                <a:cubicBezTo>
                  <a:pt x="59981" y="1134551"/>
                  <a:pt x="61051" y="1132491"/>
                  <a:pt x="61317" y="1130264"/>
                </a:cubicBezTo>
                <a:cubicBezTo>
                  <a:pt x="62665" y="1123693"/>
                  <a:pt x="68073" y="1118730"/>
                  <a:pt x="74737" y="1117943"/>
                </a:cubicBezTo>
                <a:cubicBezTo>
                  <a:pt x="76414" y="1117776"/>
                  <a:pt x="77999" y="1118747"/>
                  <a:pt x="78612" y="1120315"/>
                </a:cubicBezTo>
                <a:cubicBezTo>
                  <a:pt x="79133" y="1121645"/>
                  <a:pt x="81273" y="1121877"/>
                  <a:pt x="82488" y="1121877"/>
                </a:cubicBezTo>
                <a:cubicBezTo>
                  <a:pt x="86641" y="1121963"/>
                  <a:pt x="90638" y="1120280"/>
                  <a:pt x="93478" y="1117249"/>
                </a:cubicBezTo>
                <a:cubicBezTo>
                  <a:pt x="94635" y="1114531"/>
                  <a:pt x="98916" y="1114820"/>
                  <a:pt x="102965" y="1114878"/>
                </a:cubicBezTo>
                <a:lnTo>
                  <a:pt x="105568" y="1114878"/>
                </a:lnTo>
                <a:cubicBezTo>
                  <a:pt x="106551" y="1114878"/>
                  <a:pt x="109733" y="1114878"/>
                  <a:pt x="110427" y="1113952"/>
                </a:cubicBezTo>
                <a:cubicBezTo>
                  <a:pt x="110664" y="1113501"/>
                  <a:pt x="110664" y="1112957"/>
                  <a:pt x="110427" y="1112506"/>
                </a:cubicBezTo>
                <a:cubicBezTo>
                  <a:pt x="109328" y="1109324"/>
                  <a:pt x="99320" y="1106721"/>
                  <a:pt x="87983" y="1106721"/>
                </a:cubicBezTo>
                <a:cubicBezTo>
                  <a:pt x="81944" y="1106172"/>
                  <a:pt x="75882" y="1107508"/>
                  <a:pt x="70630" y="1110539"/>
                </a:cubicBezTo>
                <a:lnTo>
                  <a:pt x="69820" y="1111407"/>
                </a:lnTo>
                <a:cubicBezTo>
                  <a:pt x="65192" y="1116034"/>
                  <a:pt x="60391" y="1120835"/>
                  <a:pt x="55533" y="1120835"/>
                </a:cubicBezTo>
                <a:cubicBezTo>
                  <a:pt x="52877" y="1120708"/>
                  <a:pt x="50442" y="1119308"/>
                  <a:pt x="48996" y="1117076"/>
                </a:cubicBezTo>
                <a:cubicBezTo>
                  <a:pt x="45925" y="1113432"/>
                  <a:pt x="45207" y="1108353"/>
                  <a:pt x="47145" y="1104003"/>
                </a:cubicBezTo>
                <a:cubicBezTo>
                  <a:pt x="49123" y="1099994"/>
                  <a:pt x="53612" y="1097883"/>
                  <a:pt x="57962" y="1098913"/>
                </a:cubicBezTo>
                <a:cubicBezTo>
                  <a:pt x="59466" y="1099207"/>
                  <a:pt x="60998" y="1099346"/>
                  <a:pt x="62531" y="1099318"/>
                </a:cubicBezTo>
                <a:cubicBezTo>
                  <a:pt x="69010" y="1099728"/>
                  <a:pt x="75396" y="1097657"/>
                  <a:pt x="80405" y="1093533"/>
                </a:cubicBezTo>
                <a:cubicBezTo>
                  <a:pt x="81047" y="1092741"/>
                  <a:pt x="81244" y="1091670"/>
                  <a:pt x="80926" y="1090699"/>
                </a:cubicBezTo>
                <a:cubicBezTo>
                  <a:pt x="78560" y="1085759"/>
                  <a:pt x="73863" y="1082346"/>
                  <a:pt x="68432" y="1081617"/>
                </a:cubicBezTo>
                <a:cubicBezTo>
                  <a:pt x="67043" y="1081421"/>
                  <a:pt x="65753" y="1082387"/>
                  <a:pt x="65551" y="1083775"/>
                </a:cubicBezTo>
                <a:cubicBezTo>
                  <a:pt x="65522" y="1083983"/>
                  <a:pt x="65516" y="1084185"/>
                  <a:pt x="65539" y="1084394"/>
                </a:cubicBezTo>
                <a:cubicBezTo>
                  <a:pt x="65135" y="1089600"/>
                  <a:pt x="62705" y="1093244"/>
                  <a:pt x="59755" y="1093244"/>
                </a:cubicBezTo>
                <a:cubicBezTo>
                  <a:pt x="56805" y="1093244"/>
                  <a:pt x="55533" y="1091219"/>
                  <a:pt x="54433" y="1087460"/>
                </a:cubicBezTo>
                <a:cubicBezTo>
                  <a:pt x="54057" y="1085597"/>
                  <a:pt x="52333" y="1084324"/>
                  <a:pt x="50442" y="1084509"/>
                </a:cubicBezTo>
                <a:cubicBezTo>
                  <a:pt x="48475" y="1084631"/>
                  <a:pt x="46532" y="1084995"/>
                  <a:pt x="44658" y="1085608"/>
                </a:cubicBezTo>
                <a:cubicBezTo>
                  <a:pt x="42824" y="1086337"/>
                  <a:pt x="40834" y="1086592"/>
                  <a:pt x="38873" y="1086360"/>
                </a:cubicBezTo>
                <a:cubicBezTo>
                  <a:pt x="37861" y="1086048"/>
                  <a:pt x="37178" y="1085105"/>
                  <a:pt x="37196" y="1084047"/>
                </a:cubicBezTo>
                <a:cubicBezTo>
                  <a:pt x="37196" y="1080287"/>
                  <a:pt x="45063" y="1073461"/>
                  <a:pt x="51599" y="1071437"/>
                </a:cubicBezTo>
                <a:cubicBezTo>
                  <a:pt x="53855" y="1070742"/>
                  <a:pt x="55012" y="1069296"/>
                  <a:pt x="54723" y="1067503"/>
                </a:cubicBezTo>
                <a:cubicBezTo>
                  <a:pt x="54289" y="1065230"/>
                  <a:pt x="52229" y="1063645"/>
                  <a:pt x="49921" y="1063801"/>
                </a:cubicBezTo>
                <a:cubicBezTo>
                  <a:pt x="48880" y="1063824"/>
                  <a:pt x="47856" y="1064056"/>
                  <a:pt x="46913" y="1064495"/>
                </a:cubicBezTo>
                <a:cubicBezTo>
                  <a:pt x="44681" y="1065664"/>
                  <a:pt x="42246" y="1066387"/>
                  <a:pt x="39741" y="1066635"/>
                </a:cubicBezTo>
                <a:cubicBezTo>
                  <a:pt x="38330" y="1066572"/>
                  <a:pt x="36959" y="1066155"/>
                  <a:pt x="35750" y="1065421"/>
                </a:cubicBezTo>
                <a:cubicBezTo>
                  <a:pt x="34581" y="1064854"/>
                  <a:pt x="33384" y="1064350"/>
                  <a:pt x="32163" y="1063917"/>
                </a:cubicBezTo>
                <a:cubicBezTo>
                  <a:pt x="29560" y="1062933"/>
                  <a:pt x="27304" y="1064842"/>
                  <a:pt x="25164" y="1066693"/>
                </a:cubicBezTo>
                <a:cubicBezTo>
                  <a:pt x="23869" y="1068145"/>
                  <a:pt x="22110" y="1069105"/>
                  <a:pt x="20189" y="1069412"/>
                </a:cubicBezTo>
                <a:cubicBezTo>
                  <a:pt x="18986" y="1069366"/>
                  <a:pt x="17870" y="1068793"/>
                  <a:pt x="17124" y="1067850"/>
                </a:cubicBezTo>
                <a:cubicBezTo>
                  <a:pt x="14694" y="1065073"/>
                  <a:pt x="16545" y="1062066"/>
                  <a:pt x="18165" y="1059231"/>
                </a:cubicBezTo>
                <a:cubicBezTo>
                  <a:pt x="19784" y="1056397"/>
                  <a:pt x="21231" y="1053447"/>
                  <a:pt x="18165" y="1051711"/>
                </a:cubicBezTo>
                <a:cubicBezTo>
                  <a:pt x="16661" y="1050786"/>
                  <a:pt x="15331" y="1049861"/>
                  <a:pt x="15620" y="1048588"/>
                </a:cubicBezTo>
                <a:cubicBezTo>
                  <a:pt x="15909" y="1047316"/>
                  <a:pt x="17471" y="1047142"/>
                  <a:pt x="19784" y="1046968"/>
                </a:cubicBezTo>
                <a:cubicBezTo>
                  <a:pt x="24470" y="1046564"/>
                  <a:pt x="26900" y="1045869"/>
                  <a:pt x="26726" y="1043556"/>
                </a:cubicBezTo>
                <a:cubicBezTo>
                  <a:pt x="26211" y="1040576"/>
                  <a:pt x="28074" y="1037702"/>
                  <a:pt x="31006" y="1036961"/>
                </a:cubicBezTo>
                <a:cubicBezTo>
                  <a:pt x="32799" y="1036151"/>
                  <a:pt x="34014" y="1035631"/>
                  <a:pt x="34014" y="1033144"/>
                </a:cubicBezTo>
                <a:cubicBezTo>
                  <a:pt x="34223" y="1029372"/>
                  <a:pt x="34986" y="1025647"/>
                  <a:pt x="36270" y="1022095"/>
                </a:cubicBezTo>
                <a:cubicBezTo>
                  <a:pt x="37335" y="1019012"/>
                  <a:pt x="37994" y="1015802"/>
                  <a:pt x="38237" y="1012551"/>
                </a:cubicBezTo>
                <a:cubicBezTo>
                  <a:pt x="38595" y="1009832"/>
                  <a:pt x="39677" y="1007252"/>
                  <a:pt x="41361" y="1005089"/>
                </a:cubicBezTo>
                <a:cubicBezTo>
                  <a:pt x="44368" y="1000404"/>
                  <a:pt x="45872" y="997338"/>
                  <a:pt x="42228" y="994041"/>
                </a:cubicBezTo>
                <a:cubicBezTo>
                  <a:pt x="41390" y="993127"/>
                  <a:pt x="40227" y="992566"/>
                  <a:pt x="38989" y="992479"/>
                </a:cubicBezTo>
                <a:cubicBezTo>
                  <a:pt x="37358" y="992687"/>
                  <a:pt x="35917" y="993624"/>
                  <a:pt x="35055" y="995024"/>
                </a:cubicBezTo>
                <a:cubicBezTo>
                  <a:pt x="32840" y="998078"/>
                  <a:pt x="31944" y="1001890"/>
                  <a:pt x="32568" y="1005610"/>
                </a:cubicBezTo>
                <a:cubicBezTo>
                  <a:pt x="33748" y="1008739"/>
                  <a:pt x="33361" y="1012244"/>
                  <a:pt x="31527" y="1015038"/>
                </a:cubicBezTo>
                <a:cubicBezTo>
                  <a:pt x="29445" y="1017606"/>
                  <a:pt x="26061" y="1018734"/>
                  <a:pt x="22850" y="1017931"/>
                </a:cubicBezTo>
                <a:cubicBezTo>
                  <a:pt x="17066" y="1017121"/>
                  <a:pt x="17529" y="1012667"/>
                  <a:pt x="17702" y="1010237"/>
                </a:cubicBezTo>
                <a:cubicBezTo>
                  <a:pt x="17702" y="1009832"/>
                  <a:pt x="17702" y="1009312"/>
                  <a:pt x="17702" y="1008965"/>
                </a:cubicBezTo>
                <a:lnTo>
                  <a:pt x="16777" y="1009370"/>
                </a:lnTo>
                <a:cubicBezTo>
                  <a:pt x="15840" y="1009832"/>
                  <a:pt x="14810" y="1010069"/>
                  <a:pt x="13769" y="1010064"/>
                </a:cubicBezTo>
                <a:cubicBezTo>
                  <a:pt x="10420" y="1009931"/>
                  <a:pt x="7499" y="1007744"/>
                  <a:pt x="6422" y="1004569"/>
                </a:cubicBezTo>
                <a:cubicBezTo>
                  <a:pt x="5405" y="1001300"/>
                  <a:pt x="6677" y="997760"/>
                  <a:pt x="9546" y="995892"/>
                </a:cubicBezTo>
                <a:cubicBezTo>
                  <a:pt x="15666" y="992045"/>
                  <a:pt x="20577" y="986550"/>
                  <a:pt x="23718" y="980043"/>
                </a:cubicBezTo>
                <a:cubicBezTo>
                  <a:pt x="24933" y="976977"/>
                  <a:pt x="28172" y="976340"/>
                  <a:pt x="31006" y="975762"/>
                </a:cubicBezTo>
                <a:cubicBezTo>
                  <a:pt x="34824" y="975010"/>
                  <a:pt x="37890" y="974374"/>
                  <a:pt x="37601" y="968994"/>
                </a:cubicBezTo>
                <a:cubicBezTo>
                  <a:pt x="37601" y="966449"/>
                  <a:pt x="36791" y="963210"/>
                  <a:pt x="34419" y="963210"/>
                </a:cubicBezTo>
                <a:cubicBezTo>
                  <a:pt x="31695" y="963724"/>
                  <a:pt x="29375" y="965506"/>
                  <a:pt x="28172" y="968011"/>
                </a:cubicBezTo>
                <a:cubicBezTo>
                  <a:pt x="24979" y="972916"/>
                  <a:pt x="19842" y="976219"/>
                  <a:pt x="14058" y="977092"/>
                </a:cubicBezTo>
                <a:lnTo>
                  <a:pt x="13422" y="977092"/>
                </a:lnTo>
                <a:cubicBezTo>
                  <a:pt x="10877" y="977092"/>
                  <a:pt x="9777" y="974779"/>
                  <a:pt x="8563" y="972291"/>
                </a:cubicBezTo>
                <a:cubicBezTo>
                  <a:pt x="7331" y="969318"/>
                  <a:pt x="5335" y="966727"/>
                  <a:pt x="2779" y="964772"/>
                </a:cubicBezTo>
                <a:cubicBezTo>
                  <a:pt x="1147" y="963667"/>
                  <a:pt x="499" y="961573"/>
                  <a:pt x="1217" y="959739"/>
                </a:cubicBezTo>
                <a:cubicBezTo>
                  <a:pt x="5243" y="952948"/>
                  <a:pt x="12138" y="948350"/>
                  <a:pt x="19958" y="947245"/>
                </a:cubicBezTo>
                <a:cubicBezTo>
                  <a:pt x="20693" y="947216"/>
                  <a:pt x="21428" y="947355"/>
                  <a:pt x="22098" y="947650"/>
                </a:cubicBezTo>
                <a:lnTo>
                  <a:pt x="23082" y="948112"/>
                </a:lnTo>
                <a:cubicBezTo>
                  <a:pt x="25609" y="949478"/>
                  <a:pt x="28380" y="950340"/>
                  <a:pt x="31238" y="950658"/>
                </a:cubicBezTo>
                <a:cubicBezTo>
                  <a:pt x="33731" y="950623"/>
                  <a:pt x="35975" y="949159"/>
                  <a:pt x="37022" y="946898"/>
                </a:cubicBezTo>
                <a:cubicBezTo>
                  <a:pt x="38197" y="944636"/>
                  <a:pt x="40545" y="943224"/>
                  <a:pt x="43096" y="943253"/>
                </a:cubicBezTo>
                <a:cubicBezTo>
                  <a:pt x="48435" y="944202"/>
                  <a:pt x="53317" y="946886"/>
                  <a:pt x="56979" y="950889"/>
                </a:cubicBezTo>
                <a:cubicBezTo>
                  <a:pt x="57181" y="951172"/>
                  <a:pt x="57499" y="951363"/>
                  <a:pt x="57846" y="951410"/>
                </a:cubicBezTo>
                <a:cubicBezTo>
                  <a:pt x="58135" y="951410"/>
                  <a:pt x="58714" y="950716"/>
                  <a:pt x="58945" y="949269"/>
                </a:cubicBezTo>
                <a:cubicBezTo>
                  <a:pt x="59645" y="946215"/>
                  <a:pt x="58066" y="943097"/>
                  <a:pt x="55185" y="941865"/>
                </a:cubicBezTo>
                <a:cubicBezTo>
                  <a:pt x="51570" y="941391"/>
                  <a:pt x="47897" y="941628"/>
                  <a:pt x="44368" y="942559"/>
                </a:cubicBezTo>
                <a:cubicBezTo>
                  <a:pt x="41650" y="943161"/>
                  <a:pt x="38879" y="943525"/>
                  <a:pt x="36097" y="943658"/>
                </a:cubicBezTo>
                <a:cubicBezTo>
                  <a:pt x="31816" y="943658"/>
                  <a:pt x="29445" y="941923"/>
                  <a:pt x="28982" y="938510"/>
                </a:cubicBezTo>
                <a:cubicBezTo>
                  <a:pt x="28126" y="933004"/>
                  <a:pt x="29549" y="927387"/>
                  <a:pt x="32915" y="922950"/>
                </a:cubicBezTo>
                <a:cubicBezTo>
                  <a:pt x="34274" y="921146"/>
                  <a:pt x="36450" y="920145"/>
                  <a:pt x="38700" y="920289"/>
                </a:cubicBezTo>
                <a:lnTo>
                  <a:pt x="38700" y="920289"/>
                </a:lnTo>
                <a:cubicBezTo>
                  <a:pt x="40146" y="920289"/>
                  <a:pt x="40956" y="918496"/>
                  <a:pt x="41129" y="916703"/>
                </a:cubicBezTo>
                <a:cubicBezTo>
                  <a:pt x="41754" y="913042"/>
                  <a:pt x="39463" y="909519"/>
                  <a:pt x="35865" y="908605"/>
                </a:cubicBezTo>
                <a:cubicBezTo>
                  <a:pt x="33135" y="908153"/>
                  <a:pt x="30330" y="908478"/>
                  <a:pt x="27767" y="909530"/>
                </a:cubicBezTo>
                <a:cubicBezTo>
                  <a:pt x="26587" y="910022"/>
                  <a:pt x="25338" y="910317"/>
                  <a:pt x="24065" y="910398"/>
                </a:cubicBezTo>
                <a:cubicBezTo>
                  <a:pt x="21288" y="910398"/>
                  <a:pt x="20016" y="907911"/>
                  <a:pt x="19322" y="906060"/>
                </a:cubicBezTo>
                <a:cubicBezTo>
                  <a:pt x="18541" y="903485"/>
                  <a:pt x="16227" y="901675"/>
                  <a:pt x="13538" y="901548"/>
                </a:cubicBezTo>
                <a:cubicBezTo>
                  <a:pt x="11148" y="901386"/>
                  <a:pt x="9078" y="903191"/>
                  <a:pt x="8916" y="905579"/>
                </a:cubicBezTo>
                <a:cubicBezTo>
                  <a:pt x="8910" y="905603"/>
                  <a:pt x="8910" y="905632"/>
                  <a:pt x="8910" y="905655"/>
                </a:cubicBezTo>
                <a:cubicBezTo>
                  <a:pt x="8910" y="911439"/>
                  <a:pt x="3762" y="911902"/>
                  <a:pt x="1390" y="909241"/>
                </a:cubicBezTo>
                <a:cubicBezTo>
                  <a:pt x="239" y="907876"/>
                  <a:pt x="-287" y="906094"/>
                  <a:pt x="-56" y="904324"/>
                </a:cubicBezTo>
                <a:cubicBezTo>
                  <a:pt x="638" y="897672"/>
                  <a:pt x="11513" y="888880"/>
                  <a:pt x="17760" y="886971"/>
                </a:cubicBezTo>
                <a:cubicBezTo>
                  <a:pt x="18084" y="886896"/>
                  <a:pt x="18385" y="886740"/>
                  <a:pt x="18628" y="886508"/>
                </a:cubicBezTo>
                <a:cubicBezTo>
                  <a:pt x="18628" y="886103"/>
                  <a:pt x="17702" y="884889"/>
                  <a:pt x="17124" y="884079"/>
                </a:cubicBezTo>
                <a:cubicBezTo>
                  <a:pt x="15273" y="881592"/>
                  <a:pt x="12438" y="877831"/>
                  <a:pt x="15967" y="873898"/>
                </a:cubicBezTo>
                <a:cubicBezTo>
                  <a:pt x="18471" y="871527"/>
                  <a:pt x="21601" y="869919"/>
                  <a:pt x="24991" y="869271"/>
                </a:cubicBezTo>
                <a:cubicBezTo>
                  <a:pt x="29445" y="867940"/>
                  <a:pt x="31758" y="867073"/>
                  <a:pt x="31469" y="863486"/>
                </a:cubicBezTo>
                <a:cubicBezTo>
                  <a:pt x="31296" y="862208"/>
                  <a:pt x="31648" y="860912"/>
                  <a:pt x="32452" y="859900"/>
                </a:cubicBezTo>
                <a:cubicBezTo>
                  <a:pt x="33627" y="858917"/>
                  <a:pt x="35148" y="858436"/>
                  <a:pt x="36675" y="858570"/>
                </a:cubicBezTo>
                <a:cubicBezTo>
                  <a:pt x="37658" y="858570"/>
                  <a:pt x="38815" y="858570"/>
                  <a:pt x="39914" y="858570"/>
                </a:cubicBezTo>
                <a:lnTo>
                  <a:pt x="42980" y="858570"/>
                </a:lnTo>
                <a:cubicBezTo>
                  <a:pt x="45525" y="858570"/>
                  <a:pt x="45988" y="857818"/>
                  <a:pt x="45988" y="856371"/>
                </a:cubicBezTo>
                <a:cubicBezTo>
                  <a:pt x="45988" y="853363"/>
                  <a:pt x="42749" y="849661"/>
                  <a:pt x="39857" y="846307"/>
                </a:cubicBezTo>
                <a:cubicBezTo>
                  <a:pt x="36964" y="842952"/>
                  <a:pt x="34072" y="839423"/>
                  <a:pt x="34477" y="836588"/>
                </a:cubicBezTo>
                <a:cubicBezTo>
                  <a:pt x="34940" y="835096"/>
                  <a:pt x="36108" y="833928"/>
                  <a:pt x="37601" y="833465"/>
                </a:cubicBezTo>
                <a:cubicBezTo>
                  <a:pt x="38601" y="833101"/>
                  <a:pt x="39660" y="832904"/>
                  <a:pt x="40724" y="832887"/>
                </a:cubicBezTo>
                <a:cubicBezTo>
                  <a:pt x="46323" y="833615"/>
                  <a:pt x="51107" y="837277"/>
                  <a:pt x="53277" y="842489"/>
                </a:cubicBezTo>
                <a:cubicBezTo>
                  <a:pt x="55660" y="846393"/>
                  <a:pt x="55660" y="851310"/>
                  <a:pt x="53277" y="855215"/>
                </a:cubicBezTo>
                <a:cubicBezTo>
                  <a:pt x="51327" y="857702"/>
                  <a:pt x="49198" y="860039"/>
                  <a:pt x="46913" y="862214"/>
                </a:cubicBezTo>
                <a:cubicBezTo>
                  <a:pt x="43674" y="865511"/>
                  <a:pt x="40319" y="868866"/>
                  <a:pt x="40435" y="870833"/>
                </a:cubicBezTo>
                <a:cubicBezTo>
                  <a:pt x="40429" y="871243"/>
                  <a:pt x="40626" y="871631"/>
                  <a:pt x="40956" y="871874"/>
                </a:cubicBezTo>
                <a:lnTo>
                  <a:pt x="42865" y="873551"/>
                </a:lnTo>
                <a:cubicBezTo>
                  <a:pt x="47203" y="877484"/>
                  <a:pt x="54433" y="883963"/>
                  <a:pt x="56805" y="879336"/>
                </a:cubicBezTo>
                <a:cubicBezTo>
                  <a:pt x="58251" y="876675"/>
                  <a:pt x="56805" y="873956"/>
                  <a:pt x="54896" y="871064"/>
                </a:cubicBezTo>
                <a:cubicBezTo>
                  <a:pt x="52987" y="868172"/>
                  <a:pt x="50731" y="863949"/>
                  <a:pt x="54896" y="860825"/>
                </a:cubicBezTo>
                <a:cubicBezTo>
                  <a:pt x="57748" y="858934"/>
                  <a:pt x="61074" y="857869"/>
                  <a:pt x="64498" y="857760"/>
                </a:cubicBezTo>
                <a:cubicBezTo>
                  <a:pt x="66465" y="857760"/>
                  <a:pt x="68663" y="857239"/>
                  <a:pt x="69010" y="856545"/>
                </a:cubicBezTo>
                <a:cubicBezTo>
                  <a:pt x="69357" y="855851"/>
                  <a:pt x="69010" y="855388"/>
                  <a:pt x="68547" y="854347"/>
                </a:cubicBezTo>
                <a:cubicBezTo>
                  <a:pt x="65424" y="848157"/>
                  <a:pt x="62763" y="842315"/>
                  <a:pt x="64498" y="838902"/>
                </a:cubicBezTo>
                <a:cubicBezTo>
                  <a:pt x="65192" y="837520"/>
                  <a:pt x="66546" y="836583"/>
                  <a:pt x="68085" y="836415"/>
                </a:cubicBezTo>
                <a:cubicBezTo>
                  <a:pt x="68432" y="836415"/>
                  <a:pt x="69010" y="836415"/>
                  <a:pt x="69184" y="835837"/>
                </a:cubicBezTo>
                <a:cubicBezTo>
                  <a:pt x="69357" y="835258"/>
                  <a:pt x="68721" y="833581"/>
                  <a:pt x="68143" y="832250"/>
                </a:cubicBezTo>
                <a:cubicBezTo>
                  <a:pt x="66986" y="829879"/>
                  <a:pt x="65482" y="826466"/>
                  <a:pt x="68143" y="824962"/>
                </a:cubicBezTo>
                <a:cubicBezTo>
                  <a:pt x="69299" y="824326"/>
                  <a:pt x="69299" y="824326"/>
                  <a:pt x="68547" y="822879"/>
                </a:cubicBezTo>
                <a:cubicBezTo>
                  <a:pt x="66766" y="819756"/>
                  <a:pt x="65996" y="816158"/>
                  <a:pt x="66349" y="812583"/>
                </a:cubicBezTo>
                <a:cubicBezTo>
                  <a:pt x="66488" y="808951"/>
                  <a:pt x="67876" y="805474"/>
                  <a:pt x="70283" y="802750"/>
                </a:cubicBezTo>
                <a:cubicBezTo>
                  <a:pt x="72301" y="800893"/>
                  <a:pt x="72735" y="797873"/>
                  <a:pt x="71324" y="795519"/>
                </a:cubicBezTo>
                <a:cubicBezTo>
                  <a:pt x="67853" y="788057"/>
                  <a:pt x="72423" y="781174"/>
                  <a:pt x="76472" y="775100"/>
                </a:cubicBezTo>
                <a:lnTo>
                  <a:pt x="78034" y="772671"/>
                </a:lnTo>
                <a:cubicBezTo>
                  <a:pt x="79283" y="769634"/>
                  <a:pt x="79283" y="766221"/>
                  <a:pt x="78034" y="763184"/>
                </a:cubicBezTo>
                <a:cubicBezTo>
                  <a:pt x="76819" y="758325"/>
                  <a:pt x="75489" y="752772"/>
                  <a:pt x="80926" y="749302"/>
                </a:cubicBezTo>
                <a:cubicBezTo>
                  <a:pt x="83934" y="747335"/>
                  <a:pt x="85380" y="745426"/>
                  <a:pt x="85149" y="743517"/>
                </a:cubicBezTo>
                <a:cubicBezTo>
                  <a:pt x="84917" y="741608"/>
                  <a:pt x="82719" y="739989"/>
                  <a:pt x="79364" y="739005"/>
                </a:cubicBezTo>
                <a:cubicBezTo>
                  <a:pt x="76009" y="738022"/>
                  <a:pt x="75893" y="734436"/>
                  <a:pt x="76009" y="731890"/>
                </a:cubicBezTo>
                <a:cubicBezTo>
                  <a:pt x="76009" y="730618"/>
                  <a:pt x="76009" y="729172"/>
                  <a:pt x="75662" y="728651"/>
                </a:cubicBezTo>
                <a:cubicBezTo>
                  <a:pt x="75315" y="728130"/>
                  <a:pt x="74216" y="728304"/>
                  <a:pt x="72712" y="728651"/>
                </a:cubicBezTo>
                <a:cubicBezTo>
                  <a:pt x="70155" y="728952"/>
                  <a:pt x="68264" y="731173"/>
                  <a:pt x="68374" y="733742"/>
                </a:cubicBezTo>
                <a:cubicBezTo>
                  <a:pt x="68374" y="736113"/>
                  <a:pt x="67680" y="739063"/>
                  <a:pt x="62126" y="739063"/>
                </a:cubicBezTo>
                <a:cubicBezTo>
                  <a:pt x="60680" y="739063"/>
                  <a:pt x="60044" y="741782"/>
                  <a:pt x="59697" y="744038"/>
                </a:cubicBezTo>
                <a:cubicBezTo>
                  <a:pt x="59281" y="748596"/>
                  <a:pt x="59130" y="753171"/>
                  <a:pt x="59234" y="757747"/>
                </a:cubicBezTo>
                <a:cubicBezTo>
                  <a:pt x="59234" y="771629"/>
                  <a:pt x="59234" y="787363"/>
                  <a:pt x="50095" y="788115"/>
                </a:cubicBezTo>
                <a:lnTo>
                  <a:pt x="48996" y="788115"/>
                </a:lnTo>
                <a:cubicBezTo>
                  <a:pt x="46277" y="788115"/>
                  <a:pt x="44195" y="788462"/>
                  <a:pt x="42460" y="788462"/>
                </a:cubicBezTo>
                <a:cubicBezTo>
                  <a:pt x="40366" y="788694"/>
                  <a:pt x="38272" y="788046"/>
                  <a:pt x="36675" y="786669"/>
                </a:cubicBezTo>
                <a:cubicBezTo>
                  <a:pt x="34477" y="784124"/>
                  <a:pt x="34998" y="779034"/>
                  <a:pt x="36270" y="768564"/>
                </a:cubicBezTo>
                <a:cubicBezTo>
                  <a:pt x="38526" y="749591"/>
                  <a:pt x="41476" y="737906"/>
                  <a:pt x="48880" y="737906"/>
                </a:cubicBezTo>
                <a:cubicBezTo>
                  <a:pt x="50268" y="738097"/>
                  <a:pt x="51663" y="737577"/>
                  <a:pt x="52582" y="736518"/>
                </a:cubicBezTo>
                <a:cubicBezTo>
                  <a:pt x="53855" y="734609"/>
                  <a:pt x="53103" y="730097"/>
                  <a:pt x="50268" y="723040"/>
                </a:cubicBezTo>
                <a:cubicBezTo>
                  <a:pt x="48001" y="716255"/>
                  <a:pt x="48371" y="708857"/>
                  <a:pt x="51310" y="702332"/>
                </a:cubicBezTo>
                <a:cubicBezTo>
                  <a:pt x="52727" y="698624"/>
                  <a:pt x="53566" y="694726"/>
                  <a:pt x="53797" y="690763"/>
                </a:cubicBezTo>
                <a:cubicBezTo>
                  <a:pt x="53664" y="685979"/>
                  <a:pt x="55058" y="681277"/>
                  <a:pt x="57788" y="677343"/>
                </a:cubicBezTo>
                <a:cubicBezTo>
                  <a:pt x="59709" y="674243"/>
                  <a:pt x="61242" y="670923"/>
                  <a:pt x="62358" y="667452"/>
                </a:cubicBezTo>
                <a:lnTo>
                  <a:pt x="63226" y="664618"/>
                </a:lnTo>
                <a:cubicBezTo>
                  <a:pt x="66349" y="655073"/>
                  <a:pt x="67622" y="651082"/>
                  <a:pt x="61259" y="640497"/>
                </a:cubicBezTo>
                <a:cubicBezTo>
                  <a:pt x="58124" y="634672"/>
                  <a:pt x="57222" y="627909"/>
                  <a:pt x="58714" y="621466"/>
                </a:cubicBezTo>
                <a:cubicBezTo>
                  <a:pt x="59859" y="616236"/>
                  <a:pt x="59454" y="610793"/>
                  <a:pt x="57557" y="605790"/>
                </a:cubicBezTo>
                <a:cubicBezTo>
                  <a:pt x="53913" y="597750"/>
                  <a:pt x="53277" y="591213"/>
                  <a:pt x="55764" y="587453"/>
                </a:cubicBezTo>
                <a:cubicBezTo>
                  <a:pt x="57181" y="585284"/>
                  <a:pt x="59657" y="584046"/>
                  <a:pt x="62242" y="584214"/>
                </a:cubicBezTo>
                <a:cubicBezTo>
                  <a:pt x="66523" y="584214"/>
                  <a:pt x="68027" y="581264"/>
                  <a:pt x="70456" y="572645"/>
                </a:cubicBezTo>
                <a:cubicBezTo>
                  <a:pt x="71382" y="569869"/>
                  <a:pt x="72423" y="566861"/>
                  <a:pt x="73869" y="562985"/>
                </a:cubicBezTo>
                <a:cubicBezTo>
                  <a:pt x="75315" y="559110"/>
                  <a:pt x="77397" y="554655"/>
                  <a:pt x="79653" y="549739"/>
                </a:cubicBezTo>
                <a:cubicBezTo>
                  <a:pt x="85958" y="535741"/>
                  <a:pt x="93768" y="518329"/>
                  <a:pt x="95098" y="505141"/>
                </a:cubicBezTo>
                <a:cubicBezTo>
                  <a:pt x="95757" y="498396"/>
                  <a:pt x="97846" y="491866"/>
                  <a:pt x="101229" y="485994"/>
                </a:cubicBezTo>
                <a:cubicBezTo>
                  <a:pt x="104145" y="481748"/>
                  <a:pt x="105400" y="476583"/>
                  <a:pt x="104758" y="471475"/>
                </a:cubicBezTo>
                <a:cubicBezTo>
                  <a:pt x="103514" y="466518"/>
                  <a:pt x="104914" y="461272"/>
                  <a:pt x="108460" y="457593"/>
                </a:cubicBezTo>
                <a:cubicBezTo>
                  <a:pt x="109883" y="456297"/>
                  <a:pt x="110739" y="454487"/>
                  <a:pt x="110832" y="452560"/>
                </a:cubicBezTo>
                <a:cubicBezTo>
                  <a:pt x="110832" y="450999"/>
                  <a:pt x="110832" y="448106"/>
                  <a:pt x="111294" y="444115"/>
                </a:cubicBezTo>
                <a:cubicBezTo>
                  <a:pt x="113012" y="427028"/>
                  <a:pt x="112856" y="409802"/>
                  <a:pt x="110832" y="392749"/>
                </a:cubicBezTo>
                <a:cubicBezTo>
                  <a:pt x="109420" y="385392"/>
                  <a:pt x="111560" y="377802"/>
                  <a:pt x="116616" y="372273"/>
                </a:cubicBezTo>
                <a:cubicBezTo>
                  <a:pt x="119040" y="369652"/>
                  <a:pt x="120630" y="366372"/>
                  <a:pt x="121186" y="362844"/>
                </a:cubicBezTo>
                <a:cubicBezTo>
                  <a:pt x="120463" y="357412"/>
                  <a:pt x="118478" y="352224"/>
                  <a:pt x="115401" y="347689"/>
                </a:cubicBezTo>
                <a:cubicBezTo>
                  <a:pt x="111121" y="340111"/>
                  <a:pt x="107072" y="332939"/>
                  <a:pt x="111526" y="329294"/>
                </a:cubicBezTo>
                <a:cubicBezTo>
                  <a:pt x="117773" y="324146"/>
                  <a:pt x="124367" y="317725"/>
                  <a:pt x="123095" y="306677"/>
                </a:cubicBezTo>
                <a:cubicBezTo>
                  <a:pt x="122759" y="300835"/>
                  <a:pt x="124037" y="295010"/>
                  <a:pt x="126796" y="289844"/>
                </a:cubicBezTo>
                <a:cubicBezTo>
                  <a:pt x="128711" y="286142"/>
                  <a:pt x="129926" y="282128"/>
                  <a:pt x="130383" y="277986"/>
                </a:cubicBezTo>
                <a:cubicBezTo>
                  <a:pt x="131332" y="271080"/>
                  <a:pt x="132801" y="264254"/>
                  <a:pt x="134779" y="257567"/>
                </a:cubicBezTo>
                <a:cubicBezTo>
                  <a:pt x="138828" y="243922"/>
                  <a:pt x="141408" y="229883"/>
                  <a:pt x="142472" y="215688"/>
                </a:cubicBezTo>
                <a:cubicBezTo>
                  <a:pt x="142472" y="211136"/>
                  <a:pt x="142472" y="206971"/>
                  <a:pt x="142472" y="203193"/>
                </a:cubicBezTo>
                <a:cubicBezTo>
                  <a:pt x="142183" y="190757"/>
                  <a:pt x="141952" y="182543"/>
                  <a:pt x="146001" y="178494"/>
                </a:cubicBezTo>
                <a:cubicBezTo>
                  <a:pt x="147331" y="177221"/>
                  <a:pt x="147100" y="176759"/>
                  <a:pt x="145191" y="174792"/>
                </a:cubicBezTo>
                <a:cubicBezTo>
                  <a:pt x="141686" y="172062"/>
                  <a:pt x="140436" y="167330"/>
                  <a:pt x="142125" y="163223"/>
                </a:cubicBezTo>
                <a:cubicBezTo>
                  <a:pt x="146579" y="149786"/>
                  <a:pt x="150212" y="136089"/>
                  <a:pt x="153000" y="122211"/>
                </a:cubicBezTo>
                <a:cubicBezTo>
                  <a:pt x="156528" y="105553"/>
                  <a:pt x="154851" y="61707"/>
                  <a:pt x="151207" y="52798"/>
                </a:cubicBezTo>
                <a:cubicBezTo>
                  <a:pt x="149714" y="46997"/>
                  <a:pt x="149460" y="40946"/>
                  <a:pt x="150455" y="35040"/>
                </a:cubicBezTo>
                <a:cubicBezTo>
                  <a:pt x="150715" y="32640"/>
                  <a:pt x="150854" y="30228"/>
                  <a:pt x="150860" y="27810"/>
                </a:cubicBezTo>
                <a:cubicBezTo>
                  <a:pt x="150871" y="27474"/>
                  <a:pt x="151016" y="27162"/>
                  <a:pt x="151265" y="26942"/>
                </a:cubicBezTo>
                <a:cubicBezTo>
                  <a:pt x="153168" y="25247"/>
                  <a:pt x="155244" y="23755"/>
                  <a:pt x="157454" y="22488"/>
                </a:cubicBezTo>
                <a:cubicBezTo>
                  <a:pt x="162602" y="19943"/>
                  <a:pt x="164627" y="12597"/>
                  <a:pt x="166131" y="7217"/>
                </a:cubicBezTo>
                <a:cubicBezTo>
                  <a:pt x="166617" y="5210"/>
                  <a:pt x="167334" y="3272"/>
                  <a:pt x="168271" y="1433"/>
                </a:cubicBezTo>
                <a:cubicBezTo>
                  <a:pt x="168733" y="681"/>
                  <a:pt x="169312" y="-129"/>
                  <a:pt x="170353" y="-129"/>
                </a:cubicBezTo>
                <a:cubicBezTo>
                  <a:pt x="171394" y="-129"/>
                  <a:pt x="172262" y="1028"/>
                  <a:pt x="173419" y="2994"/>
                </a:cubicBezTo>
                <a:cubicBezTo>
                  <a:pt x="175513" y="6992"/>
                  <a:pt x="178452" y="10491"/>
                  <a:pt x="182038" y="13233"/>
                </a:cubicBezTo>
                <a:cubicBezTo>
                  <a:pt x="187822" y="17340"/>
                  <a:pt x="186897" y="22951"/>
                  <a:pt x="186260" y="28388"/>
                </a:cubicBezTo>
                <a:cubicBezTo>
                  <a:pt x="184965" y="33201"/>
                  <a:pt x="185850" y="38343"/>
                  <a:pt x="188690" y="42444"/>
                </a:cubicBezTo>
                <a:cubicBezTo>
                  <a:pt x="191235" y="45423"/>
                  <a:pt x="194150" y="48067"/>
                  <a:pt x="197366" y="50311"/>
                </a:cubicBezTo>
                <a:cubicBezTo>
                  <a:pt x="200027" y="52278"/>
                  <a:pt x="201936" y="53724"/>
                  <a:pt x="202052" y="55691"/>
                </a:cubicBezTo>
                <a:cubicBezTo>
                  <a:pt x="201919" y="57195"/>
                  <a:pt x="201109" y="58554"/>
                  <a:pt x="199854" y="59393"/>
                </a:cubicBezTo>
                <a:cubicBezTo>
                  <a:pt x="197881" y="61730"/>
                  <a:pt x="197089" y="64842"/>
                  <a:pt x="197714" y="67838"/>
                </a:cubicBezTo>
                <a:cubicBezTo>
                  <a:pt x="198541" y="71858"/>
                  <a:pt x="197181" y="76023"/>
                  <a:pt x="194127" y="78771"/>
                </a:cubicBezTo>
                <a:cubicBezTo>
                  <a:pt x="192658" y="80043"/>
                  <a:pt x="192016" y="82027"/>
                  <a:pt x="192450" y="83919"/>
                </a:cubicBezTo>
                <a:cubicBezTo>
                  <a:pt x="193768" y="90478"/>
                  <a:pt x="197829" y="96164"/>
                  <a:pt x="203614" y="99537"/>
                </a:cubicBezTo>
                <a:cubicBezTo>
                  <a:pt x="207894" y="101388"/>
                  <a:pt x="208530" y="106420"/>
                  <a:pt x="209398" y="111684"/>
                </a:cubicBezTo>
                <a:cubicBezTo>
                  <a:pt x="209415" y="116439"/>
                  <a:pt x="211000" y="121055"/>
                  <a:pt x="213910" y="124815"/>
                </a:cubicBezTo>
                <a:cubicBezTo>
                  <a:pt x="218827" y="129732"/>
                  <a:pt x="219232" y="138697"/>
                  <a:pt x="219695" y="145928"/>
                </a:cubicBezTo>
                <a:cubicBezTo>
                  <a:pt x="219613" y="148988"/>
                  <a:pt x="219960" y="152048"/>
                  <a:pt x="220736" y="155009"/>
                </a:cubicBezTo>
                <a:cubicBezTo>
                  <a:pt x="220736" y="155009"/>
                  <a:pt x="221025" y="155646"/>
                  <a:pt x="222182" y="155646"/>
                </a:cubicBezTo>
                <a:cubicBezTo>
                  <a:pt x="227290" y="154587"/>
                  <a:pt x="232096" y="152395"/>
                  <a:pt x="236238" y="149225"/>
                </a:cubicBezTo>
                <a:cubicBezTo>
                  <a:pt x="236608" y="148993"/>
                  <a:pt x="237083" y="148993"/>
                  <a:pt x="237453" y="149225"/>
                </a:cubicBezTo>
                <a:cubicBezTo>
                  <a:pt x="237835" y="149422"/>
                  <a:pt x="238048" y="149844"/>
                  <a:pt x="237973" y="150266"/>
                </a:cubicBezTo>
                <a:cubicBezTo>
                  <a:pt x="237661" y="161291"/>
                  <a:pt x="235712" y="172206"/>
                  <a:pt x="232189" y="182659"/>
                </a:cubicBezTo>
                <a:cubicBezTo>
                  <a:pt x="228105" y="187043"/>
                  <a:pt x="223292" y="190682"/>
                  <a:pt x="217959" y="193418"/>
                </a:cubicBezTo>
                <a:cubicBezTo>
                  <a:pt x="210671" y="197988"/>
                  <a:pt x="201589" y="203714"/>
                  <a:pt x="201184" y="206838"/>
                </a:cubicBezTo>
                <a:cubicBezTo>
                  <a:pt x="201017" y="209273"/>
                  <a:pt x="201132" y="211720"/>
                  <a:pt x="201531" y="214126"/>
                </a:cubicBezTo>
                <a:cubicBezTo>
                  <a:pt x="202168" y="219101"/>
                  <a:pt x="202804" y="224249"/>
                  <a:pt x="199160" y="227315"/>
                </a:cubicBezTo>
                <a:cubicBezTo>
                  <a:pt x="197656" y="228529"/>
                  <a:pt x="199622" y="233562"/>
                  <a:pt x="201300" y="238016"/>
                </a:cubicBezTo>
                <a:cubicBezTo>
                  <a:pt x="204192" y="245362"/>
                  <a:pt x="207084" y="253634"/>
                  <a:pt x="201300" y="256931"/>
                </a:cubicBezTo>
                <a:cubicBezTo>
                  <a:pt x="200276" y="257365"/>
                  <a:pt x="199484" y="258203"/>
                  <a:pt x="199102" y="259245"/>
                </a:cubicBezTo>
                <a:cubicBezTo>
                  <a:pt x="198697" y="260864"/>
                  <a:pt x="200085" y="263063"/>
                  <a:pt x="201416" y="265029"/>
                </a:cubicBezTo>
                <a:cubicBezTo>
                  <a:pt x="203325" y="268037"/>
                  <a:pt x="205696" y="271855"/>
                  <a:pt x="202341" y="274689"/>
                </a:cubicBezTo>
                <a:cubicBezTo>
                  <a:pt x="199970" y="276546"/>
                  <a:pt x="197407" y="278154"/>
                  <a:pt x="194706" y="279490"/>
                </a:cubicBezTo>
                <a:cubicBezTo>
                  <a:pt x="190425" y="281746"/>
                  <a:pt x="186318" y="283944"/>
                  <a:pt x="186318" y="286952"/>
                </a:cubicBezTo>
                <a:cubicBezTo>
                  <a:pt x="186318" y="292737"/>
                  <a:pt x="185451" y="307371"/>
                  <a:pt x="177468" y="310957"/>
                </a:cubicBezTo>
                <a:cubicBezTo>
                  <a:pt x="170585" y="314023"/>
                  <a:pt x="165899" y="325823"/>
                  <a:pt x="165899" y="334500"/>
                </a:cubicBezTo>
                <a:cubicBezTo>
                  <a:pt x="166027" y="337803"/>
                  <a:pt x="163875" y="340770"/>
                  <a:pt x="160693" y="341673"/>
                </a:cubicBezTo>
                <a:cubicBezTo>
                  <a:pt x="158090" y="342888"/>
                  <a:pt x="156528" y="343582"/>
                  <a:pt x="158437" y="348961"/>
                </a:cubicBezTo>
                <a:cubicBezTo>
                  <a:pt x="161735" y="358216"/>
                  <a:pt x="165494" y="368744"/>
                  <a:pt x="162487" y="374529"/>
                </a:cubicBezTo>
                <a:cubicBezTo>
                  <a:pt x="161503" y="376414"/>
                  <a:pt x="159750" y="377785"/>
                  <a:pt x="157685" y="378288"/>
                </a:cubicBezTo>
                <a:cubicBezTo>
                  <a:pt x="153231" y="379503"/>
                  <a:pt x="151901" y="385635"/>
                  <a:pt x="150744" y="391014"/>
                </a:cubicBezTo>
                <a:cubicBezTo>
                  <a:pt x="149587" y="396394"/>
                  <a:pt x="148951" y="399633"/>
                  <a:pt x="145885" y="399633"/>
                </a:cubicBezTo>
                <a:cubicBezTo>
                  <a:pt x="145365" y="399633"/>
                  <a:pt x="144670" y="400269"/>
                  <a:pt x="144150" y="401426"/>
                </a:cubicBezTo>
                <a:cubicBezTo>
                  <a:pt x="141032" y="410010"/>
                  <a:pt x="141986" y="419549"/>
                  <a:pt x="146753" y="427340"/>
                </a:cubicBezTo>
                <a:cubicBezTo>
                  <a:pt x="153058" y="435196"/>
                  <a:pt x="156361" y="445035"/>
                  <a:pt x="156066" y="455106"/>
                </a:cubicBezTo>
                <a:cubicBezTo>
                  <a:pt x="156326" y="458547"/>
                  <a:pt x="157523" y="461844"/>
                  <a:pt x="159536" y="464650"/>
                </a:cubicBezTo>
                <a:cubicBezTo>
                  <a:pt x="162834" y="468740"/>
                  <a:pt x="163956" y="474165"/>
                  <a:pt x="162544" y="479227"/>
                </a:cubicBezTo>
                <a:cubicBezTo>
                  <a:pt x="161497" y="482541"/>
                  <a:pt x="160757" y="485954"/>
                  <a:pt x="160346" y="489407"/>
                </a:cubicBezTo>
                <a:cubicBezTo>
                  <a:pt x="160340" y="494451"/>
                  <a:pt x="158246" y="499269"/>
                  <a:pt x="154562" y="502711"/>
                </a:cubicBezTo>
                <a:cubicBezTo>
                  <a:pt x="152306" y="504331"/>
                  <a:pt x="151959" y="507686"/>
                  <a:pt x="151612" y="511214"/>
                </a:cubicBezTo>
                <a:cubicBezTo>
                  <a:pt x="151265" y="514743"/>
                  <a:pt x="150744" y="520470"/>
                  <a:pt x="146174" y="522783"/>
                </a:cubicBezTo>
                <a:cubicBezTo>
                  <a:pt x="143166" y="524172"/>
                  <a:pt x="144902" y="532154"/>
                  <a:pt x="146174" y="539153"/>
                </a:cubicBezTo>
                <a:cubicBezTo>
                  <a:pt x="147447" y="546153"/>
                  <a:pt x="149472" y="554308"/>
                  <a:pt x="146174" y="557085"/>
                </a:cubicBezTo>
                <a:cubicBezTo>
                  <a:pt x="144619" y="558323"/>
                  <a:pt x="142976" y="559445"/>
                  <a:pt x="141257" y="560440"/>
                </a:cubicBezTo>
                <a:cubicBezTo>
                  <a:pt x="134490" y="564605"/>
                  <a:pt x="126045" y="569811"/>
                  <a:pt x="126045" y="583288"/>
                </a:cubicBezTo>
                <a:cubicBezTo>
                  <a:pt x="126045" y="590982"/>
                  <a:pt x="126565" y="597402"/>
                  <a:pt x="126970" y="602551"/>
                </a:cubicBezTo>
                <a:cubicBezTo>
                  <a:pt x="127884" y="608300"/>
                  <a:pt x="127884" y="614154"/>
                  <a:pt x="126970" y="619904"/>
                </a:cubicBezTo>
                <a:cubicBezTo>
                  <a:pt x="126392" y="622044"/>
                  <a:pt x="127317" y="622912"/>
                  <a:pt x="129226" y="624474"/>
                </a:cubicBezTo>
                <a:cubicBezTo>
                  <a:pt x="132812" y="626828"/>
                  <a:pt x="134530" y="631184"/>
                  <a:pt x="133507" y="635348"/>
                </a:cubicBezTo>
                <a:cubicBezTo>
                  <a:pt x="132465" y="642174"/>
                  <a:pt x="127086" y="642868"/>
                  <a:pt x="123152" y="643331"/>
                </a:cubicBezTo>
                <a:cubicBezTo>
                  <a:pt x="119219" y="643794"/>
                  <a:pt x="118178" y="644141"/>
                  <a:pt x="117946" y="645992"/>
                </a:cubicBezTo>
                <a:cubicBezTo>
                  <a:pt x="117790" y="648774"/>
                  <a:pt x="117906" y="651562"/>
                  <a:pt x="118293" y="654321"/>
                </a:cubicBezTo>
                <a:cubicBezTo>
                  <a:pt x="118930" y="660453"/>
                  <a:pt x="119624" y="666758"/>
                  <a:pt x="115401" y="667452"/>
                </a:cubicBezTo>
                <a:cubicBezTo>
                  <a:pt x="112393" y="667973"/>
                  <a:pt x="108923" y="670229"/>
                  <a:pt x="108923" y="683591"/>
                </a:cubicBezTo>
                <a:cubicBezTo>
                  <a:pt x="109090" y="688623"/>
                  <a:pt x="107401" y="693546"/>
                  <a:pt x="104179" y="697415"/>
                </a:cubicBezTo>
                <a:cubicBezTo>
                  <a:pt x="102884" y="698902"/>
                  <a:pt x="101987" y="700695"/>
                  <a:pt x="101576" y="702621"/>
                </a:cubicBezTo>
                <a:cubicBezTo>
                  <a:pt x="101588" y="705722"/>
                  <a:pt x="102490" y="708753"/>
                  <a:pt x="104179" y="711356"/>
                </a:cubicBezTo>
                <a:cubicBezTo>
                  <a:pt x="105967" y="714392"/>
                  <a:pt x="107031" y="717794"/>
                  <a:pt x="107303" y="721305"/>
                </a:cubicBezTo>
                <a:cubicBezTo>
                  <a:pt x="107303" y="722867"/>
                  <a:pt x="107303" y="725470"/>
                  <a:pt x="107824" y="728420"/>
                </a:cubicBezTo>
                <a:cubicBezTo>
                  <a:pt x="109096" y="741319"/>
                  <a:pt x="109675" y="751211"/>
                  <a:pt x="104700" y="751963"/>
                </a:cubicBezTo>
                <a:cubicBezTo>
                  <a:pt x="103427" y="751963"/>
                  <a:pt x="101576" y="754855"/>
                  <a:pt x="100304" y="760639"/>
                </a:cubicBezTo>
                <a:cubicBezTo>
                  <a:pt x="98511" y="768564"/>
                  <a:pt x="98858" y="777125"/>
                  <a:pt x="101056" y="778629"/>
                </a:cubicBezTo>
                <a:cubicBezTo>
                  <a:pt x="105990" y="782516"/>
                  <a:pt x="107210" y="789492"/>
                  <a:pt x="103890" y="794825"/>
                </a:cubicBezTo>
                <a:cubicBezTo>
                  <a:pt x="103254" y="796040"/>
                  <a:pt x="104411" y="797486"/>
                  <a:pt x="106378" y="799742"/>
                </a:cubicBezTo>
                <a:cubicBezTo>
                  <a:pt x="109154" y="802923"/>
                  <a:pt x="112856" y="807204"/>
                  <a:pt x="107766" y="812294"/>
                </a:cubicBezTo>
                <a:cubicBezTo>
                  <a:pt x="105238" y="814405"/>
                  <a:pt x="104255" y="817841"/>
                  <a:pt x="105278" y="820971"/>
                </a:cubicBezTo>
                <a:cubicBezTo>
                  <a:pt x="107101" y="824436"/>
                  <a:pt x="111294" y="825899"/>
                  <a:pt x="114880" y="824326"/>
                </a:cubicBezTo>
                <a:cubicBezTo>
                  <a:pt x="119254" y="823117"/>
                  <a:pt x="123777" y="825685"/>
                  <a:pt x="124986" y="830058"/>
                </a:cubicBezTo>
                <a:cubicBezTo>
                  <a:pt x="125258" y="831053"/>
                  <a:pt x="125345" y="832088"/>
                  <a:pt x="125235" y="833118"/>
                </a:cubicBezTo>
                <a:cubicBezTo>
                  <a:pt x="125275" y="834581"/>
                  <a:pt x="124760" y="836010"/>
                  <a:pt x="123789" y="837109"/>
                </a:cubicBezTo>
                <a:cubicBezTo>
                  <a:pt x="122608" y="838318"/>
                  <a:pt x="120960" y="838954"/>
                  <a:pt x="119277" y="838844"/>
                </a:cubicBezTo>
                <a:cubicBezTo>
                  <a:pt x="115228" y="838844"/>
                  <a:pt x="107708" y="838844"/>
                  <a:pt x="107072" y="840059"/>
                </a:cubicBezTo>
                <a:lnTo>
                  <a:pt x="107072" y="840059"/>
                </a:lnTo>
                <a:cubicBezTo>
                  <a:pt x="107072" y="840059"/>
                  <a:pt x="107072" y="840753"/>
                  <a:pt x="109328" y="842547"/>
                </a:cubicBezTo>
                <a:cubicBezTo>
                  <a:pt x="116384" y="848331"/>
                  <a:pt x="119740" y="852843"/>
                  <a:pt x="119161" y="856661"/>
                </a:cubicBezTo>
                <a:cubicBezTo>
                  <a:pt x="118756" y="859206"/>
                  <a:pt x="116732" y="861172"/>
                  <a:pt x="113377" y="862445"/>
                </a:cubicBezTo>
                <a:cubicBezTo>
                  <a:pt x="107592" y="864585"/>
                  <a:pt x="108402" y="867477"/>
                  <a:pt x="109443" y="872163"/>
                </a:cubicBezTo>
                <a:cubicBezTo>
                  <a:pt x="110531" y="875686"/>
                  <a:pt x="110710" y="879428"/>
                  <a:pt x="109964" y="883038"/>
                </a:cubicBezTo>
                <a:cubicBezTo>
                  <a:pt x="109304" y="886936"/>
                  <a:pt x="109744" y="890945"/>
                  <a:pt x="111237" y="894606"/>
                </a:cubicBezTo>
                <a:cubicBezTo>
                  <a:pt x="112532" y="897123"/>
                  <a:pt x="112804" y="900050"/>
                  <a:pt x="111988" y="902762"/>
                </a:cubicBezTo>
                <a:cubicBezTo>
                  <a:pt x="111184" y="904070"/>
                  <a:pt x="109894" y="905007"/>
                  <a:pt x="108402" y="905365"/>
                </a:cubicBezTo>
                <a:cubicBezTo>
                  <a:pt x="105626" y="906175"/>
                  <a:pt x="105741" y="908778"/>
                  <a:pt x="106204" y="912885"/>
                </a:cubicBezTo>
                <a:cubicBezTo>
                  <a:pt x="106667" y="916992"/>
                  <a:pt x="107303" y="923239"/>
                  <a:pt x="100015" y="924454"/>
                </a:cubicBezTo>
                <a:cubicBezTo>
                  <a:pt x="94230" y="925264"/>
                  <a:pt x="94230" y="928214"/>
                  <a:pt x="93536" y="932379"/>
                </a:cubicBezTo>
                <a:cubicBezTo>
                  <a:pt x="93513" y="936139"/>
                  <a:pt x="91893" y="939713"/>
                  <a:pt x="89082" y="942212"/>
                </a:cubicBezTo>
                <a:cubicBezTo>
                  <a:pt x="86421" y="944295"/>
                  <a:pt x="87751" y="946898"/>
                  <a:pt x="90123" y="951005"/>
                </a:cubicBezTo>
                <a:cubicBezTo>
                  <a:pt x="92495" y="955112"/>
                  <a:pt x="95387" y="960086"/>
                  <a:pt x="89776" y="963615"/>
                </a:cubicBezTo>
                <a:cubicBezTo>
                  <a:pt x="86537" y="966125"/>
                  <a:pt x="84640" y="969989"/>
                  <a:pt x="84628" y="974084"/>
                </a:cubicBezTo>
                <a:cubicBezTo>
                  <a:pt x="83934" y="978307"/>
                  <a:pt x="83298" y="982645"/>
                  <a:pt x="77687" y="982645"/>
                </a:cubicBezTo>
                <a:cubicBezTo>
                  <a:pt x="69762" y="982645"/>
                  <a:pt x="64903" y="993752"/>
                  <a:pt x="64093" y="999999"/>
                </a:cubicBezTo>
                <a:cubicBezTo>
                  <a:pt x="64093" y="1001329"/>
                  <a:pt x="63457" y="1002833"/>
                  <a:pt x="62994" y="1004569"/>
                </a:cubicBezTo>
                <a:cubicBezTo>
                  <a:pt x="61432" y="1010353"/>
                  <a:pt x="59234" y="1018567"/>
                  <a:pt x="64614" y="1024525"/>
                </a:cubicBezTo>
                <a:cubicBezTo>
                  <a:pt x="67656" y="1027851"/>
                  <a:pt x="68767" y="1032507"/>
                  <a:pt x="67564" y="1036846"/>
                </a:cubicBezTo>
                <a:cubicBezTo>
                  <a:pt x="67043" y="1039796"/>
                  <a:pt x="66928" y="1041184"/>
                  <a:pt x="69184" y="1042283"/>
                </a:cubicBezTo>
                <a:cubicBezTo>
                  <a:pt x="72666" y="1043347"/>
                  <a:pt x="76304" y="1043798"/>
                  <a:pt x="79943" y="1043613"/>
                </a:cubicBezTo>
                <a:cubicBezTo>
                  <a:pt x="86421" y="1043613"/>
                  <a:pt x="92553" y="1043960"/>
                  <a:pt x="94809" y="1047142"/>
                </a:cubicBezTo>
                <a:cubicBezTo>
                  <a:pt x="95694" y="1048571"/>
                  <a:pt x="95821" y="1050341"/>
                  <a:pt x="95156" y="1051885"/>
                </a:cubicBezTo>
                <a:cubicBezTo>
                  <a:pt x="92263" y="1060678"/>
                  <a:pt x="92784" y="1077626"/>
                  <a:pt x="95156" y="1081212"/>
                </a:cubicBezTo>
                <a:cubicBezTo>
                  <a:pt x="95260" y="1081363"/>
                  <a:pt x="95399" y="1081478"/>
                  <a:pt x="95561" y="1081559"/>
                </a:cubicBezTo>
                <a:cubicBezTo>
                  <a:pt x="97932" y="1081559"/>
                  <a:pt x="99610" y="1084162"/>
                  <a:pt x="101345" y="1086939"/>
                </a:cubicBezTo>
                <a:cubicBezTo>
                  <a:pt x="103080" y="1089715"/>
                  <a:pt x="105510" y="1093533"/>
                  <a:pt x="108518" y="1092723"/>
                </a:cubicBezTo>
                <a:cubicBezTo>
                  <a:pt x="119364" y="1091422"/>
                  <a:pt x="130273" y="1090687"/>
                  <a:pt x="141200" y="1090525"/>
                </a:cubicBezTo>
                <a:cubicBezTo>
                  <a:pt x="146620" y="1090352"/>
                  <a:pt x="152034" y="1090838"/>
                  <a:pt x="157338" y="1091971"/>
                </a:cubicBezTo>
                <a:cubicBezTo>
                  <a:pt x="163024" y="1093614"/>
                  <a:pt x="168225" y="1096610"/>
                  <a:pt x="172493" y="1100706"/>
                </a:cubicBezTo>
                <a:cubicBezTo>
                  <a:pt x="172783" y="1100972"/>
                  <a:pt x="172933" y="1101354"/>
                  <a:pt x="172898" y="1101747"/>
                </a:cubicBezTo>
                <a:cubicBezTo>
                  <a:pt x="172806" y="1102123"/>
                  <a:pt x="172551" y="1102441"/>
                  <a:pt x="172204" y="1102615"/>
                </a:cubicBezTo>
                <a:cubicBezTo>
                  <a:pt x="170874" y="1103205"/>
                  <a:pt x="169919" y="1104419"/>
                  <a:pt x="169659" y="1105854"/>
                </a:cubicBezTo>
                <a:cubicBezTo>
                  <a:pt x="168902" y="1107774"/>
                  <a:pt x="169162" y="1109949"/>
                  <a:pt x="170353" y="1111638"/>
                </a:cubicBezTo>
                <a:cubicBezTo>
                  <a:pt x="172841" y="1114820"/>
                  <a:pt x="179551" y="1115167"/>
                  <a:pt x="184352" y="1115167"/>
                </a:cubicBezTo>
                <a:lnTo>
                  <a:pt x="188169" y="1115167"/>
                </a:lnTo>
                <a:cubicBezTo>
                  <a:pt x="189852" y="1115011"/>
                  <a:pt x="191553" y="1115126"/>
                  <a:pt x="193202" y="1115514"/>
                </a:cubicBezTo>
                <a:cubicBezTo>
                  <a:pt x="193728" y="1115647"/>
                  <a:pt x="194087" y="1116127"/>
                  <a:pt x="194069" y="1116671"/>
                </a:cubicBezTo>
                <a:cubicBezTo>
                  <a:pt x="191582" y="1166533"/>
                  <a:pt x="191351" y="1201991"/>
                  <a:pt x="193549" y="1205462"/>
                </a:cubicBezTo>
                <a:cubicBezTo>
                  <a:pt x="196447" y="1205531"/>
                  <a:pt x="199339" y="1205439"/>
                  <a:pt x="202226" y="1205173"/>
                </a:cubicBezTo>
                <a:cubicBezTo>
                  <a:pt x="207027" y="1205173"/>
                  <a:pt x="212984" y="1204536"/>
                  <a:pt x="218827" y="1204536"/>
                </a:cubicBezTo>
                <a:cubicBezTo>
                  <a:pt x="225907" y="1203911"/>
                  <a:pt x="233028" y="1205086"/>
                  <a:pt x="239535" y="1207949"/>
                </a:cubicBezTo>
                <a:cubicBezTo>
                  <a:pt x="240009" y="1208065"/>
                  <a:pt x="240327" y="1208504"/>
                  <a:pt x="240287" y="1208990"/>
                </a:cubicBezTo>
                <a:cubicBezTo>
                  <a:pt x="240322" y="1209563"/>
                  <a:pt x="239882" y="1210055"/>
                  <a:pt x="239310" y="1210089"/>
                </a:cubicBezTo>
                <a:cubicBezTo>
                  <a:pt x="239269" y="1210089"/>
                  <a:pt x="239228" y="1210089"/>
                  <a:pt x="239188" y="1210089"/>
                </a:cubicBezTo>
                <a:lnTo>
                  <a:pt x="238783" y="1210089"/>
                </a:lnTo>
                <a:cubicBezTo>
                  <a:pt x="238233" y="1209852"/>
                  <a:pt x="237644" y="1209713"/>
                  <a:pt x="237048" y="1209684"/>
                </a:cubicBezTo>
                <a:cubicBezTo>
                  <a:pt x="236527" y="1209684"/>
                  <a:pt x="236006" y="1209684"/>
                  <a:pt x="235717" y="1211073"/>
                </a:cubicBezTo>
                <a:cubicBezTo>
                  <a:pt x="234884" y="1214781"/>
                  <a:pt x="231396" y="1217273"/>
                  <a:pt x="227619" y="1216857"/>
                </a:cubicBezTo>
                <a:cubicBezTo>
                  <a:pt x="223651" y="1216614"/>
                  <a:pt x="219752" y="1215758"/>
                  <a:pt x="216050" y="1214312"/>
                </a:cubicBezTo>
                <a:cubicBezTo>
                  <a:pt x="211128" y="1212490"/>
                  <a:pt x="206032" y="1211188"/>
                  <a:pt x="200837" y="1210436"/>
                </a:cubicBezTo>
                <a:lnTo>
                  <a:pt x="199970" y="1210436"/>
                </a:lnTo>
                <a:cubicBezTo>
                  <a:pt x="200421" y="1211159"/>
                  <a:pt x="200947" y="1211836"/>
                  <a:pt x="201531" y="1212461"/>
                </a:cubicBezTo>
                <a:cubicBezTo>
                  <a:pt x="206101" y="1217493"/>
                  <a:pt x="211538" y="1226633"/>
                  <a:pt x="209687" y="1230798"/>
                </a:cubicBezTo>
                <a:cubicBezTo>
                  <a:pt x="208831" y="1232082"/>
                  <a:pt x="207229" y="1232649"/>
                  <a:pt x="205754" y="1232186"/>
                </a:cubicBezTo>
                <a:close/>
                <a:moveTo>
                  <a:pt x="178278" y="1208065"/>
                </a:moveTo>
                <a:cubicBezTo>
                  <a:pt x="183021" y="1208065"/>
                  <a:pt x="187707" y="1213849"/>
                  <a:pt x="192681" y="1219634"/>
                </a:cubicBezTo>
                <a:cubicBezTo>
                  <a:pt x="196614" y="1224203"/>
                  <a:pt x="200664" y="1229004"/>
                  <a:pt x="204250" y="1229930"/>
                </a:cubicBezTo>
                <a:cubicBezTo>
                  <a:pt x="204788" y="1229999"/>
                  <a:pt x="205332" y="1229999"/>
                  <a:pt x="205870" y="1229930"/>
                </a:cubicBezTo>
                <a:cubicBezTo>
                  <a:pt x="206969" y="1229930"/>
                  <a:pt x="207200" y="1229467"/>
                  <a:pt x="207258" y="1229293"/>
                </a:cubicBezTo>
                <a:cubicBezTo>
                  <a:pt x="208357" y="1226806"/>
                  <a:pt x="204424" y="1218766"/>
                  <a:pt x="199507" y="1213328"/>
                </a:cubicBezTo>
                <a:cubicBezTo>
                  <a:pt x="198234" y="1211998"/>
                  <a:pt x="196904" y="1210263"/>
                  <a:pt x="197540" y="1208817"/>
                </a:cubicBezTo>
                <a:cubicBezTo>
                  <a:pt x="198176" y="1207371"/>
                  <a:pt x="198928" y="1207486"/>
                  <a:pt x="200490" y="1207486"/>
                </a:cubicBezTo>
                <a:cubicBezTo>
                  <a:pt x="205933" y="1208186"/>
                  <a:pt x="211272" y="1209528"/>
                  <a:pt x="216397" y="1211477"/>
                </a:cubicBezTo>
                <a:cubicBezTo>
                  <a:pt x="219874" y="1212843"/>
                  <a:pt x="223541" y="1213664"/>
                  <a:pt x="227272" y="1213907"/>
                </a:cubicBezTo>
                <a:cubicBezTo>
                  <a:pt x="229962" y="1214271"/>
                  <a:pt x="232478" y="1212507"/>
                  <a:pt x="233057" y="1209858"/>
                </a:cubicBezTo>
                <a:cubicBezTo>
                  <a:pt x="233236" y="1209065"/>
                  <a:pt x="233635" y="1208342"/>
                  <a:pt x="234213" y="1207776"/>
                </a:cubicBezTo>
                <a:cubicBezTo>
                  <a:pt x="229019" y="1206566"/>
                  <a:pt x="223692" y="1206046"/>
                  <a:pt x="218364" y="1206214"/>
                </a:cubicBezTo>
                <a:cubicBezTo>
                  <a:pt x="212580" y="1206214"/>
                  <a:pt x="206795" y="1206561"/>
                  <a:pt x="201878" y="1206850"/>
                </a:cubicBezTo>
                <a:cubicBezTo>
                  <a:pt x="198737" y="1207087"/>
                  <a:pt x="195591" y="1207087"/>
                  <a:pt x="192450" y="1206850"/>
                </a:cubicBezTo>
                <a:cubicBezTo>
                  <a:pt x="190946" y="1206850"/>
                  <a:pt x="186665" y="1205982"/>
                  <a:pt x="191293" y="1116671"/>
                </a:cubicBezTo>
                <a:cubicBezTo>
                  <a:pt x="190119" y="1116555"/>
                  <a:pt x="188939" y="1116555"/>
                  <a:pt x="187764" y="1116671"/>
                </a:cubicBezTo>
                <a:lnTo>
                  <a:pt x="183889" y="1116671"/>
                </a:lnTo>
                <a:cubicBezTo>
                  <a:pt x="178105" y="1116671"/>
                  <a:pt x="171163" y="1116150"/>
                  <a:pt x="168097" y="1112275"/>
                </a:cubicBezTo>
                <a:cubicBezTo>
                  <a:pt x="166588" y="1110117"/>
                  <a:pt x="166183" y="1107375"/>
                  <a:pt x="166998" y="1104870"/>
                </a:cubicBezTo>
                <a:cubicBezTo>
                  <a:pt x="167311" y="1103326"/>
                  <a:pt x="168150" y="1101932"/>
                  <a:pt x="169370" y="1100937"/>
                </a:cubicBezTo>
                <a:cubicBezTo>
                  <a:pt x="165610" y="1097576"/>
                  <a:pt x="161139" y="1095106"/>
                  <a:pt x="156297" y="1093706"/>
                </a:cubicBezTo>
                <a:cubicBezTo>
                  <a:pt x="151184" y="1092625"/>
                  <a:pt x="145960" y="1092156"/>
                  <a:pt x="140737" y="1092318"/>
                </a:cubicBezTo>
                <a:cubicBezTo>
                  <a:pt x="129909" y="1092474"/>
                  <a:pt x="119097" y="1093209"/>
                  <a:pt x="108344" y="1094516"/>
                </a:cubicBezTo>
                <a:cubicBezTo>
                  <a:pt x="103948" y="1095095"/>
                  <a:pt x="101287" y="1090988"/>
                  <a:pt x="98973" y="1087402"/>
                </a:cubicBezTo>
                <a:cubicBezTo>
                  <a:pt x="97585" y="1085261"/>
                  <a:pt x="96197" y="1083063"/>
                  <a:pt x="95040" y="1083063"/>
                </a:cubicBezTo>
                <a:cubicBezTo>
                  <a:pt x="94132" y="1083063"/>
                  <a:pt x="93293" y="1082577"/>
                  <a:pt x="92842" y="1081791"/>
                </a:cubicBezTo>
                <a:cubicBezTo>
                  <a:pt x="89603" y="1077337"/>
                  <a:pt x="89313" y="1059463"/>
                  <a:pt x="92321" y="1050439"/>
                </a:cubicBezTo>
                <a:cubicBezTo>
                  <a:pt x="92767" y="1049566"/>
                  <a:pt x="92767" y="1048536"/>
                  <a:pt x="92321" y="1047663"/>
                </a:cubicBezTo>
                <a:cubicBezTo>
                  <a:pt x="90759" y="1045464"/>
                  <a:pt x="84628" y="1045291"/>
                  <a:pt x="79191" y="1045117"/>
                </a:cubicBezTo>
                <a:cubicBezTo>
                  <a:pt x="75269" y="1045325"/>
                  <a:pt x="71347" y="1044799"/>
                  <a:pt x="67622" y="1043556"/>
                </a:cubicBezTo>
                <a:cubicBezTo>
                  <a:pt x="63804" y="1041647"/>
                  <a:pt x="64325" y="1038639"/>
                  <a:pt x="64787" y="1035689"/>
                </a:cubicBezTo>
                <a:cubicBezTo>
                  <a:pt x="65909" y="1032045"/>
                  <a:pt x="65007" y="1028076"/>
                  <a:pt x="62416" y="1025277"/>
                </a:cubicBezTo>
                <a:cubicBezTo>
                  <a:pt x="56227" y="1018393"/>
                  <a:pt x="58598" y="1009659"/>
                  <a:pt x="60275" y="1003238"/>
                </a:cubicBezTo>
                <a:cubicBezTo>
                  <a:pt x="60698" y="1001832"/>
                  <a:pt x="61045" y="1000404"/>
                  <a:pt x="61317" y="998957"/>
                </a:cubicBezTo>
                <a:cubicBezTo>
                  <a:pt x="62126" y="993173"/>
                  <a:pt x="67101" y="979927"/>
                  <a:pt x="77166" y="979927"/>
                </a:cubicBezTo>
                <a:cubicBezTo>
                  <a:pt x="80695" y="979927"/>
                  <a:pt x="81157" y="977787"/>
                  <a:pt x="81852" y="973332"/>
                </a:cubicBezTo>
                <a:cubicBezTo>
                  <a:pt x="81956" y="968566"/>
                  <a:pt x="84235" y="964112"/>
                  <a:pt x="88041" y="961243"/>
                </a:cubicBezTo>
                <a:cubicBezTo>
                  <a:pt x="91627" y="958987"/>
                  <a:pt x="90239" y="956153"/>
                  <a:pt x="87636" y="951699"/>
                </a:cubicBezTo>
                <a:cubicBezTo>
                  <a:pt x="85033" y="947245"/>
                  <a:pt x="82835" y="943369"/>
                  <a:pt x="87173" y="940130"/>
                </a:cubicBezTo>
                <a:cubicBezTo>
                  <a:pt x="89510" y="937972"/>
                  <a:pt x="90812" y="934924"/>
                  <a:pt x="90759" y="931742"/>
                </a:cubicBezTo>
                <a:cubicBezTo>
                  <a:pt x="91222" y="927578"/>
                  <a:pt x="91801" y="922892"/>
                  <a:pt x="99147" y="921851"/>
                </a:cubicBezTo>
                <a:cubicBezTo>
                  <a:pt x="104064" y="921157"/>
                  <a:pt x="103948" y="918033"/>
                  <a:pt x="103427" y="912943"/>
                </a:cubicBezTo>
                <a:cubicBezTo>
                  <a:pt x="103022" y="908952"/>
                  <a:pt x="102560" y="904440"/>
                  <a:pt x="107245" y="902994"/>
                </a:cubicBezTo>
                <a:cubicBezTo>
                  <a:pt x="108136" y="902809"/>
                  <a:pt x="108923" y="902288"/>
                  <a:pt x="109443" y="901548"/>
                </a:cubicBezTo>
                <a:cubicBezTo>
                  <a:pt x="109860" y="899373"/>
                  <a:pt x="109559" y="897117"/>
                  <a:pt x="108576" y="895127"/>
                </a:cubicBezTo>
                <a:cubicBezTo>
                  <a:pt x="106967" y="891130"/>
                  <a:pt x="106505" y="886763"/>
                  <a:pt x="107245" y="882517"/>
                </a:cubicBezTo>
                <a:cubicBezTo>
                  <a:pt x="107899" y="879266"/>
                  <a:pt x="107719" y="875905"/>
                  <a:pt x="106725" y="872741"/>
                </a:cubicBezTo>
                <a:cubicBezTo>
                  <a:pt x="105626" y="867882"/>
                  <a:pt x="104584" y="863255"/>
                  <a:pt x="112046" y="860421"/>
                </a:cubicBezTo>
                <a:cubicBezTo>
                  <a:pt x="114823" y="859322"/>
                  <a:pt x="116384" y="857933"/>
                  <a:pt x="116616" y="856256"/>
                </a:cubicBezTo>
                <a:cubicBezTo>
                  <a:pt x="117079" y="853421"/>
                  <a:pt x="113897" y="849141"/>
                  <a:pt x="107650" y="844282"/>
                </a:cubicBezTo>
                <a:cubicBezTo>
                  <a:pt x="105915" y="842952"/>
                  <a:pt x="104006" y="841158"/>
                  <a:pt x="104642" y="839249"/>
                </a:cubicBezTo>
                <a:cubicBezTo>
                  <a:pt x="105278" y="837340"/>
                  <a:pt x="110427" y="836531"/>
                  <a:pt x="118988" y="836531"/>
                </a:cubicBezTo>
                <a:cubicBezTo>
                  <a:pt x="120046" y="836600"/>
                  <a:pt x="121081" y="836247"/>
                  <a:pt x="121880" y="835547"/>
                </a:cubicBezTo>
                <a:cubicBezTo>
                  <a:pt x="122447" y="834848"/>
                  <a:pt x="122736" y="833962"/>
                  <a:pt x="122690" y="833060"/>
                </a:cubicBezTo>
                <a:cubicBezTo>
                  <a:pt x="122753" y="829653"/>
                  <a:pt x="120278" y="826732"/>
                  <a:pt x="116905" y="826234"/>
                </a:cubicBezTo>
                <a:cubicBezTo>
                  <a:pt x="116408" y="826154"/>
                  <a:pt x="115899" y="826154"/>
                  <a:pt x="115401" y="826234"/>
                </a:cubicBezTo>
                <a:cubicBezTo>
                  <a:pt x="110699" y="828120"/>
                  <a:pt x="105336" y="826084"/>
                  <a:pt x="103080" y="821549"/>
                </a:cubicBezTo>
                <a:cubicBezTo>
                  <a:pt x="101658" y="817581"/>
                  <a:pt x="102860" y="813150"/>
                  <a:pt x="106088" y="810443"/>
                </a:cubicBezTo>
                <a:cubicBezTo>
                  <a:pt x="109443" y="807030"/>
                  <a:pt x="107766" y="804659"/>
                  <a:pt x="104584" y="800957"/>
                </a:cubicBezTo>
                <a:cubicBezTo>
                  <a:pt x="102560" y="798643"/>
                  <a:pt x="100419" y="796213"/>
                  <a:pt x="101750" y="793495"/>
                </a:cubicBezTo>
                <a:cubicBezTo>
                  <a:pt x="104550" y="789191"/>
                  <a:pt x="103676" y="783470"/>
                  <a:pt x="99725" y="780190"/>
                </a:cubicBezTo>
                <a:cubicBezTo>
                  <a:pt x="95908" y="777645"/>
                  <a:pt x="96428" y="766771"/>
                  <a:pt x="97990" y="759829"/>
                </a:cubicBezTo>
                <a:cubicBezTo>
                  <a:pt x="98800" y="756185"/>
                  <a:pt x="100709" y="749938"/>
                  <a:pt x="104237" y="749417"/>
                </a:cubicBezTo>
                <a:cubicBezTo>
                  <a:pt x="107766" y="748897"/>
                  <a:pt x="106146" y="735014"/>
                  <a:pt x="105510" y="728362"/>
                </a:cubicBezTo>
                <a:cubicBezTo>
                  <a:pt x="105221" y="725296"/>
                  <a:pt x="104931" y="722578"/>
                  <a:pt x="104931" y="721016"/>
                </a:cubicBezTo>
                <a:cubicBezTo>
                  <a:pt x="104590" y="717863"/>
                  <a:pt x="103607" y="714809"/>
                  <a:pt x="102039" y="712050"/>
                </a:cubicBezTo>
                <a:cubicBezTo>
                  <a:pt x="100148" y="709036"/>
                  <a:pt x="99164" y="705542"/>
                  <a:pt x="99205" y="701985"/>
                </a:cubicBezTo>
                <a:cubicBezTo>
                  <a:pt x="99662" y="699688"/>
                  <a:pt x="100720" y="697554"/>
                  <a:pt x="102270" y="695796"/>
                </a:cubicBezTo>
                <a:cubicBezTo>
                  <a:pt x="105180" y="692296"/>
                  <a:pt x="106701" y="687848"/>
                  <a:pt x="106551" y="683301"/>
                </a:cubicBezTo>
                <a:cubicBezTo>
                  <a:pt x="106551" y="671732"/>
                  <a:pt x="109154" y="665948"/>
                  <a:pt x="114880" y="664965"/>
                </a:cubicBezTo>
                <a:cubicBezTo>
                  <a:pt x="117021" y="664618"/>
                  <a:pt x="116442" y="659180"/>
                  <a:pt x="115980" y="654264"/>
                </a:cubicBezTo>
                <a:cubicBezTo>
                  <a:pt x="115540" y="651336"/>
                  <a:pt x="115407" y="648369"/>
                  <a:pt x="115575" y="645413"/>
                </a:cubicBezTo>
                <a:cubicBezTo>
                  <a:pt x="116037" y="641654"/>
                  <a:pt x="119624" y="641191"/>
                  <a:pt x="122805" y="640844"/>
                </a:cubicBezTo>
                <a:cubicBezTo>
                  <a:pt x="125987" y="640497"/>
                  <a:pt x="130383" y="639860"/>
                  <a:pt x="131193" y="634712"/>
                </a:cubicBezTo>
                <a:cubicBezTo>
                  <a:pt x="132072" y="631322"/>
                  <a:pt x="130643" y="627759"/>
                  <a:pt x="127664" y="625920"/>
                </a:cubicBezTo>
                <a:cubicBezTo>
                  <a:pt x="125218" y="624601"/>
                  <a:pt x="123979" y="621790"/>
                  <a:pt x="124656" y="619094"/>
                </a:cubicBezTo>
                <a:cubicBezTo>
                  <a:pt x="125483" y="613651"/>
                  <a:pt x="125483" y="608110"/>
                  <a:pt x="124656" y="602666"/>
                </a:cubicBezTo>
                <a:cubicBezTo>
                  <a:pt x="124252" y="597460"/>
                  <a:pt x="123731" y="591097"/>
                  <a:pt x="123731" y="583231"/>
                </a:cubicBezTo>
                <a:cubicBezTo>
                  <a:pt x="123731" y="568480"/>
                  <a:pt x="133102" y="562696"/>
                  <a:pt x="139985" y="558473"/>
                </a:cubicBezTo>
                <a:cubicBezTo>
                  <a:pt x="141593" y="557536"/>
                  <a:pt x="143143" y="556489"/>
                  <a:pt x="144613" y="555350"/>
                </a:cubicBezTo>
                <a:cubicBezTo>
                  <a:pt x="146869" y="553383"/>
                  <a:pt x="145249" y="546037"/>
                  <a:pt x="143861" y="539558"/>
                </a:cubicBezTo>
                <a:cubicBezTo>
                  <a:pt x="142009" y="530939"/>
                  <a:pt x="140216" y="522783"/>
                  <a:pt x="144902" y="520701"/>
                </a:cubicBezTo>
                <a:cubicBezTo>
                  <a:pt x="148257" y="519197"/>
                  <a:pt x="148662" y="515321"/>
                  <a:pt x="149067" y="511272"/>
                </a:cubicBezTo>
                <a:cubicBezTo>
                  <a:pt x="148806" y="507489"/>
                  <a:pt x="150200" y="503776"/>
                  <a:pt x="152884" y="501092"/>
                </a:cubicBezTo>
                <a:cubicBezTo>
                  <a:pt x="156123" y="498836"/>
                  <a:pt x="156760" y="494613"/>
                  <a:pt x="157570" y="489523"/>
                </a:cubicBezTo>
                <a:cubicBezTo>
                  <a:pt x="158038" y="485936"/>
                  <a:pt x="158813" y="482396"/>
                  <a:pt x="159883" y="478937"/>
                </a:cubicBezTo>
                <a:cubicBezTo>
                  <a:pt x="161000" y="474512"/>
                  <a:pt x="159970" y="469821"/>
                  <a:pt x="157107" y="466270"/>
                </a:cubicBezTo>
                <a:cubicBezTo>
                  <a:pt x="154845" y="463134"/>
                  <a:pt x="153526" y="459426"/>
                  <a:pt x="153289" y="455568"/>
                </a:cubicBezTo>
                <a:cubicBezTo>
                  <a:pt x="153486" y="446030"/>
                  <a:pt x="150310" y="436734"/>
                  <a:pt x="144323" y="429307"/>
                </a:cubicBezTo>
                <a:cubicBezTo>
                  <a:pt x="139019" y="420815"/>
                  <a:pt x="137972" y="410340"/>
                  <a:pt x="141489" y="400963"/>
                </a:cubicBezTo>
                <a:cubicBezTo>
                  <a:pt x="142761" y="398476"/>
                  <a:pt x="144208" y="397955"/>
                  <a:pt x="145249" y="397955"/>
                </a:cubicBezTo>
                <a:cubicBezTo>
                  <a:pt x="146290" y="397955"/>
                  <a:pt x="147216" y="394311"/>
                  <a:pt x="147910" y="391130"/>
                </a:cubicBezTo>
                <a:cubicBezTo>
                  <a:pt x="149125" y="385345"/>
                  <a:pt x="150629" y="378230"/>
                  <a:pt x="156413" y="376669"/>
                </a:cubicBezTo>
                <a:cubicBezTo>
                  <a:pt x="157888" y="376362"/>
                  <a:pt x="159143" y="375408"/>
                  <a:pt x="159826" y="374066"/>
                </a:cubicBezTo>
                <a:cubicBezTo>
                  <a:pt x="162371" y="369149"/>
                  <a:pt x="158669" y="358679"/>
                  <a:pt x="155661" y="350292"/>
                </a:cubicBezTo>
                <a:cubicBezTo>
                  <a:pt x="153058" y="342945"/>
                  <a:pt x="156413" y="341441"/>
                  <a:pt x="159131" y="340227"/>
                </a:cubicBezTo>
                <a:cubicBezTo>
                  <a:pt x="161850" y="339012"/>
                  <a:pt x="163007" y="338433"/>
                  <a:pt x="163007" y="335079"/>
                </a:cubicBezTo>
                <a:cubicBezTo>
                  <a:pt x="163007" y="325534"/>
                  <a:pt x="168213" y="312924"/>
                  <a:pt x="175964" y="309511"/>
                </a:cubicBezTo>
                <a:cubicBezTo>
                  <a:pt x="183715" y="306099"/>
                  <a:pt x="183484" y="292158"/>
                  <a:pt x="183484" y="287531"/>
                </a:cubicBezTo>
                <a:cubicBezTo>
                  <a:pt x="183484" y="282903"/>
                  <a:pt x="188169" y="280705"/>
                  <a:pt x="193086" y="278044"/>
                </a:cubicBezTo>
                <a:cubicBezTo>
                  <a:pt x="195614" y="276795"/>
                  <a:pt x="198020" y="275308"/>
                  <a:pt x="200259" y="273590"/>
                </a:cubicBezTo>
                <a:cubicBezTo>
                  <a:pt x="201994" y="272144"/>
                  <a:pt x="201126" y="270293"/>
                  <a:pt x="198928" y="266822"/>
                </a:cubicBezTo>
                <a:cubicBezTo>
                  <a:pt x="197072" y="264705"/>
                  <a:pt x="196134" y="261935"/>
                  <a:pt x="196325" y="259129"/>
                </a:cubicBezTo>
                <a:cubicBezTo>
                  <a:pt x="196875" y="257463"/>
                  <a:pt x="198090" y="256104"/>
                  <a:pt x="199680" y="255369"/>
                </a:cubicBezTo>
                <a:cubicBezTo>
                  <a:pt x="203903" y="253056"/>
                  <a:pt x="201011" y="245767"/>
                  <a:pt x="198523" y="239289"/>
                </a:cubicBezTo>
                <a:cubicBezTo>
                  <a:pt x="196036" y="232810"/>
                  <a:pt x="194243" y="228298"/>
                  <a:pt x="197019" y="226042"/>
                </a:cubicBezTo>
                <a:cubicBezTo>
                  <a:pt x="199796" y="223786"/>
                  <a:pt x="199160" y="219448"/>
                  <a:pt x="198639" y="214878"/>
                </a:cubicBezTo>
                <a:cubicBezTo>
                  <a:pt x="198194" y="212281"/>
                  <a:pt x="198055" y="209637"/>
                  <a:pt x="198234" y="207011"/>
                </a:cubicBezTo>
                <a:cubicBezTo>
                  <a:pt x="198755" y="203136"/>
                  <a:pt x="205638" y="198508"/>
                  <a:pt x="216050" y="191972"/>
                </a:cubicBezTo>
                <a:cubicBezTo>
                  <a:pt x="221019" y="189352"/>
                  <a:pt x="225560" y="185997"/>
                  <a:pt x="229528" y="182023"/>
                </a:cubicBezTo>
                <a:cubicBezTo>
                  <a:pt x="232715" y="172577"/>
                  <a:pt x="234508" y="162714"/>
                  <a:pt x="234850" y="152753"/>
                </a:cubicBezTo>
                <a:cubicBezTo>
                  <a:pt x="230864" y="155657"/>
                  <a:pt x="226277" y="157635"/>
                  <a:pt x="221430" y="158538"/>
                </a:cubicBezTo>
                <a:cubicBezTo>
                  <a:pt x="219949" y="158723"/>
                  <a:pt x="218520" y="157925"/>
                  <a:pt x="217901" y="156571"/>
                </a:cubicBezTo>
                <a:cubicBezTo>
                  <a:pt x="216976" y="153361"/>
                  <a:pt x="216565" y="150017"/>
                  <a:pt x="216687" y="146680"/>
                </a:cubicBezTo>
                <a:cubicBezTo>
                  <a:pt x="216397" y="139912"/>
                  <a:pt x="216050" y="131409"/>
                  <a:pt x="211712" y="127071"/>
                </a:cubicBezTo>
                <a:cubicBezTo>
                  <a:pt x="208415" y="122992"/>
                  <a:pt x="206598" y="117914"/>
                  <a:pt x="206564" y="112667"/>
                </a:cubicBezTo>
                <a:cubicBezTo>
                  <a:pt x="205985" y="107808"/>
                  <a:pt x="205465" y="103644"/>
                  <a:pt x="202341" y="102255"/>
                </a:cubicBezTo>
                <a:cubicBezTo>
                  <a:pt x="195828" y="98588"/>
                  <a:pt x="191264" y="92243"/>
                  <a:pt x="189847" y="84902"/>
                </a:cubicBezTo>
                <a:cubicBezTo>
                  <a:pt x="189320" y="82212"/>
                  <a:pt x="190321" y="79453"/>
                  <a:pt x="192450" y="77729"/>
                </a:cubicBezTo>
                <a:cubicBezTo>
                  <a:pt x="195284" y="75589"/>
                  <a:pt x="195226" y="72234"/>
                  <a:pt x="195111" y="68648"/>
                </a:cubicBezTo>
                <a:cubicBezTo>
                  <a:pt x="194388" y="64975"/>
                  <a:pt x="195486" y="61186"/>
                  <a:pt x="198061" y="58467"/>
                </a:cubicBezTo>
                <a:cubicBezTo>
                  <a:pt x="198986" y="57657"/>
                  <a:pt x="199449" y="57021"/>
                  <a:pt x="199449" y="56500"/>
                </a:cubicBezTo>
                <a:cubicBezTo>
                  <a:pt x="199449" y="55980"/>
                  <a:pt x="197656" y="54360"/>
                  <a:pt x="195689" y="52914"/>
                </a:cubicBezTo>
                <a:cubicBezTo>
                  <a:pt x="192334" y="50537"/>
                  <a:pt x="189286" y="47760"/>
                  <a:pt x="186608" y="44642"/>
                </a:cubicBezTo>
                <a:cubicBezTo>
                  <a:pt x="183351" y="40090"/>
                  <a:pt x="182269" y="34335"/>
                  <a:pt x="183657" y="28909"/>
                </a:cubicBezTo>
                <a:cubicBezTo>
                  <a:pt x="184294" y="23645"/>
                  <a:pt x="184814" y="19133"/>
                  <a:pt x="180302" y="15778"/>
                </a:cubicBezTo>
                <a:cubicBezTo>
                  <a:pt x="176496" y="12828"/>
                  <a:pt x="173361" y="9103"/>
                  <a:pt x="171105" y="4846"/>
                </a:cubicBezTo>
                <a:lnTo>
                  <a:pt x="170006" y="3110"/>
                </a:lnTo>
                <a:lnTo>
                  <a:pt x="170006" y="3110"/>
                </a:lnTo>
                <a:cubicBezTo>
                  <a:pt x="169173" y="4961"/>
                  <a:pt x="168554" y="6905"/>
                  <a:pt x="168155" y="8895"/>
                </a:cubicBezTo>
                <a:cubicBezTo>
                  <a:pt x="166536" y="14679"/>
                  <a:pt x="164338" y="22604"/>
                  <a:pt x="158264" y="25612"/>
                </a:cubicBezTo>
                <a:cubicBezTo>
                  <a:pt x="156378" y="26716"/>
                  <a:pt x="154597" y="27995"/>
                  <a:pt x="152942" y="29429"/>
                </a:cubicBezTo>
                <a:cubicBezTo>
                  <a:pt x="152942" y="31454"/>
                  <a:pt x="152942" y="33826"/>
                  <a:pt x="152537" y="36313"/>
                </a:cubicBezTo>
                <a:cubicBezTo>
                  <a:pt x="151600" y="41889"/>
                  <a:pt x="151797" y="47593"/>
                  <a:pt x="153116" y="53088"/>
                </a:cubicBezTo>
                <a:cubicBezTo>
                  <a:pt x="156875" y="62401"/>
                  <a:pt x="158611" y="107114"/>
                  <a:pt x="155024" y="124005"/>
                </a:cubicBezTo>
                <a:cubicBezTo>
                  <a:pt x="152219" y="137980"/>
                  <a:pt x="148563" y="151770"/>
                  <a:pt x="144092" y="165306"/>
                </a:cubicBezTo>
                <a:cubicBezTo>
                  <a:pt x="142669" y="168626"/>
                  <a:pt x="143722" y="172484"/>
                  <a:pt x="146637" y="174618"/>
                </a:cubicBezTo>
                <a:cubicBezTo>
                  <a:pt x="148315" y="176354"/>
                  <a:pt x="150455" y="178494"/>
                  <a:pt x="147447" y="181502"/>
                </a:cubicBezTo>
                <a:cubicBezTo>
                  <a:pt x="144439" y="184510"/>
                  <a:pt x="144265" y="192666"/>
                  <a:pt x="144555" y="204640"/>
                </a:cubicBezTo>
                <a:cubicBezTo>
                  <a:pt x="144555" y="208400"/>
                  <a:pt x="144555" y="212622"/>
                  <a:pt x="144555" y="217192"/>
                </a:cubicBezTo>
                <a:cubicBezTo>
                  <a:pt x="143519" y="231584"/>
                  <a:pt x="140916" y="245819"/>
                  <a:pt x="136804" y="259650"/>
                </a:cubicBezTo>
                <a:cubicBezTo>
                  <a:pt x="134895" y="266192"/>
                  <a:pt x="133449" y="272861"/>
                  <a:pt x="132465" y="279606"/>
                </a:cubicBezTo>
                <a:cubicBezTo>
                  <a:pt x="132014" y="284008"/>
                  <a:pt x="130736" y="288288"/>
                  <a:pt x="128705" y="292216"/>
                </a:cubicBezTo>
                <a:cubicBezTo>
                  <a:pt x="126091" y="297034"/>
                  <a:pt x="124870" y="302477"/>
                  <a:pt x="125177" y="307950"/>
                </a:cubicBezTo>
                <a:cubicBezTo>
                  <a:pt x="126449" y="320155"/>
                  <a:pt x="119392" y="327038"/>
                  <a:pt x="112683" y="332534"/>
                </a:cubicBezTo>
                <a:cubicBezTo>
                  <a:pt x="109675" y="334963"/>
                  <a:pt x="113434" y="341673"/>
                  <a:pt x="117079" y="348094"/>
                </a:cubicBezTo>
                <a:cubicBezTo>
                  <a:pt x="120503" y="352947"/>
                  <a:pt x="122672" y="358569"/>
                  <a:pt x="123384" y="364463"/>
                </a:cubicBezTo>
                <a:cubicBezTo>
                  <a:pt x="122805" y="368426"/>
                  <a:pt x="121076" y="372128"/>
                  <a:pt x="118409" y="375107"/>
                </a:cubicBezTo>
                <a:cubicBezTo>
                  <a:pt x="113753" y="380151"/>
                  <a:pt x="111780" y="387110"/>
                  <a:pt x="113087" y="393848"/>
                </a:cubicBezTo>
                <a:cubicBezTo>
                  <a:pt x="115124" y="411132"/>
                  <a:pt x="115280" y="428590"/>
                  <a:pt x="113550" y="445908"/>
                </a:cubicBezTo>
                <a:cubicBezTo>
                  <a:pt x="113550" y="449726"/>
                  <a:pt x="113087" y="452734"/>
                  <a:pt x="113087" y="454238"/>
                </a:cubicBezTo>
                <a:cubicBezTo>
                  <a:pt x="113006" y="456702"/>
                  <a:pt x="111942" y="459039"/>
                  <a:pt x="110138" y="460716"/>
                </a:cubicBezTo>
                <a:cubicBezTo>
                  <a:pt x="107066" y="463927"/>
                  <a:pt x="105880" y="468508"/>
                  <a:pt x="107014" y="472806"/>
                </a:cubicBezTo>
                <a:cubicBezTo>
                  <a:pt x="107702" y="478405"/>
                  <a:pt x="106372" y="484068"/>
                  <a:pt x="103254" y="488771"/>
                </a:cubicBezTo>
                <a:cubicBezTo>
                  <a:pt x="100009" y="494365"/>
                  <a:pt x="98036" y="500606"/>
                  <a:pt x="97470" y="507050"/>
                </a:cubicBezTo>
                <a:cubicBezTo>
                  <a:pt x="96081" y="520585"/>
                  <a:pt x="88214" y="538170"/>
                  <a:pt x="81852" y="552342"/>
                </a:cubicBezTo>
                <a:cubicBezTo>
                  <a:pt x="79653" y="557201"/>
                  <a:pt x="77571" y="561828"/>
                  <a:pt x="76067" y="565472"/>
                </a:cubicBezTo>
                <a:cubicBezTo>
                  <a:pt x="74563" y="569117"/>
                  <a:pt x="73580" y="572240"/>
                  <a:pt x="72712" y="575075"/>
                </a:cubicBezTo>
                <a:cubicBezTo>
                  <a:pt x="70051" y="583115"/>
                  <a:pt x="68432" y="587974"/>
                  <a:pt x="62300" y="587974"/>
                </a:cubicBezTo>
                <a:cubicBezTo>
                  <a:pt x="60478" y="587835"/>
                  <a:pt x="58714" y="588668"/>
                  <a:pt x="57673" y="590172"/>
                </a:cubicBezTo>
                <a:cubicBezTo>
                  <a:pt x="55706" y="593238"/>
                  <a:pt x="56400" y="599138"/>
                  <a:pt x="59697" y="606368"/>
                </a:cubicBezTo>
                <a:cubicBezTo>
                  <a:pt x="61745" y="611754"/>
                  <a:pt x="62208" y="617619"/>
                  <a:pt x="61027" y="623259"/>
                </a:cubicBezTo>
                <a:cubicBezTo>
                  <a:pt x="59622" y="629119"/>
                  <a:pt x="60403" y="635285"/>
                  <a:pt x="63226" y="640612"/>
                </a:cubicBezTo>
                <a:cubicBezTo>
                  <a:pt x="70167" y="652181"/>
                  <a:pt x="68605" y="656982"/>
                  <a:pt x="65424" y="666642"/>
                </a:cubicBezTo>
                <a:lnTo>
                  <a:pt x="64556" y="669477"/>
                </a:lnTo>
                <a:cubicBezTo>
                  <a:pt x="63405" y="673098"/>
                  <a:pt x="61791" y="676562"/>
                  <a:pt x="59755" y="679773"/>
                </a:cubicBezTo>
                <a:cubicBezTo>
                  <a:pt x="57256" y="683382"/>
                  <a:pt x="55978" y="687703"/>
                  <a:pt x="56111" y="692094"/>
                </a:cubicBezTo>
                <a:cubicBezTo>
                  <a:pt x="55897" y="696368"/>
                  <a:pt x="55017" y="700585"/>
                  <a:pt x="53508" y="704588"/>
                </a:cubicBezTo>
                <a:cubicBezTo>
                  <a:pt x="50737" y="710621"/>
                  <a:pt x="50344" y="717481"/>
                  <a:pt x="52409" y="723792"/>
                </a:cubicBezTo>
                <a:cubicBezTo>
                  <a:pt x="55648" y="731890"/>
                  <a:pt x="56285" y="736692"/>
                  <a:pt x="54491" y="739352"/>
                </a:cubicBezTo>
                <a:cubicBezTo>
                  <a:pt x="53120" y="741111"/>
                  <a:pt x="50911" y="741990"/>
                  <a:pt x="48707" y="741666"/>
                </a:cubicBezTo>
                <a:cubicBezTo>
                  <a:pt x="43790" y="741666"/>
                  <a:pt x="40782" y="749996"/>
                  <a:pt x="38295" y="770588"/>
                </a:cubicBezTo>
                <a:cubicBezTo>
                  <a:pt x="37196" y="779843"/>
                  <a:pt x="36617" y="785165"/>
                  <a:pt x="38295" y="786958"/>
                </a:cubicBezTo>
                <a:cubicBezTo>
                  <a:pt x="39972" y="788751"/>
                  <a:pt x="42633" y="788173"/>
                  <a:pt x="48764" y="787652"/>
                </a:cubicBezTo>
                <a:lnTo>
                  <a:pt x="49864" y="787652"/>
                </a:lnTo>
                <a:cubicBezTo>
                  <a:pt x="56979" y="787074"/>
                  <a:pt x="56979" y="771803"/>
                  <a:pt x="56979" y="759540"/>
                </a:cubicBezTo>
                <a:cubicBezTo>
                  <a:pt x="56840" y="754536"/>
                  <a:pt x="57031" y="749533"/>
                  <a:pt x="57557" y="744558"/>
                </a:cubicBezTo>
                <a:cubicBezTo>
                  <a:pt x="57557" y="742649"/>
                  <a:pt x="58482" y="737617"/>
                  <a:pt x="62184" y="737617"/>
                </a:cubicBezTo>
                <a:cubicBezTo>
                  <a:pt x="65887" y="737617"/>
                  <a:pt x="65887" y="736460"/>
                  <a:pt x="66176" y="734262"/>
                </a:cubicBezTo>
                <a:cubicBezTo>
                  <a:pt x="66176" y="730855"/>
                  <a:pt x="68611" y="727934"/>
                  <a:pt x="71960" y="727321"/>
                </a:cubicBezTo>
                <a:cubicBezTo>
                  <a:pt x="74447" y="726627"/>
                  <a:pt x="76125" y="726858"/>
                  <a:pt x="77108" y="727899"/>
                </a:cubicBezTo>
                <a:cubicBezTo>
                  <a:pt x="78069" y="729322"/>
                  <a:pt x="78421" y="731075"/>
                  <a:pt x="78092" y="732758"/>
                </a:cubicBezTo>
                <a:cubicBezTo>
                  <a:pt x="78092" y="735708"/>
                  <a:pt x="78092" y="737097"/>
                  <a:pt x="79827" y="737617"/>
                </a:cubicBezTo>
                <a:cubicBezTo>
                  <a:pt x="84050" y="738890"/>
                  <a:pt x="86768" y="741261"/>
                  <a:pt x="87173" y="744038"/>
                </a:cubicBezTo>
                <a:cubicBezTo>
                  <a:pt x="87578" y="746814"/>
                  <a:pt x="85785" y="749302"/>
                  <a:pt x="81909" y="751731"/>
                </a:cubicBezTo>
                <a:cubicBezTo>
                  <a:pt x="78034" y="754160"/>
                  <a:pt x="78844" y="758499"/>
                  <a:pt x="80001" y="763300"/>
                </a:cubicBezTo>
                <a:cubicBezTo>
                  <a:pt x="81568" y="766875"/>
                  <a:pt x="81568" y="770947"/>
                  <a:pt x="80001" y="774522"/>
                </a:cubicBezTo>
                <a:cubicBezTo>
                  <a:pt x="79480" y="775332"/>
                  <a:pt x="78959" y="776199"/>
                  <a:pt x="78381" y="777009"/>
                </a:cubicBezTo>
                <a:cubicBezTo>
                  <a:pt x="74505" y="782793"/>
                  <a:pt x="70514" y="788925"/>
                  <a:pt x="73406" y="795230"/>
                </a:cubicBezTo>
                <a:cubicBezTo>
                  <a:pt x="75240" y="798302"/>
                  <a:pt x="74714" y="802235"/>
                  <a:pt x="72134" y="804717"/>
                </a:cubicBezTo>
                <a:cubicBezTo>
                  <a:pt x="70040" y="807117"/>
                  <a:pt x="68813" y="810154"/>
                  <a:pt x="68663" y="813335"/>
                </a:cubicBezTo>
                <a:cubicBezTo>
                  <a:pt x="68356" y="816505"/>
                  <a:pt x="69022" y="819692"/>
                  <a:pt x="70572" y="822474"/>
                </a:cubicBezTo>
                <a:cubicBezTo>
                  <a:pt x="71440" y="824152"/>
                  <a:pt x="72365" y="825887"/>
                  <a:pt x="69299" y="827565"/>
                </a:cubicBezTo>
                <a:cubicBezTo>
                  <a:pt x="68374" y="828086"/>
                  <a:pt x="68721" y="829300"/>
                  <a:pt x="69994" y="831961"/>
                </a:cubicBezTo>
                <a:cubicBezTo>
                  <a:pt x="71266" y="834622"/>
                  <a:pt x="71844" y="835894"/>
                  <a:pt x="71035" y="837745"/>
                </a:cubicBezTo>
                <a:cubicBezTo>
                  <a:pt x="70462" y="838700"/>
                  <a:pt x="69478" y="839342"/>
                  <a:pt x="68374" y="839481"/>
                </a:cubicBezTo>
                <a:cubicBezTo>
                  <a:pt x="67535" y="839550"/>
                  <a:pt x="66777" y="840025"/>
                  <a:pt x="66349" y="840753"/>
                </a:cubicBezTo>
                <a:cubicBezTo>
                  <a:pt x="65019" y="843472"/>
                  <a:pt x="68374" y="850182"/>
                  <a:pt x="70341" y="854173"/>
                </a:cubicBezTo>
                <a:cubicBezTo>
                  <a:pt x="71220" y="855423"/>
                  <a:pt x="71416" y="857031"/>
                  <a:pt x="70861" y="858454"/>
                </a:cubicBezTo>
                <a:cubicBezTo>
                  <a:pt x="69878" y="860247"/>
                  <a:pt x="67448" y="860478"/>
                  <a:pt x="64614" y="860825"/>
                </a:cubicBezTo>
                <a:cubicBezTo>
                  <a:pt x="61594" y="860912"/>
                  <a:pt x="58656" y="861809"/>
                  <a:pt x="56111" y="863428"/>
                </a:cubicBezTo>
                <a:cubicBezTo>
                  <a:pt x="53971" y="865164"/>
                  <a:pt x="54665" y="866899"/>
                  <a:pt x="56921" y="870775"/>
                </a:cubicBezTo>
                <a:cubicBezTo>
                  <a:pt x="59177" y="874650"/>
                  <a:pt x="60912" y="877542"/>
                  <a:pt x="58829" y="881302"/>
                </a:cubicBezTo>
                <a:cubicBezTo>
                  <a:pt x="58049" y="883020"/>
                  <a:pt x="56319" y="884108"/>
                  <a:pt x="54433" y="884079"/>
                </a:cubicBezTo>
                <a:cubicBezTo>
                  <a:pt x="50268" y="884079"/>
                  <a:pt x="45120" y="879393"/>
                  <a:pt x="41418" y="875980"/>
                </a:cubicBezTo>
                <a:lnTo>
                  <a:pt x="39567" y="874303"/>
                </a:lnTo>
                <a:cubicBezTo>
                  <a:pt x="38752" y="873673"/>
                  <a:pt x="38248" y="872724"/>
                  <a:pt x="38179" y="871700"/>
                </a:cubicBezTo>
                <a:cubicBezTo>
                  <a:pt x="38179" y="868750"/>
                  <a:pt x="41476" y="865337"/>
                  <a:pt x="45352" y="861404"/>
                </a:cubicBezTo>
                <a:lnTo>
                  <a:pt x="45352" y="861404"/>
                </a:lnTo>
                <a:cubicBezTo>
                  <a:pt x="43443" y="861786"/>
                  <a:pt x="41476" y="861786"/>
                  <a:pt x="39567" y="861404"/>
                </a:cubicBezTo>
                <a:lnTo>
                  <a:pt x="36559" y="861404"/>
                </a:lnTo>
                <a:cubicBezTo>
                  <a:pt x="35229" y="861404"/>
                  <a:pt x="34419" y="861404"/>
                  <a:pt x="34014" y="862040"/>
                </a:cubicBezTo>
                <a:cubicBezTo>
                  <a:pt x="33627" y="862595"/>
                  <a:pt x="33476" y="863284"/>
                  <a:pt x="33609" y="863949"/>
                </a:cubicBezTo>
                <a:cubicBezTo>
                  <a:pt x="34014" y="869734"/>
                  <a:pt x="29676" y="871064"/>
                  <a:pt x="25453" y="872279"/>
                </a:cubicBezTo>
                <a:cubicBezTo>
                  <a:pt x="22503" y="872880"/>
                  <a:pt x="19767" y="874257"/>
                  <a:pt x="17529" y="876270"/>
                </a:cubicBezTo>
                <a:cubicBezTo>
                  <a:pt x="15446" y="878641"/>
                  <a:pt x="16661" y="880724"/>
                  <a:pt x="18859" y="883616"/>
                </a:cubicBezTo>
                <a:cubicBezTo>
                  <a:pt x="20074" y="885236"/>
                  <a:pt x="21115" y="886624"/>
                  <a:pt x="20652" y="888070"/>
                </a:cubicBezTo>
                <a:cubicBezTo>
                  <a:pt x="20218" y="889053"/>
                  <a:pt x="19334" y="889765"/>
                  <a:pt x="18281" y="889979"/>
                </a:cubicBezTo>
                <a:cubicBezTo>
                  <a:pt x="12496" y="891598"/>
                  <a:pt x="2663" y="899755"/>
                  <a:pt x="2084" y="905308"/>
                </a:cubicBezTo>
                <a:cubicBezTo>
                  <a:pt x="1911" y="906442"/>
                  <a:pt x="2223" y="907598"/>
                  <a:pt x="2952" y="908489"/>
                </a:cubicBezTo>
                <a:cubicBezTo>
                  <a:pt x="3351" y="908981"/>
                  <a:pt x="3941" y="909276"/>
                  <a:pt x="4572" y="909299"/>
                </a:cubicBezTo>
                <a:cubicBezTo>
                  <a:pt x="5786" y="909299"/>
                  <a:pt x="6480" y="908200"/>
                  <a:pt x="6480" y="906407"/>
                </a:cubicBezTo>
                <a:cubicBezTo>
                  <a:pt x="6567" y="902797"/>
                  <a:pt x="9569" y="899945"/>
                  <a:pt x="13173" y="900032"/>
                </a:cubicBezTo>
                <a:cubicBezTo>
                  <a:pt x="13260" y="900032"/>
                  <a:pt x="13341" y="900038"/>
                  <a:pt x="13422" y="900044"/>
                </a:cubicBezTo>
                <a:cubicBezTo>
                  <a:pt x="17031" y="900107"/>
                  <a:pt x="20218" y="902415"/>
                  <a:pt x="21404" y="905828"/>
                </a:cubicBezTo>
                <a:cubicBezTo>
                  <a:pt x="22503" y="908721"/>
                  <a:pt x="23544" y="908721"/>
                  <a:pt x="24065" y="908721"/>
                </a:cubicBezTo>
                <a:cubicBezTo>
                  <a:pt x="25100" y="908622"/>
                  <a:pt x="26113" y="908367"/>
                  <a:pt x="27073" y="907968"/>
                </a:cubicBezTo>
                <a:cubicBezTo>
                  <a:pt x="29103" y="907170"/>
                  <a:pt x="31255" y="906719"/>
                  <a:pt x="33436" y="906638"/>
                </a:cubicBezTo>
                <a:cubicBezTo>
                  <a:pt x="34408" y="906638"/>
                  <a:pt x="35380" y="906754"/>
                  <a:pt x="36328" y="906985"/>
                </a:cubicBezTo>
                <a:cubicBezTo>
                  <a:pt x="41089" y="908078"/>
                  <a:pt x="44183" y="912688"/>
                  <a:pt x="43385" y="917513"/>
                </a:cubicBezTo>
                <a:cubicBezTo>
                  <a:pt x="43038" y="921099"/>
                  <a:pt x="41014" y="923297"/>
                  <a:pt x="38353" y="923297"/>
                </a:cubicBezTo>
                <a:cubicBezTo>
                  <a:pt x="36860" y="923326"/>
                  <a:pt x="35466" y="924055"/>
                  <a:pt x="34593" y="925264"/>
                </a:cubicBezTo>
                <a:cubicBezTo>
                  <a:pt x="31643" y="929203"/>
                  <a:pt x="30411" y="934172"/>
                  <a:pt x="31180" y="939031"/>
                </a:cubicBezTo>
                <a:cubicBezTo>
                  <a:pt x="31180" y="940708"/>
                  <a:pt x="32105" y="942212"/>
                  <a:pt x="36039" y="942212"/>
                </a:cubicBezTo>
                <a:cubicBezTo>
                  <a:pt x="38688" y="942091"/>
                  <a:pt x="41320" y="941738"/>
                  <a:pt x="43906" y="941171"/>
                </a:cubicBezTo>
                <a:cubicBezTo>
                  <a:pt x="47787" y="940101"/>
                  <a:pt x="51848" y="939887"/>
                  <a:pt x="55822" y="940535"/>
                </a:cubicBezTo>
                <a:cubicBezTo>
                  <a:pt x="59778" y="942085"/>
                  <a:pt x="62028" y="946273"/>
                  <a:pt x="61143" y="950426"/>
                </a:cubicBezTo>
                <a:cubicBezTo>
                  <a:pt x="60738" y="952914"/>
                  <a:pt x="59466" y="954475"/>
                  <a:pt x="57788" y="954475"/>
                </a:cubicBezTo>
                <a:cubicBezTo>
                  <a:pt x="56828" y="954423"/>
                  <a:pt x="55931" y="953989"/>
                  <a:pt x="55301" y="953261"/>
                </a:cubicBezTo>
                <a:cubicBezTo>
                  <a:pt x="52085" y="949663"/>
                  <a:pt x="47776" y="947222"/>
                  <a:pt x="43038" y="946319"/>
                </a:cubicBezTo>
                <a:cubicBezTo>
                  <a:pt x="41274" y="946290"/>
                  <a:pt x="39654" y="947285"/>
                  <a:pt x="38873" y="948864"/>
                </a:cubicBezTo>
                <a:cubicBezTo>
                  <a:pt x="37433" y="951809"/>
                  <a:pt x="34454" y="953689"/>
                  <a:pt x="31180" y="953723"/>
                </a:cubicBezTo>
                <a:cubicBezTo>
                  <a:pt x="27999" y="953422"/>
                  <a:pt x="24910" y="952474"/>
                  <a:pt x="22098" y="950947"/>
                </a:cubicBezTo>
                <a:lnTo>
                  <a:pt x="21115" y="950542"/>
                </a:lnTo>
                <a:cubicBezTo>
                  <a:pt x="20716" y="950438"/>
                  <a:pt x="20300" y="950438"/>
                  <a:pt x="19900" y="950542"/>
                </a:cubicBezTo>
                <a:cubicBezTo>
                  <a:pt x="13069" y="951664"/>
                  <a:pt x="7030" y="955638"/>
                  <a:pt x="3299" y="961474"/>
                </a:cubicBezTo>
                <a:cubicBezTo>
                  <a:pt x="2888" y="962377"/>
                  <a:pt x="3212" y="963441"/>
                  <a:pt x="4051" y="963962"/>
                </a:cubicBezTo>
                <a:cubicBezTo>
                  <a:pt x="6868" y="966154"/>
                  <a:pt x="9060" y="969046"/>
                  <a:pt x="10414" y="972349"/>
                </a:cubicBezTo>
                <a:cubicBezTo>
                  <a:pt x="11571" y="974721"/>
                  <a:pt x="12207" y="975878"/>
                  <a:pt x="13248" y="975878"/>
                </a:cubicBezTo>
                <a:cubicBezTo>
                  <a:pt x="18442" y="975218"/>
                  <a:pt x="23105" y="972355"/>
                  <a:pt x="26032" y="968011"/>
                </a:cubicBezTo>
                <a:cubicBezTo>
                  <a:pt x="27623" y="964824"/>
                  <a:pt x="30711" y="962649"/>
                  <a:pt x="34246" y="962226"/>
                </a:cubicBezTo>
                <a:cubicBezTo>
                  <a:pt x="36097" y="962226"/>
                  <a:pt x="39278" y="963210"/>
                  <a:pt x="39683" y="969804"/>
                </a:cubicBezTo>
                <a:cubicBezTo>
                  <a:pt x="40088" y="976398"/>
                  <a:pt x="35171" y="978192"/>
                  <a:pt x="31296" y="978944"/>
                </a:cubicBezTo>
                <a:cubicBezTo>
                  <a:pt x="28693" y="979464"/>
                  <a:pt x="26437" y="979927"/>
                  <a:pt x="25511" y="981894"/>
                </a:cubicBezTo>
                <a:cubicBezTo>
                  <a:pt x="22220" y="988783"/>
                  <a:pt x="17043" y="994596"/>
                  <a:pt x="10587" y="998668"/>
                </a:cubicBezTo>
                <a:cubicBezTo>
                  <a:pt x="8493" y="999958"/>
                  <a:pt x="7539" y="1002509"/>
                  <a:pt x="8273" y="1004858"/>
                </a:cubicBezTo>
                <a:cubicBezTo>
                  <a:pt x="9361" y="1007767"/>
                  <a:pt x="12554" y="1009300"/>
                  <a:pt x="15504" y="1008328"/>
                </a:cubicBezTo>
                <a:cubicBezTo>
                  <a:pt x="17529" y="1007287"/>
                  <a:pt x="18686" y="1007750"/>
                  <a:pt x="19090" y="1008328"/>
                </a:cubicBezTo>
                <a:cubicBezTo>
                  <a:pt x="19704" y="1009271"/>
                  <a:pt x="19895" y="1010422"/>
                  <a:pt x="19611" y="1011510"/>
                </a:cubicBezTo>
                <a:cubicBezTo>
                  <a:pt x="19611" y="1014402"/>
                  <a:pt x="19611" y="1016311"/>
                  <a:pt x="22850" y="1016774"/>
                </a:cubicBezTo>
                <a:cubicBezTo>
                  <a:pt x="25228" y="1017439"/>
                  <a:pt x="27773" y="1016675"/>
                  <a:pt x="29387" y="1014807"/>
                </a:cubicBezTo>
                <a:cubicBezTo>
                  <a:pt x="30763" y="1012562"/>
                  <a:pt x="31018" y="1009803"/>
                  <a:pt x="30081" y="1007345"/>
                </a:cubicBezTo>
                <a:cubicBezTo>
                  <a:pt x="29196" y="1002931"/>
                  <a:pt x="30231" y="998350"/>
                  <a:pt x="32915" y="994735"/>
                </a:cubicBezTo>
                <a:cubicBezTo>
                  <a:pt x="34662" y="991577"/>
                  <a:pt x="38636" y="990426"/>
                  <a:pt x="41794" y="992172"/>
                </a:cubicBezTo>
                <a:cubicBezTo>
                  <a:pt x="42413" y="992508"/>
                  <a:pt x="42969" y="992947"/>
                  <a:pt x="43443" y="993463"/>
                </a:cubicBezTo>
                <a:cubicBezTo>
                  <a:pt x="48707" y="998321"/>
                  <a:pt x="45525" y="1003354"/>
                  <a:pt x="42922" y="1007403"/>
                </a:cubicBezTo>
                <a:cubicBezTo>
                  <a:pt x="41499" y="1009225"/>
                  <a:pt x="40545" y="1011371"/>
                  <a:pt x="40146" y="1013650"/>
                </a:cubicBezTo>
                <a:cubicBezTo>
                  <a:pt x="39937" y="1017126"/>
                  <a:pt x="39238" y="1020551"/>
                  <a:pt x="38063" y="1023831"/>
                </a:cubicBezTo>
                <a:cubicBezTo>
                  <a:pt x="36884" y="1027185"/>
                  <a:pt x="36160" y="1030691"/>
                  <a:pt x="35923" y="1034243"/>
                </a:cubicBezTo>
                <a:cubicBezTo>
                  <a:pt x="36004" y="1036967"/>
                  <a:pt x="34170" y="1039373"/>
                  <a:pt x="31527" y="1040027"/>
                </a:cubicBezTo>
                <a:cubicBezTo>
                  <a:pt x="29618" y="1040837"/>
                  <a:pt x="28404" y="1041415"/>
                  <a:pt x="28635" y="1044365"/>
                </a:cubicBezTo>
                <a:cubicBezTo>
                  <a:pt x="29040" y="1049398"/>
                  <a:pt x="22850" y="1050150"/>
                  <a:pt x="19669" y="1050150"/>
                </a:cubicBezTo>
                <a:lnTo>
                  <a:pt x="18338" y="1050150"/>
                </a:lnTo>
                <a:lnTo>
                  <a:pt x="19033" y="1050612"/>
                </a:lnTo>
                <a:cubicBezTo>
                  <a:pt x="24296" y="1053852"/>
                  <a:pt x="21751" y="1058075"/>
                  <a:pt x="19958" y="1061198"/>
                </a:cubicBezTo>
                <a:cubicBezTo>
                  <a:pt x="18165" y="1064322"/>
                  <a:pt x="17355" y="1065710"/>
                  <a:pt x="18686" y="1066982"/>
                </a:cubicBezTo>
                <a:cubicBezTo>
                  <a:pt x="20016" y="1068255"/>
                  <a:pt x="19842" y="1067734"/>
                  <a:pt x="20016" y="1067734"/>
                </a:cubicBezTo>
                <a:cubicBezTo>
                  <a:pt x="20189" y="1067734"/>
                  <a:pt x="22214" y="1066693"/>
                  <a:pt x="23487" y="1065536"/>
                </a:cubicBezTo>
                <a:cubicBezTo>
                  <a:pt x="25332" y="1063558"/>
                  <a:pt x="27808" y="1062291"/>
                  <a:pt x="30486" y="1061950"/>
                </a:cubicBezTo>
                <a:cubicBezTo>
                  <a:pt x="31255" y="1061944"/>
                  <a:pt x="32024" y="1062083"/>
                  <a:pt x="32742" y="1062355"/>
                </a:cubicBezTo>
                <a:cubicBezTo>
                  <a:pt x="34043" y="1062818"/>
                  <a:pt x="35322" y="1063356"/>
                  <a:pt x="36559" y="1063974"/>
                </a:cubicBezTo>
                <a:cubicBezTo>
                  <a:pt x="37467" y="1064547"/>
                  <a:pt x="38497" y="1064883"/>
                  <a:pt x="39567" y="1064958"/>
                </a:cubicBezTo>
                <a:cubicBezTo>
                  <a:pt x="41823" y="1064594"/>
                  <a:pt x="43998" y="1063830"/>
                  <a:pt x="45988" y="1062702"/>
                </a:cubicBezTo>
                <a:cubicBezTo>
                  <a:pt x="47203" y="1062147"/>
                  <a:pt x="48528" y="1061852"/>
                  <a:pt x="49864" y="1061834"/>
                </a:cubicBezTo>
                <a:cubicBezTo>
                  <a:pt x="53346" y="1061678"/>
                  <a:pt x="56394" y="1064171"/>
                  <a:pt x="56921" y="1067619"/>
                </a:cubicBezTo>
                <a:cubicBezTo>
                  <a:pt x="57337" y="1070702"/>
                  <a:pt x="55243" y="1073565"/>
                  <a:pt x="52177" y="1074097"/>
                </a:cubicBezTo>
                <a:cubicBezTo>
                  <a:pt x="47110" y="1075821"/>
                  <a:pt x="42743" y="1079153"/>
                  <a:pt x="39741" y="1083584"/>
                </a:cubicBezTo>
                <a:cubicBezTo>
                  <a:pt x="39538" y="1083896"/>
                  <a:pt x="39423" y="1084255"/>
                  <a:pt x="39394" y="1084625"/>
                </a:cubicBezTo>
                <a:cubicBezTo>
                  <a:pt x="39643" y="1084677"/>
                  <a:pt x="39897" y="1084677"/>
                  <a:pt x="40146" y="1084625"/>
                </a:cubicBezTo>
                <a:cubicBezTo>
                  <a:pt x="41546" y="1084509"/>
                  <a:pt x="42922" y="1084214"/>
                  <a:pt x="44253" y="1083757"/>
                </a:cubicBezTo>
                <a:cubicBezTo>
                  <a:pt x="46260" y="1083115"/>
                  <a:pt x="48337" y="1082728"/>
                  <a:pt x="50442" y="1082600"/>
                </a:cubicBezTo>
                <a:cubicBezTo>
                  <a:pt x="53328" y="1082358"/>
                  <a:pt x="55949" y="1084284"/>
                  <a:pt x="56574" y="1087112"/>
                </a:cubicBezTo>
                <a:cubicBezTo>
                  <a:pt x="57326" y="1089600"/>
                  <a:pt x="58540" y="1091103"/>
                  <a:pt x="59755" y="1091103"/>
                </a:cubicBezTo>
                <a:cubicBezTo>
                  <a:pt x="60970" y="1091103"/>
                  <a:pt x="63168" y="1088558"/>
                  <a:pt x="63457" y="1084336"/>
                </a:cubicBezTo>
                <a:cubicBezTo>
                  <a:pt x="63382" y="1081715"/>
                  <a:pt x="65447" y="1079535"/>
                  <a:pt x="68067" y="1079459"/>
                </a:cubicBezTo>
                <a:cubicBezTo>
                  <a:pt x="68247" y="1079454"/>
                  <a:pt x="68426" y="1079459"/>
                  <a:pt x="68605" y="1079477"/>
                </a:cubicBezTo>
                <a:cubicBezTo>
                  <a:pt x="75014" y="1080200"/>
                  <a:pt x="80573" y="1084243"/>
                  <a:pt x="83240" y="1090120"/>
                </a:cubicBezTo>
                <a:cubicBezTo>
                  <a:pt x="83789" y="1091775"/>
                  <a:pt x="83488" y="1093591"/>
                  <a:pt x="82430" y="1094979"/>
                </a:cubicBezTo>
                <a:cubicBezTo>
                  <a:pt x="78497" y="1100764"/>
                  <a:pt x="65077" y="1102730"/>
                  <a:pt x="57731" y="1101226"/>
                </a:cubicBezTo>
                <a:cubicBezTo>
                  <a:pt x="54376" y="1100422"/>
                  <a:pt x="50905" y="1102024"/>
                  <a:pt x="49343" y="1105102"/>
                </a:cubicBezTo>
                <a:cubicBezTo>
                  <a:pt x="47816" y="1108700"/>
                  <a:pt x="48417" y="1112847"/>
                  <a:pt x="50905" y="1115861"/>
                </a:cubicBezTo>
                <a:cubicBezTo>
                  <a:pt x="51957" y="1117521"/>
                  <a:pt x="53745" y="1118574"/>
                  <a:pt x="55706" y="1118695"/>
                </a:cubicBezTo>
                <a:cubicBezTo>
                  <a:pt x="59639" y="1118695"/>
                  <a:pt x="64093" y="1114241"/>
                  <a:pt x="68374" y="1109903"/>
                </a:cubicBezTo>
                <a:lnTo>
                  <a:pt x="69126" y="1108977"/>
                </a:lnTo>
                <a:cubicBezTo>
                  <a:pt x="73117" y="1104928"/>
                  <a:pt x="83818" y="1104465"/>
                  <a:pt x="88214" y="1104465"/>
                </a:cubicBezTo>
                <a:cubicBezTo>
                  <a:pt x="98858" y="1104465"/>
                  <a:pt x="111352" y="1106779"/>
                  <a:pt x="112798" y="1111812"/>
                </a:cubicBezTo>
                <a:cubicBezTo>
                  <a:pt x="113365" y="1112876"/>
                  <a:pt x="113365" y="1114160"/>
                  <a:pt x="112798" y="1115225"/>
                </a:cubicBezTo>
                <a:cubicBezTo>
                  <a:pt x="111237" y="1117423"/>
                  <a:pt x="107014" y="1117191"/>
                  <a:pt x="103427" y="1117076"/>
                </a:cubicBezTo>
                <a:lnTo>
                  <a:pt x="100824" y="1117076"/>
                </a:lnTo>
                <a:cubicBezTo>
                  <a:pt x="97990" y="1117076"/>
                  <a:pt x="96371" y="1117423"/>
                  <a:pt x="96081" y="1118117"/>
                </a:cubicBezTo>
                <a:cubicBezTo>
                  <a:pt x="92877" y="1121998"/>
                  <a:pt x="88035" y="1124138"/>
                  <a:pt x="83009" y="1123901"/>
                </a:cubicBezTo>
                <a:cubicBezTo>
                  <a:pt x="79885" y="1123901"/>
                  <a:pt x="77745" y="1122802"/>
                  <a:pt x="77224" y="1120893"/>
                </a:cubicBezTo>
                <a:cubicBezTo>
                  <a:pt x="77224" y="1120604"/>
                  <a:pt x="76877" y="1119968"/>
                  <a:pt x="75431" y="1119968"/>
                </a:cubicBezTo>
                <a:cubicBezTo>
                  <a:pt x="69941" y="1120720"/>
                  <a:pt x="65493" y="1124804"/>
                  <a:pt x="64267" y="1130206"/>
                </a:cubicBezTo>
                <a:cubicBezTo>
                  <a:pt x="63984" y="1132965"/>
                  <a:pt x="62682" y="1135522"/>
                  <a:pt x="60623" y="1137379"/>
                </a:cubicBezTo>
                <a:cubicBezTo>
                  <a:pt x="60281" y="1137738"/>
                  <a:pt x="59975" y="1138125"/>
                  <a:pt x="59697" y="1138536"/>
                </a:cubicBezTo>
                <a:cubicBezTo>
                  <a:pt x="59697" y="1138536"/>
                  <a:pt x="60449" y="1138999"/>
                  <a:pt x="64035" y="1139982"/>
                </a:cubicBezTo>
                <a:cubicBezTo>
                  <a:pt x="64822" y="1140219"/>
                  <a:pt x="65644" y="1140358"/>
                  <a:pt x="66465" y="1140387"/>
                </a:cubicBezTo>
                <a:cubicBezTo>
                  <a:pt x="69126" y="1140387"/>
                  <a:pt x="70572" y="1138652"/>
                  <a:pt x="72249" y="1136511"/>
                </a:cubicBezTo>
                <a:cubicBezTo>
                  <a:pt x="75905" y="1131329"/>
                  <a:pt x="82175" y="1128668"/>
                  <a:pt x="88446" y="1129628"/>
                </a:cubicBezTo>
                <a:cubicBezTo>
                  <a:pt x="95185" y="1129738"/>
                  <a:pt x="101785" y="1127713"/>
                  <a:pt x="107303" y="1123843"/>
                </a:cubicBezTo>
                <a:cubicBezTo>
                  <a:pt x="109692" y="1122102"/>
                  <a:pt x="112474" y="1120969"/>
                  <a:pt x="115401" y="1120546"/>
                </a:cubicBezTo>
                <a:cubicBezTo>
                  <a:pt x="117599" y="1120726"/>
                  <a:pt x="119508" y="1122137"/>
                  <a:pt x="120318" y="1124191"/>
                </a:cubicBezTo>
                <a:cubicBezTo>
                  <a:pt x="121660" y="1126718"/>
                  <a:pt x="121527" y="1129772"/>
                  <a:pt x="119971" y="1132173"/>
                </a:cubicBezTo>
                <a:cubicBezTo>
                  <a:pt x="116489" y="1136801"/>
                  <a:pt x="111017" y="1139508"/>
                  <a:pt x="105221" y="1139461"/>
                </a:cubicBezTo>
                <a:cubicBezTo>
                  <a:pt x="102595" y="1139577"/>
                  <a:pt x="100015" y="1138715"/>
                  <a:pt x="97990" y="1137032"/>
                </a:cubicBezTo>
                <a:cubicBezTo>
                  <a:pt x="97059" y="1136124"/>
                  <a:pt x="95821" y="1135586"/>
                  <a:pt x="94520" y="1135528"/>
                </a:cubicBezTo>
                <a:cubicBezTo>
                  <a:pt x="92732" y="1135650"/>
                  <a:pt x="91078" y="1136505"/>
                  <a:pt x="89950" y="1137900"/>
                </a:cubicBezTo>
                <a:cubicBezTo>
                  <a:pt x="87150" y="1141081"/>
                  <a:pt x="85721" y="1145240"/>
                  <a:pt x="85958" y="1149468"/>
                </a:cubicBezTo>
                <a:cubicBezTo>
                  <a:pt x="86086" y="1150701"/>
                  <a:pt x="85710" y="1151933"/>
                  <a:pt x="84917" y="1152881"/>
                </a:cubicBezTo>
                <a:cubicBezTo>
                  <a:pt x="83905" y="1153824"/>
                  <a:pt x="82534" y="1154287"/>
                  <a:pt x="81157" y="1154154"/>
                </a:cubicBezTo>
                <a:cubicBezTo>
                  <a:pt x="76414" y="1153627"/>
                  <a:pt x="71775" y="1152395"/>
                  <a:pt x="67391" y="1150510"/>
                </a:cubicBezTo>
                <a:cubicBezTo>
                  <a:pt x="63654" y="1149006"/>
                  <a:pt x="59778" y="1147866"/>
                  <a:pt x="55822" y="1147097"/>
                </a:cubicBezTo>
                <a:lnTo>
                  <a:pt x="54491" y="1147097"/>
                </a:lnTo>
                <a:cubicBezTo>
                  <a:pt x="52235" y="1147097"/>
                  <a:pt x="51830" y="1148022"/>
                  <a:pt x="51715" y="1148311"/>
                </a:cubicBezTo>
                <a:cubicBezTo>
                  <a:pt x="50789" y="1150510"/>
                  <a:pt x="53219" y="1156410"/>
                  <a:pt x="59813" y="1163467"/>
                </a:cubicBezTo>
                <a:cubicBezTo>
                  <a:pt x="61490" y="1165723"/>
                  <a:pt x="64116" y="1167071"/>
                  <a:pt x="66928" y="1167111"/>
                </a:cubicBezTo>
                <a:cubicBezTo>
                  <a:pt x="68131" y="1167059"/>
                  <a:pt x="69328" y="1166926"/>
                  <a:pt x="70514" y="1166706"/>
                </a:cubicBezTo>
                <a:cubicBezTo>
                  <a:pt x="71995" y="1166382"/>
                  <a:pt x="73510" y="1166208"/>
                  <a:pt x="75026" y="1166186"/>
                </a:cubicBezTo>
                <a:cubicBezTo>
                  <a:pt x="77964" y="1166191"/>
                  <a:pt x="80833" y="1167099"/>
                  <a:pt x="83240" y="1168789"/>
                </a:cubicBezTo>
                <a:cubicBezTo>
                  <a:pt x="86086" y="1170680"/>
                  <a:pt x="88706" y="1172890"/>
                  <a:pt x="91049" y="1175383"/>
                </a:cubicBezTo>
                <a:cubicBezTo>
                  <a:pt x="94346" y="1178738"/>
                  <a:pt x="95445" y="1179779"/>
                  <a:pt x="99436" y="1176135"/>
                </a:cubicBezTo>
                <a:cubicBezTo>
                  <a:pt x="102097" y="1173647"/>
                  <a:pt x="102155" y="1172722"/>
                  <a:pt x="102097" y="1172490"/>
                </a:cubicBezTo>
                <a:cubicBezTo>
                  <a:pt x="102039" y="1172259"/>
                  <a:pt x="100304" y="1171276"/>
                  <a:pt x="98973" y="1170755"/>
                </a:cubicBezTo>
                <a:cubicBezTo>
                  <a:pt x="97499" y="1170281"/>
                  <a:pt x="96081" y="1169639"/>
                  <a:pt x="94751" y="1168846"/>
                </a:cubicBezTo>
                <a:cubicBezTo>
                  <a:pt x="92616" y="1167504"/>
                  <a:pt x="91679" y="1164873"/>
                  <a:pt x="92495" y="1162483"/>
                </a:cubicBezTo>
                <a:cubicBezTo>
                  <a:pt x="93548" y="1159204"/>
                  <a:pt x="96694" y="1157058"/>
                  <a:pt x="100130" y="1157277"/>
                </a:cubicBezTo>
                <a:cubicBezTo>
                  <a:pt x="102421" y="1157352"/>
                  <a:pt x="104671" y="1157925"/>
                  <a:pt x="106725" y="1158955"/>
                </a:cubicBezTo>
                <a:cubicBezTo>
                  <a:pt x="112648" y="1161726"/>
                  <a:pt x="119693" y="1160042"/>
                  <a:pt x="123731" y="1154906"/>
                </a:cubicBezTo>
                <a:cubicBezTo>
                  <a:pt x="126773" y="1150915"/>
                  <a:pt x="127739" y="1145720"/>
                  <a:pt x="126334" y="1140908"/>
                </a:cubicBezTo>
                <a:cubicBezTo>
                  <a:pt x="122516" y="1125752"/>
                  <a:pt x="136804" y="1118522"/>
                  <a:pt x="151265" y="1113489"/>
                </a:cubicBezTo>
                <a:cubicBezTo>
                  <a:pt x="152913" y="1112876"/>
                  <a:pt x="154654" y="1112523"/>
                  <a:pt x="156413" y="1112448"/>
                </a:cubicBezTo>
                <a:cubicBezTo>
                  <a:pt x="159536" y="1112448"/>
                  <a:pt x="160288" y="1114299"/>
                  <a:pt x="160404" y="1115109"/>
                </a:cubicBezTo>
                <a:cubicBezTo>
                  <a:pt x="161214" y="1119216"/>
                  <a:pt x="155198" y="1126157"/>
                  <a:pt x="148488" y="1128934"/>
                </a:cubicBezTo>
                <a:cubicBezTo>
                  <a:pt x="142704" y="1131190"/>
                  <a:pt x="140506" y="1132925"/>
                  <a:pt x="140101" y="1134718"/>
                </a:cubicBezTo>
                <a:cubicBezTo>
                  <a:pt x="139696" y="1136511"/>
                  <a:pt x="141142" y="1139057"/>
                  <a:pt x="144613" y="1142816"/>
                </a:cubicBezTo>
                <a:cubicBezTo>
                  <a:pt x="145954" y="1144395"/>
                  <a:pt x="147921" y="1145304"/>
                  <a:pt x="149992" y="1145304"/>
                </a:cubicBezTo>
                <a:cubicBezTo>
                  <a:pt x="152410" y="1145130"/>
                  <a:pt x="154776" y="1144546"/>
                  <a:pt x="156991" y="1143568"/>
                </a:cubicBezTo>
                <a:cubicBezTo>
                  <a:pt x="159247" y="1142573"/>
                  <a:pt x="161648" y="1141966"/>
                  <a:pt x="164106" y="1141775"/>
                </a:cubicBezTo>
                <a:cubicBezTo>
                  <a:pt x="166119" y="1141752"/>
                  <a:pt x="168045" y="1142573"/>
                  <a:pt x="169428" y="1144031"/>
                </a:cubicBezTo>
                <a:cubicBezTo>
                  <a:pt x="170660" y="1144939"/>
                  <a:pt x="171302" y="1146449"/>
                  <a:pt x="171105" y="1147964"/>
                </a:cubicBezTo>
                <a:cubicBezTo>
                  <a:pt x="170527" y="1150220"/>
                  <a:pt x="167345" y="1151204"/>
                  <a:pt x="163701" y="1152361"/>
                </a:cubicBezTo>
                <a:cubicBezTo>
                  <a:pt x="160057" y="1153518"/>
                  <a:pt x="155661" y="1154906"/>
                  <a:pt x="154504" y="1157451"/>
                </a:cubicBezTo>
                <a:cubicBezTo>
                  <a:pt x="153347" y="1159996"/>
                  <a:pt x="155082" y="1162310"/>
                  <a:pt x="156818" y="1165086"/>
                </a:cubicBezTo>
                <a:cubicBezTo>
                  <a:pt x="158738" y="1167348"/>
                  <a:pt x="159658" y="1170292"/>
                  <a:pt x="159363" y="1173242"/>
                </a:cubicBezTo>
                <a:cubicBezTo>
                  <a:pt x="158651" y="1175163"/>
                  <a:pt x="157130" y="1176667"/>
                  <a:pt x="155198" y="1177349"/>
                </a:cubicBezTo>
                <a:cubicBezTo>
                  <a:pt x="154296" y="1177795"/>
                  <a:pt x="153312" y="1178049"/>
                  <a:pt x="152306" y="1178101"/>
                </a:cubicBezTo>
                <a:cubicBezTo>
                  <a:pt x="147447" y="1178101"/>
                  <a:pt x="146521" y="1171507"/>
                  <a:pt x="145885" y="1165086"/>
                </a:cubicBezTo>
                <a:cubicBezTo>
                  <a:pt x="145307" y="1160690"/>
                  <a:pt x="144728" y="1155716"/>
                  <a:pt x="142761" y="1154964"/>
                </a:cubicBezTo>
                <a:cubicBezTo>
                  <a:pt x="140876" y="1153923"/>
                  <a:pt x="138504" y="1154472"/>
                  <a:pt x="137267" y="1156236"/>
                </a:cubicBezTo>
                <a:cubicBezTo>
                  <a:pt x="135612" y="1160945"/>
                  <a:pt x="136161" y="1166151"/>
                  <a:pt x="138770" y="1170408"/>
                </a:cubicBezTo>
                <a:cubicBezTo>
                  <a:pt x="140448" y="1174226"/>
                  <a:pt x="140795" y="1176192"/>
                  <a:pt x="140043" y="1177523"/>
                </a:cubicBezTo>
                <a:cubicBezTo>
                  <a:pt x="139655" y="1178095"/>
                  <a:pt x="138996" y="1178425"/>
                  <a:pt x="138308" y="1178391"/>
                </a:cubicBezTo>
                <a:cubicBezTo>
                  <a:pt x="134201" y="1178391"/>
                  <a:pt x="124020" y="1167227"/>
                  <a:pt x="123557" y="1166822"/>
                </a:cubicBezTo>
                <a:cubicBezTo>
                  <a:pt x="122088" y="1164890"/>
                  <a:pt x="119335" y="1164508"/>
                  <a:pt x="117397" y="1165977"/>
                </a:cubicBezTo>
                <a:cubicBezTo>
                  <a:pt x="116726" y="1166486"/>
                  <a:pt x="116211" y="1167180"/>
                  <a:pt x="115922" y="1167979"/>
                </a:cubicBezTo>
                <a:cubicBezTo>
                  <a:pt x="114938" y="1170697"/>
                  <a:pt x="115748" y="1173740"/>
                  <a:pt x="117946" y="1175614"/>
                </a:cubicBezTo>
                <a:cubicBezTo>
                  <a:pt x="119045" y="1176713"/>
                  <a:pt x="120144" y="1178044"/>
                  <a:pt x="119682" y="1179374"/>
                </a:cubicBezTo>
                <a:cubicBezTo>
                  <a:pt x="119219" y="1180705"/>
                  <a:pt x="117079" y="1181052"/>
                  <a:pt x="114244" y="1181225"/>
                </a:cubicBezTo>
                <a:cubicBezTo>
                  <a:pt x="108460" y="1181688"/>
                  <a:pt x="104353" y="1182382"/>
                  <a:pt x="104353" y="1187009"/>
                </a:cubicBezTo>
                <a:cubicBezTo>
                  <a:pt x="104353" y="1191637"/>
                  <a:pt x="105857" y="1191695"/>
                  <a:pt x="106956" y="1191695"/>
                </a:cubicBezTo>
                <a:cubicBezTo>
                  <a:pt x="108425" y="1191597"/>
                  <a:pt x="109877" y="1191342"/>
                  <a:pt x="111294" y="1190943"/>
                </a:cubicBezTo>
                <a:cubicBezTo>
                  <a:pt x="113915" y="1190214"/>
                  <a:pt x="116616" y="1189803"/>
                  <a:pt x="119335" y="1189728"/>
                </a:cubicBezTo>
                <a:cubicBezTo>
                  <a:pt x="120717" y="1189734"/>
                  <a:pt x="122094" y="1189890"/>
                  <a:pt x="123442" y="1190191"/>
                </a:cubicBezTo>
                <a:cubicBezTo>
                  <a:pt x="130209" y="1191695"/>
                  <a:pt x="131482" y="1197711"/>
                  <a:pt x="132754" y="1203553"/>
                </a:cubicBezTo>
                <a:cubicBezTo>
                  <a:pt x="133125" y="1207729"/>
                  <a:pt x="134924" y="1211651"/>
                  <a:pt x="137845" y="1214659"/>
                </a:cubicBezTo>
                <a:cubicBezTo>
                  <a:pt x="138226" y="1214994"/>
                  <a:pt x="138684" y="1215232"/>
                  <a:pt x="139175" y="1215353"/>
                </a:cubicBezTo>
                <a:cubicBezTo>
                  <a:pt x="140159" y="1215353"/>
                  <a:pt x="140448" y="1210436"/>
                  <a:pt x="140621" y="1207833"/>
                </a:cubicBezTo>
                <a:cubicBezTo>
                  <a:pt x="141026" y="1201470"/>
                  <a:pt x="141489" y="1194298"/>
                  <a:pt x="146406" y="1193199"/>
                </a:cubicBezTo>
                <a:cubicBezTo>
                  <a:pt x="146811" y="1193141"/>
                  <a:pt x="147216" y="1193141"/>
                  <a:pt x="147621" y="1193199"/>
                </a:cubicBezTo>
                <a:cubicBezTo>
                  <a:pt x="151207" y="1193199"/>
                  <a:pt x="152017" y="1196901"/>
                  <a:pt x="152942" y="1201181"/>
                </a:cubicBezTo>
                <a:cubicBezTo>
                  <a:pt x="153468" y="1209222"/>
                  <a:pt x="158755" y="1216169"/>
                  <a:pt x="166362" y="1218824"/>
                </a:cubicBezTo>
                <a:cubicBezTo>
                  <a:pt x="168786" y="1219743"/>
                  <a:pt x="171308" y="1220362"/>
                  <a:pt x="173882" y="1220675"/>
                </a:cubicBezTo>
                <a:lnTo>
                  <a:pt x="173882" y="1220675"/>
                </a:lnTo>
                <a:lnTo>
                  <a:pt x="173361" y="1219344"/>
                </a:lnTo>
                <a:cubicBezTo>
                  <a:pt x="171094" y="1216111"/>
                  <a:pt x="171840" y="1211657"/>
                  <a:pt x="175039" y="1209337"/>
                </a:cubicBezTo>
                <a:cubicBezTo>
                  <a:pt x="175964" y="1208591"/>
                  <a:pt x="177092" y="1208146"/>
                  <a:pt x="178278" y="1208065"/>
                </a:cubicBezTo>
                <a:close/>
                <a:moveTo>
                  <a:pt x="40551" y="835779"/>
                </a:moveTo>
                <a:cubicBezTo>
                  <a:pt x="39776" y="835779"/>
                  <a:pt x="39006" y="835935"/>
                  <a:pt x="38295" y="836241"/>
                </a:cubicBezTo>
                <a:cubicBezTo>
                  <a:pt x="37254" y="836646"/>
                  <a:pt x="36617" y="837167"/>
                  <a:pt x="36502" y="837745"/>
                </a:cubicBezTo>
                <a:cubicBezTo>
                  <a:pt x="36097" y="839423"/>
                  <a:pt x="38873" y="842662"/>
                  <a:pt x="41361" y="845497"/>
                </a:cubicBezTo>
                <a:cubicBezTo>
                  <a:pt x="44802" y="848516"/>
                  <a:pt x="47157" y="852577"/>
                  <a:pt x="48070" y="857066"/>
                </a:cubicBezTo>
                <a:cubicBezTo>
                  <a:pt x="48157" y="857638"/>
                  <a:pt x="48157" y="858228"/>
                  <a:pt x="48070" y="858801"/>
                </a:cubicBezTo>
                <a:cubicBezTo>
                  <a:pt x="49389" y="857430"/>
                  <a:pt x="50627" y="855984"/>
                  <a:pt x="51772" y="854463"/>
                </a:cubicBezTo>
                <a:cubicBezTo>
                  <a:pt x="53612" y="851194"/>
                  <a:pt x="53456" y="847168"/>
                  <a:pt x="51368" y="844051"/>
                </a:cubicBezTo>
                <a:cubicBezTo>
                  <a:pt x="49482" y="839574"/>
                  <a:pt x="45369" y="836427"/>
                  <a:pt x="40551" y="83577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2" name="Forma libre: forma 381">
            <a:extLst>
              <a:ext uri="{FF2B5EF4-FFF2-40B4-BE49-F238E27FC236}">
                <a16:creationId xmlns:a16="http://schemas.microsoft.com/office/drawing/2014/main" id="{6B212324-3E99-E007-A632-536E17BC231C}"/>
              </a:ext>
            </a:extLst>
          </p:cNvPr>
          <p:cNvSpPr/>
          <p:nvPr/>
        </p:nvSpPr>
        <p:spPr>
          <a:xfrm>
            <a:off x="4451644" y="5022276"/>
            <a:ext cx="238082" cy="241458"/>
          </a:xfrm>
          <a:custGeom>
            <a:avLst/>
            <a:gdLst>
              <a:gd name="connsiteX0" fmla="*/ 176084 w 238082"/>
              <a:gd name="connsiteY0" fmla="*/ 241329 h 241458"/>
              <a:gd name="connsiteX1" fmla="*/ 171052 w 238082"/>
              <a:gd name="connsiteY1" fmla="*/ 239941 h 241458"/>
              <a:gd name="connsiteX2" fmla="*/ 163532 w 238082"/>
              <a:gd name="connsiteY2" fmla="*/ 238206 h 241458"/>
              <a:gd name="connsiteX3" fmla="*/ 157343 w 238082"/>
              <a:gd name="connsiteY3" fmla="*/ 238611 h 241458"/>
              <a:gd name="connsiteX4" fmla="*/ 151558 w 238082"/>
              <a:gd name="connsiteY4" fmla="*/ 239073 h 241458"/>
              <a:gd name="connsiteX5" fmla="*/ 144848 w 238082"/>
              <a:gd name="connsiteY5" fmla="*/ 237454 h 241458"/>
              <a:gd name="connsiteX6" fmla="*/ 131371 w 238082"/>
              <a:gd name="connsiteY6" fmla="*/ 235140 h 241458"/>
              <a:gd name="connsiteX7" fmla="*/ 118876 w 238082"/>
              <a:gd name="connsiteY7" fmla="*/ 230802 h 241458"/>
              <a:gd name="connsiteX8" fmla="*/ 122058 w 238082"/>
              <a:gd name="connsiteY8" fmla="*/ 226001 h 241458"/>
              <a:gd name="connsiteX9" fmla="*/ 127842 w 238082"/>
              <a:gd name="connsiteY9" fmla="*/ 212697 h 241458"/>
              <a:gd name="connsiteX10" fmla="*/ 141898 w 238082"/>
              <a:gd name="connsiteY10" fmla="*/ 187997 h 241458"/>
              <a:gd name="connsiteX11" fmla="*/ 149302 w 238082"/>
              <a:gd name="connsiteY11" fmla="*/ 176428 h 241458"/>
              <a:gd name="connsiteX12" fmla="*/ 126511 w 238082"/>
              <a:gd name="connsiteY12" fmla="*/ 165322 h 241458"/>
              <a:gd name="connsiteX13" fmla="*/ 98573 w 238082"/>
              <a:gd name="connsiteY13" fmla="*/ 151150 h 241458"/>
              <a:gd name="connsiteX14" fmla="*/ 69014 w 238082"/>
              <a:gd name="connsiteY14" fmla="*/ 136053 h 241458"/>
              <a:gd name="connsiteX15" fmla="*/ 49926 w 238082"/>
              <a:gd name="connsiteY15" fmla="*/ 126509 h 241458"/>
              <a:gd name="connsiteX16" fmla="*/ 38357 w 238082"/>
              <a:gd name="connsiteY16" fmla="*/ 117022 h 241458"/>
              <a:gd name="connsiteX17" fmla="*/ 64 w 238082"/>
              <a:gd name="connsiteY17" fmla="*/ 77804 h 241458"/>
              <a:gd name="connsiteX18" fmla="*/ 64 w 238082"/>
              <a:gd name="connsiteY18" fmla="*/ 76589 h 241458"/>
              <a:gd name="connsiteX19" fmla="*/ 1163 w 238082"/>
              <a:gd name="connsiteY19" fmla="*/ 76068 h 241458"/>
              <a:gd name="connsiteX20" fmla="*/ 7931 w 238082"/>
              <a:gd name="connsiteY20" fmla="*/ 76589 h 241458"/>
              <a:gd name="connsiteX21" fmla="*/ 10071 w 238082"/>
              <a:gd name="connsiteY21" fmla="*/ 76589 h 241458"/>
              <a:gd name="connsiteX22" fmla="*/ 17359 w 238082"/>
              <a:gd name="connsiteY22" fmla="*/ 36098 h 241458"/>
              <a:gd name="connsiteX23" fmla="*/ 38878 w 238082"/>
              <a:gd name="connsiteY23" fmla="*/ 9142 h 241458"/>
              <a:gd name="connsiteX24" fmla="*/ 58776 w 238082"/>
              <a:gd name="connsiteY24" fmla="*/ 5209 h 241458"/>
              <a:gd name="connsiteX25" fmla="*/ 72080 w 238082"/>
              <a:gd name="connsiteY25" fmla="*/ 3416 h 241458"/>
              <a:gd name="connsiteX26" fmla="*/ 94350 w 238082"/>
              <a:gd name="connsiteY26" fmla="*/ 3 h 241458"/>
              <a:gd name="connsiteX27" fmla="*/ 104126 w 238082"/>
              <a:gd name="connsiteY27" fmla="*/ 3 h 241458"/>
              <a:gd name="connsiteX28" fmla="*/ 121190 w 238082"/>
              <a:gd name="connsiteY28" fmla="*/ 7060 h 241458"/>
              <a:gd name="connsiteX29" fmla="*/ 129924 w 238082"/>
              <a:gd name="connsiteY29" fmla="*/ 11341 h 241458"/>
              <a:gd name="connsiteX30" fmla="*/ 133974 w 238082"/>
              <a:gd name="connsiteY30" fmla="*/ 9894 h 241458"/>
              <a:gd name="connsiteX31" fmla="*/ 135420 w 238082"/>
              <a:gd name="connsiteY31" fmla="*/ 9894 h 241458"/>
              <a:gd name="connsiteX32" fmla="*/ 140625 w 238082"/>
              <a:gd name="connsiteY32" fmla="*/ 21463 h 241458"/>
              <a:gd name="connsiteX33" fmla="*/ 136229 w 238082"/>
              <a:gd name="connsiteY33" fmla="*/ 26380 h 241458"/>
              <a:gd name="connsiteX34" fmla="*/ 137386 w 238082"/>
              <a:gd name="connsiteY34" fmla="*/ 35172 h 241458"/>
              <a:gd name="connsiteX35" fmla="*/ 141782 w 238082"/>
              <a:gd name="connsiteY35" fmla="*/ 59236 h 241458"/>
              <a:gd name="connsiteX36" fmla="*/ 140394 w 238082"/>
              <a:gd name="connsiteY36" fmla="*/ 76589 h 241458"/>
              <a:gd name="connsiteX37" fmla="*/ 154682 w 238082"/>
              <a:gd name="connsiteY37" fmla="*/ 80002 h 241458"/>
              <a:gd name="connsiteX38" fmla="*/ 171399 w 238082"/>
              <a:gd name="connsiteY38" fmla="*/ 83068 h 241458"/>
              <a:gd name="connsiteX39" fmla="*/ 177761 w 238082"/>
              <a:gd name="connsiteY39" fmla="*/ 82605 h 241458"/>
              <a:gd name="connsiteX40" fmla="*/ 180422 w 238082"/>
              <a:gd name="connsiteY40" fmla="*/ 81853 h 241458"/>
              <a:gd name="connsiteX41" fmla="*/ 198296 w 238082"/>
              <a:gd name="connsiteY41" fmla="*/ 106263 h 241458"/>
              <a:gd name="connsiteX42" fmla="*/ 210444 w 238082"/>
              <a:gd name="connsiteY42" fmla="*/ 135706 h 241458"/>
              <a:gd name="connsiteX43" fmla="*/ 214261 w 238082"/>
              <a:gd name="connsiteY43" fmla="*/ 133913 h 241458"/>
              <a:gd name="connsiteX44" fmla="*/ 227450 w 238082"/>
              <a:gd name="connsiteY44" fmla="*/ 129459 h 241458"/>
              <a:gd name="connsiteX45" fmla="*/ 233813 w 238082"/>
              <a:gd name="connsiteY45" fmla="*/ 130963 h 241458"/>
              <a:gd name="connsiteX46" fmla="*/ 234622 w 238082"/>
              <a:gd name="connsiteY46" fmla="*/ 163529 h 241458"/>
              <a:gd name="connsiteX47" fmla="*/ 231962 w 238082"/>
              <a:gd name="connsiteY47" fmla="*/ 183485 h 241458"/>
              <a:gd name="connsiteX48" fmla="*/ 222186 w 238082"/>
              <a:gd name="connsiteY48" fmla="*/ 222125 h 241458"/>
              <a:gd name="connsiteX49" fmla="*/ 217211 w 238082"/>
              <a:gd name="connsiteY49" fmla="*/ 224902 h 241458"/>
              <a:gd name="connsiteX50" fmla="*/ 216170 w 238082"/>
              <a:gd name="connsiteY50" fmla="*/ 224902 h 241458"/>
              <a:gd name="connsiteX51" fmla="*/ 206163 w 238082"/>
              <a:gd name="connsiteY51" fmla="*/ 230686 h 241458"/>
              <a:gd name="connsiteX52" fmla="*/ 196734 w 238082"/>
              <a:gd name="connsiteY52" fmla="*/ 235950 h 241458"/>
              <a:gd name="connsiteX53" fmla="*/ 195346 w 238082"/>
              <a:gd name="connsiteY53" fmla="*/ 235950 h 241458"/>
              <a:gd name="connsiteX54" fmla="*/ 186612 w 238082"/>
              <a:gd name="connsiteY54" fmla="*/ 238669 h 241458"/>
              <a:gd name="connsiteX55" fmla="*/ 176084 w 238082"/>
              <a:gd name="connsiteY55" fmla="*/ 241329 h 241458"/>
              <a:gd name="connsiteX56" fmla="*/ 163532 w 238082"/>
              <a:gd name="connsiteY56" fmla="*/ 235950 h 241458"/>
              <a:gd name="connsiteX57" fmla="*/ 172209 w 238082"/>
              <a:gd name="connsiteY57" fmla="*/ 237975 h 241458"/>
              <a:gd name="connsiteX58" fmla="*/ 176084 w 238082"/>
              <a:gd name="connsiteY58" fmla="*/ 239073 h 241458"/>
              <a:gd name="connsiteX59" fmla="*/ 185455 w 238082"/>
              <a:gd name="connsiteY59" fmla="*/ 235834 h 241458"/>
              <a:gd name="connsiteX60" fmla="*/ 194074 w 238082"/>
              <a:gd name="connsiteY60" fmla="*/ 232769 h 241458"/>
              <a:gd name="connsiteX61" fmla="*/ 195693 w 238082"/>
              <a:gd name="connsiteY61" fmla="*/ 232769 h 241458"/>
              <a:gd name="connsiteX62" fmla="*/ 204543 w 238082"/>
              <a:gd name="connsiteY62" fmla="*/ 228141 h 241458"/>
              <a:gd name="connsiteX63" fmla="*/ 216806 w 238082"/>
              <a:gd name="connsiteY63" fmla="*/ 222010 h 241458"/>
              <a:gd name="connsiteX64" fmla="*/ 216806 w 238082"/>
              <a:gd name="connsiteY64" fmla="*/ 222010 h 241458"/>
              <a:gd name="connsiteX65" fmla="*/ 220277 w 238082"/>
              <a:gd name="connsiteY65" fmla="*/ 220043 h 241458"/>
              <a:gd name="connsiteX66" fmla="*/ 229474 w 238082"/>
              <a:gd name="connsiteY66" fmla="*/ 183138 h 241458"/>
              <a:gd name="connsiteX67" fmla="*/ 232193 w 238082"/>
              <a:gd name="connsiteY67" fmla="*/ 162430 h 241458"/>
              <a:gd name="connsiteX68" fmla="*/ 232598 w 238082"/>
              <a:gd name="connsiteY68" fmla="*/ 132351 h 241458"/>
              <a:gd name="connsiteX69" fmla="*/ 227219 w 238082"/>
              <a:gd name="connsiteY69" fmla="*/ 131078 h 241458"/>
              <a:gd name="connsiteX70" fmla="*/ 215129 w 238082"/>
              <a:gd name="connsiteY70" fmla="*/ 135243 h 241458"/>
              <a:gd name="connsiteX71" fmla="*/ 210096 w 238082"/>
              <a:gd name="connsiteY71" fmla="*/ 137326 h 241458"/>
              <a:gd name="connsiteX72" fmla="*/ 195867 w 238082"/>
              <a:gd name="connsiteY72" fmla="*/ 106205 h 241458"/>
              <a:gd name="connsiteX73" fmla="*/ 178513 w 238082"/>
              <a:gd name="connsiteY73" fmla="*/ 83878 h 241458"/>
              <a:gd name="connsiteX74" fmla="*/ 170126 w 238082"/>
              <a:gd name="connsiteY74" fmla="*/ 84572 h 241458"/>
              <a:gd name="connsiteX75" fmla="*/ 154103 w 238082"/>
              <a:gd name="connsiteY75" fmla="*/ 81621 h 241458"/>
              <a:gd name="connsiteX76" fmla="*/ 138138 w 238082"/>
              <a:gd name="connsiteY76" fmla="*/ 77341 h 241458"/>
              <a:gd name="connsiteX77" fmla="*/ 139064 w 238082"/>
              <a:gd name="connsiteY77" fmla="*/ 58310 h 241458"/>
              <a:gd name="connsiteX78" fmla="*/ 134841 w 238082"/>
              <a:gd name="connsiteY78" fmla="*/ 35520 h 241458"/>
              <a:gd name="connsiteX79" fmla="*/ 134841 w 238082"/>
              <a:gd name="connsiteY79" fmla="*/ 23951 h 241458"/>
              <a:gd name="connsiteX80" fmla="*/ 138080 w 238082"/>
              <a:gd name="connsiteY80" fmla="*/ 20596 h 241458"/>
              <a:gd name="connsiteX81" fmla="*/ 133974 w 238082"/>
              <a:gd name="connsiteY81" fmla="*/ 11803 h 241458"/>
              <a:gd name="connsiteX82" fmla="*/ 129635 w 238082"/>
              <a:gd name="connsiteY82" fmla="*/ 13134 h 241458"/>
              <a:gd name="connsiteX83" fmla="*/ 119628 w 238082"/>
              <a:gd name="connsiteY83" fmla="*/ 8448 h 241458"/>
              <a:gd name="connsiteX84" fmla="*/ 103837 w 238082"/>
              <a:gd name="connsiteY84" fmla="*/ 1796 h 241458"/>
              <a:gd name="connsiteX85" fmla="*/ 94061 w 238082"/>
              <a:gd name="connsiteY85" fmla="*/ 1796 h 241458"/>
              <a:gd name="connsiteX86" fmla="*/ 72832 w 238082"/>
              <a:gd name="connsiteY86" fmla="*/ 4978 h 241458"/>
              <a:gd name="connsiteX87" fmla="*/ 58486 w 238082"/>
              <a:gd name="connsiteY87" fmla="*/ 7002 h 241458"/>
              <a:gd name="connsiteX88" fmla="*/ 39803 w 238082"/>
              <a:gd name="connsiteY88" fmla="*/ 10589 h 241458"/>
              <a:gd name="connsiteX89" fmla="*/ 19326 w 238082"/>
              <a:gd name="connsiteY89" fmla="*/ 35288 h 241458"/>
              <a:gd name="connsiteX90" fmla="*/ 10476 w 238082"/>
              <a:gd name="connsiteY90" fmla="*/ 78498 h 241458"/>
              <a:gd name="connsiteX91" fmla="*/ 2898 w 238082"/>
              <a:gd name="connsiteY91" fmla="*/ 78498 h 241458"/>
              <a:gd name="connsiteX92" fmla="*/ 39225 w 238082"/>
              <a:gd name="connsiteY92" fmla="*/ 114998 h 241458"/>
              <a:gd name="connsiteX93" fmla="*/ 51372 w 238082"/>
              <a:gd name="connsiteY93" fmla="*/ 124831 h 241458"/>
              <a:gd name="connsiteX94" fmla="*/ 69130 w 238082"/>
              <a:gd name="connsiteY94" fmla="*/ 133739 h 241458"/>
              <a:gd name="connsiteX95" fmla="*/ 100250 w 238082"/>
              <a:gd name="connsiteY95" fmla="*/ 149704 h 241458"/>
              <a:gd name="connsiteX96" fmla="*/ 127263 w 238082"/>
              <a:gd name="connsiteY96" fmla="*/ 163182 h 241458"/>
              <a:gd name="connsiteX97" fmla="*/ 151153 w 238082"/>
              <a:gd name="connsiteY97" fmla="*/ 175271 h 241458"/>
              <a:gd name="connsiteX98" fmla="*/ 143460 w 238082"/>
              <a:gd name="connsiteY98" fmla="*/ 189443 h 241458"/>
              <a:gd name="connsiteX99" fmla="*/ 129982 w 238082"/>
              <a:gd name="connsiteY99" fmla="*/ 212581 h 241458"/>
              <a:gd name="connsiteX100" fmla="*/ 123272 w 238082"/>
              <a:gd name="connsiteY100" fmla="*/ 227678 h 241458"/>
              <a:gd name="connsiteX101" fmla="*/ 120959 w 238082"/>
              <a:gd name="connsiteY101" fmla="*/ 230686 h 241458"/>
              <a:gd name="connsiteX102" fmla="*/ 131313 w 238082"/>
              <a:gd name="connsiteY102" fmla="*/ 232769 h 241458"/>
              <a:gd name="connsiteX103" fmla="*/ 145889 w 238082"/>
              <a:gd name="connsiteY103" fmla="*/ 235430 h 241458"/>
              <a:gd name="connsiteX104" fmla="*/ 151384 w 238082"/>
              <a:gd name="connsiteY104" fmla="*/ 236702 h 241458"/>
              <a:gd name="connsiteX105" fmla="*/ 157169 w 238082"/>
              <a:gd name="connsiteY105" fmla="*/ 236297 h 241458"/>
              <a:gd name="connsiteX106" fmla="*/ 163532 w 238082"/>
              <a:gd name="connsiteY106" fmla="*/ 235950 h 24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238082" h="241458">
                <a:moveTo>
                  <a:pt x="176084" y="241329"/>
                </a:moveTo>
                <a:cubicBezTo>
                  <a:pt x="174314" y="241335"/>
                  <a:pt x="172573" y="240855"/>
                  <a:pt x="171052" y="239941"/>
                </a:cubicBezTo>
                <a:cubicBezTo>
                  <a:pt x="168755" y="238675"/>
                  <a:pt x="166152" y="238073"/>
                  <a:pt x="163532" y="238206"/>
                </a:cubicBezTo>
                <a:cubicBezTo>
                  <a:pt x="161461" y="238223"/>
                  <a:pt x="159396" y="238362"/>
                  <a:pt x="157343" y="238611"/>
                </a:cubicBezTo>
                <a:cubicBezTo>
                  <a:pt x="155422" y="238871"/>
                  <a:pt x="153496" y="239027"/>
                  <a:pt x="151558" y="239073"/>
                </a:cubicBezTo>
                <a:cubicBezTo>
                  <a:pt x="149210" y="239195"/>
                  <a:pt x="146878" y="238634"/>
                  <a:pt x="144848" y="237454"/>
                </a:cubicBezTo>
                <a:cubicBezTo>
                  <a:pt x="140556" y="235794"/>
                  <a:pt x="135975" y="235013"/>
                  <a:pt x="131371" y="235140"/>
                </a:cubicBezTo>
                <a:cubicBezTo>
                  <a:pt x="124660" y="234793"/>
                  <a:pt x="118876" y="234504"/>
                  <a:pt x="118876" y="230802"/>
                </a:cubicBezTo>
                <a:cubicBezTo>
                  <a:pt x="118876" y="228430"/>
                  <a:pt x="120438" y="227273"/>
                  <a:pt x="122058" y="226001"/>
                </a:cubicBezTo>
                <a:cubicBezTo>
                  <a:pt x="126344" y="223016"/>
                  <a:pt x="128582" y="217868"/>
                  <a:pt x="127842" y="212697"/>
                </a:cubicBezTo>
                <a:cubicBezTo>
                  <a:pt x="127842" y="204078"/>
                  <a:pt x="135651" y="195343"/>
                  <a:pt x="141898" y="187997"/>
                </a:cubicBezTo>
                <a:cubicBezTo>
                  <a:pt x="146063" y="183196"/>
                  <a:pt x="150401" y="178222"/>
                  <a:pt x="149302" y="176428"/>
                </a:cubicBezTo>
                <a:cubicBezTo>
                  <a:pt x="148203" y="174635"/>
                  <a:pt x="136576" y="169371"/>
                  <a:pt x="126511" y="165322"/>
                </a:cubicBezTo>
                <a:cubicBezTo>
                  <a:pt x="114364" y="160347"/>
                  <a:pt x="101754" y="155257"/>
                  <a:pt x="98573" y="151150"/>
                </a:cubicBezTo>
                <a:cubicBezTo>
                  <a:pt x="91481" y="141941"/>
                  <a:pt x="80635" y="136400"/>
                  <a:pt x="69014" y="136053"/>
                </a:cubicBezTo>
                <a:cubicBezTo>
                  <a:pt x="61604" y="135648"/>
                  <a:pt x="54698" y="132195"/>
                  <a:pt x="49926" y="126509"/>
                </a:cubicBezTo>
                <a:cubicBezTo>
                  <a:pt x="46501" y="122853"/>
                  <a:pt x="42614" y="119666"/>
                  <a:pt x="38357" y="117022"/>
                </a:cubicBezTo>
                <a:cubicBezTo>
                  <a:pt x="23248" y="106466"/>
                  <a:pt x="10256" y="93161"/>
                  <a:pt x="64" y="77804"/>
                </a:cubicBezTo>
                <a:cubicBezTo>
                  <a:pt x="-167" y="77434"/>
                  <a:pt x="-167" y="76959"/>
                  <a:pt x="64" y="76589"/>
                </a:cubicBezTo>
                <a:cubicBezTo>
                  <a:pt x="341" y="76271"/>
                  <a:pt x="741" y="76080"/>
                  <a:pt x="1163" y="76068"/>
                </a:cubicBezTo>
                <a:cubicBezTo>
                  <a:pt x="3407" y="76369"/>
                  <a:pt x="5669" y="76543"/>
                  <a:pt x="7931" y="76589"/>
                </a:cubicBezTo>
                <a:cubicBezTo>
                  <a:pt x="8636" y="76711"/>
                  <a:pt x="9365" y="76711"/>
                  <a:pt x="10071" y="76589"/>
                </a:cubicBezTo>
                <a:cubicBezTo>
                  <a:pt x="13542" y="75432"/>
                  <a:pt x="18285" y="42519"/>
                  <a:pt x="17359" y="36098"/>
                </a:cubicBezTo>
                <a:cubicBezTo>
                  <a:pt x="16434" y="29677"/>
                  <a:pt x="29738" y="15216"/>
                  <a:pt x="38878" y="9142"/>
                </a:cubicBezTo>
                <a:cubicBezTo>
                  <a:pt x="44997" y="5955"/>
                  <a:pt x="51904" y="4590"/>
                  <a:pt x="58776" y="5209"/>
                </a:cubicBezTo>
                <a:cubicBezTo>
                  <a:pt x="63288" y="5545"/>
                  <a:pt x="67817" y="4932"/>
                  <a:pt x="72080" y="3416"/>
                </a:cubicBezTo>
                <a:cubicBezTo>
                  <a:pt x="79154" y="622"/>
                  <a:pt x="86767" y="-546"/>
                  <a:pt x="94350" y="3"/>
                </a:cubicBezTo>
                <a:lnTo>
                  <a:pt x="104126" y="3"/>
                </a:lnTo>
                <a:cubicBezTo>
                  <a:pt x="110408" y="541"/>
                  <a:pt x="116366" y="3005"/>
                  <a:pt x="121190" y="7060"/>
                </a:cubicBezTo>
                <a:cubicBezTo>
                  <a:pt x="123683" y="9218"/>
                  <a:pt x="126691" y="10693"/>
                  <a:pt x="129924" y="11341"/>
                </a:cubicBezTo>
                <a:cubicBezTo>
                  <a:pt x="131376" y="11219"/>
                  <a:pt x="132770" y="10722"/>
                  <a:pt x="133974" y="9894"/>
                </a:cubicBezTo>
                <a:cubicBezTo>
                  <a:pt x="134378" y="9507"/>
                  <a:pt x="135015" y="9507"/>
                  <a:pt x="135420" y="9894"/>
                </a:cubicBezTo>
                <a:cubicBezTo>
                  <a:pt x="139642" y="15274"/>
                  <a:pt x="141204" y="18571"/>
                  <a:pt x="140625" y="21463"/>
                </a:cubicBezTo>
                <a:cubicBezTo>
                  <a:pt x="139972" y="23679"/>
                  <a:pt x="138358" y="25484"/>
                  <a:pt x="136229" y="26380"/>
                </a:cubicBezTo>
                <a:cubicBezTo>
                  <a:pt x="133974" y="27595"/>
                  <a:pt x="134726" y="29677"/>
                  <a:pt x="137386" y="35172"/>
                </a:cubicBezTo>
                <a:cubicBezTo>
                  <a:pt x="141638" y="42426"/>
                  <a:pt x="143200" y="50947"/>
                  <a:pt x="141782" y="59236"/>
                </a:cubicBezTo>
                <a:cubicBezTo>
                  <a:pt x="139642" y="68491"/>
                  <a:pt x="138427" y="73986"/>
                  <a:pt x="140394" y="76589"/>
                </a:cubicBezTo>
                <a:cubicBezTo>
                  <a:pt x="142361" y="79192"/>
                  <a:pt x="145889" y="79597"/>
                  <a:pt x="154682" y="80002"/>
                </a:cubicBezTo>
                <a:cubicBezTo>
                  <a:pt x="160391" y="80054"/>
                  <a:pt x="166042" y="81089"/>
                  <a:pt x="171399" y="83068"/>
                </a:cubicBezTo>
                <a:cubicBezTo>
                  <a:pt x="173388" y="84340"/>
                  <a:pt x="175980" y="84155"/>
                  <a:pt x="177761" y="82605"/>
                </a:cubicBezTo>
                <a:cubicBezTo>
                  <a:pt x="178554" y="82096"/>
                  <a:pt x="179480" y="81835"/>
                  <a:pt x="180422" y="81853"/>
                </a:cubicBezTo>
                <a:cubicBezTo>
                  <a:pt x="187653" y="81853"/>
                  <a:pt x="196040" y="97992"/>
                  <a:pt x="198296" y="106263"/>
                </a:cubicBezTo>
                <a:cubicBezTo>
                  <a:pt x="201594" y="118237"/>
                  <a:pt x="208188" y="135185"/>
                  <a:pt x="210444" y="135706"/>
                </a:cubicBezTo>
                <a:cubicBezTo>
                  <a:pt x="211797" y="135301"/>
                  <a:pt x="213087" y="134700"/>
                  <a:pt x="214261" y="133913"/>
                </a:cubicBezTo>
                <a:cubicBezTo>
                  <a:pt x="218206" y="131327"/>
                  <a:pt x="222747" y="129794"/>
                  <a:pt x="227450" y="129459"/>
                </a:cubicBezTo>
                <a:cubicBezTo>
                  <a:pt x="229660" y="129430"/>
                  <a:pt x="231846" y="129950"/>
                  <a:pt x="233813" y="130963"/>
                </a:cubicBezTo>
                <a:cubicBezTo>
                  <a:pt x="240696" y="134375"/>
                  <a:pt x="237630" y="149184"/>
                  <a:pt x="234622" y="163529"/>
                </a:cubicBezTo>
                <a:cubicBezTo>
                  <a:pt x="232870" y="170036"/>
                  <a:pt x="231973" y="176746"/>
                  <a:pt x="231962" y="183485"/>
                </a:cubicBezTo>
                <a:cubicBezTo>
                  <a:pt x="233350" y="193203"/>
                  <a:pt x="228549" y="214837"/>
                  <a:pt x="222186" y="222125"/>
                </a:cubicBezTo>
                <a:cubicBezTo>
                  <a:pt x="221023" y="223745"/>
                  <a:pt x="219201" y="224763"/>
                  <a:pt x="217211" y="224902"/>
                </a:cubicBezTo>
                <a:lnTo>
                  <a:pt x="216170" y="224902"/>
                </a:lnTo>
                <a:cubicBezTo>
                  <a:pt x="212289" y="225683"/>
                  <a:pt x="208772" y="227713"/>
                  <a:pt x="206163" y="230686"/>
                </a:cubicBezTo>
                <a:cubicBezTo>
                  <a:pt x="203699" y="233451"/>
                  <a:pt x="200379" y="235302"/>
                  <a:pt x="196734" y="235950"/>
                </a:cubicBezTo>
                <a:lnTo>
                  <a:pt x="195346" y="235950"/>
                </a:lnTo>
                <a:cubicBezTo>
                  <a:pt x="192217" y="235904"/>
                  <a:pt x="189157" y="236858"/>
                  <a:pt x="186612" y="238669"/>
                </a:cubicBezTo>
                <a:cubicBezTo>
                  <a:pt x="183355" y="240352"/>
                  <a:pt x="179752" y="241260"/>
                  <a:pt x="176084" y="241329"/>
                </a:cubicBezTo>
                <a:close/>
                <a:moveTo>
                  <a:pt x="163532" y="235950"/>
                </a:moveTo>
                <a:cubicBezTo>
                  <a:pt x="166557" y="235823"/>
                  <a:pt x="169554" y="236523"/>
                  <a:pt x="172209" y="237975"/>
                </a:cubicBezTo>
                <a:cubicBezTo>
                  <a:pt x="173371" y="238703"/>
                  <a:pt x="174713" y="239085"/>
                  <a:pt x="176084" y="239073"/>
                </a:cubicBezTo>
                <a:cubicBezTo>
                  <a:pt x="179410" y="238698"/>
                  <a:pt x="182609" y="237593"/>
                  <a:pt x="185455" y="235834"/>
                </a:cubicBezTo>
                <a:cubicBezTo>
                  <a:pt x="188058" y="234169"/>
                  <a:pt x="191002" y="233116"/>
                  <a:pt x="194074" y="232769"/>
                </a:cubicBezTo>
                <a:cubicBezTo>
                  <a:pt x="194612" y="232682"/>
                  <a:pt x="195155" y="232682"/>
                  <a:pt x="195693" y="232769"/>
                </a:cubicBezTo>
                <a:cubicBezTo>
                  <a:pt x="198296" y="233347"/>
                  <a:pt x="201478" y="230860"/>
                  <a:pt x="204543" y="228141"/>
                </a:cubicBezTo>
                <a:cubicBezTo>
                  <a:pt x="207667" y="224566"/>
                  <a:pt x="212069" y="222362"/>
                  <a:pt x="216806" y="222010"/>
                </a:cubicBezTo>
                <a:lnTo>
                  <a:pt x="216806" y="222010"/>
                </a:lnTo>
                <a:cubicBezTo>
                  <a:pt x="218200" y="221911"/>
                  <a:pt x="219479" y="221188"/>
                  <a:pt x="220277" y="220043"/>
                </a:cubicBezTo>
                <a:cubicBezTo>
                  <a:pt x="226062" y="213217"/>
                  <a:pt x="230805" y="192278"/>
                  <a:pt x="229474" y="183138"/>
                </a:cubicBezTo>
                <a:cubicBezTo>
                  <a:pt x="229434" y="176145"/>
                  <a:pt x="230354" y="169175"/>
                  <a:pt x="232193" y="162430"/>
                </a:cubicBezTo>
                <a:cubicBezTo>
                  <a:pt x="234738" y="150167"/>
                  <a:pt x="237977" y="134954"/>
                  <a:pt x="232598" y="132351"/>
                </a:cubicBezTo>
                <a:cubicBezTo>
                  <a:pt x="230932" y="131501"/>
                  <a:pt x="229087" y="131061"/>
                  <a:pt x="227219" y="131078"/>
                </a:cubicBezTo>
                <a:cubicBezTo>
                  <a:pt x="222909" y="131454"/>
                  <a:pt x="218756" y="132883"/>
                  <a:pt x="215129" y="135243"/>
                </a:cubicBezTo>
                <a:cubicBezTo>
                  <a:pt x="213625" y="136296"/>
                  <a:pt x="211907" y="137007"/>
                  <a:pt x="210096" y="137326"/>
                </a:cubicBezTo>
                <a:cubicBezTo>
                  <a:pt x="204833" y="137326"/>
                  <a:pt x="195982" y="106552"/>
                  <a:pt x="195867" y="106205"/>
                </a:cubicBezTo>
                <a:cubicBezTo>
                  <a:pt x="193206" y="96372"/>
                  <a:pt x="183777" y="80696"/>
                  <a:pt x="178513" y="83878"/>
                </a:cubicBezTo>
                <a:cubicBezTo>
                  <a:pt x="176084" y="85711"/>
                  <a:pt x="172822" y="85983"/>
                  <a:pt x="170126" y="84572"/>
                </a:cubicBezTo>
                <a:cubicBezTo>
                  <a:pt x="165007" y="82622"/>
                  <a:pt x="159581" y="81621"/>
                  <a:pt x="154103" y="81621"/>
                </a:cubicBezTo>
                <a:cubicBezTo>
                  <a:pt x="145774" y="81217"/>
                  <a:pt x="140510" y="80465"/>
                  <a:pt x="138138" y="77341"/>
                </a:cubicBezTo>
                <a:cubicBezTo>
                  <a:pt x="135767" y="74217"/>
                  <a:pt x="136750" y="68317"/>
                  <a:pt x="139064" y="58310"/>
                </a:cubicBezTo>
                <a:cubicBezTo>
                  <a:pt x="140435" y="50455"/>
                  <a:pt x="138936" y="42363"/>
                  <a:pt x="134841" y="35520"/>
                </a:cubicBezTo>
                <a:cubicBezTo>
                  <a:pt x="132470" y="30487"/>
                  <a:pt x="130387" y="26149"/>
                  <a:pt x="134841" y="23951"/>
                </a:cubicBezTo>
                <a:cubicBezTo>
                  <a:pt x="136808" y="22909"/>
                  <a:pt x="137849" y="21810"/>
                  <a:pt x="138080" y="20596"/>
                </a:cubicBezTo>
                <a:cubicBezTo>
                  <a:pt x="138312" y="19381"/>
                  <a:pt x="137213" y="16084"/>
                  <a:pt x="133974" y="11803"/>
                </a:cubicBezTo>
                <a:cubicBezTo>
                  <a:pt x="132672" y="12631"/>
                  <a:pt x="131174" y="13093"/>
                  <a:pt x="129635" y="13134"/>
                </a:cubicBezTo>
                <a:cubicBezTo>
                  <a:pt x="125933" y="12521"/>
                  <a:pt x="122468" y="10901"/>
                  <a:pt x="119628" y="8448"/>
                </a:cubicBezTo>
                <a:cubicBezTo>
                  <a:pt x="115157" y="4689"/>
                  <a:pt x="109650" y="2369"/>
                  <a:pt x="103837" y="1796"/>
                </a:cubicBezTo>
                <a:lnTo>
                  <a:pt x="94061" y="1796"/>
                </a:lnTo>
                <a:cubicBezTo>
                  <a:pt x="86836" y="1253"/>
                  <a:pt x="79583" y="2340"/>
                  <a:pt x="72832" y="4978"/>
                </a:cubicBezTo>
                <a:cubicBezTo>
                  <a:pt x="68251" y="6667"/>
                  <a:pt x="63357" y="7361"/>
                  <a:pt x="58486" y="7002"/>
                </a:cubicBezTo>
                <a:cubicBezTo>
                  <a:pt x="52043" y="6389"/>
                  <a:pt x="45558" y="7633"/>
                  <a:pt x="39803" y="10589"/>
                </a:cubicBezTo>
                <a:cubicBezTo>
                  <a:pt x="29564" y="17357"/>
                  <a:pt x="18632" y="30545"/>
                  <a:pt x="19326" y="35288"/>
                </a:cubicBezTo>
                <a:cubicBezTo>
                  <a:pt x="20020" y="40031"/>
                  <a:pt x="16549" y="76473"/>
                  <a:pt x="10476" y="78498"/>
                </a:cubicBezTo>
                <a:cubicBezTo>
                  <a:pt x="7966" y="78926"/>
                  <a:pt x="5409" y="78926"/>
                  <a:pt x="2898" y="78498"/>
                </a:cubicBezTo>
                <a:cubicBezTo>
                  <a:pt x="12819" y="92664"/>
                  <a:pt x="25105" y="105008"/>
                  <a:pt x="39225" y="114998"/>
                </a:cubicBezTo>
                <a:cubicBezTo>
                  <a:pt x="43684" y="117734"/>
                  <a:pt x="47768" y="121042"/>
                  <a:pt x="51372" y="124831"/>
                </a:cubicBezTo>
                <a:cubicBezTo>
                  <a:pt x="55780" y="130159"/>
                  <a:pt x="62223" y="133392"/>
                  <a:pt x="69130" y="133739"/>
                </a:cubicBezTo>
                <a:cubicBezTo>
                  <a:pt x="81376" y="134127"/>
                  <a:pt x="92794" y="139987"/>
                  <a:pt x="100250" y="149704"/>
                </a:cubicBezTo>
                <a:cubicBezTo>
                  <a:pt x="103027" y="153291"/>
                  <a:pt x="115926" y="158554"/>
                  <a:pt x="127263" y="163182"/>
                </a:cubicBezTo>
                <a:cubicBezTo>
                  <a:pt x="140973" y="168966"/>
                  <a:pt x="149476" y="172321"/>
                  <a:pt x="151153" y="175271"/>
                </a:cubicBezTo>
                <a:cubicBezTo>
                  <a:pt x="152831" y="178222"/>
                  <a:pt x="149013" y="183080"/>
                  <a:pt x="143460" y="189443"/>
                </a:cubicBezTo>
                <a:cubicBezTo>
                  <a:pt x="137907" y="195806"/>
                  <a:pt x="129982" y="204946"/>
                  <a:pt x="129982" y="212581"/>
                </a:cubicBezTo>
                <a:cubicBezTo>
                  <a:pt x="130688" y="218464"/>
                  <a:pt x="128108" y="224260"/>
                  <a:pt x="123272" y="227678"/>
                </a:cubicBezTo>
                <a:cubicBezTo>
                  <a:pt x="121711" y="228835"/>
                  <a:pt x="120959" y="229471"/>
                  <a:pt x="120959" y="230686"/>
                </a:cubicBezTo>
                <a:cubicBezTo>
                  <a:pt x="120959" y="231901"/>
                  <a:pt x="126743" y="232537"/>
                  <a:pt x="131313" y="232769"/>
                </a:cubicBezTo>
                <a:cubicBezTo>
                  <a:pt x="136310" y="232572"/>
                  <a:pt x="141285" y="233480"/>
                  <a:pt x="145889" y="235430"/>
                </a:cubicBezTo>
                <a:cubicBezTo>
                  <a:pt x="147561" y="236378"/>
                  <a:pt x="149470" y="236818"/>
                  <a:pt x="151384" y="236702"/>
                </a:cubicBezTo>
                <a:cubicBezTo>
                  <a:pt x="153178" y="236702"/>
                  <a:pt x="155029" y="236702"/>
                  <a:pt x="157169" y="236297"/>
                </a:cubicBezTo>
                <a:cubicBezTo>
                  <a:pt x="159280" y="236066"/>
                  <a:pt x="161403" y="235950"/>
                  <a:pt x="163532" y="23595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3" name="Forma libre: forma 382">
            <a:extLst>
              <a:ext uri="{FF2B5EF4-FFF2-40B4-BE49-F238E27FC236}">
                <a16:creationId xmlns:a16="http://schemas.microsoft.com/office/drawing/2014/main" id="{3BE2EF04-4E5C-3B41-8384-B51426E37F8C}"/>
              </a:ext>
            </a:extLst>
          </p:cNvPr>
          <p:cNvSpPr/>
          <p:nvPr/>
        </p:nvSpPr>
        <p:spPr>
          <a:xfrm>
            <a:off x="3819244" y="4176510"/>
            <a:ext cx="90712" cy="75667"/>
          </a:xfrm>
          <a:custGeom>
            <a:avLst/>
            <a:gdLst>
              <a:gd name="connsiteX0" fmla="*/ 81497 w 90712"/>
              <a:gd name="connsiteY0" fmla="*/ 75514 h 75667"/>
              <a:gd name="connsiteX1" fmla="*/ 81497 w 90712"/>
              <a:gd name="connsiteY1" fmla="*/ 75514 h 75667"/>
              <a:gd name="connsiteX2" fmla="*/ 75018 w 90712"/>
              <a:gd name="connsiteY2" fmla="*/ 74994 h 75667"/>
              <a:gd name="connsiteX3" fmla="*/ 61251 w 90712"/>
              <a:gd name="connsiteY3" fmla="*/ 70597 h 75667"/>
              <a:gd name="connsiteX4" fmla="*/ 58128 w 90712"/>
              <a:gd name="connsiteY4" fmla="*/ 59896 h 75667"/>
              <a:gd name="connsiteX5" fmla="*/ 54599 w 90712"/>
              <a:gd name="connsiteY5" fmla="*/ 51509 h 75667"/>
              <a:gd name="connsiteX6" fmla="*/ 39907 w 90712"/>
              <a:gd name="connsiteY6" fmla="*/ 44105 h 75667"/>
              <a:gd name="connsiteX7" fmla="*/ 33197 w 90712"/>
              <a:gd name="connsiteY7" fmla="*/ 38609 h 75667"/>
              <a:gd name="connsiteX8" fmla="*/ 27760 w 90712"/>
              <a:gd name="connsiteY8" fmla="*/ 33808 h 75667"/>
              <a:gd name="connsiteX9" fmla="*/ 24231 w 90712"/>
              <a:gd name="connsiteY9" fmla="*/ 35833 h 75667"/>
              <a:gd name="connsiteX10" fmla="*/ 19083 w 90712"/>
              <a:gd name="connsiteY10" fmla="*/ 38667 h 75667"/>
              <a:gd name="connsiteX11" fmla="*/ 11621 w 90712"/>
              <a:gd name="connsiteY11" fmla="*/ 36759 h 75667"/>
              <a:gd name="connsiteX12" fmla="*/ 52 w 90712"/>
              <a:gd name="connsiteY12" fmla="*/ 22240 h 75667"/>
              <a:gd name="connsiteX13" fmla="*/ 4101 w 90712"/>
              <a:gd name="connsiteY13" fmla="*/ 11191 h 75667"/>
              <a:gd name="connsiteX14" fmla="*/ 5779 w 90712"/>
              <a:gd name="connsiteY14" fmla="*/ 1705 h 75667"/>
              <a:gd name="connsiteX15" fmla="*/ 5779 w 90712"/>
              <a:gd name="connsiteY15" fmla="*/ 721 h 75667"/>
              <a:gd name="connsiteX16" fmla="*/ 6646 w 90712"/>
              <a:gd name="connsiteY16" fmla="*/ 258 h 75667"/>
              <a:gd name="connsiteX17" fmla="*/ 13877 w 90712"/>
              <a:gd name="connsiteY17" fmla="*/ -89 h 75667"/>
              <a:gd name="connsiteX18" fmla="*/ 22264 w 90712"/>
              <a:gd name="connsiteY18" fmla="*/ 1242 h 75667"/>
              <a:gd name="connsiteX19" fmla="*/ 33833 w 90712"/>
              <a:gd name="connsiteY19" fmla="*/ 2746 h 75667"/>
              <a:gd name="connsiteX20" fmla="*/ 49625 w 90712"/>
              <a:gd name="connsiteY20" fmla="*/ 5812 h 75667"/>
              <a:gd name="connsiteX21" fmla="*/ 62350 w 90712"/>
              <a:gd name="connsiteY21" fmla="*/ 7142 h 75667"/>
              <a:gd name="connsiteX22" fmla="*/ 63450 w 90712"/>
              <a:gd name="connsiteY22" fmla="*/ 7605 h 75667"/>
              <a:gd name="connsiteX23" fmla="*/ 90347 w 90712"/>
              <a:gd name="connsiteY23" fmla="*/ 41154 h 75667"/>
              <a:gd name="connsiteX24" fmla="*/ 90347 w 90712"/>
              <a:gd name="connsiteY24" fmla="*/ 42601 h 75667"/>
              <a:gd name="connsiteX25" fmla="*/ 86414 w 90712"/>
              <a:gd name="connsiteY25" fmla="*/ 58971 h 75667"/>
              <a:gd name="connsiteX26" fmla="*/ 84505 w 90712"/>
              <a:gd name="connsiteY26" fmla="*/ 69209 h 75667"/>
              <a:gd name="connsiteX27" fmla="*/ 82712 w 90712"/>
              <a:gd name="connsiteY27" fmla="*/ 74994 h 75667"/>
              <a:gd name="connsiteX28" fmla="*/ 81497 w 90712"/>
              <a:gd name="connsiteY28" fmla="*/ 75514 h 75667"/>
              <a:gd name="connsiteX29" fmla="*/ 27644 w 90712"/>
              <a:gd name="connsiteY29" fmla="*/ 31552 h 75667"/>
              <a:gd name="connsiteX30" fmla="*/ 35048 w 90712"/>
              <a:gd name="connsiteY30" fmla="*/ 37337 h 75667"/>
              <a:gd name="connsiteX31" fmla="*/ 39791 w 90712"/>
              <a:gd name="connsiteY31" fmla="*/ 41675 h 75667"/>
              <a:gd name="connsiteX32" fmla="*/ 56103 w 90712"/>
              <a:gd name="connsiteY32" fmla="*/ 49774 h 75667"/>
              <a:gd name="connsiteX33" fmla="*/ 60268 w 90712"/>
              <a:gd name="connsiteY33" fmla="*/ 59838 h 75667"/>
              <a:gd name="connsiteX34" fmla="*/ 62813 w 90712"/>
              <a:gd name="connsiteY34" fmla="*/ 68862 h 75667"/>
              <a:gd name="connsiteX35" fmla="*/ 74903 w 90712"/>
              <a:gd name="connsiteY35" fmla="*/ 72564 h 75667"/>
              <a:gd name="connsiteX36" fmla="*/ 80687 w 90712"/>
              <a:gd name="connsiteY36" fmla="*/ 72969 h 75667"/>
              <a:gd name="connsiteX37" fmla="*/ 82249 w 90712"/>
              <a:gd name="connsiteY37" fmla="*/ 68341 h 75667"/>
              <a:gd name="connsiteX38" fmla="*/ 84100 w 90712"/>
              <a:gd name="connsiteY38" fmla="*/ 59433 h 75667"/>
              <a:gd name="connsiteX39" fmla="*/ 87860 w 90712"/>
              <a:gd name="connsiteY39" fmla="*/ 42080 h 75667"/>
              <a:gd name="connsiteX40" fmla="*/ 61772 w 90712"/>
              <a:gd name="connsiteY40" fmla="*/ 9514 h 75667"/>
              <a:gd name="connsiteX41" fmla="*/ 48121 w 90712"/>
              <a:gd name="connsiteY41" fmla="*/ 7721 h 75667"/>
              <a:gd name="connsiteX42" fmla="*/ 33602 w 90712"/>
              <a:gd name="connsiteY42" fmla="*/ 5060 h 75667"/>
              <a:gd name="connsiteX43" fmla="*/ 21281 w 90712"/>
              <a:gd name="connsiteY43" fmla="*/ 3324 h 75667"/>
              <a:gd name="connsiteX44" fmla="*/ 13877 w 90712"/>
              <a:gd name="connsiteY44" fmla="*/ 2225 h 75667"/>
              <a:gd name="connsiteX45" fmla="*/ 8093 w 90712"/>
              <a:gd name="connsiteY45" fmla="*/ 2225 h 75667"/>
              <a:gd name="connsiteX46" fmla="*/ 5200 w 90712"/>
              <a:gd name="connsiteY46" fmla="*/ 12869 h 75667"/>
              <a:gd name="connsiteX47" fmla="*/ 2135 w 90712"/>
              <a:gd name="connsiteY47" fmla="*/ 21835 h 75667"/>
              <a:gd name="connsiteX48" fmla="*/ 12257 w 90712"/>
              <a:gd name="connsiteY48" fmla="*/ 34503 h 75667"/>
              <a:gd name="connsiteX49" fmla="*/ 18909 w 90712"/>
              <a:gd name="connsiteY49" fmla="*/ 36238 h 75667"/>
              <a:gd name="connsiteX50" fmla="*/ 22264 w 90712"/>
              <a:gd name="connsiteY50" fmla="*/ 34271 h 75667"/>
              <a:gd name="connsiteX51" fmla="*/ 27355 w 90712"/>
              <a:gd name="connsiteY51" fmla="*/ 31552 h 75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0712" h="75667">
                <a:moveTo>
                  <a:pt x="81497" y="75514"/>
                </a:moveTo>
                <a:lnTo>
                  <a:pt x="81497" y="75514"/>
                </a:lnTo>
                <a:cubicBezTo>
                  <a:pt x="79351" y="75179"/>
                  <a:pt x="77188" y="75005"/>
                  <a:pt x="75018" y="74994"/>
                </a:cubicBezTo>
                <a:cubicBezTo>
                  <a:pt x="70015" y="75531"/>
                  <a:pt x="65017" y="73935"/>
                  <a:pt x="61251" y="70597"/>
                </a:cubicBezTo>
                <a:cubicBezTo>
                  <a:pt x="58741" y="67636"/>
                  <a:pt x="57607" y="63743"/>
                  <a:pt x="58128" y="59896"/>
                </a:cubicBezTo>
                <a:cubicBezTo>
                  <a:pt x="58145" y="56738"/>
                  <a:pt x="56873" y="53707"/>
                  <a:pt x="54599" y="51509"/>
                </a:cubicBezTo>
                <a:cubicBezTo>
                  <a:pt x="50701" y="47425"/>
                  <a:pt x="45512" y="44805"/>
                  <a:pt x="39907" y="44105"/>
                </a:cubicBezTo>
                <a:cubicBezTo>
                  <a:pt x="36263" y="44105"/>
                  <a:pt x="34643" y="41154"/>
                  <a:pt x="33197" y="38609"/>
                </a:cubicBezTo>
                <a:cubicBezTo>
                  <a:pt x="31751" y="36064"/>
                  <a:pt x="30536" y="33808"/>
                  <a:pt x="27760" y="33808"/>
                </a:cubicBezTo>
                <a:cubicBezTo>
                  <a:pt x="26296" y="33762"/>
                  <a:pt x="24931" y="34543"/>
                  <a:pt x="24231" y="35833"/>
                </a:cubicBezTo>
                <a:cubicBezTo>
                  <a:pt x="23161" y="37643"/>
                  <a:pt x="21188" y="38731"/>
                  <a:pt x="19083" y="38667"/>
                </a:cubicBezTo>
                <a:cubicBezTo>
                  <a:pt x="16497" y="38499"/>
                  <a:pt x="13969" y="37852"/>
                  <a:pt x="11621" y="36759"/>
                </a:cubicBezTo>
                <a:cubicBezTo>
                  <a:pt x="5281" y="34560"/>
                  <a:pt x="775" y="28909"/>
                  <a:pt x="52" y="22240"/>
                </a:cubicBezTo>
                <a:cubicBezTo>
                  <a:pt x="-636" y="18098"/>
                  <a:pt x="902" y="13904"/>
                  <a:pt x="4101" y="11191"/>
                </a:cubicBezTo>
                <a:cubicBezTo>
                  <a:pt x="6600" y="8698"/>
                  <a:pt x="7271" y="4904"/>
                  <a:pt x="5779" y="1705"/>
                </a:cubicBezTo>
                <a:cubicBezTo>
                  <a:pt x="5634" y="1392"/>
                  <a:pt x="5634" y="1034"/>
                  <a:pt x="5779" y="721"/>
                </a:cubicBezTo>
                <a:cubicBezTo>
                  <a:pt x="5970" y="432"/>
                  <a:pt x="6299" y="258"/>
                  <a:pt x="6646" y="258"/>
                </a:cubicBezTo>
                <a:cubicBezTo>
                  <a:pt x="9597" y="258"/>
                  <a:pt x="11852" y="-89"/>
                  <a:pt x="13877" y="-89"/>
                </a:cubicBezTo>
                <a:cubicBezTo>
                  <a:pt x="16734" y="-274"/>
                  <a:pt x="19603" y="178"/>
                  <a:pt x="22264" y="1242"/>
                </a:cubicBezTo>
                <a:cubicBezTo>
                  <a:pt x="26001" y="2416"/>
                  <a:pt x="29917" y="2925"/>
                  <a:pt x="33833" y="2746"/>
                </a:cubicBezTo>
                <a:cubicBezTo>
                  <a:pt x="39276" y="2312"/>
                  <a:pt x="44737" y="3371"/>
                  <a:pt x="49625" y="5812"/>
                </a:cubicBezTo>
                <a:cubicBezTo>
                  <a:pt x="53541" y="7859"/>
                  <a:pt x="58093" y="8334"/>
                  <a:pt x="62350" y="7142"/>
                </a:cubicBezTo>
                <a:cubicBezTo>
                  <a:pt x="62773" y="7107"/>
                  <a:pt x="63184" y="7275"/>
                  <a:pt x="63450" y="7605"/>
                </a:cubicBezTo>
                <a:cubicBezTo>
                  <a:pt x="71686" y="19353"/>
                  <a:pt x="80670" y="30558"/>
                  <a:pt x="90347" y="41154"/>
                </a:cubicBezTo>
                <a:cubicBezTo>
                  <a:pt x="90688" y="41577"/>
                  <a:pt x="90688" y="42178"/>
                  <a:pt x="90347" y="42601"/>
                </a:cubicBezTo>
                <a:cubicBezTo>
                  <a:pt x="86923" y="47321"/>
                  <a:pt x="85505" y="53209"/>
                  <a:pt x="86414" y="58971"/>
                </a:cubicBezTo>
                <a:cubicBezTo>
                  <a:pt x="86767" y="62493"/>
                  <a:pt x="86101" y="66045"/>
                  <a:pt x="84505" y="69209"/>
                </a:cubicBezTo>
                <a:cubicBezTo>
                  <a:pt x="83926" y="70944"/>
                  <a:pt x="83290" y="72738"/>
                  <a:pt x="82712" y="74994"/>
                </a:cubicBezTo>
                <a:cubicBezTo>
                  <a:pt x="82457" y="75404"/>
                  <a:pt x="81971" y="75612"/>
                  <a:pt x="81497" y="75514"/>
                </a:cubicBezTo>
                <a:close/>
                <a:moveTo>
                  <a:pt x="27644" y="31552"/>
                </a:moveTo>
                <a:cubicBezTo>
                  <a:pt x="31751" y="31552"/>
                  <a:pt x="33428" y="34676"/>
                  <a:pt x="35048" y="37337"/>
                </a:cubicBezTo>
                <a:cubicBezTo>
                  <a:pt x="36668" y="39998"/>
                  <a:pt x="37651" y="41675"/>
                  <a:pt x="39791" y="41675"/>
                </a:cubicBezTo>
                <a:cubicBezTo>
                  <a:pt x="46009" y="42375"/>
                  <a:pt x="51782" y="45244"/>
                  <a:pt x="56103" y="49774"/>
                </a:cubicBezTo>
                <a:cubicBezTo>
                  <a:pt x="58851" y="52388"/>
                  <a:pt x="60366" y="56044"/>
                  <a:pt x="60268" y="59838"/>
                </a:cubicBezTo>
                <a:cubicBezTo>
                  <a:pt x="59805" y="63072"/>
                  <a:pt x="60731" y="66346"/>
                  <a:pt x="62813" y="68862"/>
                </a:cubicBezTo>
                <a:cubicBezTo>
                  <a:pt x="66157" y="71714"/>
                  <a:pt x="70535" y="73056"/>
                  <a:pt x="74903" y="72564"/>
                </a:cubicBezTo>
                <a:cubicBezTo>
                  <a:pt x="76834" y="72593"/>
                  <a:pt x="78767" y="72726"/>
                  <a:pt x="80687" y="72969"/>
                </a:cubicBezTo>
                <a:cubicBezTo>
                  <a:pt x="81208" y="71349"/>
                  <a:pt x="81728" y="69787"/>
                  <a:pt x="82249" y="68341"/>
                </a:cubicBezTo>
                <a:cubicBezTo>
                  <a:pt x="83591" y="65571"/>
                  <a:pt x="84227" y="62511"/>
                  <a:pt x="84100" y="59433"/>
                </a:cubicBezTo>
                <a:cubicBezTo>
                  <a:pt x="83111" y="53383"/>
                  <a:pt x="84459" y="47182"/>
                  <a:pt x="87860" y="42080"/>
                </a:cubicBezTo>
                <a:cubicBezTo>
                  <a:pt x="78541" y="31737"/>
                  <a:pt x="69830" y="20863"/>
                  <a:pt x="61772" y="9514"/>
                </a:cubicBezTo>
                <a:cubicBezTo>
                  <a:pt x="57162" y="10694"/>
                  <a:pt x="52274" y="10052"/>
                  <a:pt x="48121" y="7721"/>
                </a:cubicBezTo>
                <a:cubicBezTo>
                  <a:pt x="43603" y="5569"/>
                  <a:pt x="38594" y="4649"/>
                  <a:pt x="33602" y="5060"/>
                </a:cubicBezTo>
                <a:cubicBezTo>
                  <a:pt x="29425" y="5256"/>
                  <a:pt x="25243" y="4666"/>
                  <a:pt x="21281" y="3324"/>
                </a:cubicBezTo>
                <a:cubicBezTo>
                  <a:pt x="18921" y="2434"/>
                  <a:pt x="16393" y="2058"/>
                  <a:pt x="13877" y="2225"/>
                </a:cubicBezTo>
                <a:cubicBezTo>
                  <a:pt x="12257" y="2225"/>
                  <a:pt x="10406" y="2225"/>
                  <a:pt x="8093" y="2225"/>
                </a:cubicBezTo>
                <a:cubicBezTo>
                  <a:pt x="9446" y="6032"/>
                  <a:pt x="8295" y="10271"/>
                  <a:pt x="5200" y="12869"/>
                </a:cubicBezTo>
                <a:cubicBezTo>
                  <a:pt x="2719" y="15142"/>
                  <a:pt x="1568" y="18520"/>
                  <a:pt x="2135" y="21835"/>
                </a:cubicBezTo>
                <a:cubicBezTo>
                  <a:pt x="2817" y="27642"/>
                  <a:pt x="6745" y="32559"/>
                  <a:pt x="12257" y="34503"/>
                </a:cubicBezTo>
                <a:cubicBezTo>
                  <a:pt x="14351" y="35474"/>
                  <a:pt x="16607" y="36058"/>
                  <a:pt x="18909" y="36238"/>
                </a:cubicBezTo>
                <a:cubicBezTo>
                  <a:pt x="20315" y="36284"/>
                  <a:pt x="21617" y="35520"/>
                  <a:pt x="22264" y="34271"/>
                </a:cubicBezTo>
                <a:cubicBezTo>
                  <a:pt x="23358" y="32524"/>
                  <a:pt x="25295" y="31489"/>
                  <a:pt x="27355" y="3155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4" name="Forma libre: forma 383">
            <a:extLst>
              <a:ext uri="{FF2B5EF4-FFF2-40B4-BE49-F238E27FC236}">
                <a16:creationId xmlns:a16="http://schemas.microsoft.com/office/drawing/2014/main" id="{ACD8F5A0-4730-2562-4C02-8971F129423C}"/>
              </a:ext>
            </a:extLst>
          </p:cNvPr>
          <p:cNvSpPr/>
          <p:nvPr/>
        </p:nvSpPr>
        <p:spPr>
          <a:xfrm>
            <a:off x="3899296" y="4214680"/>
            <a:ext cx="162027" cy="70849"/>
          </a:xfrm>
          <a:custGeom>
            <a:avLst/>
            <a:gdLst>
              <a:gd name="connsiteX0" fmla="*/ 63165 w 162027"/>
              <a:gd name="connsiteY0" fmla="*/ 70720 h 70849"/>
              <a:gd name="connsiteX1" fmla="*/ 55356 w 162027"/>
              <a:gd name="connsiteY1" fmla="*/ 65919 h 70849"/>
              <a:gd name="connsiteX2" fmla="*/ 47547 w 162027"/>
              <a:gd name="connsiteY2" fmla="*/ 60135 h 70849"/>
              <a:gd name="connsiteX3" fmla="*/ 35516 w 162027"/>
              <a:gd name="connsiteY3" fmla="*/ 52615 h 70849"/>
              <a:gd name="connsiteX4" fmla="*/ 809 w 162027"/>
              <a:gd name="connsiteY4" fmla="*/ 37171 h 70849"/>
              <a:gd name="connsiteX5" fmla="*/ -1 w 162027"/>
              <a:gd name="connsiteY5" fmla="*/ 36650 h 70849"/>
              <a:gd name="connsiteX6" fmla="*/ -1 w 162027"/>
              <a:gd name="connsiteY6" fmla="*/ 35725 h 70849"/>
              <a:gd name="connsiteX7" fmla="*/ 1792 w 162027"/>
              <a:gd name="connsiteY7" fmla="*/ 29940 h 70849"/>
              <a:gd name="connsiteX8" fmla="*/ 3643 w 162027"/>
              <a:gd name="connsiteY8" fmla="*/ 21032 h 70849"/>
              <a:gd name="connsiteX9" fmla="*/ 7982 w 162027"/>
              <a:gd name="connsiteY9" fmla="*/ 2695 h 70849"/>
              <a:gd name="connsiteX10" fmla="*/ 8907 w 162027"/>
              <a:gd name="connsiteY10" fmla="*/ 2232 h 70849"/>
              <a:gd name="connsiteX11" fmla="*/ 9717 w 162027"/>
              <a:gd name="connsiteY11" fmla="*/ 2580 h 70849"/>
              <a:gd name="connsiteX12" fmla="*/ 23484 w 162027"/>
              <a:gd name="connsiteY12" fmla="*/ 14958 h 70849"/>
              <a:gd name="connsiteX13" fmla="*/ 48646 w 162027"/>
              <a:gd name="connsiteY13" fmla="*/ 22999 h 70849"/>
              <a:gd name="connsiteX14" fmla="*/ 65999 w 162027"/>
              <a:gd name="connsiteY14" fmla="*/ 16289 h 70849"/>
              <a:gd name="connsiteX15" fmla="*/ 106028 w 162027"/>
              <a:gd name="connsiteY15" fmla="*/ 1538 h 70849"/>
              <a:gd name="connsiteX16" fmla="*/ 117076 w 162027"/>
              <a:gd name="connsiteY16" fmla="*/ 4778 h 70849"/>
              <a:gd name="connsiteX17" fmla="*/ 144610 w 162027"/>
              <a:gd name="connsiteY17" fmla="*/ 20106 h 70849"/>
              <a:gd name="connsiteX18" fmla="*/ 146981 w 162027"/>
              <a:gd name="connsiteY18" fmla="*/ 23693 h 70849"/>
              <a:gd name="connsiteX19" fmla="*/ 161269 w 162027"/>
              <a:gd name="connsiteY19" fmla="*/ 41046 h 70849"/>
              <a:gd name="connsiteX20" fmla="*/ 161905 w 162027"/>
              <a:gd name="connsiteY20" fmla="*/ 42261 h 70849"/>
              <a:gd name="connsiteX21" fmla="*/ 157683 w 162027"/>
              <a:gd name="connsiteY21" fmla="*/ 51574 h 70849"/>
              <a:gd name="connsiteX22" fmla="*/ 139404 w 162027"/>
              <a:gd name="connsiteY22" fmla="*/ 69274 h 70849"/>
              <a:gd name="connsiteX23" fmla="*/ 137848 w 162027"/>
              <a:gd name="connsiteY23" fmla="*/ 69280 h 70849"/>
              <a:gd name="connsiteX24" fmla="*/ 137842 w 162027"/>
              <a:gd name="connsiteY24" fmla="*/ 69274 h 70849"/>
              <a:gd name="connsiteX25" fmla="*/ 121646 w 162027"/>
              <a:gd name="connsiteY25" fmla="*/ 39311 h 70849"/>
              <a:gd name="connsiteX26" fmla="*/ 124595 w 162027"/>
              <a:gd name="connsiteY26" fmla="*/ 31270 h 70849"/>
              <a:gd name="connsiteX27" fmla="*/ 114184 w 162027"/>
              <a:gd name="connsiteY27" fmla="*/ 22305 h 70849"/>
              <a:gd name="connsiteX28" fmla="*/ 106953 w 162027"/>
              <a:gd name="connsiteY28" fmla="*/ 21090 h 70849"/>
              <a:gd name="connsiteX29" fmla="*/ 85435 w 162027"/>
              <a:gd name="connsiteY29" fmla="*/ 31213 h 70849"/>
              <a:gd name="connsiteX30" fmla="*/ 75775 w 162027"/>
              <a:gd name="connsiteY30" fmla="*/ 39716 h 70849"/>
              <a:gd name="connsiteX31" fmla="*/ 70916 w 162027"/>
              <a:gd name="connsiteY31" fmla="*/ 44054 h 70849"/>
              <a:gd name="connsiteX32" fmla="*/ 75312 w 162027"/>
              <a:gd name="connsiteY32" fmla="*/ 50475 h 70849"/>
              <a:gd name="connsiteX33" fmla="*/ 78667 w 162027"/>
              <a:gd name="connsiteY33" fmla="*/ 59961 h 70849"/>
              <a:gd name="connsiteX34" fmla="*/ 63165 w 162027"/>
              <a:gd name="connsiteY34" fmla="*/ 70720 h 70849"/>
              <a:gd name="connsiteX35" fmla="*/ 2660 w 162027"/>
              <a:gd name="connsiteY35" fmla="*/ 35204 h 70849"/>
              <a:gd name="connsiteX36" fmla="*/ 37367 w 162027"/>
              <a:gd name="connsiteY36" fmla="*/ 51285 h 70849"/>
              <a:gd name="connsiteX37" fmla="*/ 48183 w 162027"/>
              <a:gd name="connsiteY37" fmla="*/ 58052 h 70849"/>
              <a:gd name="connsiteX38" fmla="*/ 57438 w 162027"/>
              <a:gd name="connsiteY38" fmla="*/ 64820 h 70849"/>
              <a:gd name="connsiteX39" fmla="*/ 63223 w 162027"/>
              <a:gd name="connsiteY39" fmla="*/ 68464 h 70849"/>
              <a:gd name="connsiteX40" fmla="*/ 76643 w 162027"/>
              <a:gd name="connsiteY40" fmla="*/ 59383 h 70849"/>
              <a:gd name="connsiteX41" fmla="*/ 73635 w 162027"/>
              <a:gd name="connsiteY41" fmla="*/ 52557 h 70849"/>
              <a:gd name="connsiteX42" fmla="*/ 68602 w 162027"/>
              <a:gd name="connsiteY42" fmla="*/ 44922 h 70849"/>
              <a:gd name="connsiteX43" fmla="*/ 74850 w 162027"/>
              <a:gd name="connsiteY43" fmla="*/ 38096 h 70849"/>
              <a:gd name="connsiteX44" fmla="*/ 83179 w 162027"/>
              <a:gd name="connsiteY44" fmla="*/ 31097 h 70849"/>
              <a:gd name="connsiteX45" fmla="*/ 106895 w 162027"/>
              <a:gd name="connsiteY45" fmla="*/ 19528 h 70849"/>
              <a:gd name="connsiteX46" fmla="*/ 114994 w 162027"/>
              <a:gd name="connsiteY46" fmla="*/ 20916 h 70849"/>
              <a:gd name="connsiteX47" fmla="*/ 126562 w 162027"/>
              <a:gd name="connsiteY47" fmla="*/ 31444 h 70849"/>
              <a:gd name="connsiteX48" fmla="*/ 123092 w 162027"/>
              <a:gd name="connsiteY48" fmla="*/ 41509 h 70849"/>
              <a:gd name="connsiteX49" fmla="*/ 138362 w 162027"/>
              <a:gd name="connsiteY49" fmla="*/ 67539 h 70849"/>
              <a:gd name="connsiteX50" fmla="*/ 156121 w 162027"/>
              <a:gd name="connsiteY50" fmla="*/ 50186 h 70849"/>
              <a:gd name="connsiteX51" fmla="*/ 159245 w 162027"/>
              <a:gd name="connsiteY51" fmla="*/ 43128 h 70849"/>
              <a:gd name="connsiteX52" fmla="*/ 144899 w 162027"/>
              <a:gd name="connsiteY52" fmla="*/ 25313 h 70849"/>
              <a:gd name="connsiteX53" fmla="*/ 142527 w 162027"/>
              <a:gd name="connsiteY53" fmla="*/ 21784 h 70849"/>
              <a:gd name="connsiteX54" fmla="*/ 116324 w 162027"/>
              <a:gd name="connsiteY54" fmla="*/ 7439 h 70849"/>
              <a:gd name="connsiteX55" fmla="*/ 104755 w 162027"/>
              <a:gd name="connsiteY55" fmla="*/ 4026 h 70849"/>
              <a:gd name="connsiteX56" fmla="*/ 67214 w 162027"/>
              <a:gd name="connsiteY56" fmla="*/ 18371 h 70849"/>
              <a:gd name="connsiteX57" fmla="*/ 48530 w 162027"/>
              <a:gd name="connsiteY57" fmla="*/ 25660 h 70849"/>
              <a:gd name="connsiteX58" fmla="*/ 22269 w 162027"/>
              <a:gd name="connsiteY58" fmla="*/ 17330 h 70849"/>
              <a:gd name="connsiteX59" fmla="*/ 8907 w 162027"/>
              <a:gd name="connsiteY59" fmla="*/ 5761 h 70849"/>
              <a:gd name="connsiteX60" fmla="*/ 5726 w 162027"/>
              <a:gd name="connsiteY60" fmla="*/ 20974 h 70849"/>
              <a:gd name="connsiteX61" fmla="*/ 3817 w 162027"/>
              <a:gd name="connsiteY61" fmla="*/ 31213 h 70849"/>
              <a:gd name="connsiteX62" fmla="*/ 2660 w 162027"/>
              <a:gd name="connsiteY62" fmla="*/ 35262 h 70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2027" h="70849">
                <a:moveTo>
                  <a:pt x="63165" y="70720"/>
                </a:moveTo>
                <a:cubicBezTo>
                  <a:pt x="59862" y="70726"/>
                  <a:pt x="56843" y="68869"/>
                  <a:pt x="55356" y="65919"/>
                </a:cubicBezTo>
                <a:cubicBezTo>
                  <a:pt x="53962" y="62743"/>
                  <a:pt x="50994" y="60540"/>
                  <a:pt x="47547" y="60135"/>
                </a:cubicBezTo>
                <a:cubicBezTo>
                  <a:pt x="42723" y="59256"/>
                  <a:pt x="38419" y="56566"/>
                  <a:pt x="35516" y="52615"/>
                </a:cubicBezTo>
                <a:cubicBezTo>
                  <a:pt x="27822" y="43418"/>
                  <a:pt x="12378" y="38559"/>
                  <a:pt x="809" y="37171"/>
                </a:cubicBezTo>
                <a:cubicBezTo>
                  <a:pt x="473" y="37130"/>
                  <a:pt x="173" y="36939"/>
                  <a:pt x="-1" y="36650"/>
                </a:cubicBezTo>
                <a:cubicBezTo>
                  <a:pt x="-146" y="36361"/>
                  <a:pt x="-146" y="36014"/>
                  <a:pt x="-1" y="35725"/>
                </a:cubicBezTo>
                <a:cubicBezTo>
                  <a:pt x="577" y="33758"/>
                  <a:pt x="1214" y="31907"/>
                  <a:pt x="1792" y="29940"/>
                </a:cubicBezTo>
                <a:cubicBezTo>
                  <a:pt x="3134" y="27169"/>
                  <a:pt x="3770" y="24109"/>
                  <a:pt x="3643" y="21032"/>
                </a:cubicBezTo>
                <a:cubicBezTo>
                  <a:pt x="2544" y="14582"/>
                  <a:pt x="4112" y="7965"/>
                  <a:pt x="7982" y="2695"/>
                </a:cubicBezTo>
                <a:cubicBezTo>
                  <a:pt x="8167" y="2366"/>
                  <a:pt x="8531" y="2186"/>
                  <a:pt x="8907" y="2232"/>
                </a:cubicBezTo>
                <a:cubicBezTo>
                  <a:pt x="9214" y="2238"/>
                  <a:pt x="9503" y="2360"/>
                  <a:pt x="9717" y="2580"/>
                </a:cubicBezTo>
                <a:cubicBezTo>
                  <a:pt x="13720" y="7317"/>
                  <a:pt x="18353" y="11482"/>
                  <a:pt x="23484" y="14958"/>
                </a:cubicBezTo>
                <a:cubicBezTo>
                  <a:pt x="31114" y="19597"/>
                  <a:pt x="39738" y="22357"/>
                  <a:pt x="48646" y="22999"/>
                </a:cubicBezTo>
                <a:cubicBezTo>
                  <a:pt x="55084" y="23109"/>
                  <a:pt x="61308" y="20702"/>
                  <a:pt x="65999" y="16289"/>
                </a:cubicBezTo>
                <a:cubicBezTo>
                  <a:pt x="81733" y="1943"/>
                  <a:pt x="95500" y="-3089"/>
                  <a:pt x="106028" y="1538"/>
                </a:cubicBezTo>
                <a:cubicBezTo>
                  <a:pt x="109597" y="2973"/>
                  <a:pt x="113298" y="4061"/>
                  <a:pt x="117076" y="4778"/>
                </a:cubicBezTo>
                <a:cubicBezTo>
                  <a:pt x="126678" y="7034"/>
                  <a:pt x="137610" y="9579"/>
                  <a:pt x="144610" y="20106"/>
                </a:cubicBezTo>
                <a:lnTo>
                  <a:pt x="146981" y="23693"/>
                </a:lnTo>
                <a:cubicBezTo>
                  <a:pt x="152766" y="32022"/>
                  <a:pt x="157278" y="39253"/>
                  <a:pt x="161269" y="41046"/>
                </a:cubicBezTo>
                <a:cubicBezTo>
                  <a:pt x="161726" y="41266"/>
                  <a:pt x="161980" y="41758"/>
                  <a:pt x="161905" y="42261"/>
                </a:cubicBezTo>
                <a:cubicBezTo>
                  <a:pt x="161622" y="45760"/>
                  <a:pt x="160124" y="49052"/>
                  <a:pt x="157683" y="51574"/>
                </a:cubicBezTo>
                <a:cubicBezTo>
                  <a:pt x="151297" y="57162"/>
                  <a:pt x="145194" y="63067"/>
                  <a:pt x="139404" y="69274"/>
                </a:cubicBezTo>
                <a:cubicBezTo>
                  <a:pt x="138976" y="69708"/>
                  <a:pt x="138282" y="69708"/>
                  <a:pt x="137848" y="69280"/>
                </a:cubicBezTo>
                <a:cubicBezTo>
                  <a:pt x="137848" y="69280"/>
                  <a:pt x="137848" y="69274"/>
                  <a:pt x="137842" y="69274"/>
                </a:cubicBezTo>
                <a:cubicBezTo>
                  <a:pt x="126620" y="58631"/>
                  <a:pt x="115225" y="46715"/>
                  <a:pt x="121646" y="39311"/>
                </a:cubicBezTo>
                <a:cubicBezTo>
                  <a:pt x="123867" y="37263"/>
                  <a:pt x="124966" y="34267"/>
                  <a:pt x="124595" y="31270"/>
                </a:cubicBezTo>
                <a:cubicBezTo>
                  <a:pt x="123843" y="27973"/>
                  <a:pt x="120257" y="24908"/>
                  <a:pt x="114184" y="22305"/>
                </a:cubicBezTo>
                <a:cubicBezTo>
                  <a:pt x="111876" y="21420"/>
                  <a:pt x="109423" y="21009"/>
                  <a:pt x="106953" y="21090"/>
                </a:cubicBezTo>
                <a:cubicBezTo>
                  <a:pt x="97871" y="21090"/>
                  <a:pt x="87055" y="25139"/>
                  <a:pt x="85435" y="31213"/>
                </a:cubicBezTo>
                <a:cubicBezTo>
                  <a:pt x="83862" y="35499"/>
                  <a:pt x="80229" y="38704"/>
                  <a:pt x="75775" y="39716"/>
                </a:cubicBezTo>
                <a:cubicBezTo>
                  <a:pt x="72015" y="41162"/>
                  <a:pt x="70511" y="41972"/>
                  <a:pt x="70916" y="44054"/>
                </a:cubicBezTo>
                <a:cubicBezTo>
                  <a:pt x="71674" y="46605"/>
                  <a:pt x="73207" y="48849"/>
                  <a:pt x="75312" y="50475"/>
                </a:cubicBezTo>
                <a:cubicBezTo>
                  <a:pt x="77858" y="52962"/>
                  <a:pt x="80750" y="55796"/>
                  <a:pt x="78667" y="59961"/>
                </a:cubicBezTo>
                <a:cubicBezTo>
                  <a:pt x="75549" y="65850"/>
                  <a:pt x="69771" y="69864"/>
                  <a:pt x="63165" y="70720"/>
                </a:cubicBezTo>
                <a:close/>
                <a:moveTo>
                  <a:pt x="2660" y="35204"/>
                </a:moveTo>
                <a:cubicBezTo>
                  <a:pt x="14229" y="36824"/>
                  <a:pt x="29442" y="41914"/>
                  <a:pt x="37367" y="51285"/>
                </a:cubicBezTo>
                <a:cubicBezTo>
                  <a:pt x="39981" y="54830"/>
                  <a:pt x="43851" y="57254"/>
                  <a:pt x="48183" y="58052"/>
                </a:cubicBezTo>
                <a:cubicBezTo>
                  <a:pt x="52227" y="58567"/>
                  <a:pt x="55720" y="61124"/>
                  <a:pt x="57438" y="64820"/>
                </a:cubicBezTo>
                <a:cubicBezTo>
                  <a:pt x="58514" y="67035"/>
                  <a:pt x="60759" y="68447"/>
                  <a:pt x="63223" y="68464"/>
                </a:cubicBezTo>
                <a:cubicBezTo>
                  <a:pt x="68851" y="67649"/>
                  <a:pt x="73797" y="64305"/>
                  <a:pt x="76643" y="59383"/>
                </a:cubicBezTo>
                <a:cubicBezTo>
                  <a:pt x="77858" y="56837"/>
                  <a:pt x="76643" y="55218"/>
                  <a:pt x="73635" y="52557"/>
                </a:cubicBezTo>
                <a:cubicBezTo>
                  <a:pt x="71205" y="50596"/>
                  <a:pt x="69441" y="47930"/>
                  <a:pt x="68602" y="44922"/>
                </a:cubicBezTo>
                <a:cubicBezTo>
                  <a:pt x="67908" y="40815"/>
                  <a:pt x="71437" y="39427"/>
                  <a:pt x="74850" y="38096"/>
                </a:cubicBezTo>
                <a:cubicBezTo>
                  <a:pt x="78263" y="36766"/>
                  <a:pt x="82080" y="35262"/>
                  <a:pt x="83179" y="31097"/>
                </a:cubicBezTo>
                <a:cubicBezTo>
                  <a:pt x="85146" y="23809"/>
                  <a:pt x="97004" y="19528"/>
                  <a:pt x="106895" y="19528"/>
                </a:cubicBezTo>
                <a:cubicBezTo>
                  <a:pt x="109660" y="19441"/>
                  <a:pt x="112414" y="19915"/>
                  <a:pt x="114994" y="20916"/>
                </a:cubicBezTo>
                <a:cubicBezTo>
                  <a:pt x="121877" y="23867"/>
                  <a:pt x="125810" y="27395"/>
                  <a:pt x="126562" y="31444"/>
                </a:cubicBezTo>
                <a:cubicBezTo>
                  <a:pt x="127112" y="35164"/>
                  <a:pt x="125816" y="38918"/>
                  <a:pt x="123092" y="41509"/>
                </a:cubicBezTo>
                <a:cubicBezTo>
                  <a:pt x="118349" y="46946"/>
                  <a:pt x="127488" y="57185"/>
                  <a:pt x="138362" y="67539"/>
                </a:cubicBezTo>
                <a:cubicBezTo>
                  <a:pt x="143950" y="61425"/>
                  <a:pt x="149879" y="55629"/>
                  <a:pt x="156121" y="50186"/>
                </a:cubicBezTo>
                <a:cubicBezTo>
                  <a:pt x="157897" y="48230"/>
                  <a:pt x="158990" y="45755"/>
                  <a:pt x="159245" y="43128"/>
                </a:cubicBezTo>
                <a:cubicBezTo>
                  <a:pt x="153413" y="38113"/>
                  <a:pt x="148555" y="32074"/>
                  <a:pt x="144899" y="25313"/>
                </a:cubicBezTo>
                <a:lnTo>
                  <a:pt x="142527" y="21784"/>
                </a:lnTo>
                <a:cubicBezTo>
                  <a:pt x="135991" y="12008"/>
                  <a:pt x="125579" y="9579"/>
                  <a:pt x="116324" y="7439"/>
                </a:cubicBezTo>
                <a:cubicBezTo>
                  <a:pt x="112373" y="6658"/>
                  <a:pt x="108498" y="5518"/>
                  <a:pt x="104755" y="4026"/>
                </a:cubicBezTo>
                <a:cubicBezTo>
                  <a:pt x="95153" y="-197"/>
                  <a:pt x="81964" y="4893"/>
                  <a:pt x="67214" y="18371"/>
                </a:cubicBezTo>
                <a:cubicBezTo>
                  <a:pt x="62153" y="23115"/>
                  <a:pt x="55466" y="25723"/>
                  <a:pt x="48530" y="25660"/>
                </a:cubicBezTo>
                <a:cubicBezTo>
                  <a:pt x="39235" y="25041"/>
                  <a:pt x="30223" y="22183"/>
                  <a:pt x="22269" y="17330"/>
                </a:cubicBezTo>
                <a:cubicBezTo>
                  <a:pt x="17312" y="14096"/>
                  <a:pt x="12817" y="10204"/>
                  <a:pt x="8907" y="5761"/>
                </a:cubicBezTo>
                <a:cubicBezTo>
                  <a:pt x="6003" y="10267"/>
                  <a:pt x="4869" y="15687"/>
                  <a:pt x="5726" y="20974"/>
                </a:cubicBezTo>
                <a:cubicBezTo>
                  <a:pt x="6079" y="24497"/>
                  <a:pt x="5413" y="28048"/>
                  <a:pt x="3817" y="31213"/>
                </a:cubicBezTo>
                <a:cubicBezTo>
                  <a:pt x="3585" y="32369"/>
                  <a:pt x="3122" y="33816"/>
                  <a:pt x="2660" y="35262"/>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5" name="Forma libre: forma 384">
            <a:extLst>
              <a:ext uri="{FF2B5EF4-FFF2-40B4-BE49-F238E27FC236}">
                <a16:creationId xmlns:a16="http://schemas.microsoft.com/office/drawing/2014/main" id="{30F0341F-F64D-397F-6A1B-FD821716BCCA}"/>
              </a:ext>
            </a:extLst>
          </p:cNvPr>
          <p:cNvSpPr/>
          <p:nvPr/>
        </p:nvSpPr>
        <p:spPr>
          <a:xfrm>
            <a:off x="4007739" y="4137737"/>
            <a:ext cx="327778" cy="462580"/>
          </a:xfrm>
          <a:custGeom>
            <a:avLst/>
            <a:gdLst>
              <a:gd name="connsiteX0" fmla="*/ 248456 w 327778"/>
              <a:gd name="connsiteY0" fmla="*/ 462394 h 462580"/>
              <a:gd name="connsiteX1" fmla="*/ 247530 w 327778"/>
              <a:gd name="connsiteY1" fmla="*/ 461931 h 462580"/>
              <a:gd name="connsiteX2" fmla="*/ 239027 w 327778"/>
              <a:gd name="connsiteY2" fmla="*/ 455279 h 462580"/>
              <a:gd name="connsiteX3" fmla="*/ 231218 w 327778"/>
              <a:gd name="connsiteY3" fmla="*/ 448800 h 462580"/>
              <a:gd name="connsiteX4" fmla="*/ 239432 w 327778"/>
              <a:gd name="connsiteY4" fmla="*/ 432488 h 462580"/>
              <a:gd name="connsiteX5" fmla="*/ 245505 w 327778"/>
              <a:gd name="connsiteY5" fmla="*/ 424853 h 462580"/>
              <a:gd name="connsiteX6" fmla="*/ 245505 w 327778"/>
              <a:gd name="connsiteY6" fmla="*/ 422713 h 462580"/>
              <a:gd name="connsiteX7" fmla="*/ 226012 w 327778"/>
              <a:gd name="connsiteY7" fmla="*/ 410392 h 462580"/>
              <a:gd name="connsiteX8" fmla="*/ 218261 w 327778"/>
              <a:gd name="connsiteY8" fmla="*/ 411086 h 462580"/>
              <a:gd name="connsiteX9" fmla="*/ 207675 w 327778"/>
              <a:gd name="connsiteY9" fmla="*/ 411086 h 462580"/>
              <a:gd name="connsiteX10" fmla="*/ 202527 w 327778"/>
              <a:gd name="connsiteY10" fmla="*/ 409871 h 462580"/>
              <a:gd name="connsiteX11" fmla="*/ 192751 w 327778"/>
              <a:gd name="connsiteY11" fmla="*/ 412937 h 462580"/>
              <a:gd name="connsiteX12" fmla="*/ 176555 w 327778"/>
              <a:gd name="connsiteY12" fmla="*/ 415598 h 462580"/>
              <a:gd name="connsiteX13" fmla="*/ 160763 w 327778"/>
              <a:gd name="connsiteY13" fmla="*/ 411722 h 462580"/>
              <a:gd name="connsiteX14" fmla="*/ 159607 w 327778"/>
              <a:gd name="connsiteY14" fmla="*/ 408136 h 462580"/>
              <a:gd name="connsiteX15" fmla="*/ 153822 w 327778"/>
              <a:gd name="connsiteY15" fmla="*/ 398765 h 462580"/>
              <a:gd name="connsiteX16" fmla="*/ 148963 w 327778"/>
              <a:gd name="connsiteY16" fmla="*/ 390956 h 462580"/>
              <a:gd name="connsiteX17" fmla="*/ 145955 w 327778"/>
              <a:gd name="connsiteY17" fmla="*/ 382684 h 462580"/>
              <a:gd name="connsiteX18" fmla="*/ 132882 w 327778"/>
              <a:gd name="connsiteY18" fmla="*/ 375107 h 462580"/>
              <a:gd name="connsiteX19" fmla="*/ 122066 w 327778"/>
              <a:gd name="connsiteY19" fmla="*/ 362381 h 462580"/>
              <a:gd name="connsiteX20" fmla="*/ 116281 w 327778"/>
              <a:gd name="connsiteY20" fmla="*/ 352143 h 462580"/>
              <a:gd name="connsiteX21" fmla="*/ 93606 w 327778"/>
              <a:gd name="connsiteY21" fmla="*/ 353010 h 462580"/>
              <a:gd name="connsiteX22" fmla="*/ 92507 w 327778"/>
              <a:gd name="connsiteY22" fmla="*/ 352663 h 462580"/>
              <a:gd name="connsiteX23" fmla="*/ 92507 w 327778"/>
              <a:gd name="connsiteY23" fmla="*/ 352374 h 462580"/>
              <a:gd name="connsiteX24" fmla="*/ 91582 w 327778"/>
              <a:gd name="connsiteY24" fmla="*/ 351333 h 462580"/>
              <a:gd name="connsiteX25" fmla="*/ 74229 w 327778"/>
              <a:gd name="connsiteY25" fmla="*/ 335773 h 462580"/>
              <a:gd name="connsiteX26" fmla="*/ 73535 w 327778"/>
              <a:gd name="connsiteY26" fmla="*/ 336062 h 462580"/>
              <a:gd name="connsiteX27" fmla="*/ 63122 w 327778"/>
              <a:gd name="connsiteY27" fmla="*/ 339359 h 462580"/>
              <a:gd name="connsiteX28" fmla="*/ 63122 w 327778"/>
              <a:gd name="connsiteY28" fmla="*/ 339359 h 462580"/>
              <a:gd name="connsiteX29" fmla="*/ 51206 w 327778"/>
              <a:gd name="connsiteY29" fmla="*/ 336351 h 462580"/>
              <a:gd name="connsiteX30" fmla="*/ 42877 w 327778"/>
              <a:gd name="connsiteY30" fmla="*/ 329352 h 462580"/>
              <a:gd name="connsiteX31" fmla="*/ 34721 w 327778"/>
              <a:gd name="connsiteY31" fmla="*/ 323857 h 462580"/>
              <a:gd name="connsiteX32" fmla="*/ 303 w 327778"/>
              <a:gd name="connsiteY32" fmla="*/ 304710 h 462580"/>
              <a:gd name="connsiteX33" fmla="*/ -102 w 327778"/>
              <a:gd name="connsiteY33" fmla="*/ 303785 h 462580"/>
              <a:gd name="connsiteX34" fmla="*/ 6435 w 327778"/>
              <a:gd name="connsiteY34" fmla="*/ 291291 h 462580"/>
              <a:gd name="connsiteX35" fmla="*/ 8460 w 327778"/>
              <a:gd name="connsiteY35" fmla="*/ 286836 h 462580"/>
              <a:gd name="connsiteX36" fmla="*/ 20029 w 327778"/>
              <a:gd name="connsiteY36" fmla="*/ 273764 h 462580"/>
              <a:gd name="connsiteX37" fmla="*/ 41489 w 327778"/>
              <a:gd name="connsiteY37" fmla="*/ 256410 h 462580"/>
              <a:gd name="connsiteX38" fmla="*/ 45249 w 327778"/>
              <a:gd name="connsiteY38" fmla="*/ 249411 h 462580"/>
              <a:gd name="connsiteX39" fmla="*/ 47736 w 327778"/>
              <a:gd name="connsiteY39" fmla="*/ 234082 h 462580"/>
              <a:gd name="connsiteX40" fmla="*/ 40794 w 327778"/>
              <a:gd name="connsiteY40" fmla="*/ 195269 h 462580"/>
              <a:gd name="connsiteX41" fmla="*/ 43108 w 327778"/>
              <a:gd name="connsiteY41" fmla="*/ 189947 h 462580"/>
              <a:gd name="connsiteX42" fmla="*/ 42703 w 327778"/>
              <a:gd name="connsiteY42" fmla="*/ 176296 h 462580"/>
              <a:gd name="connsiteX43" fmla="*/ 42009 w 327778"/>
              <a:gd name="connsiteY43" fmla="*/ 169644 h 462580"/>
              <a:gd name="connsiteX44" fmla="*/ 37439 w 327778"/>
              <a:gd name="connsiteY44" fmla="*/ 155356 h 462580"/>
              <a:gd name="connsiteX45" fmla="*/ 31250 w 327778"/>
              <a:gd name="connsiteY45" fmla="*/ 149572 h 462580"/>
              <a:gd name="connsiteX46" fmla="*/ 28763 w 327778"/>
              <a:gd name="connsiteY46" fmla="*/ 147142 h 462580"/>
              <a:gd name="connsiteX47" fmla="*/ 28416 w 327778"/>
              <a:gd name="connsiteY47" fmla="*/ 146333 h 462580"/>
              <a:gd name="connsiteX48" fmla="*/ 28416 w 327778"/>
              <a:gd name="connsiteY48" fmla="*/ 145523 h 462580"/>
              <a:gd name="connsiteX49" fmla="*/ 46984 w 327778"/>
              <a:gd name="connsiteY49" fmla="*/ 127533 h 462580"/>
              <a:gd name="connsiteX50" fmla="*/ 50281 w 327778"/>
              <a:gd name="connsiteY50" fmla="*/ 119666 h 462580"/>
              <a:gd name="connsiteX51" fmla="*/ 50917 w 327778"/>
              <a:gd name="connsiteY51" fmla="*/ 118857 h 462580"/>
              <a:gd name="connsiteX52" fmla="*/ 51900 w 327778"/>
              <a:gd name="connsiteY52" fmla="*/ 118857 h 462580"/>
              <a:gd name="connsiteX53" fmla="*/ 56453 w 327778"/>
              <a:gd name="connsiteY53" fmla="*/ 117844 h 462580"/>
              <a:gd name="connsiteX54" fmla="*/ 56470 w 327778"/>
              <a:gd name="connsiteY54" fmla="*/ 117816 h 462580"/>
              <a:gd name="connsiteX55" fmla="*/ 61908 w 327778"/>
              <a:gd name="connsiteY55" fmla="*/ 110296 h 462580"/>
              <a:gd name="connsiteX56" fmla="*/ 84004 w 327778"/>
              <a:gd name="connsiteY56" fmla="*/ 86059 h 462580"/>
              <a:gd name="connsiteX57" fmla="*/ 93490 w 327778"/>
              <a:gd name="connsiteY57" fmla="*/ 64657 h 462580"/>
              <a:gd name="connsiteX58" fmla="*/ 93490 w 327778"/>
              <a:gd name="connsiteY58" fmla="*/ 61070 h 462580"/>
              <a:gd name="connsiteX59" fmla="*/ 100663 w 327778"/>
              <a:gd name="connsiteY59" fmla="*/ 47130 h 462580"/>
              <a:gd name="connsiteX60" fmla="*/ 118826 w 327778"/>
              <a:gd name="connsiteY60" fmla="*/ 36082 h 462580"/>
              <a:gd name="connsiteX61" fmla="*/ 120330 w 327778"/>
              <a:gd name="connsiteY61" fmla="*/ 36082 h 462580"/>
              <a:gd name="connsiteX62" fmla="*/ 127561 w 327778"/>
              <a:gd name="connsiteY62" fmla="*/ 39610 h 462580"/>
              <a:gd name="connsiteX63" fmla="*/ 130916 w 327778"/>
              <a:gd name="connsiteY63" fmla="*/ 41287 h 462580"/>
              <a:gd name="connsiteX64" fmla="*/ 131668 w 327778"/>
              <a:gd name="connsiteY64" fmla="*/ 38858 h 462580"/>
              <a:gd name="connsiteX65" fmla="*/ 144914 w 327778"/>
              <a:gd name="connsiteY65" fmla="*/ 32495 h 462580"/>
              <a:gd name="connsiteX66" fmla="*/ 157062 w 327778"/>
              <a:gd name="connsiteY66" fmla="*/ 30066 h 462580"/>
              <a:gd name="connsiteX67" fmla="*/ 164639 w 327778"/>
              <a:gd name="connsiteY67" fmla="*/ 24281 h 462580"/>
              <a:gd name="connsiteX68" fmla="*/ 181067 w 327778"/>
              <a:gd name="connsiteY68" fmla="*/ 15836 h 462580"/>
              <a:gd name="connsiteX69" fmla="*/ 194429 w 327778"/>
              <a:gd name="connsiteY69" fmla="*/ 7449 h 462580"/>
              <a:gd name="connsiteX70" fmla="*/ 207386 w 327778"/>
              <a:gd name="connsiteY70" fmla="*/ -129 h 462580"/>
              <a:gd name="connsiteX71" fmla="*/ 212650 w 327778"/>
              <a:gd name="connsiteY71" fmla="*/ 1375 h 462580"/>
              <a:gd name="connsiteX72" fmla="*/ 219302 w 327778"/>
              <a:gd name="connsiteY72" fmla="*/ 11035 h 462580"/>
              <a:gd name="connsiteX73" fmla="*/ 205651 w 327778"/>
              <a:gd name="connsiteY73" fmla="*/ 20464 h 462580"/>
              <a:gd name="connsiteX74" fmla="*/ 199866 w 327778"/>
              <a:gd name="connsiteY74" fmla="*/ 25091 h 462580"/>
              <a:gd name="connsiteX75" fmla="*/ 199172 w 327778"/>
              <a:gd name="connsiteY75" fmla="*/ 25785 h 462580"/>
              <a:gd name="connsiteX76" fmla="*/ 191421 w 327778"/>
              <a:gd name="connsiteY76" fmla="*/ 30644 h 462580"/>
              <a:gd name="connsiteX77" fmla="*/ 181009 w 327778"/>
              <a:gd name="connsiteY77" fmla="*/ 41692 h 462580"/>
              <a:gd name="connsiteX78" fmla="*/ 167589 w 327778"/>
              <a:gd name="connsiteY78" fmla="*/ 60839 h 462580"/>
              <a:gd name="connsiteX79" fmla="*/ 167589 w 327778"/>
              <a:gd name="connsiteY79" fmla="*/ 63500 h 462580"/>
              <a:gd name="connsiteX80" fmla="*/ 163309 w 327778"/>
              <a:gd name="connsiteY80" fmla="*/ 81778 h 462580"/>
              <a:gd name="connsiteX81" fmla="*/ 156946 w 327778"/>
              <a:gd name="connsiteY81" fmla="*/ 92364 h 462580"/>
              <a:gd name="connsiteX82" fmla="*/ 158218 w 327778"/>
              <a:gd name="connsiteY82" fmla="*/ 92364 h 462580"/>
              <a:gd name="connsiteX83" fmla="*/ 162383 w 327778"/>
              <a:gd name="connsiteY83" fmla="*/ 92364 h 462580"/>
              <a:gd name="connsiteX84" fmla="*/ 172332 w 327778"/>
              <a:gd name="connsiteY84" fmla="*/ 99768 h 462580"/>
              <a:gd name="connsiteX85" fmla="*/ 177076 w 327778"/>
              <a:gd name="connsiteY85" fmla="*/ 105552 h 462580"/>
              <a:gd name="connsiteX86" fmla="*/ 184306 w 327778"/>
              <a:gd name="connsiteY86" fmla="*/ 117758 h 462580"/>
              <a:gd name="connsiteX87" fmla="*/ 184306 w 327778"/>
              <a:gd name="connsiteY87" fmla="*/ 119782 h 462580"/>
              <a:gd name="connsiteX88" fmla="*/ 188124 w 327778"/>
              <a:gd name="connsiteY88" fmla="*/ 147894 h 462580"/>
              <a:gd name="connsiteX89" fmla="*/ 200502 w 327778"/>
              <a:gd name="connsiteY89" fmla="*/ 152638 h 462580"/>
              <a:gd name="connsiteX90" fmla="*/ 201139 w 327778"/>
              <a:gd name="connsiteY90" fmla="*/ 152638 h 462580"/>
              <a:gd name="connsiteX91" fmla="*/ 219880 w 327778"/>
              <a:gd name="connsiteY91" fmla="*/ 150844 h 462580"/>
              <a:gd name="connsiteX92" fmla="*/ 232490 w 327778"/>
              <a:gd name="connsiteY92" fmla="*/ 149630 h 462580"/>
              <a:gd name="connsiteX93" fmla="*/ 248803 w 327778"/>
              <a:gd name="connsiteY93" fmla="*/ 157150 h 462580"/>
              <a:gd name="connsiteX94" fmla="*/ 285996 w 327778"/>
              <a:gd name="connsiteY94" fmla="*/ 173346 h 462580"/>
              <a:gd name="connsiteX95" fmla="*/ 306300 w 327778"/>
              <a:gd name="connsiteY95" fmla="*/ 171669 h 462580"/>
              <a:gd name="connsiteX96" fmla="*/ 320182 w 327778"/>
              <a:gd name="connsiteY96" fmla="*/ 175891 h 462580"/>
              <a:gd name="connsiteX97" fmla="*/ 319083 w 327778"/>
              <a:gd name="connsiteY97" fmla="*/ 183585 h 462580"/>
              <a:gd name="connsiteX98" fmla="*/ 312373 w 327778"/>
              <a:gd name="connsiteY98" fmla="*/ 232231 h 462580"/>
              <a:gd name="connsiteX99" fmla="*/ 316481 w 327778"/>
              <a:gd name="connsiteY99" fmla="*/ 236512 h 462580"/>
              <a:gd name="connsiteX100" fmla="*/ 323017 w 327778"/>
              <a:gd name="connsiteY100" fmla="*/ 254733 h 462580"/>
              <a:gd name="connsiteX101" fmla="*/ 317811 w 327778"/>
              <a:gd name="connsiteY101" fmla="*/ 266938 h 462580"/>
              <a:gd name="connsiteX102" fmla="*/ 321802 w 327778"/>
              <a:gd name="connsiteY102" fmla="*/ 273590 h 462580"/>
              <a:gd name="connsiteX103" fmla="*/ 327182 w 327778"/>
              <a:gd name="connsiteY103" fmla="*/ 288340 h 462580"/>
              <a:gd name="connsiteX104" fmla="*/ 327182 w 327778"/>
              <a:gd name="connsiteY104" fmla="*/ 288340 h 462580"/>
              <a:gd name="connsiteX105" fmla="*/ 295483 w 327778"/>
              <a:gd name="connsiteY105" fmla="*/ 299331 h 462580"/>
              <a:gd name="connsiteX106" fmla="*/ 288079 w 327778"/>
              <a:gd name="connsiteY106" fmla="*/ 299331 h 462580"/>
              <a:gd name="connsiteX107" fmla="*/ 274370 w 327778"/>
              <a:gd name="connsiteY107" fmla="*/ 299331 h 462580"/>
              <a:gd name="connsiteX108" fmla="*/ 255281 w 327778"/>
              <a:gd name="connsiteY108" fmla="*/ 302050 h 462580"/>
              <a:gd name="connsiteX109" fmla="*/ 257016 w 327778"/>
              <a:gd name="connsiteY109" fmla="*/ 311594 h 462580"/>
              <a:gd name="connsiteX110" fmla="*/ 261586 w 327778"/>
              <a:gd name="connsiteY110" fmla="*/ 315585 h 462580"/>
              <a:gd name="connsiteX111" fmla="*/ 271940 w 327778"/>
              <a:gd name="connsiteY111" fmla="*/ 321774 h 462580"/>
              <a:gd name="connsiteX112" fmla="*/ 267486 w 327778"/>
              <a:gd name="connsiteY112" fmla="*/ 328831 h 462580"/>
              <a:gd name="connsiteX113" fmla="*/ 256669 w 327778"/>
              <a:gd name="connsiteY113" fmla="*/ 332302 h 462580"/>
              <a:gd name="connsiteX114" fmla="*/ 249381 w 327778"/>
              <a:gd name="connsiteY114" fmla="*/ 342598 h 462580"/>
              <a:gd name="connsiteX115" fmla="*/ 258636 w 327778"/>
              <a:gd name="connsiteY115" fmla="*/ 363249 h 462580"/>
              <a:gd name="connsiteX116" fmla="*/ 266792 w 327778"/>
              <a:gd name="connsiteY116" fmla="*/ 387254 h 462580"/>
              <a:gd name="connsiteX117" fmla="*/ 261008 w 327778"/>
              <a:gd name="connsiteY117" fmla="*/ 424217 h 462580"/>
              <a:gd name="connsiteX118" fmla="*/ 249439 w 327778"/>
              <a:gd name="connsiteY118" fmla="*/ 462452 h 462580"/>
              <a:gd name="connsiteX119" fmla="*/ 248340 w 327778"/>
              <a:gd name="connsiteY119" fmla="*/ 462452 h 462580"/>
              <a:gd name="connsiteX120" fmla="*/ 247877 w 327778"/>
              <a:gd name="connsiteY120" fmla="*/ 462452 h 462580"/>
              <a:gd name="connsiteX121" fmla="*/ 224161 w 327778"/>
              <a:gd name="connsiteY121" fmla="*/ 407789 h 462580"/>
              <a:gd name="connsiteX122" fmla="*/ 226937 w 327778"/>
              <a:gd name="connsiteY122" fmla="*/ 408252 h 462580"/>
              <a:gd name="connsiteX123" fmla="*/ 247819 w 327778"/>
              <a:gd name="connsiteY123" fmla="*/ 422019 h 462580"/>
              <a:gd name="connsiteX124" fmla="*/ 247472 w 327778"/>
              <a:gd name="connsiteY124" fmla="*/ 426010 h 462580"/>
              <a:gd name="connsiteX125" fmla="*/ 241167 w 327778"/>
              <a:gd name="connsiteY125" fmla="*/ 433934 h 462580"/>
              <a:gd name="connsiteX126" fmla="*/ 233185 w 327778"/>
              <a:gd name="connsiteY126" fmla="*/ 447759 h 462580"/>
              <a:gd name="connsiteX127" fmla="*/ 240184 w 327778"/>
              <a:gd name="connsiteY127" fmla="*/ 453544 h 462580"/>
              <a:gd name="connsiteX128" fmla="*/ 249034 w 327778"/>
              <a:gd name="connsiteY128" fmla="*/ 460311 h 462580"/>
              <a:gd name="connsiteX129" fmla="*/ 249555 w 327778"/>
              <a:gd name="connsiteY129" fmla="*/ 460311 h 462580"/>
              <a:gd name="connsiteX130" fmla="*/ 259157 w 327778"/>
              <a:gd name="connsiteY130" fmla="*/ 424332 h 462580"/>
              <a:gd name="connsiteX131" fmla="*/ 264941 w 327778"/>
              <a:gd name="connsiteY131" fmla="*/ 386734 h 462580"/>
              <a:gd name="connsiteX132" fmla="*/ 257132 w 327778"/>
              <a:gd name="connsiteY132" fmla="*/ 364695 h 462580"/>
              <a:gd name="connsiteX133" fmla="*/ 247414 w 327778"/>
              <a:gd name="connsiteY133" fmla="*/ 342714 h 462580"/>
              <a:gd name="connsiteX134" fmla="*/ 256785 w 327778"/>
              <a:gd name="connsiteY134" fmla="*/ 330162 h 462580"/>
              <a:gd name="connsiteX135" fmla="*/ 266445 w 327778"/>
              <a:gd name="connsiteY135" fmla="*/ 327096 h 462580"/>
              <a:gd name="connsiteX136" fmla="*/ 270031 w 327778"/>
              <a:gd name="connsiteY136" fmla="*/ 322353 h 462580"/>
              <a:gd name="connsiteX137" fmla="*/ 261355 w 327778"/>
              <a:gd name="connsiteY137" fmla="*/ 317899 h 462580"/>
              <a:gd name="connsiteX138" fmla="*/ 255570 w 327778"/>
              <a:gd name="connsiteY138" fmla="*/ 312866 h 462580"/>
              <a:gd name="connsiteX139" fmla="*/ 253604 w 327778"/>
              <a:gd name="connsiteY139" fmla="*/ 301298 h 462580"/>
              <a:gd name="connsiteX140" fmla="*/ 274833 w 327778"/>
              <a:gd name="connsiteY140" fmla="*/ 297017 h 462580"/>
              <a:gd name="connsiteX141" fmla="*/ 288600 w 327778"/>
              <a:gd name="connsiteY141" fmla="*/ 297306 h 462580"/>
              <a:gd name="connsiteX142" fmla="*/ 295945 w 327778"/>
              <a:gd name="connsiteY142" fmla="*/ 297306 h 462580"/>
              <a:gd name="connsiteX143" fmla="*/ 325504 w 327778"/>
              <a:gd name="connsiteY143" fmla="*/ 287878 h 462580"/>
              <a:gd name="connsiteX144" fmla="*/ 325504 w 327778"/>
              <a:gd name="connsiteY144" fmla="*/ 287878 h 462580"/>
              <a:gd name="connsiteX145" fmla="*/ 320934 w 327778"/>
              <a:gd name="connsiteY145" fmla="*/ 275383 h 462580"/>
              <a:gd name="connsiteX146" fmla="*/ 316076 w 327778"/>
              <a:gd name="connsiteY146" fmla="*/ 267227 h 462580"/>
              <a:gd name="connsiteX147" fmla="*/ 321860 w 327778"/>
              <a:gd name="connsiteY147" fmla="*/ 253287 h 462580"/>
              <a:gd name="connsiteX148" fmla="*/ 315381 w 327778"/>
              <a:gd name="connsiteY148" fmla="*/ 238190 h 462580"/>
              <a:gd name="connsiteX149" fmla="*/ 311216 w 327778"/>
              <a:gd name="connsiteY149" fmla="*/ 233793 h 462580"/>
              <a:gd name="connsiteX150" fmla="*/ 317637 w 327778"/>
              <a:gd name="connsiteY150" fmla="*/ 182428 h 462580"/>
              <a:gd name="connsiteX151" fmla="*/ 318736 w 327778"/>
              <a:gd name="connsiteY151" fmla="*/ 177048 h 462580"/>
              <a:gd name="connsiteX152" fmla="*/ 306820 w 327778"/>
              <a:gd name="connsiteY152" fmla="*/ 173982 h 462580"/>
              <a:gd name="connsiteX153" fmla="*/ 286806 w 327778"/>
              <a:gd name="connsiteY153" fmla="*/ 175660 h 462580"/>
              <a:gd name="connsiteX154" fmla="*/ 247530 w 327778"/>
              <a:gd name="connsiteY154" fmla="*/ 158307 h 462580"/>
              <a:gd name="connsiteX155" fmla="*/ 233011 w 327778"/>
              <a:gd name="connsiteY155" fmla="*/ 151654 h 462580"/>
              <a:gd name="connsiteX156" fmla="*/ 220748 w 327778"/>
              <a:gd name="connsiteY156" fmla="*/ 152869 h 462580"/>
              <a:gd name="connsiteX157" fmla="*/ 201717 w 327778"/>
              <a:gd name="connsiteY157" fmla="*/ 154604 h 462580"/>
              <a:gd name="connsiteX158" fmla="*/ 201023 w 327778"/>
              <a:gd name="connsiteY158" fmla="*/ 154604 h 462580"/>
              <a:gd name="connsiteX159" fmla="*/ 186909 w 327778"/>
              <a:gd name="connsiteY159" fmla="*/ 148820 h 462580"/>
              <a:gd name="connsiteX160" fmla="*/ 182629 w 327778"/>
              <a:gd name="connsiteY160" fmla="*/ 118972 h 462580"/>
              <a:gd name="connsiteX161" fmla="*/ 182629 w 327778"/>
              <a:gd name="connsiteY161" fmla="*/ 116948 h 462580"/>
              <a:gd name="connsiteX162" fmla="*/ 176324 w 327778"/>
              <a:gd name="connsiteY162" fmla="*/ 106767 h 462580"/>
              <a:gd name="connsiteX163" fmla="*/ 170539 w 327778"/>
              <a:gd name="connsiteY163" fmla="*/ 99074 h 462580"/>
              <a:gd name="connsiteX164" fmla="*/ 162846 w 327778"/>
              <a:gd name="connsiteY164" fmla="*/ 93983 h 462580"/>
              <a:gd name="connsiteX165" fmla="*/ 158912 w 327778"/>
              <a:gd name="connsiteY165" fmla="*/ 93983 h 462580"/>
              <a:gd name="connsiteX166" fmla="*/ 155384 w 327778"/>
              <a:gd name="connsiteY166" fmla="*/ 92595 h 462580"/>
              <a:gd name="connsiteX167" fmla="*/ 162036 w 327778"/>
              <a:gd name="connsiteY167" fmla="*/ 79638 h 462580"/>
              <a:gd name="connsiteX168" fmla="*/ 165796 w 327778"/>
              <a:gd name="connsiteY168" fmla="*/ 62690 h 462580"/>
              <a:gd name="connsiteX169" fmla="*/ 165796 w 327778"/>
              <a:gd name="connsiteY169" fmla="*/ 60897 h 462580"/>
              <a:gd name="connsiteX170" fmla="*/ 179910 w 327778"/>
              <a:gd name="connsiteY170" fmla="*/ 40130 h 462580"/>
              <a:gd name="connsiteX171" fmla="*/ 190091 w 327778"/>
              <a:gd name="connsiteY171" fmla="*/ 29371 h 462580"/>
              <a:gd name="connsiteX172" fmla="*/ 198420 w 327778"/>
              <a:gd name="connsiteY172" fmla="*/ 23876 h 462580"/>
              <a:gd name="connsiteX173" fmla="*/ 205709 w 327778"/>
              <a:gd name="connsiteY173" fmla="*/ 18092 h 462580"/>
              <a:gd name="connsiteX174" fmla="*/ 217277 w 327778"/>
              <a:gd name="connsiteY174" fmla="*/ 10514 h 462580"/>
              <a:gd name="connsiteX175" fmla="*/ 211493 w 327778"/>
              <a:gd name="connsiteY175" fmla="*/ 3168 h 462580"/>
              <a:gd name="connsiteX176" fmla="*/ 207328 w 327778"/>
              <a:gd name="connsiteY176" fmla="*/ 1953 h 462580"/>
              <a:gd name="connsiteX177" fmla="*/ 195760 w 327778"/>
              <a:gd name="connsiteY177" fmla="*/ 8895 h 462580"/>
              <a:gd name="connsiteX178" fmla="*/ 181125 w 327778"/>
              <a:gd name="connsiteY178" fmla="*/ 17918 h 462580"/>
              <a:gd name="connsiteX179" fmla="*/ 165912 w 327778"/>
              <a:gd name="connsiteY179" fmla="*/ 25785 h 462580"/>
              <a:gd name="connsiteX180" fmla="*/ 157871 w 327778"/>
              <a:gd name="connsiteY180" fmla="*/ 31570 h 462580"/>
              <a:gd name="connsiteX181" fmla="*/ 144856 w 327778"/>
              <a:gd name="connsiteY181" fmla="*/ 34231 h 462580"/>
              <a:gd name="connsiteX182" fmla="*/ 133634 w 327778"/>
              <a:gd name="connsiteY182" fmla="*/ 38511 h 462580"/>
              <a:gd name="connsiteX183" fmla="*/ 130685 w 327778"/>
              <a:gd name="connsiteY183" fmla="*/ 43023 h 462580"/>
              <a:gd name="connsiteX184" fmla="*/ 126115 w 327778"/>
              <a:gd name="connsiteY184" fmla="*/ 40998 h 462580"/>
              <a:gd name="connsiteX185" fmla="*/ 119520 w 327778"/>
              <a:gd name="connsiteY185" fmla="*/ 37759 h 462580"/>
              <a:gd name="connsiteX186" fmla="*/ 102167 w 327778"/>
              <a:gd name="connsiteY186" fmla="*/ 47997 h 462580"/>
              <a:gd name="connsiteX187" fmla="*/ 95573 w 327778"/>
              <a:gd name="connsiteY187" fmla="*/ 60203 h 462580"/>
              <a:gd name="connsiteX188" fmla="*/ 95920 w 327778"/>
              <a:gd name="connsiteY188" fmla="*/ 63731 h 462580"/>
              <a:gd name="connsiteX189" fmla="*/ 85393 w 327778"/>
              <a:gd name="connsiteY189" fmla="*/ 87274 h 462580"/>
              <a:gd name="connsiteX190" fmla="*/ 63932 w 327778"/>
              <a:gd name="connsiteY190" fmla="*/ 110874 h 462580"/>
              <a:gd name="connsiteX191" fmla="*/ 58148 w 327778"/>
              <a:gd name="connsiteY191" fmla="*/ 118567 h 462580"/>
              <a:gd name="connsiteX192" fmla="*/ 52363 w 327778"/>
              <a:gd name="connsiteY192" fmla="*/ 120708 h 462580"/>
              <a:gd name="connsiteX193" fmla="*/ 48430 w 327778"/>
              <a:gd name="connsiteY193" fmla="*/ 128690 h 462580"/>
              <a:gd name="connsiteX194" fmla="*/ 31077 w 327778"/>
              <a:gd name="connsiteY194" fmla="*/ 145581 h 462580"/>
              <a:gd name="connsiteX195" fmla="*/ 32754 w 327778"/>
              <a:gd name="connsiteY195" fmla="*/ 147200 h 462580"/>
              <a:gd name="connsiteX196" fmla="*/ 39059 w 327778"/>
              <a:gd name="connsiteY196" fmla="*/ 153390 h 462580"/>
              <a:gd name="connsiteX197" fmla="*/ 44207 w 327778"/>
              <a:gd name="connsiteY197" fmla="*/ 169413 h 462580"/>
              <a:gd name="connsiteX198" fmla="*/ 44670 w 327778"/>
              <a:gd name="connsiteY198" fmla="*/ 175197 h 462580"/>
              <a:gd name="connsiteX199" fmla="*/ 44265 w 327778"/>
              <a:gd name="connsiteY199" fmla="*/ 191740 h 462580"/>
              <a:gd name="connsiteX200" fmla="*/ 42935 w 327778"/>
              <a:gd name="connsiteY200" fmla="*/ 195443 h 462580"/>
              <a:gd name="connsiteX201" fmla="*/ 49356 w 327778"/>
              <a:gd name="connsiteY201" fmla="*/ 232463 h 462580"/>
              <a:gd name="connsiteX202" fmla="*/ 47158 w 327778"/>
              <a:gd name="connsiteY202" fmla="*/ 250395 h 462580"/>
              <a:gd name="connsiteX203" fmla="*/ 43455 w 327778"/>
              <a:gd name="connsiteY203" fmla="*/ 257336 h 462580"/>
              <a:gd name="connsiteX204" fmla="*/ 20318 w 327778"/>
              <a:gd name="connsiteY204" fmla="*/ 276135 h 462580"/>
              <a:gd name="connsiteX205" fmla="*/ 10484 w 327778"/>
              <a:gd name="connsiteY205" fmla="*/ 287704 h 462580"/>
              <a:gd name="connsiteX206" fmla="*/ 6319 w 327778"/>
              <a:gd name="connsiteY206" fmla="*/ 293489 h 462580"/>
              <a:gd name="connsiteX207" fmla="*/ 2097 w 327778"/>
              <a:gd name="connsiteY207" fmla="*/ 303322 h 462580"/>
              <a:gd name="connsiteX208" fmla="*/ 34605 w 327778"/>
              <a:gd name="connsiteY208" fmla="*/ 321601 h 462580"/>
              <a:gd name="connsiteX209" fmla="*/ 44381 w 327778"/>
              <a:gd name="connsiteY209" fmla="*/ 327385 h 462580"/>
              <a:gd name="connsiteX210" fmla="*/ 52248 w 327778"/>
              <a:gd name="connsiteY210" fmla="*/ 334037 h 462580"/>
              <a:gd name="connsiteX211" fmla="*/ 63007 w 327778"/>
              <a:gd name="connsiteY211" fmla="*/ 336756 h 462580"/>
              <a:gd name="connsiteX212" fmla="*/ 71626 w 327778"/>
              <a:gd name="connsiteY212" fmla="*/ 334327 h 462580"/>
              <a:gd name="connsiteX213" fmla="*/ 74113 w 327778"/>
              <a:gd name="connsiteY213" fmla="*/ 333170 h 462580"/>
              <a:gd name="connsiteX214" fmla="*/ 92912 w 327778"/>
              <a:gd name="connsiteY214" fmla="*/ 349482 h 462580"/>
              <a:gd name="connsiteX215" fmla="*/ 93722 w 327778"/>
              <a:gd name="connsiteY215" fmla="*/ 350349 h 462580"/>
              <a:gd name="connsiteX216" fmla="*/ 117438 w 327778"/>
              <a:gd name="connsiteY216" fmla="*/ 349887 h 462580"/>
              <a:gd name="connsiteX217" fmla="*/ 124206 w 327778"/>
              <a:gd name="connsiteY217" fmla="*/ 361456 h 462580"/>
              <a:gd name="connsiteX218" fmla="*/ 133056 w 327778"/>
              <a:gd name="connsiteY218" fmla="*/ 372620 h 462580"/>
              <a:gd name="connsiteX219" fmla="*/ 147748 w 327778"/>
              <a:gd name="connsiteY219" fmla="*/ 381123 h 462580"/>
              <a:gd name="connsiteX220" fmla="*/ 151219 w 327778"/>
              <a:gd name="connsiteY220" fmla="*/ 391072 h 462580"/>
              <a:gd name="connsiteX221" fmla="*/ 155269 w 327778"/>
              <a:gd name="connsiteY221" fmla="*/ 396856 h 462580"/>
              <a:gd name="connsiteX222" fmla="*/ 161689 w 327778"/>
              <a:gd name="connsiteY222" fmla="*/ 408425 h 462580"/>
              <a:gd name="connsiteX223" fmla="*/ 162267 w 327778"/>
              <a:gd name="connsiteY223" fmla="*/ 410218 h 462580"/>
              <a:gd name="connsiteX224" fmla="*/ 176381 w 327778"/>
              <a:gd name="connsiteY224" fmla="*/ 413400 h 462580"/>
              <a:gd name="connsiteX225" fmla="*/ 191247 w 327778"/>
              <a:gd name="connsiteY225" fmla="*/ 411202 h 462580"/>
              <a:gd name="connsiteX226" fmla="*/ 202353 w 327778"/>
              <a:gd name="connsiteY226" fmla="*/ 407673 h 462580"/>
              <a:gd name="connsiteX227" fmla="*/ 208659 w 327778"/>
              <a:gd name="connsiteY227" fmla="*/ 409235 h 462580"/>
              <a:gd name="connsiteX228" fmla="*/ 217509 w 327778"/>
              <a:gd name="connsiteY228" fmla="*/ 408830 h 462580"/>
              <a:gd name="connsiteX229" fmla="*/ 224161 w 327778"/>
              <a:gd name="connsiteY229" fmla="*/ 407962 h 46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327778" h="462580">
                <a:moveTo>
                  <a:pt x="248456" y="462394"/>
                </a:moveTo>
                <a:cubicBezTo>
                  <a:pt x="248091" y="462388"/>
                  <a:pt x="247755" y="462215"/>
                  <a:pt x="247530" y="461931"/>
                </a:cubicBezTo>
                <a:cubicBezTo>
                  <a:pt x="245141" y="459201"/>
                  <a:pt x="242255" y="456945"/>
                  <a:pt x="239027" y="455279"/>
                </a:cubicBezTo>
                <a:cubicBezTo>
                  <a:pt x="235909" y="453827"/>
                  <a:pt x="233219" y="451595"/>
                  <a:pt x="231218" y="448800"/>
                </a:cubicBezTo>
                <a:cubicBezTo>
                  <a:pt x="228962" y="444346"/>
                  <a:pt x="234284" y="438331"/>
                  <a:pt x="239432" y="432488"/>
                </a:cubicBezTo>
                <a:cubicBezTo>
                  <a:pt x="241670" y="430123"/>
                  <a:pt x="243707" y="427566"/>
                  <a:pt x="245505" y="424853"/>
                </a:cubicBezTo>
                <a:cubicBezTo>
                  <a:pt x="245852" y="424182"/>
                  <a:pt x="245852" y="423384"/>
                  <a:pt x="245505" y="422713"/>
                </a:cubicBezTo>
                <a:cubicBezTo>
                  <a:pt x="244696" y="420399"/>
                  <a:pt x="240646" y="416292"/>
                  <a:pt x="226012" y="410392"/>
                </a:cubicBezTo>
                <a:cubicBezTo>
                  <a:pt x="223415" y="409854"/>
                  <a:pt x="220719" y="410097"/>
                  <a:pt x="218261" y="411086"/>
                </a:cubicBezTo>
                <a:cubicBezTo>
                  <a:pt x="214848" y="412364"/>
                  <a:pt x="211088" y="412364"/>
                  <a:pt x="207675" y="411086"/>
                </a:cubicBezTo>
                <a:cubicBezTo>
                  <a:pt x="206096" y="410230"/>
                  <a:pt x="204320" y="409813"/>
                  <a:pt x="202527" y="409871"/>
                </a:cubicBezTo>
                <a:cubicBezTo>
                  <a:pt x="199039" y="409906"/>
                  <a:pt x="195632" y="410970"/>
                  <a:pt x="192751" y="412937"/>
                </a:cubicBezTo>
                <a:cubicBezTo>
                  <a:pt x="187615" y="415002"/>
                  <a:pt x="182085" y="415910"/>
                  <a:pt x="176555" y="415598"/>
                </a:cubicBezTo>
                <a:cubicBezTo>
                  <a:pt x="171985" y="415598"/>
                  <a:pt x="163771" y="415077"/>
                  <a:pt x="160763" y="411722"/>
                </a:cubicBezTo>
                <a:cubicBezTo>
                  <a:pt x="159867" y="410756"/>
                  <a:pt x="159445" y="409443"/>
                  <a:pt x="159607" y="408136"/>
                </a:cubicBezTo>
                <a:cubicBezTo>
                  <a:pt x="160069" y="404029"/>
                  <a:pt x="156946" y="401368"/>
                  <a:pt x="153822" y="398765"/>
                </a:cubicBezTo>
                <a:cubicBezTo>
                  <a:pt x="150699" y="396162"/>
                  <a:pt x="148443" y="394138"/>
                  <a:pt x="148963" y="390956"/>
                </a:cubicBezTo>
                <a:cubicBezTo>
                  <a:pt x="149090" y="387908"/>
                  <a:pt x="148009" y="384941"/>
                  <a:pt x="145955" y="382684"/>
                </a:cubicBezTo>
                <a:cubicBezTo>
                  <a:pt x="142803" y="378497"/>
                  <a:pt x="138089" y="375760"/>
                  <a:pt x="132882" y="375107"/>
                </a:cubicBezTo>
                <a:cubicBezTo>
                  <a:pt x="126231" y="374528"/>
                  <a:pt x="124090" y="368339"/>
                  <a:pt x="122066" y="362381"/>
                </a:cubicBezTo>
                <a:cubicBezTo>
                  <a:pt x="121262" y="358448"/>
                  <a:pt x="119237" y="354861"/>
                  <a:pt x="116281" y="352143"/>
                </a:cubicBezTo>
                <a:cubicBezTo>
                  <a:pt x="113216" y="350176"/>
                  <a:pt x="105117" y="350523"/>
                  <a:pt x="93606" y="353010"/>
                </a:cubicBezTo>
                <a:cubicBezTo>
                  <a:pt x="93201" y="353126"/>
                  <a:pt x="92767" y="352987"/>
                  <a:pt x="92507" y="352663"/>
                </a:cubicBezTo>
                <a:lnTo>
                  <a:pt x="92507" y="352374"/>
                </a:lnTo>
                <a:cubicBezTo>
                  <a:pt x="92166" y="352056"/>
                  <a:pt x="91859" y="351709"/>
                  <a:pt x="91582" y="351333"/>
                </a:cubicBezTo>
                <a:cubicBezTo>
                  <a:pt x="86723" y="345896"/>
                  <a:pt x="77757" y="335773"/>
                  <a:pt x="74229" y="335773"/>
                </a:cubicBezTo>
                <a:cubicBezTo>
                  <a:pt x="73962" y="335727"/>
                  <a:pt x="73691" y="335836"/>
                  <a:pt x="73535" y="336062"/>
                </a:cubicBezTo>
                <a:cubicBezTo>
                  <a:pt x="70648" y="338520"/>
                  <a:pt x="66894" y="339706"/>
                  <a:pt x="63122" y="339359"/>
                </a:cubicBezTo>
                <a:lnTo>
                  <a:pt x="63122" y="339359"/>
                </a:lnTo>
                <a:cubicBezTo>
                  <a:pt x="58958" y="339417"/>
                  <a:pt x="54845" y="338376"/>
                  <a:pt x="51206" y="336351"/>
                </a:cubicBezTo>
                <a:cubicBezTo>
                  <a:pt x="48129" y="334402"/>
                  <a:pt x="45324" y="332047"/>
                  <a:pt x="42877" y="329352"/>
                </a:cubicBezTo>
                <a:cubicBezTo>
                  <a:pt x="39985" y="326402"/>
                  <a:pt x="37497" y="323857"/>
                  <a:pt x="34721" y="323857"/>
                </a:cubicBezTo>
                <a:cubicBezTo>
                  <a:pt x="28936" y="323857"/>
                  <a:pt x="10021" y="312924"/>
                  <a:pt x="303" y="304710"/>
                </a:cubicBezTo>
                <a:cubicBezTo>
                  <a:pt x="9" y="304502"/>
                  <a:pt x="-148" y="304143"/>
                  <a:pt x="-102" y="303785"/>
                </a:cubicBezTo>
                <a:cubicBezTo>
                  <a:pt x="303" y="298752"/>
                  <a:pt x="2386" y="291291"/>
                  <a:pt x="6435" y="291291"/>
                </a:cubicBezTo>
                <a:cubicBezTo>
                  <a:pt x="7014" y="291291"/>
                  <a:pt x="7881" y="288456"/>
                  <a:pt x="8460" y="286836"/>
                </a:cubicBezTo>
                <a:cubicBezTo>
                  <a:pt x="10137" y="281804"/>
                  <a:pt x="12624" y="274169"/>
                  <a:pt x="20029" y="273764"/>
                </a:cubicBezTo>
                <a:cubicBezTo>
                  <a:pt x="29746" y="273243"/>
                  <a:pt x="35184" y="268789"/>
                  <a:pt x="41489" y="256410"/>
                </a:cubicBezTo>
                <a:cubicBezTo>
                  <a:pt x="42819" y="253807"/>
                  <a:pt x="44092" y="251494"/>
                  <a:pt x="45249" y="249411"/>
                </a:cubicBezTo>
                <a:cubicBezTo>
                  <a:pt x="49645" y="241486"/>
                  <a:pt x="51322" y="237843"/>
                  <a:pt x="47736" y="234082"/>
                </a:cubicBezTo>
                <a:cubicBezTo>
                  <a:pt x="42993" y="228819"/>
                  <a:pt x="39348" y="205449"/>
                  <a:pt x="40794" y="195269"/>
                </a:cubicBezTo>
                <a:cubicBezTo>
                  <a:pt x="40800" y="193250"/>
                  <a:pt x="41639" y="191330"/>
                  <a:pt x="43108" y="189947"/>
                </a:cubicBezTo>
                <a:cubicBezTo>
                  <a:pt x="47562" y="187171"/>
                  <a:pt x="44323" y="179477"/>
                  <a:pt x="42703" y="176296"/>
                </a:cubicBezTo>
                <a:cubicBezTo>
                  <a:pt x="41882" y="174179"/>
                  <a:pt x="41639" y="171883"/>
                  <a:pt x="42009" y="169644"/>
                </a:cubicBezTo>
                <a:cubicBezTo>
                  <a:pt x="42888" y="164420"/>
                  <a:pt x="41182" y="159099"/>
                  <a:pt x="37439" y="155356"/>
                </a:cubicBezTo>
                <a:cubicBezTo>
                  <a:pt x="35820" y="153621"/>
                  <a:pt x="33738" y="151596"/>
                  <a:pt x="31250" y="149572"/>
                </a:cubicBezTo>
                <a:lnTo>
                  <a:pt x="28763" y="147142"/>
                </a:lnTo>
                <a:cubicBezTo>
                  <a:pt x="28543" y="146928"/>
                  <a:pt x="28422" y="146639"/>
                  <a:pt x="28416" y="146333"/>
                </a:cubicBezTo>
                <a:cubicBezTo>
                  <a:pt x="28289" y="146078"/>
                  <a:pt x="28289" y="145777"/>
                  <a:pt x="28416" y="145523"/>
                </a:cubicBezTo>
                <a:cubicBezTo>
                  <a:pt x="34258" y="139183"/>
                  <a:pt x="40459" y="133173"/>
                  <a:pt x="46984" y="127533"/>
                </a:cubicBezTo>
                <a:cubicBezTo>
                  <a:pt x="48910" y="125341"/>
                  <a:pt x="50073" y="122576"/>
                  <a:pt x="50281" y="119666"/>
                </a:cubicBezTo>
                <a:cubicBezTo>
                  <a:pt x="50345" y="119308"/>
                  <a:pt x="50582" y="119007"/>
                  <a:pt x="50917" y="118857"/>
                </a:cubicBezTo>
                <a:cubicBezTo>
                  <a:pt x="51224" y="118683"/>
                  <a:pt x="51594" y="118683"/>
                  <a:pt x="51900" y="118857"/>
                </a:cubicBezTo>
                <a:cubicBezTo>
                  <a:pt x="53439" y="119834"/>
                  <a:pt x="55475" y="119383"/>
                  <a:pt x="56453" y="117844"/>
                </a:cubicBezTo>
                <a:cubicBezTo>
                  <a:pt x="56459" y="117833"/>
                  <a:pt x="56464" y="117827"/>
                  <a:pt x="56470" y="117816"/>
                </a:cubicBezTo>
                <a:cubicBezTo>
                  <a:pt x="58090" y="115849"/>
                  <a:pt x="59883" y="113304"/>
                  <a:pt x="61908" y="110296"/>
                </a:cubicBezTo>
                <a:cubicBezTo>
                  <a:pt x="67576" y="100821"/>
                  <a:pt x="75090" y="92578"/>
                  <a:pt x="84004" y="86059"/>
                </a:cubicBezTo>
                <a:cubicBezTo>
                  <a:pt x="94995" y="79060"/>
                  <a:pt x="94300" y="72408"/>
                  <a:pt x="93490" y="64657"/>
                </a:cubicBezTo>
                <a:cubicBezTo>
                  <a:pt x="93490" y="63442"/>
                  <a:pt x="93490" y="62227"/>
                  <a:pt x="93490" y="61070"/>
                </a:cubicBezTo>
                <a:cubicBezTo>
                  <a:pt x="94121" y="55714"/>
                  <a:pt x="96672" y="50762"/>
                  <a:pt x="100663" y="47130"/>
                </a:cubicBezTo>
                <a:cubicBezTo>
                  <a:pt x="105638" y="41808"/>
                  <a:pt x="113447" y="36082"/>
                  <a:pt x="118826" y="36082"/>
                </a:cubicBezTo>
                <a:cubicBezTo>
                  <a:pt x="119324" y="36024"/>
                  <a:pt x="119833" y="36024"/>
                  <a:pt x="120330" y="36082"/>
                </a:cubicBezTo>
                <a:cubicBezTo>
                  <a:pt x="122922" y="36845"/>
                  <a:pt x="125369" y="38036"/>
                  <a:pt x="127561" y="39610"/>
                </a:cubicBezTo>
                <a:cubicBezTo>
                  <a:pt x="128567" y="40368"/>
                  <a:pt x="129707" y="40935"/>
                  <a:pt x="130916" y="41287"/>
                </a:cubicBezTo>
                <a:cubicBezTo>
                  <a:pt x="130916" y="41287"/>
                  <a:pt x="131494" y="40535"/>
                  <a:pt x="131668" y="38858"/>
                </a:cubicBezTo>
                <a:cubicBezTo>
                  <a:pt x="132073" y="33652"/>
                  <a:pt x="138320" y="33074"/>
                  <a:pt x="144914" y="32495"/>
                </a:cubicBezTo>
                <a:cubicBezTo>
                  <a:pt x="149079" y="32431"/>
                  <a:pt x="153192" y="31610"/>
                  <a:pt x="157062" y="30066"/>
                </a:cubicBezTo>
                <a:cubicBezTo>
                  <a:pt x="159855" y="28521"/>
                  <a:pt x="162412" y="26572"/>
                  <a:pt x="164639" y="24281"/>
                </a:cubicBezTo>
                <a:cubicBezTo>
                  <a:pt x="169012" y="19706"/>
                  <a:pt x="174797" y="16727"/>
                  <a:pt x="181067" y="15836"/>
                </a:cubicBezTo>
                <a:cubicBezTo>
                  <a:pt x="186256" y="14430"/>
                  <a:pt x="190906" y="11509"/>
                  <a:pt x="194429" y="7449"/>
                </a:cubicBezTo>
                <a:cubicBezTo>
                  <a:pt x="197668" y="3417"/>
                  <a:pt x="202284" y="721"/>
                  <a:pt x="207386" y="-129"/>
                </a:cubicBezTo>
                <a:cubicBezTo>
                  <a:pt x="209243" y="-94"/>
                  <a:pt x="211053" y="426"/>
                  <a:pt x="212650" y="1375"/>
                </a:cubicBezTo>
                <a:cubicBezTo>
                  <a:pt x="218897" y="5019"/>
                  <a:pt x="219707" y="8606"/>
                  <a:pt x="219302" y="11035"/>
                </a:cubicBezTo>
                <a:cubicBezTo>
                  <a:pt x="218608" y="15315"/>
                  <a:pt x="213517" y="18960"/>
                  <a:pt x="205651" y="20464"/>
                </a:cubicBezTo>
                <a:cubicBezTo>
                  <a:pt x="203019" y="20828"/>
                  <a:pt x="200798" y="22604"/>
                  <a:pt x="199866" y="25091"/>
                </a:cubicBezTo>
                <a:cubicBezTo>
                  <a:pt x="199733" y="25403"/>
                  <a:pt x="199485" y="25652"/>
                  <a:pt x="199172" y="25785"/>
                </a:cubicBezTo>
                <a:cubicBezTo>
                  <a:pt x="196136" y="26537"/>
                  <a:pt x="193417" y="28238"/>
                  <a:pt x="191421" y="30644"/>
                </a:cubicBezTo>
                <a:cubicBezTo>
                  <a:pt x="188245" y="34595"/>
                  <a:pt x="184763" y="38285"/>
                  <a:pt x="181009" y="41692"/>
                </a:cubicBezTo>
                <a:cubicBezTo>
                  <a:pt x="174183" y="48113"/>
                  <a:pt x="167763" y="54244"/>
                  <a:pt x="167589" y="60839"/>
                </a:cubicBezTo>
                <a:lnTo>
                  <a:pt x="167589" y="63500"/>
                </a:lnTo>
                <a:cubicBezTo>
                  <a:pt x="167589" y="72523"/>
                  <a:pt x="167589" y="76688"/>
                  <a:pt x="163309" y="81778"/>
                </a:cubicBezTo>
                <a:cubicBezTo>
                  <a:pt x="157524" y="89241"/>
                  <a:pt x="156599" y="91670"/>
                  <a:pt x="156946" y="92364"/>
                </a:cubicBezTo>
                <a:cubicBezTo>
                  <a:pt x="157356" y="92503"/>
                  <a:pt x="157808" y="92503"/>
                  <a:pt x="158218" y="92364"/>
                </a:cubicBezTo>
                <a:cubicBezTo>
                  <a:pt x="159607" y="92364"/>
                  <a:pt x="161053" y="92364"/>
                  <a:pt x="162383" y="92364"/>
                </a:cubicBezTo>
                <a:cubicBezTo>
                  <a:pt x="168978" y="92364"/>
                  <a:pt x="172332" y="94851"/>
                  <a:pt x="172332" y="99768"/>
                </a:cubicBezTo>
                <a:cubicBezTo>
                  <a:pt x="172332" y="102082"/>
                  <a:pt x="174530" y="103702"/>
                  <a:pt x="177076" y="105552"/>
                </a:cubicBezTo>
                <a:cubicBezTo>
                  <a:pt x="181663" y="107855"/>
                  <a:pt x="184491" y="112627"/>
                  <a:pt x="184306" y="117758"/>
                </a:cubicBezTo>
                <a:lnTo>
                  <a:pt x="184306" y="119782"/>
                </a:lnTo>
                <a:cubicBezTo>
                  <a:pt x="183439" y="127128"/>
                  <a:pt x="181819" y="140838"/>
                  <a:pt x="188124" y="147894"/>
                </a:cubicBezTo>
                <a:cubicBezTo>
                  <a:pt x="191357" y="151215"/>
                  <a:pt x="195881" y="152950"/>
                  <a:pt x="200502" y="152638"/>
                </a:cubicBezTo>
                <a:lnTo>
                  <a:pt x="201139" y="152638"/>
                </a:lnTo>
                <a:cubicBezTo>
                  <a:pt x="207415" y="152406"/>
                  <a:pt x="213674" y="151810"/>
                  <a:pt x="219880" y="150844"/>
                </a:cubicBezTo>
                <a:cubicBezTo>
                  <a:pt x="224051" y="150174"/>
                  <a:pt x="228268" y="149763"/>
                  <a:pt x="232490" y="149630"/>
                </a:cubicBezTo>
                <a:cubicBezTo>
                  <a:pt x="238853" y="149196"/>
                  <a:pt x="244996" y="152030"/>
                  <a:pt x="248803" y="157150"/>
                </a:cubicBezTo>
                <a:cubicBezTo>
                  <a:pt x="257236" y="169031"/>
                  <a:pt x="271553" y="175261"/>
                  <a:pt x="285996" y="173346"/>
                </a:cubicBezTo>
                <a:cubicBezTo>
                  <a:pt x="292730" y="172409"/>
                  <a:pt x="299509" y="171848"/>
                  <a:pt x="306300" y="171669"/>
                </a:cubicBezTo>
                <a:cubicBezTo>
                  <a:pt x="314167" y="171669"/>
                  <a:pt x="318563" y="172999"/>
                  <a:pt x="320182" y="175891"/>
                </a:cubicBezTo>
                <a:cubicBezTo>
                  <a:pt x="321270" y="178459"/>
                  <a:pt x="320848" y="181421"/>
                  <a:pt x="319083" y="183585"/>
                </a:cubicBezTo>
                <a:cubicBezTo>
                  <a:pt x="310812" y="197004"/>
                  <a:pt x="305895" y="224943"/>
                  <a:pt x="312373" y="232231"/>
                </a:cubicBezTo>
                <a:cubicBezTo>
                  <a:pt x="313704" y="233678"/>
                  <a:pt x="315150" y="235124"/>
                  <a:pt x="316481" y="236512"/>
                </a:cubicBezTo>
                <a:cubicBezTo>
                  <a:pt x="322612" y="242759"/>
                  <a:pt x="328396" y="248601"/>
                  <a:pt x="323017" y="254733"/>
                </a:cubicBezTo>
                <a:cubicBezTo>
                  <a:pt x="319731" y="257949"/>
                  <a:pt x="317863" y="262339"/>
                  <a:pt x="317811" y="266938"/>
                </a:cubicBezTo>
                <a:cubicBezTo>
                  <a:pt x="318123" y="269628"/>
                  <a:pt x="319581" y="272046"/>
                  <a:pt x="321802" y="273590"/>
                </a:cubicBezTo>
                <a:cubicBezTo>
                  <a:pt x="326557" y="276858"/>
                  <a:pt x="328715" y="282782"/>
                  <a:pt x="327182" y="288340"/>
                </a:cubicBezTo>
                <a:lnTo>
                  <a:pt x="327182" y="288340"/>
                </a:lnTo>
                <a:cubicBezTo>
                  <a:pt x="326661" y="291001"/>
                  <a:pt x="304044" y="299331"/>
                  <a:pt x="295483" y="299331"/>
                </a:cubicBezTo>
                <a:lnTo>
                  <a:pt x="288079" y="299331"/>
                </a:lnTo>
                <a:cubicBezTo>
                  <a:pt x="283914" y="299331"/>
                  <a:pt x="279113" y="299331"/>
                  <a:pt x="274370" y="299331"/>
                </a:cubicBezTo>
                <a:cubicBezTo>
                  <a:pt x="257479" y="299331"/>
                  <a:pt x="255512" y="301413"/>
                  <a:pt x="255281" y="302050"/>
                </a:cubicBezTo>
                <a:cubicBezTo>
                  <a:pt x="254651" y="305335"/>
                  <a:pt x="255269" y="308742"/>
                  <a:pt x="257016" y="311594"/>
                </a:cubicBezTo>
                <a:cubicBezTo>
                  <a:pt x="257948" y="313480"/>
                  <a:pt x="259596" y="314914"/>
                  <a:pt x="261586" y="315585"/>
                </a:cubicBezTo>
                <a:cubicBezTo>
                  <a:pt x="265693" y="316511"/>
                  <a:pt x="271188" y="318188"/>
                  <a:pt x="271940" y="321774"/>
                </a:cubicBezTo>
                <a:cubicBezTo>
                  <a:pt x="272403" y="324030"/>
                  <a:pt x="270957" y="326286"/>
                  <a:pt x="267486" y="328831"/>
                </a:cubicBezTo>
                <a:cubicBezTo>
                  <a:pt x="264288" y="330995"/>
                  <a:pt x="260534" y="332204"/>
                  <a:pt x="256669" y="332302"/>
                </a:cubicBezTo>
                <a:cubicBezTo>
                  <a:pt x="251984" y="332707"/>
                  <a:pt x="249381" y="332939"/>
                  <a:pt x="249381" y="342598"/>
                </a:cubicBezTo>
                <a:cubicBezTo>
                  <a:pt x="250225" y="350280"/>
                  <a:pt x="253465" y="357505"/>
                  <a:pt x="258636" y="363249"/>
                </a:cubicBezTo>
                <a:cubicBezTo>
                  <a:pt x="263958" y="370653"/>
                  <a:pt x="269395" y="378230"/>
                  <a:pt x="266792" y="387254"/>
                </a:cubicBezTo>
                <a:cubicBezTo>
                  <a:pt x="263744" y="399373"/>
                  <a:pt x="261812" y="411745"/>
                  <a:pt x="261008" y="424217"/>
                </a:cubicBezTo>
                <a:cubicBezTo>
                  <a:pt x="261008" y="431447"/>
                  <a:pt x="258058" y="460601"/>
                  <a:pt x="249439" y="462452"/>
                </a:cubicBezTo>
                <a:lnTo>
                  <a:pt x="248340" y="462452"/>
                </a:lnTo>
                <a:lnTo>
                  <a:pt x="247877" y="462452"/>
                </a:lnTo>
                <a:close/>
                <a:moveTo>
                  <a:pt x="224161" y="407789"/>
                </a:moveTo>
                <a:cubicBezTo>
                  <a:pt x="225110" y="407754"/>
                  <a:pt x="226053" y="407911"/>
                  <a:pt x="226937" y="408252"/>
                </a:cubicBezTo>
                <a:cubicBezTo>
                  <a:pt x="239605" y="413400"/>
                  <a:pt x="246373" y="417854"/>
                  <a:pt x="247819" y="422019"/>
                </a:cubicBezTo>
                <a:cubicBezTo>
                  <a:pt x="248294" y="423338"/>
                  <a:pt x="248166" y="424795"/>
                  <a:pt x="247472" y="426010"/>
                </a:cubicBezTo>
                <a:cubicBezTo>
                  <a:pt x="245615" y="428838"/>
                  <a:pt x="243510" y="431493"/>
                  <a:pt x="241167" y="433934"/>
                </a:cubicBezTo>
                <a:cubicBezTo>
                  <a:pt x="236945" y="438736"/>
                  <a:pt x="231681" y="444693"/>
                  <a:pt x="233185" y="447759"/>
                </a:cubicBezTo>
                <a:cubicBezTo>
                  <a:pt x="235041" y="450200"/>
                  <a:pt x="237436" y="452184"/>
                  <a:pt x="240184" y="453544"/>
                </a:cubicBezTo>
                <a:cubicBezTo>
                  <a:pt x="243510" y="455262"/>
                  <a:pt x="246506" y="457552"/>
                  <a:pt x="249034" y="460311"/>
                </a:cubicBezTo>
                <a:lnTo>
                  <a:pt x="249555" y="460311"/>
                </a:lnTo>
                <a:cubicBezTo>
                  <a:pt x="255339" y="459039"/>
                  <a:pt x="259157" y="434397"/>
                  <a:pt x="259157" y="424332"/>
                </a:cubicBezTo>
                <a:cubicBezTo>
                  <a:pt x="259903" y="411647"/>
                  <a:pt x="261835" y="399060"/>
                  <a:pt x="264941" y="386734"/>
                </a:cubicBezTo>
                <a:cubicBezTo>
                  <a:pt x="267197" y="378809"/>
                  <a:pt x="262280" y="371926"/>
                  <a:pt x="257132" y="364695"/>
                </a:cubicBezTo>
                <a:cubicBezTo>
                  <a:pt x="251637" y="358592"/>
                  <a:pt x="248230" y="350887"/>
                  <a:pt x="247414" y="342714"/>
                </a:cubicBezTo>
                <a:cubicBezTo>
                  <a:pt x="247414" y="331782"/>
                  <a:pt x="250943" y="330683"/>
                  <a:pt x="256785" y="330162"/>
                </a:cubicBezTo>
                <a:cubicBezTo>
                  <a:pt x="260233" y="330081"/>
                  <a:pt x="263582" y="329022"/>
                  <a:pt x="266445" y="327096"/>
                </a:cubicBezTo>
                <a:cubicBezTo>
                  <a:pt x="268990" y="325245"/>
                  <a:pt x="270263" y="323567"/>
                  <a:pt x="270031" y="322353"/>
                </a:cubicBezTo>
                <a:cubicBezTo>
                  <a:pt x="269800" y="321138"/>
                  <a:pt x="268412" y="319519"/>
                  <a:pt x="261355" y="317899"/>
                </a:cubicBezTo>
                <a:cubicBezTo>
                  <a:pt x="258821" y="317078"/>
                  <a:pt x="256733" y="315261"/>
                  <a:pt x="255570" y="312866"/>
                </a:cubicBezTo>
                <a:cubicBezTo>
                  <a:pt x="253389" y="309430"/>
                  <a:pt x="252678" y="305260"/>
                  <a:pt x="253604" y="301298"/>
                </a:cubicBezTo>
                <a:cubicBezTo>
                  <a:pt x="254298" y="299215"/>
                  <a:pt x="257363" y="297017"/>
                  <a:pt x="274833" y="297017"/>
                </a:cubicBezTo>
                <a:cubicBezTo>
                  <a:pt x="279634" y="297017"/>
                  <a:pt x="284608" y="297017"/>
                  <a:pt x="288600" y="297306"/>
                </a:cubicBezTo>
                <a:lnTo>
                  <a:pt x="295945" y="297306"/>
                </a:lnTo>
                <a:cubicBezTo>
                  <a:pt x="306300" y="296022"/>
                  <a:pt x="316318" y="292823"/>
                  <a:pt x="325504" y="287878"/>
                </a:cubicBezTo>
                <a:lnTo>
                  <a:pt x="325504" y="287878"/>
                </a:lnTo>
                <a:cubicBezTo>
                  <a:pt x="326765" y="283163"/>
                  <a:pt x="324937" y="278165"/>
                  <a:pt x="320934" y="275383"/>
                </a:cubicBezTo>
                <a:cubicBezTo>
                  <a:pt x="318221" y="273486"/>
                  <a:pt x="316452" y="270519"/>
                  <a:pt x="316076" y="267227"/>
                </a:cubicBezTo>
                <a:cubicBezTo>
                  <a:pt x="316081" y="261998"/>
                  <a:pt x="318158" y="256983"/>
                  <a:pt x="321860" y="253287"/>
                </a:cubicBezTo>
                <a:cubicBezTo>
                  <a:pt x="325620" y="248949"/>
                  <a:pt x="321860" y="244726"/>
                  <a:pt x="315381" y="238190"/>
                </a:cubicBezTo>
                <a:lnTo>
                  <a:pt x="311216" y="233793"/>
                </a:lnTo>
                <a:cubicBezTo>
                  <a:pt x="303581" y="225232"/>
                  <a:pt x="309655" y="195500"/>
                  <a:pt x="317637" y="182428"/>
                </a:cubicBezTo>
                <a:cubicBezTo>
                  <a:pt x="319083" y="180114"/>
                  <a:pt x="319430" y="178321"/>
                  <a:pt x="318736" y="177048"/>
                </a:cubicBezTo>
                <a:cubicBezTo>
                  <a:pt x="318042" y="175775"/>
                  <a:pt x="315266" y="173982"/>
                  <a:pt x="306820" y="173982"/>
                </a:cubicBezTo>
                <a:cubicBezTo>
                  <a:pt x="300122" y="174167"/>
                  <a:pt x="293441" y="174723"/>
                  <a:pt x="286806" y="175660"/>
                </a:cubicBezTo>
                <a:cubicBezTo>
                  <a:pt x="271518" y="177540"/>
                  <a:pt x="256432" y="170870"/>
                  <a:pt x="247530" y="158307"/>
                </a:cubicBezTo>
                <a:cubicBezTo>
                  <a:pt x="244175" y="153719"/>
                  <a:pt x="238680" y="151203"/>
                  <a:pt x="233011" y="151654"/>
                </a:cubicBezTo>
                <a:cubicBezTo>
                  <a:pt x="228904" y="151793"/>
                  <a:pt x="224803" y="152198"/>
                  <a:pt x="220748" y="152869"/>
                </a:cubicBezTo>
                <a:cubicBezTo>
                  <a:pt x="214449" y="153841"/>
                  <a:pt x="208092" y="154419"/>
                  <a:pt x="201717" y="154604"/>
                </a:cubicBezTo>
                <a:lnTo>
                  <a:pt x="201023" y="154604"/>
                </a:lnTo>
                <a:cubicBezTo>
                  <a:pt x="195696" y="154865"/>
                  <a:pt x="190524" y="152748"/>
                  <a:pt x="186909" y="148820"/>
                </a:cubicBezTo>
                <a:cubicBezTo>
                  <a:pt x="180026" y="141011"/>
                  <a:pt x="181645" y="127186"/>
                  <a:pt x="182629" y="118972"/>
                </a:cubicBezTo>
                <a:lnTo>
                  <a:pt x="182629" y="116948"/>
                </a:lnTo>
                <a:cubicBezTo>
                  <a:pt x="183207" y="111915"/>
                  <a:pt x="179679" y="109254"/>
                  <a:pt x="176324" y="106767"/>
                </a:cubicBezTo>
                <a:cubicBezTo>
                  <a:pt x="172969" y="104280"/>
                  <a:pt x="170539" y="102487"/>
                  <a:pt x="170539" y="99074"/>
                </a:cubicBezTo>
                <a:cubicBezTo>
                  <a:pt x="170539" y="95661"/>
                  <a:pt x="168226" y="93983"/>
                  <a:pt x="162846" y="93983"/>
                </a:cubicBezTo>
                <a:cubicBezTo>
                  <a:pt x="161573" y="93983"/>
                  <a:pt x="160185" y="93983"/>
                  <a:pt x="158912" y="93983"/>
                </a:cubicBezTo>
                <a:cubicBezTo>
                  <a:pt x="156657" y="93983"/>
                  <a:pt x="155731" y="93347"/>
                  <a:pt x="155384" y="92595"/>
                </a:cubicBezTo>
                <a:cubicBezTo>
                  <a:pt x="154227" y="90224"/>
                  <a:pt x="156946" y="86059"/>
                  <a:pt x="162036" y="79638"/>
                </a:cubicBezTo>
                <a:cubicBezTo>
                  <a:pt x="165565" y="75126"/>
                  <a:pt x="165623" y="71482"/>
                  <a:pt x="165796" y="62690"/>
                </a:cubicBezTo>
                <a:lnTo>
                  <a:pt x="165796" y="60897"/>
                </a:lnTo>
                <a:cubicBezTo>
                  <a:pt x="165796" y="53377"/>
                  <a:pt x="172737" y="46956"/>
                  <a:pt x="179910" y="40130"/>
                </a:cubicBezTo>
                <a:cubicBezTo>
                  <a:pt x="183583" y="36822"/>
                  <a:pt x="186990" y="33224"/>
                  <a:pt x="190091" y="29371"/>
                </a:cubicBezTo>
                <a:cubicBezTo>
                  <a:pt x="192225" y="26716"/>
                  <a:pt x="195140" y="24796"/>
                  <a:pt x="198420" y="23876"/>
                </a:cubicBezTo>
                <a:cubicBezTo>
                  <a:pt x="199670" y="20805"/>
                  <a:pt x="202435" y="18612"/>
                  <a:pt x="205709" y="18092"/>
                </a:cubicBezTo>
                <a:cubicBezTo>
                  <a:pt x="212361" y="16761"/>
                  <a:pt x="216988" y="13753"/>
                  <a:pt x="217277" y="10514"/>
                </a:cubicBezTo>
                <a:cubicBezTo>
                  <a:pt x="217567" y="7275"/>
                  <a:pt x="215715" y="5540"/>
                  <a:pt x="211493" y="3168"/>
                </a:cubicBezTo>
                <a:cubicBezTo>
                  <a:pt x="210238" y="2405"/>
                  <a:pt x="208797" y="1988"/>
                  <a:pt x="207328" y="1953"/>
                </a:cubicBezTo>
                <a:cubicBezTo>
                  <a:pt x="202764" y="2809"/>
                  <a:pt x="198663" y="5273"/>
                  <a:pt x="195760" y="8895"/>
                </a:cubicBezTo>
                <a:cubicBezTo>
                  <a:pt x="191890" y="13291"/>
                  <a:pt x="186793" y="16432"/>
                  <a:pt x="181125" y="17918"/>
                </a:cubicBezTo>
                <a:cubicBezTo>
                  <a:pt x="175311" y="18746"/>
                  <a:pt x="169949" y="21516"/>
                  <a:pt x="165912" y="25785"/>
                </a:cubicBezTo>
                <a:cubicBezTo>
                  <a:pt x="163511" y="28076"/>
                  <a:pt x="160804" y="30019"/>
                  <a:pt x="157871" y="31570"/>
                </a:cubicBezTo>
                <a:cubicBezTo>
                  <a:pt x="153730" y="33236"/>
                  <a:pt x="149322" y="34138"/>
                  <a:pt x="144856" y="34231"/>
                </a:cubicBezTo>
                <a:cubicBezTo>
                  <a:pt x="138089" y="34809"/>
                  <a:pt x="133924" y="35445"/>
                  <a:pt x="133634" y="38511"/>
                </a:cubicBezTo>
                <a:cubicBezTo>
                  <a:pt x="133634" y="39783"/>
                  <a:pt x="133287" y="43023"/>
                  <a:pt x="130685" y="43023"/>
                </a:cubicBezTo>
                <a:cubicBezTo>
                  <a:pt x="129007" y="42768"/>
                  <a:pt x="127434" y="42068"/>
                  <a:pt x="126115" y="40998"/>
                </a:cubicBezTo>
                <a:cubicBezTo>
                  <a:pt x="124131" y="39535"/>
                  <a:pt x="121892" y="38436"/>
                  <a:pt x="119520" y="37759"/>
                </a:cubicBezTo>
                <a:cubicBezTo>
                  <a:pt x="115992" y="36891"/>
                  <a:pt x="107952" y="41519"/>
                  <a:pt x="102167" y="47997"/>
                </a:cubicBezTo>
                <a:cubicBezTo>
                  <a:pt x="98558" y="51133"/>
                  <a:pt x="96215" y="55471"/>
                  <a:pt x="95573" y="60203"/>
                </a:cubicBezTo>
                <a:lnTo>
                  <a:pt x="95920" y="63731"/>
                </a:lnTo>
                <a:cubicBezTo>
                  <a:pt x="98367" y="73079"/>
                  <a:pt x="93988" y="82866"/>
                  <a:pt x="85393" y="87274"/>
                </a:cubicBezTo>
                <a:cubicBezTo>
                  <a:pt x="76722" y="93619"/>
                  <a:pt x="69427" y="101642"/>
                  <a:pt x="63932" y="110874"/>
                </a:cubicBezTo>
                <a:cubicBezTo>
                  <a:pt x="61850" y="113882"/>
                  <a:pt x="60115" y="116659"/>
                  <a:pt x="58148" y="118567"/>
                </a:cubicBezTo>
                <a:cubicBezTo>
                  <a:pt x="56794" y="120337"/>
                  <a:pt x="54544" y="121165"/>
                  <a:pt x="52363" y="120708"/>
                </a:cubicBezTo>
                <a:cubicBezTo>
                  <a:pt x="51993" y="123739"/>
                  <a:pt x="50605" y="126550"/>
                  <a:pt x="48430" y="128690"/>
                </a:cubicBezTo>
                <a:cubicBezTo>
                  <a:pt x="42362" y="134024"/>
                  <a:pt x="36572" y="139658"/>
                  <a:pt x="31077" y="145581"/>
                </a:cubicBezTo>
                <a:lnTo>
                  <a:pt x="32754" y="147200"/>
                </a:lnTo>
                <a:cubicBezTo>
                  <a:pt x="35242" y="149572"/>
                  <a:pt x="37382" y="151596"/>
                  <a:pt x="39059" y="153390"/>
                </a:cubicBezTo>
                <a:cubicBezTo>
                  <a:pt x="43230" y="157606"/>
                  <a:pt x="45139" y="163559"/>
                  <a:pt x="44207" y="169413"/>
                </a:cubicBezTo>
                <a:cubicBezTo>
                  <a:pt x="43814" y="171345"/>
                  <a:pt x="43976" y="173352"/>
                  <a:pt x="44670" y="175197"/>
                </a:cubicBezTo>
                <a:cubicBezTo>
                  <a:pt x="48719" y="183180"/>
                  <a:pt x="48546" y="189079"/>
                  <a:pt x="44265" y="191740"/>
                </a:cubicBezTo>
                <a:cubicBezTo>
                  <a:pt x="44265" y="191740"/>
                  <a:pt x="43398" y="192435"/>
                  <a:pt x="42935" y="195443"/>
                </a:cubicBezTo>
                <a:cubicBezTo>
                  <a:pt x="41546" y="205623"/>
                  <a:pt x="45422" y="228067"/>
                  <a:pt x="49356" y="232463"/>
                </a:cubicBezTo>
                <a:cubicBezTo>
                  <a:pt x="54156" y="237785"/>
                  <a:pt x="51380" y="242817"/>
                  <a:pt x="47158" y="250395"/>
                </a:cubicBezTo>
                <a:cubicBezTo>
                  <a:pt x="46001" y="252477"/>
                  <a:pt x="44728" y="254733"/>
                  <a:pt x="43455" y="257336"/>
                </a:cubicBezTo>
                <a:cubicBezTo>
                  <a:pt x="37671" y="268905"/>
                  <a:pt x="31887" y="275441"/>
                  <a:pt x="20318" y="276135"/>
                </a:cubicBezTo>
                <a:cubicBezTo>
                  <a:pt x="14186" y="276482"/>
                  <a:pt x="12104" y="282672"/>
                  <a:pt x="10484" y="287704"/>
                </a:cubicBezTo>
                <a:cubicBezTo>
                  <a:pt x="9385" y="291059"/>
                  <a:pt x="8460" y="293489"/>
                  <a:pt x="6319" y="293489"/>
                </a:cubicBezTo>
                <a:cubicBezTo>
                  <a:pt x="4179" y="293489"/>
                  <a:pt x="2617" y="298174"/>
                  <a:pt x="2097" y="303322"/>
                </a:cubicBezTo>
                <a:cubicBezTo>
                  <a:pt x="12277" y="311767"/>
                  <a:pt x="29746" y="321601"/>
                  <a:pt x="34605" y="321601"/>
                </a:cubicBezTo>
                <a:cubicBezTo>
                  <a:pt x="38365" y="321601"/>
                  <a:pt x="41141" y="324435"/>
                  <a:pt x="44381" y="327385"/>
                </a:cubicBezTo>
                <a:cubicBezTo>
                  <a:pt x="46683" y="329953"/>
                  <a:pt x="49332" y="332192"/>
                  <a:pt x="52248" y="334037"/>
                </a:cubicBezTo>
                <a:cubicBezTo>
                  <a:pt x="55527" y="335883"/>
                  <a:pt x="59241" y="336820"/>
                  <a:pt x="63007" y="336756"/>
                </a:cubicBezTo>
                <a:cubicBezTo>
                  <a:pt x="66084" y="337063"/>
                  <a:pt x="69161" y="336195"/>
                  <a:pt x="71626" y="334327"/>
                </a:cubicBezTo>
                <a:cubicBezTo>
                  <a:pt x="72239" y="333586"/>
                  <a:pt x="73152" y="333158"/>
                  <a:pt x="74113" y="333170"/>
                </a:cubicBezTo>
                <a:cubicBezTo>
                  <a:pt x="77757" y="333170"/>
                  <a:pt x="83541" y="338954"/>
                  <a:pt x="92912" y="349482"/>
                </a:cubicBezTo>
                <a:lnTo>
                  <a:pt x="93722" y="350349"/>
                </a:lnTo>
                <a:cubicBezTo>
                  <a:pt x="105754" y="347747"/>
                  <a:pt x="113736" y="347573"/>
                  <a:pt x="117438" y="349887"/>
                </a:cubicBezTo>
                <a:cubicBezTo>
                  <a:pt x="120920" y="352883"/>
                  <a:pt x="123304" y="356955"/>
                  <a:pt x="124206" y="361456"/>
                </a:cubicBezTo>
                <a:cubicBezTo>
                  <a:pt x="126115" y="367240"/>
                  <a:pt x="127908" y="372157"/>
                  <a:pt x="133056" y="372620"/>
                </a:cubicBezTo>
                <a:cubicBezTo>
                  <a:pt x="138904" y="373343"/>
                  <a:pt x="144208" y="376408"/>
                  <a:pt x="147748" y="381123"/>
                </a:cubicBezTo>
                <a:cubicBezTo>
                  <a:pt x="150167" y="383853"/>
                  <a:pt x="151416" y="387428"/>
                  <a:pt x="151219" y="391072"/>
                </a:cubicBezTo>
                <a:cubicBezTo>
                  <a:pt x="150872" y="393038"/>
                  <a:pt x="152897" y="394832"/>
                  <a:pt x="155269" y="396856"/>
                </a:cubicBezTo>
                <a:cubicBezTo>
                  <a:pt x="159312" y="399297"/>
                  <a:pt x="161753" y="403705"/>
                  <a:pt x="161689" y="408425"/>
                </a:cubicBezTo>
                <a:cubicBezTo>
                  <a:pt x="161585" y="409079"/>
                  <a:pt x="161799" y="409750"/>
                  <a:pt x="162267" y="410218"/>
                </a:cubicBezTo>
                <a:cubicBezTo>
                  <a:pt x="166467" y="412868"/>
                  <a:pt x="171453" y="413990"/>
                  <a:pt x="176381" y="413400"/>
                </a:cubicBezTo>
                <a:cubicBezTo>
                  <a:pt x="181431" y="413666"/>
                  <a:pt x="186487" y="412920"/>
                  <a:pt x="191247" y="411202"/>
                </a:cubicBezTo>
                <a:cubicBezTo>
                  <a:pt x="194510" y="408928"/>
                  <a:pt x="198380" y="407702"/>
                  <a:pt x="202353" y="407673"/>
                </a:cubicBezTo>
                <a:cubicBezTo>
                  <a:pt x="204558" y="407610"/>
                  <a:pt x="206738" y="408153"/>
                  <a:pt x="208659" y="409235"/>
                </a:cubicBezTo>
                <a:cubicBezTo>
                  <a:pt x="211568" y="410097"/>
                  <a:pt x="214686" y="409952"/>
                  <a:pt x="217509" y="408830"/>
                </a:cubicBezTo>
                <a:cubicBezTo>
                  <a:pt x="219678" y="408246"/>
                  <a:pt x="221917" y="407957"/>
                  <a:pt x="224161" y="40796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6" name="Forma libre: forma 385">
            <a:extLst>
              <a:ext uri="{FF2B5EF4-FFF2-40B4-BE49-F238E27FC236}">
                <a16:creationId xmlns:a16="http://schemas.microsoft.com/office/drawing/2014/main" id="{98AA6BDA-E57E-07F1-87B3-F41723164DC2}"/>
              </a:ext>
            </a:extLst>
          </p:cNvPr>
          <p:cNvSpPr/>
          <p:nvPr/>
        </p:nvSpPr>
        <p:spPr>
          <a:xfrm>
            <a:off x="4265943" y="4753779"/>
            <a:ext cx="333943" cy="374336"/>
          </a:xfrm>
          <a:custGeom>
            <a:avLst/>
            <a:gdLst>
              <a:gd name="connsiteX0" fmla="*/ 53071 w 333943"/>
              <a:gd name="connsiteY0" fmla="*/ 374181 h 374336"/>
              <a:gd name="connsiteX1" fmla="*/ 49484 w 333943"/>
              <a:gd name="connsiteY1" fmla="*/ 372157 h 374336"/>
              <a:gd name="connsiteX2" fmla="*/ 48270 w 333943"/>
              <a:gd name="connsiteY2" fmla="*/ 362265 h 374336"/>
              <a:gd name="connsiteX3" fmla="*/ 43295 w 333943"/>
              <a:gd name="connsiteY3" fmla="*/ 342656 h 374336"/>
              <a:gd name="connsiteX4" fmla="*/ 38147 w 333943"/>
              <a:gd name="connsiteY4" fmla="*/ 328253 h 374336"/>
              <a:gd name="connsiteX5" fmla="*/ 33924 w 333943"/>
              <a:gd name="connsiteY5" fmla="*/ 317841 h 374336"/>
              <a:gd name="connsiteX6" fmla="*/ 21430 w 333943"/>
              <a:gd name="connsiteY6" fmla="*/ 300488 h 374336"/>
              <a:gd name="connsiteX7" fmla="*/ 24033 w 333943"/>
              <a:gd name="connsiteY7" fmla="*/ 293315 h 374336"/>
              <a:gd name="connsiteX8" fmla="*/ 26694 w 333943"/>
              <a:gd name="connsiteY8" fmla="*/ 284233 h 374336"/>
              <a:gd name="connsiteX9" fmla="*/ 29644 w 333943"/>
              <a:gd name="connsiteY9" fmla="*/ 274053 h 374336"/>
              <a:gd name="connsiteX10" fmla="*/ 31032 w 333943"/>
              <a:gd name="connsiteY10" fmla="*/ 272086 h 374336"/>
              <a:gd name="connsiteX11" fmla="*/ 27272 w 333943"/>
              <a:gd name="connsiteY11" fmla="*/ 268500 h 374336"/>
              <a:gd name="connsiteX12" fmla="*/ 18191 w 333943"/>
              <a:gd name="connsiteY12" fmla="*/ 260228 h 374336"/>
              <a:gd name="connsiteX13" fmla="*/ 15241 w 333943"/>
              <a:gd name="connsiteY13" fmla="*/ 244494 h 374336"/>
              <a:gd name="connsiteX14" fmla="*/ 11886 w 333943"/>
              <a:gd name="connsiteY14" fmla="*/ 231364 h 374336"/>
              <a:gd name="connsiteX15" fmla="*/ 2688 w 333943"/>
              <a:gd name="connsiteY15" fmla="*/ 220489 h 374336"/>
              <a:gd name="connsiteX16" fmla="*/ 1416 w 333943"/>
              <a:gd name="connsiteY16" fmla="*/ 218580 h 374336"/>
              <a:gd name="connsiteX17" fmla="*/ 780 w 333943"/>
              <a:gd name="connsiteY17" fmla="*/ 218580 h 374336"/>
              <a:gd name="connsiteX18" fmla="*/ 259 w 333943"/>
              <a:gd name="connsiteY18" fmla="*/ 217770 h 374336"/>
              <a:gd name="connsiteX19" fmla="*/ 3151 w 333943"/>
              <a:gd name="connsiteY19" fmla="*/ 205392 h 374336"/>
              <a:gd name="connsiteX20" fmla="*/ 17092 w 333943"/>
              <a:gd name="connsiteY20" fmla="*/ 184568 h 374336"/>
              <a:gd name="connsiteX21" fmla="*/ 12927 w 333943"/>
              <a:gd name="connsiteY21" fmla="*/ 179998 h 374336"/>
              <a:gd name="connsiteX22" fmla="*/ 6622 w 333943"/>
              <a:gd name="connsiteY22" fmla="*/ 171726 h 374336"/>
              <a:gd name="connsiteX23" fmla="*/ 10729 w 333943"/>
              <a:gd name="connsiteY23" fmla="*/ 160157 h 374336"/>
              <a:gd name="connsiteX24" fmla="*/ 13448 w 333943"/>
              <a:gd name="connsiteY24" fmla="*/ 148993 h 374336"/>
              <a:gd name="connsiteX25" fmla="*/ 15761 w 333943"/>
              <a:gd name="connsiteY25" fmla="*/ 135573 h 374336"/>
              <a:gd name="connsiteX26" fmla="*/ 19521 w 333943"/>
              <a:gd name="connsiteY26" fmla="*/ 125682 h 374336"/>
              <a:gd name="connsiteX27" fmla="*/ 18942 w 333943"/>
              <a:gd name="connsiteY27" fmla="*/ 121286 h 374336"/>
              <a:gd name="connsiteX28" fmla="*/ 17439 w 333943"/>
              <a:gd name="connsiteY28" fmla="*/ 85943 h 374336"/>
              <a:gd name="connsiteX29" fmla="*/ 19984 w 333943"/>
              <a:gd name="connsiteY29" fmla="*/ 83861 h 374336"/>
              <a:gd name="connsiteX30" fmla="*/ 24438 w 333943"/>
              <a:gd name="connsiteY30" fmla="*/ 72639 h 374336"/>
              <a:gd name="connsiteX31" fmla="*/ 16629 w 333943"/>
              <a:gd name="connsiteY31" fmla="*/ 56674 h 374336"/>
              <a:gd name="connsiteX32" fmla="*/ 5638 w 333943"/>
              <a:gd name="connsiteY32" fmla="*/ 34173 h 374336"/>
              <a:gd name="connsiteX33" fmla="*/ 6228 w 333943"/>
              <a:gd name="connsiteY33" fmla="*/ 32732 h 374336"/>
              <a:gd name="connsiteX34" fmla="*/ 6853 w 333943"/>
              <a:gd name="connsiteY34" fmla="*/ 32669 h 374336"/>
              <a:gd name="connsiteX35" fmla="*/ 16224 w 333943"/>
              <a:gd name="connsiteY35" fmla="*/ 34809 h 374336"/>
              <a:gd name="connsiteX36" fmla="*/ 38436 w 333943"/>
              <a:gd name="connsiteY36" fmla="*/ 29429 h 374336"/>
              <a:gd name="connsiteX37" fmla="*/ 50005 w 333943"/>
              <a:gd name="connsiteY37" fmla="*/ 22777 h 374336"/>
              <a:gd name="connsiteX38" fmla="*/ 62152 w 333943"/>
              <a:gd name="connsiteY38" fmla="*/ 16993 h 374336"/>
              <a:gd name="connsiteX39" fmla="*/ 69036 w 333943"/>
              <a:gd name="connsiteY39" fmla="*/ 12886 h 374336"/>
              <a:gd name="connsiteX40" fmla="*/ 95008 w 333943"/>
              <a:gd name="connsiteY40" fmla="*/ 2300 h 374336"/>
              <a:gd name="connsiteX41" fmla="*/ 106577 w 333943"/>
              <a:gd name="connsiteY41" fmla="*/ 1028 h 374336"/>
              <a:gd name="connsiteX42" fmla="*/ 116584 w 333943"/>
              <a:gd name="connsiteY42" fmla="*/ -129 h 374336"/>
              <a:gd name="connsiteX43" fmla="*/ 121848 w 333943"/>
              <a:gd name="connsiteY43" fmla="*/ 1606 h 374336"/>
              <a:gd name="connsiteX44" fmla="*/ 122253 w 333943"/>
              <a:gd name="connsiteY44" fmla="*/ 5366 h 374336"/>
              <a:gd name="connsiteX45" fmla="*/ 130929 w 333943"/>
              <a:gd name="connsiteY45" fmla="*/ 57426 h 374336"/>
              <a:gd name="connsiteX46" fmla="*/ 158521 w 333943"/>
              <a:gd name="connsiteY46" fmla="*/ 76688 h 374336"/>
              <a:gd name="connsiteX47" fmla="*/ 162223 w 333943"/>
              <a:gd name="connsiteY47" fmla="*/ 76688 h 374336"/>
              <a:gd name="connsiteX48" fmla="*/ 165925 w 333943"/>
              <a:gd name="connsiteY48" fmla="*/ 76399 h 374336"/>
              <a:gd name="connsiteX49" fmla="*/ 174428 w 333943"/>
              <a:gd name="connsiteY49" fmla="*/ 78886 h 374336"/>
              <a:gd name="connsiteX50" fmla="*/ 181658 w 333943"/>
              <a:gd name="connsiteY50" fmla="*/ 80737 h 374336"/>
              <a:gd name="connsiteX51" fmla="*/ 188831 w 333943"/>
              <a:gd name="connsiteY51" fmla="*/ 86522 h 374336"/>
              <a:gd name="connsiteX52" fmla="*/ 193054 w 333943"/>
              <a:gd name="connsiteY52" fmla="*/ 90629 h 374336"/>
              <a:gd name="connsiteX53" fmla="*/ 216770 w 333943"/>
              <a:gd name="connsiteY53" fmla="*/ 102198 h 374336"/>
              <a:gd name="connsiteX54" fmla="*/ 219315 w 333943"/>
              <a:gd name="connsiteY54" fmla="*/ 105032 h 374336"/>
              <a:gd name="connsiteX55" fmla="*/ 226835 w 333943"/>
              <a:gd name="connsiteY55" fmla="*/ 105842 h 374336"/>
              <a:gd name="connsiteX56" fmla="*/ 231347 w 333943"/>
              <a:gd name="connsiteY56" fmla="*/ 105842 h 374336"/>
              <a:gd name="connsiteX57" fmla="*/ 235916 w 333943"/>
              <a:gd name="connsiteY57" fmla="*/ 105842 h 374336"/>
              <a:gd name="connsiteX58" fmla="*/ 246271 w 333943"/>
              <a:gd name="connsiteY58" fmla="*/ 107982 h 374336"/>
              <a:gd name="connsiteX59" fmla="*/ 248064 w 333943"/>
              <a:gd name="connsiteY59" fmla="*/ 109486 h 374336"/>
              <a:gd name="connsiteX60" fmla="*/ 257146 w 333943"/>
              <a:gd name="connsiteY60" fmla="*/ 127591 h 374336"/>
              <a:gd name="connsiteX61" fmla="*/ 260905 w 333943"/>
              <a:gd name="connsiteY61" fmla="*/ 138582 h 374336"/>
              <a:gd name="connsiteX62" fmla="*/ 263624 w 333943"/>
              <a:gd name="connsiteY62" fmla="*/ 146217 h 374336"/>
              <a:gd name="connsiteX63" fmla="*/ 260616 w 333943"/>
              <a:gd name="connsiteY63" fmla="*/ 149398 h 374336"/>
              <a:gd name="connsiteX64" fmla="*/ 260616 w 333943"/>
              <a:gd name="connsiteY64" fmla="*/ 159290 h 374336"/>
              <a:gd name="connsiteX65" fmla="*/ 264492 w 333943"/>
              <a:gd name="connsiteY65" fmla="*/ 170859 h 374336"/>
              <a:gd name="connsiteX66" fmla="*/ 288844 w 333943"/>
              <a:gd name="connsiteY66" fmla="*/ 183642 h 374336"/>
              <a:gd name="connsiteX67" fmla="*/ 293182 w 333943"/>
              <a:gd name="connsiteY67" fmla="*/ 183642 h 374336"/>
              <a:gd name="connsiteX68" fmla="*/ 299430 w 333943"/>
              <a:gd name="connsiteY68" fmla="*/ 183642 h 374336"/>
              <a:gd name="connsiteX69" fmla="*/ 316783 w 333943"/>
              <a:gd name="connsiteY69" fmla="*/ 198682 h 374336"/>
              <a:gd name="connsiteX70" fmla="*/ 324187 w 333943"/>
              <a:gd name="connsiteY70" fmla="*/ 212680 h 374336"/>
              <a:gd name="connsiteX71" fmla="*/ 332864 w 333943"/>
              <a:gd name="connsiteY71" fmla="*/ 225001 h 374336"/>
              <a:gd name="connsiteX72" fmla="*/ 331533 w 333943"/>
              <a:gd name="connsiteY72" fmla="*/ 246808 h 374336"/>
              <a:gd name="connsiteX73" fmla="*/ 329682 w 333943"/>
              <a:gd name="connsiteY73" fmla="*/ 260691 h 374336"/>
              <a:gd name="connsiteX74" fmla="*/ 324708 w 333943"/>
              <a:gd name="connsiteY74" fmla="*/ 277061 h 374336"/>
              <a:gd name="connsiteX75" fmla="*/ 315626 w 333943"/>
              <a:gd name="connsiteY75" fmla="*/ 282209 h 374336"/>
              <a:gd name="connsiteX76" fmla="*/ 305619 w 333943"/>
              <a:gd name="connsiteY76" fmla="*/ 277524 h 374336"/>
              <a:gd name="connsiteX77" fmla="*/ 289827 w 333943"/>
              <a:gd name="connsiteY77" fmla="*/ 270871 h 374336"/>
              <a:gd name="connsiteX78" fmla="*/ 280052 w 333943"/>
              <a:gd name="connsiteY78" fmla="*/ 270871 h 374336"/>
              <a:gd name="connsiteX79" fmla="*/ 258823 w 333943"/>
              <a:gd name="connsiteY79" fmla="*/ 274053 h 374336"/>
              <a:gd name="connsiteX80" fmla="*/ 244478 w 333943"/>
              <a:gd name="connsiteY80" fmla="*/ 276078 h 374336"/>
              <a:gd name="connsiteX81" fmla="*/ 225794 w 333943"/>
              <a:gd name="connsiteY81" fmla="*/ 279664 h 374336"/>
              <a:gd name="connsiteX82" fmla="*/ 205317 w 333943"/>
              <a:gd name="connsiteY82" fmla="*/ 304363 h 374336"/>
              <a:gd name="connsiteX83" fmla="*/ 196467 w 333943"/>
              <a:gd name="connsiteY83" fmla="*/ 347573 h 374336"/>
              <a:gd name="connsiteX84" fmla="*/ 193574 w 333943"/>
              <a:gd name="connsiteY84" fmla="*/ 347920 h 374336"/>
              <a:gd name="connsiteX85" fmla="*/ 182758 w 333943"/>
              <a:gd name="connsiteY85" fmla="*/ 346995 h 374336"/>
              <a:gd name="connsiteX86" fmla="*/ 167776 w 333943"/>
              <a:gd name="connsiteY86" fmla="*/ 345838 h 374336"/>
              <a:gd name="connsiteX87" fmla="*/ 160603 w 333943"/>
              <a:gd name="connsiteY87" fmla="*/ 347284 h 374336"/>
              <a:gd name="connsiteX88" fmla="*/ 156843 w 333943"/>
              <a:gd name="connsiteY88" fmla="*/ 354225 h 374336"/>
              <a:gd name="connsiteX89" fmla="*/ 147010 w 333943"/>
              <a:gd name="connsiteY89" fmla="*/ 366951 h 374336"/>
              <a:gd name="connsiteX90" fmla="*/ 142614 w 333943"/>
              <a:gd name="connsiteY90" fmla="*/ 363191 h 374336"/>
              <a:gd name="connsiteX91" fmla="*/ 116815 w 333943"/>
              <a:gd name="connsiteY91" fmla="*/ 351622 h 374336"/>
              <a:gd name="connsiteX92" fmla="*/ 111956 w 333943"/>
              <a:gd name="connsiteY92" fmla="*/ 351043 h 374336"/>
              <a:gd name="connsiteX93" fmla="*/ 102412 w 333943"/>
              <a:gd name="connsiteY93" fmla="*/ 347110 h 374336"/>
              <a:gd name="connsiteX94" fmla="*/ 97900 w 333943"/>
              <a:gd name="connsiteY94" fmla="*/ 345144 h 374336"/>
              <a:gd name="connsiteX95" fmla="*/ 88703 w 333943"/>
              <a:gd name="connsiteY95" fmla="*/ 351506 h 374336"/>
              <a:gd name="connsiteX96" fmla="*/ 53071 w 333943"/>
              <a:gd name="connsiteY96" fmla="*/ 374181 h 374336"/>
              <a:gd name="connsiteX97" fmla="*/ 2399 w 333943"/>
              <a:gd name="connsiteY97" fmla="*/ 216440 h 374336"/>
              <a:gd name="connsiteX98" fmla="*/ 4597 w 333943"/>
              <a:gd name="connsiteY98" fmla="*/ 219332 h 374336"/>
              <a:gd name="connsiteX99" fmla="*/ 13274 w 333943"/>
              <a:gd name="connsiteY99" fmla="*/ 229513 h 374336"/>
              <a:gd name="connsiteX100" fmla="*/ 17496 w 333943"/>
              <a:gd name="connsiteY100" fmla="*/ 244668 h 374336"/>
              <a:gd name="connsiteX101" fmla="*/ 19926 w 333943"/>
              <a:gd name="connsiteY101" fmla="*/ 258724 h 374336"/>
              <a:gd name="connsiteX102" fmla="*/ 28603 w 333943"/>
              <a:gd name="connsiteY102" fmla="*/ 266591 h 374336"/>
              <a:gd name="connsiteX103" fmla="*/ 33288 w 333943"/>
              <a:gd name="connsiteY103" fmla="*/ 271970 h 374336"/>
              <a:gd name="connsiteX104" fmla="*/ 31090 w 333943"/>
              <a:gd name="connsiteY104" fmla="*/ 275673 h 374336"/>
              <a:gd name="connsiteX105" fmla="*/ 28950 w 333943"/>
              <a:gd name="connsiteY105" fmla="*/ 284118 h 374336"/>
              <a:gd name="connsiteX106" fmla="*/ 25363 w 333943"/>
              <a:gd name="connsiteY106" fmla="*/ 295050 h 374336"/>
              <a:gd name="connsiteX107" fmla="*/ 23686 w 333943"/>
              <a:gd name="connsiteY107" fmla="*/ 300198 h 374336"/>
              <a:gd name="connsiteX108" fmla="*/ 34850 w 333943"/>
              <a:gd name="connsiteY108" fmla="*/ 315817 h 374336"/>
              <a:gd name="connsiteX109" fmla="*/ 40634 w 333943"/>
              <a:gd name="connsiteY109" fmla="*/ 327964 h 374336"/>
              <a:gd name="connsiteX110" fmla="*/ 45146 w 333943"/>
              <a:gd name="connsiteY110" fmla="*/ 341094 h 374336"/>
              <a:gd name="connsiteX111" fmla="*/ 50931 w 333943"/>
              <a:gd name="connsiteY111" fmla="*/ 362208 h 374336"/>
              <a:gd name="connsiteX112" fmla="*/ 51972 w 333943"/>
              <a:gd name="connsiteY112" fmla="*/ 371289 h 374336"/>
              <a:gd name="connsiteX113" fmla="*/ 53476 w 333943"/>
              <a:gd name="connsiteY113" fmla="*/ 371926 h 374336"/>
              <a:gd name="connsiteX114" fmla="*/ 87257 w 333943"/>
              <a:gd name="connsiteY114" fmla="*/ 349135 h 374336"/>
              <a:gd name="connsiteX115" fmla="*/ 98131 w 333943"/>
              <a:gd name="connsiteY115" fmla="*/ 342078 h 374336"/>
              <a:gd name="connsiteX116" fmla="*/ 103916 w 333943"/>
              <a:gd name="connsiteY116" fmla="*/ 344449 h 374336"/>
              <a:gd name="connsiteX117" fmla="*/ 112535 w 333943"/>
              <a:gd name="connsiteY117" fmla="*/ 347978 h 374336"/>
              <a:gd name="connsiteX118" fmla="*/ 117336 w 333943"/>
              <a:gd name="connsiteY118" fmla="*/ 348556 h 374336"/>
              <a:gd name="connsiteX119" fmla="*/ 144870 w 333943"/>
              <a:gd name="connsiteY119" fmla="*/ 361513 h 374336"/>
              <a:gd name="connsiteX120" fmla="*/ 147299 w 333943"/>
              <a:gd name="connsiteY120" fmla="*/ 364058 h 374336"/>
              <a:gd name="connsiteX121" fmla="*/ 155108 w 333943"/>
              <a:gd name="connsiteY121" fmla="*/ 352490 h 374336"/>
              <a:gd name="connsiteX122" fmla="*/ 159157 w 333943"/>
              <a:gd name="connsiteY122" fmla="*/ 345086 h 374336"/>
              <a:gd name="connsiteX123" fmla="*/ 168065 w 333943"/>
              <a:gd name="connsiteY123" fmla="*/ 342772 h 374336"/>
              <a:gd name="connsiteX124" fmla="*/ 183278 w 333943"/>
              <a:gd name="connsiteY124" fmla="*/ 343987 h 374336"/>
              <a:gd name="connsiteX125" fmla="*/ 193864 w 333943"/>
              <a:gd name="connsiteY125" fmla="*/ 344912 h 374336"/>
              <a:gd name="connsiteX126" fmla="*/ 196004 w 333943"/>
              <a:gd name="connsiteY126" fmla="*/ 344912 h 374336"/>
              <a:gd name="connsiteX127" fmla="*/ 203350 w 333943"/>
              <a:gd name="connsiteY127" fmla="*/ 304421 h 374336"/>
              <a:gd name="connsiteX128" fmla="*/ 224868 w 333943"/>
              <a:gd name="connsiteY128" fmla="*/ 277466 h 374336"/>
              <a:gd name="connsiteX129" fmla="*/ 244767 w 333943"/>
              <a:gd name="connsiteY129" fmla="*/ 273532 h 374336"/>
              <a:gd name="connsiteX130" fmla="*/ 258071 w 333943"/>
              <a:gd name="connsiteY130" fmla="*/ 271739 h 374336"/>
              <a:gd name="connsiteX131" fmla="*/ 280341 w 333943"/>
              <a:gd name="connsiteY131" fmla="*/ 268326 h 374336"/>
              <a:gd name="connsiteX132" fmla="*/ 290117 w 333943"/>
              <a:gd name="connsiteY132" fmla="*/ 268326 h 374336"/>
              <a:gd name="connsiteX133" fmla="*/ 307181 w 333943"/>
              <a:gd name="connsiteY133" fmla="*/ 275383 h 374336"/>
              <a:gd name="connsiteX134" fmla="*/ 315915 w 333943"/>
              <a:gd name="connsiteY134" fmla="*/ 279664 h 374336"/>
              <a:gd name="connsiteX135" fmla="*/ 323262 w 333943"/>
              <a:gd name="connsiteY135" fmla="*/ 275326 h 374336"/>
              <a:gd name="connsiteX136" fmla="*/ 327773 w 333943"/>
              <a:gd name="connsiteY136" fmla="*/ 260749 h 374336"/>
              <a:gd name="connsiteX137" fmla="*/ 329682 w 333943"/>
              <a:gd name="connsiteY137" fmla="*/ 245940 h 374336"/>
              <a:gd name="connsiteX138" fmla="*/ 331012 w 333943"/>
              <a:gd name="connsiteY138" fmla="*/ 225406 h 374336"/>
              <a:gd name="connsiteX139" fmla="*/ 322914 w 333943"/>
              <a:gd name="connsiteY139" fmla="*/ 213837 h 374336"/>
              <a:gd name="connsiteX140" fmla="*/ 314816 w 333943"/>
              <a:gd name="connsiteY140" fmla="*/ 198219 h 374336"/>
              <a:gd name="connsiteX141" fmla="*/ 299487 w 333943"/>
              <a:gd name="connsiteY141" fmla="*/ 185436 h 374336"/>
              <a:gd name="connsiteX142" fmla="*/ 293356 w 333943"/>
              <a:gd name="connsiteY142" fmla="*/ 185436 h 374336"/>
              <a:gd name="connsiteX143" fmla="*/ 288902 w 333943"/>
              <a:gd name="connsiteY143" fmla="*/ 185436 h 374336"/>
              <a:gd name="connsiteX144" fmla="*/ 262293 w 333943"/>
              <a:gd name="connsiteY144" fmla="*/ 170570 h 374336"/>
              <a:gd name="connsiteX145" fmla="*/ 258649 w 333943"/>
              <a:gd name="connsiteY145" fmla="*/ 159753 h 374336"/>
              <a:gd name="connsiteX146" fmla="*/ 259691 w 333943"/>
              <a:gd name="connsiteY146" fmla="*/ 146853 h 374336"/>
              <a:gd name="connsiteX147" fmla="*/ 261599 w 333943"/>
              <a:gd name="connsiteY147" fmla="*/ 145118 h 374336"/>
              <a:gd name="connsiteX148" fmla="*/ 259112 w 333943"/>
              <a:gd name="connsiteY148" fmla="*/ 139334 h 374336"/>
              <a:gd name="connsiteX149" fmla="*/ 255063 w 333943"/>
              <a:gd name="connsiteY149" fmla="*/ 126781 h 374336"/>
              <a:gd name="connsiteX150" fmla="*/ 246733 w 333943"/>
              <a:gd name="connsiteY150" fmla="*/ 110758 h 374336"/>
              <a:gd name="connsiteX151" fmla="*/ 244940 w 333943"/>
              <a:gd name="connsiteY151" fmla="*/ 109254 h 374336"/>
              <a:gd name="connsiteX152" fmla="*/ 236032 w 333943"/>
              <a:gd name="connsiteY152" fmla="*/ 107635 h 374336"/>
              <a:gd name="connsiteX153" fmla="*/ 231520 w 333943"/>
              <a:gd name="connsiteY153" fmla="*/ 107635 h 374336"/>
              <a:gd name="connsiteX154" fmla="*/ 226951 w 333943"/>
              <a:gd name="connsiteY154" fmla="*/ 107635 h 374336"/>
              <a:gd name="connsiteX155" fmla="*/ 218737 w 333943"/>
              <a:gd name="connsiteY155" fmla="*/ 106709 h 374336"/>
              <a:gd name="connsiteX156" fmla="*/ 214630 w 333943"/>
              <a:gd name="connsiteY156" fmla="*/ 101735 h 374336"/>
              <a:gd name="connsiteX157" fmla="*/ 193170 w 333943"/>
              <a:gd name="connsiteY157" fmla="*/ 92364 h 374336"/>
              <a:gd name="connsiteX158" fmla="*/ 186807 w 333943"/>
              <a:gd name="connsiteY158" fmla="*/ 86580 h 374336"/>
              <a:gd name="connsiteX159" fmla="*/ 181948 w 333943"/>
              <a:gd name="connsiteY159" fmla="*/ 82646 h 374336"/>
              <a:gd name="connsiteX160" fmla="*/ 173387 w 333943"/>
              <a:gd name="connsiteY160" fmla="*/ 80506 h 374336"/>
              <a:gd name="connsiteX161" fmla="*/ 166041 w 333943"/>
              <a:gd name="connsiteY161" fmla="*/ 78308 h 374336"/>
              <a:gd name="connsiteX162" fmla="*/ 162628 w 333943"/>
              <a:gd name="connsiteY162" fmla="*/ 78308 h 374336"/>
              <a:gd name="connsiteX163" fmla="*/ 129309 w 333943"/>
              <a:gd name="connsiteY163" fmla="*/ 58525 h 374336"/>
              <a:gd name="connsiteX164" fmla="*/ 120170 w 333943"/>
              <a:gd name="connsiteY164" fmla="*/ 4209 h 374336"/>
              <a:gd name="connsiteX165" fmla="*/ 120170 w 333943"/>
              <a:gd name="connsiteY165" fmla="*/ 2416 h 374336"/>
              <a:gd name="connsiteX166" fmla="*/ 116699 w 333943"/>
              <a:gd name="connsiteY166" fmla="*/ 1606 h 374336"/>
              <a:gd name="connsiteX167" fmla="*/ 107040 w 333943"/>
              <a:gd name="connsiteY167" fmla="*/ 2763 h 374336"/>
              <a:gd name="connsiteX168" fmla="*/ 95471 w 333943"/>
              <a:gd name="connsiteY168" fmla="*/ 4036 h 374336"/>
              <a:gd name="connsiteX169" fmla="*/ 70655 w 333943"/>
              <a:gd name="connsiteY169" fmla="*/ 14332 h 374336"/>
              <a:gd name="connsiteX170" fmla="*/ 63714 w 333943"/>
              <a:gd name="connsiteY170" fmla="*/ 18439 h 374336"/>
              <a:gd name="connsiteX171" fmla="*/ 51278 w 333943"/>
              <a:gd name="connsiteY171" fmla="*/ 24223 h 374336"/>
              <a:gd name="connsiteX172" fmla="*/ 40577 w 333943"/>
              <a:gd name="connsiteY172" fmla="*/ 30008 h 374336"/>
              <a:gd name="connsiteX173" fmla="*/ 15993 w 333943"/>
              <a:gd name="connsiteY173" fmla="*/ 35792 h 374336"/>
              <a:gd name="connsiteX174" fmla="*/ 8993 w 333943"/>
              <a:gd name="connsiteY174" fmla="*/ 34057 h 374336"/>
              <a:gd name="connsiteX175" fmla="*/ 19174 w 333943"/>
              <a:gd name="connsiteY175" fmla="*/ 54476 h 374336"/>
              <a:gd name="connsiteX176" fmla="*/ 27099 w 333943"/>
              <a:gd name="connsiteY176" fmla="*/ 70672 h 374336"/>
              <a:gd name="connsiteX177" fmla="*/ 21893 w 333943"/>
              <a:gd name="connsiteY177" fmla="*/ 84497 h 374336"/>
              <a:gd name="connsiteX178" fmla="*/ 19579 w 333943"/>
              <a:gd name="connsiteY178" fmla="*/ 86406 h 374336"/>
              <a:gd name="connsiteX179" fmla="*/ 21661 w 333943"/>
              <a:gd name="connsiteY179" fmla="*/ 119840 h 374336"/>
              <a:gd name="connsiteX180" fmla="*/ 22298 w 333943"/>
              <a:gd name="connsiteY180" fmla="*/ 124236 h 374336"/>
              <a:gd name="connsiteX181" fmla="*/ 18306 w 333943"/>
              <a:gd name="connsiteY181" fmla="*/ 135805 h 374336"/>
              <a:gd name="connsiteX182" fmla="*/ 15414 w 333943"/>
              <a:gd name="connsiteY182" fmla="*/ 146391 h 374336"/>
              <a:gd name="connsiteX183" fmla="*/ 13274 w 333943"/>
              <a:gd name="connsiteY183" fmla="*/ 160331 h 374336"/>
              <a:gd name="connsiteX184" fmla="*/ 9398 w 333943"/>
              <a:gd name="connsiteY184" fmla="*/ 170743 h 374336"/>
              <a:gd name="connsiteX185" fmla="*/ 14604 w 333943"/>
              <a:gd name="connsiteY185" fmla="*/ 177106 h 374336"/>
              <a:gd name="connsiteX186" fmla="*/ 19868 w 333943"/>
              <a:gd name="connsiteY186" fmla="*/ 183585 h 374336"/>
              <a:gd name="connsiteX187" fmla="*/ 4771 w 333943"/>
              <a:gd name="connsiteY187" fmla="*/ 206375 h 374336"/>
              <a:gd name="connsiteX188" fmla="*/ 2399 w 333943"/>
              <a:gd name="connsiteY188" fmla="*/ 216440 h 37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333943" h="374336">
                <a:moveTo>
                  <a:pt x="53071" y="374181"/>
                </a:moveTo>
                <a:cubicBezTo>
                  <a:pt x="51561" y="374367"/>
                  <a:pt x="50109" y="373545"/>
                  <a:pt x="49484" y="372157"/>
                </a:cubicBezTo>
                <a:cubicBezTo>
                  <a:pt x="48559" y="368946"/>
                  <a:pt x="48148" y="365603"/>
                  <a:pt x="48270" y="362265"/>
                </a:cubicBezTo>
                <a:cubicBezTo>
                  <a:pt x="47980" y="355498"/>
                  <a:pt x="47633" y="346995"/>
                  <a:pt x="43295" y="342656"/>
                </a:cubicBezTo>
                <a:cubicBezTo>
                  <a:pt x="39998" y="338578"/>
                  <a:pt x="38182" y="333500"/>
                  <a:pt x="38147" y="328253"/>
                </a:cubicBezTo>
                <a:cubicBezTo>
                  <a:pt x="37569" y="323394"/>
                  <a:pt x="37048" y="319229"/>
                  <a:pt x="33924" y="317841"/>
                </a:cubicBezTo>
                <a:cubicBezTo>
                  <a:pt x="27411" y="314174"/>
                  <a:pt x="22847" y="307828"/>
                  <a:pt x="21430" y="300488"/>
                </a:cubicBezTo>
                <a:cubicBezTo>
                  <a:pt x="20904" y="297798"/>
                  <a:pt x="21904" y="295039"/>
                  <a:pt x="24033" y="293315"/>
                </a:cubicBezTo>
                <a:cubicBezTo>
                  <a:pt x="26867" y="291175"/>
                  <a:pt x="26810" y="287820"/>
                  <a:pt x="26694" y="284233"/>
                </a:cubicBezTo>
                <a:cubicBezTo>
                  <a:pt x="25971" y="280560"/>
                  <a:pt x="27070" y="276772"/>
                  <a:pt x="29644" y="274053"/>
                </a:cubicBezTo>
                <a:cubicBezTo>
                  <a:pt x="30569" y="273243"/>
                  <a:pt x="31032" y="272607"/>
                  <a:pt x="31032" y="272086"/>
                </a:cubicBezTo>
                <a:cubicBezTo>
                  <a:pt x="31032" y="271565"/>
                  <a:pt x="29239" y="269946"/>
                  <a:pt x="27272" y="268500"/>
                </a:cubicBezTo>
                <a:cubicBezTo>
                  <a:pt x="23917" y="266122"/>
                  <a:pt x="20869" y="263346"/>
                  <a:pt x="18191" y="260228"/>
                </a:cubicBezTo>
                <a:cubicBezTo>
                  <a:pt x="14934" y="255676"/>
                  <a:pt x="13853" y="249920"/>
                  <a:pt x="15241" y="244494"/>
                </a:cubicBezTo>
                <a:cubicBezTo>
                  <a:pt x="15877" y="239231"/>
                  <a:pt x="16397" y="234719"/>
                  <a:pt x="11886" y="231364"/>
                </a:cubicBezTo>
                <a:cubicBezTo>
                  <a:pt x="8079" y="228437"/>
                  <a:pt x="4944" y="224729"/>
                  <a:pt x="2688" y="220489"/>
                </a:cubicBezTo>
                <a:cubicBezTo>
                  <a:pt x="2312" y="219824"/>
                  <a:pt x="1884" y="219182"/>
                  <a:pt x="1416" y="218580"/>
                </a:cubicBezTo>
                <a:lnTo>
                  <a:pt x="780" y="218580"/>
                </a:lnTo>
                <a:cubicBezTo>
                  <a:pt x="513" y="218384"/>
                  <a:pt x="322" y="218094"/>
                  <a:pt x="259" y="217770"/>
                </a:cubicBezTo>
                <a:cubicBezTo>
                  <a:pt x="-319" y="213548"/>
                  <a:pt x="-724" y="207648"/>
                  <a:pt x="3151" y="205392"/>
                </a:cubicBezTo>
                <a:cubicBezTo>
                  <a:pt x="10006" y="200215"/>
                  <a:pt x="14923" y="192880"/>
                  <a:pt x="17092" y="184568"/>
                </a:cubicBezTo>
                <a:cubicBezTo>
                  <a:pt x="17092" y="182717"/>
                  <a:pt x="15530" y="181618"/>
                  <a:pt x="12927" y="179998"/>
                </a:cubicBezTo>
                <a:cubicBezTo>
                  <a:pt x="10324" y="178378"/>
                  <a:pt x="6622" y="176180"/>
                  <a:pt x="6622" y="171726"/>
                </a:cubicBezTo>
                <a:cubicBezTo>
                  <a:pt x="7148" y="167619"/>
                  <a:pt x="8548" y="163674"/>
                  <a:pt x="10729" y="160157"/>
                </a:cubicBezTo>
                <a:cubicBezTo>
                  <a:pt x="13101" y="155530"/>
                  <a:pt x="15588" y="150729"/>
                  <a:pt x="13448" y="148993"/>
                </a:cubicBezTo>
                <a:cubicBezTo>
                  <a:pt x="10035" y="146159"/>
                  <a:pt x="12985" y="140780"/>
                  <a:pt x="15761" y="135573"/>
                </a:cubicBezTo>
                <a:cubicBezTo>
                  <a:pt x="17843" y="132653"/>
                  <a:pt x="19139" y="129245"/>
                  <a:pt x="19521" y="125682"/>
                </a:cubicBezTo>
                <a:cubicBezTo>
                  <a:pt x="19521" y="124699"/>
                  <a:pt x="19174" y="123195"/>
                  <a:pt x="18942" y="121286"/>
                </a:cubicBezTo>
                <a:cubicBezTo>
                  <a:pt x="16050" y="101388"/>
                  <a:pt x="14836" y="88546"/>
                  <a:pt x="17439" y="85943"/>
                </a:cubicBezTo>
                <a:cubicBezTo>
                  <a:pt x="18237" y="85191"/>
                  <a:pt x="19087" y="84491"/>
                  <a:pt x="19984" y="83861"/>
                </a:cubicBezTo>
                <a:cubicBezTo>
                  <a:pt x="23281" y="81373"/>
                  <a:pt x="26752" y="78828"/>
                  <a:pt x="24438" y="72639"/>
                </a:cubicBezTo>
                <a:cubicBezTo>
                  <a:pt x="22113" y="67184"/>
                  <a:pt x="19509" y="61857"/>
                  <a:pt x="16629" y="56674"/>
                </a:cubicBezTo>
                <a:cubicBezTo>
                  <a:pt x="12696" y="49097"/>
                  <a:pt x="8184" y="40535"/>
                  <a:pt x="5638" y="34173"/>
                </a:cubicBezTo>
                <a:cubicBezTo>
                  <a:pt x="5407" y="33612"/>
                  <a:pt x="5667" y="32969"/>
                  <a:pt x="6228" y="32732"/>
                </a:cubicBezTo>
                <a:cubicBezTo>
                  <a:pt x="6425" y="32651"/>
                  <a:pt x="6645" y="32628"/>
                  <a:pt x="6853" y="32669"/>
                </a:cubicBezTo>
                <a:cubicBezTo>
                  <a:pt x="10046" y="33022"/>
                  <a:pt x="13193" y="33739"/>
                  <a:pt x="16224" y="34809"/>
                </a:cubicBezTo>
                <a:cubicBezTo>
                  <a:pt x="24044" y="37424"/>
                  <a:pt x="32675" y="35330"/>
                  <a:pt x="38436" y="29429"/>
                </a:cubicBezTo>
                <a:cubicBezTo>
                  <a:pt x="41751" y="26381"/>
                  <a:pt x="45701" y="24113"/>
                  <a:pt x="50005" y="22777"/>
                </a:cubicBezTo>
                <a:cubicBezTo>
                  <a:pt x="54199" y="21175"/>
                  <a:pt x="58265" y="19237"/>
                  <a:pt x="62152" y="16993"/>
                </a:cubicBezTo>
                <a:lnTo>
                  <a:pt x="69036" y="12886"/>
                </a:lnTo>
                <a:cubicBezTo>
                  <a:pt x="77944" y="7449"/>
                  <a:pt x="86389" y="2300"/>
                  <a:pt x="95008" y="2300"/>
                </a:cubicBezTo>
                <a:cubicBezTo>
                  <a:pt x="98889" y="2173"/>
                  <a:pt x="102759" y="1745"/>
                  <a:pt x="106577" y="1028"/>
                </a:cubicBezTo>
                <a:cubicBezTo>
                  <a:pt x="109880" y="409"/>
                  <a:pt x="113223" y="21"/>
                  <a:pt x="116584" y="-129"/>
                </a:cubicBezTo>
                <a:cubicBezTo>
                  <a:pt x="119303" y="-129"/>
                  <a:pt x="120980" y="391"/>
                  <a:pt x="121848" y="1606"/>
                </a:cubicBezTo>
                <a:cubicBezTo>
                  <a:pt x="122588" y="2717"/>
                  <a:pt x="122738" y="4122"/>
                  <a:pt x="122253" y="5366"/>
                </a:cubicBezTo>
                <a:cubicBezTo>
                  <a:pt x="119650" y="13869"/>
                  <a:pt x="118493" y="42849"/>
                  <a:pt x="130929" y="57426"/>
                </a:cubicBezTo>
                <a:cubicBezTo>
                  <a:pt x="141862" y="70499"/>
                  <a:pt x="148803" y="76688"/>
                  <a:pt x="158521" y="76688"/>
                </a:cubicBezTo>
                <a:cubicBezTo>
                  <a:pt x="159753" y="76769"/>
                  <a:pt x="160991" y="76769"/>
                  <a:pt x="162223" y="76688"/>
                </a:cubicBezTo>
                <a:cubicBezTo>
                  <a:pt x="163449" y="76515"/>
                  <a:pt x="164687" y="76416"/>
                  <a:pt x="165925" y="76399"/>
                </a:cubicBezTo>
                <a:cubicBezTo>
                  <a:pt x="168950" y="76312"/>
                  <a:pt x="171923" y="77185"/>
                  <a:pt x="174428" y="78886"/>
                </a:cubicBezTo>
                <a:cubicBezTo>
                  <a:pt x="176522" y="80390"/>
                  <a:pt x="179102" y="81050"/>
                  <a:pt x="181658" y="80737"/>
                </a:cubicBezTo>
                <a:cubicBezTo>
                  <a:pt x="187154" y="80217"/>
                  <a:pt x="188137" y="83745"/>
                  <a:pt x="188831" y="86522"/>
                </a:cubicBezTo>
                <a:cubicBezTo>
                  <a:pt x="189526" y="89298"/>
                  <a:pt x="190162" y="90629"/>
                  <a:pt x="193054" y="90629"/>
                </a:cubicBezTo>
                <a:cubicBezTo>
                  <a:pt x="198838" y="90629"/>
                  <a:pt x="216770" y="91439"/>
                  <a:pt x="216770" y="102198"/>
                </a:cubicBezTo>
                <a:cubicBezTo>
                  <a:pt x="216770" y="103123"/>
                  <a:pt x="217059" y="104280"/>
                  <a:pt x="219315" y="105032"/>
                </a:cubicBezTo>
                <a:cubicBezTo>
                  <a:pt x="221768" y="105656"/>
                  <a:pt x="224301" y="105934"/>
                  <a:pt x="226835" y="105842"/>
                </a:cubicBezTo>
                <a:lnTo>
                  <a:pt x="231347" y="105842"/>
                </a:lnTo>
                <a:lnTo>
                  <a:pt x="235916" y="105842"/>
                </a:lnTo>
                <a:cubicBezTo>
                  <a:pt x="239509" y="105460"/>
                  <a:pt x="243124" y="106206"/>
                  <a:pt x="246271" y="107982"/>
                </a:cubicBezTo>
                <a:lnTo>
                  <a:pt x="248064" y="109486"/>
                </a:lnTo>
                <a:cubicBezTo>
                  <a:pt x="253270" y="113766"/>
                  <a:pt x="258707" y="118278"/>
                  <a:pt x="257146" y="127591"/>
                </a:cubicBezTo>
                <a:cubicBezTo>
                  <a:pt x="257012" y="131588"/>
                  <a:pt x="258348" y="135498"/>
                  <a:pt x="260905" y="138582"/>
                </a:cubicBezTo>
                <a:cubicBezTo>
                  <a:pt x="262698" y="141416"/>
                  <a:pt x="264260" y="143903"/>
                  <a:pt x="263624" y="146217"/>
                </a:cubicBezTo>
                <a:cubicBezTo>
                  <a:pt x="263161" y="147680"/>
                  <a:pt x="262051" y="148855"/>
                  <a:pt x="260616" y="149398"/>
                </a:cubicBezTo>
                <a:cubicBezTo>
                  <a:pt x="257030" y="151192"/>
                  <a:pt x="257724" y="153390"/>
                  <a:pt x="260616" y="159290"/>
                </a:cubicBezTo>
                <a:cubicBezTo>
                  <a:pt x="262629" y="162865"/>
                  <a:pt x="263942" y="166792"/>
                  <a:pt x="264492" y="170859"/>
                </a:cubicBezTo>
                <a:cubicBezTo>
                  <a:pt x="265128" y="179362"/>
                  <a:pt x="273342" y="183642"/>
                  <a:pt x="288844" y="183642"/>
                </a:cubicBezTo>
                <a:lnTo>
                  <a:pt x="293182" y="183642"/>
                </a:lnTo>
                <a:lnTo>
                  <a:pt x="299430" y="183642"/>
                </a:lnTo>
                <a:cubicBezTo>
                  <a:pt x="313081" y="183642"/>
                  <a:pt x="316783" y="186997"/>
                  <a:pt x="316783" y="198682"/>
                </a:cubicBezTo>
                <a:cubicBezTo>
                  <a:pt x="316997" y="204229"/>
                  <a:pt x="319721" y="209383"/>
                  <a:pt x="324187" y="212680"/>
                </a:cubicBezTo>
                <a:cubicBezTo>
                  <a:pt x="328080" y="215983"/>
                  <a:pt x="331065" y="220223"/>
                  <a:pt x="332864" y="225001"/>
                </a:cubicBezTo>
                <a:cubicBezTo>
                  <a:pt x="334512" y="232249"/>
                  <a:pt x="334055" y="239815"/>
                  <a:pt x="331533" y="246808"/>
                </a:cubicBezTo>
                <a:cubicBezTo>
                  <a:pt x="330052" y="251280"/>
                  <a:pt x="329422" y="255988"/>
                  <a:pt x="329682" y="260691"/>
                </a:cubicBezTo>
                <a:cubicBezTo>
                  <a:pt x="330417" y="266608"/>
                  <a:pt x="328606" y="272555"/>
                  <a:pt x="324708" y="277061"/>
                </a:cubicBezTo>
                <a:cubicBezTo>
                  <a:pt x="322567" y="280011"/>
                  <a:pt x="319253" y="281885"/>
                  <a:pt x="315626" y="282209"/>
                </a:cubicBezTo>
                <a:cubicBezTo>
                  <a:pt x="311924" y="281596"/>
                  <a:pt x="308459" y="279976"/>
                  <a:pt x="305619" y="277524"/>
                </a:cubicBezTo>
                <a:cubicBezTo>
                  <a:pt x="301148" y="273764"/>
                  <a:pt x="295641" y="271444"/>
                  <a:pt x="289827" y="270871"/>
                </a:cubicBezTo>
                <a:lnTo>
                  <a:pt x="280052" y="270871"/>
                </a:lnTo>
                <a:cubicBezTo>
                  <a:pt x="272827" y="270328"/>
                  <a:pt x="265573" y="271415"/>
                  <a:pt x="258823" y="274053"/>
                </a:cubicBezTo>
                <a:cubicBezTo>
                  <a:pt x="254242" y="275742"/>
                  <a:pt x="249348" y="276436"/>
                  <a:pt x="244478" y="276078"/>
                </a:cubicBezTo>
                <a:cubicBezTo>
                  <a:pt x="238034" y="275464"/>
                  <a:pt x="231549" y="276708"/>
                  <a:pt x="225794" y="279664"/>
                </a:cubicBezTo>
                <a:cubicBezTo>
                  <a:pt x="215556" y="286432"/>
                  <a:pt x="204623" y="299620"/>
                  <a:pt x="205317" y="304363"/>
                </a:cubicBezTo>
                <a:cubicBezTo>
                  <a:pt x="206011" y="309106"/>
                  <a:pt x="202541" y="345549"/>
                  <a:pt x="196467" y="347573"/>
                </a:cubicBezTo>
                <a:cubicBezTo>
                  <a:pt x="195530" y="347839"/>
                  <a:pt x="194552" y="347955"/>
                  <a:pt x="193574" y="347920"/>
                </a:cubicBezTo>
                <a:cubicBezTo>
                  <a:pt x="190914" y="347920"/>
                  <a:pt x="186923" y="347457"/>
                  <a:pt x="182758" y="346995"/>
                </a:cubicBezTo>
                <a:cubicBezTo>
                  <a:pt x="178593" y="346532"/>
                  <a:pt x="172172" y="345838"/>
                  <a:pt x="167776" y="345838"/>
                </a:cubicBezTo>
                <a:cubicBezTo>
                  <a:pt x="163380" y="345838"/>
                  <a:pt x="161066" y="346705"/>
                  <a:pt x="160603" y="347284"/>
                </a:cubicBezTo>
                <a:cubicBezTo>
                  <a:pt x="159117" y="349465"/>
                  <a:pt x="157856" y="351790"/>
                  <a:pt x="156843" y="354225"/>
                </a:cubicBezTo>
                <a:cubicBezTo>
                  <a:pt x="153835" y="360472"/>
                  <a:pt x="150770" y="366951"/>
                  <a:pt x="147010" y="366951"/>
                </a:cubicBezTo>
                <a:cubicBezTo>
                  <a:pt x="145275" y="366951"/>
                  <a:pt x="143828" y="365678"/>
                  <a:pt x="142614" y="363191"/>
                </a:cubicBezTo>
                <a:cubicBezTo>
                  <a:pt x="137928" y="353936"/>
                  <a:pt x="127169" y="352663"/>
                  <a:pt x="116815" y="351622"/>
                </a:cubicBezTo>
                <a:lnTo>
                  <a:pt x="111956" y="351043"/>
                </a:lnTo>
                <a:cubicBezTo>
                  <a:pt x="108497" y="350546"/>
                  <a:pt x="105217" y="349193"/>
                  <a:pt x="102412" y="347110"/>
                </a:cubicBezTo>
                <a:cubicBezTo>
                  <a:pt x="101128" y="346034"/>
                  <a:pt x="99560" y="345352"/>
                  <a:pt x="97900" y="345144"/>
                </a:cubicBezTo>
                <a:cubicBezTo>
                  <a:pt x="95644" y="345144"/>
                  <a:pt x="92810" y="347110"/>
                  <a:pt x="88703" y="351506"/>
                </a:cubicBezTo>
                <a:cubicBezTo>
                  <a:pt x="78291" y="361571"/>
                  <a:pt x="60590" y="374181"/>
                  <a:pt x="53071" y="374181"/>
                </a:cubicBezTo>
                <a:close/>
                <a:moveTo>
                  <a:pt x="2399" y="216440"/>
                </a:moveTo>
                <a:cubicBezTo>
                  <a:pt x="3209" y="216845"/>
                  <a:pt x="3787" y="217828"/>
                  <a:pt x="4597" y="219332"/>
                </a:cubicBezTo>
                <a:cubicBezTo>
                  <a:pt x="6737" y="223300"/>
                  <a:pt x="9699" y="226771"/>
                  <a:pt x="13274" y="229513"/>
                </a:cubicBezTo>
                <a:cubicBezTo>
                  <a:pt x="19058" y="233620"/>
                  <a:pt x="18133" y="239231"/>
                  <a:pt x="17496" y="244668"/>
                </a:cubicBezTo>
                <a:cubicBezTo>
                  <a:pt x="16201" y="249481"/>
                  <a:pt x="17086" y="254623"/>
                  <a:pt x="19926" y="258724"/>
                </a:cubicBezTo>
                <a:cubicBezTo>
                  <a:pt x="22471" y="261703"/>
                  <a:pt x="25386" y="264347"/>
                  <a:pt x="28603" y="266591"/>
                </a:cubicBezTo>
                <a:cubicBezTo>
                  <a:pt x="31263" y="268558"/>
                  <a:pt x="33172" y="270004"/>
                  <a:pt x="33288" y="271970"/>
                </a:cubicBezTo>
                <a:cubicBezTo>
                  <a:pt x="33155" y="273474"/>
                  <a:pt x="32345" y="274834"/>
                  <a:pt x="31090" y="275673"/>
                </a:cubicBezTo>
                <a:cubicBezTo>
                  <a:pt x="29117" y="278009"/>
                  <a:pt x="28325" y="281122"/>
                  <a:pt x="28950" y="284118"/>
                </a:cubicBezTo>
                <a:cubicBezTo>
                  <a:pt x="29783" y="288138"/>
                  <a:pt x="28417" y="292303"/>
                  <a:pt x="25363" y="295050"/>
                </a:cubicBezTo>
                <a:cubicBezTo>
                  <a:pt x="23894" y="296323"/>
                  <a:pt x="23252" y="298307"/>
                  <a:pt x="23686" y="300198"/>
                </a:cubicBezTo>
                <a:cubicBezTo>
                  <a:pt x="25005" y="306758"/>
                  <a:pt x="29071" y="312444"/>
                  <a:pt x="34850" y="315817"/>
                </a:cubicBezTo>
                <a:cubicBezTo>
                  <a:pt x="39130" y="317668"/>
                  <a:pt x="39767" y="322700"/>
                  <a:pt x="40634" y="327964"/>
                </a:cubicBezTo>
                <a:cubicBezTo>
                  <a:pt x="40652" y="332719"/>
                  <a:pt x="42237" y="337334"/>
                  <a:pt x="45146" y="341094"/>
                </a:cubicBezTo>
                <a:cubicBezTo>
                  <a:pt x="50063" y="346011"/>
                  <a:pt x="50468" y="354977"/>
                  <a:pt x="50931" y="362208"/>
                </a:cubicBezTo>
                <a:cubicBezTo>
                  <a:pt x="50850" y="365268"/>
                  <a:pt x="51197" y="368328"/>
                  <a:pt x="51972" y="371289"/>
                </a:cubicBezTo>
                <a:cubicBezTo>
                  <a:pt x="51972" y="371289"/>
                  <a:pt x="52261" y="371926"/>
                  <a:pt x="53476" y="371926"/>
                </a:cubicBezTo>
                <a:cubicBezTo>
                  <a:pt x="59607" y="371926"/>
                  <a:pt x="76613" y="360357"/>
                  <a:pt x="87257" y="349135"/>
                </a:cubicBezTo>
                <a:cubicBezTo>
                  <a:pt x="91942" y="344218"/>
                  <a:pt x="95182" y="342078"/>
                  <a:pt x="98131" y="342078"/>
                </a:cubicBezTo>
                <a:cubicBezTo>
                  <a:pt x="100254" y="342269"/>
                  <a:pt x="102273" y="343096"/>
                  <a:pt x="103916" y="344449"/>
                </a:cubicBezTo>
                <a:cubicBezTo>
                  <a:pt x="106467" y="346295"/>
                  <a:pt x="109423" y="347503"/>
                  <a:pt x="112535" y="347978"/>
                </a:cubicBezTo>
                <a:lnTo>
                  <a:pt x="117336" y="348556"/>
                </a:lnTo>
                <a:cubicBezTo>
                  <a:pt x="128326" y="349829"/>
                  <a:pt x="139721" y="351159"/>
                  <a:pt x="144870" y="361513"/>
                </a:cubicBezTo>
                <a:cubicBezTo>
                  <a:pt x="145680" y="363133"/>
                  <a:pt x="146547" y="364058"/>
                  <a:pt x="147299" y="364058"/>
                </a:cubicBezTo>
                <a:cubicBezTo>
                  <a:pt x="149613" y="364058"/>
                  <a:pt x="153083" y="357175"/>
                  <a:pt x="155108" y="352490"/>
                </a:cubicBezTo>
                <a:cubicBezTo>
                  <a:pt x="156196" y="349887"/>
                  <a:pt x="157555" y="347405"/>
                  <a:pt x="159157" y="345086"/>
                </a:cubicBezTo>
                <a:cubicBezTo>
                  <a:pt x="160430" y="343524"/>
                  <a:pt x="163264" y="342772"/>
                  <a:pt x="168065" y="342772"/>
                </a:cubicBezTo>
                <a:cubicBezTo>
                  <a:pt x="172866" y="342772"/>
                  <a:pt x="178246" y="343466"/>
                  <a:pt x="183278" y="343987"/>
                </a:cubicBezTo>
                <a:cubicBezTo>
                  <a:pt x="188311" y="344507"/>
                  <a:pt x="191319" y="344912"/>
                  <a:pt x="193864" y="344912"/>
                </a:cubicBezTo>
                <a:cubicBezTo>
                  <a:pt x="194569" y="345033"/>
                  <a:pt x="195298" y="345033"/>
                  <a:pt x="196004" y="344912"/>
                </a:cubicBezTo>
                <a:cubicBezTo>
                  <a:pt x="199533" y="343755"/>
                  <a:pt x="204276" y="310842"/>
                  <a:pt x="203350" y="304421"/>
                </a:cubicBezTo>
                <a:cubicBezTo>
                  <a:pt x="202425" y="298000"/>
                  <a:pt x="215729" y="283539"/>
                  <a:pt x="224868" y="277466"/>
                </a:cubicBezTo>
                <a:cubicBezTo>
                  <a:pt x="230988" y="274278"/>
                  <a:pt x="237895" y="272913"/>
                  <a:pt x="244767" y="273532"/>
                </a:cubicBezTo>
                <a:cubicBezTo>
                  <a:pt x="249278" y="273868"/>
                  <a:pt x="253808" y="273254"/>
                  <a:pt x="258071" y="271739"/>
                </a:cubicBezTo>
                <a:cubicBezTo>
                  <a:pt x="265145" y="268945"/>
                  <a:pt x="272758" y="267777"/>
                  <a:pt x="280341" y="268326"/>
                </a:cubicBezTo>
                <a:lnTo>
                  <a:pt x="290117" y="268326"/>
                </a:lnTo>
                <a:cubicBezTo>
                  <a:pt x="296393" y="268864"/>
                  <a:pt x="302357" y="271329"/>
                  <a:pt x="307181" y="275383"/>
                </a:cubicBezTo>
                <a:cubicBezTo>
                  <a:pt x="309674" y="277541"/>
                  <a:pt x="312682" y="279016"/>
                  <a:pt x="315915" y="279664"/>
                </a:cubicBezTo>
                <a:cubicBezTo>
                  <a:pt x="318859" y="279305"/>
                  <a:pt x="321526" y="277732"/>
                  <a:pt x="323262" y="275326"/>
                </a:cubicBezTo>
                <a:cubicBezTo>
                  <a:pt x="326738" y="271311"/>
                  <a:pt x="328375" y="266024"/>
                  <a:pt x="327773" y="260749"/>
                </a:cubicBezTo>
                <a:cubicBezTo>
                  <a:pt x="327403" y="255733"/>
                  <a:pt x="328057" y="250695"/>
                  <a:pt x="329682" y="245940"/>
                </a:cubicBezTo>
                <a:cubicBezTo>
                  <a:pt x="332065" y="239358"/>
                  <a:pt x="332528" y="232237"/>
                  <a:pt x="331012" y="225406"/>
                </a:cubicBezTo>
                <a:cubicBezTo>
                  <a:pt x="329341" y="220923"/>
                  <a:pt x="326553" y="216943"/>
                  <a:pt x="322914" y="213837"/>
                </a:cubicBezTo>
                <a:cubicBezTo>
                  <a:pt x="318015" y="210106"/>
                  <a:pt x="315042" y="204374"/>
                  <a:pt x="314816" y="198219"/>
                </a:cubicBezTo>
                <a:cubicBezTo>
                  <a:pt x="314816" y="187807"/>
                  <a:pt x="311924" y="185436"/>
                  <a:pt x="299487" y="185436"/>
                </a:cubicBezTo>
                <a:lnTo>
                  <a:pt x="293356" y="185436"/>
                </a:lnTo>
                <a:cubicBezTo>
                  <a:pt x="291852" y="185436"/>
                  <a:pt x="290348" y="185436"/>
                  <a:pt x="288902" y="185436"/>
                </a:cubicBezTo>
                <a:cubicBezTo>
                  <a:pt x="267847" y="185436"/>
                  <a:pt x="262814" y="177395"/>
                  <a:pt x="262293" y="170570"/>
                </a:cubicBezTo>
                <a:cubicBezTo>
                  <a:pt x="261767" y="166769"/>
                  <a:pt x="260529" y="163096"/>
                  <a:pt x="258649" y="159753"/>
                </a:cubicBezTo>
                <a:cubicBezTo>
                  <a:pt x="256278" y="154894"/>
                  <a:pt x="253848" y="149803"/>
                  <a:pt x="259691" y="146853"/>
                </a:cubicBezTo>
                <a:cubicBezTo>
                  <a:pt x="260535" y="146552"/>
                  <a:pt x="261218" y="145928"/>
                  <a:pt x="261599" y="145118"/>
                </a:cubicBezTo>
                <a:cubicBezTo>
                  <a:pt x="261946" y="143730"/>
                  <a:pt x="260558" y="141590"/>
                  <a:pt x="259112" y="139334"/>
                </a:cubicBezTo>
                <a:cubicBezTo>
                  <a:pt x="256260" y="135793"/>
                  <a:pt x="254820" y="131322"/>
                  <a:pt x="255063" y="126781"/>
                </a:cubicBezTo>
                <a:cubicBezTo>
                  <a:pt x="256394" y="118741"/>
                  <a:pt x="251939" y="115213"/>
                  <a:pt x="246733" y="110758"/>
                </a:cubicBezTo>
                <a:lnTo>
                  <a:pt x="244940" y="109254"/>
                </a:lnTo>
                <a:cubicBezTo>
                  <a:pt x="242187" y="107866"/>
                  <a:pt x="239098" y="107305"/>
                  <a:pt x="236032" y="107635"/>
                </a:cubicBezTo>
                <a:lnTo>
                  <a:pt x="231520" y="107635"/>
                </a:lnTo>
                <a:lnTo>
                  <a:pt x="226951" y="107635"/>
                </a:lnTo>
                <a:cubicBezTo>
                  <a:pt x="224180" y="107762"/>
                  <a:pt x="221409" y="107450"/>
                  <a:pt x="218737" y="106709"/>
                </a:cubicBezTo>
                <a:cubicBezTo>
                  <a:pt x="216348" y="106264"/>
                  <a:pt x="214618" y="104170"/>
                  <a:pt x="214630" y="101735"/>
                </a:cubicBezTo>
                <a:cubicBezTo>
                  <a:pt x="214630" y="92827"/>
                  <a:pt x="196756" y="92364"/>
                  <a:pt x="193170" y="92364"/>
                </a:cubicBezTo>
                <a:cubicBezTo>
                  <a:pt x="188427" y="92364"/>
                  <a:pt x="187385" y="89009"/>
                  <a:pt x="186807" y="86580"/>
                </a:cubicBezTo>
                <a:cubicBezTo>
                  <a:pt x="186228" y="84150"/>
                  <a:pt x="185361" y="82415"/>
                  <a:pt x="181948" y="82646"/>
                </a:cubicBezTo>
                <a:cubicBezTo>
                  <a:pt x="178928" y="83016"/>
                  <a:pt x="175880" y="82253"/>
                  <a:pt x="173387" y="80506"/>
                </a:cubicBezTo>
                <a:cubicBezTo>
                  <a:pt x="171235" y="79008"/>
                  <a:pt x="168661" y="78238"/>
                  <a:pt x="166041" y="78308"/>
                </a:cubicBezTo>
                <a:cubicBezTo>
                  <a:pt x="165057" y="78308"/>
                  <a:pt x="163900" y="78308"/>
                  <a:pt x="162628" y="78308"/>
                </a:cubicBezTo>
                <a:cubicBezTo>
                  <a:pt x="149613" y="80101"/>
                  <a:pt x="142093" y="73738"/>
                  <a:pt x="129309" y="58525"/>
                </a:cubicBezTo>
                <a:cubicBezTo>
                  <a:pt x="116526" y="43312"/>
                  <a:pt x="117741" y="13001"/>
                  <a:pt x="120170" y="4209"/>
                </a:cubicBezTo>
                <a:cubicBezTo>
                  <a:pt x="120413" y="3637"/>
                  <a:pt x="120413" y="2989"/>
                  <a:pt x="120170" y="2416"/>
                </a:cubicBezTo>
                <a:cubicBezTo>
                  <a:pt x="120170" y="2127"/>
                  <a:pt x="119187" y="1606"/>
                  <a:pt x="116699" y="1606"/>
                </a:cubicBezTo>
                <a:cubicBezTo>
                  <a:pt x="113455" y="1739"/>
                  <a:pt x="110227" y="2127"/>
                  <a:pt x="107040" y="2763"/>
                </a:cubicBezTo>
                <a:cubicBezTo>
                  <a:pt x="103222" y="3469"/>
                  <a:pt x="99352" y="3897"/>
                  <a:pt x="95471" y="4036"/>
                </a:cubicBezTo>
                <a:cubicBezTo>
                  <a:pt x="87488" y="4036"/>
                  <a:pt x="79274" y="9010"/>
                  <a:pt x="70655" y="14332"/>
                </a:cubicBezTo>
                <a:cubicBezTo>
                  <a:pt x="68400" y="15720"/>
                  <a:pt x="66086" y="17108"/>
                  <a:pt x="63714" y="18439"/>
                </a:cubicBezTo>
                <a:cubicBezTo>
                  <a:pt x="59723" y="20683"/>
                  <a:pt x="55564" y="22615"/>
                  <a:pt x="51278" y="24223"/>
                </a:cubicBezTo>
                <a:cubicBezTo>
                  <a:pt x="47333" y="25346"/>
                  <a:pt x="43677" y="27318"/>
                  <a:pt x="40577" y="30008"/>
                </a:cubicBezTo>
                <a:cubicBezTo>
                  <a:pt x="34185" y="36515"/>
                  <a:pt x="24617" y="38765"/>
                  <a:pt x="15993" y="35792"/>
                </a:cubicBezTo>
                <a:cubicBezTo>
                  <a:pt x="13725" y="34983"/>
                  <a:pt x="11377" y="34404"/>
                  <a:pt x="8993" y="34057"/>
                </a:cubicBezTo>
                <a:cubicBezTo>
                  <a:pt x="11597" y="39841"/>
                  <a:pt x="15588" y="47650"/>
                  <a:pt x="19174" y="54476"/>
                </a:cubicBezTo>
                <a:cubicBezTo>
                  <a:pt x="22760" y="61302"/>
                  <a:pt x="25884" y="67317"/>
                  <a:pt x="27099" y="70672"/>
                </a:cubicBezTo>
                <a:cubicBezTo>
                  <a:pt x="29268" y="75930"/>
                  <a:pt x="26995" y="81975"/>
                  <a:pt x="21893" y="84497"/>
                </a:cubicBezTo>
                <a:cubicBezTo>
                  <a:pt x="21065" y="85058"/>
                  <a:pt x="20290" y="85700"/>
                  <a:pt x="19579" y="86406"/>
                </a:cubicBezTo>
                <a:cubicBezTo>
                  <a:pt x="17207" y="88720"/>
                  <a:pt x="20562" y="112147"/>
                  <a:pt x="21661" y="119840"/>
                </a:cubicBezTo>
                <a:cubicBezTo>
                  <a:pt x="21951" y="121691"/>
                  <a:pt x="22182" y="123253"/>
                  <a:pt x="22298" y="124236"/>
                </a:cubicBezTo>
                <a:cubicBezTo>
                  <a:pt x="22055" y="128384"/>
                  <a:pt x="20672" y="132386"/>
                  <a:pt x="18306" y="135805"/>
                </a:cubicBezTo>
                <a:cubicBezTo>
                  <a:pt x="15877" y="140201"/>
                  <a:pt x="13448" y="144713"/>
                  <a:pt x="15414" y="146391"/>
                </a:cubicBezTo>
                <a:cubicBezTo>
                  <a:pt x="18942" y="149283"/>
                  <a:pt x="16166" y="154662"/>
                  <a:pt x="13274" y="160331"/>
                </a:cubicBezTo>
                <a:cubicBezTo>
                  <a:pt x="11290" y="163507"/>
                  <a:pt x="9971" y="167047"/>
                  <a:pt x="9398" y="170743"/>
                </a:cubicBezTo>
                <a:cubicBezTo>
                  <a:pt x="9398" y="173924"/>
                  <a:pt x="11944" y="175486"/>
                  <a:pt x="14604" y="177106"/>
                </a:cubicBezTo>
                <a:cubicBezTo>
                  <a:pt x="17265" y="178725"/>
                  <a:pt x="19868" y="180287"/>
                  <a:pt x="19868" y="183585"/>
                </a:cubicBezTo>
                <a:cubicBezTo>
                  <a:pt x="19868" y="189831"/>
                  <a:pt x="10555" y="203078"/>
                  <a:pt x="4771" y="206375"/>
                </a:cubicBezTo>
                <a:cubicBezTo>
                  <a:pt x="2341" y="208400"/>
                  <a:pt x="1763" y="211292"/>
                  <a:pt x="2399" y="21644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7" name="Forma libre: forma 386">
            <a:extLst>
              <a:ext uri="{FF2B5EF4-FFF2-40B4-BE49-F238E27FC236}">
                <a16:creationId xmlns:a16="http://schemas.microsoft.com/office/drawing/2014/main" id="{4D6F8DA9-230F-558D-31CF-E1294DEBDD39}"/>
              </a:ext>
            </a:extLst>
          </p:cNvPr>
          <p:cNvSpPr/>
          <p:nvPr/>
        </p:nvSpPr>
        <p:spPr>
          <a:xfrm>
            <a:off x="3943964" y="4486873"/>
            <a:ext cx="349833" cy="513380"/>
          </a:xfrm>
          <a:custGeom>
            <a:avLst/>
            <a:gdLst>
              <a:gd name="connsiteX0" fmla="*/ 305232 w 349833"/>
              <a:gd name="connsiteY0" fmla="*/ 512441 h 513380"/>
              <a:gd name="connsiteX1" fmla="*/ 304711 w 349833"/>
              <a:gd name="connsiteY1" fmla="*/ 512441 h 513380"/>
              <a:gd name="connsiteX2" fmla="*/ 304075 w 349833"/>
              <a:gd name="connsiteY2" fmla="*/ 511400 h 513380"/>
              <a:gd name="connsiteX3" fmla="*/ 303091 w 349833"/>
              <a:gd name="connsiteY3" fmla="*/ 507293 h 513380"/>
              <a:gd name="connsiteX4" fmla="*/ 301240 w 349833"/>
              <a:gd name="connsiteY4" fmla="*/ 506252 h 513380"/>
              <a:gd name="connsiteX5" fmla="*/ 270005 w 349833"/>
              <a:gd name="connsiteY5" fmla="*/ 482015 h 513380"/>
              <a:gd name="connsiteX6" fmla="*/ 191683 w 349833"/>
              <a:gd name="connsiteY6" fmla="*/ 434062 h 513380"/>
              <a:gd name="connsiteX7" fmla="*/ 157324 w 349833"/>
              <a:gd name="connsiteY7" fmla="*/ 410925 h 513380"/>
              <a:gd name="connsiteX8" fmla="*/ 148532 w 349833"/>
              <a:gd name="connsiteY8" fmla="*/ 403810 h 513380"/>
              <a:gd name="connsiteX9" fmla="*/ 137946 w 349833"/>
              <a:gd name="connsiteY9" fmla="*/ 377491 h 513380"/>
              <a:gd name="connsiteX10" fmla="*/ 121634 w 349833"/>
              <a:gd name="connsiteY10" fmla="*/ 343594 h 513380"/>
              <a:gd name="connsiteX11" fmla="*/ 79119 w 349833"/>
              <a:gd name="connsiteY11" fmla="*/ 262612 h 513380"/>
              <a:gd name="connsiteX12" fmla="*/ 72235 w 349833"/>
              <a:gd name="connsiteY12" fmla="*/ 244564 h 513380"/>
              <a:gd name="connsiteX13" fmla="*/ 59914 w 349833"/>
              <a:gd name="connsiteY13" fmla="*/ 221138 h 513380"/>
              <a:gd name="connsiteX14" fmla="*/ 48056 w 349833"/>
              <a:gd name="connsiteY14" fmla="*/ 203784 h 513380"/>
              <a:gd name="connsiteX15" fmla="*/ 32843 w 349833"/>
              <a:gd name="connsiteY15" fmla="*/ 183539 h 513380"/>
              <a:gd name="connsiteX16" fmla="*/ 21853 w 349833"/>
              <a:gd name="connsiteY16" fmla="*/ 176482 h 513380"/>
              <a:gd name="connsiteX17" fmla="*/ 2706 w 349833"/>
              <a:gd name="connsiteY17" fmla="*/ 158839 h 513380"/>
              <a:gd name="connsiteX18" fmla="*/ 9011 w 349833"/>
              <a:gd name="connsiteY18" fmla="*/ 154501 h 513380"/>
              <a:gd name="connsiteX19" fmla="*/ 11267 w 349833"/>
              <a:gd name="connsiteY19" fmla="*/ 154096 h 513380"/>
              <a:gd name="connsiteX20" fmla="*/ 11267 w 349833"/>
              <a:gd name="connsiteY20" fmla="*/ 152014 h 513380"/>
              <a:gd name="connsiteX21" fmla="*/ 7565 w 349833"/>
              <a:gd name="connsiteY21" fmla="*/ 143221 h 513380"/>
              <a:gd name="connsiteX22" fmla="*/ 1029 w 349833"/>
              <a:gd name="connsiteY22" fmla="*/ 113779 h 513380"/>
              <a:gd name="connsiteX23" fmla="*/ 24456 w 349833"/>
              <a:gd name="connsiteY23" fmla="*/ 89253 h 513380"/>
              <a:gd name="connsiteX24" fmla="*/ 25497 w 349833"/>
              <a:gd name="connsiteY24" fmla="*/ 89600 h 513380"/>
              <a:gd name="connsiteX25" fmla="*/ 30876 w 349833"/>
              <a:gd name="connsiteY25" fmla="*/ 105044 h 513380"/>
              <a:gd name="connsiteX26" fmla="*/ 28273 w 349833"/>
              <a:gd name="connsiteY26" fmla="*/ 108341 h 513380"/>
              <a:gd name="connsiteX27" fmla="*/ 30703 w 349833"/>
              <a:gd name="connsiteY27" fmla="*/ 117481 h 513380"/>
              <a:gd name="connsiteX28" fmla="*/ 36487 w 349833"/>
              <a:gd name="connsiteY28" fmla="*/ 119968 h 513380"/>
              <a:gd name="connsiteX29" fmla="*/ 40247 w 349833"/>
              <a:gd name="connsiteY29" fmla="*/ 119389 h 513380"/>
              <a:gd name="connsiteX30" fmla="*/ 44180 w 349833"/>
              <a:gd name="connsiteY30" fmla="*/ 118869 h 513380"/>
              <a:gd name="connsiteX31" fmla="*/ 51758 w 349833"/>
              <a:gd name="connsiteY31" fmla="*/ 123323 h 513380"/>
              <a:gd name="connsiteX32" fmla="*/ 61418 w 349833"/>
              <a:gd name="connsiteY32" fmla="*/ 132000 h 513380"/>
              <a:gd name="connsiteX33" fmla="*/ 69400 w 349833"/>
              <a:gd name="connsiteY33" fmla="*/ 122281 h 513380"/>
              <a:gd name="connsiteX34" fmla="*/ 73970 w 349833"/>
              <a:gd name="connsiteY34" fmla="*/ 110250 h 513380"/>
              <a:gd name="connsiteX35" fmla="*/ 94736 w 349833"/>
              <a:gd name="connsiteY35" fmla="*/ 78089 h 513380"/>
              <a:gd name="connsiteX36" fmla="*/ 99884 w 349833"/>
              <a:gd name="connsiteY36" fmla="*/ 76585 h 513380"/>
              <a:gd name="connsiteX37" fmla="*/ 147838 w 349833"/>
              <a:gd name="connsiteY37" fmla="*/ 49398 h 513380"/>
              <a:gd name="connsiteX38" fmla="*/ 158076 w 349833"/>
              <a:gd name="connsiteY38" fmla="*/ 29904 h 513380"/>
              <a:gd name="connsiteX39" fmla="*/ 163050 w 349833"/>
              <a:gd name="connsiteY39" fmla="*/ 21806 h 513380"/>
              <a:gd name="connsiteX40" fmla="*/ 165711 w 349833"/>
              <a:gd name="connsiteY40" fmla="*/ 17873 h 513380"/>
              <a:gd name="connsiteX41" fmla="*/ 156572 w 349833"/>
              <a:gd name="connsiteY41" fmla="*/ 3932 h 513380"/>
              <a:gd name="connsiteX42" fmla="*/ 156572 w 349833"/>
              <a:gd name="connsiteY42" fmla="*/ 2833 h 513380"/>
              <a:gd name="connsiteX43" fmla="*/ 157440 w 349833"/>
              <a:gd name="connsiteY43" fmla="*/ 2081 h 513380"/>
              <a:gd name="connsiteX44" fmla="*/ 181792 w 349833"/>
              <a:gd name="connsiteY44" fmla="*/ 1503 h 513380"/>
              <a:gd name="connsiteX45" fmla="*/ 188560 w 349833"/>
              <a:gd name="connsiteY45" fmla="*/ 13072 h 513380"/>
              <a:gd name="connsiteX46" fmla="*/ 197410 w 349833"/>
              <a:gd name="connsiteY46" fmla="*/ 24236 h 513380"/>
              <a:gd name="connsiteX47" fmla="*/ 212102 w 349833"/>
              <a:gd name="connsiteY47" fmla="*/ 32739 h 513380"/>
              <a:gd name="connsiteX48" fmla="*/ 215573 w 349833"/>
              <a:gd name="connsiteY48" fmla="*/ 42688 h 513380"/>
              <a:gd name="connsiteX49" fmla="*/ 219622 w 349833"/>
              <a:gd name="connsiteY49" fmla="*/ 48472 h 513380"/>
              <a:gd name="connsiteX50" fmla="*/ 226043 w 349833"/>
              <a:gd name="connsiteY50" fmla="*/ 60041 h 513380"/>
              <a:gd name="connsiteX51" fmla="*/ 226621 w 349833"/>
              <a:gd name="connsiteY51" fmla="*/ 61892 h 513380"/>
              <a:gd name="connsiteX52" fmla="*/ 240735 w 349833"/>
              <a:gd name="connsiteY52" fmla="*/ 65016 h 513380"/>
              <a:gd name="connsiteX53" fmla="*/ 255601 w 349833"/>
              <a:gd name="connsiteY53" fmla="*/ 62818 h 513380"/>
              <a:gd name="connsiteX54" fmla="*/ 266708 w 349833"/>
              <a:gd name="connsiteY54" fmla="*/ 59289 h 513380"/>
              <a:gd name="connsiteX55" fmla="*/ 273012 w 349833"/>
              <a:gd name="connsiteY55" fmla="*/ 60851 h 513380"/>
              <a:gd name="connsiteX56" fmla="*/ 281863 w 349833"/>
              <a:gd name="connsiteY56" fmla="*/ 60446 h 513380"/>
              <a:gd name="connsiteX57" fmla="*/ 290944 w 349833"/>
              <a:gd name="connsiteY57" fmla="*/ 59810 h 513380"/>
              <a:gd name="connsiteX58" fmla="*/ 311826 w 349833"/>
              <a:gd name="connsiteY58" fmla="*/ 73577 h 513380"/>
              <a:gd name="connsiteX59" fmla="*/ 311479 w 349833"/>
              <a:gd name="connsiteY59" fmla="*/ 77568 h 513380"/>
              <a:gd name="connsiteX60" fmla="*/ 305174 w 349833"/>
              <a:gd name="connsiteY60" fmla="*/ 85493 h 513380"/>
              <a:gd name="connsiteX61" fmla="*/ 297191 w 349833"/>
              <a:gd name="connsiteY61" fmla="*/ 99317 h 513380"/>
              <a:gd name="connsiteX62" fmla="*/ 304190 w 349833"/>
              <a:gd name="connsiteY62" fmla="*/ 105102 h 513380"/>
              <a:gd name="connsiteX63" fmla="*/ 313388 w 349833"/>
              <a:gd name="connsiteY63" fmla="*/ 112332 h 513380"/>
              <a:gd name="connsiteX64" fmla="*/ 313388 w 349833"/>
              <a:gd name="connsiteY64" fmla="*/ 113489 h 513380"/>
              <a:gd name="connsiteX65" fmla="*/ 312462 w 349833"/>
              <a:gd name="connsiteY65" fmla="*/ 114126 h 513380"/>
              <a:gd name="connsiteX66" fmla="*/ 305521 w 349833"/>
              <a:gd name="connsiteY66" fmla="*/ 113027 h 513380"/>
              <a:gd name="connsiteX67" fmla="*/ 299389 w 349833"/>
              <a:gd name="connsiteY67" fmla="*/ 111985 h 513380"/>
              <a:gd name="connsiteX68" fmla="*/ 290944 w 349833"/>
              <a:gd name="connsiteY68" fmla="*/ 115398 h 513380"/>
              <a:gd name="connsiteX69" fmla="*/ 274863 w 349833"/>
              <a:gd name="connsiteY69" fmla="*/ 121183 h 513380"/>
              <a:gd name="connsiteX70" fmla="*/ 257857 w 349833"/>
              <a:gd name="connsiteY70" fmla="*/ 127430 h 513380"/>
              <a:gd name="connsiteX71" fmla="*/ 243917 w 349833"/>
              <a:gd name="connsiteY71" fmla="*/ 134255 h 513380"/>
              <a:gd name="connsiteX72" fmla="*/ 234025 w 349833"/>
              <a:gd name="connsiteY72" fmla="*/ 142701 h 513380"/>
              <a:gd name="connsiteX73" fmla="*/ 228935 w 349833"/>
              <a:gd name="connsiteY73" fmla="*/ 155369 h 513380"/>
              <a:gd name="connsiteX74" fmla="*/ 225117 w 349833"/>
              <a:gd name="connsiteY74" fmla="*/ 168268 h 513380"/>
              <a:gd name="connsiteX75" fmla="*/ 219911 w 349833"/>
              <a:gd name="connsiteY75" fmla="*/ 178911 h 513380"/>
              <a:gd name="connsiteX76" fmla="*/ 212739 w 349833"/>
              <a:gd name="connsiteY76" fmla="*/ 183828 h 513380"/>
              <a:gd name="connsiteX77" fmla="*/ 210251 w 349833"/>
              <a:gd name="connsiteY77" fmla="*/ 193141 h 513380"/>
              <a:gd name="connsiteX78" fmla="*/ 208747 w 349833"/>
              <a:gd name="connsiteY78" fmla="*/ 201528 h 513380"/>
              <a:gd name="connsiteX79" fmla="*/ 214532 w 349833"/>
              <a:gd name="connsiteY79" fmla="*/ 221369 h 513380"/>
              <a:gd name="connsiteX80" fmla="*/ 215978 w 349833"/>
              <a:gd name="connsiteY80" fmla="*/ 223625 h 513380"/>
              <a:gd name="connsiteX81" fmla="*/ 219911 w 349833"/>
              <a:gd name="connsiteY81" fmla="*/ 229409 h 513380"/>
              <a:gd name="connsiteX82" fmla="*/ 227489 w 349833"/>
              <a:gd name="connsiteY82" fmla="*/ 247746 h 513380"/>
              <a:gd name="connsiteX83" fmla="*/ 229224 w 349833"/>
              <a:gd name="connsiteY83" fmla="*/ 254167 h 513380"/>
              <a:gd name="connsiteX84" fmla="*/ 239926 w 349833"/>
              <a:gd name="connsiteY84" fmla="*/ 257059 h 513380"/>
              <a:gd name="connsiteX85" fmla="*/ 246288 w 349833"/>
              <a:gd name="connsiteY85" fmla="*/ 263942 h 513380"/>
              <a:gd name="connsiteX86" fmla="*/ 254618 w 349833"/>
              <a:gd name="connsiteY86" fmla="*/ 272387 h 513380"/>
              <a:gd name="connsiteX87" fmla="*/ 264104 w 349833"/>
              <a:gd name="connsiteY87" fmla="*/ 272735 h 513380"/>
              <a:gd name="connsiteX88" fmla="*/ 271855 w 349833"/>
              <a:gd name="connsiteY88" fmla="*/ 273082 h 513380"/>
              <a:gd name="connsiteX89" fmla="*/ 282673 w 349833"/>
              <a:gd name="connsiteY89" fmla="*/ 269033 h 513380"/>
              <a:gd name="connsiteX90" fmla="*/ 292564 w 349833"/>
              <a:gd name="connsiteY90" fmla="*/ 260125 h 513380"/>
              <a:gd name="connsiteX91" fmla="*/ 296902 w 349833"/>
              <a:gd name="connsiteY91" fmla="*/ 267066 h 513380"/>
              <a:gd name="connsiteX92" fmla="*/ 296902 w 349833"/>
              <a:gd name="connsiteY92" fmla="*/ 272850 h 513380"/>
              <a:gd name="connsiteX93" fmla="*/ 299679 w 349833"/>
              <a:gd name="connsiteY93" fmla="*/ 300847 h 513380"/>
              <a:gd name="connsiteX94" fmla="*/ 301992 w 349833"/>
              <a:gd name="connsiteY94" fmla="*/ 301310 h 513380"/>
              <a:gd name="connsiteX95" fmla="*/ 317610 w 349833"/>
              <a:gd name="connsiteY95" fmla="*/ 299169 h 513380"/>
              <a:gd name="connsiteX96" fmla="*/ 329179 w 349833"/>
              <a:gd name="connsiteY96" fmla="*/ 299979 h 513380"/>
              <a:gd name="connsiteX97" fmla="*/ 330047 w 349833"/>
              <a:gd name="connsiteY97" fmla="*/ 300673 h 513380"/>
              <a:gd name="connsiteX98" fmla="*/ 340979 w 349833"/>
              <a:gd name="connsiteY98" fmla="*/ 322943 h 513380"/>
              <a:gd name="connsiteX99" fmla="*/ 348904 w 349833"/>
              <a:gd name="connsiteY99" fmla="*/ 339140 h 513380"/>
              <a:gd name="connsiteX100" fmla="*/ 343698 w 349833"/>
              <a:gd name="connsiteY100" fmla="*/ 352965 h 513380"/>
              <a:gd name="connsiteX101" fmla="*/ 341384 w 349833"/>
              <a:gd name="connsiteY101" fmla="*/ 354874 h 513380"/>
              <a:gd name="connsiteX102" fmla="*/ 343467 w 349833"/>
              <a:gd name="connsiteY102" fmla="*/ 388308 h 513380"/>
              <a:gd name="connsiteX103" fmla="*/ 344103 w 349833"/>
              <a:gd name="connsiteY103" fmla="*/ 392704 h 513380"/>
              <a:gd name="connsiteX104" fmla="*/ 340112 w 349833"/>
              <a:gd name="connsiteY104" fmla="*/ 404272 h 513380"/>
              <a:gd name="connsiteX105" fmla="*/ 337220 w 349833"/>
              <a:gd name="connsiteY105" fmla="*/ 414858 h 513380"/>
              <a:gd name="connsiteX106" fmla="*/ 335079 w 349833"/>
              <a:gd name="connsiteY106" fmla="*/ 428799 h 513380"/>
              <a:gd name="connsiteX107" fmla="*/ 331204 w 349833"/>
              <a:gd name="connsiteY107" fmla="*/ 439211 h 513380"/>
              <a:gd name="connsiteX108" fmla="*/ 336410 w 349833"/>
              <a:gd name="connsiteY108" fmla="*/ 445573 h 513380"/>
              <a:gd name="connsiteX109" fmla="*/ 341673 w 349833"/>
              <a:gd name="connsiteY109" fmla="*/ 452052 h 513380"/>
              <a:gd name="connsiteX110" fmla="*/ 326576 w 349833"/>
              <a:gd name="connsiteY110" fmla="*/ 474843 h 513380"/>
              <a:gd name="connsiteX111" fmla="*/ 324841 w 349833"/>
              <a:gd name="connsiteY111" fmla="*/ 484907 h 513380"/>
              <a:gd name="connsiteX112" fmla="*/ 324089 w 349833"/>
              <a:gd name="connsiteY112" fmla="*/ 486180 h 513380"/>
              <a:gd name="connsiteX113" fmla="*/ 324089 w 349833"/>
              <a:gd name="connsiteY113" fmla="*/ 486180 h 513380"/>
              <a:gd name="connsiteX114" fmla="*/ 323800 w 349833"/>
              <a:gd name="connsiteY114" fmla="*/ 486585 h 513380"/>
              <a:gd name="connsiteX115" fmla="*/ 321891 w 349833"/>
              <a:gd name="connsiteY115" fmla="*/ 492369 h 513380"/>
              <a:gd name="connsiteX116" fmla="*/ 311999 w 349833"/>
              <a:gd name="connsiteY116" fmla="*/ 509087 h 513380"/>
              <a:gd name="connsiteX117" fmla="*/ 306215 w 349833"/>
              <a:gd name="connsiteY117" fmla="*/ 513251 h 513380"/>
              <a:gd name="connsiteX118" fmla="*/ 305232 w 349833"/>
              <a:gd name="connsiteY118" fmla="*/ 512441 h 513380"/>
              <a:gd name="connsiteX119" fmla="*/ 24224 w 349833"/>
              <a:gd name="connsiteY119" fmla="*/ 91682 h 513380"/>
              <a:gd name="connsiteX120" fmla="*/ 2995 w 349833"/>
              <a:gd name="connsiteY120" fmla="*/ 114820 h 513380"/>
              <a:gd name="connsiteX121" fmla="*/ 9532 w 349833"/>
              <a:gd name="connsiteY121" fmla="*/ 142412 h 513380"/>
              <a:gd name="connsiteX122" fmla="*/ 13407 w 349833"/>
              <a:gd name="connsiteY122" fmla="*/ 151609 h 513380"/>
              <a:gd name="connsiteX123" fmla="*/ 13060 w 349833"/>
              <a:gd name="connsiteY123" fmla="*/ 155600 h 513380"/>
              <a:gd name="connsiteX124" fmla="*/ 9069 w 349833"/>
              <a:gd name="connsiteY124" fmla="*/ 156873 h 513380"/>
              <a:gd name="connsiteX125" fmla="*/ 4904 w 349833"/>
              <a:gd name="connsiteY125" fmla="*/ 159360 h 513380"/>
              <a:gd name="connsiteX126" fmla="*/ 23009 w 349833"/>
              <a:gd name="connsiteY126" fmla="*/ 174631 h 513380"/>
              <a:gd name="connsiteX127" fmla="*/ 34173 w 349833"/>
              <a:gd name="connsiteY127" fmla="*/ 181861 h 513380"/>
              <a:gd name="connsiteX128" fmla="*/ 49965 w 349833"/>
              <a:gd name="connsiteY128" fmla="*/ 202743 h 513380"/>
              <a:gd name="connsiteX129" fmla="*/ 61534 w 349833"/>
              <a:gd name="connsiteY129" fmla="*/ 219518 h 513380"/>
              <a:gd name="connsiteX130" fmla="*/ 74259 w 349833"/>
              <a:gd name="connsiteY130" fmla="*/ 243754 h 513380"/>
              <a:gd name="connsiteX131" fmla="*/ 81143 w 349833"/>
              <a:gd name="connsiteY131" fmla="*/ 261686 h 513380"/>
              <a:gd name="connsiteX132" fmla="*/ 123369 w 349833"/>
              <a:gd name="connsiteY132" fmla="*/ 341974 h 513380"/>
              <a:gd name="connsiteX133" fmla="*/ 139797 w 349833"/>
              <a:gd name="connsiteY133" fmla="*/ 378416 h 513380"/>
              <a:gd name="connsiteX134" fmla="*/ 149746 w 349833"/>
              <a:gd name="connsiteY134" fmla="*/ 401554 h 513380"/>
              <a:gd name="connsiteX135" fmla="*/ 158712 w 349833"/>
              <a:gd name="connsiteY135" fmla="*/ 408784 h 513380"/>
              <a:gd name="connsiteX136" fmla="*/ 192667 w 349833"/>
              <a:gd name="connsiteY136" fmla="*/ 431922 h 513380"/>
              <a:gd name="connsiteX137" fmla="*/ 271855 w 349833"/>
              <a:gd name="connsiteY137" fmla="*/ 480801 h 513380"/>
              <a:gd name="connsiteX138" fmla="*/ 302224 w 349833"/>
              <a:gd name="connsiteY138" fmla="*/ 503938 h 513380"/>
              <a:gd name="connsiteX139" fmla="*/ 304190 w 349833"/>
              <a:gd name="connsiteY139" fmla="*/ 505037 h 513380"/>
              <a:gd name="connsiteX140" fmla="*/ 306157 w 349833"/>
              <a:gd name="connsiteY140" fmla="*/ 508855 h 513380"/>
              <a:gd name="connsiteX141" fmla="*/ 310611 w 349833"/>
              <a:gd name="connsiteY141" fmla="*/ 505789 h 513380"/>
              <a:gd name="connsiteX142" fmla="*/ 319288 w 349833"/>
              <a:gd name="connsiteY142" fmla="*/ 490518 h 513380"/>
              <a:gd name="connsiteX143" fmla="*/ 321428 w 349833"/>
              <a:gd name="connsiteY143" fmla="*/ 484734 h 513380"/>
              <a:gd name="connsiteX144" fmla="*/ 322122 w 349833"/>
              <a:gd name="connsiteY144" fmla="*/ 483866 h 513380"/>
              <a:gd name="connsiteX145" fmla="*/ 325072 w 349833"/>
              <a:gd name="connsiteY145" fmla="*/ 472297 h 513380"/>
              <a:gd name="connsiteX146" fmla="*/ 339013 w 349833"/>
              <a:gd name="connsiteY146" fmla="*/ 451474 h 513380"/>
              <a:gd name="connsiteX147" fmla="*/ 334848 w 349833"/>
              <a:gd name="connsiteY147" fmla="*/ 446904 h 513380"/>
              <a:gd name="connsiteX148" fmla="*/ 328543 w 349833"/>
              <a:gd name="connsiteY148" fmla="*/ 438632 h 513380"/>
              <a:gd name="connsiteX149" fmla="*/ 332650 w 349833"/>
              <a:gd name="connsiteY149" fmla="*/ 427063 h 513380"/>
              <a:gd name="connsiteX150" fmla="*/ 335369 w 349833"/>
              <a:gd name="connsiteY150" fmla="*/ 415899 h 513380"/>
              <a:gd name="connsiteX151" fmla="*/ 337682 w 349833"/>
              <a:gd name="connsiteY151" fmla="*/ 402479 h 513380"/>
              <a:gd name="connsiteX152" fmla="*/ 341442 w 349833"/>
              <a:gd name="connsiteY152" fmla="*/ 392588 h 513380"/>
              <a:gd name="connsiteX153" fmla="*/ 340864 w 349833"/>
              <a:gd name="connsiteY153" fmla="*/ 388192 h 513380"/>
              <a:gd name="connsiteX154" fmla="*/ 339360 w 349833"/>
              <a:gd name="connsiteY154" fmla="*/ 352849 h 513380"/>
              <a:gd name="connsiteX155" fmla="*/ 341905 w 349833"/>
              <a:gd name="connsiteY155" fmla="*/ 350766 h 513380"/>
              <a:gd name="connsiteX156" fmla="*/ 346359 w 349833"/>
              <a:gd name="connsiteY156" fmla="*/ 339545 h 513380"/>
              <a:gd name="connsiteX157" fmla="*/ 338550 w 349833"/>
              <a:gd name="connsiteY157" fmla="*/ 323580 h 513380"/>
              <a:gd name="connsiteX158" fmla="*/ 327791 w 349833"/>
              <a:gd name="connsiteY158" fmla="*/ 301715 h 513380"/>
              <a:gd name="connsiteX159" fmla="*/ 317437 w 349833"/>
              <a:gd name="connsiteY159" fmla="*/ 301078 h 513380"/>
              <a:gd name="connsiteX160" fmla="*/ 302571 w 349833"/>
              <a:gd name="connsiteY160" fmla="*/ 302987 h 513380"/>
              <a:gd name="connsiteX161" fmla="*/ 298059 w 349833"/>
              <a:gd name="connsiteY161" fmla="*/ 301772 h 513380"/>
              <a:gd name="connsiteX162" fmla="*/ 294646 w 349833"/>
              <a:gd name="connsiteY162" fmla="*/ 272156 h 513380"/>
              <a:gd name="connsiteX163" fmla="*/ 294646 w 349833"/>
              <a:gd name="connsiteY163" fmla="*/ 266372 h 513380"/>
              <a:gd name="connsiteX164" fmla="*/ 292564 w 349833"/>
              <a:gd name="connsiteY164" fmla="*/ 261686 h 513380"/>
              <a:gd name="connsiteX165" fmla="*/ 284697 w 349833"/>
              <a:gd name="connsiteY165" fmla="*/ 269264 h 513380"/>
              <a:gd name="connsiteX166" fmla="*/ 271855 w 349833"/>
              <a:gd name="connsiteY166" fmla="*/ 274644 h 513380"/>
              <a:gd name="connsiteX167" fmla="*/ 263931 w 349833"/>
              <a:gd name="connsiteY167" fmla="*/ 274296 h 513380"/>
              <a:gd name="connsiteX168" fmla="*/ 254618 w 349833"/>
              <a:gd name="connsiteY168" fmla="*/ 273949 h 513380"/>
              <a:gd name="connsiteX169" fmla="*/ 244090 w 349833"/>
              <a:gd name="connsiteY169" fmla="*/ 263769 h 513380"/>
              <a:gd name="connsiteX170" fmla="*/ 240157 w 349833"/>
              <a:gd name="connsiteY170" fmla="*/ 258621 h 513380"/>
              <a:gd name="connsiteX171" fmla="*/ 227547 w 349833"/>
              <a:gd name="connsiteY171" fmla="*/ 255034 h 513380"/>
              <a:gd name="connsiteX172" fmla="*/ 225233 w 349833"/>
              <a:gd name="connsiteY172" fmla="*/ 246878 h 513380"/>
              <a:gd name="connsiteX173" fmla="*/ 218060 w 349833"/>
              <a:gd name="connsiteY173" fmla="*/ 229988 h 513380"/>
              <a:gd name="connsiteX174" fmla="*/ 214069 w 349833"/>
              <a:gd name="connsiteY174" fmla="*/ 224203 h 513380"/>
              <a:gd name="connsiteX175" fmla="*/ 212623 w 349833"/>
              <a:gd name="connsiteY175" fmla="*/ 221947 h 513380"/>
              <a:gd name="connsiteX176" fmla="*/ 206838 w 349833"/>
              <a:gd name="connsiteY176" fmla="*/ 199446 h 513380"/>
              <a:gd name="connsiteX177" fmla="*/ 207880 w 349833"/>
              <a:gd name="connsiteY177" fmla="*/ 192909 h 513380"/>
              <a:gd name="connsiteX178" fmla="*/ 210946 w 349833"/>
              <a:gd name="connsiteY178" fmla="*/ 181630 h 513380"/>
              <a:gd name="connsiteX179" fmla="*/ 218697 w 349833"/>
              <a:gd name="connsiteY179" fmla="*/ 176308 h 513380"/>
              <a:gd name="connsiteX180" fmla="*/ 222746 w 349833"/>
              <a:gd name="connsiteY180" fmla="*/ 168152 h 513380"/>
              <a:gd name="connsiteX181" fmla="*/ 226853 w 349833"/>
              <a:gd name="connsiteY181" fmla="*/ 153518 h 513380"/>
              <a:gd name="connsiteX182" fmla="*/ 231596 w 349833"/>
              <a:gd name="connsiteY182" fmla="*/ 141949 h 513380"/>
              <a:gd name="connsiteX183" fmla="*/ 243165 w 349833"/>
              <a:gd name="connsiteY183" fmla="*/ 131537 h 513380"/>
              <a:gd name="connsiteX184" fmla="*/ 256469 w 349833"/>
              <a:gd name="connsiteY184" fmla="*/ 125058 h 513380"/>
              <a:gd name="connsiteX185" fmla="*/ 274516 w 349833"/>
              <a:gd name="connsiteY185" fmla="*/ 118406 h 513380"/>
              <a:gd name="connsiteX186" fmla="*/ 289498 w 349833"/>
              <a:gd name="connsiteY186" fmla="*/ 112911 h 513380"/>
              <a:gd name="connsiteX187" fmla="*/ 299389 w 349833"/>
              <a:gd name="connsiteY187" fmla="*/ 109035 h 513380"/>
              <a:gd name="connsiteX188" fmla="*/ 306099 w 349833"/>
              <a:gd name="connsiteY188" fmla="*/ 110192 h 513380"/>
              <a:gd name="connsiteX189" fmla="*/ 309686 w 349833"/>
              <a:gd name="connsiteY189" fmla="*/ 111060 h 513380"/>
              <a:gd name="connsiteX190" fmla="*/ 302918 w 349833"/>
              <a:gd name="connsiteY190" fmla="*/ 106317 h 513380"/>
              <a:gd name="connsiteX191" fmla="*/ 295109 w 349833"/>
              <a:gd name="connsiteY191" fmla="*/ 99838 h 513380"/>
              <a:gd name="connsiteX192" fmla="*/ 303323 w 349833"/>
              <a:gd name="connsiteY192" fmla="*/ 83526 h 513380"/>
              <a:gd name="connsiteX193" fmla="*/ 309397 w 349833"/>
              <a:gd name="connsiteY193" fmla="*/ 75891 h 513380"/>
              <a:gd name="connsiteX194" fmla="*/ 309397 w 349833"/>
              <a:gd name="connsiteY194" fmla="*/ 73750 h 513380"/>
              <a:gd name="connsiteX195" fmla="*/ 289903 w 349833"/>
              <a:gd name="connsiteY195" fmla="*/ 61430 h 513380"/>
              <a:gd name="connsiteX196" fmla="*/ 282152 w 349833"/>
              <a:gd name="connsiteY196" fmla="*/ 62124 h 513380"/>
              <a:gd name="connsiteX197" fmla="*/ 271566 w 349833"/>
              <a:gd name="connsiteY197" fmla="*/ 62124 h 513380"/>
              <a:gd name="connsiteX198" fmla="*/ 266418 w 349833"/>
              <a:gd name="connsiteY198" fmla="*/ 60909 h 513380"/>
              <a:gd name="connsiteX199" fmla="*/ 256643 w 349833"/>
              <a:gd name="connsiteY199" fmla="*/ 63975 h 513380"/>
              <a:gd name="connsiteX200" fmla="*/ 240446 w 349833"/>
              <a:gd name="connsiteY200" fmla="*/ 66635 h 513380"/>
              <a:gd name="connsiteX201" fmla="*/ 224655 w 349833"/>
              <a:gd name="connsiteY201" fmla="*/ 62760 h 513380"/>
              <a:gd name="connsiteX202" fmla="*/ 223498 w 349833"/>
              <a:gd name="connsiteY202" fmla="*/ 59174 h 513380"/>
              <a:gd name="connsiteX203" fmla="*/ 217713 w 349833"/>
              <a:gd name="connsiteY203" fmla="*/ 49803 h 513380"/>
              <a:gd name="connsiteX204" fmla="*/ 212854 w 349833"/>
              <a:gd name="connsiteY204" fmla="*/ 41994 h 513380"/>
              <a:gd name="connsiteX205" fmla="*/ 209846 w 349833"/>
              <a:gd name="connsiteY205" fmla="*/ 33722 h 513380"/>
              <a:gd name="connsiteX206" fmla="*/ 196774 w 349833"/>
              <a:gd name="connsiteY206" fmla="*/ 26144 h 513380"/>
              <a:gd name="connsiteX207" fmla="*/ 185957 w 349833"/>
              <a:gd name="connsiteY207" fmla="*/ 13419 h 513380"/>
              <a:gd name="connsiteX208" fmla="*/ 180172 w 349833"/>
              <a:gd name="connsiteY208" fmla="*/ 3180 h 513380"/>
              <a:gd name="connsiteX209" fmla="*/ 159406 w 349833"/>
              <a:gd name="connsiteY209" fmla="*/ 3643 h 513380"/>
              <a:gd name="connsiteX210" fmla="*/ 167794 w 349833"/>
              <a:gd name="connsiteY210" fmla="*/ 17815 h 513380"/>
              <a:gd name="connsiteX211" fmla="*/ 164323 w 349833"/>
              <a:gd name="connsiteY211" fmla="*/ 23599 h 513380"/>
              <a:gd name="connsiteX212" fmla="*/ 160101 w 349833"/>
              <a:gd name="connsiteY212" fmla="*/ 30483 h 513380"/>
              <a:gd name="connsiteX213" fmla="*/ 149341 w 349833"/>
              <a:gd name="connsiteY213" fmla="*/ 51133 h 513380"/>
              <a:gd name="connsiteX214" fmla="*/ 100174 w 349833"/>
              <a:gd name="connsiteY214" fmla="*/ 79188 h 513380"/>
              <a:gd name="connsiteX215" fmla="*/ 95083 w 349833"/>
              <a:gd name="connsiteY215" fmla="*/ 80634 h 513380"/>
              <a:gd name="connsiteX216" fmla="*/ 75821 w 349833"/>
              <a:gd name="connsiteY216" fmla="*/ 111407 h 513380"/>
              <a:gd name="connsiteX217" fmla="*/ 71194 w 349833"/>
              <a:gd name="connsiteY217" fmla="*/ 123554 h 513380"/>
              <a:gd name="connsiteX218" fmla="*/ 61129 w 349833"/>
              <a:gd name="connsiteY218" fmla="*/ 134660 h 513380"/>
              <a:gd name="connsiteX219" fmla="*/ 49560 w 349833"/>
              <a:gd name="connsiteY219" fmla="*/ 125058 h 513380"/>
              <a:gd name="connsiteX220" fmla="*/ 43775 w 349833"/>
              <a:gd name="connsiteY220" fmla="*/ 121530 h 513380"/>
              <a:gd name="connsiteX221" fmla="*/ 40363 w 349833"/>
              <a:gd name="connsiteY221" fmla="*/ 121992 h 513380"/>
              <a:gd name="connsiteX222" fmla="*/ 36082 w 349833"/>
              <a:gd name="connsiteY222" fmla="*/ 122629 h 513380"/>
              <a:gd name="connsiteX223" fmla="*/ 28852 w 349833"/>
              <a:gd name="connsiteY223" fmla="*/ 119563 h 513380"/>
              <a:gd name="connsiteX224" fmla="*/ 26191 w 349833"/>
              <a:gd name="connsiteY224" fmla="*/ 107300 h 513380"/>
              <a:gd name="connsiteX225" fmla="*/ 28678 w 349833"/>
              <a:gd name="connsiteY225" fmla="*/ 104119 h 513380"/>
              <a:gd name="connsiteX226" fmla="*/ 24224 w 349833"/>
              <a:gd name="connsiteY226" fmla="*/ 91682 h 51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349833" h="513380">
                <a:moveTo>
                  <a:pt x="305232" y="512441"/>
                </a:moveTo>
                <a:lnTo>
                  <a:pt x="304711" y="512441"/>
                </a:lnTo>
                <a:cubicBezTo>
                  <a:pt x="304329" y="512233"/>
                  <a:pt x="304086" y="511834"/>
                  <a:pt x="304075" y="511400"/>
                </a:cubicBezTo>
                <a:cubicBezTo>
                  <a:pt x="304075" y="508450"/>
                  <a:pt x="303554" y="507525"/>
                  <a:pt x="303091" y="507293"/>
                </a:cubicBezTo>
                <a:cubicBezTo>
                  <a:pt x="302501" y="506906"/>
                  <a:pt x="301883" y="506553"/>
                  <a:pt x="301240" y="506252"/>
                </a:cubicBezTo>
                <a:cubicBezTo>
                  <a:pt x="294357" y="502492"/>
                  <a:pt x="276078" y="492601"/>
                  <a:pt x="270005" y="482015"/>
                </a:cubicBezTo>
                <a:cubicBezTo>
                  <a:pt x="265203" y="473801"/>
                  <a:pt x="238132" y="457258"/>
                  <a:pt x="191683" y="434062"/>
                </a:cubicBezTo>
                <a:cubicBezTo>
                  <a:pt x="179212" y="427977"/>
                  <a:pt x="167649" y="420191"/>
                  <a:pt x="157324" y="410925"/>
                </a:cubicBezTo>
                <a:cubicBezTo>
                  <a:pt x="154142" y="408206"/>
                  <a:pt x="151539" y="405834"/>
                  <a:pt x="148532" y="403810"/>
                </a:cubicBezTo>
                <a:cubicBezTo>
                  <a:pt x="138119" y="396637"/>
                  <a:pt x="134649" y="382754"/>
                  <a:pt x="137946" y="377491"/>
                </a:cubicBezTo>
                <a:cubicBezTo>
                  <a:pt x="140202" y="373789"/>
                  <a:pt x="136095" y="361931"/>
                  <a:pt x="121634" y="343594"/>
                </a:cubicBezTo>
                <a:cubicBezTo>
                  <a:pt x="108041" y="326241"/>
                  <a:pt x="88605" y="285750"/>
                  <a:pt x="79119" y="262612"/>
                </a:cubicBezTo>
                <a:cubicBezTo>
                  <a:pt x="76111" y="255323"/>
                  <a:pt x="73970" y="249366"/>
                  <a:pt x="72235" y="244564"/>
                </a:cubicBezTo>
                <a:cubicBezTo>
                  <a:pt x="69921" y="235934"/>
                  <a:pt x="65710" y="227934"/>
                  <a:pt x="59914" y="221138"/>
                </a:cubicBezTo>
                <a:cubicBezTo>
                  <a:pt x="55408" y="215752"/>
                  <a:pt x="51434" y="209939"/>
                  <a:pt x="48056" y="203784"/>
                </a:cubicBezTo>
                <a:cubicBezTo>
                  <a:pt x="44111" y="196259"/>
                  <a:pt x="38975" y="189422"/>
                  <a:pt x="32843" y="183539"/>
                </a:cubicBezTo>
                <a:cubicBezTo>
                  <a:pt x="29303" y="180999"/>
                  <a:pt x="25636" y="178645"/>
                  <a:pt x="21853" y="176482"/>
                </a:cubicBezTo>
                <a:cubicBezTo>
                  <a:pt x="11499" y="170177"/>
                  <a:pt x="1723" y="164219"/>
                  <a:pt x="2706" y="158839"/>
                </a:cubicBezTo>
                <a:cubicBezTo>
                  <a:pt x="3458" y="154674"/>
                  <a:pt x="6813" y="154559"/>
                  <a:pt x="9011" y="154501"/>
                </a:cubicBezTo>
                <a:cubicBezTo>
                  <a:pt x="9937" y="154501"/>
                  <a:pt x="10978" y="154501"/>
                  <a:pt x="11267" y="154096"/>
                </a:cubicBezTo>
                <a:cubicBezTo>
                  <a:pt x="11556" y="153691"/>
                  <a:pt x="11556" y="153518"/>
                  <a:pt x="11267" y="152014"/>
                </a:cubicBezTo>
                <a:cubicBezTo>
                  <a:pt x="10255" y="148994"/>
                  <a:pt x="9017" y="146056"/>
                  <a:pt x="7565" y="143221"/>
                </a:cubicBezTo>
                <a:cubicBezTo>
                  <a:pt x="3284" y="134082"/>
                  <a:pt x="-2615" y="121530"/>
                  <a:pt x="1029" y="113779"/>
                </a:cubicBezTo>
                <a:cubicBezTo>
                  <a:pt x="5945" y="103251"/>
                  <a:pt x="15432" y="91104"/>
                  <a:pt x="24456" y="89253"/>
                </a:cubicBezTo>
                <a:cubicBezTo>
                  <a:pt x="24837" y="89171"/>
                  <a:pt x="25237" y="89305"/>
                  <a:pt x="25497" y="89600"/>
                </a:cubicBezTo>
                <a:cubicBezTo>
                  <a:pt x="31281" y="95789"/>
                  <a:pt x="33421" y="101169"/>
                  <a:pt x="30876" y="105044"/>
                </a:cubicBezTo>
                <a:cubicBezTo>
                  <a:pt x="30072" y="106189"/>
                  <a:pt x="29205" y="107294"/>
                  <a:pt x="28273" y="108341"/>
                </a:cubicBezTo>
                <a:cubicBezTo>
                  <a:pt x="25555" y="111523"/>
                  <a:pt x="24976" y="112159"/>
                  <a:pt x="30703" y="117481"/>
                </a:cubicBezTo>
                <a:cubicBezTo>
                  <a:pt x="32230" y="119042"/>
                  <a:pt x="34307" y="119933"/>
                  <a:pt x="36487" y="119968"/>
                </a:cubicBezTo>
                <a:cubicBezTo>
                  <a:pt x="37760" y="119922"/>
                  <a:pt x="39021" y="119725"/>
                  <a:pt x="40247" y="119389"/>
                </a:cubicBezTo>
                <a:cubicBezTo>
                  <a:pt x="41543" y="119100"/>
                  <a:pt x="42856" y="118927"/>
                  <a:pt x="44180" y="118869"/>
                </a:cubicBezTo>
                <a:cubicBezTo>
                  <a:pt x="47310" y="118938"/>
                  <a:pt x="50173" y="120627"/>
                  <a:pt x="51758" y="123323"/>
                </a:cubicBezTo>
                <a:cubicBezTo>
                  <a:pt x="54997" y="127719"/>
                  <a:pt x="58410" y="132000"/>
                  <a:pt x="61418" y="132000"/>
                </a:cubicBezTo>
                <a:cubicBezTo>
                  <a:pt x="64426" y="132000"/>
                  <a:pt x="66682" y="128702"/>
                  <a:pt x="69400" y="122281"/>
                </a:cubicBezTo>
                <a:cubicBezTo>
                  <a:pt x="70962" y="118522"/>
                  <a:pt x="72408" y="114531"/>
                  <a:pt x="73970" y="110250"/>
                </a:cubicBezTo>
                <a:cubicBezTo>
                  <a:pt x="79119" y="95962"/>
                  <a:pt x="84498" y="81328"/>
                  <a:pt x="94736" y="78089"/>
                </a:cubicBezTo>
                <a:lnTo>
                  <a:pt x="99884" y="76585"/>
                </a:lnTo>
                <a:cubicBezTo>
                  <a:pt x="113767" y="72709"/>
                  <a:pt x="134591" y="66925"/>
                  <a:pt x="147838" y="49398"/>
                </a:cubicBezTo>
                <a:cubicBezTo>
                  <a:pt x="152725" y="43787"/>
                  <a:pt x="156231" y="37112"/>
                  <a:pt x="158076" y="29904"/>
                </a:cubicBezTo>
                <a:cubicBezTo>
                  <a:pt x="158533" y="26630"/>
                  <a:pt x="160337" y="23692"/>
                  <a:pt x="163050" y="21806"/>
                </a:cubicBezTo>
                <a:cubicBezTo>
                  <a:pt x="164433" y="20910"/>
                  <a:pt x="165393" y="19492"/>
                  <a:pt x="165711" y="17873"/>
                </a:cubicBezTo>
                <a:cubicBezTo>
                  <a:pt x="165711" y="14749"/>
                  <a:pt x="162414" y="10527"/>
                  <a:pt x="156572" y="3932"/>
                </a:cubicBezTo>
                <a:cubicBezTo>
                  <a:pt x="156398" y="3585"/>
                  <a:pt x="156398" y="3180"/>
                  <a:pt x="156572" y="2833"/>
                </a:cubicBezTo>
                <a:cubicBezTo>
                  <a:pt x="156739" y="2469"/>
                  <a:pt x="157058" y="2197"/>
                  <a:pt x="157440" y="2081"/>
                </a:cubicBezTo>
                <a:cubicBezTo>
                  <a:pt x="169818" y="-638"/>
                  <a:pt x="177974" y="-869"/>
                  <a:pt x="181792" y="1503"/>
                </a:cubicBezTo>
                <a:cubicBezTo>
                  <a:pt x="185274" y="4499"/>
                  <a:pt x="187657" y="8571"/>
                  <a:pt x="188560" y="13072"/>
                </a:cubicBezTo>
                <a:cubicBezTo>
                  <a:pt x="190469" y="18856"/>
                  <a:pt x="192262" y="23773"/>
                  <a:pt x="197410" y="24236"/>
                </a:cubicBezTo>
                <a:cubicBezTo>
                  <a:pt x="203258" y="24959"/>
                  <a:pt x="208562" y="28024"/>
                  <a:pt x="212102" y="32739"/>
                </a:cubicBezTo>
                <a:cubicBezTo>
                  <a:pt x="214520" y="35469"/>
                  <a:pt x="215770" y="39044"/>
                  <a:pt x="215573" y="42688"/>
                </a:cubicBezTo>
                <a:cubicBezTo>
                  <a:pt x="215226" y="44655"/>
                  <a:pt x="217251" y="46448"/>
                  <a:pt x="219622" y="48472"/>
                </a:cubicBezTo>
                <a:cubicBezTo>
                  <a:pt x="223665" y="50913"/>
                  <a:pt x="226106" y="55321"/>
                  <a:pt x="226043" y="60041"/>
                </a:cubicBezTo>
                <a:cubicBezTo>
                  <a:pt x="225945" y="60712"/>
                  <a:pt x="226159" y="61395"/>
                  <a:pt x="226621" y="61892"/>
                </a:cubicBezTo>
                <a:cubicBezTo>
                  <a:pt x="230838" y="64489"/>
                  <a:pt x="235813" y="65588"/>
                  <a:pt x="240735" y="65016"/>
                </a:cubicBezTo>
                <a:cubicBezTo>
                  <a:pt x="245785" y="65282"/>
                  <a:pt x="250841" y="64536"/>
                  <a:pt x="255601" y="62818"/>
                </a:cubicBezTo>
                <a:cubicBezTo>
                  <a:pt x="258864" y="60544"/>
                  <a:pt x="262734" y="59318"/>
                  <a:pt x="266708" y="59289"/>
                </a:cubicBezTo>
                <a:cubicBezTo>
                  <a:pt x="268911" y="59225"/>
                  <a:pt x="271092" y="59769"/>
                  <a:pt x="273012" y="60851"/>
                </a:cubicBezTo>
                <a:cubicBezTo>
                  <a:pt x="275922" y="61713"/>
                  <a:pt x="279040" y="61568"/>
                  <a:pt x="281863" y="60446"/>
                </a:cubicBezTo>
                <a:cubicBezTo>
                  <a:pt x="284772" y="59399"/>
                  <a:pt x="287919" y="59179"/>
                  <a:pt x="290944" y="59810"/>
                </a:cubicBezTo>
                <a:cubicBezTo>
                  <a:pt x="303612" y="64958"/>
                  <a:pt x="310380" y="69412"/>
                  <a:pt x="311826" y="73577"/>
                </a:cubicBezTo>
                <a:cubicBezTo>
                  <a:pt x="312294" y="74896"/>
                  <a:pt x="312173" y="76353"/>
                  <a:pt x="311479" y="77568"/>
                </a:cubicBezTo>
                <a:cubicBezTo>
                  <a:pt x="309622" y="80397"/>
                  <a:pt x="307517" y="83052"/>
                  <a:pt x="305174" y="85493"/>
                </a:cubicBezTo>
                <a:cubicBezTo>
                  <a:pt x="300951" y="90294"/>
                  <a:pt x="295688" y="96252"/>
                  <a:pt x="297191" y="99317"/>
                </a:cubicBezTo>
                <a:cubicBezTo>
                  <a:pt x="299048" y="101758"/>
                  <a:pt x="301443" y="103743"/>
                  <a:pt x="304190" y="105102"/>
                </a:cubicBezTo>
                <a:cubicBezTo>
                  <a:pt x="307690" y="106901"/>
                  <a:pt x="310814" y="109353"/>
                  <a:pt x="313388" y="112332"/>
                </a:cubicBezTo>
                <a:cubicBezTo>
                  <a:pt x="313596" y="112691"/>
                  <a:pt x="313596" y="113131"/>
                  <a:pt x="313388" y="113489"/>
                </a:cubicBezTo>
                <a:cubicBezTo>
                  <a:pt x="313203" y="113842"/>
                  <a:pt x="312855" y="114079"/>
                  <a:pt x="312462" y="114126"/>
                </a:cubicBezTo>
                <a:cubicBezTo>
                  <a:pt x="310102" y="114172"/>
                  <a:pt x="307754" y="113796"/>
                  <a:pt x="305521" y="113027"/>
                </a:cubicBezTo>
                <a:cubicBezTo>
                  <a:pt x="303531" y="112425"/>
                  <a:pt x="301472" y="112072"/>
                  <a:pt x="299389" y="111985"/>
                </a:cubicBezTo>
                <a:cubicBezTo>
                  <a:pt x="296249" y="112043"/>
                  <a:pt x="293241" y="113258"/>
                  <a:pt x="290944" y="115398"/>
                </a:cubicBezTo>
                <a:cubicBezTo>
                  <a:pt x="286236" y="118799"/>
                  <a:pt x="280659" y="120801"/>
                  <a:pt x="274863" y="121183"/>
                </a:cubicBezTo>
                <a:cubicBezTo>
                  <a:pt x="268732" y="121674"/>
                  <a:pt x="262849" y="123838"/>
                  <a:pt x="257857" y="127430"/>
                </a:cubicBezTo>
                <a:cubicBezTo>
                  <a:pt x="253652" y="130513"/>
                  <a:pt x="248932" y="132827"/>
                  <a:pt x="243917" y="134255"/>
                </a:cubicBezTo>
                <a:cubicBezTo>
                  <a:pt x="238132" y="136106"/>
                  <a:pt x="234488" y="137321"/>
                  <a:pt x="234025" y="142701"/>
                </a:cubicBezTo>
                <a:cubicBezTo>
                  <a:pt x="233435" y="147288"/>
                  <a:pt x="231683" y="151649"/>
                  <a:pt x="228935" y="155369"/>
                </a:cubicBezTo>
                <a:cubicBezTo>
                  <a:pt x="225858" y="158914"/>
                  <a:pt x="224470" y="163617"/>
                  <a:pt x="225117" y="168268"/>
                </a:cubicBezTo>
                <a:cubicBezTo>
                  <a:pt x="226911" y="175267"/>
                  <a:pt x="223787" y="176887"/>
                  <a:pt x="219911" y="178911"/>
                </a:cubicBezTo>
                <a:cubicBezTo>
                  <a:pt x="217268" y="180149"/>
                  <a:pt x="214850" y="181809"/>
                  <a:pt x="212739" y="183828"/>
                </a:cubicBezTo>
                <a:cubicBezTo>
                  <a:pt x="210089" y="186136"/>
                  <a:pt x="209106" y="189821"/>
                  <a:pt x="210251" y="193141"/>
                </a:cubicBezTo>
                <a:cubicBezTo>
                  <a:pt x="211217" y="196010"/>
                  <a:pt x="210650" y="199174"/>
                  <a:pt x="208747" y="201528"/>
                </a:cubicBezTo>
                <a:cubicBezTo>
                  <a:pt x="204814" y="206098"/>
                  <a:pt x="209615" y="213502"/>
                  <a:pt x="214532" y="221369"/>
                </a:cubicBezTo>
                <a:lnTo>
                  <a:pt x="215978" y="223625"/>
                </a:lnTo>
                <a:cubicBezTo>
                  <a:pt x="217251" y="225650"/>
                  <a:pt x="218581" y="227558"/>
                  <a:pt x="219911" y="229409"/>
                </a:cubicBezTo>
                <a:cubicBezTo>
                  <a:pt x="224308" y="235714"/>
                  <a:pt x="228125" y="240978"/>
                  <a:pt x="227489" y="247746"/>
                </a:cubicBezTo>
                <a:cubicBezTo>
                  <a:pt x="227084" y="250037"/>
                  <a:pt x="227721" y="252391"/>
                  <a:pt x="229224" y="254167"/>
                </a:cubicBezTo>
                <a:cubicBezTo>
                  <a:pt x="232151" y="256741"/>
                  <a:pt x="236102" y="257805"/>
                  <a:pt x="239926" y="257059"/>
                </a:cubicBezTo>
                <a:cubicBezTo>
                  <a:pt x="244379" y="256596"/>
                  <a:pt x="245710" y="260529"/>
                  <a:pt x="246288" y="263942"/>
                </a:cubicBezTo>
                <a:cubicBezTo>
                  <a:pt x="247329" y="268281"/>
                  <a:pt x="248313" y="272387"/>
                  <a:pt x="254618" y="272387"/>
                </a:cubicBezTo>
                <a:cubicBezTo>
                  <a:pt x="257857" y="272387"/>
                  <a:pt x="261039" y="272387"/>
                  <a:pt x="264104" y="272735"/>
                </a:cubicBezTo>
                <a:cubicBezTo>
                  <a:pt x="267170" y="273082"/>
                  <a:pt x="269484" y="273082"/>
                  <a:pt x="271855" y="273082"/>
                </a:cubicBezTo>
                <a:cubicBezTo>
                  <a:pt x="278161" y="273082"/>
                  <a:pt x="281400" y="271867"/>
                  <a:pt x="282673" y="269033"/>
                </a:cubicBezTo>
                <a:cubicBezTo>
                  <a:pt x="284523" y="264752"/>
                  <a:pt x="288862" y="260125"/>
                  <a:pt x="292564" y="260125"/>
                </a:cubicBezTo>
                <a:cubicBezTo>
                  <a:pt x="293836" y="260125"/>
                  <a:pt x="296902" y="260819"/>
                  <a:pt x="296902" y="267066"/>
                </a:cubicBezTo>
                <a:cubicBezTo>
                  <a:pt x="296902" y="268686"/>
                  <a:pt x="296902" y="270768"/>
                  <a:pt x="296902" y="272850"/>
                </a:cubicBezTo>
                <a:cubicBezTo>
                  <a:pt x="296902" y="281990"/>
                  <a:pt x="296208" y="297318"/>
                  <a:pt x="299679" y="300847"/>
                </a:cubicBezTo>
                <a:cubicBezTo>
                  <a:pt x="300251" y="301518"/>
                  <a:pt x="301206" y="301709"/>
                  <a:pt x="301992" y="301310"/>
                </a:cubicBezTo>
                <a:cubicBezTo>
                  <a:pt x="307042" y="299736"/>
                  <a:pt x="312323" y="299013"/>
                  <a:pt x="317610" y="299169"/>
                </a:cubicBezTo>
                <a:cubicBezTo>
                  <a:pt x="321480" y="299164"/>
                  <a:pt x="325350" y="299436"/>
                  <a:pt x="329179" y="299979"/>
                </a:cubicBezTo>
                <a:cubicBezTo>
                  <a:pt x="329584" y="300008"/>
                  <a:pt x="329931" y="300286"/>
                  <a:pt x="330047" y="300673"/>
                </a:cubicBezTo>
                <a:cubicBezTo>
                  <a:pt x="332592" y="306921"/>
                  <a:pt x="337046" y="315424"/>
                  <a:pt x="340979" y="322943"/>
                </a:cubicBezTo>
                <a:cubicBezTo>
                  <a:pt x="344913" y="330463"/>
                  <a:pt x="347690" y="335785"/>
                  <a:pt x="348904" y="339140"/>
                </a:cubicBezTo>
                <a:cubicBezTo>
                  <a:pt x="351073" y="344398"/>
                  <a:pt x="348800" y="350443"/>
                  <a:pt x="343698" y="352965"/>
                </a:cubicBezTo>
                <a:cubicBezTo>
                  <a:pt x="342871" y="353526"/>
                  <a:pt x="342096" y="354168"/>
                  <a:pt x="341384" y="354874"/>
                </a:cubicBezTo>
                <a:cubicBezTo>
                  <a:pt x="339013" y="357187"/>
                  <a:pt x="342368" y="380614"/>
                  <a:pt x="343467" y="388308"/>
                </a:cubicBezTo>
                <a:cubicBezTo>
                  <a:pt x="343756" y="390159"/>
                  <a:pt x="343987" y="391720"/>
                  <a:pt x="344103" y="392704"/>
                </a:cubicBezTo>
                <a:cubicBezTo>
                  <a:pt x="343860" y="396851"/>
                  <a:pt x="342478" y="400854"/>
                  <a:pt x="340112" y="404272"/>
                </a:cubicBezTo>
                <a:cubicBezTo>
                  <a:pt x="337682" y="408669"/>
                  <a:pt x="335253" y="413181"/>
                  <a:pt x="337220" y="414858"/>
                </a:cubicBezTo>
                <a:cubicBezTo>
                  <a:pt x="340748" y="417750"/>
                  <a:pt x="337972" y="423130"/>
                  <a:pt x="335079" y="428799"/>
                </a:cubicBezTo>
                <a:cubicBezTo>
                  <a:pt x="333095" y="431974"/>
                  <a:pt x="331782" y="435514"/>
                  <a:pt x="331204" y="439211"/>
                </a:cubicBezTo>
                <a:cubicBezTo>
                  <a:pt x="331204" y="442392"/>
                  <a:pt x="333749" y="443954"/>
                  <a:pt x="336410" y="445573"/>
                </a:cubicBezTo>
                <a:cubicBezTo>
                  <a:pt x="339071" y="447193"/>
                  <a:pt x="341673" y="448755"/>
                  <a:pt x="341673" y="452052"/>
                </a:cubicBezTo>
                <a:cubicBezTo>
                  <a:pt x="341673" y="458299"/>
                  <a:pt x="332361" y="471545"/>
                  <a:pt x="326576" y="474843"/>
                </a:cubicBezTo>
                <a:cubicBezTo>
                  <a:pt x="324610" y="475999"/>
                  <a:pt x="324031" y="479297"/>
                  <a:pt x="324841" y="484907"/>
                </a:cubicBezTo>
                <a:cubicBezTo>
                  <a:pt x="324928" y="485457"/>
                  <a:pt x="324615" y="485989"/>
                  <a:pt x="324089" y="486180"/>
                </a:cubicBezTo>
                <a:lnTo>
                  <a:pt x="324089" y="486180"/>
                </a:lnTo>
                <a:cubicBezTo>
                  <a:pt x="324089" y="486180"/>
                  <a:pt x="324089" y="486180"/>
                  <a:pt x="323800" y="486585"/>
                </a:cubicBezTo>
                <a:cubicBezTo>
                  <a:pt x="322909" y="488419"/>
                  <a:pt x="322267" y="490368"/>
                  <a:pt x="321891" y="492369"/>
                </a:cubicBezTo>
                <a:cubicBezTo>
                  <a:pt x="320271" y="498154"/>
                  <a:pt x="318073" y="506079"/>
                  <a:pt x="311999" y="509087"/>
                </a:cubicBezTo>
                <a:cubicBezTo>
                  <a:pt x="309963" y="510318"/>
                  <a:pt x="308026" y="511713"/>
                  <a:pt x="306215" y="513251"/>
                </a:cubicBezTo>
                <a:cubicBezTo>
                  <a:pt x="305741" y="513234"/>
                  <a:pt x="305336" y="512904"/>
                  <a:pt x="305232" y="512441"/>
                </a:cubicBezTo>
                <a:close/>
                <a:moveTo>
                  <a:pt x="24224" y="91682"/>
                </a:moveTo>
                <a:cubicBezTo>
                  <a:pt x="16126" y="93764"/>
                  <a:pt x="7623" y="104986"/>
                  <a:pt x="2995" y="114820"/>
                </a:cubicBezTo>
                <a:cubicBezTo>
                  <a:pt x="-186" y="121645"/>
                  <a:pt x="5425" y="133619"/>
                  <a:pt x="9532" y="142412"/>
                </a:cubicBezTo>
                <a:cubicBezTo>
                  <a:pt x="11082" y="145362"/>
                  <a:pt x="12378" y="148439"/>
                  <a:pt x="13407" y="151609"/>
                </a:cubicBezTo>
                <a:cubicBezTo>
                  <a:pt x="13893" y="152922"/>
                  <a:pt x="13766" y="154391"/>
                  <a:pt x="13060" y="155600"/>
                </a:cubicBezTo>
                <a:cubicBezTo>
                  <a:pt x="12135" y="156815"/>
                  <a:pt x="10573" y="156815"/>
                  <a:pt x="9069" y="156873"/>
                </a:cubicBezTo>
                <a:cubicBezTo>
                  <a:pt x="7565" y="156931"/>
                  <a:pt x="5309" y="156873"/>
                  <a:pt x="4904" y="159360"/>
                </a:cubicBezTo>
                <a:cubicBezTo>
                  <a:pt x="4210" y="163235"/>
                  <a:pt x="14622" y="169541"/>
                  <a:pt x="23009" y="174631"/>
                </a:cubicBezTo>
                <a:cubicBezTo>
                  <a:pt x="26850" y="176852"/>
                  <a:pt x="30575" y="179264"/>
                  <a:pt x="34173" y="181861"/>
                </a:cubicBezTo>
                <a:cubicBezTo>
                  <a:pt x="40571" y="187889"/>
                  <a:pt x="45910" y="194946"/>
                  <a:pt x="49965" y="202743"/>
                </a:cubicBezTo>
                <a:cubicBezTo>
                  <a:pt x="53285" y="208684"/>
                  <a:pt x="57161" y="214300"/>
                  <a:pt x="61534" y="219518"/>
                </a:cubicBezTo>
                <a:cubicBezTo>
                  <a:pt x="67532" y="226546"/>
                  <a:pt x="71876" y="234829"/>
                  <a:pt x="74259" y="243754"/>
                </a:cubicBezTo>
                <a:cubicBezTo>
                  <a:pt x="75995" y="248498"/>
                  <a:pt x="78135" y="254398"/>
                  <a:pt x="81143" y="261686"/>
                </a:cubicBezTo>
                <a:cubicBezTo>
                  <a:pt x="90572" y="284824"/>
                  <a:pt x="110065" y="324852"/>
                  <a:pt x="123369" y="341974"/>
                </a:cubicBezTo>
                <a:cubicBezTo>
                  <a:pt x="136673" y="359096"/>
                  <a:pt x="143210" y="372979"/>
                  <a:pt x="139797" y="378416"/>
                </a:cubicBezTo>
                <a:cubicBezTo>
                  <a:pt x="137078" y="382754"/>
                  <a:pt x="140665" y="395769"/>
                  <a:pt x="149746" y="401554"/>
                </a:cubicBezTo>
                <a:cubicBezTo>
                  <a:pt x="152870" y="403793"/>
                  <a:pt x="155860" y="406210"/>
                  <a:pt x="158712" y="408784"/>
                </a:cubicBezTo>
                <a:cubicBezTo>
                  <a:pt x="168887" y="418051"/>
                  <a:pt x="180317" y="425843"/>
                  <a:pt x="192667" y="431922"/>
                </a:cubicBezTo>
                <a:cubicBezTo>
                  <a:pt x="225349" y="448234"/>
                  <a:pt x="265608" y="469926"/>
                  <a:pt x="271855" y="480801"/>
                </a:cubicBezTo>
                <a:cubicBezTo>
                  <a:pt x="277640" y="490808"/>
                  <a:pt x="295514" y="500467"/>
                  <a:pt x="302224" y="503938"/>
                </a:cubicBezTo>
                <a:lnTo>
                  <a:pt x="304190" y="505037"/>
                </a:lnTo>
                <a:cubicBezTo>
                  <a:pt x="305370" y="505963"/>
                  <a:pt x="306088" y="507357"/>
                  <a:pt x="306157" y="508855"/>
                </a:cubicBezTo>
                <a:cubicBezTo>
                  <a:pt x="307540" y="507692"/>
                  <a:pt x="309032" y="506669"/>
                  <a:pt x="310611" y="505789"/>
                </a:cubicBezTo>
                <a:cubicBezTo>
                  <a:pt x="315759" y="503244"/>
                  <a:pt x="317784" y="495898"/>
                  <a:pt x="319288" y="490518"/>
                </a:cubicBezTo>
                <a:cubicBezTo>
                  <a:pt x="319774" y="488511"/>
                  <a:pt x="320491" y="486573"/>
                  <a:pt x="321428" y="484734"/>
                </a:cubicBezTo>
                <a:cubicBezTo>
                  <a:pt x="321613" y="484410"/>
                  <a:pt x="321845" y="484115"/>
                  <a:pt x="322122" y="483866"/>
                </a:cubicBezTo>
                <a:cubicBezTo>
                  <a:pt x="321544" y="479702"/>
                  <a:pt x="321428" y="474322"/>
                  <a:pt x="325072" y="472297"/>
                </a:cubicBezTo>
                <a:cubicBezTo>
                  <a:pt x="331927" y="467121"/>
                  <a:pt x="336844" y="459786"/>
                  <a:pt x="339013" y="451474"/>
                </a:cubicBezTo>
                <a:cubicBezTo>
                  <a:pt x="339013" y="449622"/>
                  <a:pt x="337451" y="448523"/>
                  <a:pt x="334848" y="446904"/>
                </a:cubicBezTo>
                <a:cubicBezTo>
                  <a:pt x="332245" y="445284"/>
                  <a:pt x="328543" y="443086"/>
                  <a:pt x="328543" y="438632"/>
                </a:cubicBezTo>
                <a:cubicBezTo>
                  <a:pt x="329069" y="434525"/>
                  <a:pt x="330469" y="430580"/>
                  <a:pt x="332650" y="427063"/>
                </a:cubicBezTo>
                <a:cubicBezTo>
                  <a:pt x="335022" y="422436"/>
                  <a:pt x="337509" y="417635"/>
                  <a:pt x="335369" y="415899"/>
                </a:cubicBezTo>
                <a:cubicBezTo>
                  <a:pt x="331956" y="413065"/>
                  <a:pt x="334906" y="407685"/>
                  <a:pt x="337682" y="402479"/>
                </a:cubicBezTo>
                <a:cubicBezTo>
                  <a:pt x="339765" y="399558"/>
                  <a:pt x="341061" y="396151"/>
                  <a:pt x="341442" y="392588"/>
                </a:cubicBezTo>
                <a:cubicBezTo>
                  <a:pt x="341442" y="391605"/>
                  <a:pt x="341095" y="390101"/>
                  <a:pt x="340864" y="388192"/>
                </a:cubicBezTo>
                <a:cubicBezTo>
                  <a:pt x="337972" y="368293"/>
                  <a:pt x="336757" y="355452"/>
                  <a:pt x="339360" y="352849"/>
                </a:cubicBezTo>
                <a:cubicBezTo>
                  <a:pt x="340158" y="352097"/>
                  <a:pt x="341008" y="351397"/>
                  <a:pt x="341905" y="350766"/>
                </a:cubicBezTo>
                <a:cubicBezTo>
                  <a:pt x="345202" y="348279"/>
                  <a:pt x="348673" y="345734"/>
                  <a:pt x="346359" y="339545"/>
                </a:cubicBezTo>
                <a:cubicBezTo>
                  <a:pt x="344034" y="334090"/>
                  <a:pt x="341431" y="328763"/>
                  <a:pt x="338550" y="323580"/>
                </a:cubicBezTo>
                <a:cubicBezTo>
                  <a:pt x="334732" y="316291"/>
                  <a:pt x="330394" y="308020"/>
                  <a:pt x="327791" y="301715"/>
                </a:cubicBezTo>
                <a:cubicBezTo>
                  <a:pt x="324361" y="301269"/>
                  <a:pt x="320896" y="301055"/>
                  <a:pt x="317437" y="301078"/>
                </a:cubicBezTo>
                <a:cubicBezTo>
                  <a:pt x="312410" y="300940"/>
                  <a:pt x="307401" y="301587"/>
                  <a:pt x="302571" y="302987"/>
                </a:cubicBezTo>
                <a:cubicBezTo>
                  <a:pt x="300963" y="303577"/>
                  <a:pt x="299152" y="303091"/>
                  <a:pt x="298059" y="301772"/>
                </a:cubicBezTo>
                <a:cubicBezTo>
                  <a:pt x="293952" y="297550"/>
                  <a:pt x="294357" y="282857"/>
                  <a:pt x="294646" y="272156"/>
                </a:cubicBezTo>
                <a:cubicBezTo>
                  <a:pt x="294646" y="269842"/>
                  <a:pt x="294646" y="267818"/>
                  <a:pt x="294646" y="266372"/>
                </a:cubicBezTo>
                <a:cubicBezTo>
                  <a:pt x="294646" y="264926"/>
                  <a:pt x="294646" y="261686"/>
                  <a:pt x="292564" y="261686"/>
                </a:cubicBezTo>
                <a:cubicBezTo>
                  <a:pt x="290481" y="261686"/>
                  <a:pt x="286779" y="264810"/>
                  <a:pt x="284697" y="269264"/>
                </a:cubicBezTo>
                <a:cubicBezTo>
                  <a:pt x="282615" y="273718"/>
                  <a:pt x="277004" y="274644"/>
                  <a:pt x="271855" y="274644"/>
                </a:cubicBezTo>
                <a:cubicBezTo>
                  <a:pt x="269426" y="274644"/>
                  <a:pt x="266765" y="274644"/>
                  <a:pt x="263931" y="274296"/>
                </a:cubicBezTo>
                <a:cubicBezTo>
                  <a:pt x="261096" y="273949"/>
                  <a:pt x="257742" y="273949"/>
                  <a:pt x="254618" y="273949"/>
                </a:cubicBezTo>
                <a:cubicBezTo>
                  <a:pt x="246520" y="273949"/>
                  <a:pt x="245131" y="268165"/>
                  <a:pt x="244090" y="263769"/>
                </a:cubicBezTo>
                <a:cubicBezTo>
                  <a:pt x="243049" y="259373"/>
                  <a:pt x="242529" y="257984"/>
                  <a:pt x="240157" y="258621"/>
                </a:cubicBezTo>
                <a:cubicBezTo>
                  <a:pt x="235622" y="259454"/>
                  <a:pt x="230965" y="258129"/>
                  <a:pt x="227547" y="255034"/>
                </a:cubicBezTo>
                <a:cubicBezTo>
                  <a:pt x="225603" y="252790"/>
                  <a:pt x="224759" y="249805"/>
                  <a:pt x="225233" y="246878"/>
                </a:cubicBezTo>
                <a:cubicBezTo>
                  <a:pt x="225812" y="241094"/>
                  <a:pt x="222225" y="235946"/>
                  <a:pt x="218060" y="229988"/>
                </a:cubicBezTo>
                <a:cubicBezTo>
                  <a:pt x="216730" y="228137"/>
                  <a:pt x="215400" y="226228"/>
                  <a:pt x="214069" y="224203"/>
                </a:cubicBezTo>
                <a:lnTo>
                  <a:pt x="212623" y="221947"/>
                </a:lnTo>
                <a:cubicBezTo>
                  <a:pt x="207359" y="213734"/>
                  <a:pt x="201922" y="205288"/>
                  <a:pt x="206838" y="199446"/>
                </a:cubicBezTo>
                <a:cubicBezTo>
                  <a:pt x="208291" y="197595"/>
                  <a:pt x="208684" y="195119"/>
                  <a:pt x="207880" y="192909"/>
                </a:cubicBezTo>
                <a:cubicBezTo>
                  <a:pt x="206607" y="188872"/>
                  <a:pt x="207804" y="184464"/>
                  <a:pt x="210946" y="181630"/>
                </a:cubicBezTo>
                <a:cubicBezTo>
                  <a:pt x="213196" y="179414"/>
                  <a:pt x="215822" y="177616"/>
                  <a:pt x="218697" y="176308"/>
                </a:cubicBezTo>
                <a:cubicBezTo>
                  <a:pt x="222399" y="174341"/>
                  <a:pt x="224076" y="173474"/>
                  <a:pt x="222746" y="168152"/>
                </a:cubicBezTo>
                <a:cubicBezTo>
                  <a:pt x="221936" y="162912"/>
                  <a:pt x="223428" y="157572"/>
                  <a:pt x="226853" y="153518"/>
                </a:cubicBezTo>
                <a:cubicBezTo>
                  <a:pt x="229375" y="150116"/>
                  <a:pt x="231006" y="146142"/>
                  <a:pt x="231596" y="141949"/>
                </a:cubicBezTo>
                <a:cubicBezTo>
                  <a:pt x="232174" y="135123"/>
                  <a:pt x="237380" y="133446"/>
                  <a:pt x="243165" y="131537"/>
                </a:cubicBezTo>
                <a:cubicBezTo>
                  <a:pt x="247954" y="130195"/>
                  <a:pt x="252460" y="128002"/>
                  <a:pt x="256469" y="125058"/>
                </a:cubicBezTo>
                <a:cubicBezTo>
                  <a:pt x="261744" y="121200"/>
                  <a:pt x="267997" y="118892"/>
                  <a:pt x="274516" y="118406"/>
                </a:cubicBezTo>
                <a:cubicBezTo>
                  <a:pt x="279925" y="118013"/>
                  <a:pt x="285119" y="116110"/>
                  <a:pt x="289498" y="112911"/>
                </a:cubicBezTo>
                <a:cubicBezTo>
                  <a:pt x="292228" y="110481"/>
                  <a:pt x="295734" y="109105"/>
                  <a:pt x="299389" y="109035"/>
                </a:cubicBezTo>
                <a:cubicBezTo>
                  <a:pt x="301669" y="109116"/>
                  <a:pt x="303924" y="109510"/>
                  <a:pt x="306099" y="110192"/>
                </a:cubicBezTo>
                <a:lnTo>
                  <a:pt x="309686" y="111060"/>
                </a:lnTo>
                <a:cubicBezTo>
                  <a:pt x="307615" y="109232"/>
                  <a:pt x="305341" y="107641"/>
                  <a:pt x="302918" y="106317"/>
                </a:cubicBezTo>
                <a:cubicBezTo>
                  <a:pt x="299800" y="104865"/>
                  <a:pt x="297110" y="102632"/>
                  <a:pt x="295109" y="99838"/>
                </a:cubicBezTo>
                <a:cubicBezTo>
                  <a:pt x="292853" y="95384"/>
                  <a:pt x="298175" y="89368"/>
                  <a:pt x="303323" y="83526"/>
                </a:cubicBezTo>
                <a:cubicBezTo>
                  <a:pt x="305561" y="81160"/>
                  <a:pt x="307592" y="78603"/>
                  <a:pt x="309397" y="75891"/>
                </a:cubicBezTo>
                <a:cubicBezTo>
                  <a:pt x="309744" y="75219"/>
                  <a:pt x="309744" y="74421"/>
                  <a:pt x="309397" y="73750"/>
                </a:cubicBezTo>
                <a:cubicBezTo>
                  <a:pt x="308587" y="71436"/>
                  <a:pt x="304538" y="67329"/>
                  <a:pt x="289903" y="61430"/>
                </a:cubicBezTo>
                <a:cubicBezTo>
                  <a:pt x="287306" y="60891"/>
                  <a:pt x="284610" y="61134"/>
                  <a:pt x="282152" y="62124"/>
                </a:cubicBezTo>
                <a:cubicBezTo>
                  <a:pt x="278739" y="63402"/>
                  <a:pt x="274979" y="63402"/>
                  <a:pt x="271566" y="62124"/>
                </a:cubicBezTo>
                <a:cubicBezTo>
                  <a:pt x="269987" y="61267"/>
                  <a:pt x="268212" y="60851"/>
                  <a:pt x="266418" y="60909"/>
                </a:cubicBezTo>
                <a:cubicBezTo>
                  <a:pt x="262930" y="60944"/>
                  <a:pt x="259529" y="62008"/>
                  <a:pt x="256643" y="63975"/>
                </a:cubicBezTo>
                <a:cubicBezTo>
                  <a:pt x="251506" y="66040"/>
                  <a:pt x="245976" y="66948"/>
                  <a:pt x="240446" y="66635"/>
                </a:cubicBezTo>
                <a:cubicBezTo>
                  <a:pt x="235876" y="66635"/>
                  <a:pt x="227663" y="66115"/>
                  <a:pt x="224655" y="62760"/>
                </a:cubicBezTo>
                <a:cubicBezTo>
                  <a:pt x="223758" y="61794"/>
                  <a:pt x="223336" y="60481"/>
                  <a:pt x="223498" y="59174"/>
                </a:cubicBezTo>
                <a:cubicBezTo>
                  <a:pt x="223960" y="55066"/>
                  <a:pt x="220837" y="52406"/>
                  <a:pt x="217713" y="49803"/>
                </a:cubicBezTo>
                <a:cubicBezTo>
                  <a:pt x="214590" y="47200"/>
                  <a:pt x="212334" y="45175"/>
                  <a:pt x="212854" y="41994"/>
                </a:cubicBezTo>
                <a:cubicBezTo>
                  <a:pt x="212982" y="38945"/>
                  <a:pt x="211900" y="35978"/>
                  <a:pt x="209846" y="33722"/>
                </a:cubicBezTo>
                <a:cubicBezTo>
                  <a:pt x="206694" y="29534"/>
                  <a:pt x="201980" y="26798"/>
                  <a:pt x="196774" y="26144"/>
                </a:cubicBezTo>
                <a:cubicBezTo>
                  <a:pt x="190122" y="25566"/>
                  <a:pt x="187981" y="19377"/>
                  <a:pt x="185957" y="13419"/>
                </a:cubicBezTo>
                <a:cubicBezTo>
                  <a:pt x="185153" y="9485"/>
                  <a:pt x="183128" y="5905"/>
                  <a:pt x="180172" y="3180"/>
                </a:cubicBezTo>
                <a:cubicBezTo>
                  <a:pt x="177280" y="1329"/>
                  <a:pt x="169876" y="1503"/>
                  <a:pt x="159406" y="3643"/>
                </a:cubicBezTo>
                <a:cubicBezTo>
                  <a:pt x="164843" y="9890"/>
                  <a:pt x="168083" y="13997"/>
                  <a:pt x="167794" y="17815"/>
                </a:cubicBezTo>
                <a:cubicBezTo>
                  <a:pt x="167557" y="20163"/>
                  <a:pt x="166284" y="22286"/>
                  <a:pt x="164323" y="23599"/>
                </a:cubicBezTo>
                <a:cubicBezTo>
                  <a:pt x="161986" y="25173"/>
                  <a:pt x="160442" y="27683"/>
                  <a:pt x="160101" y="30483"/>
                </a:cubicBezTo>
                <a:cubicBezTo>
                  <a:pt x="158197" y="38118"/>
                  <a:pt x="154513" y="45198"/>
                  <a:pt x="149341" y="51133"/>
                </a:cubicBezTo>
                <a:cubicBezTo>
                  <a:pt x="135806" y="69296"/>
                  <a:pt x="113478" y="75486"/>
                  <a:pt x="100174" y="79188"/>
                </a:cubicBezTo>
                <a:lnTo>
                  <a:pt x="95083" y="80634"/>
                </a:lnTo>
                <a:cubicBezTo>
                  <a:pt x="85944" y="83352"/>
                  <a:pt x="80796" y="97640"/>
                  <a:pt x="75821" y="111407"/>
                </a:cubicBezTo>
                <a:cubicBezTo>
                  <a:pt x="74317" y="115514"/>
                  <a:pt x="72813" y="119794"/>
                  <a:pt x="71194" y="123554"/>
                </a:cubicBezTo>
                <a:cubicBezTo>
                  <a:pt x="67954" y="131132"/>
                  <a:pt x="64773" y="134660"/>
                  <a:pt x="61129" y="134660"/>
                </a:cubicBezTo>
                <a:cubicBezTo>
                  <a:pt x="57484" y="134660"/>
                  <a:pt x="53378" y="130091"/>
                  <a:pt x="49560" y="125058"/>
                </a:cubicBezTo>
                <a:cubicBezTo>
                  <a:pt x="48403" y="122929"/>
                  <a:pt x="46193" y="121587"/>
                  <a:pt x="43775" y="121530"/>
                </a:cubicBezTo>
                <a:cubicBezTo>
                  <a:pt x="42624" y="121576"/>
                  <a:pt x="41485" y="121732"/>
                  <a:pt x="40363" y="121992"/>
                </a:cubicBezTo>
                <a:cubicBezTo>
                  <a:pt x="38963" y="122357"/>
                  <a:pt x="37528" y="122565"/>
                  <a:pt x="36082" y="122629"/>
                </a:cubicBezTo>
                <a:cubicBezTo>
                  <a:pt x="33363" y="122600"/>
                  <a:pt x="30760" y="121501"/>
                  <a:pt x="28852" y="119563"/>
                </a:cubicBezTo>
                <a:cubicBezTo>
                  <a:pt x="22142" y="113316"/>
                  <a:pt x="22720" y="111349"/>
                  <a:pt x="26191" y="107300"/>
                </a:cubicBezTo>
                <a:cubicBezTo>
                  <a:pt x="26943" y="106374"/>
                  <a:pt x="27811" y="105391"/>
                  <a:pt x="28678" y="104119"/>
                </a:cubicBezTo>
                <a:cubicBezTo>
                  <a:pt x="30760" y="101284"/>
                  <a:pt x="28967" y="96714"/>
                  <a:pt x="24224" y="9168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8" name="Forma libre: forma 387">
            <a:extLst>
              <a:ext uri="{FF2B5EF4-FFF2-40B4-BE49-F238E27FC236}">
                <a16:creationId xmlns:a16="http://schemas.microsoft.com/office/drawing/2014/main" id="{C64807FE-C957-1CB5-2855-3A15F060C68D}"/>
              </a:ext>
            </a:extLst>
          </p:cNvPr>
          <p:cNvSpPr/>
          <p:nvPr/>
        </p:nvSpPr>
        <p:spPr>
          <a:xfrm>
            <a:off x="4162853" y="4146957"/>
            <a:ext cx="377864" cy="317889"/>
          </a:xfrm>
          <a:custGeom>
            <a:avLst/>
            <a:gdLst>
              <a:gd name="connsiteX0" fmla="*/ 200643 w 377864"/>
              <a:gd name="connsiteY0" fmla="*/ 317760 h 317889"/>
              <a:gd name="connsiteX1" fmla="*/ 190636 w 377864"/>
              <a:gd name="connsiteY1" fmla="*/ 311976 h 317889"/>
              <a:gd name="connsiteX2" fmla="*/ 187628 w 377864"/>
              <a:gd name="connsiteY2" fmla="*/ 309489 h 317889"/>
              <a:gd name="connsiteX3" fmla="*/ 179356 w 377864"/>
              <a:gd name="connsiteY3" fmla="*/ 298672 h 317889"/>
              <a:gd name="connsiteX4" fmla="*/ 166688 w 377864"/>
              <a:gd name="connsiteY4" fmla="*/ 281839 h 317889"/>
              <a:gd name="connsiteX5" fmla="*/ 166341 w 377864"/>
              <a:gd name="connsiteY5" fmla="*/ 280856 h 317889"/>
              <a:gd name="connsiteX6" fmla="*/ 166977 w 377864"/>
              <a:gd name="connsiteY6" fmla="*/ 280046 h 317889"/>
              <a:gd name="connsiteX7" fmla="*/ 170275 w 377864"/>
              <a:gd name="connsiteY7" fmla="*/ 278311 h 317889"/>
              <a:gd name="connsiteX8" fmla="*/ 170275 w 377864"/>
              <a:gd name="connsiteY8" fmla="*/ 278311 h 317889"/>
              <a:gd name="connsiteX9" fmla="*/ 165705 w 377864"/>
              <a:gd name="connsiteY9" fmla="*/ 265816 h 317889"/>
              <a:gd name="connsiteX10" fmla="*/ 160846 w 377864"/>
              <a:gd name="connsiteY10" fmla="*/ 257660 h 317889"/>
              <a:gd name="connsiteX11" fmla="*/ 166630 w 377864"/>
              <a:gd name="connsiteY11" fmla="*/ 243720 h 317889"/>
              <a:gd name="connsiteX12" fmla="*/ 160152 w 377864"/>
              <a:gd name="connsiteY12" fmla="*/ 228623 h 317889"/>
              <a:gd name="connsiteX13" fmla="*/ 155987 w 377864"/>
              <a:gd name="connsiteY13" fmla="*/ 224226 h 317889"/>
              <a:gd name="connsiteX14" fmla="*/ 162408 w 377864"/>
              <a:gd name="connsiteY14" fmla="*/ 172861 h 317889"/>
              <a:gd name="connsiteX15" fmla="*/ 163507 w 377864"/>
              <a:gd name="connsiteY15" fmla="*/ 167481 h 317889"/>
              <a:gd name="connsiteX16" fmla="*/ 151591 w 377864"/>
              <a:gd name="connsiteY16" fmla="*/ 164415 h 317889"/>
              <a:gd name="connsiteX17" fmla="*/ 131577 w 377864"/>
              <a:gd name="connsiteY17" fmla="*/ 166093 h 317889"/>
              <a:gd name="connsiteX18" fmla="*/ 92301 w 377864"/>
              <a:gd name="connsiteY18" fmla="*/ 148740 h 317889"/>
              <a:gd name="connsiteX19" fmla="*/ 77782 w 377864"/>
              <a:gd name="connsiteY19" fmla="*/ 142087 h 317889"/>
              <a:gd name="connsiteX20" fmla="*/ 65519 w 377864"/>
              <a:gd name="connsiteY20" fmla="*/ 143302 h 317889"/>
              <a:gd name="connsiteX21" fmla="*/ 46488 w 377864"/>
              <a:gd name="connsiteY21" fmla="*/ 145037 h 317889"/>
              <a:gd name="connsiteX22" fmla="*/ 45794 w 377864"/>
              <a:gd name="connsiteY22" fmla="*/ 145037 h 317889"/>
              <a:gd name="connsiteX23" fmla="*/ 31680 w 377864"/>
              <a:gd name="connsiteY23" fmla="*/ 139253 h 317889"/>
              <a:gd name="connsiteX24" fmla="*/ 27399 w 377864"/>
              <a:gd name="connsiteY24" fmla="*/ 109347 h 317889"/>
              <a:gd name="connsiteX25" fmla="*/ 27399 w 377864"/>
              <a:gd name="connsiteY25" fmla="*/ 107381 h 317889"/>
              <a:gd name="connsiteX26" fmla="*/ 21094 w 377864"/>
              <a:gd name="connsiteY26" fmla="*/ 97200 h 317889"/>
              <a:gd name="connsiteX27" fmla="*/ 15310 w 377864"/>
              <a:gd name="connsiteY27" fmla="*/ 89507 h 317889"/>
              <a:gd name="connsiteX28" fmla="*/ 7617 w 377864"/>
              <a:gd name="connsiteY28" fmla="*/ 84416 h 317889"/>
              <a:gd name="connsiteX29" fmla="*/ 3683 w 377864"/>
              <a:gd name="connsiteY29" fmla="*/ 84416 h 317889"/>
              <a:gd name="connsiteX30" fmla="*/ 155 w 377864"/>
              <a:gd name="connsiteY30" fmla="*/ 83028 h 317889"/>
              <a:gd name="connsiteX31" fmla="*/ 6807 w 377864"/>
              <a:gd name="connsiteY31" fmla="*/ 70071 h 317889"/>
              <a:gd name="connsiteX32" fmla="*/ 10567 w 377864"/>
              <a:gd name="connsiteY32" fmla="*/ 53123 h 317889"/>
              <a:gd name="connsiteX33" fmla="*/ 10567 w 377864"/>
              <a:gd name="connsiteY33" fmla="*/ 51677 h 317889"/>
              <a:gd name="connsiteX34" fmla="*/ 24681 w 377864"/>
              <a:gd name="connsiteY34" fmla="*/ 30910 h 317889"/>
              <a:gd name="connsiteX35" fmla="*/ 34861 w 377864"/>
              <a:gd name="connsiteY35" fmla="*/ 20151 h 317889"/>
              <a:gd name="connsiteX36" fmla="*/ 43711 w 377864"/>
              <a:gd name="connsiteY36" fmla="*/ 14367 h 317889"/>
              <a:gd name="connsiteX37" fmla="*/ 44868 w 377864"/>
              <a:gd name="connsiteY37" fmla="*/ 14714 h 317889"/>
              <a:gd name="connsiteX38" fmla="*/ 44868 w 377864"/>
              <a:gd name="connsiteY38" fmla="*/ 15871 h 317889"/>
              <a:gd name="connsiteX39" fmla="*/ 48397 w 377864"/>
              <a:gd name="connsiteY39" fmla="*/ 33803 h 317889"/>
              <a:gd name="connsiteX40" fmla="*/ 43133 w 377864"/>
              <a:gd name="connsiteY40" fmla="*/ 48611 h 317889"/>
              <a:gd name="connsiteX41" fmla="*/ 36307 w 377864"/>
              <a:gd name="connsiteY41" fmla="*/ 69666 h 317889"/>
              <a:gd name="connsiteX42" fmla="*/ 56148 w 377864"/>
              <a:gd name="connsiteY42" fmla="*/ 83549 h 317889"/>
              <a:gd name="connsiteX43" fmla="*/ 63379 w 377864"/>
              <a:gd name="connsiteY43" fmla="*/ 79269 h 317889"/>
              <a:gd name="connsiteX44" fmla="*/ 59156 w 377864"/>
              <a:gd name="connsiteY44" fmla="*/ 57924 h 317889"/>
              <a:gd name="connsiteX45" fmla="*/ 54181 w 377864"/>
              <a:gd name="connsiteY45" fmla="*/ 39645 h 317889"/>
              <a:gd name="connsiteX46" fmla="*/ 84260 w 377864"/>
              <a:gd name="connsiteY46" fmla="*/ 20441 h 317889"/>
              <a:gd name="connsiteX47" fmla="*/ 91780 w 377864"/>
              <a:gd name="connsiteY47" fmla="*/ 17606 h 317889"/>
              <a:gd name="connsiteX48" fmla="*/ 93805 w 377864"/>
              <a:gd name="connsiteY48" fmla="*/ 9566 h 317889"/>
              <a:gd name="connsiteX49" fmla="*/ 94846 w 377864"/>
              <a:gd name="connsiteY49" fmla="*/ 1757 h 317889"/>
              <a:gd name="connsiteX50" fmla="*/ 100109 w 377864"/>
              <a:gd name="connsiteY50" fmla="*/ -94 h 317889"/>
              <a:gd name="connsiteX51" fmla="*/ 110695 w 377864"/>
              <a:gd name="connsiteY51" fmla="*/ 7541 h 317889"/>
              <a:gd name="connsiteX52" fmla="*/ 123074 w 377864"/>
              <a:gd name="connsiteY52" fmla="*/ 15061 h 317889"/>
              <a:gd name="connsiteX53" fmla="*/ 140080 w 377864"/>
              <a:gd name="connsiteY53" fmla="*/ 20846 h 317889"/>
              <a:gd name="connsiteX54" fmla="*/ 145460 w 377864"/>
              <a:gd name="connsiteY54" fmla="*/ 37678 h 317889"/>
              <a:gd name="connsiteX55" fmla="*/ 147253 w 377864"/>
              <a:gd name="connsiteY55" fmla="*/ 42769 h 317889"/>
              <a:gd name="connsiteX56" fmla="*/ 160094 w 377864"/>
              <a:gd name="connsiteY56" fmla="*/ 46528 h 317889"/>
              <a:gd name="connsiteX57" fmla="*/ 179703 w 377864"/>
              <a:gd name="connsiteY57" fmla="*/ 42653 h 317889"/>
              <a:gd name="connsiteX58" fmla="*/ 184736 w 377864"/>
              <a:gd name="connsiteY58" fmla="*/ 41728 h 317889"/>
              <a:gd name="connsiteX59" fmla="*/ 207006 w 377864"/>
              <a:gd name="connsiteY59" fmla="*/ 50693 h 317889"/>
              <a:gd name="connsiteX60" fmla="*/ 226615 w 377864"/>
              <a:gd name="connsiteY60" fmla="*/ 58907 h 317889"/>
              <a:gd name="connsiteX61" fmla="*/ 231011 w 377864"/>
              <a:gd name="connsiteY61" fmla="*/ 57866 h 317889"/>
              <a:gd name="connsiteX62" fmla="*/ 284112 w 377864"/>
              <a:gd name="connsiteY62" fmla="*/ 38951 h 317889"/>
              <a:gd name="connsiteX63" fmla="*/ 290475 w 377864"/>
              <a:gd name="connsiteY63" fmla="*/ 38488 h 317889"/>
              <a:gd name="connsiteX64" fmla="*/ 312282 w 377864"/>
              <a:gd name="connsiteY64" fmla="*/ 45314 h 317889"/>
              <a:gd name="connsiteX65" fmla="*/ 307366 w 377864"/>
              <a:gd name="connsiteY65" fmla="*/ 47859 h 317889"/>
              <a:gd name="connsiteX66" fmla="*/ 297590 w 377864"/>
              <a:gd name="connsiteY66" fmla="*/ 54627 h 317889"/>
              <a:gd name="connsiteX67" fmla="*/ 303895 w 377864"/>
              <a:gd name="connsiteY67" fmla="*/ 60758 h 317889"/>
              <a:gd name="connsiteX68" fmla="*/ 312282 w 377864"/>
              <a:gd name="connsiteY68" fmla="*/ 62147 h 317889"/>
              <a:gd name="connsiteX69" fmla="*/ 345369 w 377864"/>
              <a:gd name="connsiteY69" fmla="*/ 77070 h 317889"/>
              <a:gd name="connsiteX70" fmla="*/ 338197 w 377864"/>
              <a:gd name="connsiteY70" fmla="*/ 92110 h 317889"/>
              <a:gd name="connsiteX71" fmla="*/ 334842 w 377864"/>
              <a:gd name="connsiteY71" fmla="*/ 97894 h 317889"/>
              <a:gd name="connsiteX72" fmla="*/ 334842 w 377864"/>
              <a:gd name="connsiteY72" fmla="*/ 97894 h 317889"/>
              <a:gd name="connsiteX73" fmla="*/ 336924 w 377864"/>
              <a:gd name="connsiteY73" fmla="*/ 97894 h 317889"/>
              <a:gd name="connsiteX74" fmla="*/ 346179 w 377864"/>
              <a:gd name="connsiteY74" fmla="*/ 97894 h 317889"/>
              <a:gd name="connsiteX75" fmla="*/ 377010 w 377864"/>
              <a:gd name="connsiteY75" fmla="*/ 102290 h 317889"/>
              <a:gd name="connsiteX76" fmla="*/ 377646 w 377864"/>
              <a:gd name="connsiteY76" fmla="*/ 102927 h 317889"/>
              <a:gd name="connsiteX77" fmla="*/ 377646 w 377864"/>
              <a:gd name="connsiteY77" fmla="*/ 103852 h 317889"/>
              <a:gd name="connsiteX78" fmla="*/ 367176 w 377864"/>
              <a:gd name="connsiteY78" fmla="*/ 117388 h 317889"/>
              <a:gd name="connsiteX79" fmla="*/ 355608 w 377864"/>
              <a:gd name="connsiteY79" fmla="*/ 131213 h 317889"/>
              <a:gd name="connsiteX80" fmla="*/ 357401 w 377864"/>
              <a:gd name="connsiteY80" fmla="*/ 134105 h 317889"/>
              <a:gd name="connsiteX81" fmla="*/ 363185 w 377864"/>
              <a:gd name="connsiteY81" fmla="*/ 144575 h 317889"/>
              <a:gd name="connsiteX82" fmla="*/ 353005 w 377864"/>
              <a:gd name="connsiteY82" fmla="*/ 150880 h 317889"/>
              <a:gd name="connsiteX83" fmla="*/ 342303 w 377864"/>
              <a:gd name="connsiteY83" fmla="*/ 154582 h 317889"/>
              <a:gd name="connsiteX84" fmla="*/ 341262 w 377864"/>
              <a:gd name="connsiteY84" fmla="*/ 162391 h 317889"/>
              <a:gd name="connsiteX85" fmla="*/ 338254 w 377864"/>
              <a:gd name="connsiteY85" fmla="*/ 170605 h 317889"/>
              <a:gd name="connsiteX86" fmla="*/ 337907 w 377864"/>
              <a:gd name="connsiteY86" fmla="*/ 176389 h 317889"/>
              <a:gd name="connsiteX87" fmla="*/ 356013 w 377864"/>
              <a:gd name="connsiteY87" fmla="*/ 198601 h 317889"/>
              <a:gd name="connsiteX88" fmla="*/ 356013 w 377864"/>
              <a:gd name="connsiteY88" fmla="*/ 199816 h 317889"/>
              <a:gd name="connsiteX89" fmla="*/ 354798 w 377864"/>
              <a:gd name="connsiteY89" fmla="*/ 202246 h 317889"/>
              <a:gd name="connsiteX90" fmla="*/ 348030 w 377864"/>
              <a:gd name="connsiteY90" fmla="*/ 210170 h 317889"/>
              <a:gd name="connsiteX91" fmla="*/ 338254 w 377864"/>
              <a:gd name="connsiteY91" fmla="*/ 214798 h 317889"/>
              <a:gd name="connsiteX92" fmla="*/ 313844 w 377864"/>
              <a:gd name="connsiteY92" fmla="*/ 223301 h 317889"/>
              <a:gd name="connsiteX93" fmla="*/ 296491 w 377864"/>
              <a:gd name="connsiteY93" fmla="*/ 232845 h 317889"/>
              <a:gd name="connsiteX94" fmla="*/ 291343 w 377864"/>
              <a:gd name="connsiteY94" fmla="*/ 239786 h 317889"/>
              <a:gd name="connsiteX95" fmla="*/ 283592 w 377864"/>
              <a:gd name="connsiteY95" fmla="*/ 232266 h 317889"/>
              <a:gd name="connsiteX96" fmla="*/ 272023 w 377864"/>
              <a:gd name="connsiteY96" fmla="*/ 227986 h 317889"/>
              <a:gd name="connsiteX97" fmla="*/ 260049 w 377864"/>
              <a:gd name="connsiteY97" fmla="*/ 224689 h 317889"/>
              <a:gd name="connsiteX98" fmla="*/ 250447 w 377864"/>
              <a:gd name="connsiteY98" fmla="*/ 222317 h 317889"/>
              <a:gd name="connsiteX99" fmla="*/ 241539 w 377864"/>
              <a:gd name="connsiteY99" fmla="*/ 224400 h 317889"/>
              <a:gd name="connsiteX100" fmla="*/ 243390 w 377864"/>
              <a:gd name="connsiteY100" fmla="*/ 226135 h 317889"/>
              <a:gd name="connsiteX101" fmla="*/ 254612 w 377864"/>
              <a:gd name="connsiteY101" fmla="*/ 247653 h 317889"/>
              <a:gd name="connsiteX102" fmla="*/ 257735 w 377864"/>
              <a:gd name="connsiteY102" fmla="*/ 254595 h 317889"/>
              <a:gd name="connsiteX103" fmla="*/ 262016 w 377864"/>
              <a:gd name="connsiteY103" fmla="*/ 264833 h 317889"/>
              <a:gd name="connsiteX104" fmla="*/ 262768 w 377864"/>
              <a:gd name="connsiteY104" fmla="*/ 268767 h 317889"/>
              <a:gd name="connsiteX105" fmla="*/ 268899 w 377864"/>
              <a:gd name="connsiteY105" fmla="*/ 268362 h 317889"/>
              <a:gd name="connsiteX106" fmla="*/ 274684 w 377864"/>
              <a:gd name="connsiteY106" fmla="*/ 266973 h 317889"/>
              <a:gd name="connsiteX107" fmla="*/ 279774 w 377864"/>
              <a:gd name="connsiteY107" fmla="*/ 271774 h 317889"/>
              <a:gd name="connsiteX108" fmla="*/ 271618 w 377864"/>
              <a:gd name="connsiteY108" fmla="*/ 280740 h 317889"/>
              <a:gd name="connsiteX109" fmla="*/ 257330 w 377864"/>
              <a:gd name="connsiteY109" fmla="*/ 294623 h 317889"/>
              <a:gd name="connsiteX110" fmla="*/ 248364 w 377864"/>
              <a:gd name="connsiteY110" fmla="*/ 300407 h 317889"/>
              <a:gd name="connsiteX111" fmla="*/ 238936 w 377864"/>
              <a:gd name="connsiteY111" fmla="*/ 303936 h 317889"/>
              <a:gd name="connsiteX112" fmla="*/ 237258 w 377864"/>
              <a:gd name="connsiteY112" fmla="*/ 305440 h 317889"/>
              <a:gd name="connsiteX113" fmla="*/ 222219 w 377864"/>
              <a:gd name="connsiteY113" fmla="*/ 314926 h 317889"/>
              <a:gd name="connsiteX114" fmla="*/ 218690 w 377864"/>
              <a:gd name="connsiteY114" fmla="*/ 313885 h 317889"/>
              <a:gd name="connsiteX115" fmla="*/ 205502 w 377864"/>
              <a:gd name="connsiteY115" fmla="*/ 316199 h 317889"/>
              <a:gd name="connsiteX116" fmla="*/ 205097 w 377864"/>
              <a:gd name="connsiteY116" fmla="*/ 316199 h 317889"/>
              <a:gd name="connsiteX117" fmla="*/ 200643 w 377864"/>
              <a:gd name="connsiteY117" fmla="*/ 317760 h 317889"/>
              <a:gd name="connsiteX118" fmla="*/ 169349 w 377864"/>
              <a:gd name="connsiteY118" fmla="*/ 281550 h 317889"/>
              <a:gd name="connsiteX119" fmla="*/ 181323 w 377864"/>
              <a:gd name="connsiteY119" fmla="*/ 297689 h 317889"/>
              <a:gd name="connsiteX120" fmla="*/ 189074 w 377864"/>
              <a:gd name="connsiteY120" fmla="*/ 307927 h 317889"/>
              <a:gd name="connsiteX121" fmla="*/ 192082 w 377864"/>
              <a:gd name="connsiteY121" fmla="*/ 310414 h 317889"/>
              <a:gd name="connsiteX122" fmla="*/ 200643 w 377864"/>
              <a:gd name="connsiteY122" fmla="*/ 315504 h 317889"/>
              <a:gd name="connsiteX123" fmla="*/ 204171 w 377864"/>
              <a:gd name="connsiteY123" fmla="*/ 314347 h 317889"/>
              <a:gd name="connsiteX124" fmla="*/ 204518 w 377864"/>
              <a:gd name="connsiteY124" fmla="*/ 314347 h 317889"/>
              <a:gd name="connsiteX125" fmla="*/ 214757 w 377864"/>
              <a:gd name="connsiteY125" fmla="*/ 310414 h 317889"/>
              <a:gd name="connsiteX126" fmla="*/ 220136 w 377864"/>
              <a:gd name="connsiteY126" fmla="*/ 312092 h 317889"/>
              <a:gd name="connsiteX127" fmla="*/ 235928 w 377864"/>
              <a:gd name="connsiteY127" fmla="*/ 303878 h 317889"/>
              <a:gd name="connsiteX128" fmla="*/ 237605 w 377864"/>
              <a:gd name="connsiteY128" fmla="*/ 302374 h 317889"/>
              <a:gd name="connsiteX129" fmla="*/ 248307 w 377864"/>
              <a:gd name="connsiteY129" fmla="*/ 298325 h 317889"/>
              <a:gd name="connsiteX130" fmla="*/ 255306 w 377864"/>
              <a:gd name="connsiteY130" fmla="*/ 293871 h 317889"/>
              <a:gd name="connsiteX131" fmla="*/ 271791 w 377864"/>
              <a:gd name="connsiteY131" fmla="*/ 278311 h 317889"/>
              <a:gd name="connsiteX132" fmla="*/ 278096 w 377864"/>
              <a:gd name="connsiteY132" fmla="*/ 271832 h 317889"/>
              <a:gd name="connsiteX133" fmla="*/ 275320 w 377864"/>
              <a:gd name="connsiteY133" fmla="*/ 269056 h 317889"/>
              <a:gd name="connsiteX134" fmla="*/ 275262 w 377864"/>
              <a:gd name="connsiteY134" fmla="*/ 269056 h 317889"/>
              <a:gd name="connsiteX135" fmla="*/ 270056 w 377864"/>
              <a:gd name="connsiteY135" fmla="*/ 270328 h 317889"/>
              <a:gd name="connsiteX136" fmla="*/ 264850 w 377864"/>
              <a:gd name="connsiteY136" fmla="*/ 271543 h 317889"/>
              <a:gd name="connsiteX137" fmla="*/ 261379 w 377864"/>
              <a:gd name="connsiteY137" fmla="*/ 269865 h 317889"/>
              <a:gd name="connsiteX138" fmla="*/ 260165 w 377864"/>
              <a:gd name="connsiteY138" fmla="*/ 264659 h 317889"/>
              <a:gd name="connsiteX139" fmla="*/ 256578 w 377864"/>
              <a:gd name="connsiteY139" fmla="*/ 256041 h 317889"/>
              <a:gd name="connsiteX140" fmla="*/ 252819 w 377864"/>
              <a:gd name="connsiteY140" fmla="*/ 247479 h 317889"/>
              <a:gd name="connsiteX141" fmla="*/ 242696 w 377864"/>
              <a:gd name="connsiteY141" fmla="*/ 227928 h 317889"/>
              <a:gd name="connsiteX142" fmla="*/ 239804 w 377864"/>
              <a:gd name="connsiteY142" fmla="*/ 223648 h 317889"/>
              <a:gd name="connsiteX143" fmla="*/ 250910 w 377864"/>
              <a:gd name="connsiteY143" fmla="*/ 219888 h 317889"/>
              <a:gd name="connsiteX144" fmla="*/ 262131 w 377864"/>
              <a:gd name="connsiteY144" fmla="*/ 222896 h 317889"/>
              <a:gd name="connsiteX145" fmla="*/ 272659 w 377864"/>
              <a:gd name="connsiteY145" fmla="*/ 225557 h 317889"/>
              <a:gd name="connsiteX146" fmla="*/ 286194 w 377864"/>
              <a:gd name="connsiteY146" fmla="*/ 231341 h 317889"/>
              <a:gd name="connsiteX147" fmla="*/ 291979 w 377864"/>
              <a:gd name="connsiteY147" fmla="*/ 237125 h 317889"/>
              <a:gd name="connsiteX148" fmla="*/ 294871 w 377864"/>
              <a:gd name="connsiteY148" fmla="*/ 232440 h 317889"/>
              <a:gd name="connsiteX149" fmla="*/ 315059 w 377864"/>
              <a:gd name="connsiteY149" fmla="*/ 220871 h 317889"/>
              <a:gd name="connsiteX150" fmla="*/ 338197 w 377864"/>
              <a:gd name="connsiteY150" fmla="*/ 212600 h 317889"/>
              <a:gd name="connsiteX151" fmla="*/ 348320 w 377864"/>
              <a:gd name="connsiteY151" fmla="*/ 207798 h 317889"/>
              <a:gd name="connsiteX152" fmla="*/ 353757 w 377864"/>
              <a:gd name="connsiteY152" fmla="*/ 201031 h 317889"/>
              <a:gd name="connsiteX153" fmla="*/ 354682 w 377864"/>
              <a:gd name="connsiteY153" fmla="*/ 199180 h 317889"/>
              <a:gd name="connsiteX154" fmla="*/ 337329 w 377864"/>
              <a:gd name="connsiteY154" fmla="*/ 177893 h 317889"/>
              <a:gd name="connsiteX155" fmla="*/ 337329 w 377864"/>
              <a:gd name="connsiteY155" fmla="*/ 168985 h 317889"/>
              <a:gd name="connsiteX156" fmla="*/ 339874 w 377864"/>
              <a:gd name="connsiteY156" fmla="*/ 162506 h 317889"/>
              <a:gd name="connsiteX157" fmla="*/ 341436 w 377864"/>
              <a:gd name="connsiteY157" fmla="*/ 152962 h 317889"/>
              <a:gd name="connsiteX158" fmla="*/ 353699 w 377864"/>
              <a:gd name="connsiteY158" fmla="*/ 148392 h 317889"/>
              <a:gd name="connsiteX159" fmla="*/ 361855 w 377864"/>
              <a:gd name="connsiteY159" fmla="*/ 143823 h 317889"/>
              <a:gd name="connsiteX160" fmla="*/ 357112 w 377864"/>
              <a:gd name="connsiteY160" fmla="*/ 135840 h 317889"/>
              <a:gd name="connsiteX161" fmla="*/ 354219 w 377864"/>
              <a:gd name="connsiteY161" fmla="*/ 130981 h 317889"/>
              <a:gd name="connsiteX162" fmla="*/ 366945 w 377864"/>
              <a:gd name="connsiteY162" fmla="*/ 115190 h 317889"/>
              <a:gd name="connsiteX163" fmla="*/ 375911 w 377864"/>
              <a:gd name="connsiteY163" fmla="*/ 103621 h 317889"/>
              <a:gd name="connsiteX164" fmla="*/ 346989 w 377864"/>
              <a:gd name="connsiteY164" fmla="*/ 99803 h 317889"/>
              <a:gd name="connsiteX165" fmla="*/ 337849 w 377864"/>
              <a:gd name="connsiteY165" fmla="*/ 99803 h 317889"/>
              <a:gd name="connsiteX166" fmla="*/ 337098 w 377864"/>
              <a:gd name="connsiteY166" fmla="*/ 99803 h 317889"/>
              <a:gd name="connsiteX167" fmla="*/ 333627 w 377864"/>
              <a:gd name="connsiteY167" fmla="*/ 98357 h 317889"/>
              <a:gd name="connsiteX168" fmla="*/ 337155 w 377864"/>
              <a:gd name="connsiteY168" fmla="*/ 90085 h 317889"/>
              <a:gd name="connsiteX169" fmla="*/ 343923 w 377864"/>
              <a:gd name="connsiteY169" fmla="*/ 76203 h 317889"/>
              <a:gd name="connsiteX170" fmla="*/ 312803 w 377864"/>
              <a:gd name="connsiteY170" fmla="*/ 63651 h 317889"/>
              <a:gd name="connsiteX171" fmla="*/ 304242 w 377864"/>
              <a:gd name="connsiteY171" fmla="*/ 62204 h 317889"/>
              <a:gd name="connsiteX172" fmla="*/ 296144 w 377864"/>
              <a:gd name="connsiteY172" fmla="*/ 53701 h 317889"/>
              <a:gd name="connsiteX173" fmla="*/ 308060 w 377864"/>
              <a:gd name="connsiteY173" fmla="*/ 44851 h 317889"/>
              <a:gd name="connsiteX174" fmla="*/ 310663 w 377864"/>
              <a:gd name="connsiteY174" fmla="*/ 44446 h 317889"/>
              <a:gd name="connsiteX175" fmla="*/ 291285 w 377864"/>
              <a:gd name="connsiteY175" fmla="*/ 39992 h 317889"/>
              <a:gd name="connsiteX176" fmla="*/ 285500 w 377864"/>
              <a:gd name="connsiteY176" fmla="*/ 40455 h 317889"/>
              <a:gd name="connsiteX177" fmla="*/ 233440 w 377864"/>
              <a:gd name="connsiteY177" fmla="*/ 59081 h 317889"/>
              <a:gd name="connsiteX178" fmla="*/ 227656 w 377864"/>
              <a:gd name="connsiteY178" fmla="*/ 60411 h 317889"/>
              <a:gd name="connsiteX179" fmla="*/ 206890 w 377864"/>
              <a:gd name="connsiteY179" fmla="*/ 51908 h 317889"/>
              <a:gd name="connsiteX180" fmla="*/ 185777 w 377864"/>
              <a:gd name="connsiteY180" fmla="*/ 43174 h 317889"/>
              <a:gd name="connsiteX181" fmla="*/ 181554 w 377864"/>
              <a:gd name="connsiteY181" fmla="*/ 43983 h 317889"/>
              <a:gd name="connsiteX182" fmla="*/ 161135 w 377864"/>
              <a:gd name="connsiteY182" fmla="*/ 48032 h 317889"/>
              <a:gd name="connsiteX183" fmla="*/ 146674 w 377864"/>
              <a:gd name="connsiteY183" fmla="*/ 43578 h 317889"/>
              <a:gd name="connsiteX184" fmla="*/ 144245 w 377864"/>
              <a:gd name="connsiteY184" fmla="*/ 36811 h 317889"/>
              <a:gd name="connsiteX185" fmla="*/ 139501 w 377864"/>
              <a:gd name="connsiteY185" fmla="*/ 21656 h 317889"/>
              <a:gd name="connsiteX186" fmla="*/ 124288 w 377864"/>
              <a:gd name="connsiteY186" fmla="*/ 16796 h 317889"/>
              <a:gd name="connsiteX187" fmla="*/ 109769 w 377864"/>
              <a:gd name="connsiteY187" fmla="*/ 8178 h 317889"/>
              <a:gd name="connsiteX188" fmla="*/ 101151 w 377864"/>
              <a:gd name="connsiteY188" fmla="*/ 1641 h 317889"/>
              <a:gd name="connsiteX189" fmla="*/ 97564 w 377864"/>
              <a:gd name="connsiteY189" fmla="*/ 2740 h 317889"/>
              <a:gd name="connsiteX190" fmla="*/ 97101 w 377864"/>
              <a:gd name="connsiteY190" fmla="*/ 8525 h 317889"/>
              <a:gd name="connsiteX191" fmla="*/ 93747 w 377864"/>
              <a:gd name="connsiteY191" fmla="*/ 18937 h 317889"/>
              <a:gd name="connsiteX192" fmla="*/ 86053 w 377864"/>
              <a:gd name="connsiteY192" fmla="*/ 21829 h 317889"/>
              <a:gd name="connsiteX193" fmla="*/ 57478 w 377864"/>
              <a:gd name="connsiteY193" fmla="*/ 39182 h 317889"/>
              <a:gd name="connsiteX194" fmla="*/ 62222 w 377864"/>
              <a:gd name="connsiteY194" fmla="*/ 56131 h 317889"/>
              <a:gd name="connsiteX195" fmla="*/ 66444 w 377864"/>
              <a:gd name="connsiteY195" fmla="*/ 79269 h 317889"/>
              <a:gd name="connsiteX196" fmla="*/ 57189 w 377864"/>
              <a:gd name="connsiteY196" fmla="*/ 84763 h 317889"/>
              <a:gd name="connsiteX197" fmla="*/ 35324 w 377864"/>
              <a:gd name="connsiteY197" fmla="*/ 69608 h 317889"/>
              <a:gd name="connsiteX198" fmla="*/ 42265 w 377864"/>
              <a:gd name="connsiteY198" fmla="*/ 46471 h 317889"/>
              <a:gd name="connsiteX199" fmla="*/ 47471 w 377864"/>
              <a:gd name="connsiteY199" fmla="*/ 33918 h 317889"/>
              <a:gd name="connsiteX200" fmla="*/ 43191 w 377864"/>
              <a:gd name="connsiteY200" fmla="*/ 16276 h 317889"/>
              <a:gd name="connsiteX201" fmla="*/ 37406 w 377864"/>
              <a:gd name="connsiteY201" fmla="*/ 20441 h 317889"/>
              <a:gd name="connsiteX202" fmla="*/ 26994 w 377864"/>
              <a:gd name="connsiteY202" fmla="*/ 31489 h 317889"/>
              <a:gd name="connsiteX203" fmla="*/ 13574 w 377864"/>
              <a:gd name="connsiteY203" fmla="*/ 50636 h 317889"/>
              <a:gd name="connsiteX204" fmla="*/ 13574 w 377864"/>
              <a:gd name="connsiteY204" fmla="*/ 53297 h 317889"/>
              <a:gd name="connsiteX205" fmla="*/ 9294 w 377864"/>
              <a:gd name="connsiteY205" fmla="*/ 71575 h 317889"/>
              <a:gd name="connsiteX206" fmla="*/ 2931 w 377864"/>
              <a:gd name="connsiteY206" fmla="*/ 82161 h 317889"/>
              <a:gd name="connsiteX207" fmla="*/ 4204 w 377864"/>
              <a:gd name="connsiteY207" fmla="*/ 82161 h 317889"/>
              <a:gd name="connsiteX208" fmla="*/ 8369 w 377864"/>
              <a:gd name="connsiteY208" fmla="*/ 82161 h 317889"/>
              <a:gd name="connsiteX209" fmla="*/ 18318 w 377864"/>
              <a:gd name="connsiteY209" fmla="*/ 89565 h 317889"/>
              <a:gd name="connsiteX210" fmla="*/ 23061 w 377864"/>
              <a:gd name="connsiteY210" fmla="*/ 95349 h 317889"/>
              <a:gd name="connsiteX211" fmla="*/ 30291 w 377864"/>
              <a:gd name="connsiteY211" fmla="*/ 107554 h 317889"/>
              <a:gd name="connsiteX212" fmla="*/ 30291 w 377864"/>
              <a:gd name="connsiteY212" fmla="*/ 109579 h 317889"/>
              <a:gd name="connsiteX213" fmla="*/ 34109 w 377864"/>
              <a:gd name="connsiteY213" fmla="*/ 137691 h 317889"/>
              <a:gd name="connsiteX214" fmla="*/ 46488 w 377864"/>
              <a:gd name="connsiteY214" fmla="*/ 142434 h 317889"/>
              <a:gd name="connsiteX215" fmla="*/ 47124 w 377864"/>
              <a:gd name="connsiteY215" fmla="*/ 142434 h 317889"/>
              <a:gd name="connsiteX216" fmla="*/ 65866 w 377864"/>
              <a:gd name="connsiteY216" fmla="*/ 140641 h 317889"/>
              <a:gd name="connsiteX217" fmla="*/ 78476 w 377864"/>
              <a:gd name="connsiteY217" fmla="*/ 139426 h 317889"/>
              <a:gd name="connsiteX218" fmla="*/ 94788 w 377864"/>
              <a:gd name="connsiteY218" fmla="*/ 146946 h 317889"/>
              <a:gd name="connsiteX219" fmla="*/ 131982 w 377864"/>
              <a:gd name="connsiteY219" fmla="*/ 163143 h 317889"/>
              <a:gd name="connsiteX220" fmla="*/ 152285 w 377864"/>
              <a:gd name="connsiteY220" fmla="*/ 161465 h 317889"/>
              <a:gd name="connsiteX221" fmla="*/ 166168 w 377864"/>
              <a:gd name="connsiteY221" fmla="*/ 165688 h 317889"/>
              <a:gd name="connsiteX222" fmla="*/ 165069 w 377864"/>
              <a:gd name="connsiteY222" fmla="*/ 173381 h 317889"/>
              <a:gd name="connsiteX223" fmla="*/ 158359 w 377864"/>
              <a:gd name="connsiteY223" fmla="*/ 222028 h 317889"/>
              <a:gd name="connsiteX224" fmla="*/ 162466 w 377864"/>
              <a:gd name="connsiteY224" fmla="*/ 226309 h 317889"/>
              <a:gd name="connsiteX225" fmla="*/ 169002 w 377864"/>
              <a:gd name="connsiteY225" fmla="*/ 244530 h 317889"/>
              <a:gd name="connsiteX226" fmla="*/ 163796 w 377864"/>
              <a:gd name="connsiteY226" fmla="*/ 256735 h 317889"/>
              <a:gd name="connsiteX227" fmla="*/ 167787 w 377864"/>
              <a:gd name="connsiteY227" fmla="*/ 263387 h 317889"/>
              <a:gd name="connsiteX228" fmla="*/ 173167 w 377864"/>
              <a:gd name="connsiteY228" fmla="*/ 278137 h 317889"/>
              <a:gd name="connsiteX229" fmla="*/ 173167 w 377864"/>
              <a:gd name="connsiteY229" fmla="*/ 278137 h 317889"/>
              <a:gd name="connsiteX230" fmla="*/ 169176 w 377864"/>
              <a:gd name="connsiteY230" fmla="*/ 281781 h 31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377864" h="317889">
                <a:moveTo>
                  <a:pt x="200643" y="317760"/>
                </a:moveTo>
                <a:cubicBezTo>
                  <a:pt x="197519" y="317760"/>
                  <a:pt x="194858" y="315620"/>
                  <a:pt x="190636" y="311976"/>
                </a:cubicBezTo>
                <a:lnTo>
                  <a:pt x="187628" y="309489"/>
                </a:lnTo>
                <a:cubicBezTo>
                  <a:pt x="184313" y="306348"/>
                  <a:pt x="181519" y="302692"/>
                  <a:pt x="179356" y="298672"/>
                </a:cubicBezTo>
                <a:cubicBezTo>
                  <a:pt x="175822" y="292575"/>
                  <a:pt x="171570" y="286924"/>
                  <a:pt x="166688" y="281839"/>
                </a:cubicBezTo>
                <a:cubicBezTo>
                  <a:pt x="166405" y="281596"/>
                  <a:pt x="166272" y="281220"/>
                  <a:pt x="166341" y="280856"/>
                </a:cubicBezTo>
                <a:cubicBezTo>
                  <a:pt x="166393" y="280491"/>
                  <a:pt x="166636" y="280185"/>
                  <a:pt x="166977" y="280046"/>
                </a:cubicBezTo>
                <a:cubicBezTo>
                  <a:pt x="169233" y="278947"/>
                  <a:pt x="169985" y="278484"/>
                  <a:pt x="170275" y="278311"/>
                </a:cubicBezTo>
                <a:lnTo>
                  <a:pt x="170275" y="278311"/>
                </a:lnTo>
                <a:cubicBezTo>
                  <a:pt x="171536" y="273596"/>
                  <a:pt x="169708" y="268598"/>
                  <a:pt x="165705" y="265816"/>
                </a:cubicBezTo>
                <a:cubicBezTo>
                  <a:pt x="162992" y="263919"/>
                  <a:pt x="161222" y="260952"/>
                  <a:pt x="160846" y="257660"/>
                </a:cubicBezTo>
                <a:cubicBezTo>
                  <a:pt x="160852" y="252431"/>
                  <a:pt x="162928" y="247416"/>
                  <a:pt x="166630" y="243720"/>
                </a:cubicBezTo>
                <a:cubicBezTo>
                  <a:pt x="170390" y="239382"/>
                  <a:pt x="166630" y="235159"/>
                  <a:pt x="160152" y="228623"/>
                </a:cubicBezTo>
                <a:lnTo>
                  <a:pt x="155987" y="224226"/>
                </a:lnTo>
                <a:cubicBezTo>
                  <a:pt x="148352" y="215665"/>
                  <a:pt x="154425" y="185933"/>
                  <a:pt x="162408" y="172861"/>
                </a:cubicBezTo>
                <a:cubicBezTo>
                  <a:pt x="163854" y="170547"/>
                  <a:pt x="164201" y="168753"/>
                  <a:pt x="163507" y="167481"/>
                </a:cubicBezTo>
                <a:cubicBezTo>
                  <a:pt x="162813" y="166208"/>
                  <a:pt x="160036" y="164415"/>
                  <a:pt x="151591" y="164415"/>
                </a:cubicBezTo>
                <a:cubicBezTo>
                  <a:pt x="144893" y="164600"/>
                  <a:pt x="138211" y="165156"/>
                  <a:pt x="131577" y="166093"/>
                </a:cubicBezTo>
                <a:cubicBezTo>
                  <a:pt x="116289" y="167973"/>
                  <a:pt x="101203" y="161303"/>
                  <a:pt x="92301" y="148740"/>
                </a:cubicBezTo>
                <a:cubicBezTo>
                  <a:pt x="88946" y="144152"/>
                  <a:pt x="83450" y="141636"/>
                  <a:pt x="77782" y="142087"/>
                </a:cubicBezTo>
                <a:cubicBezTo>
                  <a:pt x="73675" y="142226"/>
                  <a:pt x="69574" y="142631"/>
                  <a:pt x="65519" y="143302"/>
                </a:cubicBezTo>
                <a:cubicBezTo>
                  <a:pt x="59220" y="144274"/>
                  <a:pt x="52862" y="144852"/>
                  <a:pt x="46488" y="145037"/>
                </a:cubicBezTo>
                <a:lnTo>
                  <a:pt x="45794" y="145037"/>
                </a:lnTo>
                <a:cubicBezTo>
                  <a:pt x="40466" y="145298"/>
                  <a:pt x="35295" y="143180"/>
                  <a:pt x="31680" y="139253"/>
                </a:cubicBezTo>
                <a:cubicBezTo>
                  <a:pt x="24796" y="131444"/>
                  <a:pt x="26416" y="117619"/>
                  <a:pt x="27399" y="109347"/>
                </a:cubicBezTo>
                <a:lnTo>
                  <a:pt x="27399" y="107381"/>
                </a:lnTo>
                <a:cubicBezTo>
                  <a:pt x="27978" y="102348"/>
                  <a:pt x="24449" y="99687"/>
                  <a:pt x="21094" y="97200"/>
                </a:cubicBezTo>
                <a:cubicBezTo>
                  <a:pt x="17739" y="94713"/>
                  <a:pt x="15310" y="92920"/>
                  <a:pt x="15310" y="89507"/>
                </a:cubicBezTo>
                <a:cubicBezTo>
                  <a:pt x="15310" y="86094"/>
                  <a:pt x="12996" y="84416"/>
                  <a:pt x="7617" y="84416"/>
                </a:cubicBezTo>
                <a:cubicBezTo>
                  <a:pt x="6344" y="84416"/>
                  <a:pt x="4956" y="84416"/>
                  <a:pt x="3683" y="84416"/>
                </a:cubicBezTo>
                <a:cubicBezTo>
                  <a:pt x="1427" y="84416"/>
                  <a:pt x="502" y="83780"/>
                  <a:pt x="155" y="83028"/>
                </a:cubicBezTo>
                <a:cubicBezTo>
                  <a:pt x="-1002" y="80657"/>
                  <a:pt x="1716" y="76492"/>
                  <a:pt x="6807" y="70071"/>
                </a:cubicBezTo>
                <a:cubicBezTo>
                  <a:pt x="10335" y="65559"/>
                  <a:pt x="10393" y="61915"/>
                  <a:pt x="10567" y="53123"/>
                </a:cubicBezTo>
                <a:lnTo>
                  <a:pt x="10567" y="51677"/>
                </a:lnTo>
                <a:cubicBezTo>
                  <a:pt x="10567" y="44157"/>
                  <a:pt x="17508" y="37736"/>
                  <a:pt x="24681" y="30910"/>
                </a:cubicBezTo>
                <a:cubicBezTo>
                  <a:pt x="28354" y="27602"/>
                  <a:pt x="31761" y="24004"/>
                  <a:pt x="34861" y="20151"/>
                </a:cubicBezTo>
                <a:cubicBezTo>
                  <a:pt x="37140" y="17352"/>
                  <a:pt x="40229" y="15327"/>
                  <a:pt x="43711" y="14367"/>
                </a:cubicBezTo>
                <a:cubicBezTo>
                  <a:pt x="44134" y="14240"/>
                  <a:pt x="44585" y="14379"/>
                  <a:pt x="44868" y="14714"/>
                </a:cubicBezTo>
                <a:cubicBezTo>
                  <a:pt x="45106" y="15067"/>
                  <a:pt x="45106" y="15518"/>
                  <a:pt x="44868" y="15871"/>
                </a:cubicBezTo>
                <a:cubicBezTo>
                  <a:pt x="43821" y="22078"/>
                  <a:pt x="45077" y="28452"/>
                  <a:pt x="48397" y="33803"/>
                </a:cubicBezTo>
                <a:cubicBezTo>
                  <a:pt x="50306" y="37331"/>
                  <a:pt x="47008" y="42595"/>
                  <a:pt x="43133" y="48611"/>
                </a:cubicBezTo>
                <a:cubicBezTo>
                  <a:pt x="38621" y="55726"/>
                  <a:pt x="33531" y="63766"/>
                  <a:pt x="36307" y="69666"/>
                </a:cubicBezTo>
                <a:cubicBezTo>
                  <a:pt x="40177" y="77325"/>
                  <a:pt x="47627" y="82537"/>
                  <a:pt x="56148" y="83549"/>
                </a:cubicBezTo>
                <a:cubicBezTo>
                  <a:pt x="59208" y="83746"/>
                  <a:pt x="62077" y="82045"/>
                  <a:pt x="63379" y="79269"/>
                </a:cubicBezTo>
                <a:cubicBezTo>
                  <a:pt x="66155" y="73484"/>
                  <a:pt x="62569" y="65675"/>
                  <a:pt x="59156" y="57924"/>
                </a:cubicBezTo>
                <a:cubicBezTo>
                  <a:pt x="55899" y="52382"/>
                  <a:pt x="54181" y="46072"/>
                  <a:pt x="54181" y="39645"/>
                </a:cubicBezTo>
                <a:cubicBezTo>
                  <a:pt x="55685" y="30506"/>
                  <a:pt x="72923" y="24432"/>
                  <a:pt x="84260" y="20441"/>
                </a:cubicBezTo>
                <a:cubicBezTo>
                  <a:pt x="87384" y="19342"/>
                  <a:pt x="90045" y="18358"/>
                  <a:pt x="91780" y="17606"/>
                </a:cubicBezTo>
                <a:cubicBezTo>
                  <a:pt x="94441" y="16392"/>
                  <a:pt x="94325" y="13731"/>
                  <a:pt x="93805" y="9566"/>
                </a:cubicBezTo>
                <a:cubicBezTo>
                  <a:pt x="93047" y="6934"/>
                  <a:pt x="93429" y="4100"/>
                  <a:pt x="94846" y="1757"/>
                </a:cubicBezTo>
                <a:cubicBezTo>
                  <a:pt x="96234" y="386"/>
                  <a:pt x="98166" y="-296"/>
                  <a:pt x="100109" y="-94"/>
                </a:cubicBezTo>
                <a:cubicBezTo>
                  <a:pt x="105894" y="-94"/>
                  <a:pt x="108381" y="3781"/>
                  <a:pt x="110695" y="7541"/>
                </a:cubicBezTo>
                <a:cubicBezTo>
                  <a:pt x="112546" y="12637"/>
                  <a:pt x="117694" y="15767"/>
                  <a:pt x="123074" y="15061"/>
                </a:cubicBezTo>
                <a:cubicBezTo>
                  <a:pt x="129332" y="14223"/>
                  <a:pt x="135626" y="16363"/>
                  <a:pt x="140080" y="20846"/>
                </a:cubicBezTo>
                <a:cubicBezTo>
                  <a:pt x="144106" y="25479"/>
                  <a:pt x="146050" y="31564"/>
                  <a:pt x="145460" y="37678"/>
                </a:cubicBezTo>
                <a:cubicBezTo>
                  <a:pt x="145303" y="39552"/>
                  <a:pt x="145957" y="41404"/>
                  <a:pt x="147253" y="42769"/>
                </a:cubicBezTo>
                <a:cubicBezTo>
                  <a:pt x="150891" y="45626"/>
                  <a:pt x="155489" y="46974"/>
                  <a:pt x="160094" y="46528"/>
                </a:cubicBezTo>
                <a:cubicBezTo>
                  <a:pt x="166810" y="46419"/>
                  <a:pt x="173450" y="45106"/>
                  <a:pt x="179703" y="42653"/>
                </a:cubicBezTo>
                <a:cubicBezTo>
                  <a:pt x="181305" y="42017"/>
                  <a:pt x="183012" y="41699"/>
                  <a:pt x="184736" y="41728"/>
                </a:cubicBezTo>
                <a:cubicBezTo>
                  <a:pt x="192782" y="42855"/>
                  <a:pt x="200423" y="45933"/>
                  <a:pt x="207006" y="50693"/>
                </a:cubicBezTo>
                <a:cubicBezTo>
                  <a:pt x="212813" y="54916"/>
                  <a:pt x="219529" y="57727"/>
                  <a:pt x="226615" y="58907"/>
                </a:cubicBezTo>
                <a:cubicBezTo>
                  <a:pt x="228148" y="58942"/>
                  <a:pt x="229658" y="58583"/>
                  <a:pt x="231011" y="57866"/>
                </a:cubicBezTo>
                <a:cubicBezTo>
                  <a:pt x="247665" y="48935"/>
                  <a:pt x="265562" y="42555"/>
                  <a:pt x="284112" y="38951"/>
                </a:cubicBezTo>
                <a:cubicBezTo>
                  <a:pt x="286218" y="38644"/>
                  <a:pt x="288346" y="38494"/>
                  <a:pt x="290475" y="38488"/>
                </a:cubicBezTo>
                <a:cubicBezTo>
                  <a:pt x="300019" y="38488"/>
                  <a:pt x="312167" y="41728"/>
                  <a:pt x="312282" y="45314"/>
                </a:cubicBezTo>
                <a:cubicBezTo>
                  <a:pt x="312282" y="47628"/>
                  <a:pt x="308696" y="47801"/>
                  <a:pt x="307366" y="47859"/>
                </a:cubicBezTo>
                <a:cubicBezTo>
                  <a:pt x="301581" y="48148"/>
                  <a:pt x="297821" y="51503"/>
                  <a:pt x="297590" y="54627"/>
                </a:cubicBezTo>
                <a:cubicBezTo>
                  <a:pt x="297358" y="57750"/>
                  <a:pt x="299788" y="59890"/>
                  <a:pt x="303895" y="60758"/>
                </a:cubicBezTo>
                <a:cubicBezTo>
                  <a:pt x="306093" y="61221"/>
                  <a:pt x="308985" y="61684"/>
                  <a:pt x="312282" y="62147"/>
                </a:cubicBezTo>
                <a:cubicBezTo>
                  <a:pt x="326512" y="64287"/>
                  <a:pt x="345948" y="67237"/>
                  <a:pt x="345369" y="77070"/>
                </a:cubicBezTo>
                <a:cubicBezTo>
                  <a:pt x="344340" y="82629"/>
                  <a:pt x="341870" y="87812"/>
                  <a:pt x="338197" y="92110"/>
                </a:cubicBezTo>
                <a:cubicBezTo>
                  <a:pt x="336751" y="94192"/>
                  <a:pt x="334495" y="97316"/>
                  <a:pt x="334842" y="97894"/>
                </a:cubicBezTo>
                <a:lnTo>
                  <a:pt x="334842" y="97894"/>
                </a:lnTo>
                <a:cubicBezTo>
                  <a:pt x="335524" y="98068"/>
                  <a:pt x="336242" y="98068"/>
                  <a:pt x="336924" y="97894"/>
                </a:cubicBezTo>
                <a:cubicBezTo>
                  <a:pt x="339990" y="97894"/>
                  <a:pt x="343113" y="97894"/>
                  <a:pt x="346179" y="97894"/>
                </a:cubicBezTo>
                <a:cubicBezTo>
                  <a:pt x="356631" y="97617"/>
                  <a:pt x="367055" y="99103"/>
                  <a:pt x="377010" y="102290"/>
                </a:cubicBezTo>
                <a:cubicBezTo>
                  <a:pt x="377299" y="102406"/>
                  <a:pt x="377531" y="102638"/>
                  <a:pt x="377646" y="102927"/>
                </a:cubicBezTo>
                <a:cubicBezTo>
                  <a:pt x="377791" y="103216"/>
                  <a:pt x="377791" y="103563"/>
                  <a:pt x="377646" y="103852"/>
                </a:cubicBezTo>
                <a:cubicBezTo>
                  <a:pt x="375338" y="109168"/>
                  <a:pt x="371740" y="113819"/>
                  <a:pt x="367176" y="117388"/>
                </a:cubicBezTo>
                <a:cubicBezTo>
                  <a:pt x="361855" y="120454"/>
                  <a:pt x="355608" y="127163"/>
                  <a:pt x="355608" y="131213"/>
                </a:cubicBezTo>
                <a:cubicBezTo>
                  <a:pt x="355579" y="132445"/>
                  <a:pt x="356284" y="133578"/>
                  <a:pt x="357401" y="134105"/>
                </a:cubicBezTo>
                <a:cubicBezTo>
                  <a:pt x="361340" y="136031"/>
                  <a:pt x="363654" y="140213"/>
                  <a:pt x="363185" y="144575"/>
                </a:cubicBezTo>
                <a:cubicBezTo>
                  <a:pt x="362723" y="146657"/>
                  <a:pt x="360756" y="150359"/>
                  <a:pt x="353005" y="150880"/>
                </a:cubicBezTo>
                <a:cubicBezTo>
                  <a:pt x="349100" y="150712"/>
                  <a:pt x="345271" y="152036"/>
                  <a:pt x="342303" y="154582"/>
                </a:cubicBezTo>
                <a:cubicBezTo>
                  <a:pt x="340857" y="156918"/>
                  <a:pt x="340476" y="159759"/>
                  <a:pt x="341262" y="162391"/>
                </a:cubicBezTo>
                <a:cubicBezTo>
                  <a:pt x="341459" y="165427"/>
                  <a:pt x="340372" y="168412"/>
                  <a:pt x="338254" y="170605"/>
                </a:cubicBezTo>
                <a:cubicBezTo>
                  <a:pt x="336172" y="173381"/>
                  <a:pt x="335594" y="174422"/>
                  <a:pt x="337907" y="176389"/>
                </a:cubicBezTo>
                <a:cubicBezTo>
                  <a:pt x="344467" y="183348"/>
                  <a:pt x="350517" y="190775"/>
                  <a:pt x="356013" y="198601"/>
                </a:cubicBezTo>
                <a:cubicBezTo>
                  <a:pt x="356244" y="198971"/>
                  <a:pt x="356244" y="199446"/>
                  <a:pt x="356013" y="199816"/>
                </a:cubicBezTo>
                <a:lnTo>
                  <a:pt x="354798" y="202246"/>
                </a:lnTo>
                <a:cubicBezTo>
                  <a:pt x="353722" y="205699"/>
                  <a:pt x="351275" y="208562"/>
                  <a:pt x="348030" y="210170"/>
                </a:cubicBezTo>
                <a:cubicBezTo>
                  <a:pt x="344675" y="211501"/>
                  <a:pt x="341413" y="213051"/>
                  <a:pt x="338254" y="214798"/>
                </a:cubicBezTo>
                <a:cubicBezTo>
                  <a:pt x="329636" y="219367"/>
                  <a:pt x="319629" y="224515"/>
                  <a:pt x="313844" y="223301"/>
                </a:cubicBezTo>
                <a:cubicBezTo>
                  <a:pt x="306382" y="221855"/>
                  <a:pt x="296491" y="224631"/>
                  <a:pt x="296491" y="232845"/>
                </a:cubicBezTo>
                <a:cubicBezTo>
                  <a:pt x="296491" y="237993"/>
                  <a:pt x="293830" y="239786"/>
                  <a:pt x="291343" y="239786"/>
                </a:cubicBezTo>
                <a:cubicBezTo>
                  <a:pt x="287351" y="239329"/>
                  <a:pt x="284170" y="236240"/>
                  <a:pt x="283592" y="232266"/>
                </a:cubicBezTo>
                <a:cubicBezTo>
                  <a:pt x="282840" y="228970"/>
                  <a:pt x="277402" y="228449"/>
                  <a:pt x="272023" y="227986"/>
                </a:cubicBezTo>
                <a:cubicBezTo>
                  <a:pt x="267788" y="228148"/>
                  <a:pt x="263606" y="226991"/>
                  <a:pt x="260049" y="224689"/>
                </a:cubicBezTo>
                <a:cubicBezTo>
                  <a:pt x="257203" y="222844"/>
                  <a:pt x="253825" y="222005"/>
                  <a:pt x="250447" y="222317"/>
                </a:cubicBezTo>
                <a:cubicBezTo>
                  <a:pt x="244662" y="222317"/>
                  <a:pt x="241712" y="223648"/>
                  <a:pt x="241539" y="224400"/>
                </a:cubicBezTo>
                <a:cubicBezTo>
                  <a:pt x="241365" y="225152"/>
                  <a:pt x="241539" y="225152"/>
                  <a:pt x="243390" y="226135"/>
                </a:cubicBezTo>
                <a:cubicBezTo>
                  <a:pt x="253802" y="232209"/>
                  <a:pt x="254612" y="238572"/>
                  <a:pt x="254612" y="247653"/>
                </a:cubicBezTo>
                <a:cubicBezTo>
                  <a:pt x="254484" y="250331"/>
                  <a:pt x="255641" y="252911"/>
                  <a:pt x="257735" y="254595"/>
                </a:cubicBezTo>
                <a:cubicBezTo>
                  <a:pt x="260703" y="257134"/>
                  <a:pt x="262293" y="260934"/>
                  <a:pt x="262016" y="264833"/>
                </a:cubicBezTo>
                <a:cubicBezTo>
                  <a:pt x="261888" y="266186"/>
                  <a:pt x="262149" y="267552"/>
                  <a:pt x="262768" y="268767"/>
                </a:cubicBezTo>
                <a:cubicBezTo>
                  <a:pt x="263693" y="270039"/>
                  <a:pt x="266123" y="269287"/>
                  <a:pt x="268899" y="268362"/>
                </a:cubicBezTo>
                <a:cubicBezTo>
                  <a:pt x="270738" y="267592"/>
                  <a:pt x="272694" y="267123"/>
                  <a:pt x="274684" y="266973"/>
                </a:cubicBezTo>
                <a:cubicBezTo>
                  <a:pt x="277396" y="266938"/>
                  <a:pt x="279647" y="269061"/>
                  <a:pt x="279774" y="271774"/>
                </a:cubicBezTo>
                <a:cubicBezTo>
                  <a:pt x="279820" y="276437"/>
                  <a:pt x="276263" y="280347"/>
                  <a:pt x="271618" y="280740"/>
                </a:cubicBezTo>
                <a:cubicBezTo>
                  <a:pt x="264410" y="281903"/>
                  <a:pt x="258695" y="287450"/>
                  <a:pt x="257330" y="294623"/>
                </a:cubicBezTo>
                <a:cubicBezTo>
                  <a:pt x="255769" y="299829"/>
                  <a:pt x="252009" y="300407"/>
                  <a:pt x="248364" y="300407"/>
                </a:cubicBezTo>
                <a:cubicBezTo>
                  <a:pt x="244917" y="300517"/>
                  <a:pt x="241602" y="301755"/>
                  <a:pt x="238936" y="303936"/>
                </a:cubicBezTo>
                <a:lnTo>
                  <a:pt x="237258" y="305440"/>
                </a:lnTo>
                <a:cubicBezTo>
                  <a:pt x="231474" y="310530"/>
                  <a:pt x="226673" y="314926"/>
                  <a:pt x="222219" y="314926"/>
                </a:cubicBezTo>
                <a:cubicBezTo>
                  <a:pt x="220964" y="314938"/>
                  <a:pt x="219737" y="314573"/>
                  <a:pt x="218690" y="313885"/>
                </a:cubicBezTo>
                <a:cubicBezTo>
                  <a:pt x="214641" y="311224"/>
                  <a:pt x="210881" y="313075"/>
                  <a:pt x="205502" y="316199"/>
                </a:cubicBezTo>
                <a:lnTo>
                  <a:pt x="205097" y="316199"/>
                </a:lnTo>
                <a:cubicBezTo>
                  <a:pt x="203772" y="317101"/>
                  <a:pt x="202239" y="317639"/>
                  <a:pt x="200643" y="317760"/>
                </a:cubicBezTo>
                <a:close/>
                <a:moveTo>
                  <a:pt x="169349" y="281550"/>
                </a:moveTo>
                <a:cubicBezTo>
                  <a:pt x="173884" y="286501"/>
                  <a:pt x="177898" y="291910"/>
                  <a:pt x="181323" y="297689"/>
                </a:cubicBezTo>
                <a:cubicBezTo>
                  <a:pt x="183336" y="301495"/>
                  <a:pt x="185956" y="304954"/>
                  <a:pt x="189074" y="307927"/>
                </a:cubicBezTo>
                <a:lnTo>
                  <a:pt x="192082" y="310414"/>
                </a:lnTo>
                <a:cubicBezTo>
                  <a:pt x="195958" y="313596"/>
                  <a:pt x="198329" y="315504"/>
                  <a:pt x="200643" y="315504"/>
                </a:cubicBezTo>
                <a:cubicBezTo>
                  <a:pt x="201904" y="315453"/>
                  <a:pt x="203124" y="315053"/>
                  <a:pt x="204171" y="314347"/>
                </a:cubicBezTo>
                <a:lnTo>
                  <a:pt x="204518" y="314347"/>
                </a:lnTo>
                <a:cubicBezTo>
                  <a:pt x="207544" y="312196"/>
                  <a:pt x="211066" y="310842"/>
                  <a:pt x="214757" y="310414"/>
                </a:cubicBezTo>
                <a:cubicBezTo>
                  <a:pt x="216677" y="310414"/>
                  <a:pt x="218557" y="310998"/>
                  <a:pt x="220136" y="312092"/>
                </a:cubicBezTo>
                <a:cubicBezTo>
                  <a:pt x="223896" y="314579"/>
                  <a:pt x="229681" y="309489"/>
                  <a:pt x="235928" y="303878"/>
                </a:cubicBezTo>
                <a:lnTo>
                  <a:pt x="237605" y="302374"/>
                </a:lnTo>
                <a:cubicBezTo>
                  <a:pt x="240613" y="299852"/>
                  <a:pt x="244385" y="298429"/>
                  <a:pt x="248307" y="298325"/>
                </a:cubicBezTo>
                <a:cubicBezTo>
                  <a:pt x="251835" y="297920"/>
                  <a:pt x="254091" y="297631"/>
                  <a:pt x="255306" y="293871"/>
                </a:cubicBezTo>
                <a:cubicBezTo>
                  <a:pt x="256925" y="285703"/>
                  <a:pt x="263543" y="279456"/>
                  <a:pt x="271791" y="278311"/>
                </a:cubicBezTo>
                <a:cubicBezTo>
                  <a:pt x="276245" y="277501"/>
                  <a:pt x="278328" y="274435"/>
                  <a:pt x="278096" y="271832"/>
                </a:cubicBezTo>
                <a:cubicBezTo>
                  <a:pt x="278096" y="270299"/>
                  <a:pt x="276853" y="269056"/>
                  <a:pt x="275320" y="269056"/>
                </a:cubicBezTo>
                <a:cubicBezTo>
                  <a:pt x="275302" y="269056"/>
                  <a:pt x="275279" y="269056"/>
                  <a:pt x="275262" y="269056"/>
                </a:cubicBezTo>
                <a:cubicBezTo>
                  <a:pt x="273469" y="269206"/>
                  <a:pt x="271716" y="269640"/>
                  <a:pt x="270056" y="270328"/>
                </a:cubicBezTo>
                <a:cubicBezTo>
                  <a:pt x="268396" y="271005"/>
                  <a:pt x="266637" y="271415"/>
                  <a:pt x="264850" y="271543"/>
                </a:cubicBezTo>
                <a:cubicBezTo>
                  <a:pt x="263479" y="271630"/>
                  <a:pt x="262166" y="270993"/>
                  <a:pt x="261379" y="269865"/>
                </a:cubicBezTo>
                <a:cubicBezTo>
                  <a:pt x="260448" y="268298"/>
                  <a:pt x="260026" y="266482"/>
                  <a:pt x="260165" y="264659"/>
                </a:cubicBezTo>
                <a:cubicBezTo>
                  <a:pt x="260465" y="261368"/>
                  <a:pt x="259123" y="258146"/>
                  <a:pt x="256578" y="256041"/>
                </a:cubicBezTo>
                <a:cubicBezTo>
                  <a:pt x="254085" y="253912"/>
                  <a:pt x="252703" y="250759"/>
                  <a:pt x="252819" y="247479"/>
                </a:cubicBezTo>
                <a:cubicBezTo>
                  <a:pt x="252819" y="238167"/>
                  <a:pt x="251835" y="233250"/>
                  <a:pt x="242696" y="227928"/>
                </a:cubicBezTo>
                <a:cubicBezTo>
                  <a:pt x="240382" y="226540"/>
                  <a:pt x="239399" y="225094"/>
                  <a:pt x="239804" y="223648"/>
                </a:cubicBezTo>
                <a:cubicBezTo>
                  <a:pt x="240556" y="220871"/>
                  <a:pt x="246282" y="219888"/>
                  <a:pt x="250910" y="219888"/>
                </a:cubicBezTo>
                <a:cubicBezTo>
                  <a:pt x="254878" y="219662"/>
                  <a:pt x="258811" y="220715"/>
                  <a:pt x="262131" y="222896"/>
                </a:cubicBezTo>
                <a:cubicBezTo>
                  <a:pt x="265324" y="224747"/>
                  <a:pt x="268969" y="225666"/>
                  <a:pt x="272659" y="225557"/>
                </a:cubicBezTo>
                <a:cubicBezTo>
                  <a:pt x="278791" y="226135"/>
                  <a:pt x="285095" y="226714"/>
                  <a:pt x="286194" y="231341"/>
                </a:cubicBezTo>
                <a:cubicBezTo>
                  <a:pt x="286646" y="234332"/>
                  <a:pt x="288989" y="236674"/>
                  <a:pt x="291979" y="237125"/>
                </a:cubicBezTo>
                <a:cubicBezTo>
                  <a:pt x="293830" y="237125"/>
                  <a:pt x="294871" y="235448"/>
                  <a:pt x="294871" y="232440"/>
                </a:cubicBezTo>
                <a:cubicBezTo>
                  <a:pt x="294871" y="222433"/>
                  <a:pt x="306440" y="218962"/>
                  <a:pt x="315059" y="220871"/>
                </a:cubicBezTo>
                <a:cubicBezTo>
                  <a:pt x="320381" y="221970"/>
                  <a:pt x="330214" y="216707"/>
                  <a:pt x="338197" y="212600"/>
                </a:cubicBezTo>
                <a:cubicBezTo>
                  <a:pt x="341453" y="210754"/>
                  <a:pt x="344831" y="209152"/>
                  <a:pt x="348320" y="207798"/>
                </a:cubicBezTo>
                <a:cubicBezTo>
                  <a:pt x="350922" y="206931"/>
                  <a:pt x="352310" y="204039"/>
                  <a:pt x="353757" y="201031"/>
                </a:cubicBezTo>
                <a:cubicBezTo>
                  <a:pt x="353757" y="200395"/>
                  <a:pt x="354393" y="199758"/>
                  <a:pt x="354682" y="199180"/>
                </a:cubicBezTo>
                <a:cubicBezTo>
                  <a:pt x="349424" y="191672"/>
                  <a:pt x="343622" y="184557"/>
                  <a:pt x="337329" y="177893"/>
                </a:cubicBezTo>
                <a:cubicBezTo>
                  <a:pt x="333222" y="174480"/>
                  <a:pt x="335536" y="171472"/>
                  <a:pt x="337329" y="168985"/>
                </a:cubicBezTo>
                <a:cubicBezTo>
                  <a:pt x="339059" y="167284"/>
                  <a:pt x="339984" y="164930"/>
                  <a:pt x="339874" y="162506"/>
                </a:cubicBezTo>
                <a:cubicBezTo>
                  <a:pt x="339024" y="159250"/>
                  <a:pt x="339591" y="155779"/>
                  <a:pt x="341436" y="152962"/>
                </a:cubicBezTo>
                <a:cubicBezTo>
                  <a:pt x="344739" y="149844"/>
                  <a:pt x="349164" y="148190"/>
                  <a:pt x="353699" y="148392"/>
                </a:cubicBezTo>
                <a:cubicBezTo>
                  <a:pt x="358384" y="148045"/>
                  <a:pt x="361277" y="146426"/>
                  <a:pt x="361855" y="143823"/>
                </a:cubicBezTo>
                <a:cubicBezTo>
                  <a:pt x="362109" y="140427"/>
                  <a:pt x="360212" y="137240"/>
                  <a:pt x="357112" y="135840"/>
                </a:cubicBezTo>
                <a:cubicBezTo>
                  <a:pt x="355307" y="134897"/>
                  <a:pt x="354185" y="133017"/>
                  <a:pt x="354219" y="130981"/>
                </a:cubicBezTo>
                <a:cubicBezTo>
                  <a:pt x="354219" y="125197"/>
                  <a:pt x="361624" y="118256"/>
                  <a:pt x="366945" y="115190"/>
                </a:cubicBezTo>
                <a:cubicBezTo>
                  <a:pt x="370815" y="112107"/>
                  <a:pt x="373887" y="108138"/>
                  <a:pt x="375911" y="103621"/>
                </a:cubicBezTo>
                <a:cubicBezTo>
                  <a:pt x="366523" y="100862"/>
                  <a:pt x="356771" y="99572"/>
                  <a:pt x="346989" y="99803"/>
                </a:cubicBezTo>
                <a:cubicBezTo>
                  <a:pt x="343981" y="99803"/>
                  <a:pt x="340915" y="99803"/>
                  <a:pt x="337849" y="99803"/>
                </a:cubicBezTo>
                <a:lnTo>
                  <a:pt x="337098" y="99803"/>
                </a:lnTo>
                <a:cubicBezTo>
                  <a:pt x="336403" y="99803"/>
                  <a:pt x="334379" y="99803"/>
                  <a:pt x="333627" y="98357"/>
                </a:cubicBezTo>
                <a:cubicBezTo>
                  <a:pt x="332875" y="96911"/>
                  <a:pt x="334437" y="93903"/>
                  <a:pt x="337155" y="90085"/>
                </a:cubicBezTo>
                <a:cubicBezTo>
                  <a:pt x="340586" y="86129"/>
                  <a:pt x="342917" y="81339"/>
                  <a:pt x="343923" y="76203"/>
                </a:cubicBezTo>
                <a:cubicBezTo>
                  <a:pt x="344386" y="68452"/>
                  <a:pt x="325355" y="65559"/>
                  <a:pt x="312803" y="63651"/>
                </a:cubicBezTo>
                <a:cubicBezTo>
                  <a:pt x="309448" y="63130"/>
                  <a:pt x="306556" y="62725"/>
                  <a:pt x="304242" y="62204"/>
                </a:cubicBezTo>
                <a:cubicBezTo>
                  <a:pt x="297879" y="60874"/>
                  <a:pt x="295912" y="56940"/>
                  <a:pt x="296144" y="53701"/>
                </a:cubicBezTo>
                <a:cubicBezTo>
                  <a:pt x="297451" y="48258"/>
                  <a:pt x="302472" y="44527"/>
                  <a:pt x="308060" y="44851"/>
                </a:cubicBezTo>
                <a:cubicBezTo>
                  <a:pt x="308945" y="44880"/>
                  <a:pt x="309830" y="44741"/>
                  <a:pt x="310663" y="44446"/>
                </a:cubicBezTo>
                <a:cubicBezTo>
                  <a:pt x="304705" y="41288"/>
                  <a:pt x="298024" y="39749"/>
                  <a:pt x="291285" y="39992"/>
                </a:cubicBezTo>
                <a:cubicBezTo>
                  <a:pt x="289347" y="40009"/>
                  <a:pt x="287415" y="40160"/>
                  <a:pt x="285500" y="40455"/>
                </a:cubicBezTo>
                <a:cubicBezTo>
                  <a:pt x="267314" y="44030"/>
                  <a:pt x="249764" y="50306"/>
                  <a:pt x="233440" y="59081"/>
                </a:cubicBezTo>
                <a:cubicBezTo>
                  <a:pt x="231659" y="60018"/>
                  <a:pt x="229669" y="60475"/>
                  <a:pt x="227656" y="60411"/>
                </a:cubicBezTo>
                <a:cubicBezTo>
                  <a:pt x="220160" y="59254"/>
                  <a:pt x="213045" y="56345"/>
                  <a:pt x="206890" y="51908"/>
                </a:cubicBezTo>
                <a:cubicBezTo>
                  <a:pt x="200643" y="47373"/>
                  <a:pt x="193407" y="44377"/>
                  <a:pt x="185777" y="43174"/>
                </a:cubicBezTo>
                <a:cubicBezTo>
                  <a:pt x="184331" y="43162"/>
                  <a:pt x="182896" y="43440"/>
                  <a:pt x="181554" y="43983"/>
                </a:cubicBezTo>
                <a:cubicBezTo>
                  <a:pt x="175059" y="46581"/>
                  <a:pt x="168134" y="47952"/>
                  <a:pt x="161135" y="48032"/>
                </a:cubicBezTo>
                <a:cubicBezTo>
                  <a:pt x="155923" y="48466"/>
                  <a:pt x="150741" y="46870"/>
                  <a:pt x="146674" y="43578"/>
                </a:cubicBezTo>
                <a:cubicBezTo>
                  <a:pt x="144944" y="41768"/>
                  <a:pt x="144060" y="39310"/>
                  <a:pt x="144245" y="36811"/>
                </a:cubicBezTo>
                <a:cubicBezTo>
                  <a:pt x="144806" y="31321"/>
                  <a:pt x="143094" y="25843"/>
                  <a:pt x="139501" y="21656"/>
                </a:cubicBezTo>
                <a:cubicBezTo>
                  <a:pt x="135481" y="17728"/>
                  <a:pt x="129842" y="15923"/>
                  <a:pt x="124288" y="16796"/>
                </a:cubicBezTo>
                <a:cubicBezTo>
                  <a:pt x="118059" y="17537"/>
                  <a:pt x="112106" y="14003"/>
                  <a:pt x="109769" y="8178"/>
                </a:cubicBezTo>
                <a:cubicBezTo>
                  <a:pt x="107687" y="4649"/>
                  <a:pt x="105836" y="1641"/>
                  <a:pt x="101151" y="1641"/>
                </a:cubicBezTo>
                <a:cubicBezTo>
                  <a:pt x="99855" y="1480"/>
                  <a:pt x="98548" y="1879"/>
                  <a:pt x="97564" y="2740"/>
                </a:cubicBezTo>
                <a:cubicBezTo>
                  <a:pt x="96523" y="3897"/>
                  <a:pt x="96812" y="6269"/>
                  <a:pt x="97101" y="8525"/>
                </a:cubicBezTo>
                <a:cubicBezTo>
                  <a:pt x="97564" y="12285"/>
                  <a:pt x="98143" y="16854"/>
                  <a:pt x="93747" y="18937"/>
                </a:cubicBezTo>
                <a:cubicBezTo>
                  <a:pt x="91954" y="19747"/>
                  <a:pt x="89235" y="20672"/>
                  <a:pt x="86053" y="21829"/>
                </a:cubicBezTo>
                <a:cubicBezTo>
                  <a:pt x="75873" y="25416"/>
                  <a:pt x="58751" y="31431"/>
                  <a:pt x="57478" y="39182"/>
                </a:cubicBezTo>
                <a:cubicBezTo>
                  <a:pt x="57600" y="45140"/>
                  <a:pt x="59231" y="50977"/>
                  <a:pt x="62222" y="56131"/>
                </a:cubicBezTo>
                <a:cubicBezTo>
                  <a:pt x="65924" y="64403"/>
                  <a:pt x="69683" y="72905"/>
                  <a:pt x="66444" y="79269"/>
                </a:cubicBezTo>
                <a:cubicBezTo>
                  <a:pt x="64761" y="82809"/>
                  <a:pt x="61105" y="84978"/>
                  <a:pt x="57189" y="84763"/>
                </a:cubicBezTo>
                <a:cubicBezTo>
                  <a:pt x="47801" y="83751"/>
                  <a:pt x="39570" y="78042"/>
                  <a:pt x="35324" y="69608"/>
                </a:cubicBezTo>
                <a:cubicBezTo>
                  <a:pt x="32027" y="62551"/>
                  <a:pt x="37464" y="53991"/>
                  <a:pt x="42265" y="46471"/>
                </a:cubicBezTo>
                <a:cubicBezTo>
                  <a:pt x="45447" y="41438"/>
                  <a:pt x="48744" y="36290"/>
                  <a:pt x="47471" y="33918"/>
                </a:cubicBezTo>
                <a:cubicBezTo>
                  <a:pt x="44330" y="28591"/>
                  <a:pt x="42838" y="22454"/>
                  <a:pt x="43191" y="16276"/>
                </a:cubicBezTo>
                <a:cubicBezTo>
                  <a:pt x="40918" y="17115"/>
                  <a:pt x="38922" y="18549"/>
                  <a:pt x="37406" y="20441"/>
                </a:cubicBezTo>
                <a:cubicBezTo>
                  <a:pt x="34231" y="24392"/>
                  <a:pt x="30749" y="28082"/>
                  <a:pt x="26994" y="31489"/>
                </a:cubicBezTo>
                <a:cubicBezTo>
                  <a:pt x="20169" y="37910"/>
                  <a:pt x="13748" y="44041"/>
                  <a:pt x="13574" y="50636"/>
                </a:cubicBezTo>
                <a:lnTo>
                  <a:pt x="13574" y="53297"/>
                </a:lnTo>
                <a:cubicBezTo>
                  <a:pt x="13574" y="62320"/>
                  <a:pt x="13574" y="66485"/>
                  <a:pt x="9294" y="71575"/>
                </a:cubicBezTo>
                <a:cubicBezTo>
                  <a:pt x="3509" y="79037"/>
                  <a:pt x="2584" y="81409"/>
                  <a:pt x="2931" y="82161"/>
                </a:cubicBezTo>
                <a:cubicBezTo>
                  <a:pt x="3342" y="82300"/>
                  <a:pt x="3793" y="82300"/>
                  <a:pt x="4204" y="82161"/>
                </a:cubicBezTo>
                <a:cubicBezTo>
                  <a:pt x="5592" y="82161"/>
                  <a:pt x="7038" y="82161"/>
                  <a:pt x="8369" y="82161"/>
                </a:cubicBezTo>
                <a:cubicBezTo>
                  <a:pt x="14963" y="82161"/>
                  <a:pt x="18318" y="84648"/>
                  <a:pt x="18318" y="89565"/>
                </a:cubicBezTo>
                <a:cubicBezTo>
                  <a:pt x="18318" y="91879"/>
                  <a:pt x="20516" y="93498"/>
                  <a:pt x="23061" y="95349"/>
                </a:cubicBezTo>
                <a:cubicBezTo>
                  <a:pt x="27648" y="97651"/>
                  <a:pt x="30476" y="102424"/>
                  <a:pt x="30291" y="107554"/>
                </a:cubicBezTo>
                <a:lnTo>
                  <a:pt x="30291" y="109579"/>
                </a:lnTo>
                <a:cubicBezTo>
                  <a:pt x="29424" y="116925"/>
                  <a:pt x="27804" y="130634"/>
                  <a:pt x="34109" y="137691"/>
                </a:cubicBezTo>
                <a:cubicBezTo>
                  <a:pt x="37343" y="141011"/>
                  <a:pt x="41866" y="142747"/>
                  <a:pt x="46488" y="142434"/>
                </a:cubicBezTo>
                <a:lnTo>
                  <a:pt x="47124" y="142434"/>
                </a:lnTo>
                <a:cubicBezTo>
                  <a:pt x="53400" y="142203"/>
                  <a:pt x="59659" y="141607"/>
                  <a:pt x="65866" y="140641"/>
                </a:cubicBezTo>
                <a:cubicBezTo>
                  <a:pt x="70036" y="139970"/>
                  <a:pt x="74253" y="139560"/>
                  <a:pt x="78476" y="139426"/>
                </a:cubicBezTo>
                <a:cubicBezTo>
                  <a:pt x="84839" y="138992"/>
                  <a:pt x="90982" y="141827"/>
                  <a:pt x="94788" y="146946"/>
                </a:cubicBezTo>
                <a:cubicBezTo>
                  <a:pt x="103222" y="158827"/>
                  <a:pt x="117538" y="165057"/>
                  <a:pt x="131982" y="163143"/>
                </a:cubicBezTo>
                <a:cubicBezTo>
                  <a:pt x="138715" y="162205"/>
                  <a:pt x="145494" y="161644"/>
                  <a:pt x="152285" y="161465"/>
                </a:cubicBezTo>
                <a:cubicBezTo>
                  <a:pt x="160152" y="161465"/>
                  <a:pt x="164548" y="162796"/>
                  <a:pt x="166168" y="165688"/>
                </a:cubicBezTo>
                <a:cubicBezTo>
                  <a:pt x="167255" y="168256"/>
                  <a:pt x="166833" y="171218"/>
                  <a:pt x="165069" y="173381"/>
                </a:cubicBezTo>
                <a:cubicBezTo>
                  <a:pt x="156797" y="186801"/>
                  <a:pt x="151880" y="214740"/>
                  <a:pt x="158359" y="222028"/>
                </a:cubicBezTo>
                <a:cubicBezTo>
                  <a:pt x="159689" y="223474"/>
                  <a:pt x="161135" y="224920"/>
                  <a:pt x="162466" y="226309"/>
                </a:cubicBezTo>
                <a:cubicBezTo>
                  <a:pt x="168597" y="232556"/>
                  <a:pt x="174382" y="238398"/>
                  <a:pt x="169002" y="244530"/>
                </a:cubicBezTo>
                <a:cubicBezTo>
                  <a:pt x="165716" y="247746"/>
                  <a:pt x="163848" y="252136"/>
                  <a:pt x="163796" y="256735"/>
                </a:cubicBezTo>
                <a:cubicBezTo>
                  <a:pt x="164109" y="259424"/>
                  <a:pt x="165566" y="261842"/>
                  <a:pt x="167787" y="263387"/>
                </a:cubicBezTo>
                <a:cubicBezTo>
                  <a:pt x="172542" y="266655"/>
                  <a:pt x="174700" y="272578"/>
                  <a:pt x="173167" y="278137"/>
                </a:cubicBezTo>
                <a:lnTo>
                  <a:pt x="173167" y="278137"/>
                </a:lnTo>
                <a:cubicBezTo>
                  <a:pt x="172126" y="279988"/>
                  <a:pt x="171721" y="280509"/>
                  <a:pt x="169176" y="28178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89" name="Forma libre: forma 388">
            <a:extLst>
              <a:ext uri="{FF2B5EF4-FFF2-40B4-BE49-F238E27FC236}">
                <a16:creationId xmlns:a16="http://schemas.microsoft.com/office/drawing/2014/main" id="{9BD89391-40AA-7242-27A9-218073062A67}"/>
              </a:ext>
            </a:extLst>
          </p:cNvPr>
          <p:cNvSpPr/>
          <p:nvPr/>
        </p:nvSpPr>
        <p:spPr>
          <a:xfrm>
            <a:off x="4587983" y="4311732"/>
            <a:ext cx="115564" cy="122633"/>
          </a:xfrm>
          <a:custGeom>
            <a:avLst/>
            <a:gdLst>
              <a:gd name="connsiteX0" fmla="*/ 50215 w 115564"/>
              <a:gd name="connsiteY0" fmla="*/ 122443 h 122633"/>
              <a:gd name="connsiteX1" fmla="*/ 50215 w 115564"/>
              <a:gd name="connsiteY1" fmla="*/ 122443 h 122633"/>
              <a:gd name="connsiteX2" fmla="*/ 40150 w 115564"/>
              <a:gd name="connsiteY2" fmla="*/ 120708 h 122633"/>
              <a:gd name="connsiteX3" fmla="*/ 39456 w 115564"/>
              <a:gd name="connsiteY3" fmla="*/ 120188 h 122633"/>
              <a:gd name="connsiteX4" fmla="*/ 23202 w 115564"/>
              <a:gd name="connsiteY4" fmla="*/ 89299 h 122633"/>
              <a:gd name="connsiteX5" fmla="*/ 9956 w 115564"/>
              <a:gd name="connsiteY5" fmla="*/ 74259 h 122633"/>
              <a:gd name="connsiteX6" fmla="*/ -110 w 115564"/>
              <a:gd name="connsiteY6" fmla="*/ 62170 h 122633"/>
              <a:gd name="connsiteX7" fmla="*/ 932 w 115564"/>
              <a:gd name="connsiteY7" fmla="*/ 59683 h 122633"/>
              <a:gd name="connsiteX8" fmla="*/ 4345 w 115564"/>
              <a:gd name="connsiteY8" fmla="*/ 49560 h 122633"/>
              <a:gd name="connsiteX9" fmla="*/ 12385 w 115564"/>
              <a:gd name="connsiteY9" fmla="*/ 35793 h 122633"/>
              <a:gd name="connsiteX10" fmla="*/ 24532 w 115564"/>
              <a:gd name="connsiteY10" fmla="*/ 30008 h 122633"/>
              <a:gd name="connsiteX11" fmla="*/ 24532 w 115564"/>
              <a:gd name="connsiteY11" fmla="*/ 24629 h 122633"/>
              <a:gd name="connsiteX12" fmla="*/ 27019 w 115564"/>
              <a:gd name="connsiteY12" fmla="*/ 7623 h 122633"/>
              <a:gd name="connsiteX13" fmla="*/ 27482 w 115564"/>
              <a:gd name="connsiteY13" fmla="*/ 6234 h 122633"/>
              <a:gd name="connsiteX14" fmla="*/ 28697 w 115564"/>
              <a:gd name="connsiteY14" fmla="*/ 5482 h 122633"/>
              <a:gd name="connsiteX15" fmla="*/ 30548 w 115564"/>
              <a:gd name="connsiteY15" fmla="*/ 4962 h 122633"/>
              <a:gd name="connsiteX16" fmla="*/ 52818 w 115564"/>
              <a:gd name="connsiteY16" fmla="*/ 5772 h 122633"/>
              <a:gd name="connsiteX17" fmla="*/ 60916 w 115564"/>
              <a:gd name="connsiteY17" fmla="*/ 9069 h 122633"/>
              <a:gd name="connsiteX18" fmla="*/ 74915 w 115564"/>
              <a:gd name="connsiteY18" fmla="*/ 6929 h 122633"/>
              <a:gd name="connsiteX19" fmla="*/ 86831 w 115564"/>
              <a:gd name="connsiteY19" fmla="*/ 4730 h 122633"/>
              <a:gd name="connsiteX20" fmla="*/ 90128 w 115564"/>
              <a:gd name="connsiteY20" fmla="*/ 4730 h 122633"/>
              <a:gd name="connsiteX21" fmla="*/ 114769 w 115564"/>
              <a:gd name="connsiteY21" fmla="*/ 11209 h 122633"/>
              <a:gd name="connsiteX22" fmla="*/ 115406 w 115564"/>
              <a:gd name="connsiteY22" fmla="*/ 12597 h 122633"/>
              <a:gd name="connsiteX23" fmla="*/ 109621 w 115564"/>
              <a:gd name="connsiteY23" fmla="*/ 27174 h 122633"/>
              <a:gd name="connsiteX24" fmla="*/ 104994 w 115564"/>
              <a:gd name="connsiteY24" fmla="*/ 58236 h 122633"/>
              <a:gd name="connsiteX25" fmla="*/ 107944 w 115564"/>
              <a:gd name="connsiteY25" fmla="*/ 95488 h 122633"/>
              <a:gd name="connsiteX26" fmla="*/ 99730 w 115564"/>
              <a:gd name="connsiteY26" fmla="*/ 108330 h 122633"/>
              <a:gd name="connsiteX27" fmla="*/ 98862 w 115564"/>
              <a:gd name="connsiteY27" fmla="*/ 108850 h 122633"/>
              <a:gd name="connsiteX28" fmla="*/ 97937 w 115564"/>
              <a:gd name="connsiteY28" fmla="*/ 108445 h 122633"/>
              <a:gd name="connsiteX29" fmla="*/ 95218 w 115564"/>
              <a:gd name="connsiteY29" fmla="*/ 104859 h 122633"/>
              <a:gd name="connsiteX30" fmla="*/ 88624 w 115564"/>
              <a:gd name="connsiteY30" fmla="*/ 102430 h 122633"/>
              <a:gd name="connsiteX31" fmla="*/ 78964 w 115564"/>
              <a:gd name="connsiteY31" fmla="*/ 103471 h 122633"/>
              <a:gd name="connsiteX32" fmla="*/ 65717 w 115564"/>
              <a:gd name="connsiteY32" fmla="*/ 104512 h 122633"/>
              <a:gd name="connsiteX33" fmla="*/ 59933 w 115564"/>
              <a:gd name="connsiteY33" fmla="*/ 111684 h 122633"/>
              <a:gd name="connsiteX34" fmla="*/ 55074 w 115564"/>
              <a:gd name="connsiteY34" fmla="*/ 121634 h 122633"/>
              <a:gd name="connsiteX35" fmla="*/ 50215 w 115564"/>
              <a:gd name="connsiteY35" fmla="*/ 122443 h 122633"/>
              <a:gd name="connsiteX36" fmla="*/ 41191 w 115564"/>
              <a:gd name="connsiteY36" fmla="*/ 118626 h 122633"/>
              <a:gd name="connsiteX37" fmla="*/ 50215 w 115564"/>
              <a:gd name="connsiteY37" fmla="*/ 120188 h 122633"/>
              <a:gd name="connsiteX38" fmla="*/ 50215 w 115564"/>
              <a:gd name="connsiteY38" fmla="*/ 120188 h 122633"/>
              <a:gd name="connsiteX39" fmla="*/ 53628 w 115564"/>
              <a:gd name="connsiteY39" fmla="*/ 119494 h 122633"/>
              <a:gd name="connsiteX40" fmla="*/ 57330 w 115564"/>
              <a:gd name="connsiteY40" fmla="*/ 111222 h 122633"/>
              <a:gd name="connsiteX41" fmla="*/ 65717 w 115564"/>
              <a:gd name="connsiteY41" fmla="*/ 102082 h 122633"/>
              <a:gd name="connsiteX42" fmla="*/ 78443 w 115564"/>
              <a:gd name="connsiteY42" fmla="*/ 101041 h 122633"/>
              <a:gd name="connsiteX43" fmla="*/ 88450 w 115564"/>
              <a:gd name="connsiteY43" fmla="*/ 100000 h 122633"/>
              <a:gd name="connsiteX44" fmla="*/ 96953 w 115564"/>
              <a:gd name="connsiteY44" fmla="*/ 103471 h 122633"/>
              <a:gd name="connsiteX45" fmla="*/ 98515 w 115564"/>
              <a:gd name="connsiteY45" fmla="*/ 105669 h 122633"/>
              <a:gd name="connsiteX46" fmla="*/ 105746 w 115564"/>
              <a:gd name="connsiteY46" fmla="*/ 94100 h 122633"/>
              <a:gd name="connsiteX47" fmla="*/ 102738 w 115564"/>
              <a:gd name="connsiteY47" fmla="*/ 58699 h 122633"/>
              <a:gd name="connsiteX48" fmla="*/ 108001 w 115564"/>
              <a:gd name="connsiteY48" fmla="*/ 25034 h 122633"/>
              <a:gd name="connsiteX49" fmla="*/ 112687 w 115564"/>
              <a:gd name="connsiteY49" fmla="*/ 12539 h 122633"/>
              <a:gd name="connsiteX50" fmla="*/ 89839 w 115564"/>
              <a:gd name="connsiteY50" fmla="*/ 6755 h 122633"/>
              <a:gd name="connsiteX51" fmla="*/ 86831 w 115564"/>
              <a:gd name="connsiteY51" fmla="*/ 6755 h 122633"/>
              <a:gd name="connsiteX52" fmla="*/ 75262 w 115564"/>
              <a:gd name="connsiteY52" fmla="*/ 8895 h 122633"/>
              <a:gd name="connsiteX53" fmla="*/ 60743 w 115564"/>
              <a:gd name="connsiteY53" fmla="*/ 11093 h 122633"/>
              <a:gd name="connsiteX54" fmla="*/ 50794 w 115564"/>
              <a:gd name="connsiteY54" fmla="*/ 6813 h 122633"/>
              <a:gd name="connsiteX55" fmla="*/ 31821 w 115564"/>
              <a:gd name="connsiteY55" fmla="*/ 6466 h 122633"/>
              <a:gd name="connsiteX56" fmla="*/ 29160 w 115564"/>
              <a:gd name="connsiteY56" fmla="*/ 7507 h 122633"/>
              <a:gd name="connsiteX57" fmla="*/ 29160 w 115564"/>
              <a:gd name="connsiteY57" fmla="*/ 8143 h 122633"/>
              <a:gd name="connsiteX58" fmla="*/ 26557 w 115564"/>
              <a:gd name="connsiteY58" fmla="*/ 23414 h 122633"/>
              <a:gd name="connsiteX59" fmla="*/ 26557 w 115564"/>
              <a:gd name="connsiteY59" fmla="*/ 30876 h 122633"/>
              <a:gd name="connsiteX60" fmla="*/ 12674 w 115564"/>
              <a:gd name="connsiteY60" fmla="*/ 37760 h 122633"/>
              <a:gd name="connsiteX61" fmla="*/ 6890 w 115564"/>
              <a:gd name="connsiteY61" fmla="*/ 49733 h 122633"/>
              <a:gd name="connsiteX62" fmla="*/ 2783 w 115564"/>
              <a:gd name="connsiteY62" fmla="*/ 61013 h 122633"/>
              <a:gd name="connsiteX63" fmla="*/ 2436 w 115564"/>
              <a:gd name="connsiteY63" fmla="*/ 61823 h 122633"/>
              <a:gd name="connsiteX64" fmla="*/ 11749 w 115564"/>
              <a:gd name="connsiteY64" fmla="*/ 72293 h 122633"/>
              <a:gd name="connsiteX65" fmla="*/ 25631 w 115564"/>
              <a:gd name="connsiteY65" fmla="*/ 88258 h 122633"/>
              <a:gd name="connsiteX66" fmla="*/ 41191 w 115564"/>
              <a:gd name="connsiteY66" fmla="*/ 118626 h 12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15564" h="122633">
                <a:moveTo>
                  <a:pt x="50215" y="122443"/>
                </a:moveTo>
                <a:lnTo>
                  <a:pt x="50215" y="122443"/>
                </a:lnTo>
                <a:cubicBezTo>
                  <a:pt x="46808" y="122235"/>
                  <a:pt x="43430" y="121657"/>
                  <a:pt x="40150" y="120708"/>
                </a:cubicBezTo>
                <a:cubicBezTo>
                  <a:pt x="39867" y="120622"/>
                  <a:pt x="39618" y="120436"/>
                  <a:pt x="39456" y="120188"/>
                </a:cubicBezTo>
                <a:cubicBezTo>
                  <a:pt x="33394" y="110244"/>
                  <a:pt x="27968" y="99925"/>
                  <a:pt x="23202" y="89299"/>
                </a:cubicBezTo>
                <a:cubicBezTo>
                  <a:pt x="19887" y="83416"/>
                  <a:pt x="15375" y="78291"/>
                  <a:pt x="9956" y="74259"/>
                </a:cubicBezTo>
                <a:cubicBezTo>
                  <a:pt x="4171" y="69342"/>
                  <a:pt x="6" y="65409"/>
                  <a:pt x="-110" y="62170"/>
                </a:cubicBezTo>
                <a:cubicBezTo>
                  <a:pt x="-110" y="61233"/>
                  <a:pt x="261" y="60336"/>
                  <a:pt x="932" y="59683"/>
                </a:cubicBezTo>
                <a:cubicBezTo>
                  <a:pt x="2858" y="56628"/>
                  <a:pt x="4026" y="53158"/>
                  <a:pt x="4345" y="49560"/>
                </a:cubicBezTo>
                <a:cubicBezTo>
                  <a:pt x="5675" y="43139"/>
                  <a:pt x="7006" y="36429"/>
                  <a:pt x="12385" y="35793"/>
                </a:cubicBezTo>
                <a:cubicBezTo>
                  <a:pt x="17064" y="35660"/>
                  <a:pt x="21478" y="33560"/>
                  <a:pt x="24532" y="30008"/>
                </a:cubicBezTo>
                <a:cubicBezTo>
                  <a:pt x="25417" y="28325"/>
                  <a:pt x="25417" y="26312"/>
                  <a:pt x="24532" y="24629"/>
                </a:cubicBezTo>
                <a:cubicBezTo>
                  <a:pt x="22450" y="20464"/>
                  <a:pt x="24532" y="14506"/>
                  <a:pt x="27019" y="7623"/>
                </a:cubicBezTo>
                <a:lnTo>
                  <a:pt x="27482" y="6234"/>
                </a:lnTo>
                <a:cubicBezTo>
                  <a:pt x="27627" y="5702"/>
                  <a:pt x="28159" y="5373"/>
                  <a:pt x="28697" y="5482"/>
                </a:cubicBezTo>
                <a:cubicBezTo>
                  <a:pt x="29362" y="5581"/>
                  <a:pt x="30033" y="5390"/>
                  <a:pt x="30548" y="4962"/>
                </a:cubicBezTo>
                <a:cubicBezTo>
                  <a:pt x="38993" y="-2095"/>
                  <a:pt x="47554" y="-1806"/>
                  <a:pt x="52818" y="5772"/>
                </a:cubicBezTo>
                <a:cubicBezTo>
                  <a:pt x="54756" y="8213"/>
                  <a:pt x="57828" y="9462"/>
                  <a:pt x="60916" y="9069"/>
                </a:cubicBezTo>
                <a:cubicBezTo>
                  <a:pt x="65642" y="8809"/>
                  <a:pt x="70327" y="8091"/>
                  <a:pt x="74915" y="6929"/>
                </a:cubicBezTo>
                <a:cubicBezTo>
                  <a:pt x="78848" y="6119"/>
                  <a:pt x="82839" y="5251"/>
                  <a:pt x="86831" y="4730"/>
                </a:cubicBezTo>
                <a:cubicBezTo>
                  <a:pt x="87930" y="4667"/>
                  <a:pt x="89029" y="4667"/>
                  <a:pt x="90128" y="4730"/>
                </a:cubicBezTo>
                <a:cubicBezTo>
                  <a:pt x="98660" y="5407"/>
                  <a:pt x="107007" y="7600"/>
                  <a:pt x="114769" y="11209"/>
                </a:cubicBezTo>
                <a:cubicBezTo>
                  <a:pt x="115302" y="11446"/>
                  <a:pt x="115573" y="12042"/>
                  <a:pt x="115406" y="12597"/>
                </a:cubicBezTo>
                <a:cubicBezTo>
                  <a:pt x="112109" y="24166"/>
                  <a:pt x="110662" y="26422"/>
                  <a:pt x="109621" y="27174"/>
                </a:cubicBezTo>
                <a:cubicBezTo>
                  <a:pt x="104357" y="31512"/>
                  <a:pt x="100077" y="46494"/>
                  <a:pt x="104994" y="58236"/>
                </a:cubicBezTo>
                <a:cubicBezTo>
                  <a:pt x="109910" y="69979"/>
                  <a:pt x="110084" y="91208"/>
                  <a:pt x="107944" y="95488"/>
                </a:cubicBezTo>
                <a:cubicBezTo>
                  <a:pt x="106845" y="97628"/>
                  <a:pt x="102969" y="103529"/>
                  <a:pt x="99730" y="108330"/>
                </a:cubicBezTo>
                <a:cubicBezTo>
                  <a:pt x="99568" y="108659"/>
                  <a:pt x="99227" y="108862"/>
                  <a:pt x="98862" y="108850"/>
                </a:cubicBezTo>
                <a:cubicBezTo>
                  <a:pt x="98509" y="108862"/>
                  <a:pt x="98168" y="108717"/>
                  <a:pt x="97937" y="108445"/>
                </a:cubicBezTo>
                <a:cubicBezTo>
                  <a:pt x="96924" y="107335"/>
                  <a:pt x="96016" y="106132"/>
                  <a:pt x="95218" y="104859"/>
                </a:cubicBezTo>
                <a:cubicBezTo>
                  <a:pt x="94177" y="103182"/>
                  <a:pt x="92094" y="102430"/>
                  <a:pt x="88624" y="102430"/>
                </a:cubicBezTo>
                <a:cubicBezTo>
                  <a:pt x="85384" y="102557"/>
                  <a:pt x="82157" y="102904"/>
                  <a:pt x="78964" y="103471"/>
                </a:cubicBezTo>
                <a:cubicBezTo>
                  <a:pt x="74597" y="104286"/>
                  <a:pt x="70160" y="104639"/>
                  <a:pt x="65717" y="104512"/>
                </a:cubicBezTo>
                <a:cubicBezTo>
                  <a:pt x="61206" y="104165"/>
                  <a:pt x="60454" y="106826"/>
                  <a:pt x="59933" y="111684"/>
                </a:cubicBezTo>
                <a:cubicBezTo>
                  <a:pt x="60014" y="115589"/>
                  <a:pt x="58209" y="119297"/>
                  <a:pt x="55074" y="121634"/>
                </a:cubicBezTo>
                <a:cubicBezTo>
                  <a:pt x="53564" y="122357"/>
                  <a:pt x="51881" y="122640"/>
                  <a:pt x="50215" y="122443"/>
                </a:cubicBezTo>
                <a:close/>
                <a:moveTo>
                  <a:pt x="41191" y="118626"/>
                </a:moveTo>
                <a:cubicBezTo>
                  <a:pt x="44130" y="119476"/>
                  <a:pt x="47161" y="120002"/>
                  <a:pt x="50215" y="120188"/>
                </a:cubicBezTo>
                <a:lnTo>
                  <a:pt x="50215" y="120188"/>
                </a:lnTo>
                <a:cubicBezTo>
                  <a:pt x="51395" y="120246"/>
                  <a:pt x="52564" y="120002"/>
                  <a:pt x="53628" y="119494"/>
                </a:cubicBezTo>
                <a:cubicBezTo>
                  <a:pt x="56404" y="117932"/>
                  <a:pt x="56867" y="114693"/>
                  <a:pt x="57330" y="111222"/>
                </a:cubicBezTo>
                <a:cubicBezTo>
                  <a:pt x="57966" y="106710"/>
                  <a:pt x="58660" y="101620"/>
                  <a:pt x="65717" y="102082"/>
                </a:cubicBezTo>
                <a:cubicBezTo>
                  <a:pt x="69986" y="102233"/>
                  <a:pt x="74255" y="101886"/>
                  <a:pt x="78443" y="101041"/>
                </a:cubicBezTo>
                <a:cubicBezTo>
                  <a:pt x="81752" y="100469"/>
                  <a:pt x="85095" y="100116"/>
                  <a:pt x="88450" y="100000"/>
                </a:cubicBezTo>
                <a:cubicBezTo>
                  <a:pt x="91695" y="99607"/>
                  <a:pt x="94911" y="100920"/>
                  <a:pt x="96953" y="103471"/>
                </a:cubicBezTo>
                <a:cubicBezTo>
                  <a:pt x="97434" y="104228"/>
                  <a:pt x="97954" y="104963"/>
                  <a:pt x="98515" y="105669"/>
                </a:cubicBezTo>
                <a:cubicBezTo>
                  <a:pt x="102159" y="100231"/>
                  <a:pt x="104936" y="95835"/>
                  <a:pt x="105746" y="94100"/>
                </a:cubicBezTo>
                <a:cubicBezTo>
                  <a:pt x="107793" y="82236"/>
                  <a:pt x="106758" y="70048"/>
                  <a:pt x="102738" y="58699"/>
                </a:cubicBezTo>
                <a:cubicBezTo>
                  <a:pt x="97705" y="46668"/>
                  <a:pt x="101465" y="30413"/>
                  <a:pt x="108001" y="25034"/>
                </a:cubicBezTo>
                <a:cubicBezTo>
                  <a:pt x="110252" y="21164"/>
                  <a:pt x="111837" y="16936"/>
                  <a:pt x="112687" y="12539"/>
                </a:cubicBezTo>
                <a:cubicBezTo>
                  <a:pt x="105474" y="9271"/>
                  <a:pt x="97740" y="7310"/>
                  <a:pt x="89839" y="6755"/>
                </a:cubicBezTo>
                <a:cubicBezTo>
                  <a:pt x="88838" y="6697"/>
                  <a:pt x="87831" y="6697"/>
                  <a:pt x="86831" y="6755"/>
                </a:cubicBezTo>
                <a:cubicBezTo>
                  <a:pt x="82955" y="7218"/>
                  <a:pt x="78964" y="8086"/>
                  <a:pt x="75262" y="8895"/>
                </a:cubicBezTo>
                <a:cubicBezTo>
                  <a:pt x="70507" y="10110"/>
                  <a:pt x="65642" y="10850"/>
                  <a:pt x="60743" y="11093"/>
                </a:cubicBezTo>
                <a:cubicBezTo>
                  <a:pt x="56908" y="11504"/>
                  <a:pt x="53136" y="9879"/>
                  <a:pt x="50794" y="6813"/>
                </a:cubicBezTo>
                <a:cubicBezTo>
                  <a:pt x="46224" y="276"/>
                  <a:pt x="39225" y="276"/>
                  <a:pt x="31821" y="6466"/>
                </a:cubicBezTo>
                <a:cubicBezTo>
                  <a:pt x="31086" y="7114"/>
                  <a:pt x="30143" y="7484"/>
                  <a:pt x="29160" y="7507"/>
                </a:cubicBezTo>
                <a:lnTo>
                  <a:pt x="29160" y="8143"/>
                </a:lnTo>
                <a:cubicBezTo>
                  <a:pt x="26962" y="14275"/>
                  <a:pt x="24937" y="20117"/>
                  <a:pt x="26557" y="23414"/>
                </a:cubicBezTo>
                <a:cubicBezTo>
                  <a:pt x="27853" y="25734"/>
                  <a:pt x="27853" y="28557"/>
                  <a:pt x="26557" y="30876"/>
                </a:cubicBezTo>
                <a:cubicBezTo>
                  <a:pt x="23780" y="36024"/>
                  <a:pt x="15277" y="37413"/>
                  <a:pt x="12674" y="37760"/>
                </a:cubicBezTo>
                <a:cubicBezTo>
                  <a:pt x="8914" y="38222"/>
                  <a:pt x="7758" y="44064"/>
                  <a:pt x="6890" y="49733"/>
                </a:cubicBezTo>
                <a:cubicBezTo>
                  <a:pt x="6537" y="53788"/>
                  <a:pt x="5120" y="57681"/>
                  <a:pt x="2783" y="61013"/>
                </a:cubicBezTo>
                <a:cubicBezTo>
                  <a:pt x="2551" y="61215"/>
                  <a:pt x="2424" y="61516"/>
                  <a:pt x="2436" y="61823"/>
                </a:cubicBezTo>
                <a:cubicBezTo>
                  <a:pt x="2436" y="64079"/>
                  <a:pt x="7237" y="68243"/>
                  <a:pt x="11749" y="72293"/>
                </a:cubicBezTo>
                <a:cubicBezTo>
                  <a:pt x="17469" y="76556"/>
                  <a:pt x="22201" y="81999"/>
                  <a:pt x="25631" y="88258"/>
                </a:cubicBezTo>
                <a:cubicBezTo>
                  <a:pt x="30166" y="98704"/>
                  <a:pt x="35361" y="108845"/>
                  <a:pt x="41191" y="11862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0" name="Forma libre: forma 389">
            <a:extLst>
              <a:ext uri="{FF2B5EF4-FFF2-40B4-BE49-F238E27FC236}">
                <a16:creationId xmlns:a16="http://schemas.microsoft.com/office/drawing/2014/main" id="{446F2ADA-0A68-B7AF-17A9-A855D7E1EF6A}"/>
              </a:ext>
            </a:extLst>
          </p:cNvPr>
          <p:cNvSpPr/>
          <p:nvPr/>
        </p:nvSpPr>
        <p:spPr>
          <a:xfrm>
            <a:off x="4497421" y="4249022"/>
            <a:ext cx="132152" cy="199743"/>
          </a:xfrm>
          <a:custGeom>
            <a:avLst/>
            <a:gdLst>
              <a:gd name="connsiteX0" fmla="*/ 72290 w 132152"/>
              <a:gd name="connsiteY0" fmla="*/ 199614 h 199743"/>
              <a:gd name="connsiteX1" fmla="*/ 49557 w 132152"/>
              <a:gd name="connsiteY1" fmla="*/ 186368 h 199743"/>
              <a:gd name="connsiteX2" fmla="*/ 38567 w 132152"/>
              <a:gd name="connsiteY2" fmla="*/ 150216 h 199743"/>
              <a:gd name="connsiteX3" fmla="*/ 44004 w 132152"/>
              <a:gd name="connsiteY3" fmla="*/ 136333 h 199743"/>
              <a:gd name="connsiteX4" fmla="*/ 48111 w 132152"/>
              <a:gd name="connsiteY4" fmla="*/ 124764 h 199743"/>
              <a:gd name="connsiteX5" fmla="*/ 41748 w 132152"/>
              <a:gd name="connsiteY5" fmla="*/ 115104 h 199743"/>
              <a:gd name="connsiteX6" fmla="*/ 36311 w 132152"/>
              <a:gd name="connsiteY6" fmla="*/ 102725 h 199743"/>
              <a:gd name="connsiteX7" fmla="*/ 30526 w 132152"/>
              <a:gd name="connsiteY7" fmla="*/ 92255 h 199743"/>
              <a:gd name="connsiteX8" fmla="*/ 21792 w 132152"/>
              <a:gd name="connsiteY8" fmla="*/ 97462 h 199743"/>
              <a:gd name="connsiteX9" fmla="*/ 20924 w 132152"/>
              <a:gd name="connsiteY9" fmla="*/ 98040 h 199743"/>
              <a:gd name="connsiteX10" fmla="*/ 19883 w 132152"/>
              <a:gd name="connsiteY10" fmla="*/ 97635 h 199743"/>
              <a:gd name="connsiteX11" fmla="*/ 2183 w 132152"/>
              <a:gd name="connsiteY11" fmla="*/ 75770 h 199743"/>
              <a:gd name="connsiteX12" fmla="*/ 2183 w 132152"/>
              <a:gd name="connsiteY12" fmla="*/ 66862 h 199743"/>
              <a:gd name="connsiteX13" fmla="*/ 4727 w 132152"/>
              <a:gd name="connsiteY13" fmla="*/ 60384 h 199743"/>
              <a:gd name="connsiteX14" fmla="*/ 6289 w 132152"/>
              <a:gd name="connsiteY14" fmla="*/ 50839 h 199743"/>
              <a:gd name="connsiteX15" fmla="*/ 18552 w 132152"/>
              <a:gd name="connsiteY15" fmla="*/ 46270 h 199743"/>
              <a:gd name="connsiteX16" fmla="*/ 26709 w 132152"/>
              <a:gd name="connsiteY16" fmla="*/ 41700 h 199743"/>
              <a:gd name="connsiteX17" fmla="*/ 21965 w 132152"/>
              <a:gd name="connsiteY17" fmla="*/ 33717 h 199743"/>
              <a:gd name="connsiteX18" fmla="*/ 19073 w 132152"/>
              <a:gd name="connsiteY18" fmla="*/ 28858 h 199743"/>
              <a:gd name="connsiteX19" fmla="*/ 31799 w 132152"/>
              <a:gd name="connsiteY19" fmla="*/ 13067 h 199743"/>
              <a:gd name="connsiteX20" fmla="*/ 41401 w 132152"/>
              <a:gd name="connsiteY20" fmla="*/ 457 h 199743"/>
              <a:gd name="connsiteX21" fmla="*/ 42789 w 132152"/>
              <a:gd name="connsiteY21" fmla="*/ -64 h 199743"/>
              <a:gd name="connsiteX22" fmla="*/ 53259 w 132152"/>
              <a:gd name="connsiteY22" fmla="*/ 6531 h 199743"/>
              <a:gd name="connsiteX23" fmla="*/ 68530 w 132152"/>
              <a:gd name="connsiteY23" fmla="*/ 16885 h 199743"/>
              <a:gd name="connsiteX24" fmla="*/ 80793 w 132152"/>
              <a:gd name="connsiteY24" fmla="*/ 30478 h 199743"/>
              <a:gd name="connsiteX25" fmla="*/ 83338 w 132152"/>
              <a:gd name="connsiteY25" fmla="*/ 40716 h 199743"/>
              <a:gd name="connsiteX26" fmla="*/ 93634 w 132152"/>
              <a:gd name="connsiteY26" fmla="*/ 45460 h 199743"/>
              <a:gd name="connsiteX27" fmla="*/ 106418 w 132152"/>
              <a:gd name="connsiteY27" fmla="*/ 56624 h 199743"/>
              <a:gd name="connsiteX28" fmla="*/ 118912 w 132152"/>
              <a:gd name="connsiteY28" fmla="*/ 68192 h 199743"/>
              <a:gd name="connsiteX29" fmla="*/ 119722 w 132152"/>
              <a:gd name="connsiteY29" fmla="*/ 68713 h 199743"/>
              <a:gd name="connsiteX30" fmla="*/ 119722 w 132152"/>
              <a:gd name="connsiteY30" fmla="*/ 69696 h 199743"/>
              <a:gd name="connsiteX31" fmla="*/ 119259 w 132152"/>
              <a:gd name="connsiteY31" fmla="*/ 71085 h 199743"/>
              <a:gd name="connsiteX32" fmla="*/ 116656 w 132152"/>
              <a:gd name="connsiteY32" fmla="*/ 86356 h 199743"/>
              <a:gd name="connsiteX33" fmla="*/ 116656 w 132152"/>
              <a:gd name="connsiteY33" fmla="*/ 93817 h 199743"/>
              <a:gd name="connsiteX34" fmla="*/ 102774 w 132152"/>
              <a:gd name="connsiteY34" fmla="*/ 100701 h 199743"/>
              <a:gd name="connsiteX35" fmla="*/ 96989 w 132152"/>
              <a:gd name="connsiteY35" fmla="*/ 112675 h 199743"/>
              <a:gd name="connsiteX36" fmla="*/ 92882 w 132152"/>
              <a:gd name="connsiteY36" fmla="*/ 123954 h 199743"/>
              <a:gd name="connsiteX37" fmla="*/ 92535 w 132152"/>
              <a:gd name="connsiteY37" fmla="*/ 124764 h 199743"/>
              <a:gd name="connsiteX38" fmla="*/ 101848 w 132152"/>
              <a:gd name="connsiteY38" fmla="*/ 135234 h 199743"/>
              <a:gd name="connsiteX39" fmla="*/ 115731 w 132152"/>
              <a:gd name="connsiteY39" fmla="*/ 151199 h 199743"/>
              <a:gd name="connsiteX40" fmla="*/ 131638 w 132152"/>
              <a:gd name="connsiteY40" fmla="*/ 181452 h 199743"/>
              <a:gd name="connsiteX41" fmla="*/ 132043 w 132152"/>
              <a:gd name="connsiteY41" fmla="*/ 182261 h 199743"/>
              <a:gd name="connsiteX42" fmla="*/ 130886 w 132152"/>
              <a:gd name="connsiteY42" fmla="*/ 183360 h 199743"/>
              <a:gd name="connsiteX43" fmla="*/ 130539 w 132152"/>
              <a:gd name="connsiteY43" fmla="*/ 183360 h 199743"/>
              <a:gd name="connsiteX44" fmla="*/ 129555 w 132152"/>
              <a:gd name="connsiteY44" fmla="*/ 183360 h 199743"/>
              <a:gd name="connsiteX45" fmla="*/ 117987 w 132152"/>
              <a:gd name="connsiteY45" fmla="*/ 181336 h 199743"/>
              <a:gd name="connsiteX46" fmla="*/ 112202 w 132152"/>
              <a:gd name="connsiteY46" fmla="*/ 183360 h 199743"/>
              <a:gd name="connsiteX47" fmla="*/ 102889 w 132152"/>
              <a:gd name="connsiteY47" fmla="*/ 187294 h 199743"/>
              <a:gd name="connsiteX48" fmla="*/ 98435 w 132152"/>
              <a:gd name="connsiteY48" fmla="*/ 189665 h 199743"/>
              <a:gd name="connsiteX49" fmla="*/ 86866 w 132152"/>
              <a:gd name="connsiteY49" fmla="*/ 194582 h 199743"/>
              <a:gd name="connsiteX50" fmla="*/ 79983 w 132152"/>
              <a:gd name="connsiteY50" fmla="*/ 196375 h 199743"/>
              <a:gd name="connsiteX51" fmla="*/ 72290 w 132152"/>
              <a:gd name="connsiteY51" fmla="*/ 199614 h 199743"/>
              <a:gd name="connsiteX52" fmla="*/ 29022 w 132152"/>
              <a:gd name="connsiteY52" fmla="*/ 90058 h 199743"/>
              <a:gd name="connsiteX53" fmla="*/ 30873 w 132152"/>
              <a:gd name="connsiteY53" fmla="*/ 90058 h 199743"/>
              <a:gd name="connsiteX54" fmla="*/ 38567 w 132152"/>
              <a:gd name="connsiteY54" fmla="*/ 102610 h 199743"/>
              <a:gd name="connsiteX55" fmla="*/ 42674 w 132152"/>
              <a:gd name="connsiteY55" fmla="*/ 113080 h 199743"/>
              <a:gd name="connsiteX56" fmla="*/ 50367 w 132152"/>
              <a:gd name="connsiteY56" fmla="*/ 124648 h 199743"/>
              <a:gd name="connsiteX57" fmla="*/ 45334 w 132152"/>
              <a:gd name="connsiteY57" fmla="*/ 138068 h 199743"/>
              <a:gd name="connsiteX58" fmla="*/ 40823 w 132152"/>
              <a:gd name="connsiteY58" fmla="*/ 150389 h 199743"/>
              <a:gd name="connsiteX59" fmla="*/ 51234 w 132152"/>
              <a:gd name="connsiteY59" fmla="*/ 184806 h 199743"/>
              <a:gd name="connsiteX60" fmla="*/ 72290 w 132152"/>
              <a:gd name="connsiteY60" fmla="*/ 197301 h 199743"/>
              <a:gd name="connsiteX61" fmla="*/ 79058 w 132152"/>
              <a:gd name="connsiteY61" fmla="*/ 194698 h 199743"/>
              <a:gd name="connsiteX62" fmla="*/ 87503 w 132152"/>
              <a:gd name="connsiteY62" fmla="*/ 192037 h 199743"/>
              <a:gd name="connsiteX63" fmla="*/ 96989 w 132152"/>
              <a:gd name="connsiteY63" fmla="*/ 188393 h 199743"/>
              <a:gd name="connsiteX64" fmla="*/ 102427 w 132152"/>
              <a:gd name="connsiteY64" fmla="*/ 184749 h 199743"/>
              <a:gd name="connsiteX65" fmla="*/ 103526 w 132152"/>
              <a:gd name="connsiteY65" fmla="*/ 184749 h 199743"/>
              <a:gd name="connsiteX66" fmla="*/ 111103 w 132152"/>
              <a:gd name="connsiteY66" fmla="*/ 181567 h 199743"/>
              <a:gd name="connsiteX67" fmla="*/ 118449 w 132152"/>
              <a:gd name="connsiteY67" fmla="*/ 178791 h 199743"/>
              <a:gd name="connsiteX68" fmla="*/ 128688 w 132152"/>
              <a:gd name="connsiteY68" fmla="*/ 180468 h 199743"/>
              <a:gd name="connsiteX69" fmla="*/ 113764 w 132152"/>
              <a:gd name="connsiteY69" fmla="*/ 151951 h 199743"/>
              <a:gd name="connsiteX70" fmla="*/ 100518 w 132152"/>
              <a:gd name="connsiteY70" fmla="*/ 136911 h 199743"/>
              <a:gd name="connsiteX71" fmla="*/ 90453 w 132152"/>
              <a:gd name="connsiteY71" fmla="*/ 124822 h 199743"/>
              <a:gd name="connsiteX72" fmla="*/ 91494 w 132152"/>
              <a:gd name="connsiteY72" fmla="*/ 122335 h 199743"/>
              <a:gd name="connsiteX73" fmla="*/ 94907 w 132152"/>
              <a:gd name="connsiteY73" fmla="*/ 112212 h 199743"/>
              <a:gd name="connsiteX74" fmla="*/ 102947 w 132152"/>
              <a:gd name="connsiteY74" fmla="*/ 98445 h 199743"/>
              <a:gd name="connsiteX75" fmla="*/ 115094 w 132152"/>
              <a:gd name="connsiteY75" fmla="*/ 92660 h 199743"/>
              <a:gd name="connsiteX76" fmla="*/ 115094 w 132152"/>
              <a:gd name="connsiteY76" fmla="*/ 87281 h 199743"/>
              <a:gd name="connsiteX77" fmla="*/ 117582 w 132152"/>
              <a:gd name="connsiteY77" fmla="*/ 70275 h 199743"/>
              <a:gd name="connsiteX78" fmla="*/ 117582 w 132152"/>
              <a:gd name="connsiteY78" fmla="*/ 70275 h 199743"/>
              <a:gd name="connsiteX79" fmla="*/ 104972 w 132152"/>
              <a:gd name="connsiteY79" fmla="*/ 58359 h 199743"/>
              <a:gd name="connsiteX80" fmla="*/ 93924 w 132152"/>
              <a:gd name="connsiteY80" fmla="*/ 48005 h 199743"/>
              <a:gd name="connsiteX81" fmla="*/ 81892 w 132152"/>
              <a:gd name="connsiteY81" fmla="*/ 42220 h 199743"/>
              <a:gd name="connsiteX82" fmla="*/ 78884 w 132152"/>
              <a:gd name="connsiteY82" fmla="*/ 30131 h 199743"/>
              <a:gd name="connsiteX83" fmla="*/ 67778 w 132152"/>
              <a:gd name="connsiteY83" fmla="*/ 18967 h 199743"/>
              <a:gd name="connsiteX84" fmla="*/ 51871 w 132152"/>
              <a:gd name="connsiteY84" fmla="*/ 8092 h 199743"/>
              <a:gd name="connsiteX85" fmla="*/ 43194 w 132152"/>
              <a:gd name="connsiteY85" fmla="*/ 2308 h 199743"/>
              <a:gd name="connsiteX86" fmla="*/ 33187 w 132152"/>
              <a:gd name="connsiteY86" fmla="*/ 14918 h 199743"/>
              <a:gd name="connsiteX87" fmla="*/ 21618 w 132152"/>
              <a:gd name="connsiteY87" fmla="*/ 28743 h 199743"/>
              <a:gd name="connsiteX88" fmla="*/ 23411 w 132152"/>
              <a:gd name="connsiteY88" fmla="*/ 31635 h 199743"/>
              <a:gd name="connsiteX89" fmla="*/ 29196 w 132152"/>
              <a:gd name="connsiteY89" fmla="*/ 42105 h 199743"/>
              <a:gd name="connsiteX90" fmla="*/ 19015 w 132152"/>
              <a:gd name="connsiteY90" fmla="*/ 48410 h 199743"/>
              <a:gd name="connsiteX91" fmla="*/ 8314 w 132152"/>
              <a:gd name="connsiteY91" fmla="*/ 52112 h 199743"/>
              <a:gd name="connsiteX92" fmla="*/ 7273 w 132152"/>
              <a:gd name="connsiteY92" fmla="*/ 59921 h 199743"/>
              <a:gd name="connsiteX93" fmla="*/ 4265 w 132152"/>
              <a:gd name="connsiteY93" fmla="*/ 68134 h 199743"/>
              <a:gd name="connsiteX94" fmla="*/ 3918 w 132152"/>
              <a:gd name="connsiteY94" fmla="*/ 73919 h 199743"/>
              <a:gd name="connsiteX95" fmla="*/ 21271 w 132152"/>
              <a:gd name="connsiteY95" fmla="*/ 94743 h 199743"/>
              <a:gd name="connsiteX96" fmla="*/ 29022 w 132152"/>
              <a:gd name="connsiteY96" fmla="*/ 90058 h 19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32152" h="199743">
                <a:moveTo>
                  <a:pt x="72290" y="199614"/>
                </a:moveTo>
                <a:cubicBezTo>
                  <a:pt x="67373" y="199614"/>
                  <a:pt x="59390" y="197359"/>
                  <a:pt x="49557" y="186368"/>
                </a:cubicBezTo>
                <a:cubicBezTo>
                  <a:pt x="41181" y="176286"/>
                  <a:pt x="37225" y="163254"/>
                  <a:pt x="38567" y="150216"/>
                </a:cubicBezTo>
                <a:cubicBezTo>
                  <a:pt x="38595" y="145073"/>
                  <a:pt x="40533" y="140127"/>
                  <a:pt x="44004" y="136333"/>
                </a:cubicBezTo>
                <a:cubicBezTo>
                  <a:pt x="47249" y="133423"/>
                  <a:pt x="48793" y="129068"/>
                  <a:pt x="48111" y="124764"/>
                </a:cubicBezTo>
                <a:cubicBezTo>
                  <a:pt x="47868" y="120640"/>
                  <a:pt x="45444" y="116955"/>
                  <a:pt x="41748" y="115104"/>
                </a:cubicBezTo>
                <a:cubicBezTo>
                  <a:pt x="36889" y="112964"/>
                  <a:pt x="36600" y="107526"/>
                  <a:pt x="36311" y="102725"/>
                </a:cubicBezTo>
                <a:cubicBezTo>
                  <a:pt x="35963" y="96941"/>
                  <a:pt x="35385" y="92950"/>
                  <a:pt x="30526" y="92255"/>
                </a:cubicBezTo>
                <a:cubicBezTo>
                  <a:pt x="26726" y="91573"/>
                  <a:pt x="23001" y="93794"/>
                  <a:pt x="21792" y="97462"/>
                </a:cubicBezTo>
                <a:cubicBezTo>
                  <a:pt x="21624" y="97797"/>
                  <a:pt x="21294" y="98017"/>
                  <a:pt x="20924" y="98040"/>
                </a:cubicBezTo>
                <a:cubicBezTo>
                  <a:pt x="20531" y="98080"/>
                  <a:pt x="20143" y="97930"/>
                  <a:pt x="19883" y="97635"/>
                </a:cubicBezTo>
                <a:cubicBezTo>
                  <a:pt x="14526" y="89919"/>
                  <a:pt x="8615" y="82613"/>
                  <a:pt x="2183" y="75770"/>
                </a:cubicBezTo>
                <a:cubicBezTo>
                  <a:pt x="-1924" y="72357"/>
                  <a:pt x="389" y="69349"/>
                  <a:pt x="2183" y="66862"/>
                </a:cubicBezTo>
                <a:cubicBezTo>
                  <a:pt x="3912" y="65161"/>
                  <a:pt x="4838" y="62807"/>
                  <a:pt x="4727" y="60384"/>
                </a:cubicBezTo>
                <a:cubicBezTo>
                  <a:pt x="3877" y="57127"/>
                  <a:pt x="4444" y="53656"/>
                  <a:pt x="6289" y="50839"/>
                </a:cubicBezTo>
                <a:cubicBezTo>
                  <a:pt x="9592" y="47721"/>
                  <a:pt x="14017" y="46067"/>
                  <a:pt x="18552" y="46270"/>
                </a:cubicBezTo>
                <a:cubicBezTo>
                  <a:pt x="23238" y="45922"/>
                  <a:pt x="26130" y="44303"/>
                  <a:pt x="26709" y="41700"/>
                </a:cubicBezTo>
                <a:cubicBezTo>
                  <a:pt x="26963" y="38304"/>
                  <a:pt x="25066" y="35117"/>
                  <a:pt x="21965" y="33717"/>
                </a:cubicBezTo>
                <a:cubicBezTo>
                  <a:pt x="20160" y="32774"/>
                  <a:pt x="19038" y="30894"/>
                  <a:pt x="19073" y="28858"/>
                </a:cubicBezTo>
                <a:cubicBezTo>
                  <a:pt x="19073" y="23074"/>
                  <a:pt x="26477" y="16133"/>
                  <a:pt x="31799" y="13067"/>
                </a:cubicBezTo>
                <a:cubicBezTo>
                  <a:pt x="35952" y="9677"/>
                  <a:pt x="39237" y="5356"/>
                  <a:pt x="41401" y="457"/>
                </a:cubicBezTo>
                <a:cubicBezTo>
                  <a:pt x="41678" y="-29"/>
                  <a:pt x="42263" y="-249"/>
                  <a:pt x="42789" y="-64"/>
                </a:cubicBezTo>
                <a:cubicBezTo>
                  <a:pt x="46775" y="1226"/>
                  <a:pt x="50373" y="3494"/>
                  <a:pt x="53259" y="6531"/>
                </a:cubicBezTo>
                <a:cubicBezTo>
                  <a:pt x="57690" y="10869"/>
                  <a:pt x="62861" y="14374"/>
                  <a:pt x="68530" y="16885"/>
                </a:cubicBezTo>
                <a:cubicBezTo>
                  <a:pt x="75760" y="20587"/>
                  <a:pt x="82008" y="23768"/>
                  <a:pt x="80793" y="30478"/>
                </a:cubicBezTo>
                <a:cubicBezTo>
                  <a:pt x="80047" y="34099"/>
                  <a:pt x="80984" y="37865"/>
                  <a:pt x="83338" y="40716"/>
                </a:cubicBezTo>
                <a:cubicBezTo>
                  <a:pt x="85918" y="43713"/>
                  <a:pt x="89678" y="45448"/>
                  <a:pt x="93634" y="45460"/>
                </a:cubicBezTo>
                <a:cubicBezTo>
                  <a:pt x="97336" y="45460"/>
                  <a:pt x="101559" y="50665"/>
                  <a:pt x="106418" y="56624"/>
                </a:cubicBezTo>
                <a:cubicBezTo>
                  <a:pt x="111277" y="62582"/>
                  <a:pt x="115557" y="67730"/>
                  <a:pt x="118912" y="68192"/>
                </a:cubicBezTo>
                <a:cubicBezTo>
                  <a:pt x="119253" y="68216"/>
                  <a:pt x="119560" y="68412"/>
                  <a:pt x="119722" y="68713"/>
                </a:cubicBezTo>
                <a:cubicBezTo>
                  <a:pt x="119867" y="69025"/>
                  <a:pt x="119867" y="69384"/>
                  <a:pt x="119722" y="69696"/>
                </a:cubicBezTo>
                <a:lnTo>
                  <a:pt x="119259" y="71085"/>
                </a:lnTo>
                <a:cubicBezTo>
                  <a:pt x="117061" y="77216"/>
                  <a:pt x="115037" y="83058"/>
                  <a:pt x="116656" y="86356"/>
                </a:cubicBezTo>
                <a:cubicBezTo>
                  <a:pt x="117952" y="88675"/>
                  <a:pt x="117952" y="91498"/>
                  <a:pt x="116656" y="93817"/>
                </a:cubicBezTo>
                <a:cubicBezTo>
                  <a:pt x="113880" y="98966"/>
                  <a:pt x="105377" y="100354"/>
                  <a:pt x="102774" y="100701"/>
                </a:cubicBezTo>
                <a:cubicBezTo>
                  <a:pt x="99014" y="101164"/>
                  <a:pt x="97857" y="107006"/>
                  <a:pt x="96989" y="112675"/>
                </a:cubicBezTo>
                <a:cubicBezTo>
                  <a:pt x="96636" y="116729"/>
                  <a:pt x="95219" y="120623"/>
                  <a:pt x="92882" y="123954"/>
                </a:cubicBezTo>
                <a:cubicBezTo>
                  <a:pt x="92651" y="124157"/>
                  <a:pt x="92524" y="124457"/>
                  <a:pt x="92535" y="124764"/>
                </a:cubicBezTo>
                <a:cubicBezTo>
                  <a:pt x="92535" y="127020"/>
                  <a:pt x="97336" y="131185"/>
                  <a:pt x="101848" y="135234"/>
                </a:cubicBezTo>
                <a:cubicBezTo>
                  <a:pt x="107569" y="139497"/>
                  <a:pt x="112301" y="144940"/>
                  <a:pt x="115731" y="151199"/>
                </a:cubicBezTo>
                <a:cubicBezTo>
                  <a:pt x="120422" y="161593"/>
                  <a:pt x="125732" y="171693"/>
                  <a:pt x="131638" y="181452"/>
                </a:cubicBezTo>
                <a:cubicBezTo>
                  <a:pt x="131898" y="181642"/>
                  <a:pt x="132049" y="181943"/>
                  <a:pt x="132043" y="182261"/>
                </a:cubicBezTo>
                <a:cubicBezTo>
                  <a:pt x="132014" y="182880"/>
                  <a:pt x="131505" y="183360"/>
                  <a:pt x="130886" y="183360"/>
                </a:cubicBezTo>
                <a:lnTo>
                  <a:pt x="130539" y="183360"/>
                </a:lnTo>
                <a:lnTo>
                  <a:pt x="129555" y="183360"/>
                </a:lnTo>
                <a:cubicBezTo>
                  <a:pt x="125790" y="182244"/>
                  <a:pt x="121909" y="181567"/>
                  <a:pt x="117987" y="181336"/>
                </a:cubicBezTo>
                <a:cubicBezTo>
                  <a:pt x="115852" y="181093"/>
                  <a:pt x="113724" y="181839"/>
                  <a:pt x="112202" y="183360"/>
                </a:cubicBezTo>
                <a:cubicBezTo>
                  <a:pt x="110039" y="186258"/>
                  <a:pt x="106476" y="187762"/>
                  <a:pt x="102889" y="187294"/>
                </a:cubicBezTo>
                <a:cubicBezTo>
                  <a:pt x="101154" y="187294"/>
                  <a:pt x="99823" y="186889"/>
                  <a:pt x="98435" y="189665"/>
                </a:cubicBezTo>
                <a:cubicBezTo>
                  <a:pt x="96295" y="193888"/>
                  <a:pt x="91378" y="194293"/>
                  <a:pt x="86866" y="194582"/>
                </a:cubicBezTo>
                <a:cubicBezTo>
                  <a:pt x="83916" y="194582"/>
                  <a:pt x="81082" y="194987"/>
                  <a:pt x="79983" y="196375"/>
                </a:cubicBezTo>
                <a:cubicBezTo>
                  <a:pt x="77958" y="198446"/>
                  <a:pt x="75188" y="199614"/>
                  <a:pt x="72290" y="199614"/>
                </a:cubicBezTo>
                <a:close/>
                <a:moveTo>
                  <a:pt x="29022" y="90058"/>
                </a:moveTo>
                <a:lnTo>
                  <a:pt x="30873" y="90058"/>
                </a:lnTo>
                <a:cubicBezTo>
                  <a:pt x="37930" y="91041"/>
                  <a:pt x="38277" y="97172"/>
                  <a:pt x="38567" y="102610"/>
                </a:cubicBezTo>
                <a:cubicBezTo>
                  <a:pt x="38567" y="107179"/>
                  <a:pt x="39087" y="111460"/>
                  <a:pt x="42674" y="113080"/>
                </a:cubicBezTo>
                <a:cubicBezTo>
                  <a:pt x="47139" y="115266"/>
                  <a:pt x="50078" y="119685"/>
                  <a:pt x="50367" y="124648"/>
                </a:cubicBezTo>
                <a:cubicBezTo>
                  <a:pt x="51119" y="129693"/>
                  <a:pt x="49216" y="134765"/>
                  <a:pt x="45334" y="138068"/>
                </a:cubicBezTo>
                <a:cubicBezTo>
                  <a:pt x="42419" y="141510"/>
                  <a:pt x="40817" y="145877"/>
                  <a:pt x="40823" y="150389"/>
                </a:cubicBezTo>
                <a:cubicBezTo>
                  <a:pt x="39509" y="162797"/>
                  <a:pt x="43269" y="175204"/>
                  <a:pt x="51234" y="184806"/>
                </a:cubicBezTo>
                <a:cubicBezTo>
                  <a:pt x="61010" y="195681"/>
                  <a:pt x="68588" y="197301"/>
                  <a:pt x="72290" y="197301"/>
                </a:cubicBezTo>
                <a:cubicBezTo>
                  <a:pt x="74817" y="197463"/>
                  <a:pt x="77287" y="196514"/>
                  <a:pt x="79058" y="194698"/>
                </a:cubicBezTo>
                <a:cubicBezTo>
                  <a:pt x="80793" y="192500"/>
                  <a:pt x="84032" y="192268"/>
                  <a:pt x="87503" y="192037"/>
                </a:cubicBezTo>
                <a:cubicBezTo>
                  <a:pt x="90973" y="191806"/>
                  <a:pt x="95428" y="191459"/>
                  <a:pt x="96989" y="188393"/>
                </a:cubicBezTo>
                <a:cubicBezTo>
                  <a:pt x="97770" y="186091"/>
                  <a:pt x="99997" y="184592"/>
                  <a:pt x="102427" y="184749"/>
                </a:cubicBezTo>
                <a:lnTo>
                  <a:pt x="103526" y="184749"/>
                </a:lnTo>
                <a:cubicBezTo>
                  <a:pt x="106441" y="185142"/>
                  <a:pt x="109345" y="183927"/>
                  <a:pt x="111103" y="181567"/>
                </a:cubicBezTo>
                <a:cubicBezTo>
                  <a:pt x="113012" y="179589"/>
                  <a:pt x="115708" y="178571"/>
                  <a:pt x="118449" y="178791"/>
                </a:cubicBezTo>
                <a:cubicBezTo>
                  <a:pt x="121914" y="178958"/>
                  <a:pt x="125350" y="179519"/>
                  <a:pt x="128688" y="180468"/>
                </a:cubicBezTo>
                <a:cubicBezTo>
                  <a:pt x="123100" y="171300"/>
                  <a:pt x="118114" y="161773"/>
                  <a:pt x="113764" y="151951"/>
                </a:cubicBezTo>
                <a:cubicBezTo>
                  <a:pt x="110450" y="146068"/>
                  <a:pt x="105938" y="140943"/>
                  <a:pt x="100518" y="136911"/>
                </a:cubicBezTo>
                <a:cubicBezTo>
                  <a:pt x="94733" y="131995"/>
                  <a:pt x="90569" y="128061"/>
                  <a:pt x="90453" y="124822"/>
                </a:cubicBezTo>
                <a:cubicBezTo>
                  <a:pt x="90453" y="123885"/>
                  <a:pt x="90823" y="122988"/>
                  <a:pt x="91494" y="122335"/>
                </a:cubicBezTo>
                <a:cubicBezTo>
                  <a:pt x="93420" y="119280"/>
                  <a:pt x="94589" y="115810"/>
                  <a:pt x="94907" y="112212"/>
                </a:cubicBezTo>
                <a:cubicBezTo>
                  <a:pt x="96237" y="105791"/>
                  <a:pt x="97568" y="99081"/>
                  <a:pt x="102947" y="98445"/>
                </a:cubicBezTo>
                <a:cubicBezTo>
                  <a:pt x="107627" y="98312"/>
                  <a:pt x="112040" y="96212"/>
                  <a:pt x="115094" y="92660"/>
                </a:cubicBezTo>
                <a:cubicBezTo>
                  <a:pt x="115980" y="90977"/>
                  <a:pt x="115980" y="88964"/>
                  <a:pt x="115094" y="87281"/>
                </a:cubicBezTo>
                <a:cubicBezTo>
                  <a:pt x="113012" y="83116"/>
                  <a:pt x="115094" y="77158"/>
                  <a:pt x="117582" y="70275"/>
                </a:cubicBezTo>
                <a:lnTo>
                  <a:pt x="117582" y="70275"/>
                </a:lnTo>
                <a:cubicBezTo>
                  <a:pt x="112515" y="67331"/>
                  <a:pt x="108199" y="63252"/>
                  <a:pt x="104972" y="58359"/>
                </a:cubicBezTo>
                <a:cubicBezTo>
                  <a:pt x="101038" y="53500"/>
                  <a:pt x="96584" y="48005"/>
                  <a:pt x="93924" y="48005"/>
                </a:cubicBezTo>
                <a:cubicBezTo>
                  <a:pt x="89267" y="47895"/>
                  <a:pt x="84883" y="45789"/>
                  <a:pt x="81892" y="42220"/>
                </a:cubicBezTo>
                <a:cubicBezTo>
                  <a:pt x="79075" y="38871"/>
                  <a:pt x="77964" y="34411"/>
                  <a:pt x="78884" y="30131"/>
                </a:cubicBezTo>
                <a:cubicBezTo>
                  <a:pt x="79694" y="25330"/>
                  <a:pt x="75240" y="22727"/>
                  <a:pt x="67778" y="18967"/>
                </a:cubicBezTo>
                <a:cubicBezTo>
                  <a:pt x="61860" y="16335"/>
                  <a:pt x="56469" y="12650"/>
                  <a:pt x="51871" y="8092"/>
                </a:cubicBezTo>
                <a:cubicBezTo>
                  <a:pt x="49488" y="5495"/>
                  <a:pt x="46508" y="3511"/>
                  <a:pt x="43194" y="2308"/>
                </a:cubicBezTo>
                <a:cubicBezTo>
                  <a:pt x="40944" y="7271"/>
                  <a:pt x="37508" y="11603"/>
                  <a:pt x="33187" y="14918"/>
                </a:cubicBezTo>
                <a:cubicBezTo>
                  <a:pt x="27865" y="17984"/>
                  <a:pt x="21618" y="24693"/>
                  <a:pt x="21618" y="28743"/>
                </a:cubicBezTo>
                <a:cubicBezTo>
                  <a:pt x="21589" y="29975"/>
                  <a:pt x="22295" y="31108"/>
                  <a:pt x="23411" y="31635"/>
                </a:cubicBezTo>
                <a:cubicBezTo>
                  <a:pt x="27350" y="33561"/>
                  <a:pt x="29664" y="37743"/>
                  <a:pt x="29196" y="42105"/>
                </a:cubicBezTo>
                <a:cubicBezTo>
                  <a:pt x="28733" y="44187"/>
                  <a:pt x="26766" y="47889"/>
                  <a:pt x="19015" y="48410"/>
                </a:cubicBezTo>
                <a:cubicBezTo>
                  <a:pt x="15111" y="48242"/>
                  <a:pt x="11282" y="49567"/>
                  <a:pt x="8314" y="52112"/>
                </a:cubicBezTo>
                <a:cubicBezTo>
                  <a:pt x="6868" y="54449"/>
                  <a:pt x="6486" y="57289"/>
                  <a:pt x="7273" y="59921"/>
                </a:cubicBezTo>
                <a:cubicBezTo>
                  <a:pt x="7469" y="62957"/>
                  <a:pt x="6382" y="65942"/>
                  <a:pt x="4265" y="68134"/>
                </a:cubicBezTo>
                <a:cubicBezTo>
                  <a:pt x="2183" y="70911"/>
                  <a:pt x="1604" y="71952"/>
                  <a:pt x="3918" y="73919"/>
                </a:cubicBezTo>
                <a:cubicBezTo>
                  <a:pt x="10211" y="80421"/>
                  <a:pt x="16013" y="87379"/>
                  <a:pt x="21271" y="94743"/>
                </a:cubicBezTo>
                <a:cubicBezTo>
                  <a:pt x="22879" y="91955"/>
                  <a:pt x="25806" y="90185"/>
                  <a:pt x="29022" y="9005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1" name="Forma libre: forma 390">
            <a:extLst>
              <a:ext uri="{FF2B5EF4-FFF2-40B4-BE49-F238E27FC236}">
                <a16:creationId xmlns:a16="http://schemas.microsoft.com/office/drawing/2014/main" id="{40A61F13-A7BA-317A-8508-E3AE59F58EC1}"/>
              </a:ext>
            </a:extLst>
          </p:cNvPr>
          <p:cNvSpPr/>
          <p:nvPr/>
        </p:nvSpPr>
        <p:spPr>
          <a:xfrm>
            <a:off x="4685639" y="4322846"/>
            <a:ext cx="87635" cy="104121"/>
          </a:xfrm>
          <a:custGeom>
            <a:avLst/>
            <a:gdLst>
              <a:gd name="connsiteX0" fmla="*/ 15436 w 87635"/>
              <a:gd name="connsiteY0" fmla="*/ 103984 h 104121"/>
              <a:gd name="connsiteX1" fmla="*/ 15436 w 87635"/>
              <a:gd name="connsiteY1" fmla="*/ 103984 h 104121"/>
              <a:gd name="connsiteX2" fmla="*/ 108 w 87635"/>
              <a:gd name="connsiteY2" fmla="*/ 97216 h 104121"/>
              <a:gd name="connsiteX3" fmla="*/ 108 w 87635"/>
              <a:gd name="connsiteY3" fmla="*/ 95827 h 104121"/>
              <a:gd name="connsiteX4" fmla="*/ 8148 w 87635"/>
              <a:gd name="connsiteY4" fmla="*/ 83217 h 104121"/>
              <a:gd name="connsiteX5" fmla="*/ 5140 w 87635"/>
              <a:gd name="connsiteY5" fmla="*/ 47817 h 104121"/>
              <a:gd name="connsiteX6" fmla="*/ 10404 w 87635"/>
              <a:gd name="connsiteY6" fmla="*/ 14151 h 104121"/>
              <a:gd name="connsiteX7" fmla="*/ 15378 w 87635"/>
              <a:gd name="connsiteY7" fmla="*/ 674 h 104121"/>
              <a:gd name="connsiteX8" fmla="*/ 15957 w 87635"/>
              <a:gd name="connsiteY8" fmla="*/ -21 h 104121"/>
              <a:gd name="connsiteX9" fmla="*/ 16882 w 87635"/>
              <a:gd name="connsiteY9" fmla="*/ -21 h 104121"/>
              <a:gd name="connsiteX10" fmla="*/ 18502 w 87635"/>
              <a:gd name="connsiteY10" fmla="*/ 616 h 104121"/>
              <a:gd name="connsiteX11" fmla="*/ 39615 w 87635"/>
              <a:gd name="connsiteY11" fmla="*/ 7673 h 104121"/>
              <a:gd name="connsiteX12" fmla="*/ 70099 w 87635"/>
              <a:gd name="connsiteY12" fmla="*/ 30058 h 104121"/>
              <a:gd name="connsiteX13" fmla="*/ 86469 w 87635"/>
              <a:gd name="connsiteY13" fmla="*/ 44115 h 104121"/>
              <a:gd name="connsiteX14" fmla="*/ 86816 w 87635"/>
              <a:gd name="connsiteY14" fmla="*/ 44115 h 104121"/>
              <a:gd name="connsiteX15" fmla="*/ 87435 w 87635"/>
              <a:gd name="connsiteY15" fmla="*/ 45630 h 104121"/>
              <a:gd name="connsiteX16" fmla="*/ 87221 w 87635"/>
              <a:gd name="connsiteY16" fmla="*/ 45966 h 104121"/>
              <a:gd name="connsiteX17" fmla="*/ 55233 w 87635"/>
              <a:gd name="connsiteY17" fmla="*/ 89060 h 104121"/>
              <a:gd name="connsiteX18" fmla="*/ 39268 w 87635"/>
              <a:gd name="connsiteY18" fmla="*/ 100629 h 104121"/>
              <a:gd name="connsiteX19" fmla="*/ 36492 w 87635"/>
              <a:gd name="connsiteY19" fmla="*/ 100629 h 104121"/>
              <a:gd name="connsiteX20" fmla="*/ 25848 w 87635"/>
              <a:gd name="connsiteY20" fmla="*/ 102190 h 104121"/>
              <a:gd name="connsiteX21" fmla="*/ 15436 w 87635"/>
              <a:gd name="connsiteY21" fmla="*/ 103984 h 104121"/>
              <a:gd name="connsiteX22" fmla="*/ 2421 w 87635"/>
              <a:gd name="connsiteY22" fmla="*/ 96348 h 104121"/>
              <a:gd name="connsiteX23" fmla="*/ 15436 w 87635"/>
              <a:gd name="connsiteY23" fmla="*/ 101728 h 104121"/>
              <a:gd name="connsiteX24" fmla="*/ 15436 w 87635"/>
              <a:gd name="connsiteY24" fmla="*/ 101728 h 104121"/>
              <a:gd name="connsiteX25" fmla="*/ 25038 w 87635"/>
              <a:gd name="connsiteY25" fmla="*/ 100108 h 104121"/>
              <a:gd name="connsiteX26" fmla="*/ 36607 w 87635"/>
              <a:gd name="connsiteY26" fmla="*/ 98430 h 104121"/>
              <a:gd name="connsiteX27" fmla="*/ 39500 w 87635"/>
              <a:gd name="connsiteY27" fmla="*/ 98430 h 104121"/>
              <a:gd name="connsiteX28" fmla="*/ 53267 w 87635"/>
              <a:gd name="connsiteY28" fmla="*/ 88423 h 104121"/>
              <a:gd name="connsiteX29" fmla="*/ 84676 w 87635"/>
              <a:gd name="connsiteY29" fmla="*/ 45561 h 104121"/>
              <a:gd name="connsiteX30" fmla="*/ 68653 w 87635"/>
              <a:gd name="connsiteY30" fmla="*/ 31505 h 104121"/>
              <a:gd name="connsiteX31" fmla="*/ 39326 w 87635"/>
              <a:gd name="connsiteY31" fmla="*/ 9755 h 104121"/>
              <a:gd name="connsiteX32" fmla="*/ 17866 w 87635"/>
              <a:gd name="connsiteY32" fmla="*/ 2640 h 104121"/>
              <a:gd name="connsiteX33" fmla="*/ 17345 w 87635"/>
              <a:gd name="connsiteY33" fmla="*/ 2640 h 104121"/>
              <a:gd name="connsiteX34" fmla="*/ 12024 w 87635"/>
              <a:gd name="connsiteY34" fmla="*/ 16060 h 104121"/>
              <a:gd name="connsiteX35" fmla="*/ 7396 w 87635"/>
              <a:gd name="connsiteY35" fmla="*/ 47123 h 104121"/>
              <a:gd name="connsiteX36" fmla="*/ 10346 w 87635"/>
              <a:gd name="connsiteY36" fmla="*/ 84374 h 104121"/>
              <a:gd name="connsiteX37" fmla="*/ 2421 w 87635"/>
              <a:gd name="connsiteY37" fmla="*/ 96348 h 10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7635" h="104121">
                <a:moveTo>
                  <a:pt x="15436" y="103984"/>
                </a:moveTo>
                <a:lnTo>
                  <a:pt x="15436" y="103984"/>
                </a:lnTo>
                <a:cubicBezTo>
                  <a:pt x="9565" y="104157"/>
                  <a:pt x="3931" y="101670"/>
                  <a:pt x="108" y="97216"/>
                </a:cubicBezTo>
                <a:cubicBezTo>
                  <a:pt x="-182" y="96799"/>
                  <a:pt x="-182" y="96244"/>
                  <a:pt x="108" y="95827"/>
                </a:cubicBezTo>
                <a:cubicBezTo>
                  <a:pt x="4156" y="90043"/>
                  <a:pt x="7280" y="84837"/>
                  <a:pt x="8148" y="83217"/>
                </a:cubicBezTo>
                <a:cubicBezTo>
                  <a:pt x="10195" y="71354"/>
                  <a:pt x="9160" y="59166"/>
                  <a:pt x="5140" y="47817"/>
                </a:cubicBezTo>
                <a:cubicBezTo>
                  <a:pt x="108" y="35785"/>
                  <a:pt x="3867" y="19531"/>
                  <a:pt x="10404" y="14151"/>
                </a:cubicBezTo>
                <a:cubicBezTo>
                  <a:pt x="12816" y="9975"/>
                  <a:pt x="14499" y="5417"/>
                  <a:pt x="15378" y="674"/>
                </a:cubicBezTo>
                <a:cubicBezTo>
                  <a:pt x="15448" y="361"/>
                  <a:pt x="15662" y="101"/>
                  <a:pt x="15957" y="-21"/>
                </a:cubicBezTo>
                <a:cubicBezTo>
                  <a:pt x="16246" y="-165"/>
                  <a:pt x="16593" y="-165"/>
                  <a:pt x="16882" y="-21"/>
                </a:cubicBezTo>
                <a:lnTo>
                  <a:pt x="18502" y="616"/>
                </a:lnTo>
                <a:cubicBezTo>
                  <a:pt x="25322" y="3572"/>
                  <a:pt x="32390" y="5932"/>
                  <a:pt x="39615" y="7673"/>
                </a:cubicBezTo>
                <a:cubicBezTo>
                  <a:pt x="50316" y="9871"/>
                  <a:pt x="60844" y="20572"/>
                  <a:pt x="70099" y="30058"/>
                </a:cubicBezTo>
                <a:cubicBezTo>
                  <a:pt x="74767" y="35594"/>
                  <a:pt x="80291" y="40338"/>
                  <a:pt x="86469" y="44115"/>
                </a:cubicBezTo>
                <a:lnTo>
                  <a:pt x="86816" y="44115"/>
                </a:lnTo>
                <a:cubicBezTo>
                  <a:pt x="87406" y="44363"/>
                  <a:pt x="87684" y="45040"/>
                  <a:pt x="87435" y="45630"/>
                </a:cubicBezTo>
                <a:cubicBezTo>
                  <a:pt x="87383" y="45752"/>
                  <a:pt x="87314" y="45867"/>
                  <a:pt x="87221" y="45966"/>
                </a:cubicBezTo>
                <a:cubicBezTo>
                  <a:pt x="81032" y="52097"/>
                  <a:pt x="60497" y="73326"/>
                  <a:pt x="55233" y="89060"/>
                </a:cubicBezTo>
                <a:cubicBezTo>
                  <a:pt x="51589" y="100050"/>
                  <a:pt x="47135" y="100629"/>
                  <a:pt x="39268" y="100629"/>
                </a:cubicBezTo>
                <a:lnTo>
                  <a:pt x="36492" y="100629"/>
                </a:lnTo>
                <a:cubicBezTo>
                  <a:pt x="32882" y="100571"/>
                  <a:pt x="29290" y="101103"/>
                  <a:pt x="25848" y="102190"/>
                </a:cubicBezTo>
                <a:cubicBezTo>
                  <a:pt x="22487" y="103318"/>
                  <a:pt x="18976" y="103920"/>
                  <a:pt x="15436" y="103984"/>
                </a:cubicBezTo>
                <a:close/>
                <a:moveTo>
                  <a:pt x="2421" y="96348"/>
                </a:moveTo>
                <a:cubicBezTo>
                  <a:pt x="5805" y="99900"/>
                  <a:pt x="10531" y="101855"/>
                  <a:pt x="15436" y="101728"/>
                </a:cubicBezTo>
                <a:lnTo>
                  <a:pt x="15436" y="101728"/>
                </a:lnTo>
                <a:cubicBezTo>
                  <a:pt x="18699" y="101681"/>
                  <a:pt x="21938" y="101132"/>
                  <a:pt x="25038" y="100108"/>
                </a:cubicBezTo>
                <a:cubicBezTo>
                  <a:pt x="28775" y="98911"/>
                  <a:pt x="32685" y="98344"/>
                  <a:pt x="36607" y="98430"/>
                </a:cubicBezTo>
                <a:lnTo>
                  <a:pt x="39500" y="98430"/>
                </a:lnTo>
                <a:cubicBezTo>
                  <a:pt x="45631" y="98430"/>
                  <a:pt x="49622" y="99182"/>
                  <a:pt x="53267" y="88423"/>
                </a:cubicBezTo>
                <a:cubicBezTo>
                  <a:pt x="58357" y="73037"/>
                  <a:pt x="77387" y="52907"/>
                  <a:pt x="84676" y="45561"/>
                </a:cubicBezTo>
                <a:cubicBezTo>
                  <a:pt x="78729" y="41610"/>
                  <a:pt x="73344" y="36884"/>
                  <a:pt x="68653" y="31505"/>
                </a:cubicBezTo>
                <a:cubicBezTo>
                  <a:pt x="59629" y="22307"/>
                  <a:pt x="49391" y="11838"/>
                  <a:pt x="39326" y="9755"/>
                </a:cubicBezTo>
                <a:cubicBezTo>
                  <a:pt x="31986" y="7985"/>
                  <a:pt x="24807" y="5608"/>
                  <a:pt x="17866" y="2640"/>
                </a:cubicBezTo>
                <a:lnTo>
                  <a:pt x="17345" y="2640"/>
                </a:lnTo>
                <a:cubicBezTo>
                  <a:pt x="14337" y="13110"/>
                  <a:pt x="12891" y="15308"/>
                  <a:pt x="12024" y="16060"/>
                </a:cubicBezTo>
                <a:cubicBezTo>
                  <a:pt x="6759" y="20399"/>
                  <a:pt x="2479" y="35380"/>
                  <a:pt x="7396" y="47123"/>
                </a:cubicBezTo>
                <a:cubicBezTo>
                  <a:pt x="12313" y="58865"/>
                  <a:pt x="12486" y="80094"/>
                  <a:pt x="10346" y="84374"/>
                </a:cubicBezTo>
                <a:cubicBezTo>
                  <a:pt x="9073" y="86225"/>
                  <a:pt x="5545" y="91663"/>
                  <a:pt x="2421" y="9634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2" name="Forma libre: forma 391">
            <a:extLst>
              <a:ext uri="{FF2B5EF4-FFF2-40B4-BE49-F238E27FC236}">
                <a16:creationId xmlns:a16="http://schemas.microsoft.com/office/drawing/2014/main" id="{BA01C931-72EF-76BC-FCE1-2AFC41619177}"/>
              </a:ext>
            </a:extLst>
          </p:cNvPr>
          <p:cNvSpPr/>
          <p:nvPr/>
        </p:nvSpPr>
        <p:spPr>
          <a:xfrm>
            <a:off x="3856690" y="3832956"/>
            <a:ext cx="283072" cy="93511"/>
          </a:xfrm>
          <a:custGeom>
            <a:avLst/>
            <a:gdLst>
              <a:gd name="connsiteX0" fmla="*/ 230425 w 283072"/>
              <a:gd name="connsiteY0" fmla="*/ 93232 h 93511"/>
              <a:gd name="connsiteX1" fmla="*/ 230425 w 283072"/>
              <a:gd name="connsiteY1" fmla="*/ 93232 h 93511"/>
              <a:gd name="connsiteX2" fmla="*/ 192480 w 283072"/>
              <a:gd name="connsiteY2" fmla="*/ 90166 h 93511"/>
              <a:gd name="connsiteX3" fmla="*/ 188084 w 283072"/>
              <a:gd name="connsiteY3" fmla="*/ 86695 h 93511"/>
              <a:gd name="connsiteX4" fmla="*/ 189298 w 283072"/>
              <a:gd name="connsiteY4" fmla="*/ 80101 h 93511"/>
              <a:gd name="connsiteX5" fmla="*/ 190455 w 283072"/>
              <a:gd name="connsiteY5" fmla="*/ 73912 h 93511"/>
              <a:gd name="connsiteX6" fmla="*/ 179291 w 283072"/>
              <a:gd name="connsiteY6" fmla="*/ 68416 h 93511"/>
              <a:gd name="connsiteX7" fmla="*/ 151873 w 283072"/>
              <a:gd name="connsiteY7" fmla="*/ 52683 h 93511"/>
              <a:gd name="connsiteX8" fmla="*/ 121331 w 283072"/>
              <a:gd name="connsiteY8" fmla="*/ 38106 h 93511"/>
              <a:gd name="connsiteX9" fmla="*/ 74246 w 283072"/>
              <a:gd name="connsiteY9" fmla="*/ 26537 h 93511"/>
              <a:gd name="connsiteX10" fmla="*/ 57876 w 283072"/>
              <a:gd name="connsiteY10" fmla="*/ 13291 h 93511"/>
              <a:gd name="connsiteX11" fmla="*/ 49373 w 283072"/>
              <a:gd name="connsiteY11" fmla="*/ 16356 h 93511"/>
              <a:gd name="connsiteX12" fmla="*/ 44283 w 283072"/>
              <a:gd name="connsiteY12" fmla="*/ 20059 h 93511"/>
              <a:gd name="connsiteX13" fmla="*/ 6857 w 283072"/>
              <a:gd name="connsiteY13" fmla="*/ 40767 h 93511"/>
              <a:gd name="connsiteX14" fmla="*/ 552 w 283072"/>
              <a:gd name="connsiteY14" fmla="*/ 37933 h 93511"/>
              <a:gd name="connsiteX15" fmla="*/ 552 w 283072"/>
              <a:gd name="connsiteY15" fmla="*/ 33074 h 93511"/>
              <a:gd name="connsiteX16" fmla="*/ 77023 w 283072"/>
              <a:gd name="connsiteY16" fmla="*/ -129 h 93511"/>
              <a:gd name="connsiteX17" fmla="*/ 98425 w 283072"/>
              <a:gd name="connsiteY17" fmla="*/ 2185 h 93511"/>
              <a:gd name="connsiteX18" fmla="*/ 187158 w 283072"/>
              <a:gd name="connsiteY18" fmla="*/ 37875 h 93511"/>
              <a:gd name="connsiteX19" fmla="*/ 230252 w 283072"/>
              <a:gd name="connsiteY19" fmla="*/ 55517 h 93511"/>
              <a:gd name="connsiteX20" fmla="*/ 282312 w 283072"/>
              <a:gd name="connsiteY20" fmla="*/ 83398 h 93511"/>
              <a:gd name="connsiteX21" fmla="*/ 282312 w 283072"/>
              <a:gd name="connsiteY21" fmla="*/ 87621 h 93511"/>
              <a:gd name="connsiteX22" fmla="*/ 230425 w 283072"/>
              <a:gd name="connsiteY22" fmla="*/ 93232 h 93511"/>
              <a:gd name="connsiteX23" fmla="*/ 57876 w 283072"/>
              <a:gd name="connsiteY23" fmla="*/ 10804 h 93511"/>
              <a:gd name="connsiteX24" fmla="*/ 76444 w 283072"/>
              <a:gd name="connsiteY24" fmla="*/ 25901 h 93511"/>
              <a:gd name="connsiteX25" fmla="*/ 121447 w 283072"/>
              <a:gd name="connsiteY25" fmla="*/ 35850 h 93511"/>
              <a:gd name="connsiteX26" fmla="*/ 153377 w 283072"/>
              <a:gd name="connsiteY26" fmla="*/ 50948 h 93511"/>
              <a:gd name="connsiteX27" fmla="*/ 179754 w 283072"/>
              <a:gd name="connsiteY27" fmla="*/ 66160 h 93511"/>
              <a:gd name="connsiteX28" fmla="*/ 192480 w 283072"/>
              <a:gd name="connsiteY28" fmla="*/ 72928 h 93511"/>
              <a:gd name="connsiteX29" fmla="*/ 191323 w 283072"/>
              <a:gd name="connsiteY29" fmla="*/ 81084 h 93511"/>
              <a:gd name="connsiteX30" fmla="*/ 190166 w 283072"/>
              <a:gd name="connsiteY30" fmla="*/ 85828 h 93511"/>
              <a:gd name="connsiteX31" fmla="*/ 193232 w 283072"/>
              <a:gd name="connsiteY31" fmla="*/ 88026 h 93511"/>
              <a:gd name="connsiteX32" fmla="*/ 230425 w 283072"/>
              <a:gd name="connsiteY32" fmla="*/ 90976 h 93511"/>
              <a:gd name="connsiteX33" fmla="*/ 280403 w 283072"/>
              <a:gd name="connsiteY33" fmla="*/ 86001 h 93511"/>
              <a:gd name="connsiteX34" fmla="*/ 280403 w 283072"/>
              <a:gd name="connsiteY34" fmla="*/ 84150 h 93511"/>
              <a:gd name="connsiteX35" fmla="*/ 230599 w 283072"/>
              <a:gd name="connsiteY35" fmla="*/ 57542 h 93511"/>
              <a:gd name="connsiteX36" fmla="*/ 186522 w 283072"/>
              <a:gd name="connsiteY36" fmla="*/ 39668 h 93511"/>
              <a:gd name="connsiteX37" fmla="*/ 98309 w 283072"/>
              <a:gd name="connsiteY37" fmla="*/ 4151 h 93511"/>
              <a:gd name="connsiteX38" fmla="*/ 77370 w 283072"/>
              <a:gd name="connsiteY38" fmla="*/ 1895 h 93511"/>
              <a:gd name="connsiteX39" fmla="*/ 2924 w 283072"/>
              <a:gd name="connsiteY39" fmla="*/ 33883 h 93511"/>
              <a:gd name="connsiteX40" fmla="*/ 2519 w 283072"/>
              <a:gd name="connsiteY40" fmla="*/ 36313 h 93511"/>
              <a:gd name="connsiteX41" fmla="*/ 7031 w 283072"/>
              <a:gd name="connsiteY41" fmla="*/ 38280 h 93511"/>
              <a:gd name="connsiteX42" fmla="*/ 43126 w 283072"/>
              <a:gd name="connsiteY42" fmla="*/ 18034 h 93511"/>
              <a:gd name="connsiteX43" fmla="*/ 48216 w 283072"/>
              <a:gd name="connsiteY43" fmla="*/ 14274 h 93511"/>
              <a:gd name="connsiteX44" fmla="*/ 57876 w 283072"/>
              <a:gd name="connsiteY44" fmla="*/ 10804 h 9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83072" h="93511">
                <a:moveTo>
                  <a:pt x="230425" y="93232"/>
                </a:moveTo>
                <a:lnTo>
                  <a:pt x="230425" y="93232"/>
                </a:lnTo>
                <a:cubicBezTo>
                  <a:pt x="217700" y="93798"/>
                  <a:pt x="204951" y="92769"/>
                  <a:pt x="192480" y="90166"/>
                </a:cubicBezTo>
                <a:cubicBezTo>
                  <a:pt x="190577" y="89703"/>
                  <a:pt x="188974" y="88436"/>
                  <a:pt x="188084" y="86695"/>
                </a:cubicBezTo>
                <a:cubicBezTo>
                  <a:pt x="187522" y="84428"/>
                  <a:pt x="187968" y="82021"/>
                  <a:pt x="189298" y="80101"/>
                </a:cubicBezTo>
                <a:cubicBezTo>
                  <a:pt x="190339" y="77845"/>
                  <a:pt x="191381" y="75763"/>
                  <a:pt x="190455" y="73912"/>
                </a:cubicBezTo>
                <a:cubicBezTo>
                  <a:pt x="189530" y="72061"/>
                  <a:pt x="185654" y="69862"/>
                  <a:pt x="179291" y="68416"/>
                </a:cubicBezTo>
                <a:cubicBezTo>
                  <a:pt x="168914" y="65709"/>
                  <a:pt x="159445" y="60278"/>
                  <a:pt x="151873" y="52683"/>
                </a:cubicBezTo>
                <a:cubicBezTo>
                  <a:pt x="143659" y="45510"/>
                  <a:pt x="135908" y="38742"/>
                  <a:pt x="121331" y="38106"/>
                </a:cubicBezTo>
                <a:cubicBezTo>
                  <a:pt x="91368" y="36834"/>
                  <a:pt x="75519" y="32842"/>
                  <a:pt x="74246" y="26537"/>
                </a:cubicBezTo>
                <a:cubicBezTo>
                  <a:pt x="71834" y="19307"/>
                  <a:pt x="65448" y="14141"/>
                  <a:pt x="57876" y="13291"/>
                </a:cubicBezTo>
                <a:cubicBezTo>
                  <a:pt x="54781" y="13360"/>
                  <a:pt x="51797" y="14436"/>
                  <a:pt x="49373" y="16356"/>
                </a:cubicBezTo>
                <a:lnTo>
                  <a:pt x="44283" y="20059"/>
                </a:lnTo>
                <a:cubicBezTo>
                  <a:pt x="32714" y="28793"/>
                  <a:pt x="16517" y="40767"/>
                  <a:pt x="6857" y="40767"/>
                </a:cubicBezTo>
                <a:cubicBezTo>
                  <a:pt x="4411" y="40940"/>
                  <a:pt x="2045" y="39876"/>
                  <a:pt x="552" y="37933"/>
                </a:cubicBezTo>
                <a:cubicBezTo>
                  <a:pt x="-84" y="37123"/>
                  <a:pt x="-547" y="35619"/>
                  <a:pt x="552" y="33074"/>
                </a:cubicBezTo>
                <a:cubicBezTo>
                  <a:pt x="5527" y="23182"/>
                  <a:pt x="37515" y="-129"/>
                  <a:pt x="77023" y="-129"/>
                </a:cubicBezTo>
                <a:cubicBezTo>
                  <a:pt x="84218" y="-117"/>
                  <a:pt x="91391" y="658"/>
                  <a:pt x="98425" y="2185"/>
                </a:cubicBezTo>
                <a:cubicBezTo>
                  <a:pt x="129256" y="9068"/>
                  <a:pt x="161360" y="25322"/>
                  <a:pt x="187158" y="37875"/>
                </a:cubicBezTo>
                <a:cubicBezTo>
                  <a:pt x="206941" y="47708"/>
                  <a:pt x="222559" y="55517"/>
                  <a:pt x="230252" y="55517"/>
                </a:cubicBezTo>
                <a:cubicBezTo>
                  <a:pt x="246738" y="55517"/>
                  <a:pt x="277858" y="74664"/>
                  <a:pt x="282312" y="83398"/>
                </a:cubicBezTo>
                <a:cubicBezTo>
                  <a:pt x="283180" y="84671"/>
                  <a:pt x="283180" y="86348"/>
                  <a:pt x="282312" y="87621"/>
                </a:cubicBezTo>
                <a:cubicBezTo>
                  <a:pt x="278494" y="92017"/>
                  <a:pt x="247894" y="93232"/>
                  <a:pt x="230425" y="93232"/>
                </a:cubicBezTo>
                <a:close/>
                <a:moveTo>
                  <a:pt x="57876" y="10804"/>
                </a:moveTo>
                <a:cubicBezTo>
                  <a:pt x="66547" y="11631"/>
                  <a:pt x="73870" y="17583"/>
                  <a:pt x="76444" y="25901"/>
                </a:cubicBezTo>
                <a:cubicBezTo>
                  <a:pt x="76965" y="28330"/>
                  <a:pt x="82228" y="34173"/>
                  <a:pt x="121447" y="35850"/>
                </a:cubicBezTo>
                <a:cubicBezTo>
                  <a:pt x="136776" y="36544"/>
                  <a:pt x="144585" y="43543"/>
                  <a:pt x="153377" y="50948"/>
                </a:cubicBezTo>
                <a:cubicBezTo>
                  <a:pt x="160654" y="58282"/>
                  <a:pt x="169758" y="63534"/>
                  <a:pt x="179754" y="66160"/>
                </a:cubicBezTo>
                <a:cubicBezTo>
                  <a:pt x="187042" y="67838"/>
                  <a:pt x="191323" y="69978"/>
                  <a:pt x="192480" y="72928"/>
                </a:cubicBezTo>
                <a:cubicBezTo>
                  <a:pt x="193423" y="75676"/>
                  <a:pt x="192989" y="78707"/>
                  <a:pt x="191323" y="81084"/>
                </a:cubicBezTo>
                <a:cubicBezTo>
                  <a:pt x="190455" y="82935"/>
                  <a:pt x="189645" y="84671"/>
                  <a:pt x="190166" y="85828"/>
                </a:cubicBezTo>
                <a:cubicBezTo>
                  <a:pt x="190843" y="86956"/>
                  <a:pt x="191948" y="87748"/>
                  <a:pt x="193232" y="88026"/>
                </a:cubicBezTo>
                <a:cubicBezTo>
                  <a:pt x="205466" y="90507"/>
                  <a:pt x="217954" y="91502"/>
                  <a:pt x="230425" y="90976"/>
                </a:cubicBezTo>
                <a:cubicBezTo>
                  <a:pt x="255819" y="90976"/>
                  <a:pt x="278205" y="88720"/>
                  <a:pt x="280403" y="86001"/>
                </a:cubicBezTo>
                <a:cubicBezTo>
                  <a:pt x="280403" y="85596"/>
                  <a:pt x="280403" y="85018"/>
                  <a:pt x="280403" y="84150"/>
                </a:cubicBezTo>
                <a:cubicBezTo>
                  <a:pt x="276470" y="75994"/>
                  <a:pt x="246101" y="57542"/>
                  <a:pt x="230599" y="57542"/>
                </a:cubicBezTo>
                <a:cubicBezTo>
                  <a:pt x="222385" y="57542"/>
                  <a:pt x="206536" y="49675"/>
                  <a:pt x="186522" y="39668"/>
                </a:cubicBezTo>
                <a:cubicBezTo>
                  <a:pt x="160839" y="26884"/>
                  <a:pt x="128677" y="10746"/>
                  <a:pt x="98309" y="4151"/>
                </a:cubicBezTo>
                <a:cubicBezTo>
                  <a:pt x="91431" y="2647"/>
                  <a:pt x="84409" y="1890"/>
                  <a:pt x="77370" y="1895"/>
                </a:cubicBezTo>
                <a:cubicBezTo>
                  <a:pt x="38788" y="1895"/>
                  <a:pt x="7957" y="24281"/>
                  <a:pt x="2924" y="33883"/>
                </a:cubicBezTo>
                <a:cubicBezTo>
                  <a:pt x="2346" y="34983"/>
                  <a:pt x="2230" y="35908"/>
                  <a:pt x="2519" y="36313"/>
                </a:cubicBezTo>
                <a:cubicBezTo>
                  <a:pt x="3601" y="37684"/>
                  <a:pt x="5290" y="38418"/>
                  <a:pt x="7031" y="38280"/>
                </a:cubicBezTo>
                <a:cubicBezTo>
                  <a:pt x="15939" y="38280"/>
                  <a:pt x="32309" y="26074"/>
                  <a:pt x="43126" y="18034"/>
                </a:cubicBezTo>
                <a:lnTo>
                  <a:pt x="48216" y="14274"/>
                </a:lnTo>
                <a:cubicBezTo>
                  <a:pt x="50981" y="12105"/>
                  <a:pt x="54365" y="10890"/>
                  <a:pt x="57876" y="1080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3" name="Forma libre: forma 392">
            <a:extLst>
              <a:ext uri="{FF2B5EF4-FFF2-40B4-BE49-F238E27FC236}">
                <a16:creationId xmlns:a16="http://schemas.microsoft.com/office/drawing/2014/main" id="{E7A4B9E6-AA39-1216-FB78-41A7B653CD06}"/>
              </a:ext>
            </a:extLst>
          </p:cNvPr>
          <p:cNvSpPr/>
          <p:nvPr/>
        </p:nvSpPr>
        <p:spPr>
          <a:xfrm>
            <a:off x="4023991" y="3967328"/>
            <a:ext cx="58705" cy="20881"/>
          </a:xfrm>
          <a:custGeom>
            <a:avLst/>
            <a:gdLst>
              <a:gd name="connsiteX0" fmla="*/ 44904 w 58705"/>
              <a:gd name="connsiteY0" fmla="*/ 20753 h 20881"/>
              <a:gd name="connsiteX1" fmla="*/ 44904 w 58705"/>
              <a:gd name="connsiteY1" fmla="*/ 20753 h 20881"/>
              <a:gd name="connsiteX2" fmla="*/ 363 w 58705"/>
              <a:gd name="connsiteY2" fmla="*/ 6176 h 20881"/>
              <a:gd name="connsiteX3" fmla="*/ 363 w 58705"/>
              <a:gd name="connsiteY3" fmla="*/ 2937 h 20881"/>
              <a:gd name="connsiteX4" fmla="*/ 12511 w 58705"/>
              <a:gd name="connsiteY4" fmla="*/ -129 h 20881"/>
              <a:gd name="connsiteX5" fmla="*/ 57861 w 58705"/>
              <a:gd name="connsiteY5" fmla="*/ 11787 h 20881"/>
              <a:gd name="connsiteX6" fmla="*/ 58266 w 58705"/>
              <a:gd name="connsiteY6" fmla="*/ 15778 h 20881"/>
              <a:gd name="connsiteX7" fmla="*/ 44904 w 58705"/>
              <a:gd name="connsiteY7" fmla="*/ 20753 h 20881"/>
              <a:gd name="connsiteX8" fmla="*/ 12337 w 58705"/>
              <a:gd name="connsiteY8" fmla="*/ 2127 h 20881"/>
              <a:gd name="connsiteX9" fmla="*/ 2157 w 58705"/>
              <a:gd name="connsiteY9" fmla="*/ 4094 h 20881"/>
              <a:gd name="connsiteX10" fmla="*/ 2157 w 58705"/>
              <a:gd name="connsiteY10" fmla="*/ 5077 h 20881"/>
              <a:gd name="connsiteX11" fmla="*/ 44730 w 58705"/>
              <a:gd name="connsiteY11" fmla="*/ 18497 h 20881"/>
              <a:gd name="connsiteX12" fmla="*/ 44730 w 58705"/>
              <a:gd name="connsiteY12" fmla="*/ 18497 h 20881"/>
              <a:gd name="connsiteX13" fmla="*/ 55836 w 58705"/>
              <a:gd name="connsiteY13" fmla="*/ 14853 h 20881"/>
              <a:gd name="connsiteX14" fmla="*/ 55836 w 58705"/>
              <a:gd name="connsiteY14" fmla="*/ 13060 h 20881"/>
              <a:gd name="connsiteX15" fmla="*/ 12337 w 58705"/>
              <a:gd name="connsiteY15" fmla="*/ 2127 h 20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705" h="20881">
                <a:moveTo>
                  <a:pt x="44904" y="20753"/>
                </a:moveTo>
                <a:lnTo>
                  <a:pt x="44904" y="20753"/>
                </a:lnTo>
                <a:cubicBezTo>
                  <a:pt x="30269" y="20753"/>
                  <a:pt x="4413" y="13118"/>
                  <a:pt x="363" y="6176"/>
                </a:cubicBezTo>
                <a:cubicBezTo>
                  <a:pt x="-267" y="5187"/>
                  <a:pt x="-267" y="3926"/>
                  <a:pt x="363" y="2937"/>
                </a:cubicBezTo>
                <a:cubicBezTo>
                  <a:pt x="826" y="2185"/>
                  <a:pt x="2157" y="-129"/>
                  <a:pt x="12511" y="-129"/>
                </a:cubicBezTo>
                <a:cubicBezTo>
                  <a:pt x="27666" y="-129"/>
                  <a:pt x="53349" y="4903"/>
                  <a:pt x="57861" y="11787"/>
                </a:cubicBezTo>
                <a:cubicBezTo>
                  <a:pt x="58671" y="12961"/>
                  <a:pt x="58821" y="14465"/>
                  <a:pt x="58266" y="15778"/>
                </a:cubicBezTo>
                <a:cubicBezTo>
                  <a:pt x="56588" y="19075"/>
                  <a:pt x="52192" y="20753"/>
                  <a:pt x="44904" y="20753"/>
                </a:cubicBezTo>
                <a:close/>
                <a:moveTo>
                  <a:pt x="12337" y="2127"/>
                </a:moveTo>
                <a:cubicBezTo>
                  <a:pt x="3718" y="2127"/>
                  <a:pt x="2330" y="3746"/>
                  <a:pt x="2157" y="4094"/>
                </a:cubicBezTo>
                <a:cubicBezTo>
                  <a:pt x="1983" y="4441"/>
                  <a:pt x="2157" y="4441"/>
                  <a:pt x="2157" y="5077"/>
                </a:cubicBezTo>
                <a:cubicBezTo>
                  <a:pt x="5165" y="10399"/>
                  <a:pt x="28534" y="18497"/>
                  <a:pt x="44730" y="18497"/>
                </a:cubicBezTo>
                <a:lnTo>
                  <a:pt x="44730" y="18497"/>
                </a:lnTo>
                <a:cubicBezTo>
                  <a:pt x="50861" y="18497"/>
                  <a:pt x="54795" y="17224"/>
                  <a:pt x="55836" y="14853"/>
                </a:cubicBezTo>
                <a:cubicBezTo>
                  <a:pt x="56172" y="14303"/>
                  <a:pt x="56172" y="13609"/>
                  <a:pt x="55836" y="13060"/>
                </a:cubicBezTo>
                <a:cubicBezTo>
                  <a:pt x="52134" y="7449"/>
                  <a:pt x="28244" y="2127"/>
                  <a:pt x="12337" y="212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4" name="Forma libre: forma 393">
            <a:extLst>
              <a:ext uri="{FF2B5EF4-FFF2-40B4-BE49-F238E27FC236}">
                <a16:creationId xmlns:a16="http://schemas.microsoft.com/office/drawing/2014/main" id="{3A89D7EA-683C-585E-6402-AD3E8324B510}"/>
              </a:ext>
            </a:extLst>
          </p:cNvPr>
          <p:cNvSpPr/>
          <p:nvPr/>
        </p:nvSpPr>
        <p:spPr>
          <a:xfrm>
            <a:off x="4334349" y="3963395"/>
            <a:ext cx="48657" cy="22613"/>
          </a:xfrm>
          <a:custGeom>
            <a:avLst/>
            <a:gdLst>
              <a:gd name="connsiteX0" fmla="*/ 22321 w 48657"/>
              <a:gd name="connsiteY0" fmla="*/ 22430 h 22613"/>
              <a:gd name="connsiteX1" fmla="*/ 22321 w 48657"/>
              <a:gd name="connsiteY1" fmla="*/ 22430 h 22613"/>
              <a:gd name="connsiteX2" fmla="*/ 1381 w 48657"/>
              <a:gd name="connsiteY2" fmla="*/ 12597 h 22613"/>
              <a:gd name="connsiteX3" fmla="*/ 513 w 48657"/>
              <a:gd name="connsiteY3" fmla="*/ 5655 h 22613"/>
              <a:gd name="connsiteX4" fmla="*/ 19313 w 48657"/>
              <a:gd name="connsiteY4" fmla="*/ -129 h 22613"/>
              <a:gd name="connsiteX5" fmla="*/ 47657 w 48657"/>
              <a:gd name="connsiteY5" fmla="*/ 7854 h 22613"/>
              <a:gd name="connsiteX6" fmla="*/ 48177 w 48657"/>
              <a:gd name="connsiteY6" fmla="*/ 12365 h 22613"/>
              <a:gd name="connsiteX7" fmla="*/ 22321 w 48657"/>
              <a:gd name="connsiteY7" fmla="*/ 22430 h 22613"/>
              <a:gd name="connsiteX8" fmla="*/ 19313 w 48657"/>
              <a:gd name="connsiteY8" fmla="*/ 2127 h 22613"/>
              <a:gd name="connsiteX9" fmla="*/ 2538 w 48657"/>
              <a:gd name="connsiteY9" fmla="*/ 6697 h 22613"/>
              <a:gd name="connsiteX10" fmla="*/ 3290 w 48657"/>
              <a:gd name="connsiteY10" fmla="*/ 11382 h 22613"/>
              <a:gd name="connsiteX11" fmla="*/ 22321 w 48657"/>
              <a:gd name="connsiteY11" fmla="*/ 20174 h 22613"/>
              <a:gd name="connsiteX12" fmla="*/ 22321 w 48657"/>
              <a:gd name="connsiteY12" fmla="*/ 20174 h 22613"/>
              <a:gd name="connsiteX13" fmla="*/ 46095 w 48657"/>
              <a:gd name="connsiteY13" fmla="*/ 11556 h 22613"/>
              <a:gd name="connsiteX14" fmla="*/ 46095 w 48657"/>
              <a:gd name="connsiteY14" fmla="*/ 9126 h 22613"/>
              <a:gd name="connsiteX15" fmla="*/ 19313 w 48657"/>
              <a:gd name="connsiteY15" fmla="*/ 2127 h 2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657" h="22613">
                <a:moveTo>
                  <a:pt x="22321" y="22430"/>
                </a:moveTo>
                <a:lnTo>
                  <a:pt x="22321" y="22430"/>
                </a:lnTo>
                <a:cubicBezTo>
                  <a:pt x="14113" y="22986"/>
                  <a:pt x="6194" y="19272"/>
                  <a:pt x="1381" y="12597"/>
                </a:cubicBezTo>
                <a:cubicBezTo>
                  <a:pt x="-227" y="10647"/>
                  <a:pt x="-562" y="7940"/>
                  <a:pt x="513" y="5655"/>
                </a:cubicBezTo>
                <a:cubicBezTo>
                  <a:pt x="3406" y="392"/>
                  <a:pt x="14570" y="-129"/>
                  <a:pt x="19313" y="-129"/>
                </a:cubicBezTo>
                <a:cubicBezTo>
                  <a:pt x="30419" y="-129"/>
                  <a:pt x="44128" y="2647"/>
                  <a:pt x="47657" y="7854"/>
                </a:cubicBezTo>
                <a:cubicBezTo>
                  <a:pt x="48617" y="9161"/>
                  <a:pt x="48819" y="10873"/>
                  <a:pt x="48177" y="12365"/>
                </a:cubicBezTo>
                <a:cubicBezTo>
                  <a:pt x="46500" y="16935"/>
                  <a:pt x="34468" y="22430"/>
                  <a:pt x="22321" y="22430"/>
                </a:cubicBezTo>
                <a:close/>
                <a:moveTo>
                  <a:pt x="19313" y="2127"/>
                </a:moveTo>
                <a:cubicBezTo>
                  <a:pt x="10521" y="2127"/>
                  <a:pt x="4042" y="3862"/>
                  <a:pt x="2538" y="6697"/>
                </a:cubicBezTo>
                <a:cubicBezTo>
                  <a:pt x="1867" y="8276"/>
                  <a:pt x="2156" y="10092"/>
                  <a:pt x="3290" y="11382"/>
                </a:cubicBezTo>
                <a:cubicBezTo>
                  <a:pt x="7698" y="17398"/>
                  <a:pt x="14888" y="20718"/>
                  <a:pt x="22321" y="20174"/>
                </a:cubicBezTo>
                <a:lnTo>
                  <a:pt x="22321" y="20174"/>
                </a:lnTo>
                <a:cubicBezTo>
                  <a:pt x="33543" y="20174"/>
                  <a:pt x="44764" y="14968"/>
                  <a:pt x="46095" y="11556"/>
                </a:cubicBezTo>
                <a:cubicBezTo>
                  <a:pt x="46517" y="10804"/>
                  <a:pt x="46517" y="9878"/>
                  <a:pt x="46095" y="9126"/>
                </a:cubicBezTo>
                <a:cubicBezTo>
                  <a:pt x="43203" y="5250"/>
                  <a:pt x="31287" y="2127"/>
                  <a:pt x="19313" y="2127"/>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5" name="Forma libre: forma 394">
            <a:extLst>
              <a:ext uri="{FF2B5EF4-FFF2-40B4-BE49-F238E27FC236}">
                <a16:creationId xmlns:a16="http://schemas.microsoft.com/office/drawing/2014/main" id="{A5AE155B-2544-8524-DA75-423FE20E77E2}"/>
              </a:ext>
            </a:extLst>
          </p:cNvPr>
          <p:cNvSpPr/>
          <p:nvPr/>
        </p:nvSpPr>
        <p:spPr>
          <a:xfrm>
            <a:off x="4505480" y="6032611"/>
            <a:ext cx="87253" cy="37248"/>
          </a:xfrm>
          <a:custGeom>
            <a:avLst/>
            <a:gdLst>
              <a:gd name="connsiteX0" fmla="*/ 45604 w 87253"/>
              <a:gd name="connsiteY0" fmla="*/ 37112 h 37248"/>
              <a:gd name="connsiteX1" fmla="*/ 45604 w 87253"/>
              <a:gd name="connsiteY1" fmla="*/ 37112 h 37248"/>
              <a:gd name="connsiteX2" fmla="*/ 40282 w 87253"/>
              <a:gd name="connsiteY2" fmla="*/ 36129 h 37248"/>
              <a:gd name="connsiteX3" fmla="*/ 38431 w 87253"/>
              <a:gd name="connsiteY3" fmla="*/ 31791 h 37248"/>
              <a:gd name="connsiteX4" fmla="*/ 75799 w 87253"/>
              <a:gd name="connsiteY4" fmla="*/ 8075 h 37248"/>
              <a:gd name="connsiteX5" fmla="*/ 86616 w 87253"/>
              <a:gd name="connsiteY5" fmla="*/ 13859 h 37248"/>
              <a:gd name="connsiteX6" fmla="*/ 86153 w 87253"/>
              <a:gd name="connsiteY6" fmla="*/ 19007 h 37248"/>
              <a:gd name="connsiteX7" fmla="*/ 45604 w 87253"/>
              <a:gd name="connsiteY7" fmla="*/ 37112 h 37248"/>
              <a:gd name="connsiteX8" fmla="*/ 75799 w 87253"/>
              <a:gd name="connsiteY8" fmla="*/ 10331 h 37248"/>
              <a:gd name="connsiteX9" fmla="*/ 40630 w 87253"/>
              <a:gd name="connsiteY9" fmla="*/ 32311 h 37248"/>
              <a:gd name="connsiteX10" fmla="*/ 41324 w 87253"/>
              <a:gd name="connsiteY10" fmla="*/ 34104 h 37248"/>
              <a:gd name="connsiteX11" fmla="*/ 45604 w 87253"/>
              <a:gd name="connsiteY11" fmla="*/ 34856 h 37248"/>
              <a:gd name="connsiteX12" fmla="*/ 84244 w 87253"/>
              <a:gd name="connsiteY12" fmla="*/ 17966 h 37248"/>
              <a:gd name="connsiteX13" fmla="*/ 84649 w 87253"/>
              <a:gd name="connsiteY13" fmla="*/ 15016 h 37248"/>
              <a:gd name="connsiteX14" fmla="*/ 75799 w 87253"/>
              <a:gd name="connsiteY14" fmla="*/ 10331 h 37248"/>
              <a:gd name="connsiteX15" fmla="*/ 8757 w 87253"/>
              <a:gd name="connsiteY15" fmla="*/ 34741 h 37248"/>
              <a:gd name="connsiteX16" fmla="*/ 8757 w 87253"/>
              <a:gd name="connsiteY16" fmla="*/ 34741 h 37248"/>
              <a:gd name="connsiteX17" fmla="*/ 3956 w 87253"/>
              <a:gd name="connsiteY17" fmla="*/ 33700 h 37248"/>
              <a:gd name="connsiteX18" fmla="*/ 196 w 87253"/>
              <a:gd name="connsiteY18" fmla="*/ 25486 h 37248"/>
              <a:gd name="connsiteX19" fmla="*/ 36175 w 87253"/>
              <a:gd name="connsiteY19" fmla="*/ 34 h 37248"/>
              <a:gd name="connsiteX20" fmla="*/ 40398 w 87253"/>
              <a:gd name="connsiteY20" fmla="*/ 5454 h 37248"/>
              <a:gd name="connsiteX21" fmla="*/ 40340 w 87253"/>
              <a:gd name="connsiteY21" fmla="*/ 5819 h 37248"/>
              <a:gd name="connsiteX22" fmla="*/ 8757 w 87253"/>
              <a:gd name="connsiteY22" fmla="*/ 34741 h 37248"/>
              <a:gd name="connsiteX23" fmla="*/ 34151 w 87253"/>
              <a:gd name="connsiteY23" fmla="*/ 2116 h 37248"/>
              <a:gd name="connsiteX24" fmla="*/ 2395 w 87253"/>
              <a:gd name="connsiteY24" fmla="*/ 26006 h 37248"/>
              <a:gd name="connsiteX25" fmla="*/ 4940 w 87253"/>
              <a:gd name="connsiteY25" fmla="*/ 31791 h 37248"/>
              <a:gd name="connsiteX26" fmla="*/ 8757 w 87253"/>
              <a:gd name="connsiteY26" fmla="*/ 32600 h 37248"/>
              <a:gd name="connsiteX27" fmla="*/ 38084 w 87253"/>
              <a:gd name="connsiteY27" fmla="*/ 5703 h 37248"/>
              <a:gd name="connsiteX28" fmla="*/ 35770 w 87253"/>
              <a:gd name="connsiteY28" fmla="*/ 2406 h 37248"/>
              <a:gd name="connsiteX29" fmla="*/ 34151 w 87253"/>
              <a:gd name="connsiteY29" fmla="*/ 2116 h 3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7253" h="37248">
                <a:moveTo>
                  <a:pt x="45604" y="37112"/>
                </a:moveTo>
                <a:lnTo>
                  <a:pt x="45604" y="37112"/>
                </a:lnTo>
                <a:cubicBezTo>
                  <a:pt x="43782" y="37176"/>
                  <a:pt x="41966" y="36840"/>
                  <a:pt x="40282" y="36129"/>
                </a:cubicBezTo>
                <a:cubicBezTo>
                  <a:pt x="38669" y="35348"/>
                  <a:pt x="37876" y="33497"/>
                  <a:pt x="38431" y="31791"/>
                </a:cubicBezTo>
                <a:cubicBezTo>
                  <a:pt x="40340" y="23924"/>
                  <a:pt x="61569" y="8075"/>
                  <a:pt x="75799" y="8075"/>
                </a:cubicBezTo>
                <a:cubicBezTo>
                  <a:pt x="80212" y="7774"/>
                  <a:pt x="84412" y="10018"/>
                  <a:pt x="86616" y="13859"/>
                </a:cubicBezTo>
                <a:cubicBezTo>
                  <a:pt x="87460" y="15519"/>
                  <a:pt x="87281" y="17520"/>
                  <a:pt x="86153" y="19007"/>
                </a:cubicBezTo>
                <a:cubicBezTo>
                  <a:pt x="81178" y="27452"/>
                  <a:pt x="57347" y="37112"/>
                  <a:pt x="45604" y="37112"/>
                </a:cubicBezTo>
                <a:close/>
                <a:moveTo>
                  <a:pt x="75799" y="10331"/>
                </a:moveTo>
                <a:cubicBezTo>
                  <a:pt x="62957" y="10331"/>
                  <a:pt x="42307" y="25428"/>
                  <a:pt x="40630" y="32311"/>
                </a:cubicBezTo>
                <a:cubicBezTo>
                  <a:pt x="40630" y="33468"/>
                  <a:pt x="40630" y="33873"/>
                  <a:pt x="41324" y="34104"/>
                </a:cubicBezTo>
                <a:cubicBezTo>
                  <a:pt x="42671" y="34683"/>
                  <a:pt x="44141" y="34943"/>
                  <a:pt x="45604" y="34856"/>
                </a:cubicBezTo>
                <a:cubicBezTo>
                  <a:pt x="57578" y="34856"/>
                  <a:pt x="79964" y="25081"/>
                  <a:pt x="84244" y="17966"/>
                </a:cubicBezTo>
                <a:cubicBezTo>
                  <a:pt x="84927" y="17139"/>
                  <a:pt x="85083" y="15999"/>
                  <a:pt x="84649" y="15016"/>
                </a:cubicBezTo>
                <a:cubicBezTo>
                  <a:pt x="82885" y="11846"/>
                  <a:pt x="79414" y="10006"/>
                  <a:pt x="75799" y="10331"/>
                </a:cubicBezTo>
                <a:close/>
                <a:moveTo>
                  <a:pt x="8757" y="34741"/>
                </a:moveTo>
                <a:lnTo>
                  <a:pt x="8757" y="34741"/>
                </a:lnTo>
                <a:cubicBezTo>
                  <a:pt x="7097" y="34764"/>
                  <a:pt x="5454" y="34411"/>
                  <a:pt x="3956" y="33700"/>
                </a:cubicBezTo>
                <a:cubicBezTo>
                  <a:pt x="792" y="32323"/>
                  <a:pt x="-827" y="28783"/>
                  <a:pt x="196" y="25486"/>
                </a:cubicBezTo>
                <a:cubicBezTo>
                  <a:pt x="2857" y="14322"/>
                  <a:pt x="25243" y="-1933"/>
                  <a:pt x="36175" y="34"/>
                </a:cubicBezTo>
                <a:cubicBezTo>
                  <a:pt x="38836" y="364"/>
                  <a:pt x="40728" y="2793"/>
                  <a:pt x="40398" y="5454"/>
                </a:cubicBezTo>
                <a:cubicBezTo>
                  <a:pt x="40387" y="5576"/>
                  <a:pt x="40363" y="5697"/>
                  <a:pt x="40340" y="5819"/>
                </a:cubicBezTo>
                <a:cubicBezTo>
                  <a:pt x="39530" y="15131"/>
                  <a:pt x="21483" y="34741"/>
                  <a:pt x="8757" y="34741"/>
                </a:cubicBezTo>
                <a:close/>
                <a:moveTo>
                  <a:pt x="34151" y="2116"/>
                </a:moveTo>
                <a:cubicBezTo>
                  <a:pt x="23912" y="2116"/>
                  <a:pt x="4650" y="16635"/>
                  <a:pt x="2395" y="26006"/>
                </a:cubicBezTo>
                <a:cubicBezTo>
                  <a:pt x="1556" y="28303"/>
                  <a:pt x="2678" y="30854"/>
                  <a:pt x="4940" y="31791"/>
                </a:cubicBezTo>
                <a:cubicBezTo>
                  <a:pt x="6131" y="32358"/>
                  <a:pt x="7438" y="32635"/>
                  <a:pt x="8757" y="32600"/>
                </a:cubicBezTo>
                <a:cubicBezTo>
                  <a:pt x="20326" y="32600"/>
                  <a:pt x="37332" y="14148"/>
                  <a:pt x="38084" y="5703"/>
                </a:cubicBezTo>
                <a:cubicBezTo>
                  <a:pt x="38084" y="3736"/>
                  <a:pt x="37564" y="2695"/>
                  <a:pt x="35770" y="2406"/>
                </a:cubicBezTo>
                <a:cubicBezTo>
                  <a:pt x="35244" y="2250"/>
                  <a:pt x="34700" y="2151"/>
                  <a:pt x="34151" y="211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6" name="Forma libre: forma 395">
            <a:extLst>
              <a:ext uri="{FF2B5EF4-FFF2-40B4-BE49-F238E27FC236}">
                <a16:creationId xmlns:a16="http://schemas.microsoft.com/office/drawing/2014/main" id="{9DAD22E3-FBF4-8AFB-E86C-CC417C25A726}"/>
              </a:ext>
            </a:extLst>
          </p:cNvPr>
          <p:cNvSpPr/>
          <p:nvPr/>
        </p:nvSpPr>
        <p:spPr>
          <a:xfrm>
            <a:off x="3952100" y="4440387"/>
            <a:ext cx="159942" cy="180928"/>
          </a:xfrm>
          <a:custGeom>
            <a:avLst/>
            <a:gdLst>
              <a:gd name="connsiteX0" fmla="*/ 53166 w 159942"/>
              <a:gd name="connsiteY0" fmla="*/ 180799 h 180928"/>
              <a:gd name="connsiteX1" fmla="*/ 53166 w 159942"/>
              <a:gd name="connsiteY1" fmla="*/ 180799 h 180928"/>
              <a:gd name="connsiteX2" fmla="*/ 41597 w 159942"/>
              <a:gd name="connsiteY2" fmla="*/ 171197 h 180928"/>
              <a:gd name="connsiteX3" fmla="*/ 35813 w 159942"/>
              <a:gd name="connsiteY3" fmla="*/ 167669 h 180928"/>
              <a:gd name="connsiteX4" fmla="*/ 32400 w 159942"/>
              <a:gd name="connsiteY4" fmla="*/ 168131 h 180928"/>
              <a:gd name="connsiteX5" fmla="*/ 28119 w 159942"/>
              <a:gd name="connsiteY5" fmla="*/ 168767 h 180928"/>
              <a:gd name="connsiteX6" fmla="*/ 20889 w 159942"/>
              <a:gd name="connsiteY6" fmla="*/ 165702 h 180928"/>
              <a:gd name="connsiteX7" fmla="*/ 18228 w 159942"/>
              <a:gd name="connsiteY7" fmla="*/ 153439 h 180928"/>
              <a:gd name="connsiteX8" fmla="*/ 20715 w 159942"/>
              <a:gd name="connsiteY8" fmla="*/ 150258 h 180928"/>
              <a:gd name="connsiteX9" fmla="*/ 15567 w 159942"/>
              <a:gd name="connsiteY9" fmla="*/ 137705 h 180928"/>
              <a:gd name="connsiteX10" fmla="*/ 15608 w 159942"/>
              <a:gd name="connsiteY10" fmla="*/ 136068 h 180928"/>
              <a:gd name="connsiteX11" fmla="*/ 16088 w 159942"/>
              <a:gd name="connsiteY11" fmla="*/ 135796 h 180928"/>
              <a:gd name="connsiteX12" fmla="*/ 18575 w 159942"/>
              <a:gd name="connsiteY12" fmla="*/ 135391 h 180928"/>
              <a:gd name="connsiteX13" fmla="*/ 29103 w 159942"/>
              <a:gd name="connsiteY13" fmla="*/ 129028 h 180928"/>
              <a:gd name="connsiteX14" fmla="*/ 29739 w 159942"/>
              <a:gd name="connsiteY14" fmla="*/ 120121 h 180928"/>
              <a:gd name="connsiteX15" fmla="*/ 28408 w 159942"/>
              <a:gd name="connsiteY15" fmla="*/ 118790 h 180928"/>
              <a:gd name="connsiteX16" fmla="*/ 27020 w 159942"/>
              <a:gd name="connsiteY16" fmla="*/ 119369 h 180928"/>
              <a:gd name="connsiteX17" fmla="*/ 23145 w 159942"/>
              <a:gd name="connsiteY17" fmla="*/ 120641 h 180928"/>
              <a:gd name="connsiteX18" fmla="*/ 16608 w 159942"/>
              <a:gd name="connsiteY18" fmla="*/ 117344 h 180928"/>
              <a:gd name="connsiteX19" fmla="*/ 6948 w 159942"/>
              <a:gd name="connsiteY19" fmla="*/ 110229 h 180928"/>
              <a:gd name="connsiteX20" fmla="*/ 527 w 159942"/>
              <a:gd name="connsiteY20" fmla="*/ 102304 h 180928"/>
              <a:gd name="connsiteX21" fmla="*/ 1916 w 159942"/>
              <a:gd name="connsiteY21" fmla="*/ 98834 h 180928"/>
              <a:gd name="connsiteX22" fmla="*/ 2494 w 159942"/>
              <a:gd name="connsiteY22" fmla="*/ 85067 h 180928"/>
              <a:gd name="connsiteX23" fmla="*/ 238 w 159942"/>
              <a:gd name="connsiteY23" fmla="*/ 74134 h 180928"/>
              <a:gd name="connsiteX24" fmla="*/ 8973 w 159942"/>
              <a:gd name="connsiteY24" fmla="*/ 64648 h 180928"/>
              <a:gd name="connsiteX25" fmla="*/ 13947 w 159942"/>
              <a:gd name="connsiteY25" fmla="*/ 58285 h 180928"/>
              <a:gd name="connsiteX26" fmla="*/ 15741 w 159942"/>
              <a:gd name="connsiteY26" fmla="*/ 50649 h 180928"/>
              <a:gd name="connsiteX27" fmla="*/ 22798 w 159942"/>
              <a:gd name="connsiteY27" fmla="*/ 42320 h 180928"/>
              <a:gd name="connsiteX28" fmla="*/ 27772 w 159942"/>
              <a:gd name="connsiteY28" fmla="*/ 34684 h 180928"/>
              <a:gd name="connsiteX29" fmla="*/ 27772 w 159942"/>
              <a:gd name="connsiteY29" fmla="*/ 32486 h 180928"/>
              <a:gd name="connsiteX30" fmla="*/ 37953 w 159942"/>
              <a:gd name="connsiteY30" fmla="*/ 13629 h 180928"/>
              <a:gd name="connsiteX31" fmla="*/ 54670 w 159942"/>
              <a:gd name="connsiteY31" fmla="*/ 7845 h 180928"/>
              <a:gd name="connsiteX32" fmla="*/ 55711 w 159942"/>
              <a:gd name="connsiteY32" fmla="*/ 4953 h 180928"/>
              <a:gd name="connsiteX33" fmla="*/ 55711 w 159942"/>
              <a:gd name="connsiteY33" fmla="*/ 1019 h 180928"/>
              <a:gd name="connsiteX34" fmla="*/ 56405 w 159942"/>
              <a:gd name="connsiteY34" fmla="*/ 36 h 180928"/>
              <a:gd name="connsiteX35" fmla="*/ 57562 w 159942"/>
              <a:gd name="connsiteY35" fmla="*/ 36 h 180928"/>
              <a:gd name="connsiteX36" fmla="*/ 90534 w 159942"/>
              <a:gd name="connsiteY36" fmla="*/ 18720 h 180928"/>
              <a:gd name="connsiteX37" fmla="*/ 100309 w 159942"/>
              <a:gd name="connsiteY37" fmla="*/ 24504 h 180928"/>
              <a:gd name="connsiteX38" fmla="*/ 108176 w 159942"/>
              <a:gd name="connsiteY38" fmla="*/ 31156 h 180928"/>
              <a:gd name="connsiteX39" fmla="*/ 118935 w 159942"/>
              <a:gd name="connsiteY39" fmla="*/ 33875 h 180928"/>
              <a:gd name="connsiteX40" fmla="*/ 127554 w 159942"/>
              <a:gd name="connsiteY40" fmla="*/ 31445 h 180928"/>
              <a:gd name="connsiteX41" fmla="*/ 130041 w 159942"/>
              <a:gd name="connsiteY41" fmla="*/ 30289 h 180928"/>
              <a:gd name="connsiteX42" fmla="*/ 148840 w 159942"/>
              <a:gd name="connsiteY42" fmla="*/ 46600 h 180928"/>
              <a:gd name="connsiteX43" fmla="*/ 159773 w 159942"/>
              <a:gd name="connsiteY43" fmla="*/ 63549 h 180928"/>
              <a:gd name="connsiteX44" fmla="*/ 156302 w 159942"/>
              <a:gd name="connsiteY44" fmla="*/ 69333 h 180928"/>
              <a:gd name="connsiteX45" fmla="*/ 152080 w 159942"/>
              <a:gd name="connsiteY45" fmla="*/ 76217 h 180928"/>
              <a:gd name="connsiteX46" fmla="*/ 141321 w 159942"/>
              <a:gd name="connsiteY46" fmla="*/ 96867 h 180928"/>
              <a:gd name="connsiteX47" fmla="*/ 92153 w 159942"/>
              <a:gd name="connsiteY47" fmla="*/ 124922 h 180928"/>
              <a:gd name="connsiteX48" fmla="*/ 87063 w 159942"/>
              <a:gd name="connsiteY48" fmla="*/ 126368 h 180928"/>
              <a:gd name="connsiteX49" fmla="*/ 67800 w 159942"/>
              <a:gd name="connsiteY49" fmla="*/ 157141 h 180928"/>
              <a:gd name="connsiteX50" fmla="*/ 63173 w 159942"/>
              <a:gd name="connsiteY50" fmla="*/ 169288 h 180928"/>
              <a:gd name="connsiteX51" fmla="*/ 53166 w 159942"/>
              <a:gd name="connsiteY51" fmla="*/ 180799 h 180928"/>
              <a:gd name="connsiteX52" fmla="*/ 35813 w 159942"/>
              <a:gd name="connsiteY52" fmla="*/ 165413 h 180928"/>
              <a:gd name="connsiteX53" fmla="*/ 43390 w 159942"/>
              <a:gd name="connsiteY53" fmla="*/ 169866 h 180928"/>
              <a:gd name="connsiteX54" fmla="*/ 53050 w 159942"/>
              <a:gd name="connsiteY54" fmla="*/ 178543 h 180928"/>
              <a:gd name="connsiteX55" fmla="*/ 53050 w 159942"/>
              <a:gd name="connsiteY55" fmla="*/ 178543 h 180928"/>
              <a:gd name="connsiteX56" fmla="*/ 61033 w 159942"/>
              <a:gd name="connsiteY56" fmla="*/ 168825 h 180928"/>
              <a:gd name="connsiteX57" fmla="*/ 65602 w 159942"/>
              <a:gd name="connsiteY57" fmla="*/ 156794 h 180928"/>
              <a:gd name="connsiteX58" fmla="*/ 86369 w 159942"/>
              <a:gd name="connsiteY58" fmla="*/ 124633 h 180928"/>
              <a:gd name="connsiteX59" fmla="*/ 91517 w 159942"/>
              <a:gd name="connsiteY59" fmla="*/ 123129 h 180928"/>
              <a:gd name="connsiteX60" fmla="*/ 139470 w 159942"/>
              <a:gd name="connsiteY60" fmla="*/ 95942 h 180928"/>
              <a:gd name="connsiteX61" fmla="*/ 149939 w 159942"/>
              <a:gd name="connsiteY61" fmla="*/ 76390 h 180928"/>
              <a:gd name="connsiteX62" fmla="*/ 154914 w 159942"/>
              <a:gd name="connsiteY62" fmla="*/ 68292 h 180928"/>
              <a:gd name="connsiteX63" fmla="*/ 157575 w 159942"/>
              <a:gd name="connsiteY63" fmla="*/ 64359 h 180928"/>
              <a:gd name="connsiteX64" fmla="*/ 147221 w 159942"/>
              <a:gd name="connsiteY64" fmla="*/ 49088 h 180928"/>
              <a:gd name="connsiteX65" fmla="*/ 129868 w 159942"/>
              <a:gd name="connsiteY65" fmla="*/ 33528 h 180928"/>
              <a:gd name="connsiteX66" fmla="*/ 129173 w 159942"/>
              <a:gd name="connsiteY66" fmla="*/ 33817 h 180928"/>
              <a:gd name="connsiteX67" fmla="*/ 118761 w 159942"/>
              <a:gd name="connsiteY67" fmla="*/ 37114 h 180928"/>
              <a:gd name="connsiteX68" fmla="*/ 106845 w 159942"/>
              <a:gd name="connsiteY68" fmla="*/ 34106 h 180928"/>
              <a:gd name="connsiteX69" fmla="*/ 98516 w 159942"/>
              <a:gd name="connsiteY69" fmla="*/ 27107 h 180928"/>
              <a:gd name="connsiteX70" fmla="*/ 90360 w 159942"/>
              <a:gd name="connsiteY70" fmla="*/ 21612 h 180928"/>
              <a:gd name="connsiteX71" fmla="*/ 57678 w 159942"/>
              <a:gd name="connsiteY71" fmla="*/ 3911 h 180928"/>
              <a:gd name="connsiteX72" fmla="*/ 57678 w 159942"/>
              <a:gd name="connsiteY72" fmla="*/ 5242 h 180928"/>
              <a:gd name="connsiteX73" fmla="*/ 56174 w 159942"/>
              <a:gd name="connsiteY73" fmla="*/ 9811 h 180928"/>
              <a:gd name="connsiteX74" fmla="*/ 37837 w 159942"/>
              <a:gd name="connsiteY74" fmla="*/ 16174 h 180928"/>
              <a:gd name="connsiteX75" fmla="*/ 29797 w 159942"/>
              <a:gd name="connsiteY75" fmla="*/ 32718 h 180928"/>
              <a:gd name="connsiteX76" fmla="*/ 29797 w 159942"/>
              <a:gd name="connsiteY76" fmla="*/ 34974 h 180928"/>
              <a:gd name="connsiteX77" fmla="*/ 24013 w 159942"/>
              <a:gd name="connsiteY77" fmla="*/ 44402 h 180928"/>
              <a:gd name="connsiteX78" fmla="*/ 18054 w 159942"/>
              <a:gd name="connsiteY78" fmla="*/ 51517 h 180928"/>
              <a:gd name="connsiteX79" fmla="*/ 16435 w 159942"/>
              <a:gd name="connsiteY79" fmla="*/ 58401 h 180928"/>
              <a:gd name="connsiteX80" fmla="*/ 10246 w 159942"/>
              <a:gd name="connsiteY80" fmla="*/ 66672 h 180928"/>
              <a:gd name="connsiteX81" fmla="*/ 2668 w 159942"/>
              <a:gd name="connsiteY81" fmla="*/ 74713 h 180928"/>
              <a:gd name="connsiteX82" fmla="*/ 4635 w 159942"/>
              <a:gd name="connsiteY82" fmla="*/ 83794 h 180928"/>
              <a:gd name="connsiteX83" fmla="*/ 4230 w 159942"/>
              <a:gd name="connsiteY83" fmla="*/ 99759 h 180928"/>
              <a:gd name="connsiteX84" fmla="*/ 2957 w 159942"/>
              <a:gd name="connsiteY84" fmla="*/ 102883 h 180928"/>
              <a:gd name="connsiteX85" fmla="*/ 8395 w 159942"/>
              <a:gd name="connsiteY85" fmla="*/ 108320 h 180928"/>
              <a:gd name="connsiteX86" fmla="*/ 18054 w 159942"/>
              <a:gd name="connsiteY86" fmla="*/ 115724 h 180928"/>
              <a:gd name="connsiteX87" fmla="*/ 23087 w 159942"/>
              <a:gd name="connsiteY87" fmla="*/ 118385 h 180928"/>
              <a:gd name="connsiteX88" fmla="*/ 25806 w 159942"/>
              <a:gd name="connsiteY88" fmla="*/ 117402 h 180928"/>
              <a:gd name="connsiteX89" fmla="*/ 28351 w 159942"/>
              <a:gd name="connsiteY89" fmla="*/ 116476 h 180928"/>
              <a:gd name="connsiteX90" fmla="*/ 31590 w 159942"/>
              <a:gd name="connsiteY90" fmla="*/ 118964 h 180928"/>
              <a:gd name="connsiteX91" fmla="*/ 31012 w 159942"/>
              <a:gd name="connsiteY91" fmla="*/ 130127 h 180928"/>
              <a:gd name="connsiteX92" fmla="*/ 18517 w 159942"/>
              <a:gd name="connsiteY92" fmla="*/ 137648 h 180928"/>
              <a:gd name="connsiteX93" fmla="*/ 18517 w 159942"/>
              <a:gd name="connsiteY93" fmla="*/ 137648 h 180928"/>
              <a:gd name="connsiteX94" fmla="*/ 22509 w 159942"/>
              <a:gd name="connsiteY94" fmla="*/ 151588 h 180928"/>
              <a:gd name="connsiteX95" fmla="*/ 19906 w 159942"/>
              <a:gd name="connsiteY95" fmla="*/ 154885 h 180928"/>
              <a:gd name="connsiteX96" fmla="*/ 22335 w 159942"/>
              <a:gd name="connsiteY96" fmla="*/ 164024 h 180928"/>
              <a:gd name="connsiteX97" fmla="*/ 28119 w 159942"/>
              <a:gd name="connsiteY97" fmla="*/ 166512 h 180928"/>
              <a:gd name="connsiteX98" fmla="*/ 31879 w 159942"/>
              <a:gd name="connsiteY98" fmla="*/ 165933 h 180928"/>
              <a:gd name="connsiteX99" fmla="*/ 35928 w 159942"/>
              <a:gd name="connsiteY99" fmla="*/ 165413 h 18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59942" h="180928">
                <a:moveTo>
                  <a:pt x="53166" y="180799"/>
                </a:moveTo>
                <a:lnTo>
                  <a:pt x="53166" y="180799"/>
                </a:lnTo>
                <a:cubicBezTo>
                  <a:pt x="49117" y="180799"/>
                  <a:pt x="45415" y="176230"/>
                  <a:pt x="41597" y="171197"/>
                </a:cubicBezTo>
                <a:cubicBezTo>
                  <a:pt x="40440" y="169068"/>
                  <a:pt x="38230" y="167726"/>
                  <a:pt x="35813" y="167669"/>
                </a:cubicBezTo>
                <a:cubicBezTo>
                  <a:pt x="34661" y="167715"/>
                  <a:pt x="33522" y="167871"/>
                  <a:pt x="32400" y="168131"/>
                </a:cubicBezTo>
                <a:cubicBezTo>
                  <a:pt x="31000" y="168496"/>
                  <a:pt x="29565" y="168704"/>
                  <a:pt x="28119" y="168767"/>
                </a:cubicBezTo>
                <a:cubicBezTo>
                  <a:pt x="25401" y="168739"/>
                  <a:pt x="22798" y="167640"/>
                  <a:pt x="20889" y="165702"/>
                </a:cubicBezTo>
                <a:cubicBezTo>
                  <a:pt x="14179" y="159455"/>
                  <a:pt x="14757" y="157488"/>
                  <a:pt x="18228" y="153439"/>
                </a:cubicBezTo>
                <a:cubicBezTo>
                  <a:pt x="18980" y="152513"/>
                  <a:pt x="19848" y="151530"/>
                  <a:pt x="20715" y="150258"/>
                </a:cubicBezTo>
                <a:cubicBezTo>
                  <a:pt x="22566" y="147654"/>
                  <a:pt x="20715" y="142969"/>
                  <a:pt x="15567" y="137705"/>
                </a:cubicBezTo>
                <a:cubicBezTo>
                  <a:pt x="15128" y="137243"/>
                  <a:pt x="15145" y="136508"/>
                  <a:pt x="15608" y="136068"/>
                </a:cubicBezTo>
                <a:cubicBezTo>
                  <a:pt x="15747" y="135941"/>
                  <a:pt x="15909" y="135848"/>
                  <a:pt x="16088" y="135796"/>
                </a:cubicBezTo>
                <a:cubicBezTo>
                  <a:pt x="16898" y="135559"/>
                  <a:pt x="17730" y="135420"/>
                  <a:pt x="18575" y="135391"/>
                </a:cubicBezTo>
                <a:cubicBezTo>
                  <a:pt x="22965" y="135299"/>
                  <a:pt x="26980" y="132875"/>
                  <a:pt x="29103" y="129028"/>
                </a:cubicBezTo>
                <a:cubicBezTo>
                  <a:pt x="30861" y="126373"/>
                  <a:pt x="31104" y="122995"/>
                  <a:pt x="29739" y="120121"/>
                </a:cubicBezTo>
                <a:cubicBezTo>
                  <a:pt x="29739" y="119600"/>
                  <a:pt x="28813" y="118790"/>
                  <a:pt x="28408" y="118790"/>
                </a:cubicBezTo>
                <a:cubicBezTo>
                  <a:pt x="27911" y="118888"/>
                  <a:pt x="27437" y="119085"/>
                  <a:pt x="27020" y="119369"/>
                </a:cubicBezTo>
                <a:cubicBezTo>
                  <a:pt x="25875" y="120149"/>
                  <a:pt x="24533" y="120589"/>
                  <a:pt x="23145" y="120641"/>
                </a:cubicBezTo>
                <a:cubicBezTo>
                  <a:pt x="20623" y="120433"/>
                  <a:pt x="18280" y="119247"/>
                  <a:pt x="16608" y="117344"/>
                </a:cubicBezTo>
                <a:cubicBezTo>
                  <a:pt x="13629" y="114660"/>
                  <a:pt x="10396" y="112277"/>
                  <a:pt x="6948" y="110229"/>
                </a:cubicBezTo>
                <a:cubicBezTo>
                  <a:pt x="2668" y="107510"/>
                  <a:pt x="-398" y="105544"/>
                  <a:pt x="527" y="102304"/>
                </a:cubicBezTo>
                <a:cubicBezTo>
                  <a:pt x="886" y="101107"/>
                  <a:pt x="1349" y="99945"/>
                  <a:pt x="1916" y="98834"/>
                </a:cubicBezTo>
                <a:cubicBezTo>
                  <a:pt x="4692" y="94721"/>
                  <a:pt x="4918" y="89400"/>
                  <a:pt x="2494" y="85067"/>
                </a:cubicBezTo>
                <a:cubicBezTo>
                  <a:pt x="175" y="81932"/>
                  <a:pt x="-646" y="77935"/>
                  <a:pt x="238" y="74134"/>
                </a:cubicBezTo>
                <a:cubicBezTo>
                  <a:pt x="1627" y="69848"/>
                  <a:pt x="4820" y="66383"/>
                  <a:pt x="8973" y="64648"/>
                </a:cubicBezTo>
                <a:cubicBezTo>
                  <a:pt x="13658" y="62276"/>
                  <a:pt x="13774" y="61004"/>
                  <a:pt x="13947" y="58285"/>
                </a:cubicBezTo>
                <a:cubicBezTo>
                  <a:pt x="14098" y="55653"/>
                  <a:pt x="14705" y="53073"/>
                  <a:pt x="15741" y="50649"/>
                </a:cubicBezTo>
                <a:cubicBezTo>
                  <a:pt x="17302" y="47289"/>
                  <a:pt x="19738" y="44408"/>
                  <a:pt x="22798" y="42320"/>
                </a:cubicBezTo>
                <a:cubicBezTo>
                  <a:pt x="25574" y="40180"/>
                  <a:pt x="27772" y="38444"/>
                  <a:pt x="27772" y="34684"/>
                </a:cubicBezTo>
                <a:cubicBezTo>
                  <a:pt x="27772" y="33990"/>
                  <a:pt x="27772" y="33238"/>
                  <a:pt x="27772" y="32486"/>
                </a:cubicBezTo>
                <a:cubicBezTo>
                  <a:pt x="27772" y="24793"/>
                  <a:pt x="27772" y="14208"/>
                  <a:pt x="37953" y="13629"/>
                </a:cubicBezTo>
                <a:cubicBezTo>
                  <a:pt x="44032" y="13739"/>
                  <a:pt x="49961" y="11691"/>
                  <a:pt x="54670" y="7845"/>
                </a:cubicBezTo>
                <a:cubicBezTo>
                  <a:pt x="55428" y="7081"/>
                  <a:pt x="55809" y="6023"/>
                  <a:pt x="55711" y="4953"/>
                </a:cubicBezTo>
                <a:cubicBezTo>
                  <a:pt x="55595" y="3645"/>
                  <a:pt x="55595" y="2326"/>
                  <a:pt x="55711" y="1019"/>
                </a:cubicBezTo>
                <a:cubicBezTo>
                  <a:pt x="55711" y="579"/>
                  <a:pt x="55989" y="186"/>
                  <a:pt x="56405" y="36"/>
                </a:cubicBezTo>
                <a:cubicBezTo>
                  <a:pt x="56758" y="-184"/>
                  <a:pt x="57209" y="-184"/>
                  <a:pt x="57562" y="36"/>
                </a:cubicBezTo>
                <a:cubicBezTo>
                  <a:pt x="67685" y="8597"/>
                  <a:pt x="85617" y="18720"/>
                  <a:pt x="90534" y="18720"/>
                </a:cubicBezTo>
                <a:cubicBezTo>
                  <a:pt x="94293" y="18720"/>
                  <a:pt x="97070" y="21554"/>
                  <a:pt x="100309" y="24504"/>
                </a:cubicBezTo>
                <a:cubicBezTo>
                  <a:pt x="102611" y="27072"/>
                  <a:pt x="105260" y="29311"/>
                  <a:pt x="108176" y="31156"/>
                </a:cubicBezTo>
                <a:cubicBezTo>
                  <a:pt x="111455" y="33001"/>
                  <a:pt x="115169" y="33938"/>
                  <a:pt x="118935" y="33875"/>
                </a:cubicBezTo>
                <a:cubicBezTo>
                  <a:pt x="122012" y="34181"/>
                  <a:pt x="125090" y="33313"/>
                  <a:pt x="127554" y="31445"/>
                </a:cubicBezTo>
                <a:cubicBezTo>
                  <a:pt x="128167" y="30705"/>
                  <a:pt x="129081" y="30277"/>
                  <a:pt x="130041" y="30289"/>
                </a:cubicBezTo>
                <a:cubicBezTo>
                  <a:pt x="133685" y="30289"/>
                  <a:pt x="139470" y="36073"/>
                  <a:pt x="148840" y="46600"/>
                </a:cubicBezTo>
                <a:cubicBezTo>
                  <a:pt x="155897" y="54525"/>
                  <a:pt x="160409" y="59268"/>
                  <a:pt x="159773" y="63549"/>
                </a:cubicBezTo>
                <a:cubicBezTo>
                  <a:pt x="159536" y="65897"/>
                  <a:pt x="158263" y="68020"/>
                  <a:pt x="156302" y="69333"/>
                </a:cubicBezTo>
                <a:cubicBezTo>
                  <a:pt x="153965" y="70907"/>
                  <a:pt x="152421" y="73417"/>
                  <a:pt x="152080" y="76217"/>
                </a:cubicBezTo>
                <a:cubicBezTo>
                  <a:pt x="150177" y="83852"/>
                  <a:pt x="146492" y="90932"/>
                  <a:pt x="141321" y="96867"/>
                </a:cubicBezTo>
                <a:cubicBezTo>
                  <a:pt x="127785" y="115030"/>
                  <a:pt x="105457" y="121220"/>
                  <a:pt x="92153" y="124922"/>
                </a:cubicBezTo>
                <a:lnTo>
                  <a:pt x="87063" y="126368"/>
                </a:lnTo>
                <a:cubicBezTo>
                  <a:pt x="77923" y="129086"/>
                  <a:pt x="72775" y="143374"/>
                  <a:pt x="67800" y="157141"/>
                </a:cubicBezTo>
                <a:cubicBezTo>
                  <a:pt x="66297" y="161248"/>
                  <a:pt x="64793" y="165528"/>
                  <a:pt x="63173" y="169288"/>
                </a:cubicBezTo>
                <a:cubicBezTo>
                  <a:pt x="59992" y="177271"/>
                  <a:pt x="56810" y="180799"/>
                  <a:pt x="53166" y="180799"/>
                </a:cubicBezTo>
                <a:close/>
                <a:moveTo>
                  <a:pt x="35813" y="165413"/>
                </a:moveTo>
                <a:cubicBezTo>
                  <a:pt x="38942" y="165482"/>
                  <a:pt x="41805" y="167171"/>
                  <a:pt x="43390" y="169866"/>
                </a:cubicBezTo>
                <a:cubicBezTo>
                  <a:pt x="46514" y="174031"/>
                  <a:pt x="50043" y="178543"/>
                  <a:pt x="53050" y="178543"/>
                </a:cubicBezTo>
                <a:lnTo>
                  <a:pt x="53050" y="178543"/>
                </a:lnTo>
                <a:cubicBezTo>
                  <a:pt x="55595" y="178543"/>
                  <a:pt x="58314" y="175246"/>
                  <a:pt x="61033" y="168825"/>
                </a:cubicBezTo>
                <a:cubicBezTo>
                  <a:pt x="62595" y="165066"/>
                  <a:pt x="64041" y="161074"/>
                  <a:pt x="65602" y="156794"/>
                </a:cubicBezTo>
                <a:cubicBezTo>
                  <a:pt x="70751" y="142506"/>
                  <a:pt x="76130" y="127872"/>
                  <a:pt x="86369" y="124633"/>
                </a:cubicBezTo>
                <a:lnTo>
                  <a:pt x="91517" y="123129"/>
                </a:lnTo>
                <a:cubicBezTo>
                  <a:pt x="105399" y="119253"/>
                  <a:pt x="126223" y="113468"/>
                  <a:pt x="139470" y="95942"/>
                </a:cubicBezTo>
                <a:cubicBezTo>
                  <a:pt x="144444" y="90337"/>
                  <a:pt x="148030" y="83638"/>
                  <a:pt x="149939" y="76390"/>
                </a:cubicBezTo>
                <a:cubicBezTo>
                  <a:pt x="150397" y="73116"/>
                  <a:pt x="152201" y="70178"/>
                  <a:pt x="154914" y="68292"/>
                </a:cubicBezTo>
                <a:cubicBezTo>
                  <a:pt x="156325" y="67424"/>
                  <a:pt x="157291" y="65990"/>
                  <a:pt x="157575" y="64359"/>
                </a:cubicBezTo>
                <a:cubicBezTo>
                  <a:pt x="157575" y="61004"/>
                  <a:pt x="153641" y="56261"/>
                  <a:pt x="147221" y="49088"/>
                </a:cubicBezTo>
                <a:cubicBezTo>
                  <a:pt x="142420" y="43651"/>
                  <a:pt x="133454" y="33528"/>
                  <a:pt x="129868" y="33528"/>
                </a:cubicBezTo>
                <a:cubicBezTo>
                  <a:pt x="129601" y="33481"/>
                  <a:pt x="129330" y="33591"/>
                  <a:pt x="129173" y="33817"/>
                </a:cubicBezTo>
                <a:cubicBezTo>
                  <a:pt x="126287" y="36275"/>
                  <a:pt x="122533" y="37461"/>
                  <a:pt x="118761" y="37114"/>
                </a:cubicBezTo>
                <a:cubicBezTo>
                  <a:pt x="114597" y="37172"/>
                  <a:pt x="110484" y="36130"/>
                  <a:pt x="106845" y="34106"/>
                </a:cubicBezTo>
                <a:cubicBezTo>
                  <a:pt x="103768" y="32157"/>
                  <a:pt x="100963" y="29802"/>
                  <a:pt x="98516" y="27107"/>
                </a:cubicBezTo>
                <a:cubicBezTo>
                  <a:pt x="95623" y="24157"/>
                  <a:pt x="93136" y="21612"/>
                  <a:pt x="90360" y="21612"/>
                </a:cubicBezTo>
                <a:cubicBezTo>
                  <a:pt x="84575" y="21612"/>
                  <a:pt x="67800" y="11894"/>
                  <a:pt x="57678" y="3911"/>
                </a:cubicBezTo>
                <a:cubicBezTo>
                  <a:pt x="57678" y="4374"/>
                  <a:pt x="57678" y="4837"/>
                  <a:pt x="57678" y="5242"/>
                </a:cubicBezTo>
                <a:cubicBezTo>
                  <a:pt x="57863" y="6914"/>
                  <a:pt x="57313" y="8579"/>
                  <a:pt x="56174" y="9811"/>
                </a:cubicBezTo>
                <a:cubicBezTo>
                  <a:pt x="51031" y="14075"/>
                  <a:pt x="44518" y="16336"/>
                  <a:pt x="37837" y="16174"/>
                </a:cubicBezTo>
                <a:cubicBezTo>
                  <a:pt x="30202" y="16637"/>
                  <a:pt x="29681" y="23636"/>
                  <a:pt x="29797" y="32718"/>
                </a:cubicBezTo>
                <a:cubicBezTo>
                  <a:pt x="29797" y="33528"/>
                  <a:pt x="29797" y="34279"/>
                  <a:pt x="29797" y="34974"/>
                </a:cubicBezTo>
                <a:cubicBezTo>
                  <a:pt x="29594" y="38896"/>
                  <a:pt x="27414" y="42447"/>
                  <a:pt x="24013" y="44402"/>
                </a:cubicBezTo>
                <a:cubicBezTo>
                  <a:pt x="21432" y="46201"/>
                  <a:pt x="19373" y="48660"/>
                  <a:pt x="18054" y="51517"/>
                </a:cubicBezTo>
                <a:cubicBezTo>
                  <a:pt x="17111" y="53698"/>
                  <a:pt x="16568" y="56029"/>
                  <a:pt x="16435" y="58401"/>
                </a:cubicBezTo>
                <a:cubicBezTo>
                  <a:pt x="16435" y="61813"/>
                  <a:pt x="15798" y="64185"/>
                  <a:pt x="10246" y="66672"/>
                </a:cubicBezTo>
                <a:cubicBezTo>
                  <a:pt x="6653" y="68101"/>
                  <a:pt x="3883" y="71045"/>
                  <a:pt x="2668" y="74713"/>
                </a:cubicBezTo>
                <a:cubicBezTo>
                  <a:pt x="1922" y="77883"/>
                  <a:pt x="2645" y="81220"/>
                  <a:pt x="4635" y="83794"/>
                </a:cubicBezTo>
                <a:cubicBezTo>
                  <a:pt x="7504" y="88775"/>
                  <a:pt x="7347" y="94935"/>
                  <a:pt x="4230" y="99759"/>
                </a:cubicBezTo>
                <a:cubicBezTo>
                  <a:pt x="3732" y="100772"/>
                  <a:pt x="3310" y="101813"/>
                  <a:pt x="2957" y="102883"/>
                </a:cubicBezTo>
                <a:cubicBezTo>
                  <a:pt x="2494" y="104502"/>
                  <a:pt x="4519" y="105833"/>
                  <a:pt x="8395" y="108320"/>
                </a:cubicBezTo>
                <a:cubicBezTo>
                  <a:pt x="11842" y="110472"/>
                  <a:pt x="15081" y="112954"/>
                  <a:pt x="18054" y="115724"/>
                </a:cubicBezTo>
                <a:cubicBezTo>
                  <a:pt x="19356" y="117194"/>
                  <a:pt x="21143" y="118136"/>
                  <a:pt x="23087" y="118385"/>
                </a:cubicBezTo>
                <a:cubicBezTo>
                  <a:pt x="24064" y="118293"/>
                  <a:pt x="24996" y="117957"/>
                  <a:pt x="25806" y="117402"/>
                </a:cubicBezTo>
                <a:cubicBezTo>
                  <a:pt x="26557" y="116876"/>
                  <a:pt x="27437" y="116557"/>
                  <a:pt x="28351" y="116476"/>
                </a:cubicBezTo>
                <a:cubicBezTo>
                  <a:pt x="29912" y="116476"/>
                  <a:pt x="30954" y="117922"/>
                  <a:pt x="31590" y="118964"/>
                </a:cubicBezTo>
                <a:cubicBezTo>
                  <a:pt x="33418" y="122515"/>
                  <a:pt x="33198" y="126784"/>
                  <a:pt x="31012" y="130127"/>
                </a:cubicBezTo>
                <a:cubicBezTo>
                  <a:pt x="28501" y="134697"/>
                  <a:pt x="23729" y="137566"/>
                  <a:pt x="18517" y="137648"/>
                </a:cubicBezTo>
                <a:lnTo>
                  <a:pt x="18517" y="137648"/>
                </a:lnTo>
                <a:cubicBezTo>
                  <a:pt x="23376" y="143432"/>
                  <a:pt x="24822" y="148233"/>
                  <a:pt x="22509" y="151588"/>
                </a:cubicBezTo>
                <a:cubicBezTo>
                  <a:pt x="21704" y="152733"/>
                  <a:pt x="20837" y="153838"/>
                  <a:pt x="19906" y="154885"/>
                </a:cubicBezTo>
                <a:cubicBezTo>
                  <a:pt x="17187" y="158066"/>
                  <a:pt x="16608" y="158703"/>
                  <a:pt x="22335" y="164024"/>
                </a:cubicBezTo>
                <a:cubicBezTo>
                  <a:pt x="23862" y="165586"/>
                  <a:pt x="25938" y="166477"/>
                  <a:pt x="28119" y="166512"/>
                </a:cubicBezTo>
                <a:cubicBezTo>
                  <a:pt x="29392" y="166465"/>
                  <a:pt x="30653" y="166269"/>
                  <a:pt x="31879" y="165933"/>
                </a:cubicBezTo>
                <a:cubicBezTo>
                  <a:pt x="33210" y="165638"/>
                  <a:pt x="34563" y="165459"/>
                  <a:pt x="35928" y="16541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7" name="Forma libre: forma 396">
            <a:extLst>
              <a:ext uri="{FF2B5EF4-FFF2-40B4-BE49-F238E27FC236}">
                <a16:creationId xmlns:a16="http://schemas.microsoft.com/office/drawing/2014/main" id="{532DD267-6471-77AA-3EB3-C74D5B6C76D8}"/>
              </a:ext>
            </a:extLst>
          </p:cNvPr>
          <p:cNvSpPr/>
          <p:nvPr/>
        </p:nvSpPr>
        <p:spPr>
          <a:xfrm>
            <a:off x="4182189" y="1347329"/>
            <a:ext cx="1675360" cy="1249190"/>
          </a:xfrm>
          <a:custGeom>
            <a:avLst/>
            <a:gdLst>
              <a:gd name="connsiteX0" fmla="*/ 804289 w 1675360"/>
              <a:gd name="connsiteY0" fmla="*/ 1249019 h 1249190"/>
              <a:gd name="connsiteX1" fmla="*/ 802901 w 1675360"/>
              <a:gd name="connsiteY1" fmla="*/ 1249019 h 1249190"/>
              <a:gd name="connsiteX2" fmla="*/ 754370 w 1675360"/>
              <a:gd name="connsiteY2" fmla="*/ 1229699 h 1249190"/>
              <a:gd name="connsiteX3" fmla="*/ 723249 w 1675360"/>
              <a:gd name="connsiteY3" fmla="*/ 1216741 h 1249190"/>
              <a:gd name="connsiteX4" fmla="*/ 711276 w 1675360"/>
              <a:gd name="connsiteY4" fmla="*/ 1212287 h 1249190"/>
              <a:gd name="connsiteX5" fmla="*/ 701442 w 1675360"/>
              <a:gd name="connsiteY5" fmla="*/ 1207891 h 1249190"/>
              <a:gd name="connsiteX6" fmla="*/ 696757 w 1675360"/>
              <a:gd name="connsiteY6" fmla="*/ 1208585 h 1249190"/>
              <a:gd name="connsiteX7" fmla="*/ 690972 w 1675360"/>
              <a:gd name="connsiteY7" fmla="*/ 1209395 h 1249190"/>
              <a:gd name="connsiteX8" fmla="*/ 664422 w 1675360"/>
              <a:gd name="connsiteY8" fmla="*/ 1187761 h 1249190"/>
              <a:gd name="connsiteX9" fmla="*/ 646201 w 1675360"/>
              <a:gd name="connsiteY9" fmla="*/ 1167747 h 1249190"/>
              <a:gd name="connsiteX10" fmla="*/ 633880 w 1675360"/>
              <a:gd name="connsiteY10" fmla="*/ 1155658 h 1249190"/>
              <a:gd name="connsiteX11" fmla="*/ 630351 w 1675360"/>
              <a:gd name="connsiteY11" fmla="*/ 1151088 h 1249190"/>
              <a:gd name="connsiteX12" fmla="*/ 620807 w 1675360"/>
              <a:gd name="connsiteY12" fmla="*/ 1121530 h 1249190"/>
              <a:gd name="connsiteX13" fmla="*/ 610858 w 1675360"/>
              <a:gd name="connsiteY13" fmla="*/ 1108688 h 1249190"/>
              <a:gd name="connsiteX14" fmla="*/ 599752 w 1675360"/>
              <a:gd name="connsiteY14" fmla="*/ 1098565 h 1249190"/>
              <a:gd name="connsiteX15" fmla="*/ 593968 w 1675360"/>
              <a:gd name="connsiteY15" fmla="*/ 1089947 h 1249190"/>
              <a:gd name="connsiteX16" fmla="*/ 585811 w 1675360"/>
              <a:gd name="connsiteY16" fmla="*/ 1070916 h 1249190"/>
              <a:gd name="connsiteX17" fmla="*/ 584944 w 1675360"/>
              <a:gd name="connsiteY17" fmla="*/ 1064032 h 1249190"/>
              <a:gd name="connsiteX18" fmla="*/ 582514 w 1675360"/>
              <a:gd name="connsiteY18" fmla="*/ 1063281 h 1249190"/>
              <a:gd name="connsiteX19" fmla="*/ 580490 w 1675360"/>
              <a:gd name="connsiteY19" fmla="*/ 1063281 h 1249190"/>
              <a:gd name="connsiteX20" fmla="*/ 577945 w 1675360"/>
              <a:gd name="connsiteY20" fmla="*/ 1063281 h 1249190"/>
              <a:gd name="connsiteX21" fmla="*/ 569731 w 1675360"/>
              <a:gd name="connsiteY21" fmla="*/ 1056513 h 1249190"/>
              <a:gd name="connsiteX22" fmla="*/ 569268 w 1675360"/>
              <a:gd name="connsiteY22" fmla="*/ 1034937 h 1249190"/>
              <a:gd name="connsiteX23" fmla="*/ 565450 w 1675360"/>
              <a:gd name="connsiteY23" fmla="*/ 1010353 h 1249190"/>
              <a:gd name="connsiteX24" fmla="*/ 526868 w 1675360"/>
              <a:gd name="connsiteY24" fmla="*/ 969862 h 1249190"/>
              <a:gd name="connsiteX25" fmla="*/ 541676 w 1675360"/>
              <a:gd name="connsiteY25" fmla="*/ 955574 h 1249190"/>
              <a:gd name="connsiteX26" fmla="*/ 550064 w 1675360"/>
              <a:gd name="connsiteY26" fmla="*/ 948922 h 1249190"/>
              <a:gd name="connsiteX27" fmla="*/ 548328 w 1675360"/>
              <a:gd name="connsiteY27" fmla="*/ 946724 h 1249190"/>
              <a:gd name="connsiteX28" fmla="*/ 537685 w 1675360"/>
              <a:gd name="connsiteY28" fmla="*/ 941750 h 1249190"/>
              <a:gd name="connsiteX29" fmla="*/ 521199 w 1675360"/>
              <a:gd name="connsiteY29" fmla="*/ 922198 h 1249190"/>
              <a:gd name="connsiteX30" fmla="*/ 533809 w 1675360"/>
              <a:gd name="connsiteY30" fmla="*/ 900102 h 1249190"/>
              <a:gd name="connsiteX31" fmla="*/ 543816 w 1675360"/>
              <a:gd name="connsiteY31" fmla="*/ 881939 h 1249190"/>
              <a:gd name="connsiteX32" fmla="*/ 566607 w 1675360"/>
              <a:gd name="connsiteY32" fmla="*/ 861462 h 1249190"/>
              <a:gd name="connsiteX33" fmla="*/ 570020 w 1675360"/>
              <a:gd name="connsiteY33" fmla="*/ 861462 h 1249190"/>
              <a:gd name="connsiteX34" fmla="*/ 583555 w 1675360"/>
              <a:gd name="connsiteY34" fmla="*/ 863023 h 1249190"/>
              <a:gd name="connsiteX35" fmla="*/ 594315 w 1675360"/>
              <a:gd name="connsiteY35" fmla="*/ 864354 h 1249190"/>
              <a:gd name="connsiteX36" fmla="*/ 600099 w 1675360"/>
              <a:gd name="connsiteY36" fmla="*/ 860941 h 1249190"/>
              <a:gd name="connsiteX37" fmla="*/ 600446 w 1675360"/>
              <a:gd name="connsiteY37" fmla="*/ 849372 h 1249190"/>
              <a:gd name="connsiteX38" fmla="*/ 606230 w 1675360"/>
              <a:gd name="connsiteY38" fmla="*/ 822243 h 1249190"/>
              <a:gd name="connsiteX39" fmla="*/ 606520 w 1675360"/>
              <a:gd name="connsiteY39" fmla="*/ 811947 h 1249190"/>
              <a:gd name="connsiteX40" fmla="*/ 586447 w 1675360"/>
              <a:gd name="connsiteY40" fmla="*/ 795288 h 1249190"/>
              <a:gd name="connsiteX41" fmla="*/ 583208 w 1675360"/>
              <a:gd name="connsiteY41" fmla="*/ 795866 h 1249190"/>
              <a:gd name="connsiteX42" fmla="*/ 579506 w 1675360"/>
              <a:gd name="connsiteY42" fmla="*/ 796387 h 1249190"/>
              <a:gd name="connsiteX43" fmla="*/ 508184 w 1675360"/>
              <a:gd name="connsiteY43" fmla="*/ 760870 h 1249190"/>
              <a:gd name="connsiteX44" fmla="*/ 535487 w 1675360"/>
              <a:gd name="connsiteY44" fmla="*/ 755549 h 1249190"/>
              <a:gd name="connsiteX45" fmla="*/ 582630 w 1675360"/>
              <a:gd name="connsiteY45" fmla="*/ 765614 h 1249190"/>
              <a:gd name="connsiteX46" fmla="*/ 598306 w 1675360"/>
              <a:gd name="connsiteY46" fmla="*/ 772382 h 1249190"/>
              <a:gd name="connsiteX47" fmla="*/ 602239 w 1675360"/>
              <a:gd name="connsiteY47" fmla="*/ 770473 h 1249190"/>
              <a:gd name="connsiteX48" fmla="*/ 592579 w 1675360"/>
              <a:gd name="connsiteY48" fmla="*/ 756069 h 1249190"/>
              <a:gd name="connsiteX49" fmla="*/ 560360 w 1675360"/>
              <a:gd name="connsiteY49" fmla="*/ 740509 h 1249190"/>
              <a:gd name="connsiteX50" fmla="*/ 539999 w 1675360"/>
              <a:gd name="connsiteY50" fmla="*/ 730965 h 1249190"/>
              <a:gd name="connsiteX51" fmla="*/ 537801 w 1675360"/>
              <a:gd name="connsiteY51" fmla="*/ 713612 h 1249190"/>
              <a:gd name="connsiteX52" fmla="*/ 538148 w 1675360"/>
              <a:gd name="connsiteY52" fmla="*/ 705456 h 1249190"/>
              <a:gd name="connsiteX53" fmla="*/ 531148 w 1675360"/>
              <a:gd name="connsiteY53" fmla="*/ 703547 h 1249190"/>
              <a:gd name="connsiteX54" fmla="*/ 515241 w 1675360"/>
              <a:gd name="connsiteY54" fmla="*/ 712050 h 1249190"/>
              <a:gd name="connsiteX55" fmla="*/ 495921 w 1675360"/>
              <a:gd name="connsiteY55" fmla="*/ 721826 h 1249190"/>
              <a:gd name="connsiteX56" fmla="*/ 489732 w 1675360"/>
              <a:gd name="connsiteY56" fmla="*/ 721305 h 1249190"/>
              <a:gd name="connsiteX57" fmla="*/ 477527 w 1675360"/>
              <a:gd name="connsiteY57" fmla="*/ 715521 h 1249190"/>
              <a:gd name="connsiteX58" fmla="*/ 476890 w 1675360"/>
              <a:gd name="connsiteY58" fmla="*/ 699556 h 1249190"/>
              <a:gd name="connsiteX59" fmla="*/ 476081 w 1675360"/>
              <a:gd name="connsiteY59" fmla="*/ 683995 h 1249190"/>
              <a:gd name="connsiteX60" fmla="*/ 483832 w 1675360"/>
              <a:gd name="connsiteY60" fmla="*/ 667278 h 1249190"/>
              <a:gd name="connsiteX61" fmla="*/ 493029 w 1675360"/>
              <a:gd name="connsiteY61" fmla="*/ 655710 h 1249190"/>
              <a:gd name="connsiteX62" fmla="*/ 489963 w 1675360"/>
              <a:gd name="connsiteY62" fmla="*/ 650214 h 1249190"/>
              <a:gd name="connsiteX63" fmla="*/ 476023 w 1675360"/>
              <a:gd name="connsiteY63" fmla="*/ 620540 h 1249190"/>
              <a:gd name="connsiteX64" fmla="*/ 469197 w 1675360"/>
              <a:gd name="connsiteY64" fmla="*/ 611054 h 1249190"/>
              <a:gd name="connsiteX65" fmla="*/ 456472 w 1675360"/>
              <a:gd name="connsiteY65" fmla="*/ 591213 h 1249190"/>
              <a:gd name="connsiteX66" fmla="*/ 432119 w 1675360"/>
              <a:gd name="connsiteY66" fmla="*/ 547830 h 1249190"/>
              <a:gd name="connsiteX67" fmla="*/ 393479 w 1675360"/>
              <a:gd name="connsiteY67" fmla="*/ 510289 h 1249190"/>
              <a:gd name="connsiteX68" fmla="*/ 369821 w 1675360"/>
              <a:gd name="connsiteY68" fmla="*/ 491374 h 1249190"/>
              <a:gd name="connsiteX69" fmla="*/ 350443 w 1675360"/>
              <a:gd name="connsiteY69" fmla="*/ 483218 h 1249190"/>
              <a:gd name="connsiteX70" fmla="*/ 301911 w 1675360"/>
              <a:gd name="connsiteY70" fmla="*/ 470319 h 1249190"/>
              <a:gd name="connsiteX71" fmla="*/ 262288 w 1675360"/>
              <a:gd name="connsiteY71" fmla="*/ 459733 h 1249190"/>
              <a:gd name="connsiteX72" fmla="*/ 256851 w 1675360"/>
              <a:gd name="connsiteY72" fmla="*/ 457882 h 1249190"/>
              <a:gd name="connsiteX73" fmla="*/ 247769 w 1675360"/>
              <a:gd name="connsiteY73" fmla="*/ 461758 h 1249190"/>
              <a:gd name="connsiteX74" fmla="*/ 234176 w 1675360"/>
              <a:gd name="connsiteY74" fmla="*/ 466964 h 1249190"/>
              <a:gd name="connsiteX75" fmla="*/ 229549 w 1675360"/>
              <a:gd name="connsiteY75" fmla="*/ 466327 h 1249190"/>
              <a:gd name="connsiteX76" fmla="*/ 225037 w 1675360"/>
              <a:gd name="connsiteY76" fmla="*/ 465807 h 1249190"/>
              <a:gd name="connsiteX77" fmla="*/ 207683 w 1675360"/>
              <a:gd name="connsiteY77" fmla="*/ 471013 h 1249190"/>
              <a:gd name="connsiteX78" fmla="*/ 197040 w 1675360"/>
              <a:gd name="connsiteY78" fmla="*/ 474599 h 1249190"/>
              <a:gd name="connsiteX79" fmla="*/ 192354 w 1675360"/>
              <a:gd name="connsiteY79" fmla="*/ 472401 h 1249190"/>
              <a:gd name="connsiteX80" fmla="*/ 174134 w 1675360"/>
              <a:gd name="connsiteY80" fmla="*/ 467195 h 1249190"/>
              <a:gd name="connsiteX81" fmla="*/ 164705 w 1675360"/>
              <a:gd name="connsiteY81" fmla="*/ 469856 h 1249190"/>
              <a:gd name="connsiteX82" fmla="*/ 166614 w 1675360"/>
              <a:gd name="connsiteY82" fmla="*/ 474194 h 1249190"/>
              <a:gd name="connsiteX83" fmla="*/ 168870 w 1675360"/>
              <a:gd name="connsiteY83" fmla="*/ 479979 h 1249190"/>
              <a:gd name="connsiteX84" fmla="*/ 161871 w 1675360"/>
              <a:gd name="connsiteY84" fmla="*/ 482582 h 1249190"/>
              <a:gd name="connsiteX85" fmla="*/ 120859 w 1675360"/>
              <a:gd name="connsiteY85" fmla="*/ 471013 h 1249190"/>
              <a:gd name="connsiteX86" fmla="*/ 101076 w 1675360"/>
              <a:gd name="connsiteY86" fmla="*/ 463088 h 1249190"/>
              <a:gd name="connsiteX87" fmla="*/ 87945 w 1675360"/>
              <a:gd name="connsiteY87" fmla="*/ 452156 h 1249190"/>
              <a:gd name="connsiteX88" fmla="*/ 93094 w 1675360"/>
              <a:gd name="connsiteY88" fmla="*/ 442785 h 1249190"/>
              <a:gd name="connsiteX89" fmla="*/ 96738 w 1675360"/>
              <a:gd name="connsiteY89" fmla="*/ 435554 h 1249190"/>
              <a:gd name="connsiteX90" fmla="*/ 88061 w 1675360"/>
              <a:gd name="connsiteY90" fmla="*/ 431563 h 1249190"/>
              <a:gd name="connsiteX91" fmla="*/ 68510 w 1675360"/>
              <a:gd name="connsiteY91" fmla="*/ 429133 h 1249190"/>
              <a:gd name="connsiteX92" fmla="*/ 37910 w 1675360"/>
              <a:gd name="connsiteY92" fmla="*/ 417565 h 1249190"/>
              <a:gd name="connsiteX93" fmla="*/ 38604 w 1675360"/>
              <a:gd name="connsiteY93" fmla="*/ 414094 h 1249190"/>
              <a:gd name="connsiteX94" fmla="*/ 66717 w 1675360"/>
              <a:gd name="connsiteY94" fmla="*/ 409351 h 1249190"/>
              <a:gd name="connsiteX95" fmla="*/ 105415 w 1675360"/>
              <a:gd name="connsiteY95" fmla="*/ 403566 h 1249190"/>
              <a:gd name="connsiteX96" fmla="*/ 122363 w 1675360"/>
              <a:gd name="connsiteY96" fmla="*/ 400211 h 1249190"/>
              <a:gd name="connsiteX97" fmla="*/ 147120 w 1675360"/>
              <a:gd name="connsiteY97" fmla="*/ 402236 h 1249190"/>
              <a:gd name="connsiteX98" fmla="*/ 167481 w 1675360"/>
              <a:gd name="connsiteY98" fmla="*/ 404029 h 1249190"/>
              <a:gd name="connsiteX99" fmla="*/ 178356 w 1675360"/>
              <a:gd name="connsiteY99" fmla="*/ 399575 h 1249190"/>
              <a:gd name="connsiteX100" fmla="*/ 174076 w 1675360"/>
              <a:gd name="connsiteY100" fmla="*/ 388006 h 1249190"/>
              <a:gd name="connsiteX101" fmla="*/ 137113 w 1675360"/>
              <a:gd name="connsiteY101" fmla="*/ 384420 h 1249190"/>
              <a:gd name="connsiteX102" fmla="*/ 100729 w 1675360"/>
              <a:gd name="connsiteY102" fmla="*/ 390898 h 1249190"/>
              <a:gd name="connsiteX103" fmla="*/ 61568 w 1675360"/>
              <a:gd name="connsiteY103" fmla="*/ 378404 h 1249190"/>
              <a:gd name="connsiteX104" fmla="*/ 30448 w 1675360"/>
              <a:gd name="connsiteY104" fmla="*/ 367298 h 1249190"/>
              <a:gd name="connsiteX105" fmla="*/ 16913 w 1675360"/>
              <a:gd name="connsiteY105" fmla="*/ 365852 h 1249190"/>
              <a:gd name="connsiteX106" fmla="*/ -93 w 1675360"/>
              <a:gd name="connsiteY106" fmla="*/ 344565 h 1249190"/>
              <a:gd name="connsiteX107" fmla="*/ 61916 w 1675360"/>
              <a:gd name="connsiteY107" fmla="*/ 317957 h 1249190"/>
              <a:gd name="connsiteX108" fmla="*/ 104084 w 1675360"/>
              <a:gd name="connsiteY108" fmla="*/ 304074 h 1249190"/>
              <a:gd name="connsiteX109" fmla="*/ 145038 w 1675360"/>
              <a:gd name="connsiteY109" fmla="*/ 294356 h 1249190"/>
              <a:gd name="connsiteX110" fmla="*/ 190214 w 1675360"/>
              <a:gd name="connsiteY110" fmla="*/ 287878 h 1249190"/>
              <a:gd name="connsiteX111" fmla="*/ 217401 w 1675360"/>
              <a:gd name="connsiteY111" fmla="*/ 247387 h 1249190"/>
              <a:gd name="connsiteX112" fmla="*/ 212889 w 1675360"/>
              <a:gd name="connsiteY112" fmla="*/ 239693 h 1249190"/>
              <a:gd name="connsiteX113" fmla="*/ 190099 w 1675360"/>
              <a:gd name="connsiteY113" fmla="*/ 236570 h 1249190"/>
              <a:gd name="connsiteX114" fmla="*/ 175522 w 1675360"/>
              <a:gd name="connsiteY114" fmla="*/ 236570 h 1249190"/>
              <a:gd name="connsiteX115" fmla="*/ 146600 w 1675360"/>
              <a:gd name="connsiteY115" fmla="*/ 228587 h 1249190"/>
              <a:gd name="connsiteX116" fmla="*/ 147352 w 1675360"/>
              <a:gd name="connsiteY116" fmla="*/ 223323 h 1249190"/>
              <a:gd name="connsiteX117" fmla="*/ 271139 w 1675360"/>
              <a:gd name="connsiteY117" fmla="*/ 159695 h 1249190"/>
              <a:gd name="connsiteX118" fmla="*/ 301449 w 1675360"/>
              <a:gd name="connsiteY118" fmla="*/ 166115 h 1249190"/>
              <a:gd name="connsiteX119" fmla="*/ 317472 w 1675360"/>
              <a:gd name="connsiteY119" fmla="*/ 170454 h 1249190"/>
              <a:gd name="connsiteX120" fmla="*/ 322793 w 1675360"/>
              <a:gd name="connsiteY120" fmla="*/ 168198 h 1249190"/>
              <a:gd name="connsiteX121" fmla="*/ 325743 w 1675360"/>
              <a:gd name="connsiteY121" fmla="*/ 149283 h 1249190"/>
              <a:gd name="connsiteX122" fmla="*/ 314348 w 1675360"/>
              <a:gd name="connsiteY122" fmla="*/ 129153 h 1249190"/>
              <a:gd name="connsiteX123" fmla="*/ 312497 w 1675360"/>
              <a:gd name="connsiteY123" fmla="*/ 124930 h 1249190"/>
              <a:gd name="connsiteX124" fmla="*/ 352988 w 1675360"/>
              <a:gd name="connsiteY124" fmla="*/ 113882 h 1249190"/>
              <a:gd name="connsiteX125" fmla="*/ 376878 w 1675360"/>
              <a:gd name="connsiteY125" fmla="*/ 119204 h 1249190"/>
              <a:gd name="connsiteX126" fmla="*/ 394578 w 1675360"/>
              <a:gd name="connsiteY126" fmla="*/ 125509 h 1249190"/>
              <a:gd name="connsiteX127" fmla="*/ 400710 w 1675360"/>
              <a:gd name="connsiteY127" fmla="*/ 123195 h 1249190"/>
              <a:gd name="connsiteX128" fmla="*/ 393421 w 1675360"/>
              <a:gd name="connsiteY128" fmla="*/ 115502 h 1249190"/>
              <a:gd name="connsiteX129" fmla="*/ 386769 w 1675360"/>
              <a:gd name="connsiteY129" fmla="*/ 106247 h 1249190"/>
              <a:gd name="connsiteX130" fmla="*/ 423558 w 1675360"/>
              <a:gd name="connsiteY130" fmla="*/ 95545 h 1249190"/>
              <a:gd name="connsiteX131" fmla="*/ 428417 w 1675360"/>
              <a:gd name="connsiteY131" fmla="*/ 95545 h 1249190"/>
              <a:gd name="connsiteX132" fmla="*/ 464859 w 1675360"/>
              <a:gd name="connsiteY132" fmla="*/ 88488 h 1249190"/>
              <a:gd name="connsiteX133" fmla="*/ 501879 w 1675360"/>
              <a:gd name="connsiteY133" fmla="*/ 81316 h 1249190"/>
              <a:gd name="connsiteX134" fmla="*/ 510672 w 1675360"/>
              <a:gd name="connsiteY134" fmla="*/ 82646 h 1249190"/>
              <a:gd name="connsiteX135" fmla="*/ 526868 w 1675360"/>
              <a:gd name="connsiteY135" fmla="*/ 103412 h 1249190"/>
              <a:gd name="connsiteX136" fmla="*/ 525769 w 1675360"/>
              <a:gd name="connsiteY136" fmla="*/ 140086 h 1249190"/>
              <a:gd name="connsiteX137" fmla="*/ 524439 w 1675360"/>
              <a:gd name="connsiteY137" fmla="*/ 143845 h 1249190"/>
              <a:gd name="connsiteX138" fmla="*/ 525653 w 1675360"/>
              <a:gd name="connsiteY138" fmla="*/ 144192 h 1249190"/>
              <a:gd name="connsiteX139" fmla="*/ 546304 w 1675360"/>
              <a:gd name="connsiteY139" fmla="*/ 121055 h 1249190"/>
              <a:gd name="connsiteX140" fmla="*/ 542891 w 1675360"/>
              <a:gd name="connsiteY140" fmla="*/ 101561 h 1249190"/>
              <a:gd name="connsiteX141" fmla="*/ 542023 w 1675360"/>
              <a:gd name="connsiteY141" fmla="*/ 87852 h 1249190"/>
              <a:gd name="connsiteX142" fmla="*/ 549890 w 1675360"/>
              <a:gd name="connsiteY142" fmla="*/ 85191 h 1249190"/>
              <a:gd name="connsiteX143" fmla="*/ 582283 w 1675360"/>
              <a:gd name="connsiteY143" fmla="*/ 102545 h 1249190"/>
              <a:gd name="connsiteX144" fmla="*/ 598653 w 1675360"/>
              <a:gd name="connsiteY144" fmla="*/ 112783 h 1249190"/>
              <a:gd name="connsiteX145" fmla="*/ 599289 w 1675360"/>
              <a:gd name="connsiteY145" fmla="*/ 112783 h 1249190"/>
              <a:gd name="connsiteX146" fmla="*/ 603859 w 1675360"/>
              <a:gd name="connsiteY146" fmla="*/ 111800 h 1249190"/>
              <a:gd name="connsiteX147" fmla="*/ 616411 w 1675360"/>
              <a:gd name="connsiteY147" fmla="*/ 113419 h 1249190"/>
              <a:gd name="connsiteX148" fmla="*/ 630641 w 1675360"/>
              <a:gd name="connsiteY148" fmla="*/ 115213 h 1249190"/>
              <a:gd name="connsiteX149" fmla="*/ 636772 w 1675360"/>
              <a:gd name="connsiteY149" fmla="*/ 112147 h 1249190"/>
              <a:gd name="connsiteX150" fmla="*/ 619940 w 1675360"/>
              <a:gd name="connsiteY150" fmla="*/ 96876 h 1249190"/>
              <a:gd name="connsiteX151" fmla="*/ 600909 w 1675360"/>
              <a:gd name="connsiteY151" fmla="*/ 78308 h 1249190"/>
              <a:gd name="connsiteX152" fmla="*/ 604148 w 1675360"/>
              <a:gd name="connsiteY152" fmla="*/ 73218 h 1249190"/>
              <a:gd name="connsiteX153" fmla="*/ 618898 w 1675360"/>
              <a:gd name="connsiteY153" fmla="*/ 70210 h 1249190"/>
              <a:gd name="connsiteX154" fmla="*/ 679114 w 1675360"/>
              <a:gd name="connsiteY154" fmla="*/ 89587 h 1249190"/>
              <a:gd name="connsiteX155" fmla="*/ 707053 w 1675360"/>
              <a:gd name="connsiteY155" fmla="*/ 100751 h 1249190"/>
              <a:gd name="connsiteX156" fmla="*/ 739446 w 1675360"/>
              <a:gd name="connsiteY156" fmla="*/ 111973 h 1249190"/>
              <a:gd name="connsiteX157" fmla="*/ 776813 w 1675360"/>
              <a:gd name="connsiteY157" fmla="*/ 127996 h 1249190"/>
              <a:gd name="connsiteX158" fmla="*/ 778664 w 1675360"/>
              <a:gd name="connsiteY158" fmla="*/ 127533 h 1249190"/>
              <a:gd name="connsiteX159" fmla="*/ 773574 w 1675360"/>
              <a:gd name="connsiteY159" fmla="*/ 120187 h 1249190"/>
              <a:gd name="connsiteX160" fmla="*/ 735801 w 1675360"/>
              <a:gd name="connsiteY160" fmla="*/ 96587 h 1249190"/>
              <a:gd name="connsiteX161" fmla="*/ 704045 w 1675360"/>
              <a:gd name="connsiteY161" fmla="*/ 76515 h 1249190"/>
              <a:gd name="connsiteX162" fmla="*/ 702483 w 1675360"/>
              <a:gd name="connsiteY162" fmla="*/ 70730 h 1249190"/>
              <a:gd name="connsiteX163" fmla="*/ 730364 w 1675360"/>
              <a:gd name="connsiteY163" fmla="*/ 64599 h 1249190"/>
              <a:gd name="connsiteX164" fmla="*/ 752287 w 1675360"/>
              <a:gd name="connsiteY164" fmla="*/ 61012 h 1249190"/>
              <a:gd name="connsiteX165" fmla="*/ 735339 w 1675360"/>
              <a:gd name="connsiteY165" fmla="*/ 49444 h 1249190"/>
              <a:gd name="connsiteX166" fmla="*/ 720530 w 1675360"/>
              <a:gd name="connsiteY166" fmla="*/ 38453 h 1249190"/>
              <a:gd name="connsiteX167" fmla="*/ 725737 w 1675360"/>
              <a:gd name="connsiteY167" fmla="*/ 35272 h 1249190"/>
              <a:gd name="connsiteX168" fmla="*/ 756163 w 1675360"/>
              <a:gd name="connsiteY168" fmla="*/ 33479 h 1249190"/>
              <a:gd name="connsiteX169" fmla="*/ 815511 w 1675360"/>
              <a:gd name="connsiteY169" fmla="*/ 25207 h 1249190"/>
              <a:gd name="connsiteX170" fmla="*/ 827080 w 1675360"/>
              <a:gd name="connsiteY170" fmla="*/ 21736 h 1249190"/>
              <a:gd name="connsiteX171" fmla="*/ 852011 w 1675360"/>
              <a:gd name="connsiteY171" fmla="*/ 24628 h 1249190"/>
              <a:gd name="connsiteX172" fmla="*/ 878561 w 1675360"/>
              <a:gd name="connsiteY172" fmla="*/ 27694 h 1249190"/>
              <a:gd name="connsiteX173" fmla="*/ 890130 w 1675360"/>
              <a:gd name="connsiteY173" fmla="*/ 25033 h 1249190"/>
              <a:gd name="connsiteX174" fmla="*/ 907136 w 1675360"/>
              <a:gd name="connsiteY174" fmla="*/ 20464 h 1249190"/>
              <a:gd name="connsiteX175" fmla="*/ 932183 w 1675360"/>
              <a:gd name="connsiteY175" fmla="*/ 28620 h 1249190"/>
              <a:gd name="connsiteX176" fmla="*/ 933918 w 1675360"/>
              <a:gd name="connsiteY176" fmla="*/ 35040 h 1249190"/>
              <a:gd name="connsiteX177" fmla="*/ 934497 w 1675360"/>
              <a:gd name="connsiteY177" fmla="*/ 37875 h 1249190"/>
              <a:gd name="connsiteX178" fmla="*/ 940917 w 1675360"/>
              <a:gd name="connsiteY178" fmla="*/ 39957 h 1249190"/>
              <a:gd name="connsiteX179" fmla="*/ 954106 w 1675360"/>
              <a:gd name="connsiteY179" fmla="*/ 33710 h 1249190"/>
              <a:gd name="connsiteX180" fmla="*/ 951387 w 1675360"/>
              <a:gd name="connsiteY180" fmla="*/ 25091 h 1249190"/>
              <a:gd name="connsiteX181" fmla="*/ 949710 w 1675360"/>
              <a:gd name="connsiteY181" fmla="*/ 18555 h 1249190"/>
              <a:gd name="connsiteX182" fmla="*/ 978921 w 1675360"/>
              <a:gd name="connsiteY182" fmla="*/ 10283 h 1249190"/>
              <a:gd name="connsiteX183" fmla="*/ 1000208 w 1675360"/>
              <a:gd name="connsiteY183" fmla="*/ 7275 h 1249190"/>
              <a:gd name="connsiteX184" fmla="*/ 1017561 w 1675360"/>
              <a:gd name="connsiteY184" fmla="*/ 3804 h 1249190"/>
              <a:gd name="connsiteX185" fmla="*/ 1062390 w 1675360"/>
              <a:gd name="connsiteY185" fmla="*/ 2590 h 1249190"/>
              <a:gd name="connsiteX186" fmla="*/ 1131514 w 1675360"/>
              <a:gd name="connsiteY186" fmla="*/ 565 h 1249190"/>
              <a:gd name="connsiteX187" fmla="*/ 1150834 w 1675360"/>
              <a:gd name="connsiteY187" fmla="*/ -129 h 1249190"/>
              <a:gd name="connsiteX188" fmla="*/ 1215331 w 1675360"/>
              <a:gd name="connsiteY188" fmla="*/ 10457 h 1249190"/>
              <a:gd name="connsiteX189" fmla="*/ 1257731 w 1675360"/>
              <a:gd name="connsiteY189" fmla="*/ 15431 h 1249190"/>
              <a:gd name="connsiteX190" fmla="*/ 1292437 w 1675360"/>
              <a:gd name="connsiteY190" fmla="*/ 20637 h 1249190"/>
              <a:gd name="connsiteX191" fmla="*/ 1307072 w 1675360"/>
              <a:gd name="connsiteY191" fmla="*/ 27752 h 1249190"/>
              <a:gd name="connsiteX192" fmla="*/ 1325582 w 1675360"/>
              <a:gd name="connsiteY192" fmla="*/ 40651 h 1249190"/>
              <a:gd name="connsiteX193" fmla="*/ 1326739 w 1675360"/>
              <a:gd name="connsiteY193" fmla="*/ 44700 h 1249190"/>
              <a:gd name="connsiteX194" fmla="*/ 1354909 w 1675360"/>
              <a:gd name="connsiteY194" fmla="*/ 50774 h 1249190"/>
              <a:gd name="connsiteX195" fmla="*/ 1361619 w 1675360"/>
              <a:gd name="connsiteY195" fmla="*/ 50774 h 1249190"/>
              <a:gd name="connsiteX196" fmla="*/ 1363586 w 1675360"/>
              <a:gd name="connsiteY196" fmla="*/ 50774 h 1249190"/>
              <a:gd name="connsiteX197" fmla="*/ 1414026 w 1675360"/>
              <a:gd name="connsiteY197" fmla="*/ 67722 h 1249190"/>
              <a:gd name="connsiteX198" fmla="*/ 1413390 w 1675360"/>
              <a:gd name="connsiteY198" fmla="*/ 72870 h 1249190"/>
              <a:gd name="connsiteX199" fmla="*/ 1380187 w 1675360"/>
              <a:gd name="connsiteY199" fmla="*/ 83225 h 1249190"/>
              <a:gd name="connsiteX200" fmla="*/ 1337035 w 1675360"/>
              <a:gd name="connsiteY200" fmla="*/ 94157 h 1249190"/>
              <a:gd name="connsiteX201" fmla="*/ 1257441 w 1675360"/>
              <a:gd name="connsiteY201" fmla="*/ 101503 h 1249190"/>
              <a:gd name="connsiteX202" fmla="*/ 1208331 w 1675360"/>
              <a:gd name="connsiteY202" fmla="*/ 103123 h 1249190"/>
              <a:gd name="connsiteX203" fmla="*/ 1104212 w 1675360"/>
              <a:gd name="connsiteY203" fmla="*/ 129384 h 1249190"/>
              <a:gd name="connsiteX204" fmla="*/ 1109649 w 1675360"/>
              <a:gd name="connsiteY204" fmla="*/ 131004 h 1249190"/>
              <a:gd name="connsiteX205" fmla="*/ 1154941 w 1675360"/>
              <a:gd name="connsiteY205" fmla="*/ 122617 h 1249190"/>
              <a:gd name="connsiteX206" fmla="*/ 1197399 w 1675360"/>
              <a:gd name="connsiteY206" fmla="*/ 113882 h 1249190"/>
              <a:gd name="connsiteX207" fmla="*/ 1253508 w 1675360"/>
              <a:gd name="connsiteY207" fmla="*/ 110758 h 1249190"/>
              <a:gd name="connsiteX208" fmla="*/ 1309328 w 1675360"/>
              <a:gd name="connsiteY208" fmla="*/ 118047 h 1249190"/>
              <a:gd name="connsiteX209" fmla="*/ 1284397 w 1675360"/>
              <a:gd name="connsiteY209" fmla="*/ 133549 h 1249190"/>
              <a:gd name="connsiteX210" fmla="*/ 1252756 w 1675360"/>
              <a:gd name="connsiteY210" fmla="*/ 153390 h 1249190"/>
              <a:gd name="connsiteX211" fmla="*/ 1256053 w 1675360"/>
              <a:gd name="connsiteY211" fmla="*/ 154547 h 1249190"/>
              <a:gd name="connsiteX212" fmla="*/ 1310716 w 1675360"/>
              <a:gd name="connsiteY212" fmla="*/ 135863 h 1249190"/>
              <a:gd name="connsiteX213" fmla="*/ 1338655 w 1675360"/>
              <a:gd name="connsiteY213" fmla="*/ 125162 h 1249190"/>
              <a:gd name="connsiteX214" fmla="*/ 1349356 w 1675360"/>
              <a:gd name="connsiteY214" fmla="*/ 116774 h 1249190"/>
              <a:gd name="connsiteX215" fmla="*/ 1373535 w 1675360"/>
              <a:gd name="connsiteY215" fmla="*/ 103297 h 1249190"/>
              <a:gd name="connsiteX216" fmla="*/ 1377411 w 1675360"/>
              <a:gd name="connsiteY216" fmla="*/ 103297 h 1249190"/>
              <a:gd name="connsiteX217" fmla="*/ 1400548 w 1675360"/>
              <a:gd name="connsiteY217" fmla="*/ 116138 h 1249190"/>
              <a:gd name="connsiteX218" fmla="*/ 1391640 w 1675360"/>
              <a:gd name="connsiteY218" fmla="*/ 145060 h 1249190"/>
              <a:gd name="connsiteX219" fmla="*/ 1344439 w 1675360"/>
              <a:gd name="connsiteY219" fmla="*/ 199607 h 1249190"/>
              <a:gd name="connsiteX220" fmla="*/ 1344439 w 1675360"/>
              <a:gd name="connsiteY220" fmla="*/ 199607 h 1249190"/>
              <a:gd name="connsiteX221" fmla="*/ 1345480 w 1675360"/>
              <a:gd name="connsiteY221" fmla="*/ 199607 h 1249190"/>
              <a:gd name="connsiteX222" fmla="*/ 1365494 w 1675360"/>
              <a:gd name="connsiteY222" fmla="*/ 187055 h 1249190"/>
              <a:gd name="connsiteX223" fmla="*/ 1391235 w 1675360"/>
              <a:gd name="connsiteY223" fmla="*/ 169702 h 1249190"/>
              <a:gd name="connsiteX224" fmla="*/ 1421777 w 1675360"/>
              <a:gd name="connsiteY224" fmla="*/ 149746 h 1249190"/>
              <a:gd name="connsiteX225" fmla="*/ 1444452 w 1675360"/>
              <a:gd name="connsiteY225" fmla="*/ 134185 h 1249190"/>
              <a:gd name="connsiteX226" fmla="*/ 1450641 w 1675360"/>
              <a:gd name="connsiteY226" fmla="*/ 132392 h 1249190"/>
              <a:gd name="connsiteX227" fmla="*/ 1458103 w 1675360"/>
              <a:gd name="connsiteY227" fmla="*/ 138929 h 1249190"/>
              <a:gd name="connsiteX228" fmla="*/ 1463887 w 1675360"/>
              <a:gd name="connsiteY228" fmla="*/ 144366 h 1249190"/>
              <a:gd name="connsiteX229" fmla="*/ 1468747 w 1675360"/>
              <a:gd name="connsiteY229" fmla="*/ 143036 h 1249190"/>
              <a:gd name="connsiteX230" fmla="*/ 1476729 w 1675360"/>
              <a:gd name="connsiteY230" fmla="*/ 141590 h 1249190"/>
              <a:gd name="connsiteX231" fmla="*/ 1497090 w 1675360"/>
              <a:gd name="connsiteY231" fmla="*/ 145176 h 1249190"/>
              <a:gd name="connsiteX232" fmla="*/ 1514443 w 1675360"/>
              <a:gd name="connsiteY232" fmla="*/ 148299 h 1249190"/>
              <a:gd name="connsiteX233" fmla="*/ 1523583 w 1675360"/>
              <a:gd name="connsiteY233" fmla="*/ 140780 h 1249190"/>
              <a:gd name="connsiteX234" fmla="*/ 1580444 w 1675360"/>
              <a:gd name="connsiteY234" fmla="*/ 113882 h 1249190"/>
              <a:gd name="connsiteX235" fmla="*/ 1675251 w 1675360"/>
              <a:gd name="connsiteY235" fmla="*/ 141647 h 1249190"/>
              <a:gd name="connsiteX236" fmla="*/ 1612779 w 1675360"/>
              <a:gd name="connsiteY236" fmla="*/ 171032 h 1249190"/>
              <a:gd name="connsiteX237" fmla="*/ 1600689 w 1675360"/>
              <a:gd name="connsiteY237" fmla="*/ 176470 h 1249190"/>
              <a:gd name="connsiteX238" fmla="*/ 1577552 w 1675360"/>
              <a:gd name="connsiteY238" fmla="*/ 186419 h 1249190"/>
              <a:gd name="connsiteX239" fmla="*/ 1555282 w 1675360"/>
              <a:gd name="connsiteY239" fmla="*/ 192203 h 1249190"/>
              <a:gd name="connsiteX240" fmla="*/ 1517683 w 1675360"/>
              <a:gd name="connsiteY240" fmla="*/ 198624 h 1249190"/>
              <a:gd name="connsiteX241" fmla="*/ 1487835 w 1675360"/>
              <a:gd name="connsiteY241" fmla="*/ 204408 h 1249190"/>
              <a:gd name="connsiteX242" fmla="*/ 1496280 w 1675360"/>
              <a:gd name="connsiteY242" fmla="*/ 206028 h 1249190"/>
              <a:gd name="connsiteX243" fmla="*/ 1504552 w 1675360"/>
              <a:gd name="connsiteY243" fmla="*/ 205450 h 1249190"/>
              <a:gd name="connsiteX244" fmla="*/ 1518377 w 1675360"/>
              <a:gd name="connsiteY244" fmla="*/ 204640 h 1249190"/>
              <a:gd name="connsiteX245" fmla="*/ 1558868 w 1675360"/>
              <a:gd name="connsiteY245" fmla="*/ 214358 h 1249190"/>
              <a:gd name="connsiteX246" fmla="*/ 1555571 w 1675360"/>
              <a:gd name="connsiteY246" fmla="*/ 219679 h 1249190"/>
              <a:gd name="connsiteX247" fmla="*/ 1486158 w 1675360"/>
              <a:gd name="connsiteY247" fmla="*/ 229513 h 1249190"/>
              <a:gd name="connsiteX248" fmla="*/ 1448790 w 1675360"/>
              <a:gd name="connsiteY248" fmla="*/ 246288 h 1249190"/>
              <a:gd name="connsiteX249" fmla="*/ 1449773 w 1675360"/>
              <a:gd name="connsiteY249" fmla="*/ 250163 h 1249190"/>
              <a:gd name="connsiteX250" fmla="*/ 1454112 w 1675360"/>
              <a:gd name="connsiteY250" fmla="*/ 251783 h 1249190"/>
              <a:gd name="connsiteX251" fmla="*/ 1471118 w 1675360"/>
              <a:gd name="connsiteY251" fmla="*/ 244784 h 1249190"/>
              <a:gd name="connsiteX252" fmla="*/ 1494256 w 1675360"/>
              <a:gd name="connsiteY252" fmla="*/ 235297 h 1249190"/>
              <a:gd name="connsiteX253" fmla="*/ 1521674 w 1675360"/>
              <a:gd name="connsiteY253" fmla="*/ 253460 h 1249190"/>
              <a:gd name="connsiteX254" fmla="*/ 1519418 w 1675360"/>
              <a:gd name="connsiteY254" fmla="*/ 257856 h 1249190"/>
              <a:gd name="connsiteX255" fmla="*/ 1512997 w 1675360"/>
              <a:gd name="connsiteY255" fmla="*/ 259418 h 1249190"/>
              <a:gd name="connsiteX256" fmla="*/ 1470829 w 1675360"/>
              <a:gd name="connsiteY256" fmla="*/ 271971 h 1249190"/>
              <a:gd name="connsiteX257" fmla="*/ 1468862 w 1675360"/>
              <a:gd name="connsiteY257" fmla="*/ 285448 h 1249190"/>
              <a:gd name="connsiteX258" fmla="*/ 1440287 w 1675360"/>
              <a:gd name="connsiteY258" fmla="*/ 310611 h 1249190"/>
              <a:gd name="connsiteX259" fmla="*/ 1420389 w 1675360"/>
              <a:gd name="connsiteY259" fmla="*/ 322758 h 1249190"/>
              <a:gd name="connsiteX260" fmla="*/ 1403036 w 1675360"/>
              <a:gd name="connsiteY260" fmla="*/ 374818 h 1249190"/>
              <a:gd name="connsiteX261" fmla="*/ 1399218 w 1675360"/>
              <a:gd name="connsiteY261" fmla="*/ 379503 h 1249190"/>
              <a:gd name="connsiteX262" fmla="*/ 1405985 w 1675360"/>
              <a:gd name="connsiteY262" fmla="*/ 381990 h 1249190"/>
              <a:gd name="connsiteX263" fmla="*/ 1423339 w 1675360"/>
              <a:gd name="connsiteY263" fmla="*/ 371810 h 1249190"/>
              <a:gd name="connsiteX264" fmla="*/ 1438899 w 1675360"/>
              <a:gd name="connsiteY264" fmla="*/ 364695 h 1249190"/>
              <a:gd name="connsiteX265" fmla="*/ 1480258 w 1675360"/>
              <a:gd name="connsiteY265" fmla="*/ 381007 h 1249190"/>
              <a:gd name="connsiteX266" fmla="*/ 1480258 w 1675360"/>
              <a:gd name="connsiteY266" fmla="*/ 385056 h 1249190"/>
              <a:gd name="connsiteX267" fmla="*/ 1472391 w 1675360"/>
              <a:gd name="connsiteY267" fmla="*/ 387833 h 1249190"/>
              <a:gd name="connsiteX268" fmla="*/ 1461805 w 1675360"/>
              <a:gd name="connsiteY268" fmla="*/ 386791 h 1249190"/>
              <a:gd name="connsiteX269" fmla="*/ 1450988 w 1675360"/>
              <a:gd name="connsiteY269" fmla="*/ 385692 h 1249190"/>
              <a:gd name="connsiteX270" fmla="*/ 1444163 w 1675360"/>
              <a:gd name="connsiteY270" fmla="*/ 387659 h 1249190"/>
              <a:gd name="connsiteX271" fmla="*/ 1443295 w 1675360"/>
              <a:gd name="connsiteY271" fmla="*/ 392287 h 1249190"/>
              <a:gd name="connsiteX272" fmla="*/ 1467763 w 1675360"/>
              <a:gd name="connsiteY272" fmla="*/ 404897 h 1249190"/>
              <a:gd name="connsiteX273" fmla="*/ 1486852 w 1675360"/>
              <a:gd name="connsiteY273" fmla="*/ 401195 h 1249190"/>
              <a:gd name="connsiteX274" fmla="*/ 1490033 w 1675360"/>
              <a:gd name="connsiteY274" fmla="*/ 400327 h 1249190"/>
              <a:gd name="connsiteX275" fmla="*/ 1511320 w 1675360"/>
              <a:gd name="connsiteY275" fmla="*/ 423465 h 1249190"/>
              <a:gd name="connsiteX276" fmla="*/ 1505269 w 1675360"/>
              <a:gd name="connsiteY276" fmla="*/ 432112 h 1249190"/>
              <a:gd name="connsiteX277" fmla="*/ 1504610 w 1675360"/>
              <a:gd name="connsiteY277" fmla="*/ 432199 h 1249190"/>
              <a:gd name="connsiteX278" fmla="*/ 1478001 w 1675360"/>
              <a:gd name="connsiteY278" fmla="*/ 430001 h 1249190"/>
              <a:gd name="connsiteX279" fmla="*/ 1450815 w 1675360"/>
              <a:gd name="connsiteY279" fmla="*/ 426762 h 1249190"/>
              <a:gd name="connsiteX280" fmla="*/ 1430743 w 1675360"/>
              <a:gd name="connsiteY280" fmla="*/ 432026 h 1249190"/>
              <a:gd name="connsiteX281" fmla="*/ 1414431 w 1675360"/>
              <a:gd name="connsiteY281" fmla="*/ 437810 h 1249190"/>
              <a:gd name="connsiteX282" fmla="*/ 1404366 w 1675360"/>
              <a:gd name="connsiteY282" fmla="*/ 436133 h 1249190"/>
              <a:gd name="connsiteX283" fmla="*/ 1393665 w 1675360"/>
              <a:gd name="connsiteY283" fmla="*/ 436653 h 1249190"/>
              <a:gd name="connsiteX284" fmla="*/ 1392623 w 1675360"/>
              <a:gd name="connsiteY284" fmla="*/ 438620 h 1249190"/>
              <a:gd name="connsiteX285" fmla="*/ 1402746 w 1675360"/>
              <a:gd name="connsiteY285" fmla="*/ 446487 h 1249190"/>
              <a:gd name="connsiteX286" fmla="*/ 1414315 w 1675360"/>
              <a:gd name="connsiteY286" fmla="*/ 456783 h 1249190"/>
              <a:gd name="connsiteX287" fmla="*/ 1461632 w 1675360"/>
              <a:gd name="connsiteY287" fmla="*/ 467773 h 1249190"/>
              <a:gd name="connsiteX288" fmla="*/ 1483439 w 1675360"/>
              <a:gd name="connsiteY288" fmla="*/ 493919 h 1249190"/>
              <a:gd name="connsiteX289" fmla="*/ 1475051 w 1675360"/>
              <a:gd name="connsiteY289" fmla="*/ 520007 h 1249190"/>
              <a:gd name="connsiteX290" fmla="*/ 1458913 w 1675360"/>
              <a:gd name="connsiteY290" fmla="*/ 523767 h 1249190"/>
              <a:gd name="connsiteX291" fmla="*/ 1447749 w 1675360"/>
              <a:gd name="connsiteY291" fmla="*/ 522783 h 1249190"/>
              <a:gd name="connsiteX292" fmla="*/ 1439246 w 1675360"/>
              <a:gd name="connsiteY292" fmla="*/ 521974 h 1249190"/>
              <a:gd name="connsiteX293" fmla="*/ 1427677 w 1675360"/>
              <a:gd name="connsiteY293" fmla="*/ 527758 h 1249190"/>
              <a:gd name="connsiteX294" fmla="*/ 1427677 w 1675360"/>
              <a:gd name="connsiteY294" fmla="*/ 535451 h 1249190"/>
              <a:gd name="connsiteX295" fmla="*/ 1471176 w 1675360"/>
              <a:gd name="connsiteY295" fmla="*/ 557374 h 1249190"/>
              <a:gd name="connsiteX296" fmla="*/ 1475630 w 1675360"/>
              <a:gd name="connsiteY296" fmla="*/ 556738 h 1249190"/>
              <a:gd name="connsiteX297" fmla="*/ 1483439 w 1675360"/>
              <a:gd name="connsiteY297" fmla="*/ 558011 h 1249190"/>
              <a:gd name="connsiteX298" fmla="*/ 1484770 w 1675360"/>
              <a:gd name="connsiteY298" fmla="*/ 562580 h 1249190"/>
              <a:gd name="connsiteX299" fmla="*/ 1469499 w 1675360"/>
              <a:gd name="connsiteY299" fmla="*/ 577504 h 1249190"/>
              <a:gd name="connsiteX300" fmla="*/ 1468689 w 1675360"/>
              <a:gd name="connsiteY300" fmla="*/ 577504 h 1249190"/>
              <a:gd name="connsiteX301" fmla="*/ 1462904 w 1675360"/>
              <a:gd name="connsiteY301" fmla="*/ 577157 h 1249190"/>
              <a:gd name="connsiteX302" fmla="*/ 1432363 w 1675360"/>
              <a:gd name="connsiteY302" fmla="*/ 576058 h 1249190"/>
              <a:gd name="connsiteX303" fmla="*/ 1408357 w 1675360"/>
              <a:gd name="connsiteY303" fmla="*/ 579587 h 1249190"/>
              <a:gd name="connsiteX304" fmla="*/ 1408993 w 1675360"/>
              <a:gd name="connsiteY304" fmla="*/ 581322 h 1249190"/>
              <a:gd name="connsiteX305" fmla="*/ 1426347 w 1675360"/>
              <a:gd name="connsiteY305" fmla="*/ 592428 h 1249190"/>
              <a:gd name="connsiteX306" fmla="*/ 1448617 w 1675360"/>
              <a:gd name="connsiteY306" fmla="*/ 609781 h 1249190"/>
              <a:gd name="connsiteX307" fmla="*/ 1444915 w 1675360"/>
              <a:gd name="connsiteY307" fmla="*/ 616607 h 1249190"/>
              <a:gd name="connsiteX308" fmla="*/ 1417323 w 1675360"/>
              <a:gd name="connsiteY308" fmla="*/ 625226 h 1249190"/>
              <a:gd name="connsiteX309" fmla="*/ 1398524 w 1675360"/>
              <a:gd name="connsiteY309" fmla="*/ 628118 h 1249190"/>
              <a:gd name="connsiteX310" fmla="*/ 1393433 w 1675360"/>
              <a:gd name="connsiteY310" fmla="*/ 628870 h 1249190"/>
              <a:gd name="connsiteX311" fmla="*/ 1362024 w 1675360"/>
              <a:gd name="connsiteY311" fmla="*/ 617301 h 1249190"/>
              <a:gd name="connsiteX312" fmla="*/ 1341373 w 1675360"/>
              <a:gd name="connsiteY312" fmla="*/ 609029 h 1249190"/>
              <a:gd name="connsiteX313" fmla="*/ 1338423 w 1675360"/>
              <a:gd name="connsiteY313" fmla="*/ 610013 h 1249190"/>
              <a:gd name="connsiteX314" fmla="*/ 1339233 w 1675360"/>
              <a:gd name="connsiteY314" fmla="*/ 619036 h 1249190"/>
              <a:gd name="connsiteX315" fmla="*/ 1340968 w 1675360"/>
              <a:gd name="connsiteY315" fmla="*/ 627539 h 1249190"/>
              <a:gd name="connsiteX316" fmla="*/ 1327259 w 1675360"/>
              <a:gd name="connsiteY316" fmla="*/ 632919 h 1249190"/>
              <a:gd name="connsiteX317" fmla="*/ 1314649 w 1675360"/>
              <a:gd name="connsiteY317" fmla="*/ 641480 h 1249190"/>
              <a:gd name="connsiteX318" fmla="*/ 1328763 w 1675360"/>
              <a:gd name="connsiteY318" fmla="*/ 651256 h 1249190"/>
              <a:gd name="connsiteX319" fmla="*/ 1338655 w 1675360"/>
              <a:gd name="connsiteY319" fmla="*/ 648595 h 1249190"/>
              <a:gd name="connsiteX320" fmla="*/ 1377989 w 1675360"/>
              <a:gd name="connsiteY320" fmla="*/ 640381 h 1249190"/>
              <a:gd name="connsiteX321" fmla="*/ 1405754 w 1675360"/>
              <a:gd name="connsiteY321" fmla="*/ 650388 h 1249190"/>
              <a:gd name="connsiteX322" fmla="*/ 1386781 w 1675360"/>
              <a:gd name="connsiteY322" fmla="*/ 681624 h 1249190"/>
              <a:gd name="connsiteX323" fmla="*/ 1378336 w 1675360"/>
              <a:gd name="connsiteY323" fmla="*/ 679715 h 1249190"/>
              <a:gd name="connsiteX324" fmla="*/ 1343629 w 1675360"/>
              <a:gd name="connsiteY324" fmla="*/ 668435 h 1249190"/>
              <a:gd name="connsiteX325" fmla="*/ 1339754 w 1675360"/>
              <a:gd name="connsiteY325" fmla="*/ 669650 h 1249190"/>
              <a:gd name="connsiteX326" fmla="*/ 1339754 w 1675360"/>
              <a:gd name="connsiteY326" fmla="*/ 673526 h 1249190"/>
              <a:gd name="connsiteX327" fmla="*/ 1371742 w 1675360"/>
              <a:gd name="connsiteY327" fmla="*/ 699266 h 1249190"/>
              <a:gd name="connsiteX328" fmla="*/ 1411538 w 1675360"/>
              <a:gd name="connsiteY328" fmla="*/ 733568 h 1249190"/>
              <a:gd name="connsiteX329" fmla="*/ 1410671 w 1675360"/>
              <a:gd name="connsiteY329" fmla="*/ 737501 h 1249190"/>
              <a:gd name="connsiteX330" fmla="*/ 1410034 w 1675360"/>
              <a:gd name="connsiteY330" fmla="*/ 753351 h 1249190"/>
              <a:gd name="connsiteX331" fmla="*/ 1400375 w 1675360"/>
              <a:gd name="connsiteY331" fmla="*/ 774233 h 1249190"/>
              <a:gd name="connsiteX332" fmla="*/ 1384757 w 1675360"/>
              <a:gd name="connsiteY332" fmla="*/ 776488 h 1249190"/>
              <a:gd name="connsiteX333" fmla="*/ 1339349 w 1675360"/>
              <a:gd name="connsiteY333" fmla="*/ 753351 h 1249190"/>
              <a:gd name="connsiteX334" fmla="*/ 1307361 w 1675360"/>
              <a:gd name="connsiteY334" fmla="*/ 732990 h 1249190"/>
              <a:gd name="connsiteX335" fmla="*/ 1303080 w 1675360"/>
              <a:gd name="connsiteY335" fmla="*/ 734493 h 1249190"/>
              <a:gd name="connsiteX336" fmla="*/ 1302675 w 1675360"/>
              <a:gd name="connsiteY336" fmla="*/ 739526 h 1249190"/>
              <a:gd name="connsiteX337" fmla="*/ 1305221 w 1675360"/>
              <a:gd name="connsiteY337" fmla="*/ 748376 h 1249190"/>
              <a:gd name="connsiteX338" fmla="*/ 1306551 w 1675360"/>
              <a:gd name="connsiteY338" fmla="*/ 762201 h 1249190"/>
              <a:gd name="connsiteX339" fmla="*/ 1296891 w 1675360"/>
              <a:gd name="connsiteY339" fmla="*/ 766771 h 1249190"/>
              <a:gd name="connsiteX340" fmla="*/ 1280116 w 1675360"/>
              <a:gd name="connsiteY340" fmla="*/ 783488 h 1249190"/>
              <a:gd name="connsiteX341" fmla="*/ 1281678 w 1675360"/>
              <a:gd name="connsiteY341" fmla="*/ 784818 h 1249190"/>
              <a:gd name="connsiteX342" fmla="*/ 1288041 w 1675360"/>
              <a:gd name="connsiteY342" fmla="*/ 782446 h 1249190"/>
              <a:gd name="connsiteX343" fmla="*/ 1304642 w 1675360"/>
              <a:gd name="connsiteY343" fmla="*/ 778397 h 1249190"/>
              <a:gd name="connsiteX344" fmla="*/ 1337267 w 1675360"/>
              <a:gd name="connsiteY344" fmla="*/ 785801 h 1249190"/>
              <a:gd name="connsiteX345" fmla="*/ 1349472 w 1675360"/>
              <a:gd name="connsiteY345" fmla="*/ 789619 h 1249190"/>
              <a:gd name="connsiteX346" fmla="*/ 1371105 w 1675360"/>
              <a:gd name="connsiteY346" fmla="*/ 792106 h 1249190"/>
              <a:gd name="connsiteX347" fmla="*/ 1397135 w 1675360"/>
              <a:gd name="connsiteY347" fmla="*/ 787305 h 1249190"/>
              <a:gd name="connsiteX348" fmla="*/ 1402457 w 1675360"/>
              <a:gd name="connsiteY348" fmla="*/ 785397 h 1249190"/>
              <a:gd name="connsiteX349" fmla="*/ 1404482 w 1675360"/>
              <a:gd name="connsiteY349" fmla="*/ 786727 h 1249190"/>
              <a:gd name="connsiteX350" fmla="*/ 1387765 w 1675360"/>
              <a:gd name="connsiteY350" fmla="*/ 802981 h 1249190"/>
              <a:gd name="connsiteX351" fmla="*/ 1359941 w 1675360"/>
              <a:gd name="connsiteY351" fmla="*/ 816517 h 1249190"/>
              <a:gd name="connsiteX352" fmla="*/ 1310311 w 1675360"/>
              <a:gd name="connsiteY352" fmla="*/ 843241 h 1249190"/>
              <a:gd name="connsiteX353" fmla="*/ 1211976 w 1675360"/>
              <a:gd name="connsiteY353" fmla="*/ 870196 h 1249190"/>
              <a:gd name="connsiteX354" fmla="*/ 1192945 w 1675360"/>
              <a:gd name="connsiteY354" fmla="*/ 874650 h 1249190"/>
              <a:gd name="connsiteX355" fmla="*/ 1171543 w 1675360"/>
              <a:gd name="connsiteY355" fmla="*/ 879046 h 1249190"/>
              <a:gd name="connsiteX356" fmla="*/ 1158412 w 1675360"/>
              <a:gd name="connsiteY356" fmla="*/ 885120 h 1249190"/>
              <a:gd name="connsiteX357" fmla="*/ 1154016 w 1675360"/>
              <a:gd name="connsiteY357" fmla="*/ 888649 h 1249190"/>
              <a:gd name="connsiteX358" fmla="*/ 1144414 w 1675360"/>
              <a:gd name="connsiteY358" fmla="*/ 885409 h 1249190"/>
              <a:gd name="connsiteX359" fmla="*/ 1120813 w 1675360"/>
              <a:gd name="connsiteY359" fmla="*/ 883558 h 1249190"/>
              <a:gd name="connsiteX360" fmla="*/ 1120119 w 1675360"/>
              <a:gd name="connsiteY360" fmla="*/ 894607 h 1249190"/>
              <a:gd name="connsiteX361" fmla="*/ 1107278 w 1675360"/>
              <a:gd name="connsiteY361" fmla="*/ 909762 h 1249190"/>
              <a:gd name="connsiteX362" fmla="*/ 1086222 w 1675360"/>
              <a:gd name="connsiteY362" fmla="*/ 929140 h 1249190"/>
              <a:gd name="connsiteX363" fmla="*/ 1024907 w 1675360"/>
              <a:gd name="connsiteY363" fmla="*/ 982414 h 1249190"/>
              <a:gd name="connsiteX364" fmla="*/ 993209 w 1675360"/>
              <a:gd name="connsiteY364" fmla="*/ 987620 h 1249190"/>
              <a:gd name="connsiteX365" fmla="*/ 974467 w 1675360"/>
              <a:gd name="connsiteY365" fmla="*/ 992595 h 1249190"/>
              <a:gd name="connsiteX366" fmla="*/ 965270 w 1675360"/>
              <a:gd name="connsiteY366" fmla="*/ 993578 h 1249190"/>
              <a:gd name="connsiteX367" fmla="*/ 967005 w 1675360"/>
              <a:gd name="connsiteY367" fmla="*/ 976745 h 1249190"/>
              <a:gd name="connsiteX368" fmla="*/ 967294 w 1675360"/>
              <a:gd name="connsiteY368" fmla="*/ 972002 h 1249190"/>
              <a:gd name="connsiteX369" fmla="*/ 962088 w 1675360"/>
              <a:gd name="connsiteY369" fmla="*/ 969746 h 1249190"/>
              <a:gd name="connsiteX370" fmla="*/ 956304 w 1675360"/>
              <a:gd name="connsiteY370" fmla="*/ 972234 h 1249190"/>
              <a:gd name="connsiteX371" fmla="*/ 955494 w 1675360"/>
              <a:gd name="connsiteY371" fmla="*/ 978018 h 1249190"/>
              <a:gd name="connsiteX372" fmla="*/ 953238 w 1675360"/>
              <a:gd name="connsiteY372" fmla="*/ 992942 h 1249190"/>
              <a:gd name="connsiteX373" fmla="*/ 931894 w 1675360"/>
              <a:gd name="connsiteY373" fmla="*/ 1002833 h 1249190"/>
              <a:gd name="connsiteX374" fmla="*/ 905575 w 1675360"/>
              <a:gd name="connsiteY374" fmla="*/ 1011857 h 1249190"/>
              <a:gd name="connsiteX375" fmla="*/ 906847 w 1675360"/>
              <a:gd name="connsiteY375" fmla="*/ 1017236 h 1249190"/>
              <a:gd name="connsiteX376" fmla="*/ 908929 w 1675360"/>
              <a:gd name="connsiteY376" fmla="*/ 1026896 h 1249190"/>
              <a:gd name="connsiteX377" fmla="*/ 901930 w 1675360"/>
              <a:gd name="connsiteY377" fmla="*/ 1030483 h 1249190"/>
              <a:gd name="connsiteX378" fmla="*/ 889957 w 1675360"/>
              <a:gd name="connsiteY378" fmla="*/ 1026087 h 1249190"/>
              <a:gd name="connsiteX379" fmla="*/ 883304 w 1675360"/>
              <a:gd name="connsiteY379" fmla="*/ 1023484 h 1249190"/>
              <a:gd name="connsiteX380" fmla="*/ 879834 w 1675360"/>
              <a:gd name="connsiteY380" fmla="*/ 1026087 h 1249190"/>
              <a:gd name="connsiteX381" fmla="*/ 886949 w 1675360"/>
              <a:gd name="connsiteY381" fmla="*/ 1034590 h 1249190"/>
              <a:gd name="connsiteX382" fmla="*/ 899212 w 1675360"/>
              <a:gd name="connsiteY382" fmla="*/ 1050092 h 1249190"/>
              <a:gd name="connsiteX383" fmla="*/ 892386 w 1675360"/>
              <a:gd name="connsiteY383" fmla="*/ 1056975 h 1249190"/>
              <a:gd name="connsiteX384" fmla="*/ 881338 w 1675360"/>
              <a:gd name="connsiteY384" fmla="*/ 1062760 h 1249190"/>
              <a:gd name="connsiteX385" fmla="*/ 882610 w 1675360"/>
              <a:gd name="connsiteY385" fmla="*/ 1068082 h 1249190"/>
              <a:gd name="connsiteX386" fmla="*/ 886023 w 1675360"/>
              <a:gd name="connsiteY386" fmla="*/ 1084567 h 1249190"/>
              <a:gd name="connsiteX387" fmla="*/ 881164 w 1675360"/>
              <a:gd name="connsiteY387" fmla="*/ 1089253 h 1249190"/>
              <a:gd name="connsiteX388" fmla="*/ 877462 w 1675360"/>
              <a:gd name="connsiteY388" fmla="*/ 1097466 h 1249190"/>
              <a:gd name="connsiteX389" fmla="*/ 869884 w 1675360"/>
              <a:gd name="connsiteY389" fmla="*/ 1110250 h 1249190"/>
              <a:gd name="connsiteX390" fmla="*/ 864852 w 1675360"/>
              <a:gd name="connsiteY390" fmla="*/ 1117596 h 1249190"/>
              <a:gd name="connsiteX391" fmla="*/ 851779 w 1675360"/>
              <a:gd name="connsiteY391" fmla="*/ 1129165 h 1249190"/>
              <a:gd name="connsiteX392" fmla="*/ 848482 w 1675360"/>
              <a:gd name="connsiteY392" fmla="*/ 1129165 h 1249190"/>
              <a:gd name="connsiteX393" fmla="*/ 844202 w 1675360"/>
              <a:gd name="connsiteY393" fmla="*/ 1129165 h 1249190"/>
              <a:gd name="connsiteX394" fmla="*/ 831939 w 1675360"/>
              <a:gd name="connsiteY394" fmla="*/ 1135586 h 1249190"/>
              <a:gd name="connsiteX395" fmla="*/ 835294 w 1675360"/>
              <a:gd name="connsiteY395" fmla="*/ 1141370 h 1249190"/>
              <a:gd name="connsiteX396" fmla="*/ 843334 w 1675360"/>
              <a:gd name="connsiteY396" fmla="*/ 1171334 h 1249190"/>
              <a:gd name="connsiteX397" fmla="*/ 837550 w 1675360"/>
              <a:gd name="connsiteY397" fmla="*/ 1186257 h 1249190"/>
              <a:gd name="connsiteX398" fmla="*/ 831765 w 1675360"/>
              <a:gd name="connsiteY398" fmla="*/ 1205404 h 1249190"/>
              <a:gd name="connsiteX399" fmla="*/ 824014 w 1675360"/>
              <a:gd name="connsiteY399" fmla="*/ 1229004 h 1249190"/>
              <a:gd name="connsiteX400" fmla="*/ 815742 w 1675360"/>
              <a:gd name="connsiteY400" fmla="*/ 1239532 h 1249190"/>
              <a:gd name="connsiteX401" fmla="*/ 804289 w 1675360"/>
              <a:gd name="connsiteY401" fmla="*/ 1249019 h 1249190"/>
              <a:gd name="connsiteX402" fmla="*/ 726778 w 1675360"/>
              <a:gd name="connsiteY402" fmla="*/ 1214312 h 1249190"/>
              <a:gd name="connsiteX403" fmla="*/ 756510 w 1675360"/>
              <a:gd name="connsiteY403" fmla="*/ 1229062 h 1249190"/>
              <a:gd name="connsiteX404" fmla="*/ 803248 w 1675360"/>
              <a:gd name="connsiteY404" fmla="*/ 1246878 h 1249190"/>
              <a:gd name="connsiteX405" fmla="*/ 813544 w 1675360"/>
              <a:gd name="connsiteY405" fmla="*/ 1237450 h 1249190"/>
              <a:gd name="connsiteX406" fmla="*/ 822742 w 1675360"/>
              <a:gd name="connsiteY406" fmla="*/ 1225881 h 1249190"/>
              <a:gd name="connsiteX407" fmla="*/ 829393 w 1675360"/>
              <a:gd name="connsiteY407" fmla="*/ 1203958 h 1249190"/>
              <a:gd name="connsiteX408" fmla="*/ 836682 w 1675360"/>
              <a:gd name="connsiteY408" fmla="*/ 1182960 h 1249190"/>
              <a:gd name="connsiteX409" fmla="*/ 840789 w 1675360"/>
              <a:gd name="connsiteY409" fmla="*/ 1170061 h 1249190"/>
              <a:gd name="connsiteX410" fmla="*/ 834137 w 1675360"/>
              <a:gd name="connsiteY410" fmla="*/ 1142296 h 1249190"/>
              <a:gd name="connsiteX411" fmla="*/ 829393 w 1675360"/>
              <a:gd name="connsiteY411" fmla="*/ 1134313 h 1249190"/>
              <a:gd name="connsiteX412" fmla="*/ 843912 w 1675360"/>
              <a:gd name="connsiteY412" fmla="*/ 1126041 h 1249190"/>
              <a:gd name="connsiteX413" fmla="*/ 848482 w 1675360"/>
              <a:gd name="connsiteY413" fmla="*/ 1126389 h 1249190"/>
              <a:gd name="connsiteX414" fmla="*/ 851490 w 1675360"/>
              <a:gd name="connsiteY414" fmla="*/ 1126389 h 1249190"/>
              <a:gd name="connsiteX415" fmla="*/ 862423 w 1675360"/>
              <a:gd name="connsiteY415" fmla="*/ 1116439 h 1249190"/>
              <a:gd name="connsiteX416" fmla="*/ 869017 w 1675360"/>
              <a:gd name="connsiteY416" fmla="*/ 1107589 h 1249190"/>
              <a:gd name="connsiteX417" fmla="*/ 874801 w 1675360"/>
              <a:gd name="connsiteY417" fmla="*/ 1096599 h 1249190"/>
              <a:gd name="connsiteX418" fmla="*/ 880181 w 1675360"/>
              <a:gd name="connsiteY418" fmla="*/ 1086592 h 1249190"/>
              <a:gd name="connsiteX419" fmla="*/ 883420 w 1675360"/>
              <a:gd name="connsiteY419" fmla="*/ 1083352 h 1249190"/>
              <a:gd name="connsiteX420" fmla="*/ 880354 w 1675360"/>
              <a:gd name="connsiteY420" fmla="*/ 1069007 h 1249190"/>
              <a:gd name="connsiteX421" fmla="*/ 878793 w 1675360"/>
              <a:gd name="connsiteY421" fmla="*/ 1061487 h 1249190"/>
              <a:gd name="connsiteX422" fmla="*/ 891576 w 1675360"/>
              <a:gd name="connsiteY422" fmla="*/ 1054257 h 1249190"/>
              <a:gd name="connsiteX423" fmla="*/ 896493 w 1675360"/>
              <a:gd name="connsiteY423" fmla="*/ 1049398 h 1249190"/>
              <a:gd name="connsiteX424" fmla="*/ 885734 w 1675360"/>
              <a:gd name="connsiteY424" fmla="*/ 1036267 h 1249190"/>
              <a:gd name="connsiteX425" fmla="*/ 877173 w 1675360"/>
              <a:gd name="connsiteY425" fmla="*/ 1025219 h 1249190"/>
              <a:gd name="connsiteX426" fmla="*/ 882957 w 1675360"/>
              <a:gd name="connsiteY426" fmla="*/ 1020765 h 1249190"/>
              <a:gd name="connsiteX427" fmla="*/ 890882 w 1675360"/>
              <a:gd name="connsiteY427" fmla="*/ 1023773 h 1249190"/>
              <a:gd name="connsiteX428" fmla="*/ 901583 w 1675360"/>
              <a:gd name="connsiteY428" fmla="*/ 1027764 h 1249190"/>
              <a:gd name="connsiteX429" fmla="*/ 906558 w 1675360"/>
              <a:gd name="connsiteY429" fmla="*/ 1025392 h 1249190"/>
              <a:gd name="connsiteX430" fmla="*/ 904649 w 1675360"/>
              <a:gd name="connsiteY430" fmla="*/ 1018104 h 1249190"/>
              <a:gd name="connsiteX431" fmla="*/ 903203 w 1675360"/>
              <a:gd name="connsiteY431" fmla="*/ 1010469 h 1249190"/>
              <a:gd name="connsiteX432" fmla="*/ 931315 w 1675360"/>
              <a:gd name="connsiteY432" fmla="*/ 1000172 h 1249190"/>
              <a:gd name="connsiteX433" fmla="*/ 951040 w 1675360"/>
              <a:gd name="connsiteY433" fmla="*/ 991206 h 1249190"/>
              <a:gd name="connsiteX434" fmla="*/ 952949 w 1675360"/>
              <a:gd name="connsiteY434" fmla="*/ 978134 h 1249190"/>
              <a:gd name="connsiteX435" fmla="*/ 954222 w 1675360"/>
              <a:gd name="connsiteY435" fmla="*/ 970614 h 1249190"/>
              <a:gd name="connsiteX436" fmla="*/ 961857 w 1675360"/>
              <a:gd name="connsiteY436" fmla="*/ 967259 h 1249190"/>
              <a:gd name="connsiteX437" fmla="*/ 968972 w 1675360"/>
              <a:gd name="connsiteY437" fmla="*/ 970614 h 1249190"/>
              <a:gd name="connsiteX438" fmla="*/ 968972 w 1675360"/>
              <a:gd name="connsiteY438" fmla="*/ 977555 h 1249190"/>
              <a:gd name="connsiteX439" fmla="*/ 967121 w 1675360"/>
              <a:gd name="connsiteY439" fmla="*/ 992132 h 1249190"/>
              <a:gd name="connsiteX440" fmla="*/ 972905 w 1675360"/>
              <a:gd name="connsiteY440" fmla="*/ 990801 h 1249190"/>
              <a:gd name="connsiteX441" fmla="*/ 993151 w 1675360"/>
              <a:gd name="connsiteY441" fmla="*/ 985017 h 1249190"/>
              <a:gd name="connsiteX442" fmla="*/ 1024329 w 1675360"/>
              <a:gd name="connsiteY442" fmla="*/ 979869 h 1249190"/>
              <a:gd name="connsiteX443" fmla="*/ 1084082 w 1675360"/>
              <a:gd name="connsiteY443" fmla="*/ 928156 h 1249190"/>
              <a:gd name="connsiteX444" fmla="*/ 1106352 w 1675360"/>
              <a:gd name="connsiteY444" fmla="*/ 907390 h 1249190"/>
              <a:gd name="connsiteX445" fmla="*/ 1117921 w 1675360"/>
              <a:gd name="connsiteY445" fmla="*/ 894838 h 1249190"/>
              <a:gd name="connsiteX446" fmla="*/ 1118962 w 1675360"/>
              <a:gd name="connsiteY446" fmla="*/ 881823 h 1249190"/>
              <a:gd name="connsiteX447" fmla="*/ 1145281 w 1675360"/>
              <a:gd name="connsiteY447" fmla="*/ 883038 h 1249190"/>
              <a:gd name="connsiteX448" fmla="*/ 1153958 w 1675360"/>
              <a:gd name="connsiteY448" fmla="*/ 885988 h 1249190"/>
              <a:gd name="connsiteX449" fmla="*/ 1156330 w 1675360"/>
              <a:gd name="connsiteY449" fmla="*/ 883790 h 1249190"/>
              <a:gd name="connsiteX450" fmla="*/ 1171485 w 1675360"/>
              <a:gd name="connsiteY450" fmla="*/ 876443 h 1249190"/>
              <a:gd name="connsiteX451" fmla="*/ 1191904 w 1675360"/>
              <a:gd name="connsiteY451" fmla="*/ 872221 h 1249190"/>
              <a:gd name="connsiteX452" fmla="*/ 1211860 w 1675360"/>
              <a:gd name="connsiteY452" fmla="*/ 867593 h 1249190"/>
              <a:gd name="connsiteX453" fmla="*/ 1308865 w 1675360"/>
              <a:gd name="connsiteY453" fmla="*/ 841158 h 1249190"/>
              <a:gd name="connsiteX454" fmla="*/ 1359016 w 1675360"/>
              <a:gd name="connsiteY454" fmla="*/ 814145 h 1249190"/>
              <a:gd name="connsiteX455" fmla="*/ 1386550 w 1675360"/>
              <a:gd name="connsiteY455" fmla="*/ 800725 h 1249190"/>
              <a:gd name="connsiteX456" fmla="*/ 1402226 w 1675360"/>
              <a:gd name="connsiteY456" fmla="*/ 787305 h 1249190"/>
              <a:gd name="connsiteX457" fmla="*/ 1398176 w 1675360"/>
              <a:gd name="connsiteY457" fmla="*/ 788925 h 1249190"/>
              <a:gd name="connsiteX458" fmla="*/ 1371105 w 1675360"/>
              <a:gd name="connsiteY458" fmla="*/ 794015 h 1249190"/>
              <a:gd name="connsiteX459" fmla="*/ 1348893 w 1675360"/>
              <a:gd name="connsiteY459" fmla="*/ 791470 h 1249190"/>
              <a:gd name="connsiteX460" fmla="*/ 1336572 w 1675360"/>
              <a:gd name="connsiteY460" fmla="*/ 787595 h 1249190"/>
              <a:gd name="connsiteX461" fmla="*/ 1304642 w 1675360"/>
              <a:gd name="connsiteY461" fmla="*/ 780306 h 1249190"/>
              <a:gd name="connsiteX462" fmla="*/ 1289140 w 1675360"/>
              <a:gd name="connsiteY462" fmla="*/ 784066 h 1249190"/>
              <a:gd name="connsiteX463" fmla="*/ 1281678 w 1675360"/>
              <a:gd name="connsiteY463" fmla="*/ 786727 h 1249190"/>
              <a:gd name="connsiteX464" fmla="*/ 1277878 w 1675360"/>
              <a:gd name="connsiteY464" fmla="*/ 783621 h 1249190"/>
              <a:gd name="connsiteX465" fmla="*/ 1277860 w 1675360"/>
              <a:gd name="connsiteY465" fmla="*/ 783314 h 1249190"/>
              <a:gd name="connsiteX466" fmla="*/ 1296486 w 1675360"/>
              <a:gd name="connsiteY466" fmla="*/ 764225 h 1249190"/>
              <a:gd name="connsiteX467" fmla="*/ 1304642 w 1675360"/>
              <a:gd name="connsiteY467" fmla="*/ 760697 h 1249190"/>
              <a:gd name="connsiteX468" fmla="*/ 1303080 w 1675360"/>
              <a:gd name="connsiteY468" fmla="*/ 748723 h 1249190"/>
              <a:gd name="connsiteX469" fmla="*/ 1300477 w 1675360"/>
              <a:gd name="connsiteY469" fmla="*/ 739700 h 1249190"/>
              <a:gd name="connsiteX470" fmla="*/ 1301287 w 1675360"/>
              <a:gd name="connsiteY470" fmla="*/ 732758 h 1249190"/>
              <a:gd name="connsiteX471" fmla="*/ 1307072 w 1675360"/>
              <a:gd name="connsiteY471" fmla="*/ 730387 h 1249190"/>
              <a:gd name="connsiteX472" fmla="*/ 1340968 w 1675360"/>
              <a:gd name="connsiteY472" fmla="*/ 751731 h 1249190"/>
              <a:gd name="connsiteX473" fmla="*/ 1384467 w 1675360"/>
              <a:gd name="connsiteY473" fmla="*/ 773654 h 1249190"/>
              <a:gd name="connsiteX474" fmla="*/ 1399449 w 1675360"/>
              <a:gd name="connsiteY474" fmla="*/ 771514 h 1249190"/>
              <a:gd name="connsiteX475" fmla="*/ 1407547 w 1675360"/>
              <a:gd name="connsiteY475" fmla="*/ 753351 h 1249190"/>
              <a:gd name="connsiteX476" fmla="*/ 1408588 w 1675360"/>
              <a:gd name="connsiteY476" fmla="*/ 735592 h 1249190"/>
              <a:gd name="connsiteX477" fmla="*/ 1408993 w 1675360"/>
              <a:gd name="connsiteY477" fmla="*/ 733394 h 1249190"/>
              <a:gd name="connsiteX478" fmla="*/ 1370180 w 1675360"/>
              <a:gd name="connsiteY478" fmla="*/ 700539 h 1249190"/>
              <a:gd name="connsiteX479" fmla="*/ 1337324 w 1675360"/>
              <a:gd name="connsiteY479" fmla="*/ 673583 h 1249190"/>
              <a:gd name="connsiteX480" fmla="*/ 1337671 w 1675360"/>
              <a:gd name="connsiteY480" fmla="*/ 667799 h 1249190"/>
              <a:gd name="connsiteX481" fmla="*/ 1343456 w 1675360"/>
              <a:gd name="connsiteY481" fmla="*/ 665659 h 1249190"/>
              <a:gd name="connsiteX482" fmla="*/ 1379261 w 1675360"/>
              <a:gd name="connsiteY482" fmla="*/ 677228 h 1249190"/>
              <a:gd name="connsiteX483" fmla="*/ 1386839 w 1675360"/>
              <a:gd name="connsiteY483" fmla="*/ 678963 h 1249190"/>
              <a:gd name="connsiteX484" fmla="*/ 1403556 w 1675360"/>
              <a:gd name="connsiteY484" fmla="*/ 650041 h 1249190"/>
              <a:gd name="connsiteX485" fmla="*/ 1378047 w 1675360"/>
              <a:gd name="connsiteY485" fmla="*/ 642290 h 1249190"/>
              <a:gd name="connsiteX486" fmla="*/ 1339812 w 1675360"/>
              <a:gd name="connsiteY486" fmla="*/ 650214 h 1249190"/>
              <a:gd name="connsiteX487" fmla="*/ 1328821 w 1675360"/>
              <a:gd name="connsiteY487" fmla="*/ 653164 h 1249190"/>
              <a:gd name="connsiteX488" fmla="*/ 1312451 w 1675360"/>
              <a:gd name="connsiteY488" fmla="*/ 641248 h 1249190"/>
              <a:gd name="connsiteX489" fmla="*/ 1327028 w 1675360"/>
              <a:gd name="connsiteY489" fmla="*/ 630316 h 1249190"/>
              <a:gd name="connsiteX490" fmla="*/ 1339002 w 1675360"/>
              <a:gd name="connsiteY490" fmla="*/ 626151 h 1249190"/>
              <a:gd name="connsiteX491" fmla="*/ 1337324 w 1675360"/>
              <a:gd name="connsiteY491" fmla="*/ 619730 h 1249190"/>
              <a:gd name="connsiteX492" fmla="*/ 1336862 w 1675360"/>
              <a:gd name="connsiteY492" fmla="*/ 608162 h 1249190"/>
              <a:gd name="connsiteX493" fmla="*/ 1341431 w 1675360"/>
              <a:gd name="connsiteY493" fmla="*/ 606542 h 1249190"/>
              <a:gd name="connsiteX494" fmla="*/ 1363123 w 1675360"/>
              <a:gd name="connsiteY494" fmla="*/ 615045 h 1249190"/>
              <a:gd name="connsiteX495" fmla="*/ 1393491 w 1675360"/>
              <a:gd name="connsiteY495" fmla="*/ 626267 h 1249190"/>
              <a:gd name="connsiteX496" fmla="*/ 1397887 w 1675360"/>
              <a:gd name="connsiteY496" fmla="*/ 625688 h 1249190"/>
              <a:gd name="connsiteX497" fmla="*/ 1417207 w 1675360"/>
              <a:gd name="connsiteY497" fmla="*/ 622680 h 1249190"/>
              <a:gd name="connsiteX498" fmla="*/ 1443584 w 1675360"/>
              <a:gd name="connsiteY498" fmla="*/ 614524 h 1249190"/>
              <a:gd name="connsiteX499" fmla="*/ 1446419 w 1675360"/>
              <a:gd name="connsiteY499" fmla="*/ 609723 h 1249190"/>
              <a:gd name="connsiteX500" fmla="*/ 1425363 w 1675360"/>
              <a:gd name="connsiteY500" fmla="*/ 593874 h 1249190"/>
              <a:gd name="connsiteX501" fmla="*/ 1407084 w 1675360"/>
              <a:gd name="connsiteY501" fmla="*/ 582305 h 1249190"/>
              <a:gd name="connsiteX502" fmla="*/ 1406101 w 1675360"/>
              <a:gd name="connsiteY502" fmla="*/ 578140 h 1249190"/>
              <a:gd name="connsiteX503" fmla="*/ 1432131 w 1675360"/>
              <a:gd name="connsiteY503" fmla="*/ 573339 h 1249190"/>
              <a:gd name="connsiteX504" fmla="*/ 1462788 w 1675360"/>
              <a:gd name="connsiteY504" fmla="*/ 574438 h 1249190"/>
              <a:gd name="connsiteX505" fmla="*/ 1468573 w 1675360"/>
              <a:gd name="connsiteY505" fmla="*/ 574785 h 1249190"/>
              <a:gd name="connsiteX506" fmla="*/ 1482271 w 1675360"/>
              <a:gd name="connsiteY506" fmla="*/ 562372 h 1249190"/>
              <a:gd name="connsiteX507" fmla="*/ 1482282 w 1675360"/>
              <a:gd name="connsiteY507" fmla="*/ 562118 h 1249190"/>
              <a:gd name="connsiteX508" fmla="*/ 1478869 w 1675360"/>
              <a:gd name="connsiteY508" fmla="*/ 557837 h 1249190"/>
              <a:gd name="connsiteX509" fmla="*/ 1476150 w 1675360"/>
              <a:gd name="connsiteY509" fmla="*/ 558358 h 1249190"/>
              <a:gd name="connsiteX510" fmla="*/ 1470945 w 1675360"/>
              <a:gd name="connsiteY510" fmla="*/ 559167 h 1249190"/>
              <a:gd name="connsiteX511" fmla="*/ 1425479 w 1675360"/>
              <a:gd name="connsiteY511" fmla="*/ 536030 h 1249190"/>
              <a:gd name="connsiteX512" fmla="*/ 1425479 w 1675360"/>
              <a:gd name="connsiteY512" fmla="*/ 525965 h 1249190"/>
              <a:gd name="connsiteX513" fmla="*/ 1438783 w 1675360"/>
              <a:gd name="connsiteY513" fmla="*/ 519255 h 1249190"/>
              <a:gd name="connsiteX514" fmla="*/ 1447575 w 1675360"/>
              <a:gd name="connsiteY514" fmla="*/ 520065 h 1249190"/>
              <a:gd name="connsiteX515" fmla="*/ 1458450 w 1675360"/>
              <a:gd name="connsiteY515" fmla="*/ 521048 h 1249190"/>
              <a:gd name="connsiteX516" fmla="*/ 1473548 w 1675360"/>
              <a:gd name="connsiteY516" fmla="*/ 517520 h 1249190"/>
              <a:gd name="connsiteX517" fmla="*/ 1480778 w 1675360"/>
              <a:gd name="connsiteY517" fmla="*/ 493977 h 1249190"/>
              <a:gd name="connsiteX518" fmla="*/ 1461169 w 1675360"/>
              <a:gd name="connsiteY518" fmla="*/ 469567 h 1249190"/>
              <a:gd name="connsiteX519" fmla="*/ 1411596 w 1675360"/>
              <a:gd name="connsiteY519" fmla="*/ 456320 h 1249190"/>
              <a:gd name="connsiteX520" fmla="*/ 1401242 w 1675360"/>
              <a:gd name="connsiteY520" fmla="*/ 447991 h 1249190"/>
              <a:gd name="connsiteX521" fmla="*/ 1389963 w 1675360"/>
              <a:gd name="connsiteY521" fmla="*/ 438446 h 1249190"/>
              <a:gd name="connsiteX522" fmla="*/ 1391756 w 1675360"/>
              <a:gd name="connsiteY522" fmla="*/ 434513 h 1249190"/>
              <a:gd name="connsiteX523" fmla="*/ 1397540 w 1675360"/>
              <a:gd name="connsiteY523" fmla="*/ 432199 h 1249190"/>
              <a:gd name="connsiteX524" fmla="*/ 1404366 w 1675360"/>
              <a:gd name="connsiteY524" fmla="*/ 433472 h 1249190"/>
              <a:gd name="connsiteX525" fmla="*/ 1413852 w 1675360"/>
              <a:gd name="connsiteY525" fmla="*/ 435091 h 1249190"/>
              <a:gd name="connsiteX526" fmla="*/ 1428834 w 1675360"/>
              <a:gd name="connsiteY526" fmla="*/ 429307 h 1249190"/>
              <a:gd name="connsiteX527" fmla="*/ 1450236 w 1675360"/>
              <a:gd name="connsiteY527" fmla="*/ 423523 h 1249190"/>
              <a:gd name="connsiteX528" fmla="*/ 1477770 w 1675360"/>
              <a:gd name="connsiteY528" fmla="*/ 426762 h 1249190"/>
              <a:gd name="connsiteX529" fmla="*/ 1503626 w 1675360"/>
              <a:gd name="connsiteY529" fmla="*/ 429018 h 1249190"/>
              <a:gd name="connsiteX530" fmla="*/ 1508595 w 1675360"/>
              <a:gd name="connsiteY530" fmla="*/ 423476 h 1249190"/>
              <a:gd name="connsiteX531" fmla="*/ 1508486 w 1675360"/>
              <a:gd name="connsiteY531" fmla="*/ 422655 h 1249190"/>
              <a:gd name="connsiteX532" fmla="*/ 1489455 w 1675360"/>
              <a:gd name="connsiteY532" fmla="*/ 401484 h 1249190"/>
              <a:gd name="connsiteX533" fmla="*/ 1487372 w 1675360"/>
              <a:gd name="connsiteY533" fmla="*/ 402005 h 1249190"/>
              <a:gd name="connsiteX534" fmla="*/ 1467185 w 1675360"/>
              <a:gd name="connsiteY534" fmla="*/ 406111 h 1249190"/>
              <a:gd name="connsiteX535" fmla="*/ 1440461 w 1675360"/>
              <a:gd name="connsiteY535" fmla="*/ 391477 h 1249190"/>
              <a:gd name="connsiteX536" fmla="*/ 1441907 w 1675360"/>
              <a:gd name="connsiteY536" fmla="*/ 385056 h 1249190"/>
              <a:gd name="connsiteX537" fmla="*/ 1450410 w 1675360"/>
              <a:gd name="connsiteY537" fmla="*/ 382337 h 1249190"/>
              <a:gd name="connsiteX538" fmla="*/ 1461516 w 1675360"/>
              <a:gd name="connsiteY538" fmla="*/ 383436 h 1249190"/>
              <a:gd name="connsiteX539" fmla="*/ 1471812 w 1675360"/>
              <a:gd name="connsiteY539" fmla="*/ 384478 h 1249190"/>
              <a:gd name="connsiteX540" fmla="*/ 1477597 w 1675360"/>
              <a:gd name="connsiteY540" fmla="*/ 382627 h 1249190"/>
              <a:gd name="connsiteX541" fmla="*/ 1477597 w 1675360"/>
              <a:gd name="connsiteY541" fmla="*/ 380949 h 1249190"/>
              <a:gd name="connsiteX542" fmla="*/ 1438205 w 1675360"/>
              <a:gd name="connsiteY542" fmla="*/ 365852 h 1249190"/>
              <a:gd name="connsiteX543" fmla="*/ 1424669 w 1675360"/>
              <a:gd name="connsiteY543" fmla="*/ 371636 h 1249190"/>
              <a:gd name="connsiteX544" fmla="*/ 1405407 w 1675360"/>
              <a:gd name="connsiteY544" fmla="*/ 383205 h 1249190"/>
              <a:gd name="connsiteX545" fmla="*/ 1396441 w 1675360"/>
              <a:gd name="connsiteY545" fmla="*/ 379098 h 1249190"/>
              <a:gd name="connsiteX546" fmla="*/ 1401242 w 1675360"/>
              <a:gd name="connsiteY546" fmla="*/ 371868 h 1249190"/>
              <a:gd name="connsiteX547" fmla="*/ 1417670 w 1675360"/>
              <a:gd name="connsiteY547" fmla="*/ 322064 h 1249190"/>
              <a:gd name="connsiteX548" fmla="*/ 1439072 w 1675360"/>
              <a:gd name="connsiteY548" fmla="*/ 307545 h 1249190"/>
              <a:gd name="connsiteX549" fmla="*/ 1466201 w 1675360"/>
              <a:gd name="connsiteY549" fmla="*/ 285101 h 1249190"/>
              <a:gd name="connsiteX550" fmla="*/ 1468573 w 1675360"/>
              <a:gd name="connsiteY550" fmla="*/ 269715 h 1249190"/>
              <a:gd name="connsiteX551" fmla="*/ 1512535 w 1675360"/>
              <a:gd name="connsiteY551" fmla="*/ 256179 h 1249190"/>
              <a:gd name="connsiteX552" fmla="*/ 1517625 w 1675360"/>
              <a:gd name="connsiteY552" fmla="*/ 255080 h 1249190"/>
              <a:gd name="connsiteX553" fmla="*/ 1518955 w 1675360"/>
              <a:gd name="connsiteY553" fmla="*/ 252535 h 1249190"/>
              <a:gd name="connsiteX554" fmla="*/ 1494082 w 1675360"/>
              <a:gd name="connsiteY554" fmla="*/ 236628 h 1249190"/>
              <a:gd name="connsiteX555" fmla="*/ 1471928 w 1675360"/>
              <a:gd name="connsiteY555" fmla="*/ 245825 h 1249190"/>
              <a:gd name="connsiteX556" fmla="*/ 1453823 w 1675360"/>
              <a:gd name="connsiteY556" fmla="*/ 253113 h 1249190"/>
              <a:gd name="connsiteX557" fmla="*/ 1448038 w 1675360"/>
              <a:gd name="connsiteY557" fmla="*/ 250915 h 1249190"/>
              <a:gd name="connsiteX558" fmla="*/ 1446534 w 1675360"/>
              <a:gd name="connsiteY558" fmla="*/ 244552 h 1249190"/>
              <a:gd name="connsiteX559" fmla="*/ 1485984 w 1675360"/>
              <a:gd name="connsiteY559" fmla="*/ 226331 h 1249190"/>
              <a:gd name="connsiteX560" fmla="*/ 1554067 w 1675360"/>
              <a:gd name="connsiteY560" fmla="*/ 216787 h 1249190"/>
              <a:gd name="connsiteX561" fmla="*/ 1556380 w 1675360"/>
              <a:gd name="connsiteY561" fmla="*/ 214068 h 1249190"/>
              <a:gd name="connsiteX562" fmla="*/ 1518203 w 1675360"/>
              <a:gd name="connsiteY562" fmla="*/ 205970 h 1249190"/>
              <a:gd name="connsiteX563" fmla="*/ 1504668 w 1675360"/>
              <a:gd name="connsiteY563" fmla="*/ 206780 h 1249190"/>
              <a:gd name="connsiteX564" fmla="*/ 1496107 w 1675360"/>
              <a:gd name="connsiteY564" fmla="*/ 207358 h 1249190"/>
              <a:gd name="connsiteX565" fmla="*/ 1485406 w 1675360"/>
              <a:gd name="connsiteY565" fmla="*/ 203483 h 1249190"/>
              <a:gd name="connsiteX566" fmla="*/ 1517451 w 1675360"/>
              <a:gd name="connsiteY566" fmla="*/ 195616 h 1249190"/>
              <a:gd name="connsiteX567" fmla="*/ 1554298 w 1675360"/>
              <a:gd name="connsiteY567" fmla="*/ 189369 h 1249190"/>
              <a:gd name="connsiteX568" fmla="*/ 1577436 w 1675360"/>
              <a:gd name="connsiteY568" fmla="*/ 183584 h 1249190"/>
              <a:gd name="connsiteX569" fmla="*/ 1599417 w 1675360"/>
              <a:gd name="connsiteY569" fmla="*/ 174329 h 1249190"/>
              <a:gd name="connsiteX570" fmla="*/ 1613010 w 1675360"/>
              <a:gd name="connsiteY570" fmla="*/ 168198 h 1249190"/>
              <a:gd name="connsiteX571" fmla="*/ 1673342 w 1675360"/>
              <a:gd name="connsiteY571" fmla="*/ 141069 h 1249190"/>
              <a:gd name="connsiteX572" fmla="*/ 1580791 w 1675360"/>
              <a:gd name="connsiteY572" fmla="*/ 115560 h 1249190"/>
              <a:gd name="connsiteX573" fmla="*/ 1526186 w 1675360"/>
              <a:gd name="connsiteY573" fmla="*/ 140375 h 1249190"/>
              <a:gd name="connsiteX574" fmla="*/ 1514617 w 1675360"/>
              <a:gd name="connsiteY574" fmla="*/ 149977 h 1249190"/>
              <a:gd name="connsiteX575" fmla="*/ 1496512 w 1675360"/>
              <a:gd name="connsiteY575" fmla="*/ 146738 h 1249190"/>
              <a:gd name="connsiteX576" fmla="*/ 1476671 w 1675360"/>
              <a:gd name="connsiteY576" fmla="*/ 143267 h 1249190"/>
              <a:gd name="connsiteX577" fmla="*/ 1469614 w 1675360"/>
              <a:gd name="connsiteY577" fmla="*/ 144540 h 1249190"/>
              <a:gd name="connsiteX578" fmla="*/ 1463830 w 1675360"/>
              <a:gd name="connsiteY578" fmla="*/ 146044 h 1249190"/>
              <a:gd name="connsiteX579" fmla="*/ 1456021 w 1675360"/>
              <a:gd name="connsiteY579" fmla="*/ 139334 h 1249190"/>
              <a:gd name="connsiteX580" fmla="*/ 1450583 w 1675360"/>
              <a:gd name="connsiteY580" fmla="*/ 134070 h 1249190"/>
              <a:gd name="connsiteX581" fmla="*/ 1445435 w 1675360"/>
              <a:gd name="connsiteY581" fmla="*/ 135632 h 1249190"/>
              <a:gd name="connsiteX582" fmla="*/ 1423107 w 1675360"/>
              <a:gd name="connsiteY582" fmla="*/ 150960 h 1249190"/>
              <a:gd name="connsiteX583" fmla="*/ 1392045 w 1675360"/>
              <a:gd name="connsiteY583" fmla="*/ 171206 h 1249190"/>
              <a:gd name="connsiteX584" fmla="*/ 1366883 w 1675360"/>
              <a:gd name="connsiteY584" fmla="*/ 188154 h 1249190"/>
              <a:gd name="connsiteX585" fmla="*/ 1345712 w 1675360"/>
              <a:gd name="connsiteY585" fmla="*/ 201169 h 1249190"/>
              <a:gd name="connsiteX586" fmla="*/ 1342299 w 1675360"/>
              <a:gd name="connsiteY586" fmla="*/ 199723 h 1249190"/>
              <a:gd name="connsiteX587" fmla="*/ 1389963 w 1675360"/>
              <a:gd name="connsiteY587" fmla="*/ 142689 h 1249190"/>
              <a:gd name="connsiteX588" fmla="*/ 1398350 w 1675360"/>
              <a:gd name="connsiteY588" fmla="*/ 116312 h 1249190"/>
              <a:gd name="connsiteX589" fmla="*/ 1373940 w 1675360"/>
              <a:gd name="connsiteY589" fmla="*/ 105032 h 1249190"/>
              <a:gd name="connsiteX590" fmla="*/ 1351381 w 1675360"/>
              <a:gd name="connsiteY590" fmla="*/ 117584 h 1249190"/>
              <a:gd name="connsiteX591" fmla="*/ 1339349 w 1675360"/>
              <a:gd name="connsiteY591" fmla="*/ 126839 h 1249190"/>
              <a:gd name="connsiteX592" fmla="*/ 1311757 w 1675360"/>
              <a:gd name="connsiteY592" fmla="*/ 137425 h 1249190"/>
              <a:gd name="connsiteX593" fmla="*/ 1256227 w 1675360"/>
              <a:gd name="connsiteY593" fmla="*/ 156282 h 1249190"/>
              <a:gd name="connsiteX594" fmla="*/ 1250789 w 1675360"/>
              <a:gd name="connsiteY594" fmla="*/ 153563 h 1249190"/>
              <a:gd name="connsiteX595" fmla="*/ 1283645 w 1675360"/>
              <a:gd name="connsiteY595" fmla="*/ 130946 h 1249190"/>
              <a:gd name="connsiteX596" fmla="*/ 1307303 w 1675360"/>
              <a:gd name="connsiteY596" fmla="*/ 117816 h 1249190"/>
              <a:gd name="connsiteX597" fmla="*/ 1253682 w 1675360"/>
              <a:gd name="connsiteY597" fmla="*/ 112494 h 1249190"/>
              <a:gd name="connsiteX598" fmla="*/ 1197920 w 1675360"/>
              <a:gd name="connsiteY598" fmla="*/ 115560 h 1249190"/>
              <a:gd name="connsiteX599" fmla="*/ 1155635 w 1675360"/>
              <a:gd name="connsiteY599" fmla="*/ 124294 h 1249190"/>
              <a:gd name="connsiteX600" fmla="*/ 1109823 w 1675360"/>
              <a:gd name="connsiteY600" fmla="*/ 132797 h 1249190"/>
              <a:gd name="connsiteX601" fmla="*/ 1109823 w 1675360"/>
              <a:gd name="connsiteY601" fmla="*/ 132797 h 1249190"/>
              <a:gd name="connsiteX602" fmla="*/ 1102129 w 1675360"/>
              <a:gd name="connsiteY602" fmla="*/ 129037 h 1249190"/>
              <a:gd name="connsiteX603" fmla="*/ 1208100 w 1675360"/>
              <a:gd name="connsiteY603" fmla="*/ 100115 h 1249190"/>
              <a:gd name="connsiteX604" fmla="*/ 1257499 w 1675360"/>
              <a:gd name="connsiteY604" fmla="*/ 98496 h 1249190"/>
              <a:gd name="connsiteX605" fmla="*/ 1336225 w 1675360"/>
              <a:gd name="connsiteY605" fmla="*/ 91323 h 1249190"/>
              <a:gd name="connsiteX606" fmla="*/ 1379840 w 1675360"/>
              <a:gd name="connsiteY606" fmla="*/ 80275 h 1249190"/>
              <a:gd name="connsiteX607" fmla="*/ 1411712 w 1675360"/>
              <a:gd name="connsiteY607" fmla="*/ 70672 h 1249190"/>
              <a:gd name="connsiteX608" fmla="*/ 1412059 w 1675360"/>
              <a:gd name="connsiteY608" fmla="*/ 67954 h 1249190"/>
              <a:gd name="connsiteX609" fmla="*/ 1363644 w 1675360"/>
              <a:gd name="connsiteY609" fmla="*/ 52278 h 1249190"/>
              <a:gd name="connsiteX610" fmla="*/ 1361735 w 1675360"/>
              <a:gd name="connsiteY610" fmla="*/ 52278 h 1249190"/>
              <a:gd name="connsiteX611" fmla="*/ 1354967 w 1675360"/>
              <a:gd name="connsiteY611" fmla="*/ 52278 h 1249190"/>
              <a:gd name="connsiteX612" fmla="*/ 1325061 w 1675360"/>
              <a:gd name="connsiteY612" fmla="*/ 45394 h 1249190"/>
              <a:gd name="connsiteX613" fmla="*/ 1323442 w 1675360"/>
              <a:gd name="connsiteY613" fmla="*/ 39610 h 1249190"/>
              <a:gd name="connsiteX614" fmla="*/ 1306436 w 1675360"/>
              <a:gd name="connsiteY614" fmla="*/ 29256 h 1249190"/>
              <a:gd name="connsiteX615" fmla="*/ 1290413 w 1675360"/>
              <a:gd name="connsiteY615" fmla="*/ 20868 h 1249190"/>
              <a:gd name="connsiteX616" fmla="*/ 1257557 w 1675360"/>
              <a:gd name="connsiteY616" fmla="*/ 16993 h 1249190"/>
              <a:gd name="connsiteX617" fmla="*/ 1214116 w 1675360"/>
              <a:gd name="connsiteY617" fmla="*/ 11671 h 1249190"/>
              <a:gd name="connsiteX618" fmla="*/ 1150487 w 1675360"/>
              <a:gd name="connsiteY618" fmla="*/ 1433 h 1249190"/>
              <a:gd name="connsiteX619" fmla="*/ 1131341 w 1675360"/>
              <a:gd name="connsiteY619" fmla="*/ 2127 h 1249190"/>
              <a:gd name="connsiteX620" fmla="*/ 1061928 w 1675360"/>
              <a:gd name="connsiteY620" fmla="*/ 4151 h 1249190"/>
              <a:gd name="connsiteX621" fmla="*/ 1017330 w 1675360"/>
              <a:gd name="connsiteY621" fmla="*/ 5366 h 1249190"/>
              <a:gd name="connsiteX622" fmla="*/ 1000324 w 1675360"/>
              <a:gd name="connsiteY622" fmla="*/ 8721 h 1249190"/>
              <a:gd name="connsiteX623" fmla="*/ 978400 w 1675360"/>
              <a:gd name="connsiteY623" fmla="*/ 11845 h 1249190"/>
              <a:gd name="connsiteX624" fmla="*/ 951387 w 1675360"/>
              <a:gd name="connsiteY624" fmla="*/ 18786 h 1249190"/>
              <a:gd name="connsiteX625" fmla="*/ 952660 w 1675360"/>
              <a:gd name="connsiteY625" fmla="*/ 22893 h 1249190"/>
              <a:gd name="connsiteX626" fmla="*/ 956420 w 1675360"/>
              <a:gd name="connsiteY626" fmla="*/ 34288 h 1249190"/>
              <a:gd name="connsiteX627" fmla="*/ 941149 w 1675360"/>
              <a:gd name="connsiteY627" fmla="*/ 41866 h 1249190"/>
              <a:gd name="connsiteX628" fmla="*/ 932993 w 1675360"/>
              <a:gd name="connsiteY628" fmla="*/ 38974 h 1249190"/>
              <a:gd name="connsiteX629" fmla="*/ 931952 w 1675360"/>
              <a:gd name="connsiteY629" fmla="*/ 34231 h 1249190"/>
              <a:gd name="connsiteX630" fmla="*/ 930679 w 1675360"/>
              <a:gd name="connsiteY630" fmla="*/ 29719 h 1249190"/>
              <a:gd name="connsiteX631" fmla="*/ 907541 w 1675360"/>
              <a:gd name="connsiteY631" fmla="*/ 22372 h 1249190"/>
              <a:gd name="connsiteX632" fmla="*/ 891981 w 1675360"/>
              <a:gd name="connsiteY632" fmla="*/ 26422 h 1249190"/>
              <a:gd name="connsiteX633" fmla="*/ 879024 w 1675360"/>
              <a:gd name="connsiteY633" fmla="*/ 29603 h 1249190"/>
              <a:gd name="connsiteX634" fmla="*/ 852069 w 1675360"/>
              <a:gd name="connsiteY634" fmla="*/ 26537 h 1249190"/>
              <a:gd name="connsiteX635" fmla="*/ 827542 w 1675360"/>
              <a:gd name="connsiteY635" fmla="*/ 23645 h 1249190"/>
              <a:gd name="connsiteX636" fmla="*/ 817825 w 1675360"/>
              <a:gd name="connsiteY636" fmla="*/ 26248 h 1249190"/>
              <a:gd name="connsiteX637" fmla="*/ 756741 w 1675360"/>
              <a:gd name="connsiteY637" fmla="*/ 35387 h 1249190"/>
              <a:gd name="connsiteX638" fmla="*/ 726662 w 1675360"/>
              <a:gd name="connsiteY638" fmla="*/ 37181 h 1249190"/>
              <a:gd name="connsiteX639" fmla="*/ 723307 w 1675360"/>
              <a:gd name="connsiteY639" fmla="*/ 38395 h 1249190"/>
              <a:gd name="connsiteX640" fmla="*/ 736901 w 1675360"/>
              <a:gd name="connsiteY640" fmla="*/ 47072 h 1249190"/>
              <a:gd name="connsiteX641" fmla="*/ 755006 w 1675360"/>
              <a:gd name="connsiteY641" fmla="*/ 61302 h 1249190"/>
              <a:gd name="connsiteX642" fmla="*/ 731001 w 1675360"/>
              <a:gd name="connsiteY642" fmla="*/ 66739 h 1249190"/>
              <a:gd name="connsiteX643" fmla="*/ 705086 w 1675360"/>
              <a:gd name="connsiteY643" fmla="*/ 71540 h 1249190"/>
              <a:gd name="connsiteX644" fmla="*/ 706301 w 1675360"/>
              <a:gd name="connsiteY644" fmla="*/ 74953 h 1249190"/>
              <a:gd name="connsiteX645" fmla="*/ 737305 w 1675360"/>
              <a:gd name="connsiteY645" fmla="*/ 94446 h 1249190"/>
              <a:gd name="connsiteX646" fmla="*/ 775714 w 1675360"/>
              <a:gd name="connsiteY646" fmla="*/ 118510 h 1249190"/>
              <a:gd name="connsiteX647" fmla="*/ 781499 w 1675360"/>
              <a:gd name="connsiteY647" fmla="*/ 128285 h 1249190"/>
              <a:gd name="connsiteX648" fmla="*/ 777565 w 1675360"/>
              <a:gd name="connsiteY648" fmla="*/ 130136 h 1249190"/>
              <a:gd name="connsiteX649" fmla="*/ 738983 w 1675360"/>
              <a:gd name="connsiteY649" fmla="*/ 113766 h 1249190"/>
              <a:gd name="connsiteX650" fmla="*/ 707400 w 1675360"/>
              <a:gd name="connsiteY650" fmla="*/ 102892 h 1249190"/>
              <a:gd name="connsiteX651" fmla="*/ 678478 w 1675360"/>
              <a:gd name="connsiteY651" fmla="*/ 90976 h 1249190"/>
              <a:gd name="connsiteX652" fmla="*/ 619940 w 1675360"/>
              <a:gd name="connsiteY652" fmla="*/ 72350 h 1249190"/>
              <a:gd name="connsiteX653" fmla="*/ 606462 w 1675360"/>
              <a:gd name="connsiteY653" fmla="*/ 74953 h 1249190"/>
              <a:gd name="connsiteX654" fmla="*/ 604264 w 1675360"/>
              <a:gd name="connsiteY654" fmla="*/ 78250 h 1249190"/>
              <a:gd name="connsiteX655" fmla="*/ 622253 w 1675360"/>
              <a:gd name="connsiteY655" fmla="*/ 94909 h 1249190"/>
              <a:gd name="connsiteX656" fmla="*/ 640069 w 1675360"/>
              <a:gd name="connsiteY656" fmla="*/ 112262 h 1249190"/>
              <a:gd name="connsiteX657" fmla="*/ 631682 w 1675360"/>
              <a:gd name="connsiteY657" fmla="*/ 117584 h 1249190"/>
              <a:gd name="connsiteX658" fmla="*/ 617047 w 1675360"/>
              <a:gd name="connsiteY658" fmla="*/ 115733 h 1249190"/>
              <a:gd name="connsiteX659" fmla="*/ 604900 w 1675360"/>
              <a:gd name="connsiteY659" fmla="*/ 114171 h 1249190"/>
              <a:gd name="connsiteX660" fmla="*/ 601661 w 1675360"/>
              <a:gd name="connsiteY660" fmla="*/ 114750 h 1249190"/>
              <a:gd name="connsiteX661" fmla="*/ 599694 w 1675360"/>
              <a:gd name="connsiteY661" fmla="*/ 115328 h 1249190"/>
              <a:gd name="connsiteX662" fmla="*/ 581936 w 1675360"/>
              <a:gd name="connsiteY662" fmla="*/ 104627 h 1249190"/>
              <a:gd name="connsiteX663" fmla="*/ 550931 w 1675360"/>
              <a:gd name="connsiteY663" fmla="*/ 87274 h 1249190"/>
              <a:gd name="connsiteX664" fmla="*/ 545147 w 1675360"/>
              <a:gd name="connsiteY664" fmla="*/ 89067 h 1249190"/>
              <a:gd name="connsiteX665" fmla="*/ 546361 w 1675360"/>
              <a:gd name="connsiteY665" fmla="*/ 100636 h 1249190"/>
              <a:gd name="connsiteX666" fmla="*/ 549890 w 1675360"/>
              <a:gd name="connsiteY666" fmla="*/ 120708 h 1249190"/>
              <a:gd name="connsiteX667" fmla="*/ 526752 w 1675360"/>
              <a:gd name="connsiteY667" fmla="*/ 146275 h 1249190"/>
              <a:gd name="connsiteX668" fmla="*/ 523571 w 1675360"/>
              <a:gd name="connsiteY668" fmla="*/ 144713 h 1249190"/>
              <a:gd name="connsiteX669" fmla="*/ 524959 w 1675360"/>
              <a:gd name="connsiteY669" fmla="*/ 138929 h 1249190"/>
              <a:gd name="connsiteX670" fmla="*/ 525827 w 1675360"/>
              <a:gd name="connsiteY670" fmla="*/ 104222 h 1249190"/>
              <a:gd name="connsiteX671" fmla="*/ 510961 w 1675360"/>
              <a:gd name="connsiteY671" fmla="*/ 84902 h 1249190"/>
              <a:gd name="connsiteX672" fmla="*/ 502978 w 1675360"/>
              <a:gd name="connsiteY672" fmla="*/ 83687 h 1249190"/>
              <a:gd name="connsiteX673" fmla="*/ 466536 w 1675360"/>
              <a:gd name="connsiteY673" fmla="*/ 90744 h 1249190"/>
              <a:gd name="connsiteX674" fmla="*/ 429516 w 1675360"/>
              <a:gd name="connsiteY674" fmla="*/ 97917 h 1249190"/>
              <a:gd name="connsiteX675" fmla="*/ 424252 w 1675360"/>
              <a:gd name="connsiteY675" fmla="*/ 97917 h 1249190"/>
              <a:gd name="connsiteX676" fmla="*/ 389546 w 1675360"/>
              <a:gd name="connsiteY676" fmla="*/ 106999 h 1249190"/>
              <a:gd name="connsiteX677" fmla="*/ 395330 w 1675360"/>
              <a:gd name="connsiteY677" fmla="*/ 113651 h 1249190"/>
              <a:gd name="connsiteX678" fmla="*/ 403718 w 1675360"/>
              <a:gd name="connsiteY678" fmla="*/ 123889 h 1249190"/>
              <a:gd name="connsiteX679" fmla="*/ 395388 w 1675360"/>
              <a:gd name="connsiteY679" fmla="*/ 127880 h 1249190"/>
              <a:gd name="connsiteX680" fmla="*/ 376357 w 1675360"/>
              <a:gd name="connsiteY680" fmla="*/ 121170 h 1249190"/>
              <a:gd name="connsiteX681" fmla="*/ 353798 w 1675360"/>
              <a:gd name="connsiteY681" fmla="*/ 116254 h 1249190"/>
              <a:gd name="connsiteX682" fmla="*/ 315273 w 1675360"/>
              <a:gd name="connsiteY682" fmla="*/ 125740 h 1249190"/>
              <a:gd name="connsiteX683" fmla="*/ 316257 w 1675360"/>
              <a:gd name="connsiteY683" fmla="*/ 127418 h 1249190"/>
              <a:gd name="connsiteX684" fmla="*/ 327826 w 1675360"/>
              <a:gd name="connsiteY684" fmla="*/ 149572 h 1249190"/>
              <a:gd name="connsiteX685" fmla="*/ 324471 w 1675360"/>
              <a:gd name="connsiteY685" fmla="*/ 170222 h 1249190"/>
              <a:gd name="connsiteX686" fmla="*/ 317298 w 1675360"/>
              <a:gd name="connsiteY686" fmla="*/ 173346 h 1249190"/>
              <a:gd name="connsiteX687" fmla="*/ 300523 w 1675360"/>
              <a:gd name="connsiteY687" fmla="*/ 168892 h 1249190"/>
              <a:gd name="connsiteX688" fmla="*/ 271081 w 1675360"/>
              <a:gd name="connsiteY688" fmla="*/ 162587 h 1249190"/>
              <a:gd name="connsiteX689" fmla="*/ 149145 w 1675360"/>
              <a:gd name="connsiteY689" fmla="*/ 224827 h 1249190"/>
              <a:gd name="connsiteX690" fmla="*/ 148509 w 1675360"/>
              <a:gd name="connsiteY690" fmla="*/ 228009 h 1249190"/>
              <a:gd name="connsiteX691" fmla="*/ 175580 w 1675360"/>
              <a:gd name="connsiteY691" fmla="*/ 234719 h 1249190"/>
              <a:gd name="connsiteX692" fmla="*/ 191140 w 1675360"/>
              <a:gd name="connsiteY692" fmla="*/ 234719 h 1249190"/>
              <a:gd name="connsiteX693" fmla="*/ 215030 w 1675360"/>
              <a:gd name="connsiteY693" fmla="*/ 238132 h 1249190"/>
              <a:gd name="connsiteX694" fmla="*/ 220814 w 1675360"/>
              <a:gd name="connsiteY694" fmla="*/ 247676 h 1249190"/>
              <a:gd name="connsiteX695" fmla="*/ 192644 w 1675360"/>
              <a:gd name="connsiteY695" fmla="*/ 290076 h 1249190"/>
              <a:gd name="connsiteX696" fmla="*/ 146368 w 1675360"/>
              <a:gd name="connsiteY696" fmla="*/ 297017 h 1249190"/>
              <a:gd name="connsiteX697" fmla="*/ 107613 w 1675360"/>
              <a:gd name="connsiteY697" fmla="*/ 304653 h 1249190"/>
              <a:gd name="connsiteX698" fmla="*/ 63651 w 1675360"/>
              <a:gd name="connsiteY698" fmla="*/ 320502 h 1249190"/>
              <a:gd name="connsiteX699" fmla="*/ 3435 w 1675360"/>
              <a:gd name="connsiteY699" fmla="*/ 344912 h 1249190"/>
              <a:gd name="connsiteX700" fmla="*/ 18706 w 1675360"/>
              <a:gd name="connsiteY700" fmla="*/ 364001 h 1249190"/>
              <a:gd name="connsiteX701" fmla="*/ 31836 w 1675360"/>
              <a:gd name="connsiteY701" fmla="*/ 365389 h 1249190"/>
              <a:gd name="connsiteX702" fmla="*/ 64519 w 1675360"/>
              <a:gd name="connsiteY702" fmla="*/ 377247 h 1249190"/>
              <a:gd name="connsiteX703" fmla="*/ 102002 w 1675360"/>
              <a:gd name="connsiteY703" fmla="*/ 388816 h 1249190"/>
              <a:gd name="connsiteX704" fmla="*/ 137576 w 1675360"/>
              <a:gd name="connsiteY704" fmla="*/ 382453 h 1249190"/>
              <a:gd name="connsiteX705" fmla="*/ 176968 w 1675360"/>
              <a:gd name="connsiteY705" fmla="*/ 386618 h 1249190"/>
              <a:gd name="connsiteX706" fmla="*/ 181885 w 1675360"/>
              <a:gd name="connsiteY706" fmla="*/ 399749 h 1249190"/>
              <a:gd name="connsiteX707" fmla="*/ 168754 w 1675360"/>
              <a:gd name="connsiteY707" fmla="*/ 406285 h 1249190"/>
              <a:gd name="connsiteX708" fmla="*/ 148104 w 1675360"/>
              <a:gd name="connsiteY708" fmla="*/ 404492 h 1249190"/>
              <a:gd name="connsiteX709" fmla="*/ 123636 w 1675360"/>
              <a:gd name="connsiteY709" fmla="*/ 402467 h 1249190"/>
              <a:gd name="connsiteX710" fmla="*/ 107902 w 1675360"/>
              <a:gd name="connsiteY710" fmla="*/ 405475 h 1249190"/>
              <a:gd name="connsiteX711" fmla="*/ 68105 w 1675360"/>
              <a:gd name="connsiteY711" fmla="*/ 411722 h 1249190"/>
              <a:gd name="connsiteX712" fmla="*/ 41670 w 1675360"/>
              <a:gd name="connsiteY712" fmla="*/ 415598 h 1249190"/>
              <a:gd name="connsiteX713" fmla="*/ 41670 w 1675360"/>
              <a:gd name="connsiteY713" fmla="*/ 417160 h 1249190"/>
              <a:gd name="connsiteX714" fmla="*/ 70245 w 1675360"/>
              <a:gd name="connsiteY714" fmla="*/ 426762 h 1249190"/>
              <a:gd name="connsiteX715" fmla="*/ 90028 w 1675360"/>
              <a:gd name="connsiteY715" fmla="*/ 429249 h 1249190"/>
              <a:gd name="connsiteX716" fmla="*/ 100440 w 1675360"/>
              <a:gd name="connsiteY716" fmla="*/ 434629 h 1249190"/>
              <a:gd name="connsiteX717" fmla="*/ 96391 w 1675360"/>
              <a:gd name="connsiteY717" fmla="*/ 444057 h 1249190"/>
              <a:gd name="connsiteX718" fmla="*/ 91763 w 1675360"/>
              <a:gd name="connsiteY718" fmla="*/ 452271 h 1249190"/>
              <a:gd name="connsiteX719" fmla="*/ 103332 w 1675360"/>
              <a:gd name="connsiteY719" fmla="*/ 460832 h 1249190"/>
              <a:gd name="connsiteX720" fmla="*/ 123462 w 1675360"/>
              <a:gd name="connsiteY720" fmla="*/ 468930 h 1249190"/>
              <a:gd name="connsiteX721" fmla="*/ 163432 w 1675360"/>
              <a:gd name="connsiteY721" fmla="*/ 480499 h 1249190"/>
              <a:gd name="connsiteX722" fmla="*/ 168407 w 1675360"/>
              <a:gd name="connsiteY722" fmla="*/ 479284 h 1249190"/>
              <a:gd name="connsiteX723" fmla="*/ 166498 w 1675360"/>
              <a:gd name="connsiteY723" fmla="*/ 475872 h 1249190"/>
              <a:gd name="connsiteX724" fmla="*/ 164184 w 1675360"/>
              <a:gd name="connsiteY724" fmla="*/ 469104 h 1249190"/>
              <a:gd name="connsiteX725" fmla="*/ 175753 w 1675360"/>
              <a:gd name="connsiteY725" fmla="*/ 465055 h 1249190"/>
              <a:gd name="connsiteX726" fmla="*/ 195767 w 1675360"/>
              <a:gd name="connsiteY726" fmla="*/ 471128 h 1249190"/>
              <a:gd name="connsiteX727" fmla="*/ 208319 w 1675360"/>
              <a:gd name="connsiteY727" fmla="*/ 469046 h 1249190"/>
              <a:gd name="connsiteX728" fmla="*/ 226425 w 1675360"/>
              <a:gd name="connsiteY728" fmla="*/ 463666 h 1249190"/>
              <a:gd name="connsiteX729" fmla="*/ 231515 w 1675360"/>
              <a:gd name="connsiteY729" fmla="*/ 464303 h 1249190"/>
              <a:gd name="connsiteX730" fmla="*/ 235564 w 1675360"/>
              <a:gd name="connsiteY730" fmla="*/ 464823 h 1249190"/>
              <a:gd name="connsiteX731" fmla="*/ 247943 w 1675360"/>
              <a:gd name="connsiteY731" fmla="*/ 459964 h 1249190"/>
              <a:gd name="connsiteX732" fmla="*/ 258239 w 1675360"/>
              <a:gd name="connsiteY732" fmla="*/ 455684 h 1249190"/>
              <a:gd name="connsiteX733" fmla="*/ 264949 w 1675360"/>
              <a:gd name="connsiteY733" fmla="*/ 457940 h 1249190"/>
              <a:gd name="connsiteX734" fmla="*/ 303705 w 1675360"/>
              <a:gd name="connsiteY734" fmla="*/ 468178 h 1249190"/>
              <a:gd name="connsiteX735" fmla="*/ 352930 w 1675360"/>
              <a:gd name="connsiteY735" fmla="*/ 481309 h 1249190"/>
              <a:gd name="connsiteX736" fmla="*/ 371961 w 1675360"/>
              <a:gd name="connsiteY736" fmla="*/ 489407 h 1249190"/>
              <a:gd name="connsiteX737" fmla="*/ 397123 w 1675360"/>
              <a:gd name="connsiteY737" fmla="*/ 510752 h 1249190"/>
              <a:gd name="connsiteX738" fmla="*/ 434433 w 1675360"/>
              <a:gd name="connsiteY738" fmla="*/ 545921 h 1249190"/>
              <a:gd name="connsiteX739" fmla="*/ 460116 w 1675360"/>
              <a:gd name="connsiteY739" fmla="*/ 591445 h 1249190"/>
              <a:gd name="connsiteX740" fmla="*/ 472090 w 1675360"/>
              <a:gd name="connsiteY740" fmla="*/ 609492 h 1249190"/>
              <a:gd name="connsiteX741" fmla="*/ 479320 w 1675360"/>
              <a:gd name="connsiteY741" fmla="*/ 621871 h 1249190"/>
              <a:gd name="connsiteX742" fmla="*/ 492855 w 1675360"/>
              <a:gd name="connsiteY742" fmla="*/ 648653 h 1249190"/>
              <a:gd name="connsiteX743" fmla="*/ 496673 w 1675360"/>
              <a:gd name="connsiteY743" fmla="*/ 655825 h 1249190"/>
              <a:gd name="connsiteX744" fmla="*/ 486666 w 1675360"/>
              <a:gd name="connsiteY744" fmla="*/ 669187 h 1249190"/>
              <a:gd name="connsiteX745" fmla="*/ 479262 w 1675360"/>
              <a:gd name="connsiteY745" fmla="*/ 682781 h 1249190"/>
              <a:gd name="connsiteX746" fmla="*/ 480477 w 1675360"/>
              <a:gd name="connsiteY746" fmla="*/ 700134 h 1249190"/>
              <a:gd name="connsiteX747" fmla="*/ 480824 w 1675360"/>
              <a:gd name="connsiteY747" fmla="*/ 714364 h 1249190"/>
              <a:gd name="connsiteX748" fmla="*/ 491467 w 1675360"/>
              <a:gd name="connsiteY748" fmla="*/ 719396 h 1249190"/>
              <a:gd name="connsiteX749" fmla="*/ 497252 w 1675360"/>
              <a:gd name="connsiteY749" fmla="*/ 719917 h 1249190"/>
              <a:gd name="connsiteX750" fmla="*/ 514605 w 1675360"/>
              <a:gd name="connsiteY750" fmla="*/ 710835 h 1249190"/>
              <a:gd name="connsiteX751" fmla="*/ 531958 w 1675360"/>
              <a:gd name="connsiteY751" fmla="*/ 701638 h 1249190"/>
              <a:gd name="connsiteX752" fmla="*/ 540693 w 1675360"/>
              <a:gd name="connsiteY752" fmla="*/ 704415 h 1249190"/>
              <a:gd name="connsiteX753" fmla="*/ 540693 w 1675360"/>
              <a:gd name="connsiteY753" fmla="*/ 714479 h 1249190"/>
              <a:gd name="connsiteX754" fmla="*/ 542312 w 1675360"/>
              <a:gd name="connsiteY754" fmla="*/ 729403 h 1249190"/>
              <a:gd name="connsiteX755" fmla="*/ 561690 w 1675360"/>
              <a:gd name="connsiteY755" fmla="*/ 738427 h 1249190"/>
              <a:gd name="connsiteX756" fmla="*/ 594719 w 1675360"/>
              <a:gd name="connsiteY756" fmla="*/ 754392 h 1249190"/>
              <a:gd name="connsiteX757" fmla="*/ 605016 w 1675360"/>
              <a:gd name="connsiteY757" fmla="*/ 771340 h 1249190"/>
              <a:gd name="connsiteX758" fmla="*/ 599231 w 1675360"/>
              <a:gd name="connsiteY758" fmla="*/ 774695 h 1249190"/>
              <a:gd name="connsiteX759" fmla="*/ 582225 w 1675360"/>
              <a:gd name="connsiteY759" fmla="*/ 767465 h 1249190"/>
              <a:gd name="connsiteX760" fmla="*/ 536412 w 1675360"/>
              <a:gd name="connsiteY760" fmla="*/ 757920 h 1249190"/>
              <a:gd name="connsiteX761" fmla="*/ 511424 w 1675360"/>
              <a:gd name="connsiteY761" fmla="*/ 760986 h 1249190"/>
              <a:gd name="connsiteX762" fmla="*/ 580432 w 1675360"/>
              <a:gd name="connsiteY762" fmla="*/ 794189 h 1249190"/>
              <a:gd name="connsiteX763" fmla="*/ 583382 w 1675360"/>
              <a:gd name="connsiteY763" fmla="*/ 793784 h 1249190"/>
              <a:gd name="connsiteX764" fmla="*/ 587373 w 1675360"/>
              <a:gd name="connsiteY764" fmla="*/ 793090 h 1249190"/>
              <a:gd name="connsiteX765" fmla="*/ 609528 w 1675360"/>
              <a:gd name="connsiteY765" fmla="*/ 811137 h 1249190"/>
              <a:gd name="connsiteX766" fmla="*/ 608776 w 1675360"/>
              <a:gd name="connsiteY766" fmla="*/ 823921 h 1249190"/>
              <a:gd name="connsiteX767" fmla="*/ 603801 w 1675360"/>
              <a:gd name="connsiteY767" fmla="*/ 849430 h 1249190"/>
              <a:gd name="connsiteX768" fmla="*/ 603396 w 1675360"/>
              <a:gd name="connsiteY768" fmla="*/ 861288 h 1249190"/>
              <a:gd name="connsiteX769" fmla="*/ 595124 w 1675360"/>
              <a:gd name="connsiteY769" fmla="*/ 866552 h 1249190"/>
              <a:gd name="connsiteX770" fmla="*/ 584018 w 1675360"/>
              <a:gd name="connsiteY770" fmla="*/ 865222 h 1249190"/>
              <a:gd name="connsiteX771" fmla="*/ 570830 w 1675360"/>
              <a:gd name="connsiteY771" fmla="*/ 863660 h 1249190"/>
              <a:gd name="connsiteX772" fmla="*/ 567706 w 1675360"/>
              <a:gd name="connsiteY772" fmla="*/ 863660 h 1249190"/>
              <a:gd name="connsiteX773" fmla="*/ 546882 w 1675360"/>
              <a:gd name="connsiteY773" fmla="*/ 881881 h 1249190"/>
              <a:gd name="connsiteX774" fmla="*/ 536354 w 1675360"/>
              <a:gd name="connsiteY774" fmla="*/ 901490 h 1249190"/>
              <a:gd name="connsiteX775" fmla="*/ 524265 w 1675360"/>
              <a:gd name="connsiteY775" fmla="*/ 922430 h 1249190"/>
              <a:gd name="connsiteX776" fmla="*/ 539247 w 1675360"/>
              <a:gd name="connsiteY776" fmla="*/ 939783 h 1249190"/>
              <a:gd name="connsiteX777" fmla="*/ 550411 w 1675360"/>
              <a:gd name="connsiteY777" fmla="*/ 945047 h 1249190"/>
              <a:gd name="connsiteX778" fmla="*/ 553129 w 1675360"/>
              <a:gd name="connsiteY778" fmla="*/ 949212 h 1249190"/>
              <a:gd name="connsiteX779" fmla="*/ 543585 w 1675360"/>
              <a:gd name="connsiteY779" fmla="*/ 957715 h 1249190"/>
              <a:gd name="connsiteX780" fmla="*/ 529934 w 1675360"/>
              <a:gd name="connsiteY780" fmla="*/ 970325 h 1249190"/>
              <a:gd name="connsiteX781" fmla="*/ 567301 w 1675360"/>
              <a:gd name="connsiteY781" fmla="*/ 1008733 h 1249190"/>
              <a:gd name="connsiteX782" fmla="*/ 572333 w 1675360"/>
              <a:gd name="connsiteY782" fmla="*/ 1035573 h 1249190"/>
              <a:gd name="connsiteX783" fmla="*/ 572681 w 1675360"/>
              <a:gd name="connsiteY783" fmla="*/ 1056281 h 1249190"/>
              <a:gd name="connsiteX784" fmla="*/ 578465 w 1675360"/>
              <a:gd name="connsiteY784" fmla="*/ 1061430 h 1249190"/>
              <a:gd name="connsiteX785" fmla="*/ 580779 w 1675360"/>
              <a:gd name="connsiteY785" fmla="*/ 1061430 h 1249190"/>
              <a:gd name="connsiteX786" fmla="*/ 583035 w 1675360"/>
              <a:gd name="connsiteY786" fmla="*/ 1061430 h 1249190"/>
              <a:gd name="connsiteX787" fmla="*/ 587142 w 1675360"/>
              <a:gd name="connsiteY787" fmla="*/ 1062933 h 1249190"/>
              <a:gd name="connsiteX788" fmla="*/ 588588 w 1675360"/>
              <a:gd name="connsiteY788" fmla="*/ 1071494 h 1249190"/>
              <a:gd name="connsiteX789" fmla="*/ 595992 w 1675360"/>
              <a:gd name="connsiteY789" fmla="*/ 1088848 h 1249190"/>
              <a:gd name="connsiteX790" fmla="*/ 602355 w 1675360"/>
              <a:gd name="connsiteY790" fmla="*/ 1098970 h 1249190"/>
              <a:gd name="connsiteX791" fmla="*/ 612130 w 1675360"/>
              <a:gd name="connsiteY791" fmla="*/ 1107242 h 1249190"/>
              <a:gd name="connsiteX792" fmla="*/ 623294 w 1675360"/>
              <a:gd name="connsiteY792" fmla="*/ 1122860 h 1249190"/>
              <a:gd name="connsiteX793" fmla="*/ 632434 w 1675360"/>
              <a:gd name="connsiteY793" fmla="*/ 1150278 h 1249190"/>
              <a:gd name="connsiteX794" fmla="*/ 636078 w 1675360"/>
              <a:gd name="connsiteY794" fmla="*/ 1154906 h 1249190"/>
              <a:gd name="connsiteX795" fmla="*/ 647994 w 1675360"/>
              <a:gd name="connsiteY795" fmla="*/ 1166475 h 1249190"/>
              <a:gd name="connsiteX796" fmla="*/ 666851 w 1675360"/>
              <a:gd name="connsiteY796" fmla="*/ 1187356 h 1249190"/>
              <a:gd name="connsiteX797" fmla="*/ 691319 w 1675360"/>
              <a:gd name="connsiteY797" fmla="*/ 1207544 h 1249190"/>
              <a:gd name="connsiteX798" fmla="*/ 696178 w 1675360"/>
              <a:gd name="connsiteY798" fmla="*/ 1206850 h 1249190"/>
              <a:gd name="connsiteX799" fmla="*/ 701500 w 1675360"/>
              <a:gd name="connsiteY799" fmla="*/ 1206040 h 1249190"/>
              <a:gd name="connsiteX800" fmla="*/ 712722 w 1675360"/>
              <a:gd name="connsiteY800" fmla="*/ 1210957 h 1249190"/>
              <a:gd name="connsiteX801" fmla="*/ 723018 w 1675360"/>
              <a:gd name="connsiteY801" fmla="*/ 1214890 h 1249190"/>
              <a:gd name="connsiteX802" fmla="*/ 726778 w 1675360"/>
              <a:gd name="connsiteY802" fmla="*/ 1213965 h 1249190"/>
              <a:gd name="connsiteX803" fmla="*/ 541676 w 1675360"/>
              <a:gd name="connsiteY803" fmla="*/ 835779 h 1249190"/>
              <a:gd name="connsiteX804" fmla="*/ 541676 w 1675360"/>
              <a:gd name="connsiteY804" fmla="*/ 835779 h 1249190"/>
              <a:gd name="connsiteX805" fmla="*/ 524323 w 1675360"/>
              <a:gd name="connsiteY805" fmla="*/ 830457 h 1249190"/>
              <a:gd name="connsiteX806" fmla="*/ 509457 w 1675360"/>
              <a:gd name="connsiteY806" fmla="*/ 821896 h 1249190"/>
              <a:gd name="connsiteX807" fmla="*/ 494417 w 1675360"/>
              <a:gd name="connsiteY807" fmla="*/ 812641 h 1249190"/>
              <a:gd name="connsiteX808" fmla="*/ 495516 w 1675360"/>
              <a:gd name="connsiteY808" fmla="*/ 791991 h 1249190"/>
              <a:gd name="connsiteX809" fmla="*/ 498235 w 1675360"/>
              <a:gd name="connsiteY809" fmla="*/ 788115 h 1249190"/>
              <a:gd name="connsiteX810" fmla="*/ 514779 w 1675360"/>
              <a:gd name="connsiteY810" fmla="*/ 781058 h 1249190"/>
              <a:gd name="connsiteX811" fmla="*/ 553592 w 1675360"/>
              <a:gd name="connsiteY811" fmla="*/ 797602 h 1249190"/>
              <a:gd name="connsiteX812" fmla="*/ 567012 w 1675360"/>
              <a:gd name="connsiteY812" fmla="*/ 808071 h 1249190"/>
              <a:gd name="connsiteX813" fmla="*/ 575515 w 1675360"/>
              <a:gd name="connsiteY813" fmla="*/ 818426 h 1249190"/>
              <a:gd name="connsiteX814" fmla="*/ 541676 w 1675360"/>
              <a:gd name="connsiteY814" fmla="*/ 835432 h 1249190"/>
              <a:gd name="connsiteX815" fmla="*/ 514894 w 1675360"/>
              <a:gd name="connsiteY815" fmla="*/ 783314 h 1249190"/>
              <a:gd name="connsiteX816" fmla="*/ 500491 w 1675360"/>
              <a:gd name="connsiteY816" fmla="*/ 788809 h 1249190"/>
              <a:gd name="connsiteX817" fmla="*/ 497367 w 1675360"/>
              <a:gd name="connsiteY817" fmla="*/ 793437 h 1249190"/>
              <a:gd name="connsiteX818" fmla="*/ 496153 w 1675360"/>
              <a:gd name="connsiteY818" fmla="*/ 811137 h 1249190"/>
              <a:gd name="connsiteX819" fmla="*/ 510325 w 1675360"/>
              <a:gd name="connsiteY819" fmla="*/ 819814 h 1249190"/>
              <a:gd name="connsiteX820" fmla="*/ 526000 w 1675360"/>
              <a:gd name="connsiteY820" fmla="*/ 828837 h 1249190"/>
              <a:gd name="connsiteX821" fmla="*/ 541676 w 1675360"/>
              <a:gd name="connsiteY821" fmla="*/ 833523 h 1249190"/>
              <a:gd name="connsiteX822" fmla="*/ 573375 w 1675360"/>
              <a:gd name="connsiteY822" fmla="*/ 818252 h 1249190"/>
              <a:gd name="connsiteX823" fmla="*/ 566434 w 1675360"/>
              <a:gd name="connsiteY823" fmla="*/ 810212 h 1249190"/>
              <a:gd name="connsiteX824" fmla="*/ 551683 w 1675360"/>
              <a:gd name="connsiteY824" fmla="*/ 798643 h 1249190"/>
              <a:gd name="connsiteX825" fmla="*/ 514894 w 1675360"/>
              <a:gd name="connsiteY825" fmla="*/ 782967 h 124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Lst>
            <a:rect l="l" t="t" r="r" b="b"/>
            <a:pathLst>
              <a:path w="1675360" h="1249190">
                <a:moveTo>
                  <a:pt x="804289" y="1249019"/>
                </a:moveTo>
                <a:cubicBezTo>
                  <a:pt x="803826" y="1249076"/>
                  <a:pt x="803364" y="1249076"/>
                  <a:pt x="802901" y="1249019"/>
                </a:cubicBezTo>
                <a:cubicBezTo>
                  <a:pt x="802438" y="1249019"/>
                  <a:pt x="758361" y="1240747"/>
                  <a:pt x="754370" y="1229699"/>
                </a:cubicBezTo>
                <a:cubicBezTo>
                  <a:pt x="751362" y="1221369"/>
                  <a:pt x="733661" y="1215237"/>
                  <a:pt x="723249" y="1216741"/>
                </a:cubicBezTo>
                <a:cubicBezTo>
                  <a:pt x="718778" y="1217216"/>
                  <a:pt x="714347" y="1215567"/>
                  <a:pt x="711276" y="1212287"/>
                </a:cubicBezTo>
                <a:cubicBezTo>
                  <a:pt x="708667" y="1209638"/>
                  <a:pt x="705156" y="1208070"/>
                  <a:pt x="701442" y="1207891"/>
                </a:cubicBezTo>
                <a:cubicBezTo>
                  <a:pt x="699857" y="1207914"/>
                  <a:pt x="698278" y="1208146"/>
                  <a:pt x="696757" y="1208585"/>
                </a:cubicBezTo>
                <a:cubicBezTo>
                  <a:pt x="694877" y="1209129"/>
                  <a:pt x="692927" y="1209407"/>
                  <a:pt x="690972" y="1209395"/>
                </a:cubicBezTo>
                <a:cubicBezTo>
                  <a:pt x="677610" y="1209395"/>
                  <a:pt x="667834" y="1196438"/>
                  <a:pt x="664422" y="1187761"/>
                </a:cubicBezTo>
                <a:cubicBezTo>
                  <a:pt x="662108" y="1181977"/>
                  <a:pt x="653663" y="1174284"/>
                  <a:pt x="646201" y="1167747"/>
                </a:cubicBezTo>
                <a:cubicBezTo>
                  <a:pt x="641677" y="1164161"/>
                  <a:pt x="637547" y="1160112"/>
                  <a:pt x="633880" y="1155658"/>
                </a:cubicBezTo>
                <a:cubicBezTo>
                  <a:pt x="632839" y="1154212"/>
                  <a:pt x="631624" y="1152708"/>
                  <a:pt x="630351" y="1151088"/>
                </a:cubicBezTo>
                <a:cubicBezTo>
                  <a:pt x="624220" y="1143511"/>
                  <a:pt x="616642" y="1134082"/>
                  <a:pt x="620807" y="1121530"/>
                </a:cubicBezTo>
                <a:cubicBezTo>
                  <a:pt x="623005" y="1114820"/>
                  <a:pt x="618551" y="1112217"/>
                  <a:pt x="610858" y="1108688"/>
                </a:cubicBezTo>
                <a:cubicBezTo>
                  <a:pt x="605594" y="1106317"/>
                  <a:pt x="600157" y="1103829"/>
                  <a:pt x="599752" y="1098565"/>
                </a:cubicBezTo>
                <a:cubicBezTo>
                  <a:pt x="599139" y="1095002"/>
                  <a:pt x="597033" y="1091867"/>
                  <a:pt x="593968" y="1089947"/>
                </a:cubicBezTo>
                <a:cubicBezTo>
                  <a:pt x="587871" y="1085655"/>
                  <a:pt x="584712" y="1078291"/>
                  <a:pt x="585811" y="1070916"/>
                </a:cubicBezTo>
                <a:cubicBezTo>
                  <a:pt x="586158" y="1067330"/>
                  <a:pt x="585811" y="1065131"/>
                  <a:pt x="584944" y="1064032"/>
                </a:cubicBezTo>
                <a:cubicBezTo>
                  <a:pt x="584278" y="1063442"/>
                  <a:pt x="583394" y="1063165"/>
                  <a:pt x="582514" y="1063281"/>
                </a:cubicBezTo>
                <a:lnTo>
                  <a:pt x="580490" y="1063281"/>
                </a:lnTo>
                <a:cubicBezTo>
                  <a:pt x="579645" y="1063338"/>
                  <a:pt x="578789" y="1063338"/>
                  <a:pt x="577945" y="1063281"/>
                </a:cubicBezTo>
                <a:cubicBezTo>
                  <a:pt x="573866" y="1063500"/>
                  <a:pt x="570297" y="1060562"/>
                  <a:pt x="569731" y="1056513"/>
                </a:cubicBezTo>
                <a:cubicBezTo>
                  <a:pt x="568366" y="1049398"/>
                  <a:pt x="568209" y="1042104"/>
                  <a:pt x="569268" y="1034937"/>
                </a:cubicBezTo>
                <a:cubicBezTo>
                  <a:pt x="570135" y="1024351"/>
                  <a:pt x="571003" y="1013361"/>
                  <a:pt x="565450" y="1010353"/>
                </a:cubicBezTo>
                <a:cubicBezTo>
                  <a:pt x="555559" y="1005031"/>
                  <a:pt x="524959" y="982703"/>
                  <a:pt x="526868" y="969862"/>
                </a:cubicBezTo>
                <a:cubicBezTo>
                  <a:pt x="527736" y="963499"/>
                  <a:pt x="535140" y="959276"/>
                  <a:pt x="541676" y="955574"/>
                </a:cubicBezTo>
                <a:cubicBezTo>
                  <a:pt x="545783" y="953203"/>
                  <a:pt x="550006" y="950831"/>
                  <a:pt x="550064" y="948922"/>
                </a:cubicBezTo>
                <a:cubicBezTo>
                  <a:pt x="550064" y="948286"/>
                  <a:pt x="549543" y="947534"/>
                  <a:pt x="548328" y="946724"/>
                </a:cubicBezTo>
                <a:cubicBezTo>
                  <a:pt x="544997" y="944642"/>
                  <a:pt x="541422" y="942970"/>
                  <a:pt x="537685" y="941750"/>
                </a:cubicBezTo>
                <a:cubicBezTo>
                  <a:pt x="528719" y="938395"/>
                  <a:pt x="519406" y="934924"/>
                  <a:pt x="521199" y="922198"/>
                </a:cubicBezTo>
                <a:cubicBezTo>
                  <a:pt x="523189" y="913770"/>
                  <a:pt x="527568" y="906100"/>
                  <a:pt x="533809" y="900102"/>
                </a:cubicBezTo>
                <a:cubicBezTo>
                  <a:pt x="538958" y="894317"/>
                  <a:pt x="543816" y="888533"/>
                  <a:pt x="543816" y="881939"/>
                </a:cubicBezTo>
                <a:cubicBezTo>
                  <a:pt x="543816" y="866436"/>
                  <a:pt x="554807" y="862966"/>
                  <a:pt x="566607" y="861462"/>
                </a:cubicBezTo>
                <a:cubicBezTo>
                  <a:pt x="567747" y="861398"/>
                  <a:pt x="568880" y="861398"/>
                  <a:pt x="570020" y="861462"/>
                </a:cubicBezTo>
                <a:cubicBezTo>
                  <a:pt x="574567" y="861624"/>
                  <a:pt x="579090" y="862144"/>
                  <a:pt x="583555" y="863023"/>
                </a:cubicBezTo>
                <a:cubicBezTo>
                  <a:pt x="587101" y="863752"/>
                  <a:pt x="590699" y="864192"/>
                  <a:pt x="594315" y="864354"/>
                </a:cubicBezTo>
                <a:cubicBezTo>
                  <a:pt x="599173" y="864354"/>
                  <a:pt x="600099" y="862676"/>
                  <a:pt x="600099" y="860941"/>
                </a:cubicBezTo>
                <a:cubicBezTo>
                  <a:pt x="600504" y="857100"/>
                  <a:pt x="600619" y="853230"/>
                  <a:pt x="600446" y="849372"/>
                </a:cubicBezTo>
                <a:cubicBezTo>
                  <a:pt x="600446" y="839423"/>
                  <a:pt x="600446" y="828143"/>
                  <a:pt x="606230" y="822243"/>
                </a:cubicBezTo>
                <a:cubicBezTo>
                  <a:pt x="608313" y="820219"/>
                  <a:pt x="608371" y="816459"/>
                  <a:pt x="606520" y="811947"/>
                </a:cubicBezTo>
                <a:cubicBezTo>
                  <a:pt x="603222" y="803907"/>
                  <a:pt x="594372" y="795288"/>
                  <a:pt x="586447" y="795288"/>
                </a:cubicBezTo>
                <a:cubicBezTo>
                  <a:pt x="585343" y="795276"/>
                  <a:pt x="584244" y="795473"/>
                  <a:pt x="583208" y="795866"/>
                </a:cubicBezTo>
                <a:cubicBezTo>
                  <a:pt x="582011" y="796236"/>
                  <a:pt x="580762" y="796416"/>
                  <a:pt x="579506" y="796387"/>
                </a:cubicBezTo>
                <a:cubicBezTo>
                  <a:pt x="562905" y="796387"/>
                  <a:pt x="508184" y="767118"/>
                  <a:pt x="508184" y="760870"/>
                </a:cubicBezTo>
                <a:cubicBezTo>
                  <a:pt x="508184" y="755722"/>
                  <a:pt x="532710" y="755549"/>
                  <a:pt x="535487" y="755549"/>
                </a:cubicBezTo>
                <a:cubicBezTo>
                  <a:pt x="543354" y="755549"/>
                  <a:pt x="570193" y="756301"/>
                  <a:pt x="582630" y="765614"/>
                </a:cubicBezTo>
                <a:cubicBezTo>
                  <a:pt x="587084" y="769350"/>
                  <a:pt x="592533" y="771705"/>
                  <a:pt x="598306" y="772382"/>
                </a:cubicBezTo>
                <a:cubicBezTo>
                  <a:pt x="599520" y="772382"/>
                  <a:pt x="601603" y="772092"/>
                  <a:pt x="602239" y="770473"/>
                </a:cubicBezTo>
                <a:cubicBezTo>
                  <a:pt x="602875" y="768853"/>
                  <a:pt x="600966" y="763126"/>
                  <a:pt x="592579" y="756069"/>
                </a:cubicBezTo>
                <a:cubicBezTo>
                  <a:pt x="583081" y="748625"/>
                  <a:pt x="572097" y="743320"/>
                  <a:pt x="560360" y="740509"/>
                </a:cubicBezTo>
                <a:cubicBezTo>
                  <a:pt x="552898" y="739023"/>
                  <a:pt x="545910" y="735749"/>
                  <a:pt x="539999" y="730965"/>
                </a:cubicBezTo>
                <a:cubicBezTo>
                  <a:pt x="534793" y="725759"/>
                  <a:pt x="536470" y="719396"/>
                  <a:pt x="537801" y="713612"/>
                </a:cubicBezTo>
                <a:cubicBezTo>
                  <a:pt x="538668" y="710141"/>
                  <a:pt x="539420" y="707133"/>
                  <a:pt x="538148" y="705456"/>
                </a:cubicBezTo>
                <a:cubicBezTo>
                  <a:pt x="536875" y="703778"/>
                  <a:pt x="534793" y="703547"/>
                  <a:pt x="531148" y="703547"/>
                </a:cubicBezTo>
                <a:cubicBezTo>
                  <a:pt x="524774" y="703599"/>
                  <a:pt x="518827" y="706780"/>
                  <a:pt x="515241" y="712050"/>
                </a:cubicBezTo>
                <a:cubicBezTo>
                  <a:pt x="510776" y="718262"/>
                  <a:pt x="503568" y="721907"/>
                  <a:pt x="495921" y="721826"/>
                </a:cubicBezTo>
                <a:cubicBezTo>
                  <a:pt x="493845" y="721814"/>
                  <a:pt x="491780" y="721641"/>
                  <a:pt x="489732" y="721305"/>
                </a:cubicBezTo>
                <a:cubicBezTo>
                  <a:pt x="485047" y="721103"/>
                  <a:pt x="480645" y="719020"/>
                  <a:pt x="477527" y="715521"/>
                </a:cubicBezTo>
                <a:cubicBezTo>
                  <a:pt x="475213" y="710494"/>
                  <a:pt x="474982" y="704750"/>
                  <a:pt x="476890" y="699556"/>
                </a:cubicBezTo>
                <a:cubicBezTo>
                  <a:pt x="478105" y="693771"/>
                  <a:pt x="479262" y="687987"/>
                  <a:pt x="476081" y="683995"/>
                </a:cubicBezTo>
                <a:cubicBezTo>
                  <a:pt x="471338" y="677864"/>
                  <a:pt x="477989" y="672427"/>
                  <a:pt x="483832" y="667278"/>
                </a:cubicBezTo>
                <a:cubicBezTo>
                  <a:pt x="488344" y="663461"/>
                  <a:pt x="492971" y="659527"/>
                  <a:pt x="493029" y="655710"/>
                </a:cubicBezTo>
                <a:cubicBezTo>
                  <a:pt x="492861" y="653517"/>
                  <a:pt x="491739" y="651510"/>
                  <a:pt x="489963" y="650214"/>
                </a:cubicBezTo>
                <a:cubicBezTo>
                  <a:pt x="475907" y="637778"/>
                  <a:pt x="471338" y="628060"/>
                  <a:pt x="476023" y="620540"/>
                </a:cubicBezTo>
                <a:cubicBezTo>
                  <a:pt x="477353" y="618400"/>
                  <a:pt x="473420" y="614756"/>
                  <a:pt x="469197" y="611054"/>
                </a:cubicBezTo>
                <a:cubicBezTo>
                  <a:pt x="463413" y="605790"/>
                  <a:pt x="456009" y="599485"/>
                  <a:pt x="456472" y="591213"/>
                </a:cubicBezTo>
                <a:cubicBezTo>
                  <a:pt x="456934" y="582942"/>
                  <a:pt x="456472" y="558705"/>
                  <a:pt x="432119" y="547830"/>
                </a:cubicBezTo>
                <a:cubicBezTo>
                  <a:pt x="411526" y="538691"/>
                  <a:pt x="390818" y="527064"/>
                  <a:pt x="393479" y="510289"/>
                </a:cubicBezTo>
                <a:cubicBezTo>
                  <a:pt x="395041" y="500687"/>
                  <a:pt x="383356" y="496349"/>
                  <a:pt x="369821" y="491374"/>
                </a:cubicBezTo>
                <a:cubicBezTo>
                  <a:pt x="363174" y="489124"/>
                  <a:pt x="356696" y="486399"/>
                  <a:pt x="350443" y="483218"/>
                </a:cubicBezTo>
                <a:cubicBezTo>
                  <a:pt x="340552" y="477838"/>
                  <a:pt x="320017" y="473847"/>
                  <a:pt x="301911" y="470319"/>
                </a:cubicBezTo>
                <a:cubicBezTo>
                  <a:pt x="283806" y="466790"/>
                  <a:pt x="268304" y="463724"/>
                  <a:pt x="262288" y="459733"/>
                </a:cubicBezTo>
                <a:cubicBezTo>
                  <a:pt x="260709" y="458570"/>
                  <a:pt x="258812" y="457923"/>
                  <a:pt x="256851" y="457882"/>
                </a:cubicBezTo>
                <a:cubicBezTo>
                  <a:pt x="253519" y="458287"/>
                  <a:pt x="250367" y="459635"/>
                  <a:pt x="247769" y="461758"/>
                </a:cubicBezTo>
                <a:cubicBezTo>
                  <a:pt x="243865" y="464818"/>
                  <a:pt x="239127" y="466628"/>
                  <a:pt x="234176" y="466964"/>
                </a:cubicBezTo>
                <a:cubicBezTo>
                  <a:pt x="232608" y="466975"/>
                  <a:pt x="231052" y="466761"/>
                  <a:pt x="229549" y="466327"/>
                </a:cubicBezTo>
                <a:cubicBezTo>
                  <a:pt x="228067" y="465974"/>
                  <a:pt x="226558" y="465801"/>
                  <a:pt x="225037" y="465807"/>
                </a:cubicBezTo>
                <a:cubicBezTo>
                  <a:pt x="218940" y="466235"/>
                  <a:pt x="213011" y="468016"/>
                  <a:pt x="207683" y="471013"/>
                </a:cubicBezTo>
                <a:cubicBezTo>
                  <a:pt x="204403" y="472893"/>
                  <a:pt x="200788" y="474113"/>
                  <a:pt x="197040" y="474599"/>
                </a:cubicBezTo>
                <a:cubicBezTo>
                  <a:pt x="195218" y="474645"/>
                  <a:pt x="193482" y="473830"/>
                  <a:pt x="192354" y="472401"/>
                </a:cubicBezTo>
                <a:cubicBezTo>
                  <a:pt x="187085" y="468572"/>
                  <a:pt x="180629" y="466732"/>
                  <a:pt x="174134" y="467195"/>
                </a:cubicBezTo>
                <a:cubicBezTo>
                  <a:pt x="169159" y="467195"/>
                  <a:pt x="165457" y="468236"/>
                  <a:pt x="164705" y="469856"/>
                </a:cubicBezTo>
                <a:cubicBezTo>
                  <a:pt x="163953" y="471476"/>
                  <a:pt x="165457" y="472922"/>
                  <a:pt x="166614" y="474194"/>
                </a:cubicBezTo>
                <a:cubicBezTo>
                  <a:pt x="168812" y="476566"/>
                  <a:pt x="169564" y="478475"/>
                  <a:pt x="168870" y="479979"/>
                </a:cubicBezTo>
                <a:cubicBezTo>
                  <a:pt x="168175" y="481483"/>
                  <a:pt x="165804" y="482582"/>
                  <a:pt x="161871" y="482582"/>
                </a:cubicBezTo>
                <a:cubicBezTo>
                  <a:pt x="147583" y="481390"/>
                  <a:pt x="133660" y="477462"/>
                  <a:pt x="120859" y="471013"/>
                </a:cubicBezTo>
                <a:cubicBezTo>
                  <a:pt x="114461" y="467906"/>
                  <a:pt x="107850" y="465257"/>
                  <a:pt x="101076" y="463088"/>
                </a:cubicBezTo>
                <a:cubicBezTo>
                  <a:pt x="92515" y="460254"/>
                  <a:pt x="87367" y="458576"/>
                  <a:pt x="87945" y="452156"/>
                </a:cubicBezTo>
                <a:cubicBezTo>
                  <a:pt x="88750" y="448610"/>
                  <a:pt x="90537" y="445365"/>
                  <a:pt x="93094" y="442785"/>
                </a:cubicBezTo>
                <a:cubicBezTo>
                  <a:pt x="95292" y="440008"/>
                  <a:pt x="97432" y="437347"/>
                  <a:pt x="96738" y="435554"/>
                </a:cubicBezTo>
                <a:cubicBezTo>
                  <a:pt x="96044" y="433761"/>
                  <a:pt x="94482" y="432835"/>
                  <a:pt x="88061" y="431563"/>
                </a:cubicBezTo>
                <a:cubicBezTo>
                  <a:pt x="81641" y="430290"/>
                  <a:pt x="74988" y="429712"/>
                  <a:pt x="68510" y="429133"/>
                </a:cubicBezTo>
                <a:cubicBezTo>
                  <a:pt x="53066" y="427687"/>
                  <a:pt x="39588" y="426473"/>
                  <a:pt x="37910" y="417565"/>
                </a:cubicBezTo>
                <a:cubicBezTo>
                  <a:pt x="37598" y="416361"/>
                  <a:pt x="37852" y="415083"/>
                  <a:pt x="38604" y="414094"/>
                </a:cubicBezTo>
                <a:cubicBezTo>
                  <a:pt x="41670" y="410218"/>
                  <a:pt x="52719" y="409813"/>
                  <a:pt x="66717" y="409351"/>
                </a:cubicBezTo>
                <a:cubicBezTo>
                  <a:pt x="80715" y="408888"/>
                  <a:pt x="97490" y="408367"/>
                  <a:pt x="105415" y="403566"/>
                </a:cubicBezTo>
                <a:cubicBezTo>
                  <a:pt x="110661" y="400958"/>
                  <a:pt x="116515" y="399795"/>
                  <a:pt x="122363" y="400211"/>
                </a:cubicBezTo>
                <a:cubicBezTo>
                  <a:pt x="130646" y="400431"/>
                  <a:pt x="138912" y="401108"/>
                  <a:pt x="147120" y="402236"/>
                </a:cubicBezTo>
                <a:cubicBezTo>
                  <a:pt x="153871" y="403208"/>
                  <a:pt x="160667" y="403809"/>
                  <a:pt x="167481" y="404029"/>
                </a:cubicBezTo>
                <a:cubicBezTo>
                  <a:pt x="177026" y="404029"/>
                  <a:pt x="178298" y="401484"/>
                  <a:pt x="178356" y="399575"/>
                </a:cubicBezTo>
                <a:cubicBezTo>
                  <a:pt x="178680" y="395277"/>
                  <a:pt x="177118" y="391055"/>
                  <a:pt x="174076" y="388006"/>
                </a:cubicBezTo>
                <a:cubicBezTo>
                  <a:pt x="166729" y="380197"/>
                  <a:pt x="152037" y="378578"/>
                  <a:pt x="137113" y="384420"/>
                </a:cubicBezTo>
                <a:cubicBezTo>
                  <a:pt x="125475" y="388747"/>
                  <a:pt x="113148" y="390939"/>
                  <a:pt x="100729" y="390898"/>
                </a:cubicBezTo>
                <a:cubicBezTo>
                  <a:pt x="82913" y="390898"/>
                  <a:pt x="68626" y="386329"/>
                  <a:pt x="61568" y="378404"/>
                </a:cubicBezTo>
                <a:cubicBezTo>
                  <a:pt x="52719" y="368455"/>
                  <a:pt x="41439" y="367876"/>
                  <a:pt x="30448" y="367298"/>
                </a:cubicBezTo>
                <a:cubicBezTo>
                  <a:pt x="25908" y="367171"/>
                  <a:pt x="21378" y="366685"/>
                  <a:pt x="16913" y="365852"/>
                </a:cubicBezTo>
                <a:cubicBezTo>
                  <a:pt x="6744" y="363966"/>
                  <a:pt x="-498" y="354902"/>
                  <a:pt x="-93" y="344565"/>
                </a:cubicBezTo>
                <a:cubicBezTo>
                  <a:pt x="-93" y="330451"/>
                  <a:pt x="31432" y="324088"/>
                  <a:pt x="61916" y="317957"/>
                </a:cubicBezTo>
                <a:cubicBezTo>
                  <a:pt x="82335" y="313850"/>
                  <a:pt x="103506" y="309569"/>
                  <a:pt x="104084" y="304074"/>
                </a:cubicBezTo>
                <a:cubicBezTo>
                  <a:pt x="105068" y="295397"/>
                  <a:pt x="123578" y="294935"/>
                  <a:pt x="145038" y="294356"/>
                </a:cubicBezTo>
                <a:cubicBezTo>
                  <a:pt x="163259" y="293894"/>
                  <a:pt x="182058" y="293431"/>
                  <a:pt x="190214" y="287878"/>
                </a:cubicBezTo>
                <a:cubicBezTo>
                  <a:pt x="203229" y="279028"/>
                  <a:pt x="217980" y="259418"/>
                  <a:pt x="217401" y="247387"/>
                </a:cubicBezTo>
                <a:cubicBezTo>
                  <a:pt x="217430" y="244188"/>
                  <a:pt x="215695" y="241232"/>
                  <a:pt x="212889" y="239693"/>
                </a:cubicBezTo>
                <a:cubicBezTo>
                  <a:pt x="205601" y="237038"/>
                  <a:pt x="197832" y="235974"/>
                  <a:pt x="190099" y="236570"/>
                </a:cubicBezTo>
                <a:lnTo>
                  <a:pt x="175522" y="236570"/>
                </a:lnTo>
                <a:cubicBezTo>
                  <a:pt x="163259" y="236570"/>
                  <a:pt x="149839" y="235991"/>
                  <a:pt x="146600" y="228587"/>
                </a:cubicBezTo>
                <a:cubicBezTo>
                  <a:pt x="145981" y="226817"/>
                  <a:pt x="146264" y="224851"/>
                  <a:pt x="147352" y="223323"/>
                </a:cubicBezTo>
                <a:cubicBezTo>
                  <a:pt x="157937" y="205160"/>
                  <a:pt x="251471" y="161372"/>
                  <a:pt x="271139" y="159695"/>
                </a:cubicBezTo>
                <a:cubicBezTo>
                  <a:pt x="281579" y="159706"/>
                  <a:pt x="291899" y="161893"/>
                  <a:pt x="301449" y="166115"/>
                </a:cubicBezTo>
                <a:cubicBezTo>
                  <a:pt x="306533" y="168377"/>
                  <a:pt x="311942" y="169841"/>
                  <a:pt x="317472" y="170454"/>
                </a:cubicBezTo>
                <a:cubicBezTo>
                  <a:pt x="319519" y="170708"/>
                  <a:pt x="321550" y="169846"/>
                  <a:pt x="322793" y="168198"/>
                </a:cubicBezTo>
                <a:cubicBezTo>
                  <a:pt x="326148" y="162500"/>
                  <a:pt x="327207" y="155732"/>
                  <a:pt x="325743" y="149283"/>
                </a:cubicBezTo>
                <a:cubicBezTo>
                  <a:pt x="324633" y="141370"/>
                  <a:pt x="320560" y="134174"/>
                  <a:pt x="314348" y="129153"/>
                </a:cubicBezTo>
                <a:cubicBezTo>
                  <a:pt x="312821" y="128349"/>
                  <a:pt x="312057" y="126596"/>
                  <a:pt x="312497" y="124930"/>
                </a:cubicBezTo>
                <a:cubicBezTo>
                  <a:pt x="314464" y="118799"/>
                  <a:pt x="336329" y="113882"/>
                  <a:pt x="352988" y="113882"/>
                </a:cubicBezTo>
                <a:cubicBezTo>
                  <a:pt x="361295" y="113390"/>
                  <a:pt x="369566" y="115236"/>
                  <a:pt x="376878" y="119204"/>
                </a:cubicBezTo>
                <a:cubicBezTo>
                  <a:pt x="382009" y="123045"/>
                  <a:pt x="388175" y="125243"/>
                  <a:pt x="394578" y="125509"/>
                </a:cubicBezTo>
                <a:cubicBezTo>
                  <a:pt x="397875" y="125509"/>
                  <a:pt x="400363" y="124583"/>
                  <a:pt x="400710" y="123195"/>
                </a:cubicBezTo>
                <a:cubicBezTo>
                  <a:pt x="401057" y="121807"/>
                  <a:pt x="399379" y="118972"/>
                  <a:pt x="393421" y="115502"/>
                </a:cubicBezTo>
                <a:cubicBezTo>
                  <a:pt x="387463" y="112031"/>
                  <a:pt x="385959" y="109312"/>
                  <a:pt x="386769" y="106247"/>
                </a:cubicBezTo>
                <a:cubicBezTo>
                  <a:pt x="388909" y="98438"/>
                  <a:pt x="410485" y="95545"/>
                  <a:pt x="423558" y="95545"/>
                </a:cubicBezTo>
                <a:lnTo>
                  <a:pt x="428417" y="95545"/>
                </a:lnTo>
                <a:cubicBezTo>
                  <a:pt x="440790" y="94562"/>
                  <a:pt x="453012" y="92196"/>
                  <a:pt x="464859" y="88488"/>
                </a:cubicBezTo>
                <a:cubicBezTo>
                  <a:pt x="476885" y="84700"/>
                  <a:pt x="489304" y="82293"/>
                  <a:pt x="501879" y="81316"/>
                </a:cubicBezTo>
                <a:cubicBezTo>
                  <a:pt x="504864" y="81241"/>
                  <a:pt x="507843" y="81692"/>
                  <a:pt x="510672" y="82646"/>
                </a:cubicBezTo>
                <a:cubicBezTo>
                  <a:pt x="518880" y="86828"/>
                  <a:pt x="524809" y="94435"/>
                  <a:pt x="526868" y="103412"/>
                </a:cubicBezTo>
                <a:cubicBezTo>
                  <a:pt x="531380" y="117064"/>
                  <a:pt x="530917" y="132334"/>
                  <a:pt x="525769" y="140086"/>
                </a:cubicBezTo>
                <a:cubicBezTo>
                  <a:pt x="524439" y="142168"/>
                  <a:pt x="524207" y="143383"/>
                  <a:pt x="524439" y="143845"/>
                </a:cubicBezTo>
                <a:cubicBezTo>
                  <a:pt x="524670" y="144308"/>
                  <a:pt x="525017" y="144192"/>
                  <a:pt x="525653" y="144192"/>
                </a:cubicBezTo>
                <a:cubicBezTo>
                  <a:pt x="530801" y="144192"/>
                  <a:pt x="546304" y="134764"/>
                  <a:pt x="546304" y="121055"/>
                </a:cubicBezTo>
                <a:cubicBezTo>
                  <a:pt x="546067" y="114432"/>
                  <a:pt x="544915" y="107872"/>
                  <a:pt x="542891" y="101561"/>
                </a:cubicBezTo>
                <a:cubicBezTo>
                  <a:pt x="541098" y="95314"/>
                  <a:pt x="539825" y="90802"/>
                  <a:pt x="542023" y="87852"/>
                </a:cubicBezTo>
                <a:cubicBezTo>
                  <a:pt x="544082" y="85781"/>
                  <a:pt x="546998" y="84798"/>
                  <a:pt x="549890" y="85191"/>
                </a:cubicBezTo>
                <a:cubicBezTo>
                  <a:pt x="559087" y="85191"/>
                  <a:pt x="571408" y="94562"/>
                  <a:pt x="582283" y="102545"/>
                </a:cubicBezTo>
                <a:cubicBezTo>
                  <a:pt x="589224" y="107808"/>
                  <a:pt x="595818" y="112783"/>
                  <a:pt x="598653" y="112783"/>
                </a:cubicBezTo>
                <a:cubicBezTo>
                  <a:pt x="598861" y="112858"/>
                  <a:pt x="599081" y="112858"/>
                  <a:pt x="599289" y="112783"/>
                </a:cubicBezTo>
                <a:cubicBezTo>
                  <a:pt x="600677" y="112002"/>
                  <a:pt x="602274" y="111655"/>
                  <a:pt x="603859" y="111800"/>
                </a:cubicBezTo>
                <a:cubicBezTo>
                  <a:pt x="608082" y="112002"/>
                  <a:pt x="612275" y="112540"/>
                  <a:pt x="616411" y="113419"/>
                </a:cubicBezTo>
                <a:cubicBezTo>
                  <a:pt x="621102" y="114380"/>
                  <a:pt x="625857" y="114981"/>
                  <a:pt x="630641" y="115213"/>
                </a:cubicBezTo>
                <a:cubicBezTo>
                  <a:pt x="636772" y="115213"/>
                  <a:pt x="636772" y="112957"/>
                  <a:pt x="636772" y="112147"/>
                </a:cubicBezTo>
                <a:cubicBezTo>
                  <a:pt x="636772" y="108271"/>
                  <a:pt x="627806" y="102255"/>
                  <a:pt x="619940" y="96876"/>
                </a:cubicBezTo>
                <a:cubicBezTo>
                  <a:pt x="610164" y="90282"/>
                  <a:pt x="600909" y="84034"/>
                  <a:pt x="600909" y="78308"/>
                </a:cubicBezTo>
                <a:cubicBezTo>
                  <a:pt x="601053" y="76173"/>
                  <a:pt x="602274" y="74253"/>
                  <a:pt x="604148" y="73218"/>
                </a:cubicBezTo>
                <a:cubicBezTo>
                  <a:pt x="608700" y="70886"/>
                  <a:pt x="613796" y="69845"/>
                  <a:pt x="618898" y="70210"/>
                </a:cubicBezTo>
                <a:cubicBezTo>
                  <a:pt x="638334" y="70210"/>
                  <a:pt x="668876" y="78655"/>
                  <a:pt x="679114" y="89587"/>
                </a:cubicBezTo>
                <a:cubicBezTo>
                  <a:pt x="685593" y="96413"/>
                  <a:pt x="696005" y="98553"/>
                  <a:pt x="707053" y="100751"/>
                </a:cubicBezTo>
                <a:cubicBezTo>
                  <a:pt x="718465" y="102388"/>
                  <a:pt x="729462" y="106200"/>
                  <a:pt x="739446" y="111973"/>
                </a:cubicBezTo>
                <a:cubicBezTo>
                  <a:pt x="752287" y="120361"/>
                  <a:pt x="770103" y="127996"/>
                  <a:pt x="776813" y="127996"/>
                </a:cubicBezTo>
                <a:cubicBezTo>
                  <a:pt x="777970" y="127996"/>
                  <a:pt x="778606" y="127996"/>
                  <a:pt x="778664" y="127533"/>
                </a:cubicBezTo>
                <a:cubicBezTo>
                  <a:pt x="778722" y="127071"/>
                  <a:pt x="779185" y="125798"/>
                  <a:pt x="773574" y="120187"/>
                </a:cubicBezTo>
                <a:cubicBezTo>
                  <a:pt x="764203" y="110816"/>
                  <a:pt x="749742" y="103586"/>
                  <a:pt x="735801" y="96587"/>
                </a:cubicBezTo>
                <a:cubicBezTo>
                  <a:pt x="721861" y="89587"/>
                  <a:pt x="710119" y="83803"/>
                  <a:pt x="704045" y="76515"/>
                </a:cubicBezTo>
                <a:cubicBezTo>
                  <a:pt x="702489" y="75028"/>
                  <a:pt x="701888" y="72801"/>
                  <a:pt x="702483" y="70730"/>
                </a:cubicBezTo>
                <a:cubicBezTo>
                  <a:pt x="704623" y="65871"/>
                  <a:pt x="717118" y="65293"/>
                  <a:pt x="730364" y="64599"/>
                </a:cubicBezTo>
                <a:cubicBezTo>
                  <a:pt x="739388" y="64194"/>
                  <a:pt x="751767" y="63558"/>
                  <a:pt x="752287" y="61012"/>
                </a:cubicBezTo>
                <a:cubicBezTo>
                  <a:pt x="752808" y="58467"/>
                  <a:pt x="742338" y="52798"/>
                  <a:pt x="735339" y="49444"/>
                </a:cubicBezTo>
                <a:cubicBezTo>
                  <a:pt x="725563" y="44469"/>
                  <a:pt x="720068" y="41461"/>
                  <a:pt x="720530" y="38453"/>
                </a:cubicBezTo>
                <a:cubicBezTo>
                  <a:pt x="720820" y="36371"/>
                  <a:pt x="723654" y="35677"/>
                  <a:pt x="725737" y="35272"/>
                </a:cubicBezTo>
                <a:cubicBezTo>
                  <a:pt x="735842" y="34149"/>
                  <a:pt x="745994" y="33548"/>
                  <a:pt x="756163" y="33479"/>
                </a:cubicBezTo>
                <a:cubicBezTo>
                  <a:pt x="779300" y="32727"/>
                  <a:pt x="810479" y="31743"/>
                  <a:pt x="815511" y="25207"/>
                </a:cubicBezTo>
                <a:cubicBezTo>
                  <a:pt x="817362" y="22835"/>
                  <a:pt x="821006" y="21736"/>
                  <a:pt x="827080" y="21736"/>
                </a:cubicBezTo>
                <a:cubicBezTo>
                  <a:pt x="835450" y="22095"/>
                  <a:pt x="843779" y="23061"/>
                  <a:pt x="852011" y="24628"/>
                </a:cubicBezTo>
                <a:cubicBezTo>
                  <a:pt x="860774" y="26288"/>
                  <a:pt x="869648" y="27318"/>
                  <a:pt x="878561" y="27694"/>
                </a:cubicBezTo>
                <a:cubicBezTo>
                  <a:pt x="882605" y="28116"/>
                  <a:pt x="886677" y="27185"/>
                  <a:pt x="890130" y="25033"/>
                </a:cubicBezTo>
                <a:cubicBezTo>
                  <a:pt x="895128" y="21644"/>
                  <a:pt x="901115" y="20035"/>
                  <a:pt x="907136" y="20464"/>
                </a:cubicBezTo>
                <a:cubicBezTo>
                  <a:pt x="915929" y="20464"/>
                  <a:pt x="927555" y="23009"/>
                  <a:pt x="932183" y="28620"/>
                </a:cubicBezTo>
                <a:cubicBezTo>
                  <a:pt x="933733" y="30372"/>
                  <a:pt x="934381" y="32744"/>
                  <a:pt x="933918" y="35040"/>
                </a:cubicBezTo>
                <a:cubicBezTo>
                  <a:pt x="933675" y="36024"/>
                  <a:pt x="933884" y="37065"/>
                  <a:pt x="934497" y="37875"/>
                </a:cubicBezTo>
                <a:cubicBezTo>
                  <a:pt x="936249" y="39442"/>
                  <a:pt x="938581" y="40200"/>
                  <a:pt x="940917" y="39957"/>
                </a:cubicBezTo>
                <a:cubicBezTo>
                  <a:pt x="946095" y="40293"/>
                  <a:pt x="951081" y="37927"/>
                  <a:pt x="954106" y="33710"/>
                </a:cubicBezTo>
                <a:cubicBezTo>
                  <a:pt x="955205" y="31223"/>
                  <a:pt x="954106" y="28273"/>
                  <a:pt x="951387" y="25091"/>
                </a:cubicBezTo>
                <a:cubicBezTo>
                  <a:pt x="949484" y="23500"/>
                  <a:pt x="948807" y="20868"/>
                  <a:pt x="949710" y="18555"/>
                </a:cubicBezTo>
                <a:cubicBezTo>
                  <a:pt x="952370" y="12770"/>
                  <a:pt x="967699" y="9589"/>
                  <a:pt x="978921" y="10283"/>
                </a:cubicBezTo>
                <a:cubicBezTo>
                  <a:pt x="986134" y="10422"/>
                  <a:pt x="993319" y="9404"/>
                  <a:pt x="1000208" y="7275"/>
                </a:cubicBezTo>
                <a:cubicBezTo>
                  <a:pt x="1005888" y="5661"/>
                  <a:pt x="1011696" y="4499"/>
                  <a:pt x="1017561" y="3804"/>
                </a:cubicBezTo>
                <a:cubicBezTo>
                  <a:pt x="1024618" y="3052"/>
                  <a:pt x="1042087" y="2821"/>
                  <a:pt x="1062390" y="2590"/>
                </a:cubicBezTo>
                <a:cubicBezTo>
                  <a:pt x="1086569" y="2243"/>
                  <a:pt x="1113930" y="1895"/>
                  <a:pt x="1131514" y="565"/>
                </a:cubicBezTo>
                <a:cubicBezTo>
                  <a:pt x="1137704" y="102"/>
                  <a:pt x="1144240" y="-129"/>
                  <a:pt x="1150834" y="-129"/>
                </a:cubicBezTo>
                <a:cubicBezTo>
                  <a:pt x="1179294" y="-129"/>
                  <a:pt x="1205208" y="4094"/>
                  <a:pt x="1215331" y="10457"/>
                </a:cubicBezTo>
                <a:cubicBezTo>
                  <a:pt x="1221693" y="14390"/>
                  <a:pt x="1240840" y="14968"/>
                  <a:pt x="1257731" y="15431"/>
                </a:cubicBezTo>
                <a:cubicBezTo>
                  <a:pt x="1278728" y="16067"/>
                  <a:pt x="1290760" y="16588"/>
                  <a:pt x="1292437" y="20637"/>
                </a:cubicBezTo>
                <a:cubicBezTo>
                  <a:pt x="1293594" y="23356"/>
                  <a:pt x="1300477" y="25612"/>
                  <a:pt x="1307072" y="27752"/>
                </a:cubicBezTo>
                <a:cubicBezTo>
                  <a:pt x="1316732" y="30933"/>
                  <a:pt x="1326681" y="34231"/>
                  <a:pt x="1325582" y="40651"/>
                </a:cubicBezTo>
                <a:cubicBezTo>
                  <a:pt x="1325322" y="42109"/>
                  <a:pt x="1325750" y="43601"/>
                  <a:pt x="1326739" y="44700"/>
                </a:cubicBezTo>
                <a:cubicBezTo>
                  <a:pt x="1330036" y="48634"/>
                  <a:pt x="1340043" y="50774"/>
                  <a:pt x="1354909" y="50774"/>
                </a:cubicBezTo>
                <a:lnTo>
                  <a:pt x="1361619" y="50774"/>
                </a:lnTo>
                <a:lnTo>
                  <a:pt x="1363586" y="50774"/>
                </a:lnTo>
                <a:cubicBezTo>
                  <a:pt x="1379551" y="50774"/>
                  <a:pt x="1409861" y="58988"/>
                  <a:pt x="1414026" y="67722"/>
                </a:cubicBezTo>
                <a:cubicBezTo>
                  <a:pt x="1414905" y="69406"/>
                  <a:pt x="1414651" y="71453"/>
                  <a:pt x="1413390" y="72870"/>
                </a:cubicBezTo>
                <a:cubicBezTo>
                  <a:pt x="1409340" y="77845"/>
                  <a:pt x="1396499" y="80217"/>
                  <a:pt x="1380187" y="83225"/>
                </a:cubicBezTo>
                <a:cubicBezTo>
                  <a:pt x="1365483" y="85463"/>
                  <a:pt x="1351033" y="89125"/>
                  <a:pt x="1337035" y="94157"/>
                </a:cubicBezTo>
                <a:cubicBezTo>
                  <a:pt x="1319682" y="101330"/>
                  <a:pt x="1288041" y="101446"/>
                  <a:pt x="1257441" y="101503"/>
                </a:cubicBezTo>
                <a:cubicBezTo>
                  <a:pt x="1239163" y="101503"/>
                  <a:pt x="1221867" y="101503"/>
                  <a:pt x="1208331" y="103123"/>
                </a:cubicBezTo>
                <a:cubicBezTo>
                  <a:pt x="1167840" y="107751"/>
                  <a:pt x="1103691" y="121633"/>
                  <a:pt x="1104212" y="129384"/>
                </a:cubicBezTo>
                <a:cubicBezTo>
                  <a:pt x="1104212" y="130426"/>
                  <a:pt x="1106294" y="131004"/>
                  <a:pt x="1109649" y="131004"/>
                </a:cubicBezTo>
                <a:cubicBezTo>
                  <a:pt x="1124955" y="129488"/>
                  <a:pt x="1140110" y="126683"/>
                  <a:pt x="1154941" y="122617"/>
                </a:cubicBezTo>
                <a:cubicBezTo>
                  <a:pt x="1169865" y="119146"/>
                  <a:pt x="1185252" y="115560"/>
                  <a:pt x="1197399" y="113882"/>
                </a:cubicBezTo>
                <a:cubicBezTo>
                  <a:pt x="1216013" y="111620"/>
                  <a:pt x="1234755" y="110579"/>
                  <a:pt x="1253508" y="110758"/>
                </a:cubicBezTo>
                <a:cubicBezTo>
                  <a:pt x="1274042" y="110758"/>
                  <a:pt x="1308634" y="111742"/>
                  <a:pt x="1309328" y="118047"/>
                </a:cubicBezTo>
                <a:cubicBezTo>
                  <a:pt x="1309791" y="121922"/>
                  <a:pt x="1300651" y="126261"/>
                  <a:pt x="1284397" y="133549"/>
                </a:cubicBezTo>
                <a:cubicBezTo>
                  <a:pt x="1270399" y="139854"/>
                  <a:pt x="1251252" y="148531"/>
                  <a:pt x="1252756" y="153390"/>
                </a:cubicBezTo>
                <a:cubicBezTo>
                  <a:pt x="1253045" y="154373"/>
                  <a:pt x="1254723" y="154547"/>
                  <a:pt x="1256053" y="154547"/>
                </a:cubicBezTo>
                <a:cubicBezTo>
                  <a:pt x="1265829" y="154547"/>
                  <a:pt x="1290760" y="144192"/>
                  <a:pt x="1310716" y="135863"/>
                </a:cubicBezTo>
                <a:cubicBezTo>
                  <a:pt x="1319803" y="131739"/>
                  <a:pt x="1329134" y="128164"/>
                  <a:pt x="1338655" y="125162"/>
                </a:cubicBezTo>
                <a:cubicBezTo>
                  <a:pt x="1343236" y="123982"/>
                  <a:pt x="1347118" y="120939"/>
                  <a:pt x="1349356" y="116774"/>
                </a:cubicBezTo>
                <a:cubicBezTo>
                  <a:pt x="1354516" y="108375"/>
                  <a:pt x="1363678" y="103268"/>
                  <a:pt x="1373535" y="103297"/>
                </a:cubicBezTo>
                <a:lnTo>
                  <a:pt x="1377411" y="103297"/>
                </a:lnTo>
                <a:cubicBezTo>
                  <a:pt x="1387053" y="102307"/>
                  <a:pt x="1396285" y="107432"/>
                  <a:pt x="1400548" y="116138"/>
                </a:cubicBezTo>
                <a:cubicBezTo>
                  <a:pt x="1404192" y="124988"/>
                  <a:pt x="1400895" y="135747"/>
                  <a:pt x="1391640" y="145060"/>
                </a:cubicBezTo>
                <a:cubicBezTo>
                  <a:pt x="1345365" y="191336"/>
                  <a:pt x="1343803" y="198508"/>
                  <a:pt x="1344439" y="199607"/>
                </a:cubicBezTo>
                <a:lnTo>
                  <a:pt x="1344439" y="199607"/>
                </a:lnTo>
                <a:cubicBezTo>
                  <a:pt x="1344786" y="199671"/>
                  <a:pt x="1345139" y="199671"/>
                  <a:pt x="1345480" y="199607"/>
                </a:cubicBezTo>
                <a:cubicBezTo>
                  <a:pt x="1351265" y="198855"/>
                  <a:pt x="1357859" y="193360"/>
                  <a:pt x="1365494" y="187055"/>
                </a:cubicBezTo>
                <a:cubicBezTo>
                  <a:pt x="1373188" y="180050"/>
                  <a:pt x="1381859" y="174208"/>
                  <a:pt x="1391235" y="169702"/>
                </a:cubicBezTo>
                <a:cubicBezTo>
                  <a:pt x="1402231" y="164392"/>
                  <a:pt x="1412499" y="157682"/>
                  <a:pt x="1421777" y="149746"/>
                </a:cubicBezTo>
                <a:cubicBezTo>
                  <a:pt x="1428840" y="143869"/>
                  <a:pt x="1436429" y="138663"/>
                  <a:pt x="1444452" y="134185"/>
                </a:cubicBezTo>
                <a:cubicBezTo>
                  <a:pt x="1446349" y="133121"/>
                  <a:pt x="1448466" y="132508"/>
                  <a:pt x="1450641" y="132392"/>
                </a:cubicBezTo>
                <a:cubicBezTo>
                  <a:pt x="1454980" y="132392"/>
                  <a:pt x="1456426" y="135863"/>
                  <a:pt x="1458103" y="138929"/>
                </a:cubicBezTo>
                <a:cubicBezTo>
                  <a:pt x="1459781" y="141994"/>
                  <a:pt x="1460764" y="144366"/>
                  <a:pt x="1463887" y="144366"/>
                </a:cubicBezTo>
                <a:cubicBezTo>
                  <a:pt x="1465582" y="144262"/>
                  <a:pt x="1467237" y="143811"/>
                  <a:pt x="1468747" y="143036"/>
                </a:cubicBezTo>
                <a:cubicBezTo>
                  <a:pt x="1471280" y="142023"/>
                  <a:pt x="1473999" y="141532"/>
                  <a:pt x="1476729" y="141590"/>
                </a:cubicBezTo>
                <a:cubicBezTo>
                  <a:pt x="1483636" y="141977"/>
                  <a:pt x="1490467" y="143180"/>
                  <a:pt x="1497090" y="145176"/>
                </a:cubicBezTo>
                <a:cubicBezTo>
                  <a:pt x="1502747" y="146842"/>
                  <a:pt x="1508561" y="147889"/>
                  <a:pt x="1514443" y="148299"/>
                </a:cubicBezTo>
                <a:cubicBezTo>
                  <a:pt x="1520228" y="148299"/>
                  <a:pt x="1523178" y="145986"/>
                  <a:pt x="1523583" y="140780"/>
                </a:cubicBezTo>
                <a:cubicBezTo>
                  <a:pt x="1525376" y="116948"/>
                  <a:pt x="1554934" y="113882"/>
                  <a:pt x="1580444" y="113882"/>
                </a:cubicBezTo>
                <a:cubicBezTo>
                  <a:pt x="1607168" y="113882"/>
                  <a:pt x="1675251" y="131235"/>
                  <a:pt x="1675251" y="141647"/>
                </a:cubicBezTo>
                <a:cubicBezTo>
                  <a:pt x="1675251" y="152059"/>
                  <a:pt x="1629611" y="170280"/>
                  <a:pt x="1612779" y="171032"/>
                </a:cubicBezTo>
                <a:cubicBezTo>
                  <a:pt x="1608117" y="170818"/>
                  <a:pt x="1603628" y="172837"/>
                  <a:pt x="1600689" y="176470"/>
                </a:cubicBezTo>
                <a:cubicBezTo>
                  <a:pt x="1597219" y="180056"/>
                  <a:pt x="1592881" y="184568"/>
                  <a:pt x="1577552" y="186419"/>
                </a:cubicBezTo>
                <a:cubicBezTo>
                  <a:pt x="1569876" y="187194"/>
                  <a:pt x="1562362" y="189143"/>
                  <a:pt x="1555282" y="192203"/>
                </a:cubicBezTo>
                <a:cubicBezTo>
                  <a:pt x="1547588" y="195269"/>
                  <a:pt x="1540300" y="197988"/>
                  <a:pt x="1517683" y="198624"/>
                </a:cubicBezTo>
                <a:cubicBezTo>
                  <a:pt x="1495066" y="199260"/>
                  <a:pt x="1487951" y="202962"/>
                  <a:pt x="1487835" y="204408"/>
                </a:cubicBezTo>
                <a:cubicBezTo>
                  <a:pt x="1487835" y="204408"/>
                  <a:pt x="1489744" y="206028"/>
                  <a:pt x="1496280" y="206028"/>
                </a:cubicBezTo>
                <a:cubicBezTo>
                  <a:pt x="1499045" y="206016"/>
                  <a:pt x="1501810" y="205826"/>
                  <a:pt x="1504552" y="205450"/>
                </a:cubicBezTo>
                <a:cubicBezTo>
                  <a:pt x="1509139" y="204900"/>
                  <a:pt x="1513755" y="204628"/>
                  <a:pt x="1518377" y="204640"/>
                </a:cubicBezTo>
                <a:cubicBezTo>
                  <a:pt x="1536482" y="204640"/>
                  <a:pt x="1557075" y="208400"/>
                  <a:pt x="1558868" y="214358"/>
                </a:cubicBezTo>
                <a:cubicBezTo>
                  <a:pt x="1559388" y="216267"/>
                  <a:pt x="1558289" y="218060"/>
                  <a:pt x="1555571" y="219679"/>
                </a:cubicBezTo>
                <a:cubicBezTo>
                  <a:pt x="1542324" y="227430"/>
                  <a:pt x="1505825" y="229513"/>
                  <a:pt x="1486158" y="229513"/>
                </a:cubicBezTo>
                <a:cubicBezTo>
                  <a:pt x="1472911" y="229513"/>
                  <a:pt x="1451451" y="239115"/>
                  <a:pt x="1448790" y="246288"/>
                </a:cubicBezTo>
                <a:cubicBezTo>
                  <a:pt x="1448166" y="247647"/>
                  <a:pt x="1448576" y="249267"/>
                  <a:pt x="1449773" y="250163"/>
                </a:cubicBezTo>
                <a:cubicBezTo>
                  <a:pt x="1450930" y="251285"/>
                  <a:pt x="1452504" y="251870"/>
                  <a:pt x="1454112" y="251783"/>
                </a:cubicBezTo>
                <a:cubicBezTo>
                  <a:pt x="1460214" y="250695"/>
                  <a:pt x="1466016" y="248306"/>
                  <a:pt x="1471118" y="244784"/>
                </a:cubicBezTo>
                <a:cubicBezTo>
                  <a:pt x="1478204" y="240272"/>
                  <a:pt x="1486042" y="237061"/>
                  <a:pt x="1494256" y="235297"/>
                </a:cubicBezTo>
                <a:cubicBezTo>
                  <a:pt x="1507907" y="233446"/>
                  <a:pt x="1521674" y="246056"/>
                  <a:pt x="1521674" y="253460"/>
                </a:cubicBezTo>
                <a:cubicBezTo>
                  <a:pt x="1521709" y="255213"/>
                  <a:pt x="1520864" y="256862"/>
                  <a:pt x="1519418" y="257856"/>
                </a:cubicBezTo>
                <a:cubicBezTo>
                  <a:pt x="1517475" y="258990"/>
                  <a:pt x="1515242" y="259534"/>
                  <a:pt x="1512997" y="259418"/>
                </a:cubicBezTo>
                <a:cubicBezTo>
                  <a:pt x="1497206" y="259418"/>
                  <a:pt x="1477828" y="262715"/>
                  <a:pt x="1470829" y="271971"/>
                </a:cubicBezTo>
                <a:cubicBezTo>
                  <a:pt x="1467977" y="275858"/>
                  <a:pt x="1467237" y="280907"/>
                  <a:pt x="1468862" y="285448"/>
                </a:cubicBezTo>
                <a:cubicBezTo>
                  <a:pt x="1472796" y="299331"/>
                  <a:pt x="1455558" y="305289"/>
                  <a:pt x="1440287" y="310611"/>
                </a:cubicBezTo>
                <a:cubicBezTo>
                  <a:pt x="1429760" y="314255"/>
                  <a:pt x="1419810" y="317725"/>
                  <a:pt x="1420389" y="322758"/>
                </a:cubicBezTo>
                <a:cubicBezTo>
                  <a:pt x="1421892" y="335136"/>
                  <a:pt x="1419579" y="364232"/>
                  <a:pt x="1403036" y="374818"/>
                </a:cubicBezTo>
                <a:cubicBezTo>
                  <a:pt x="1400317" y="376553"/>
                  <a:pt x="1398871" y="378288"/>
                  <a:pt x="1399218" y="379503"/>
                </a:cubicBezTo>
                <a:cubicBezTo>
                  <a:pt x="1399565" y="380718"/>
                  <a:pt x="1401994" y="381990"/>
                  <a:pt x="1405985" y="381990"/>
                </a:cubicBezTo>
                <a:cubicBezTo>
                  <a:pt x="1413239" y="382193"/>
                  <a:pt x="1419978" y="378242"/>
                  <a:pt x="1423339" y="371810"/>
                </a:cubicBezTo>
                <a:cubicBezTo>
                  <a:pt x="1425537" y="367182"/>
                  <a:pt x="1430917" y="364695"/>
                  <a:pt x="1438899" y="364695"/>
                </a:cubicBezTo>
                <a:cubicBezTo>
                  <a:pt x="1454748" y="364695"/>
                  <a:pt x="1476787" y="374239"/>
                  <a:pt x="1480258" y="381007"/>
                </a:cubicBezTo>
                <a:cubicBezTo>
                  <a:pt x="1481079" y="382233"/>
                  <a:pt x="1481079" y="383830"/>
                  <a:pt x="1480258" y="385056"/>
                </a:cubicBezTo>
                <a:cubicBezTo>
                  <a:pt x="1478927" y="386965"/>
                  <a:pt x="1476440" y="387833"/>
                  <a:pt x="1472391" y="387833"/>
                </a:cubicBezTo>
                <a:cubicBezTo>
                  <a:pt x="1468845" y="387717"/>
                  <a:pt x="1465305" y="387370"/>
                  <a:pt x="1461805" y="386791"/>
                </a:cubicBezTo>
                <a:cubicBezTo>
                  <a:pt x="1458230" y="386167"/>
                  <a:pt x="1454615" y="385797"/>
                  <a:pt x="1450988" y="385692"/>
                </a:cubicBezTo>
                <a:cubicBezTo>
                  <a:pt x="1448542" y="385374"/>
                  <a:pt x="1446066" y="386086"/>
                  <a:pt x="1444163" y="387659"/>
                </a:cubicBezTo>
                <a:cubicBezTo>
                  <a:pt x="1443231" y="389007"/>
                  <a:pt x="1442913" y="390690"/>
                  <a:pt x="1443295" y="392287"/>
                </a:cubicBezTo>
                <a:cubicBezTo>
                  <a:pt x="1444973" y="403856"/>
                  <a:pt x="1462441" y="404897"/>
                  <a:pt x="1467763" y="404897"/>
                </a:cubicBezTo>
                <a:cubicBezTo>
                  <a:pt x="1474323" y="405128"/>
                  <a:pt x="1480853" y="403861"/>
                  <a:pt x="1486852" y="401195"/>
                </a:cubicBezTo>
                <a:cubicBezTo>
                  <a:pt x="1487806" y="400605"/>
                  <a:pt x="1488911" y="400304"/>
                  <a:pt x="1490033" y="400327"/>
                </a:cubicBezTo>
                <a:cubicBezTo>
                  <a:pt x="1498074" y="400327"/>
                  <a:pt x="1510452" y="413805"/>
                  <a:pt x="1511320" y="423465"/>
                </a:cubicBezTo>
                <a:cubicBezTo>
                  <a:pt x="1512037" y="427525"/>
                  <a:pt x="1509330" y="431395"/>
                  <a:pt x="1505269" y="432112"/>
                </a:cubicBezTo>
                <a:cubicBezTo>
                  <a:pt x="1505055" y="432153"/>
                  <a:pt x="1504830" y="432182"/>
                  <a:pt x="1504610" y="432199"/>
                </a:cubicBezTo>
                <a:cubicBezTo>
                  <a:pt x="1495679" y="432835"/>
                  <a:pt x="1486707" y="432095"/>
                  <a:pt x="1478001" y="430001"/>
                </a:cubicBezTo>
                <a:cubicBezTo>
                  <a:pt x="1469041" y="428179"/>
                  <a:pt x="1459948" y="427092"/>
                  <a:pt x="1450815" y="426762"/>
                </a:cubicBezTo>
                <a:cubicBezTo>
                  <a:pt x="1443729" y="426305"/>
                  <a:pt x="1436689" y="428150"/>
                  <a:pt x="1430743" y="432026"/>
                </a:cubicBezTo>
                <a:cubicBezTo>
                  <a:pt x="1426080" y="435681"/>
                  <a:pt x="1420354" y="437712"/>
                  <a:pt x="1414431" y="437810"/>
                </a:cubicBezTo>
                <a:cubicBezTo>
                  <a:pt x="1411018" y="437689"/>
                  <a:pt x="1407634" y="437128"/>
                  <a:pt x="1404366" y="436133"/>
                </a:cubicBezTo>
                <a:cubicBezTo>
                  <a:pt x="1399738" y="434860"/>
                  <a:pt x="1396267" y="434282"/>
                  <a:pt x="1393665" y="436653"/>
                </a:cubicBezTo>
                <a:cubicBezTo>
                  <a:pt x="1392508" y="437694"/>
                  <a:pt x="1392566" y="438389"/>
                  <a:pt x="1392623" y="438620"/>
                </a:cubicBezTo>
                <a:cubicBezTo>
                  <a:pt x="1392623" y="441049"/>
                  <a:pt x="1398408" y="443942"/>
                  <a:pt x="1402746" y="446487"/>
                </a:cubicBezTo>
                <a:cubicBezTo>
                  <a:pt x="1408530" y="449784"/>
                  <a:pt x="1414315" y="452907"/>
                  <a:pt x="1414315" y="456783"/>
                </a:cubicBezTo>
                <a:cubicBezTo>
                  <a:pt x="1414315" y="462220"/>
                  <a:pt x="1444683" y="467773"/>
                  <a:pt x="1461632" y="467773"/>
                </a:cubicBezTo>
                <a:cubicBezTo>
                  <a:pt x="1470887" y="467773"/>
                  <a:pt x="1480373" y="481309"/>
                  <a:pt x="1483439" y="493919"/>
                </a:cubicBezTo>
                <a:cubicBezTo>
                  <a:pt x="1486505" y="506529"/>
                  <a:pt x="1483439" y="515669"/>
                  <a:pt x="1475051" y="520007"/>
                </a:cubicBezTo>
                <a:cubicBezTo>
                  <a:pt x="1470060" y="522564"/>
                  <a:pt x="1464518" y="523853"/>
                  <a:pt x="1458913" y="523767"/>
                </a:cubicBezTo>
                <a:cubicBezTo>
                  <a:pt x="1455176" y="523686"/>
                  <a:pt x="1451445" y="523356"/>
                  <a:pt x="1447749" y="522783"/>
                </a:cubicBezTo>
                <a:cubicBezTo>
                  <a:pt x="1444938" y="522303"/>
                  <a:pt x="1442098" y="522037"/>
                  <a:pt x="1439246" y="521974"/>
                </a:cubicBezTo>
                <a:cubicBezTo>
                  <a:pt x="1434601" y="521517"/>
                  <a:pt x="1430101" y="523767"/>
                  <a:pt x="1427677" y="527758"/>
                </a:cubicBezTo>
                <a:cubicBezTo>
                  <a:pt x="1426109" y="530083"/>
                  <a:pt x="1426109" y="533126"/>
                  <a:pt x="1427677" y="535451"/>
                </a:cubicBezTo>
                <a:cubicBezTo>
                  <a:pt x="1433461" y="546037"/>
                  <a:pt x="1458045" y="557374"/>
                  <a:pt x="1471176" y="557374"/>
                </a:cubicBezTo>
                <a:cubicBezTo>
                  <a:pt x="1472686" y="557409"/>
                  <a:pt x="1474190" y="557195"/>
                  <a:pt x="1475630" y="556738"/>
                </a:cubicBezTo>
                <a:cubicBezTo>
                  <a:pt x="1478215" y="555315"/>
                  <a:pt x="1481437" y="555841"/>
                  <a:pt x="1483439" y="558011"/>
                </a:cubicBezTo>
                <a:cubicBezTo>
                  <a:pt x="1484359" y="559353"/>
                  <a:pt x="1484821" y="560955"/>
                  <a:pt x="1484770" y="562580"/>
                </a:cubicBezTo>
                <a:cubicBezTo>
                  <a:pt x="1484463" y="570829"/>
                  <a:pt x="1477747" y="577388"/>
                  <a:pt x="1469499" y="577504"/>
                </a:cubicBezTo>
                <a:lnTo>
                  <a:pt x="1468689" y="577504"/>
                </a:lnTo>
                <a:lnTo>
                  <a:pt x="1462904" y="577157"/>
                </a:lnTo>
                <a:cubicBezTo>
                  <a:pt x="1454980" y="576752"/>
                  <a:pt x="1442948" y="576058"/>
                  <a:pt x="1432363" y="576058"/>
                </a:cubicBezTo>
                <a:cubicBezTo>
                  <a:pt x="1412175" y="576058"/>
                  <a:pt x="1408878" y="578487"/>
                  <a:pt x="1408357" y="579587"/>
                </a:cubicBezTo>
                <a:cubicBezTo>
                  <a:pt x="1407836" y="580686"/>
                  <a:pt x="1408357" y="580570"/>
                  <a:pt x="1408993" y="581322"/>
                </a:cubicBezTo>
                <a:cubicBezTo>
                  <a:pt x="1414217" y="585834"/>
                  <a:pt x="1420065" y="589570"/>
                  <a:pt x="1426347" y="592428"/>
                </a:cubicBezTo>
                <a:cubicBezTo>
                  <a:pt x="1437453" y="598212"/>
                  <a:pt x="1447980" y="603650"/>
                  <a:pt x="1448617" y="609781"/>
                </a:cubicBezTo>
                <a:cubicBezTo>
                  <a:pt x="1448669" y="612552"/>
                  <a:pt x="1447263" y="615143"/>
                  <a:pt x="1444915" y="616607"/>
                </a:cubicBezTo>
                <a:cubicBezTo>
                  <a:pt x="1436978" y="622559"/>
                  <a:pt x="1427237" y="625602"/>
                  <a:pt x="1417323" y="625226"/>
                </a:cubicBezTo>
                <a:cubicBezTo>
                  <a:pt x="1410954" y="625347"/>
                  <a:pt x="1404632" y="626319"/>
                  <a:pt x="1398524" y="628118"/>
                </a:cubicBezTo>
                <a:cubicBezTo>
                  <a:pt x="1396875" y="628615"/>
                  <a:pt x="1395157" y="628870"/>
                  <a:pt x="1393433" y="628870"/>
                </a:cubicBezTo>
                <a:cubicBezTo>
                  <a:pt x="1384178" y="628870"/>
                  <a:pt x="1372436" y="622738"/>
                  <a:pt x="1362024" y="617301"/>
                </a:cubicBezTo>
                <a:cubicBezTo>
                  <a:pt x="1355707" y="613298"/>
                  <a:pt x="1348708" y="610493"/>
                  <a:pt x="1341373" y="609029"/>
                </a:cubicBezTo>
                <a:cubicBezTo>
                  <a:pt x="1340298" y="608931"/>
                  <a:pt x="1339227" y="609290"/>
                  <a:pt x="1338423" y="610013"/>
                </a:cubicBezTo>
                <a:cubicBezTo>
                  <a:pt x="1335994" y="612442"/>
                  <a:pt x="1337093" y="615045"/>
                  <a:pt x="1339233" y="619036"/>
                </a:cubicBezTo>
                <a:cubicBezTo>
                  <a:pt x="1340795" y="621928"/>
                  <a:pt x="1342357" y="624821"/>
                  <a:pt x="1340968" y="627539"/>
                </a:cubicBezTo>
                <a:cubicBezTo>
                  <a:pt x="1339580" y="630258"/>
                  <a:pt x="1335184" y="631993"/>
                  <a:pt x="1327259" y="632919"/>
                </a:cubicBezTo>
                <a:cubicBezTo>
                  <a:pt x="1319335" y="633844"/>
                  <a:pt x="1314360" y="637084"/>
                  <a:pt x="1314649" y="641480"/>
                </a:cubicBezTo>
                <a:cubicBezTo>
                  <a:pt x="1316321" y="647762"/>
                  <a:pt x="1322296" y="651898"/>
                  <a:pt x="1328763" y="651256"/>
                </a:cubicBezTo>
                <a:cubicBezTo>
                  <a:pt x="1332234" y="651244"/>
                  <a:pt x="1335647" y="650324"/>
                  <a:pt x="1338655" y="648595"/>
                </a:cubicBezTo>
                <a:cubicBezTo>
                  <a:pt x="1350964" y="642874"/>
                  <a:pt x="1364419" y="640063"/>
                  <a:pt x="1377989" y="640381"/>
                </a:cubicBezTo>
                <a:cubicBezTo>
                  <a:pt x="1391409" y="640381"/>
                  <a:pt x="1405754" y="642984"/>
                  <a:pt x="1405754" y="650388"/>
                </a:cubicBezTo>
                <a:cubicBezTo>
                  <a:pt x="1405754" y="661205"/>
                  <a:pt x="1401821" y="681624"/>
                  <a:pt x="1386781" y="681624"/>
                </a:cubicBezTo>
                <a:cubicBezTo>
                  <a:pt x="1383866" y="681560"/>
                  <a:pt x="1380997" y="680907"/>
                  <a:pt x="1378336" y="679715"/>
                </a:cubicBezTo>
                <a:cubicBezTo>
                  <a:pt x="1365147" y="673931"/>
                  <a:pt x="1350686" y="668435"/>
                  <a:pt x="1343629" y="668435"/>
                </a:cubicBezTo>
                <a:cubicBezTo>
                  <a:pt x="1341605" y="668435"/>
                  <a:pt x="1340332" y="668840"/>
                  <a:pt x="1339754" y="669650"/>
                </a:cubicBezTo>
                <a:cubicBezTo>
                  <a:pt x="1339181" y="670876"/>
                  <a:pt x="1339181" y="672299"/>
                  <a:pt x="1339754" y="673526"/>
                </a:cubicBezTo>
                <a:cubicBezTo>
                  <a:pt x="1341373" y="678674"/>
                  <a:pt x="1357107" y="689144"/>
                  <a:pt x="1371742" y="699266"/>
                </a:cubicBezTo>
                <a:cubicBezTo>
                  <a:pt x="1390599" y="712050"/>
                  <a:pt x="1410092" y="725296"/>
                  <a:pt x="1411538" y="733568"/>
                </a:cubicBezTo>
                <a:cubicBezTo>
                  <a:pt x="1411805" y="734945"/>
                  <a:pt x="1411487" y="736368"/>
                  <a:pt x="1410671" y="737501"/>
                </a:cubicBezTo>
                <a:cubicBezTo>
                  <a:pt x="1408108" y="742424"/>
                  <a:pt x="1407871" y="748237"/>
                  <a:pt x="1410034" y="753351"/>
                </a:cubicBezTo>
                <a:cubicBezTo>
                  <a:pt x="1412001" y="761275"/>
                  <a:pt x="1414199" y="770183"/>
                  <a:pt x="1400375" y="774233"/>
                </a:cubicBezTo>
                <a:cubicBezTo>
                  <a:pt x="1395308" y="775736"/>
                  <a:pt x="1390044" y="776500"/>
                  <a:pt x="1384757" y="776488"/>
                </a:cubicBezTo>
                <a:cubicBezTo>
                  <a:pt x="1366773" y="776546"/>
                  <a:pt x="1349871" y="767933"/>
                  <a:pt x="1339349" y="753351"/>
                </a:cubicBezTo>
                <a:cubicBezTo>
                  <a:pt x="1331251" y="741782"/>
                  <a:pt x="1315806" y="732990"/>
                  <a:pt x="1307361" y="732990"/>
                </a:cubicBezTo>
                <a:cubicBezTo>
                  <a:pt x="1305782" y="732828"/>
                  <a:pt x="1304208" y="733377"/>
                  <a:pt x="1303080" y="734493"/>
                </a:cubicBezTo>
                <a:cubicBezTo>
                  <a:pt x="1302184" y="736021"/>
                  <a:pt x="1302034" y="737877"/>
                  <a:pt x="1302675" y="739526"/>
                </a:cubicBezTo>
                <a:cubicBezTo>
                  <a:pt x="1303485" y="742823"/>
                  <a:pt x="1304411" y="745773"/>
                  <a:pt x="1305221" y="748376"/>
                </a:cubicBezTo>
                <a:cubicBezTo>
                  <a:pt x="1307130" y="754508"/>
                  <a:pt x="1308576" y="758962"/>
                  <a:pt x="1306551" y="762201"/>
                </a:cubicBezTo>
                <a:cubicBezTo>
                  <a:pt x="1304139" y="765041"/>
                  <a:pt x="1300616" y="766707"/>
                  <a:pt x="1296891" y="766771"/>
                </a:cubicBezTo>
                <a:cubicBezTo>
                  <a:pt x="1287462" y="768275"/>
                  <a:pt x="1279538" y="779034"/>
                  <a:pt x="1280116" y="783488"/>
                </a:cubicBezTo>
                <a:cubicBezTo>
                  <a:pt x="1280116" y="784240"/>
                  <a:pt x="1280463" y="784818"/>
                  <a:pt x="1281678" y="784818"/>
                </a:cubicBezTo>
                <a:cubicBezTo>
                  <a:pt x="1283963" y="784558"/>
                  <a:pt x="1286144" y="783748"/>
                  <a:pt x="1288041" y="782446"/>
                </a:cubicBezTo>
                <a:cubicBezTo>
                  <a:pt x="1293120" y="779658"/>
                  <a:pt x="1298846" y="778258"/>
                  <a:pt x="1304642" y="778397"/>
                </a:cubicBezTo>
                <a:cubicBezTo>
                  <a:pt x="1315841" y="779103"/>
                  <a:pt x="1326854" y="781608"/>
                  <a:pt x="1337267" y="785801"/>
                </a:cubicBezTo>
                <a:cubicBezTo>
                  <a:pt x="1341662" y="787305"/>
                  <a:pt x="1345827" y="788694"/>
                  <a:pt x="1349472" y="789619"/>
                </a:cubicBezTo>
                <a:cubicBezTo>
                  <a:pt x="1356557" y="791308"/>
                  <a:pt x="1363823" y="792141"/>
                  <a:pt x="1371105" y="792106"/>
                </a:cubicBezTo>
                <a:cubicBezTo>
                  <a:pt x="1380037" y="792506"/>
                  <a:pt x="1388939" y="790863"/>
                  <a:pt x="1397135" y="787305"/>
                </a:cubicBezTo>
                <a:cubicBezTo>
                  <a:pt x="1398743" y="786270"/>
                  <a:pt x="1400560" y="785622"/>
                  <a:pt x="1402457" y="785397"/>
                </a:cubicBezTo>
                <a:cubicBezTo>
                  <a:pt x="1403359" y="785321"/>
                  <a:pt x="1404192" y="785871"/>
                  <a:pt x="1404482" y="786727"/>
                </a:cubicBezTo>
                <a:cubicBezTo>
                  <a:pt x="1405407" y="790024"/>
                  <a:pt x="1396788" y="797370"/>
                  <a:pt x="1387765" y="802981"/>
                </a:cubicBezTo>
                <a:cubicBezTo>
                  <a:pt x="1378758" y="808019"/>
                  <a:pt x="1369468" y="812543"/>
                  <a:pt x="1359941" y="816517"/>
                </a:cubicBezTo>
                <a:cubicBezTo>
                  <a:pt x="1342241" y="824441"/>
                  <a:pt x="1322169" y="833407"/>
                  <a:pt x="1310311" y="843241"/>
                </a:cubicBezTo>
                <a:cubicBezTo>
                  <a:pt x="1289834" y="860594"/>
                  <a:pt x="1231643" y="869444"/>
                  <a:pt x="1211976" y="870196"/>
                </a:cubicBezTo>
                <a:cubicBezTo>
                  <a:pt x="1205364" y="870104"/>
                  <a:pt x="1198828" y="871637"/>
                  <a:pt x="1192945" y="874650"/>
                </a:cubicBezTo>
                <a:cubicBezTo>
                  <a:pt x="1186316" y="877953"/>
                  <a:pt x="1178935" y="879469"/>
                  <a:pt x="1171543" y="879046"/>
                </a:cubicBezTo>
                <a:cubicBezTo>
                  <a:pt x="1161189" y="879046"/>
                  <a:pt x="1159974" y="882401"/>
                  <a:pt x="1158412" y="885120"/>
                </a:cubicBezTo>
                <a:cubicBezTo>
                  <a:pt x="1157660" y="886740"/>
                  <a:pt x="1156792" y="888649"/>
                  <a:pt x="1154016" y="888649"/>
                </a:cubicBezTo>
                <a:cubicBezTo>
                  <a:pt x="1150632" y="888203"/>
                  <a:pt x="1147369" y="887104"/>
                  <a:pt x="1144414" y="885409"/>
                </a:cubicBezTo>
                <a:cubicBezTo>
                  <a:pt x="1132845" y="879914"/>
                  <a:pt x="1124110" y="879220"/>
                  <a:pt x="1120813" y="883558"/>
                </a:cubicBezTo>
                <a:cubicBezTo>
                  <a:pt x="1118927" y="886948"/>
                  <a:pt x="1118667" y="891009"/>
                  <a:pt x="1120119" y="894607"/>
                </a:cubicBezTo>
                <a:cubicBezTo>
                  <a:pt x="1122375" y="902531"/>
                  <a:pt x="1115029" y="906175"/>
                  <a:pt x="1107278" y="909762"/>
                </a:cubicBezTo>
                <a:cubicBezTo>
                  <a:pt x="1099526" y="913348"/>
                  <a:pt x="1089404" y="918380"/>
                  <a:pt x="1086222" y="929140"/>
                </a:cubicBezTo>
                <a:cubicBezTo>
                  <a:pt x="1079686" y="951120"/>
                  <a:pt x="1053309" y="974027"/>
                  <a:pt x="1024907" y="982414"/>
                </a:cubicBezTo>
                <a:cubicBezTo>
                  <a:pt x="1014565" y="985318"/>
                  <a:pt x="1003933" y="987065"/>
                  <a:pt x="993209" y="987620"/>
                </a:cubicBezTo>
                <a:cubicBezTo>
                  <a:pt x="984301" y="988256"/>
                  <a:pt x="978400" y="988661"/>
                  <a:pt x="974467" y="992595"/>
                </a:cubicBezTo>
                <a:cubicBezTo>
                  <a:pt x="970534" y="996528"/>
                  <a:pt x="967121" y="996528"/>
                  <a:pt x="965270" y="993578"/>
                </a:cubicBezTo>
                <a:cubicBezTo>
                  <a:pt x="963245" y="987996"/>
                  <a:pt x="963887" y="981795"/>
                  <a:pt x="967005" y="976745"/>
                </a:cubicBezTo>
                <a:cubicBezTo>
                  <a:pt x="967879" y="975311"/>
                  <a:pt x="967989" y="973535"/>
                  <a:pt x="967294" y="972002"/>
                </a:cubicBezTo>
                <a:cubicBezTo>
                  <a:pt x="966039" y="970435"/>
                  <a:pt x="964090" y="969590"/>
                  <a:pt x="962088" y="969746"/>
                </a:cubicBezTo>
                <a:cubicBezTo>
                  <a:pt x="959885" y="969671"/>
                  <a:pt x="957767" y="970585"/>
                  <a:pt x="956304" y="972234"/>
                </a:cubicBezTo>
                <a:cubicBezTo>
                  <a:pt x="955083" y="973905"/>
                  <a:pt x="954783" y="976074"/>
                  <a:pt x="955494" y="978018"/>
                </a:cubicBezTo>
                <a:cubicBezTo>
                  <a:pt x="957056" y="983073"/>
                  <a:pt x="956229" y="988569"/>
                  <a:pt x="953238" y="992942"/>
                </a:cubicBezTo>
                <a:cubicBezTo>
                  <a:pt x="947905" y="999195"/>
                  <a:pt x="940108" y="1002804"/>
                  <a:pt x="931894" y="1002833"/>
                </a:cubicBezTo>
                <a:cubicBezTo>
                  <a:pt x="917317" y="1004279"/>
                  <a:pt x="907483" y="1007634"/>
                  <a:pt x="905575" y="1011857"/>
                </a:cubicBezTo>
                <a:cubicBezTo>
                  <a:pt x="904932" y="1013748"/>
                  <a:pt x="905430" y="1015837"/>
                  <a:pt x="906847" y="1017236"/>
                </a:cubicBezTo>
                <a:cubicBezTo>
                  <a:pt x="909305" y="1019805"/>
                  <a:pt x="910115" y="1023541"/>
                  <a:pt x="908929" y="1026896"/>
                </a:cubicBezTo>
                <a:cubicBezTo>
                  <a:pt x="907489" y="1029343"/>
                  <a:pt x="904759" y="1030743"/>
                  <a:pt x="901930" y="1030483"/>
                </a:cubicBezTo>
                <a:cubicBezTo>
                  <a:pt x="897586" y="1030269"/>
                  <a:pt x="893410" y="1028736"/>
                  <a:pt x="889957" y="1026087"/>
                </a:cubicBezTo>
                <a:cubicBezTo>
                  <a:pt x="888048" y="1024577"/>
                  <a:pt x="885728" y="1023674"/>
                  <a:pt x="883304" y="1023484"/>
                </a:cubicBezTo>
                <a:cubicBezTo>
                  <a:pt x="881633" y="1023275"/>
                  <a:pt x="880100" y="1024426"/>
                  <a:pt x="879834" y="1026087"/>
                </a:cubicBezTo>
                <a:cubicBezTo>
                  <a:pt x="879371" y="1028805"/>
                  <a:pt x="881627" y="1032623"/>
                  <a:pt x="886949" y="1034590"/>
                </a:cubicBezTo>
                <a:cubicBezTo>
                  <a:pt x="893994" y="1036510"/>
                  <a:pt x="898963" y="1042798"/>
                  <a:pt x="899212" y="1050092"/>
                </a:cubicBezTo>
                <a:cubicBezTo>
                  <a:pt x="898871" y="1053719"/>
                  <a:pt x="896013" y="1056605"/>
                  <a:pt x="892386" y="1056975"/>
                </a:cubicBezTo>
                <a:cubicBezTo>
                  <a:pt x="886602" y="1057959"/>
                  <a:pt x="882437" y="1060099"/>
                  <a:pt x="881338" y="1062760"/>
                </a:cubicBezTo>
                <a:cubicBezTo>
                  <a:pt x="880771" y="1064634"/>
                  <a:pt x="881257" y="1066664"/>
                  <a:pt x="882610" y="1068082"/>
                </a:cubicBezTo>
                <a:cubicBezTo>
                  <a:pt x="886179" y="1072779"/>
                  <a:pt x="887429" y="1078841"/>
                  <a:pt x="886023" y="1084567"/>
                </a:cubicBezTo>
                <a:cubicBezTo>
                  <a:pt x="885340" y="1086875"/>
                  <a:pt x="883495" y="1088657"/>
                  <a:pt x="881164" y="1089253"/>
                </a:cubicBezTo>
                <a:cubicBezTo>
                  <a:pt x="878908" y="1089831"/>
                  <a:pt x="878214" y="1093533"/>
                  <a:pt x="877462" y="1097466"/>
                </a:cubicBezTo>
                <a:cubicBezTo>
                  <a:pt x="876479" y="1102730"/>
                  <a:pt x="875322" y="1108746"/>
                  <a:pt x="869884" y="1110250"/>
                </a:cubicBezTo>
                <a:cubicBezTo>
                  <a:pt x="866992" y="1111060"/>
                  <a:pt x="866009" y="1114068"/>
                  <a:pt x="864852" y="1117596"/>
                </a:cubicBezTo>
                <a:cubicBezTo>
                  <a:pt x="863175" y="1122687"/>
                  <a:pt x="861092" y="1129165"/>
                  <a:pt x="851779" y="1129165"/>
                </a:cubicBezTo>
                <a:cubicBezTo>
                  <a:pt x="850680" y="1129246"/>
                  <a:pt x="849581" y="1129246"/>
                  <a:pt x="848482" y="1129165"/>
                </a:cubicBezTo>
                <a:cubicBezTo>
                  <a:pt x="847059" y="1129084"/>
                  <a:pt x="845625" y="1129084"/>
                  <a:pt x="844202" y="1129165"/>
                </a:cubicBezTo>
                <a:cubicBezTo>
                  <a:pt x="836046" y="1129165"/>
                  <a:pt x="832633" y="1132636"/>
                  <a:pt x="831939" y="1135586"/>
                </a:cubicBezTo>
                <a:cubicBezTo>
                  <a:pt x="831372" y="1138096"/>
                  <a:pt x="832835" y="1140618"/>
                  <a:pt x="835294" y="1141370"/>
                </a:cubicBezTo>
                <a:cubicBezTo>
                  <a:pt x="841078" y="1143742"/>
                  <a:pt x="843797" y="1160343"/>
                  <a:pt x="843334" y="1171334"/>
                </a:cubicBezTo>
                <a:cubicBezTo>
                  <a:pt x="843334" y="1176366"/>
                  <a:pt x="842061" y="1184927"/>
                  <a:pt x="837550" y="1186257"/>
                </a:cubicBezTo>
                <a:cubicBezTo>
                  <a:pt x="834253" y="1187241"/>
                  <a:pt x="832980" y="1196901"/>
                  <a:pt x="831765" y="1205404"/>
                </a:cubicBezTo>
                <a:cubicBezTo>
                  <a:pt x="830377" y="1216163"/>
                  <a:pt x="828989" y="1226286"/>
                  <a:pt x="824014" y="1229004"/>
                </a:cubicBezTo>
                <a:cubicBezTo>
                  <a:pt x="820364" y="1231706"/>
                  <a:pt x="817507" y="1235344"/>
                  <a:pt x="815742" y="1239532"/>
                </a:cubicBezTo>
                <a:cubicBezTo>
                  <a:pt x="812677" y="1243234"/>
                  <a:pt x="809669" y="1249019"/>
                  <a:pt x="804289" y="1249019"/>
                </a:cubicBezTo>
                <a:close/>
                <a:moveTo>
                  <a:pt x="726778" y="1214312"/>
                </a:moveTo>
                <a:cubicBezTo>
                  <a:pt x="738347" y="1214312"/>
                  <a:pt x="753328" y="1220386"/>
                  <a:pt x="756510" y="1229062"/>
                </a:cubicBezTo>
                <a:cubicBezTo>
                  <a:pt x="759228" y="1236640"/>
                  <a:pt x="790638" y="1244796"/>
                  <a:pt x="803248" y="1246878"/>
                </a:cubicBezTo>
                <a:cubicBezTo>
                  <a:pt x="807933" y="1247688"/>
                  <a:pt x="810652" y="1242771"/>
                  <a:pt x="813544" y="1237450"/>
                </a:cubicBezTo>
                <a:cubicBezTo>
                  <a:pt x="815459" y="1232805"/>
                  <a:pt x="818646" y="1228796"/>
                  <a:pt x="822742" y="1225881"/>
                </a:cubicBezTo>
                <a:cubicBezTo>
                  <a:pt x="826733" y="1223683"/>
                  <a:pt x="828121" y="1213213"/>
                  <a:pt x="829393" y="1203958"/>
                </a:cubicBezTo>
                <a:cubicBezTo>
                  <a:pt x="830782" y="1193488"/>
                  <a:pt x="831997" y="1184349"/>
                  <a:pt x="836682" y="1182960"/>
                </a:cubicBezTo>
                <a:cubicBezTo>
                  <a:pt x="838880" y="1182266"/>
                  <a:pt x="840442" y="1177176"/>
                  <a:pt x="840789" y="1170061"/>
                </a:cubicBezTo>
                <a:cubicBezTo>
                  <a:pt x="841367" y="1157393"/>
                  <a:pt x="838128" y="1143858"/>
                  <a:pt x="834137" y="1142296"/>
                </a:cubicBezTo>
                <a:cubicBezTo>
                  <a:pt x="830817" y="1141156"/>
                  <a:pt x="828810" y="1137778"/>
                  <a:pt x="829393" y="1134313"/>
                </a:cubicBezTo>
                <a:cubicBezTo>
                  <a:pt x="830145" y="1130496"/>
                  <a:pt x="834368" y="1126041"/>
                  <a:pt x="843912" y="1126041"/>
                </a:cubicBezTo>
                <a:cubicBezTo>
                  <a:pt x="845440" y="1126047"/>
                  <a:pt x="846967" y="1126163"/>
                  <a:pt x="848482" y="1126389"/>
                </a:cubicBezTo>
                <a:cubicBezTo>
                  <a:pt x="849483" y="1126441"/>
                  <a:pt x="850489" y="1126441"/>
                  <a:pt x="851490" y="1126389"/>
                </a:cubicBezTo>
                <a:cubicBezTo>
                  <a:pt x="859183" y="1126389"/>
                  <a:pt x="860745" y="1121530"/>
                  <a:pt x="862423" y="1116439"/>
                </a:cubicBezTo>
                <a:cubicBezTo>
                  <a:pt x="863638" y="1112622"/>
                  <a:pt x="864910" y="1108746"/>
                  <a:pt x="869017" y="1107589"/>
                </a:cubicBezTo>
                <a:cubicBezTo>
                  <a:pt x="873124" y="1106432"/>
                  <a:pt x="874049" y="1101458"/>
                  <a:pt x="874801" y="1096599"/>
                </a:cubicBezTo>
                <a:cubicBezTo>
                  <a:pt x="875553" y="1091740"/>
                  <a:pt x="876479" y="1087517"/>
                  <a:pt x="880181" y="1086592"/>
                </a:cubicBezTo>
                <a:cubicBezTo>
                  <a:pt x="881766" y="1086169"/>
                  <a:pt x="882998" y="1084937"/>
                  <a:pt x="883420" y="1083352"/>
                </a:cubicBezTo>
                <a:cubicBezTo>
                  <a:pt x="884571" y="1078355"/>
                  <a:pt x="883449" y="1073103"/>
                  <a:pt x="880354" y="1069007"/>
                </a:cubicBezTo>
                <a:cubicBezTo>
                  <a:pt x="878486" y="1066983"/>
                  <a:pt x="877884" y="1064090"/>
                  <a:pt x="878793" y="1061487"/>
                </a:cubicBezTo>
                <a:cubicBezTo>
                  <a:pt x="880181" y="1057959"/>
                  <a:pt x="884577" y="1055703"/>
                  <a:pt x="891576" y="1054257"/>
                </a:cubicBezTo>
                <a:cubicBezTo>
                  <a:pt x="894196" y="1054089"/>
                  <a:pt x="896296" y="1052018"/>
                  <a:pt x="896493" y="1049398"/>
                </a:cubicBezTo>
                <a:cubicBezTo>
                  <a:pt x="896054" y="1043180"/>
                  <a:pt x="891744" y="1037922"/>
                  <a:pt x="885734" y="1036267"/>
                </a:cubicBezTo>
                <a:cubicBezTo>
                  <a:pt x="878908" y="1033722"/>
                  <a:pt x="876537" y="1028747"/>
                  <a:pt x="877173" y="1025219"/>
                </a:cubicBezTo>
                <a:cubicBezTo>
                  <a:pt x="877618" y="1022437"/>
                  <a:pt x="880152" y="1020487"/>
                  <a:pt x="882957" y="1020765"/>
                </a:cubicBezTo>
                <a:cubicBezTo>
                  <a:pt x="885838" y="1020962"/>
                  <a:pt x="888597" y="1022009"/>
                  <a:pt x="890882" y="1023773"/>
                </a:cubicBezTo>
                <a:cubicBezTo>
                  <a:pt x="893982" y="1026121"/>
                  <a:pt x="897702" y="1027510"/>
                  <a:pt x="901583" y="1027764"/>
                </a:cubicBezTo>
                <a:cubicBezTo>
                  <a:pt x="903556" y="1027990"/>
                  <a:pt x="905488" y="1027070"/>
                  <a:pt x="906558" y="1025392"/>
                </a:cubicBezTo>
                <a:cubicBezTo>
                  <a:pt x="907483" y="1023599"/>
                  <a:pt x="906558" y="1020938"/>
                  <a:pt x="904649" y="1018104"/>
                </a:cubicBezTo>
                <a:cubicBezTo>
                  <a:pt x="902752" y="1016045"/>
                  <a:pt x="902191" y="1013083"/>
                  <a:pt x="903203" y="1010469"/>
                </a:cubicBezTo>
                <a:cubicBezTo>
                  <a:pt x="906269" y="1003527"/>
                  <a:pt x="922118" y="1001040"/>
                  <a:pt x="931315" y="1000172"/>
                </a:cubicBezTo>
                <a:cubicBezTo>
                  <a:pt x="938870" y="1000138"/>
                  <a:pt x="946048" y="996875"/>
                  <a:pt x="951040" y="991206"/>
                </a:cubicBezTo>
                <a:cubicBezTo>
                  <a:pt x="953620" y="987360"/>
                  <a:pt x="954320" y="982559"/>
                  <a:pt x="952949" y="978134"/>
                </a:cubicBezTo>
                <a:cubicBezTo>
                  <a:pt x="952133" y="975571"/>
                  <a:pt x="952608" y="972766"/>
                  <a:pt x="954222" y="970614"/>
                </a:cubicBezTo>
                <a:cubicBezTo>
                  <a:pt x="956107" y="968370"/>
                  <a:pt x="958930" y="967132"/>
                  <a:pt x="961857" y="967259"/>
                </a:cubicBezTo>
                <a:cubicBezTo>
                  <a:pt x="964645" y="967085"/>
                  <a:pt x="967329" y="968352"/>
                  <a:pt x="968972" y="970614"/>
                </a:cubicBezTo>
                <a:cubicBezTo>
                  <a:pt x="970221" y="972760"/>
                  <a:pt x="970221" y="975409"/>
                  <a:pt x="968972" y="977555"/>
                </a:cubicBezTo>
                <a:cubicBezTo>
                  <a:pt x="966224" y="981899"/>
                  <a:pt x="965548" y="987238"/>
                  <a:pt x="967121" y="992132"/>
                </a:cubicBezTo>
                <a:cubicBezTo>
                  <a:pt x="968278" y="993983"/>
                  <a:pt x="970302" y="993289"/>
                  <a:pt x="972905" y="990801"/>
                </a:cubicBezTo>
                <a:cubicBezTo>
                  <a:pt x="977475" y="986232"/>
                  <a:pt x="984069" y="985769"/>
                  <a:pt x="993151" y="985017"/>
                </a:cubicBezTo>
                <a:cubicBezTo>
                  <a:pt x="1003707" y="984514"/>
                  <a:pt x="1014171" y="982784"/>
                  <a:pt x="1024329" y="979869"/>
                </a:cubicBezTo>
                <a:cubicBezTo>
                  <a:pt x="1051632" y="971829"/>
                  <a:pt x="1077893" y="949154"/>
                  <a:pt x="1084082" y="928156"/>
                </a:cubicBezTo>
                <a:cubicBezTo>
                  <a:pt x="1087553" y="916587"/>
                  <a:pt x="1097964" y="911439"/>
                  <a:pt x="1106352" y="907390"/>
                </a:cubicBezTo>
                <a:cubicBezTo>
                  <a:pt x="1114739" y="903341"/>
                  <a:pt x="1119656" y="900680"/>
                  <a:pt x="1117921" y="894838"/>
                </a:cubicBezTo>
                <a:cubicBezTo>
                  <a:pt x="1116215" y="890575"/>
                  <a:pt x="1116602" y="885762"/>
                  <a:pt x="1118962" y="881823"/>
                </a:cubicBezTo>
                <a:cubicBezTo>
                  <a:pt x="1123011" y="876559"/>
                  <a:pt x="1132614" y="876964"/>
                  <a:pt x="1145281" y="883038"/>
                </a:cubicBezTo>
                <a:cubicBezTo>
                  <a:pt x="1147959" y="884559"/>
                  <a:pt x="1150904" y="885560"/>
                  <a:pt x="1153958" y="885988"/>
                </a:cubicBezTo>
                <a:cubicBezTo>
                  <a:pt x="1155230" y="885988"/>
                  <a:pt x="1155520" y="885467"/>
                  <a:pt x="1156330" y="883790"/>
                </a:cubicBezTo>
                <a:cubicBezTo>
                  <a:pt x="1157660" y="880897"/>
                  <a:pt x="1159685" y="876443"/>
                  <a:pt x="1171485" y="876443"/>
                </a:cubicBezTo>
                <a:cubicBezTo>
                  <a:pt x="1178548" y="876871"/>
                  <a:pt x="1185593" y="875414"/>
                  <a:pt x="1191904" y="872221"/>
                </a:cubicBezTo>
                <a:cubicBezTo>
                  <a:pt x="1198105" y="869138"/>
                  <a:pt x="1204936" y="867553"/>
                  <a:pt x="1211860" y="867593"/>
                </a:cubicBezTo>
                <a:cubicBezTo>
                  <a:pt x="1234998" y="866726"/>
                  <a:pt x="1290355" y="856603"/>
                  <a:pt x="1308865" y="841158"/>
                </a:cubicBezTo>
                <a:cubicBezTo>
                  <a:pt x="1320954" y="831151"/>
                  <a:pt x="1341200" y="822070"/>
                  <a:pt x="1359016" y="814145"/>
                </a:cubicBezTo>
                <a:cubicBezTo>
                  <a:pt x="1368433" y="810183"/>
                  <a:pt x="1377624" y="805706"/>
                  <a:pt x="1386550" y="800725"/>
                </a:cubicBezTo>
                <a:cubicBezTo>
                  <a:pt x="1392733" y="797515"/>
                  <a:pt x="1398101" y="792922"/>
                  <a:pt x="1402226" y="787305"/>
                </a:cubicBezTo>
                <a:cubicBezTo>
                  <a:pt x="1400797" y="787612"/>
                  <a:pt x="1399426" y="788161"/>
                  <a:pt x="1398176" y="788925"/>
                </a:cubicBezTo>
                <a:cubicBezTo>
                  <a:pt x="1389662" y="792673"/>
                  <a:pt x="1380401" y="794414"/>
                  <a:pt x="1371105" y="794015"/>
                </a:cubicBezTo>
                <a:cubicBezTo>
                  <a:pt x="1363626" y="794062"/>
                  <a:pt x="1356170" y="793206"/>
                  <a:pt x="1348893" y="791470"/>
                </a:cubicBezTo>
                <a:cubicBezTo>
                  <a:pt x="1345191" y="790545"/>
                  <a:pt x="1341026" y="789098"/>
                  <a:pt x="1336572" y="787595"/>
                </a:cubicBezTo>
                <a:cubicBezTo>
                  <a:pt x="1326380" y="783488"/>
                  <a:pt x="1315604" y="781029"/>
                  <a:pt x="1304642" y="780306"/>
                </a:cubicBezTo>
                <a:cubicBezTo>
                  <a:pt x="1299234" y="780191"/>
                  <a:pt x="1293889" y="781486"/>
                  <a:pt x="1289140" y="784066"/>
                </a:cubicBezTo>
                <a:cubicBezTo>
                  <a:pt x="1286901" y="785535"/>
                  <a:pt x="1284339" y="786443"/>
                  <a:pt x="1281678" y="786727"/>
                </a:cubicBezTo>
                <a:cubicBezTo>
                  <a:pt x="1279769" y="786918"/>
                  <a:pt x="1278069" y="785529"/>
                  <a:pt x="1277878" y="783621"/>
                </a:cubicBezTo>
                <a:cubicBezTo>
                  <a:pt x="1277866" y="783517"/>
                  <a:pt x="1277860" y="783418"/>
                  <a:pt x="1277860" y="783314"/>
                </a:cubicBezTo>
                <a:cubicBezTo>
                  <a:pt x="1277398" y="777530"/>
                  <a:pt x="1286421" y="765961"/>
                  <a:pt x="1296486" y="764225"/>
                </a:cubicBezTo>
                <a:cubicBezTo>
                  <a:pt x="1300998" y="763473"/>
                  <a:pt x="1303601" y="762374"/>
                  <a:pt x="1304642" y="760697"/>
                </a:cubicBezTo>
                <a:cubicBezTo>
                  <a:pt x="1305683" y="759020"/>
                  <a:pt x="1304642" y="754276"/>
                  <a:pt x="1303080" y="748723"/>
                </a:cubicBezTo>
                <a:cubicBezTo>
                  <a:pt x="1302213" y="746062"/>
                  <a:pt x="1301287" y="742939"/>
                  <a:pt x="1300477" y="739700"/>
                </a:cubicBezTo>
                <a:cubicBezTo>
                  <a:pt x="1299650" y="737386"/>
                  <a:pt x="1299945" y="734817"/>
                  <a:pt x="1301287" y="732758"/>
                </a:cubicBezTo>
                <a:cubicBezTo>
                  <a:pt x="1302768" y="731144"/>
                  <a:pt x="1304885" y="730277"/>
                  <a:pt x="1307072" y="730387"/>
                </a:cubicBezTo>
                <a:cubicBezTo>
                  <a:pt x="1316095" y="730387"/>
                  <a:pt x="1332176" y="739121"/>
                  <a:pt x="1340968" y="751731"/>
                </a:cubicBezTo>
                <a:cubicBezTo>
                  <a:pt x="1351074" y="765637"/>
                  <a:pt x="1367276" y="773799"/>
                  <a:pt x="1384467" y="773654"/>
                </a:cubicBezTo>
                <a:cubicBezTo>
                  <a:pt x="1389534" y="773648"/>
                  <a:pt x="1394578" y="772931"/>
                  <a:pt x="1399449" y="771514"/>
                </a:cubicBezTo>
                <a:cubicBezTo>
                  <a:pt x="1411018" y="768043"/>
                  <a:pt x="1409572" y="761565"/>
                  <a:pt x="1407547" y="753351"/>
                </a:cubicBezTo>
                <a:cubicBezTo>
                  <a:pt x="1405152" y="747584"/>
                  <a:pt x="1405540" y="741042"/>
                  <a:pt x="1408588" y="735592"/>
                </a:cubicBezTo>
                <a:cubicBezTo>
                  <a:pt x="1409017" y="734945"/>
                  <a:pt x="1409167" y="734152"/>
                  <a:pt x="1408993" y="733394"/>
                </a:cubicBezTo>
                <a:cubicBezTo>
                  <a:pt x="1407721" y="726048"/>
                  <a:pt x="1387765" y="712513"/>
                  <a:pt x="1370180" y="700539"/>
                </a:cubicBezTo>
                <a:cubicBezTo>
                  <a:pt x="1353521" y="688970"/>
                  <a:pt x="1339175" y="679484"/>
                  <a:pt x="1337324" y="673583"/>
                </a:cubicBezTo>
                <a:cubicBezTo>
                  <a:pt x="1336486" y="671715"/>
                  <a:pt x="1336613" y="669552"/>
                  <a:pt x="1337671" y="667799"/>
                </a:cubicBezTo>
                <a:cubicBezTo>
                  <a:pt x="1339141" y="666197"/>
                  <a:pt x="1341298" y="665398"/>
                  <a:pt x="1343456" y="665659"/>
                </a:cubicBezTo>
                <a:cubicBezTo>
                  <a:pt x="1351149" y="665659"/>
                  <a:pt x="1365205" y="671443"/>
                  <a:pt x="1379261" y="677228"/>
                </a:cubicBezTo>
                <a:cubicBezTo>
                  <a:pt x="1381650" y="678298"/>
                  <a:pt x="1384224" y="678888"/>
                  <a:pt x="1386839" y="678963"/>
                </a:cubicBezTo>
                <a:cubicBezTo>
                  <a:pt x="1400548" y="678963"/>
                  <a:pt x="1403556" y="658023"/>
                  <a:pt x="1403556" y="650041"/>
                </a:cubicBezTo>
                <a:cubicBezTo>
                  <a:pt x="1403556" y="645471"/>
                  <a:pt x="1393028" y="642290"/>
                  <a:pt x="1378047" y="642290"/>
                </a:cubicBezTo>
                <a:cubicBezTo>
                  <a:pt x="1364858" y="641902"/>
                  <a:pt x="1351762" y="644615"/>
                  <a:pt x="1339812" y="650214"/>
                </a:cubicBezTo>
                <a:cubicBezTo>
                  <a:pt x="1336462" y="652129"/>
                  <a:pt x="1332679" y="653141"/>
                  <a:pt x="1328821" y="653164"/>
                </a:cubicBezTo>
                <a:cubicBezTo>
                  <a:pt x="1321145" y="653876"/>
                  <a:pt x="1314135" y="648774"/>
                  <a:pt x="1312451" y="641248"/>
                </a:cubicBezTo>
                <a:cubicBezTo>
                  <a:pt x="1312451" y="639108"/>
                  <a:pt x="1312972" y="631993"/>
                  <a:pt x="1327028" y="630316"/>
                </a:cubicBezTo>
                <a:cubicBezTo>
                  <a:pt x="1333969" y="629506"/>
                  <a:pt x="1337961" y="628118"/>
                  <a:pt x="1339002" y="626151"/>
                </a:cubicBezTo>
                <a:cubicBezTo>
                  <a:pt x="1339869" y="624531"/>
                  <a:pt x="1338597" y="622218"/>
                  <a:pt x="1337324" y="619730"/>
                </a:cubicBezTo>
                <a:cubicBezTo>
                  <a:pt x="1335416" y="616202"/>
                  <a:pt x="1333102" y="611806"/>
                  <a:pt x="1336862" y="608162"/>
                </a:cubicBezTo>
                <a:cubicBezTo>
                  <a:pt x="1338105" y="607028"/>
                  <a:pt x="1339754" y="606444"/>
                  <a:pt x="1341431" y="606542"/>
                </a:cubicBezTo>
                <a:cubicBezTo>
                  <a:pt x="1349142" y="607953"/>
                  <a:pt x="1356506" y="610840"/>
                  <a:pt x="1363123" y="615045"/>
                </a:cubicBezTo>
                <a:cubicBezTo>
                  <a:pt x="1373303" y="620309"/>
                  <a:pt x="1384814" y="626267"/>
                  <a:pt x="1393491" y="626267"/>
                </a:cubicBezTo>
                <a:cubicBezTo>
                  <a:pt x="1394978" y="626296"/>
                  <a:pt x="1396458" y="626099"/>
                  <a:pt x="1397887" y="625688"/>
                </a:cubicBezTo>
                <a:cubicBezTo>
                  <a:pt x="1404158" y="623808"/>
                  <a:pt x="1410659" y="622796"/>
                  <a:pt x="1417207" y="622680"/>
                </a:cubicBezTo>
                <a:cubicBezTo>
                  <a:pt x="1426682" y="623137"/>
                  <a:pt x="1436018" y="620251"/>
                  <a:pt x="1443584" y="614524"/>
                </a:cubicBezTo>
                <a:cubicBezTo>
                  <a:pt x="1445609" y="612905"/>
                  <a:pt x="1446592" y="611343"/>
                  <a:pt x="1446419" y="609723"/>
                </a:cubicBezTo>
                <a:cubicBezTo>
                  <a:pt x="1445898" y="604575"/>
                  <a:pt x="1434850" y="598906"/>
                  <a:pt x="1425363" y="593874"/>
                </a:cubicBezTo>
                <a:cubicBezTo>
                  <a:pt x="1418682" y="591040"/>
                  <a:pt x="1412504" y="587129"/>
                  <a:pt x="1407084" y="582305"/>
                </a:cubicBezTo>
                <a:cubicBezTo>
                  <a:pt x="1405922" y="581258"/>
                  <a:pt x="1405528" y="579598"/>
                  <a:pt x="1406101" y="578140"/>
                </a:cubicBezTo>
                <a:cubicBezTo>
                  <a:pt x="1407142" y="575884"/>
                  <a:pt x="1411018" y="573339"/>
                  <a:pt x="1432131" y="573339"/>
                </a:cubicBezTo>
                <a:cubicBezTo>
                  <a:pt x="1442775" y="573339"/>
                  <a:pt x="1454806" y="574033"/>
                  <a:pt x="1462788" y="574438"/>
                </a:cubicBezTo>
                <a:lnTo>
                  <a:pt x="1468573" y="574785"/>
                </a:lnTo>
                <a:cubicBezTo>
                  <a:pt x="1475786" y="575138"/>
                  <a:pt x="1481918" y="569579"/>
                  <a:pt x="1482271" y="562372"/>
                </a:cubicBezTo>
                <a:cubicBezTo>
                  <a:pt x="1482276" y="562285"/>
                  <a:pt x="1482282" y="562204"/>
                  <a:pt x="1482282" y="562118"/>
                </a:cubicBezTo>
                <a:cubicBezTo>
                  <a:pt x="1482282" y="560845"/>
                  <a:pt x="1482282" y="557837"/>
                  <a:pt x="1478869" y="557837"/>
                </a:cubicBezTo>
                <a:cubicBezTo>
                  <a:pt x="1477938" y="557860"/>
                  <a:pt x="1477024" y="558039"/>
                  <a:pt x="1476150" y="558358"/>
                </a:cubicBezTo>
                <a:cubicBezTo>
                  <a:pt x="1474479" y="558936"/>
                  <a:pt x="1472715" y="559208"/>
                  <a:pt x="1470945" y="559167"/>
                </a:cubicBezTo>
                <a:cubicBezTo>
                  <a:pt x="1457120" y="559167"/>
                  <a:pt x="1431611" y="547599"/>
                  <a:pt x="1425479" y="536030"/>
                </a:cubicBezTo>
                <a:cubicBezTo>
                  <a:pt x="1423512" y="532964"/>
                  <a:pt x="1423512" y="529031"/>
                  <a:pt x="1425479" y="525965"/>
                </a:cubicBezTo>
                <a:cubicBezTo>
                  <a:pt x="1428348" y="521459"/>
                  <a:pt x="1433456" y="518885"/>
                  <a:pt x="1438783" y="519255"/>
                </a:cubicBezTo>
                <a:cubicBezTo>
                  <a:pt x="1441727" y="519342"/>
                  <a:pt x="1444666" y="519608"/>
                  <a:pt x="1447575" y="520065"/>
                </a:cubicBezTo>
                <a:cubicBezTo>
                  <a:pt x="1451173" y="520637"/>
                  <a:pt x="1454806" y="520967"/>
                  <a:pt x="1458450" y="521048"/>
                </a:cubicBezTo>
                <a:cubicBezTo>
                  <a:pt x="1463697" y="521158"/>
                  <a:pt x="1468891" y="519943"/>
                  <a:pt x="1473548" y="517520"/>
                </a:cubicBezTo>
                <a:cubicBezTo>
                  <a:pt x="1483960" y="512082"/>
                  <a:pt x="1482109" y="499241"/>
                  <a:pt x="1480778" y="493977"/>
                </a:cubicBezTo>
                <a:cubicBezTo>
                  <a:pt x="1477654" y="481193"/>
                  <a:pt x="1468342" y="469567"/>
                  <a:pt x="1461169" y="469567"/>
                </a:cubicBezTo>
                <a:cubicBezTo>
                  <a:pt x="1449600" y="469567"/>
                  <a:pt x="1411596" y="465460"/>
                  <a:pt x="1411596" y="456320"/>
                </a:cubicBezTo>
                <a:cubicBezTo>
                  <a:pt x="1411596" y="453775"/>
                  <a:pt x="1405812" y="450536"/>
                  <a:pt x="1401242" y="447991"/>
                </a:cubicBezTo>
                <a:cubicBezTo>
                  <a:pt x="1396672" y="445446"/>
                  <a:pt x="1390368" y="442206"/>
                  <a:pt x="1389963" y="438446"/>
                </a:cubicBezTo>
                <a:cubicBezTo>
                  <a:pt x="1389864" y="436919"/>
                  <a:pt x="1390535" y="435439"/>
                  <a:pt x="1391756" y="434513"/>
                </a:cubicBezTo>
                <a:cubicBezTo>
                  <a:pt x="1393318" y="433026"/>
                  <a:pt x="1395388" y="432199"/>
                  <a:pt x="1397540" y="432199"/>
                </a:cubicBezTo>
                <a:cubicBezTo>
                  <a:pt x="1399860" y="432338"/>
                  <a:pt x="1402150" y="432766"/>
                  <a:pt x="1404366" y="433472"/>
                </a:cubicBezTo>
                <a:cubicBezTo>
                  <a:pt x="1407437" y="434438"/>
                  <a:pt x="1410630" y="434982"/>
                  <a:pt x="1413852" y="435091"/>
                </a:cubicBezTo>
                <a:cubicBezTo>
                  <a:pt x="1419353" y="434883"/>
                  <a:pt x="1424623" y="432853"/>
                  <a:pt x="1428834" y="429307"/>
                </a:cubicBezTo>
                <a:cubicBezTo>
                  <a:pt x="1435151" y="425107"/>
                  <a:pt x="1442664" y="423083"/>
                  <a:pt x="1450236" y="423523"/>
                </a:cubicBezTo>
                <a:cubicBezTo>
                  <a:pt x="1459486" y="423846"/>
                  <a:pt x="1468694" y="424928"/>
                  <a:pt x="1477770" y="426762"/>
                </a:cubicBezTo>
                <a:cubicBezTo>
                  <a:pt x="1486233" y="428769"/>
                  <a:pt x="1494944" y="429533"/>
                  <a:pt x="1503626" y="429018"/>
                </a:cubicBezTo>
                <a:cubicBezTo>
                  <a:pt x="1506530" y="428862"/>
                  <a:pt x="1508752" y="426380"/>
                  <a:pt x="1508595" y="423476"/>
                </a:cubicBezTo>
                <a:cubicBezTo>
                  <a:pt x="1508578" y="423199"/>
                  <a:pt x="1508543" y="422927"/>
                  <a:pt x="1508486" y="422655"/>
                </a:cubicBezTo>
                <a:cubicBezTo>
                  <a:pt x="1507734" y="414152"/>
                  <a:pt x="1496338" y="401484"/>
                  <a:pt x="1489455" y="401484"/>
                </a:cubicBezTo>
                <a:cubicBezTo>
                  <a:pt x="1488732" y="401507"/>
                  <a:pt x="1488020" y="401681"/>
                  <a:pt x="1487372" y="402005"/>
                </a:cubicBezTo>
                <a:cubicBezTo>
                  <a:pt x="1481061" y="404943"/>
                  <a:pt x="1474143" y="406349"/>
                  <a:pt x="1467185" y="406111"/>
                </a:cubicBezTo>
                <a:cubicBezTo>
                  <a:pt x="1451740" y="406111"/>
                  <a:pt x="1441791" y="400616"/>
                  <a:pt x="1440461" y="391477"/>
                </a:cubicBezTo>
                <a:cubicBezTo>
                  <a:pt x="1439980" y="389227"/>
                  <a:pt x="1440507" y="386884"/>
                  <a:pt x="1441907" y="385056"/>
                </a:cubicBezTo>
                <a:cubicBezTo>
                  <a:pt x="1444209" y="382956"/>
                  <a:pt x="1447315" y="381961"/>
                  <a:pt x="1450410" y="382337"/>
                </a:cubicBezTo>
                <a:cubicBezTo>
                  <a:pt x="1454129" y="382465"/>
                  <a:pt x="1457843" y="382835"/>
                  <a:pt x="1461516" y="383436"/>
                </a:cubicBezTo>
                <a:cubicBezTo>
                  <a:pt x="1464923" y="384003"/>
                  <a:pt x="1468359" y="384350"/>
                  <a:pt x="1471812" y="384478"/>
                </a:cubicBezTo>
                <a:cubicBezTo>
                  <a:pt x="1474994" y="384478"/>
                  <a:pt x="1476960" y="383899"/>
                  <a:pt x="1477597" y="382627"/>
                </a:cubicBezTo>
                <a:cubicBezTo>
                  <a:pt x="1477597" y="382627"/>
                  <a:pt x="1478059" y="381990"/>
                  <a:pt x="1477597" y="380949"/>
                </a:cubicBezTo>
                <a:cubicBezTo>
                  <a:pt x="1474415" y="374818"/>
                  <a:pt x="1453129" y="365852"/>
                  <a:pt x="1438205" y="365852"/>
                </a:cubicBezTo>
                <a:cubicBezTo>
                  <a:pt x="1433288" y="365852"/>
                  <a:pt x="1426983" y="366835"/>
                  <a:pt x="1424669" y="371636"/>
                </a:cubicBezTo>
                <a:cubicBezTo>
                  <a:pt x="1420973" y="378844"/>
                  <a:pt x="1413505" y="383327"/>
                  <a:pt x="1405407" y="383205"/>
                </a:cubicBezTo>
                <a:cubicBezTo>
                  <a:pt x="1400664" y="383205"/>
                  <a:pt x="1397193" y="381643"/>
                  <a:pt x="1396441" y="379098"/>
                </a:cubicBezTo>
                <a:cubicBezTo>
                  <a:pt x="1395978" y="377479"/>
                  <a:pt x="1396441" y="374933"/>
                  <a:pt x="1401242" y="371868"/>
                </a:cubicBezTo>
                <a:cubicBezTo>
                  <a:pt x="1415472" y="362902"/>
                  <a:pt x="1419463" y="337161"/>
                  <a:pt x="1417670" y="322064"/>
                </a:cubicBezTo>
                <a:cubicBezTo>
                  <a:pt x="1416918" y="315238"/>
                  <a:pt x="1427156" y="311710"/>
                  <a:pt x="1439072" y="307545"/>
                </a:cubicBezTo>
                <a:cubicBezTo>
                  <a:pt x="1453360" y="302570"/>
                  <a:pt x="1469614" y="296959"/>
                  <a:pt x="1466201" y="285101"/>
                </a:cubicBezTo>
                <a:cubicBezTo>
                  <a:pt x="1464391" y="279895"/>
                  <a:pt x="1465276" y="274134"/>
                  <a:pt x="1468573" y="269715"/>
                </a:cubicBezTo>
                <a:cubicBezTo>
                  <a:pt x="1478001" y="257162"/>
                  <a:pt x="1504610" y="256179"/>
                  <a:pt x="1512535" y="256179"/>
                </a:cubicBezTo>
                <a:cubicBezTo>
                  <a:pt x="1514305" y="256312"/>
                  <a:pt x="1516069" y="255930"/>
                  <a:pt x="1517625" y="255080"/>
                </a:cubicBezTo>
                <a:cubicBezTo>
                  <a:pt x="1518470" y="254513"/>
                  <a:pt x="1518973" y="253553"/>
                  <a:pt x="1518955" y="252535"/>
                </a:cubicBezTo>
                <a:cubicBezTo>
                  <a:pt x="1518955" y="246346"/>
                  <a:pt x="1505940" y="235182"/>
                  <a:pt x="1494082" y="236628"/>
                </a:cubicBezTo>
                <a:cubicBezTo>
                  <a:pt x="1486221" y="238386"/>
                  <a:pt x="1478725" y="241498"/>
                  <a:pt x="1471928" y="245825"/>
                </a:cubicBezTo>
                <a:cubicBezTo>
                  <a:pt x="1466531" y="249608"/>
                  <a:pt x="1460336" y="252101"/>
                  <a:pt x="1453823" y="253113"/>
                </a:cubicBezTo>
                <a:cubicBezTo>
                  <a:pt x="1451688" y="253125"/>
                  <a:pt x="1449623" y="252344"/>
                  <a:pt x="1448038" y="250915"/>
                </a:cubicBezTo>
                <a:cubicBezTo>
                  <a:pt x="1446176" y="249365"/>
                  <a:pt x="1445563" y="246774"/>
                  <a:pt x="1446534" y="244552"/>
                </a:cubicBezTo>
                <a:cubicBezTo>
                  <a:pt x="1449889" y="235934"/>
                  <a:pt x="1472911" y="226331"/>
                  <a:pt x="1485984" y="226331"/>
                </a:cubicBezTo>
                <a:cubicBezTo>
                  <a:pt x="1505246" y="226331"/>
                  <a:pt x="1541283" y="224307"/>
                  <a:pt x="1554067" y="216787"/>
                </a:cubicBezTo>
                <a:cubicBezTo>
                  <a:pt x="1555050" y="216209"/>
                  <a:pt x="1556670" y="215052"/>
                  <a:pt x="1556380" y="214068"/>
                </a:cubicBezTo>
                <a:cubicBezTo>
                  <a:pt x="1555339" y="210308"/>
                  <a:pt x="1538449" y="205970"/>
                  <a:pt x="1518203" y="205970"/>
                </a:cubicBezTo>
                <a:cubicBezTo>
                  <a:pt x="1513680" y="205959"/>
                  <a:pt x="1509157" y="206231"/>
                  <a:pt x="1504668" y="206780"/>
                </a:cubicBezTo>
                <a:cubicBezTo>
                  <a:pt x="1501828" y="207127"/>
                  <a:pt x="1498970" y="207318"/>
                  <a:pt x="1496107" y="207358"/>
                </a:cubicBezTo>
                <a:cubicBezTo>
                  <a:pt x="1489223" y="207358"/>
                  <a:pt x="1485406" y="205970"/>
                  <a:pt x="1485406" y="203483"/>
                </a:cubicBezTo>
                <a:cubicBezTo>
                  <a:pt x="1485406" y="199202"/>
                  <a:pt x="1498247" y="196021"/>
                  <a:pt x="1517451" y="195616"/>
                </a:cubicBezTo>
                <a:cubicBezTo>
                  <a:pt x="1539664" y="195153"/>
                  <a:pt x="1546778" y="192319"/>
                  <a:pt x="1554298" y="189369"/>
                </a:cubicBezTo>
                <a:cubicBezTo>
                  <a:pt x="1561662" y="186245"/>
                  <a:pt x="1569471" y="184296"/>
                  <a:pt x="1577436" y="183584"/>
                </a:cubicBezTo>
                <a:cubicBezTo>
                  <a:pt x="1592129" y="181849"/>
                  <a:pt x="1596004" y="177800"/>
                  <a:pt x="1599417" y="174329"/>
                </a:cubicBezTo>
                <a:cubicBezTo>
                  <a:pt x="1602754" y="170298"/>
                  <a:pt x="1607775" y="168030"/>
                  <a:pt x="1613010" y="168198"/>
                </a:cubicBezTo>
                <a:cubicBezTo>
                  <a:pt x="1631058" y="167388"/>
                  <a:pt x="1673342" y="148357"/>
                  <a:pt x="1673342" y="141069"/>
                </a:cubicBezTo>
                <a:cubicBezTo>
                  <a:pt x="1673342" y="133781"/>
                  <a:pt x="1611622" y="115560"/>
                  <a:pt x="1580791" y="115560"/>
                </a:cubicBezTo>
                <a:cubicBezTo>
                  <a:pt x="1544291" y="115560"/>
                  <a:pt x="1527458" y="123195"/>
                  <a:pt x="1526186" y="140375"/>
                </a:cubicBezTo>
                <a:cubicBezTo>
                  <a:pt x="1525665" y="146853"/>
                  <a:pt x="1521963" y="149977"/>
                  <a:pt x="1514617" y="149977"/>
                </a:cubicBezTo>
                <a:cubicBezTo>
                  <a:pt x="1508480" y="149589"/>
                  <a:pt x="1502406" y="148502"/>
                  <a:pt x="1496512" y="146738"/>
                </a:cubicBezTo>
                <a:cubicBezTo>
                  <a:pt x="1490045" y="144852"/>
                  <a:pt x="1483393" y="143689"/>
                  <a:pt x="1476671" y="143267"/>
                </a:cubicBezTo>
                <a:cubicBezTo>
                  <a:pt x="1474253" y="143174"/>
                  <a:pt x="1471847" y="143608"/>
                  <a:pt x="1469614" y="144540"/>
                </a:cubicBezTo>
                <a:cubicBezTo>
                  <a:pt x="1467810" y="145430"/>
                  <a:pt x="1465843" y="145939"/>
                  <a:pt x="1463830" y="146044"/>
                </a:cubicBezTo>
                <a:cubicBezTo>
                  <a:pt x="1459318" y="146044"/>
                  <a:pt x="1457583" y="142457"/>
                  <a:pt x="1456021" y="139334"/>
                </a:cubicBezTo>
                <a:cubicBezTo>
                  <a:pt x="1454459" y="136210"/>
                  <a:pt x="1453302" y="134070"/>
                  <a:pt x="1450583" y="134070"/>
                </a:cubicBezTo>
                <a:cubicBezTo>
                  <a:pt x="1448767" y="134180"/>
                  <a:pt x="1447003" y="134712"/>
                  <a:pt x="1445435" y="135632"/>
                </a:cubicBezTo>
                <a:cubicBezTo>
                  <a:pt x="1437534" y="140039"/>
                  <a:pt x="1430060" y="145170"/>
                  <a:pt x="1423107" y="150960"/>
                </a:cubicBezTo>
                <a:cubicBezTo>
                  <a:pt x="1413667" y="159012"/>
                  <a:pt x="1403226" y="165820"/>
                  <a:pt x="1392045" y="171206"/>
                </a:cubicBezTo>
                <a:cubicBezTo>
                  <a:pt x="1382871" y="175585"/>
                  <a:pt x="1374391" y="181294"/>
                  <a:pt x="1366883" y="188154"/>
                </a:cubicBezTo>
                <a:cubicBezTo>
                  <a:pt x="1358958" y="194633"/>
                  <a:pt x="1352190" y="200301"/>
                  <a:pt x="1345712" y="201169"/>
                </a:cubicBezTo>
                <a:cubicBezTo>
                  <a:pt x="1343340" y="201169"/>
                  <a:pt x="1342530" y="200359"/>
                  <a:pt x="1342299" y="199723"/>
                </a:cubicBezTo>
                <a:cubicBezTo>
                  <a:pt x="1341026" y="196657"/>
                  <a:pt x="1345249" y="187402"/>
                  <a:pt x="1389963" y="142689"/>
                </a:cubicBezTo>
                <a:cubicBezTo>
                  <a:pt x="1398524" y="134128"/>
                  <a:pt x="1401532" y="124294"/>
                  <a:pt x="1398350" y="116312"/>
                </a:cubicBezTo>
                <a:cubicBezTo>
                  <a:pt x="1395168" y="108329"/>
                  <a:pt x="1385856" y="103875"/>
                  <a:pt x="1373940" y="105032"/>
                </a:cubicBezTo>
                <a:cubicBezTo>
                  <a:pt x="1364725" y="104916"/>
                  <a:pt x="1356141" y="109694"/>
                  <a:pt x="1351381" y="117584"/>
                </a:cubicBezTo>
                <a:cubicBezTo>
                  <a:pt x="1348829" y="122212"/>
                  <a:pt x="1344474" y="125561"/>
                  <a:pt x="1339349" y="126839"/>
                </a:cubicBezTo>
                <a:cubicBezTo>
                  <a:pt x="1329949" y="129818"/>
                  <a:pt x="1320735" y="133353"/>
                  <a:pt x="1311757" y="137425"/>
                </a:cubicBezTo>
                <a:cubicBezTo>
                  <a:pt x="1291569" y="145812"/>
                  <a:pt x="1266407" y="156282"/>
                  <a:pt x="1256227" y="156282"/>
                </a:cubicBezTo>
                <a:cubicBezTo>
                  <a:pt x="1253161" y="156282"/>
                  <a:pt x="1251368" y="155356"/>
                  <a:pt x="1250789" y="153563"/>
                </a:cubicBezTo>
                <a:cubicBezTo>
                  <a:pt x="1248822" y="147200"/>
                  <a:pt x="1262358" y="140490"/>
                  <a:pt x="1283645" y="130946"/>
                </a:cubicBezTo>
                <a:cubicBezTo>
                  <a:pt x="1293768" y="126434"/>
                  <a:pt x="1307535" y="120187"/>
                  <a:pt x="1307303" y="117816"/>
                </a:cubicBezTo>
                <a:cubicBezTo>
                  <a:pt x="1307072" y="115444"/>
                  <a:pt x="1289950" y="112494"/>
                  <a:pt x="1253682" y="112494"/>
                </a:cubicBezTo>
                <a:cubicBezTo>
                  <a:pt x="1235050" y="112326"/>
                  <a:pt x="1216424" y="113350"/>
                  <a:pt x="1197920" y="115560"/>
                </a:cubicBezTo>
                <a:cubicBezTo>
                  <a:pt x="1185830" y="117295"/>
                  <a:pt x="1170501" y="120881"/>
                  <a:pt x="1155635" y="124294"/>
                </a:cubicBezTo>
                <a:cubicBezTo>
                  <a:pt x="1140631" y="128413"/>
                  <a:pt x="1125308" y="131259"/>
                  <a:pt x="1109823" y="132797"/>
                </a:cubicBezTo>
                <a:lnTo>
                  <a:pt x="1109823" y="132797"/>
                </a:lnTo>
                <a:cubicBezTo>
                  <a:pt x="1107914" y="132797"/>
                  <a:pt x="1102419" y="132797"/>
                  <a:pt x="1102129" y="129037"/>
                </a:cubicBezTo>
                <a:cubicBezTo>
                  <a:pt x="1101088" y="116716"/>
                  <a:pt x="1185367" y="102949"/>
                  <a:pt x="1208100" y="100115"/>
                </a:cubicBezTo>
                <a:cubicBezTo>
                  <a:pt x="1221809" y="98611"/>
                  <a:pt x="1239163" y="98553"/>
                  <a:pt x="1257499" y="98496"/>
                </a:cubicBezTo>
                <a:cubicBezTo>
                  <a:pt x="1287867" y="98496"/>
                  <a:pt x="1319277" y="98496"/>
                  <a:pt x="1336225" y="91323"/>
                </a:cubicBezTo>
                <a:cubicBezTo>
                  <a:pt x="1350374" y="86238"/>
                  <a:pt x="1364980" y="82542"/>
                  <a:pt x="1379840" y="80275"/>
                </a:cubicBezTo>
                <a:cubicBezTo>
                  <a:pt x="1395053" y="77440"/>
                  <a:pt x="1408183" y="75011"/>
                  <a:pt x="1411712" y="70672"/>
                </a:cubicBezTo>
                <a:cubicBezTo>
                  <a:pt x="1412447" y="69961"/>
                  <a:pt x="1412591" y="68827"/>
                  <a:pt x="1412059" y="67954"/>
                </a:cubicBezTo>
                <a:cubicBezTo>
                  <a:pt x="1408820" y="61070"/>
                  <a:pt x="1381633" y="52278"/>
                  <a:pt x="1363644" y="52278"/>
                </a:cubicBezTo>
                <a:lnTo>
                  <a:pt x="1361735" y="52278"/>
                </a:lnTo>
                <a:lnTo>
                  <a:pt x="1354967" y="52278"/>
                </a:lnTo>
                <a:cubicBezTo>
                  <a:pt x="1343976" y="52278"/>
                  <a:pt x="1329920" y="51063"/>
                  <a:pt x="1325061" y="45394"/>
                </a:cubicBezTo>
                <a:cubicBezTo>
                  <a:pt x="1323673" y="43809"/>
                  <a:pt x="1323077" y="41687"/>
                  <a:pt x="1323442" y="39610"/>
                </a:cubicBezTo>
                <a:cubicBezTo>
                  <a:pt x="1324194" y="35098"/>
                  <a:pt x="1314765" y="31975"/>
                  <a:pt x="1306436" y="29256"/>
                </a:cubicBezTo>
                <a:cubicBezTo>
                  <a:pt x="1298106" y="26537"/>
                  <a:pt x="1292032" y="24455"/>
                  <a:pt x="1290413" y="20868"/>
                </a:cubicBezTo>
                <a:cubicBezTo>
                  <a:pt x="1288793" y="17282"/>
                  <a:pt x="1271613" y="17398"/>
                  <a:pt x="1257557" y="16993"/>
                </a:cubicBezTo>
                <a:cubicBezTo>
                  <a:pt x="1239568" y="16472"/>
                  <a:pt x="1220941" y="15952"/>
                  <a:pt x="1214116" y="11671"/>
                </a:cubicBezTo>
                <a:cubicBezTo>
                  <a:pt x="1204282" y="5540"/>
                  <a:pt x="1178889" y="1433"/>
                  <a:pt x="1150487" y="1433"/>
                </a:cubicBezTo>
                <a:cubicBezTo>
                  <a:pt x="1143893" y="1433"/>
                  <a:pt x="1137472" y="1433"/>
                  <a:pt x="1131341" y="2127"/>
                </a:cubicBezTo>
                <a:cubicBezTo>
                  <a:pt x="1113698" y="3457"/>
                  <a:pt x="1086280" y="3804"/>
                  <a:pt x="1061928" y="4151"/>
                </a:cubicBezTo>
                <a:cubicBezTo>
                  <a:pt x="1041740" y="4151"/>
                  <a:pt x="1024271" y="4614"/>
                  <a:pt x="1017330" y="5366"/>
                </a:cubicBezTo>
                <a:cubicBezTo>
                  <a:pt x="1011580" y="6037"/>
                  <a:pt x="1005894" y="7159"/>
                  <a:pt x="1000324" y="8721"/>
                </a:cubicBezTo>
                <a:cubicBezTo>
                  <a:pt x="993237" y="10960"/>
                  <a:pt x="985828" y="12013"/>
                  <a:pt x="978400" y="11845"/>
                </a:cubicBezTo>
                <a:cubicBezTo>
                  <a:pt x="967873" y="11208"/>
                  <a:pt x="953470" y="13985"/>
                  <a:pt x="951387" y="18786"/>
                </a:cubicBezTo>
                <a:cubicBezTo>
                  <a:pt x="951387" y="19191"/>
                  <a:pt x="950577" y="20579"/>
                  <a:pt x="952660" y="22893"/>
                </a:cubicBezTo>
                <a:cubicBezTo>
                  <a:pt x="956304" y="25438"/>
                  <a:pt x="957837" y="30077"/>
                  <a:pt x="956420" y="34288"/>
                </a:cubicBezTo>
                <a:cubicBezTo>
                  <a:pt x="953053" y="39367"/>
                  <a:pt x="947228" y="42259"/>
                  <a:pt x="941149" y="41866"/>
                </a:cubicBezTo>
                <a:cubicBezTo>
                  <a:pt x="938141" y="42132"/>
                  <a:pt x="935162" y="41073"/>
                  <a:pt x="932993" y="38974"/>
                </a:cubicBezTo>
                <a:cubicBezTo>
                  <a:pt x="931969" y="37620"/>
                  <a:pt x="931587" y="35891"/>
                  <a:pt x="931952" y="34231"/>
                </a:cubicBezTo>
                <a:cubicBezTo>
                  <a:pt x="932270" y="32611"/>
                  <a:pt x="931795" y="30933"/>
                  <a:pt x="930679" y="29719"/>
                </a:cubicBezTo>
                <a:cubicBezTo>
                  <a:pt x="927150" y="25438"/>
                  <a:pt x="917375" y="22372"/>
                  <a:pt x="907541" y="22372"/>
                </a:cubicBezTo>
                <a:cubicBezTo>
                  <a:pt x="902052" y="21967"/>
                  <a:pt x="896580" y="23390"/>
                  <a:pt x="891981" y="26422"/>
                </a:cubicBezTo>
                <a:cubicBezTo>
                  <a:pt x="888152" y="28926"/>
                  <a:pt x="883576" y="30048"/>
                  <a:pt x="879024" y="29603"/>
                </a:cubicBezTo>
                <a:cubicBezTo>
                  <a:pt x="869977" y="29227"/>
                  <a:pt x="860971" y="28203"/>
                  <a:pt x="852069" y="26537"/>
                </a:cubicBezTo>
                <a:cubicBezTo>
                  <a:pt x="843976" y="24975"/>
                  <a:pt x="835780" y="24009"/>
                  <a:pt x="827542" y="23645"/>
                </a:cubicBezTo>
                <a:cubicBezTo>
                  <a:pt x="822452" y="23645"/>
                  <a:pt x="819155" y="24513"/>
                  <a:pt x="817825" y="26248"/>
                </a:cubicBezTo>
                <a:cubicBezTo>
                  <a:pt x="812040" y="33652"/>
                  <a:pt x="782713" y="34578"/>
                  <a:pt x="756741" y="35387"/>
                </a:cubicBezTo>
                <a:cubicBezTo>
                  <a:pt x="746688" y="35445"/>
                  <a:pt x="736646" y="36041"/>
                  <a:pt x="726662" y="37181"/>
                </a:cubicBezTo>
                <a:cubicBezTo>
                  <a:pt x="723596" y="37701"/>
                  <a:pt x="723307" y="38395"/>
                  <a:pt x="723307" y="38395"/>
                </a:cubicBezTo>
                <a:cubicBezTo>
                  <a:pt x="723307" y="40015"/>
                  <a:pt x="731695" y="44180"/>
                  <a:pt x="736901" y="47072"/>
                </a:cubicBezTo>
                <a:cubicBezTo>
                  <a:pt x="748469" y="52856"/>
                  <a:pt x="755874" y="57137"/>
                  <a:pt x="755006" y="61302"/>
                </a:cubicBezTo>
                <a:cubicBezTo>
                  <a:pt x="754138" y="65466"/>
                  <a:pt x="745346" y="66045"/>
                  <a:pt x="731001" y="66739"/>
                </a:cubicBezTo>
                <a:cubicBezTo>
                  <a:pt x="720126" y="67317"/>
                  <a:pt x="706648" y="67954"/>
                  <a:pt x="705086" y="71540"/>
                </a:cubicBezTo>
                <a:cubicBezTo>
                  <a:pt x="704739" y="72350"/>
                  <a:pt x="705086" y="73507"/>
                  <a:pt x="706301" y="74953"/>
                </a:cubicBezTo>
                <a:cubicBezTo>
                  <a:pt x="712085" y="81836"/>
                  <a:pt x="724348" y="87968"/>
                  <a:pt x="737305" y="94446"/>
                </a:cubicBezTo>
                <a:cubicBezTo>
                  <a:pt x="751257" y="100468"/>
                  <a:pt x="764209" y="108584"/>
                  <a:pt x="775714" y="118510"/>
                </a:cubicBezTo>
                <a:cubicBezTo>
                  <a:pt x="780400" y="123195"/>
                  <a:pt x="782135" y="126203"/>
                  <a:pt x="781499" y="128285"/>
                </a:cubicBezTo>
                <a:cubicBezTo>
                  <a:pt x="780862" y="130368"/>
                  <a:pt x="779705" y="130136"/>
                  <a:pt x="777565" y="130136"/>
                </a:cubicBezTo>
                <a:cubicBezTo>
                  <a:pt x="770393" y="130136"/>
                  <a:pt x="752345" y="122501"/>
                  <a:pt x="738983" y="113766"/>
                </a:cubicBezTo>
                <a:cubicBezTo>
                  <a:pt x="729265" y="108121"/>
                  <a:pt x="718535" y="104425"/>
                  <a:pt x="707400" y="102892"/>
                </a:cubicBezTo>
                <a:cubicBezTo>
                  <a:pt x="695831" y="100578"/>
                  <a:pt x="685188" y="98380"/>
                  <a:pt x="678478" y="90976"/>
                </a:cubicBezTo>
                <a:cubicBezTo>
                  <a:pt x="668760" y="80679"/>
                  <a:pt x="638507" y="72350"/>
                  <a:pt x="619940" y="72350"/>
                </a:cubicBezTo>
                <a:cubicBezTo>
                  <a:pt x="615294" y="72009"/>
                  <a:pt x="610644" y="72911"/>
                  <a:pt x="606462" y="74953"/>
                </a:cubicBezTo>
                <a:cubicBezTo>
                  <a:pt x="605212" y="75601"/>
                  <a:pt x="604385" y="76844"/>
                  <a:pt x="604264" y="78250"/>
                </a:cubicBezTo>
                <a:cubicBezTo>
                  <a:pt x="604264" y="82762"/>
                  <a:pt x="613808" y="89183"/>
                  <a:pt x="622253" y="94909"/>
                </a:cubicBezTo>
                <a:cubicBezTo>
                  <a:pt x="631798" y="101388"/>
                  <a:pt x="640069" y="106941"/>
                  <a:pt x="640069" y="112262"/>
                </a:cubicBezTo>
                <a:cubicBezTo>
                  <a:pt x="640069" y="115791"/>
                  <a:pt x="637235" y="117584"/>
                  <a:pt x="631682" y="117584"/>
                </a:cubicBezTo>
                <a:cubicBezTo>
                  <a:pt x="626759" y="117364"/>
                  <a:pt x="621866" y="116745"/>
                  <a:pt x="617047" y="115733"/>
                </a:cubicBezTo>
                <a:cubicBezTo>
                  <a:pt x="613044" y="114912"/>
                  <a:pt x="608984" y="114391"/>
                  <a:pt x="604900" y="114171"/>
                </a:cubicBezTo>
                <a:cubicBezTo>
                  <a:pt x="603789" y="114067"/>
                  <a:pt x="602667" y="114264"/>
                  <a:pt x="601661" y="114750"/>
                </a:cubicBezTo>
                <a:cubicBezTo>
                  <a:pt x="601088" y="115155"/>
                  <a:pt x="600394" y="115357"/>
                  <a:pt x="599694" y="115328"/>
                </a:cubicBezTo>
                <a:cubicBezTo>
                  <a:pt x="596108" y="115328"/>
                  <a:pt x="589860" y="110585"/>
                  <a:pt x="581936" y="104627"/>
                </a:cubicBezTo>
                <a:cubicBezTo>
                  <a:pt x="571871" y="96992"/>
                  <a:pt x="559376" y="87274"/>
                  <a:pt x="550931" y="87274"/>
                </a:cubicBezTo>
                <a:cubicBezTo>
                  <a:pt x="547750" y="87274"/>
                  <a:pt x="545783" y="87852"/>
                  <a:pt x="545147" y="89067"/>
                </a:cubicBezTo>
                <a:cubicBezTo>
                  <a:pt x="544510" y="90282"/>
                  <a:pt x="545147" y="95372"/>
                  <a:pt x="546361" y="100636"/>
                </a:cubicBezTo>
                <a:cubicBezTo>
                  <a:pt x="548479" y="107126"/>
                  <a:pt x="549670" y="113882"/>
                  <a:pt x="549890" y="120708"/>
                </a:cubicBezTo>
                <a:cubicBezTo>
                  <a:pt x="548658" y="133399"/>
                  <a:pt x="539258" y="143782"/>
                  <a:pt x="526752" y="146275"/>
                </a:cubicBezTo>
                <a:cubicBezTo>
                  <a:pt x="525474" y="146431"/>
                  <a:pt x="524225" y="145818"/>
                  <a:pt x="523571" y="144713"/>
                </a:cubicBezTo>
                <a:cubicBezTo>
                  <a:pt x="522819" y="143325"/>
                  <a:pt x="523571" y="141358"/>
                  <a:pt x="524959" y="138929"/>
                </a:cubicBezTo>
                <a:cubicBezTo>
                  <a:pt x="529702" y="131640"/>
                  <a:pt x="530049" y="117006"/>
                  <a:pt x="525827" y="104222"/>
                </a:cubicBezTo>
                <a:cubicBezTo>
                  <a:pt x="523912" y="95927"/>
                  <a:pt x="518486" y="88882"/>
                  <a:pt x="510961" y="84902"/>
                </a:cubicBezTo>
                <a:cubicBezTo>
                  <a:pt x="508393" y="84017"/>
                  <a:pt x="505691" y="83606"/>
                  <a:pt x="502978" y="83687"/>
                </a:cubicBezTo>
                <a:cubicBezTo>
                  <a:pt x="490605" y="84671"/>
                  <a:pt x="478383" y="87037"/>
                  <a:pt x="466536" y="90744"/>
                </a:cubicBezTo>
                <a:cubicBezTo>
                  <a:pt x="454511" y="94533"/>
                  <a:pt x="442086" y="96939"/>
                  <a:pt x="429516" y="97917"/>
                </a:cubicBezTo>
                <a:lnTo>
                  <a:pt x="424252" y="97917"/>
                </a:lnTo>
                <a:cubicBezTo>
                  <a:pt x="406899" y="97917"/>
                  <a:pt x="390992" y="102082"/>
                  <a:pt x="389546" y="106999"/>
                </a:cubicBezTo>
                <a:cubicBezTo>
                  <a:pt x="388852" y="109370"/>
                  <a:pt x="392207" y="111915"/>
                  <a:pt x="395330" y="113651"/>
                </a:cubicBezTo>
                <a:cubicBezTo>
                  <a:pt x="403313" y="118278"/>
                  <a:pt x="404296" y="121749"/>
                  <a:pt x="403718" y="123889"/>
                </a:cubicBezTo>
                <a:cubicBezTo>
                  <a:pt x="403139" y="126029"/>
                  <a:pt x="399900" y="127880"/>
                  <a:pt x="395388" y="127880"/>
                </a:cubicBezTo>
                <a:cubicBezTo>
                  <a:pt x="388522" y="127580"/>
                  <a:pt x="381899" y="125243"/>
                  <a:pt x="376357" y="121170"/>
                </a:cubicBezTo>
                <a:cubicBezTo>
                  <a:pt x="369468" y="117393"/>
                  <a:pt x="361636" y="115687"/>
                  <a:pt x="353798" y="116254"/>
                </a:cubicBezTo>
                <a:cubicBezTo>
                  <a:pt x="335519" y="116254"/>
                  <a:pt x="316604" y="121633"/>
                  <a:pt x="315273" y="125740"/>
                </a:cubicBezTo>
                <a:cubicBezTo>
                  <a:pt x="315273" y="125740"/>
                  <a:pt x="315273" y="126550"/>
                  <a:pt x="316257" y="127418"/>
                </a:cubicBezTo>
                <a:cubicBezTo>
                  <a:pt x="322840" y="133023"/>
                  <a:pt x="326993" y="140965"/>
                  <a:pt x="327826" y="149572"/>
                </a:cubicBezTo>
                <a:cubicBezTo>
                  <a:pt x="329324" y="156635"/>
                  <a:pt x="328127" y="163998"/>
                  <a:pt x="324471" y="170222"/>
                </a:cubicBezTo>
                <a:cubicBezTo>
                  <a:pt x="322747" y="172392"/>
                  <a:pt x="320057" y="173560"/>
                  <a:pt x="317298" y="173346"/>
                </a:cubicBezTo>
                <a:cubicBezTo>
                  <a:pt x="311508" y="172756"/>
                  <a:pt x="305845" y="171258"/>
                  <a:pt x="300523" y="168892"/>
                </a:cubicBezTo>
                <a:cubicBezTo>
                  <a:pt x="291251" y="164779"/>
                  <a:pt x="281226" y="162627"/>
                  <a:pt x="271081" y="162587"/>
                </a:cubicBezTo>
                <a:cubicBezTo>
                  <a:pt x="251761" y="164033"/>
                  <a:pt x="159557" y="207011"/>
                  <a:pt x="149145" y="224827"/>
                </a:cubicBezTo>
                <a:cubicBezTo>
                  <a:pt x="148335" y="226158"/>
                  <a:pt x="148104" y="227257"/>
                  <a:pt x="148509" y="228009"/>
                </a:cubicBezTo>
                <a:cubicBezTo>
                  <a:pt x="151285" y="233793"/>
                  <a:pt x="163143" y="234719"/>
                  <a:pt x="175580" y="234719"/>
                </a:cubicBezTo>
                <a:lnTo>
                  <a:pt x="191140" y="234719"/>
                </a:lnTo>
                <a:cubicBezTo>
                  <a:pt x="199255" y="234077"/>
                  <a:pt x="207417" y="235245"/>
                  <a:pt x="215030" y="238132"/>
                </a:cubicBezTo>
                <a:cubicBezTo>
                  <a:pt x="218575" y="239994"/>
                  <a:pt x="220802" y="243667"/>
                  <a:pt x="220814" y="247676"/>
                </a:cubicBezTo>
                <a:cubicBezTo>
                  <a:pt x="221392" y="260575"/>
                  <a:pt x="206411" y="280705"/>
                  <a:pt x="192644" y="290076"/>
                </a:cubicBezTo>
                <a:cubicBezTo>
                  <a:pt x="183967" y="295860"/>
                  <a:pt x="164821" y="296497"/>
                  <a:pt x="146368" y="297017"/>
                </a:cubicBezTo>
                <a:cubicBezTo>
                  <a:pt x="127916" y="297538"/>
                  <a:pt x="108365" y="298000"/>
                  <a:pt x="107613" y="304653"/>
                </a:cubicBezTo>
                <a:cubicBezTo>
                  <a:pt x="106861" y="311305"/>
                  <a:pt x="90259" y="315122"/>
                  <a:pt x="63651" y="320502"/>
                </a:cubicBezTo>
                <a:cubicBezTo>
                  <a:pt x="37043" y="325881"/>
                  <a:pt x="3435" y="332649"/>
                  <a:pt x="3435" y="344912"/>
                </a:cubicBezTo>
                <a:cubicBezTo>
                  <a:pt x="3076" y="354185"/>
                  <a:pt x="9584" y="362312"/>
                  <a:pt x="18706" y="364001"/>
                </a:cubicBezTo>
                <a:cubicBezTo>
                  <a:pt x="23044" y="364776"/>
                  <a:pt x="27435" y="365239"/>
                  <a:pt x="31836" y="365389"/>
                </a:cubicBezTo>
                <a:cubicBezTo>
                  <a:pt x="43405" y="365967"/>
                  <a:pt x="54974" y="366604"/>
                  <a:pt x="64519" y="377247"/>
                </a:cubicBezTo>
                <a:cubicBezTo>
                  <a:pt x="71171" y="384709"/>
                  <a:pt x="84822" y="388816"/>
                  <a:pt x="102002" y="388816"/>
                </a:cubicBezTo>
                <a:cubicBezTo>
                  <a:pt x="114149" y="388862"/>
                  <a:pt x="126198" y="386710"/>
                  <a:pt x="137576" y="382453"/>
                </a:cubicBezTo>
                <a:cubicBezTo>
                  <a:pt x="153425" y="376322"/>
                  <a:pt x="168985" y="378173"/>
                  <a:pt x="176968" y="386618"/>
                </a:cubicBezTo>
                <a:cubicBezTo>
                  <a:pt x="180381" y="390106"/>
                  <a:pt x="182168" y="394872"/>
                  <a:pt x="181885" y="399749"/>
                </a:cubicBezTo>
                <a:cubicBezTo>
                  <a:pt x="181885" y="405533"/>
                  <a:pt x="174249" y="406285"/>
                  <a:pt x="168754" y="406285"/>
                </a:cubicBezTo>
                <a:cubicBezTo>
                  <a:pt x="161842" y="406071"/>
                  <a:pt x="154947" y="405469"/>
                  <a:pt x="148104" y="404492"/>
                </a:cubicBezTo>
                <a:cubicBezTo>
                  <a:pt x="139994" y="403364"/>
                  <a:pt x="131820" y="402687"/>
                  <a:pt x="123636" y="402467"/>
                </a:cubicBezTo>
                <a:cubicBezTo>
                  <a:pt x="118216" y="402062"/>
                  <a:pt x="112790" y="403104"/>
                  <a:pt x="107902" y="405475"/>
                </a:cubicBezTo>
                <a:cubicBezTo>
                  <a:pt x="99456" y="410739"/>
                  <a:pt x="82797" y="411260"/>
                  <a:pt x="68105" y="411722"/>
                </a:cubicBezTo>
                <a:cubicBezTo>
                  <a:pt x="56536" y="412127"/>
                  <a:pt x="44100" y="412532"/>
                  <a:pt x="41670" y="415598"/>
                </a:cubicBezTo>
                <a:cubicBezTo>
                  <a:pt x="41415" y="416090"/>
                  <a:pt x="41415" y="416668"/>
                  <a:pt x="41670" y="417160"/>
                </a:cubicBezTo>
                <a:cubicBezTo>
                  <a:pt x="43174" y="424275"/>
                  <a:pt x="55726" y="425431"/>
                  <a:pt x="70245" y="426762"/>
                </a:cubicBezTo>
                <a:cubicBezTo>
                  <a:pt x="76839" y="427398"/>
                  <a:pt x="83607" y="427977"/>
                  <a:pt x="90028" y="429249"/>
                </a:cubicBezTo>
                <a:cubicBezTo>
                  <a:pt x="96449" y="430522"/>
                  <a:pt x="99514" y="432141"/>
                  <a:pt x="100440" y="434629"/>
                </a:cubicBezTo>
                <a:cubicBezTo>
                  <a:pt x="101365" y="437116"/>
                  <a:pt x="99052" y="440760"/>
                  <a:pt x="96391" y="444057"/>
                </a:cubicBezTo>
                <a:cubicBezTo>
                  <a:pt x="94158" y="446348"/>
                  <a:pt x="92562" y="449177"/>
                  <a:pt x="91763" y="452271"/>
                </a:cubicBezTo>
                <a:cubicBezTo>
                  <a:pt x="91358" y="456609"/>
                  <a:pt x="94424" y="458056"/>
                  <a:pt x="103332" y="460832"/>
                </a:cubicBezTo>
                <a:cubicBezTo>
                  <a:pt x="110239" y="463019"/>
                  <a:pt x="116966" y="465726"/>
                  <a:pt x="123462" y="468930"/>
                </a:cubicBezTo>
                <a:cubicBezTo>
                  <a:pt x="135939" y="475270"/>
                  <a:pt x="149498" y="479192"/>
                  <a:pt x="163432" y="480499"/>
                </a:cubicBezTo>
                <a:cubicBezTo>
                  <a:pt x="166671" y="480499"/>
                  <a:pt x="168118" y="479863"/>
                  <a:pt x="168407" y="479284"/>
                </a:cubicBezTo>
                <a:cubicBezTo>
                  <a:pt x="168696" y="478706"/>
                  <a:pt x="168407" y="478128"/>
                  <a:pt x="166498" y="475872"/>
                </a:cubicBezTo>
                <a:cubicBezTo>
                  <a:pt x="164589" y="473616"/>
                  <a:pt x="163375" y="471013"/>
                  <a:pt x="164184" y="469104"/>
                </a:cubicBezTo>
                <a:cubicBezTo>
                  <a:pt x="165746" y="465575"/>
                  <a:pt x="172109" y="465055"/>
                  <a:pt x="175753" y="465055"/>
                </a:cubicBezTo>
                <a:cubicBezTo>
                  <a:pt x="183157" y="465055"/>
                  <a:pt x="192701" y="467137"/>
                  <a:pt x="195767" y="471128"/>
                </a:cubicBezTo>
                <a:cubicBezTo>
                  <a:pt x="197850" y="473847"/>
                  <a:pt x="202477" y="471823"/>
                  <a:pt x="208319" y="469046"/>
                </a:cubicBezTo>
                <a:cubicBezTo>
                  <a:pt x="213890" y="465957"/>
                  <a:pt x="220068" y="464118"/>
                  <a:pt x="226425" y="463666"/>
                </a:cubicBezTo>
                <a:cubicBezTo>
                  <a:pt x="228143" y="463643"/>
                  <a:pt x="229855" y="463857"/>
                  <a:pt x="231515" y="464303"/>
                </a:cubicBezTo>
                <a:cubicBezTo>
                  <a:pt x="232840" y="464644"/>
                  <a:pt x="234199" y="464818"/>
                  <a:pt x="235564" y="464823"/>
                </a:cubicBezTo>
                <a:cubicBezTo>
                  <a:pt x="240076" y="464447"/>
                  <a:pt x="244380" y="462758"/>
                  <a:pt x="247943" y="459964"/>
                </a:cubicBezTo>
                <a:cubicBezTo>
                  <a:pt x="250881" y="457558"/>
                  <a:pt x="254462" y="456072"/>
                  <a:pt x="258239" y="455684"/>
                </a:cubicBezTo>
                <a:cubicBezTo>
                  <a:pt x="260651" y="455742"/>
                  <a:pt x="262994" y="456529"/>
                  <a:pt x="264949" y="457940"/>
                </a:cubicBezTo>
                <a:cubicBezTo>
                  <a:pt x="270734" y="461700"/>
                  <a:pt x="286698" y="464881"/>
                  <a:pt x="303705" y="468178"/>
                </a:cubicBezTo>
                <a:cubicBezTo>
                  <a:pt x="322909" y="471938"/>
                  <a:pt x="342692" y="475814"/>
                  <a:pt x="352930" y="481309"/>
                </a:cubicBezTo>
                <a:cubicBezTo>
                  <a:pt x="359073" y="484456"/>
                  <a:pt x="365436" y="487163"/>
                  <a:pt x="371961" y="489407"/>
                </a:cubicBezTo>
                <a:cubicBezTo>
                  <a:pt x="386422" y="494729"/>
                  <a:pt x="398916" y="499299"/>
                  <a:pt x="397123" y="510752"/>
                </a:cubicBezTo>
                <a:cubicBezTo>
                  <a:pt x="394694" y="526138"/>
                  <a:pt x="415749" y="537649"/>
                  <a:pt x="434433" y="545921"/>
                </a:cubicBezTo>
                <a:cubicBezTo>
                  <a:pt x="460116" y="557490"/>
                  <a:pt x="460579" y="583636"/>
                  <a:pt x="460116" y="591445"/>
                </a:cubicBezTo>
                <a:cubicBezTo>
                  <a:pt x="459653" y="599254"/>
                  <a:pt x="466594" y="604575"/>
                  <a:pt x="472090" y="609492"/>
                </a:cubicBezTo>
                <a:cubicBezTo>
                  <a:pt x="477584" y="614409"/>
                  <a:pt x="481692" y="618111"/>
                  <a:pt x="479320" y="621871"/>
                </a:cubicBezTo>
                <a:cubicBezTo>
                  <a:pt x="475329" y="628234"/>
                  <a:pt x="479783" y="637026"/>
                  <a:pt x="492855" y="648653"/>
                </a:cubicBezTo>
                <a:cubicBezTo>
                  <a:pt x="495117" y="650371"/>
                  <a:pt x="496511" y="652991"/>
                  <a:pt x="496673" y="655825"/>
                </a:cubicBezTo>
                <a:cubicBezTo>
                  <a:pt x="496673" y="660742"/>
                  <a:pt x="491583" y="665022"/>
                  <a:pt x="486666" y="669187"/>
                </a:cubicBezTo>
                <a:cubicBezTo>
                  <a:pt x="479956" y="674972"/>
                  <a:pt x="476081" y="678674"/>
                  <a:pt x="479262" y="682781"/>
                </a:cubicBezTo>
                <a:cubicBezTo>
                  <a:pt x="482444" y="686888"/>
                  <a:pt x="481749" y="694003"/>
                  <a:pt x="480477" y="700134"/>
                </a:cubicBezTo>
                <a:cubicBezTo>
                  <a:pt x="478730" y="704738"/>
                  <a:pt x="478852" y="709846"/>
                  <a:pt x="480824" y="714364"/>
                </a:cubicBezTo>
                <a:cubicBezTo>
                  <a:pt x="483537" y="717424"/>
                  <a:pt x="487383" y="719240"/>
                  <a:pt x="491467" y="719396"/>
                </a:cubicBezTo>
                <a:cubicBezTo>
                  <a:pt x="493376" y="719726"/>
                  <a:pt x="495314" y="719899"/>
                  <a:pt x="497252" y="719917"/>
                </a:cubicBezTo>
                <a:cubicBezTo>
                  <a:pt x="504170" y="719888"/>
                  <a:pt x="510637" y="716504"/>
                  <a:pt x="514605" y="710835"/>
                </a:cubicBezTo>
                <a:cubicBezTo>
                  <a:pt x="518591" y="705178"/>
                  <a:pt x="525040" y="701759"/>
                  <a:pt x="531958" y="701638"/>
                </a:cubicBezTo>
                <a:cubicBezTo>
                  <a:pt x="535140" y="701181"/>
                  <a:pt x="538356" y="702205"/>
                  <a:pt x="540693" y="704415"/>
                </a:cubicBezTo>
                <a:cubicBezTo>
                  <a:pt x="542659" y="706960"/>
                  <a:pt x="541734" y="710604"/>
                  <a:pt x="540693" y="714479"/>
                </a:cubicBezTo>
                <a:cubicBezTo>
                  <a:pt x="539363" y="719743"/>
                  <a:pt x="538032" y="725123"/>
                  <a:pt x="542312" y="729403"/>
                </a:cubicBezTo>
                <a:cubicBezTo>
                  <a:pt x="547941" y="733944"/>
                  <a:pt x="554593" y="737039"/>
                  <a:pt x="561690" y="738427"/>
                </a:cubicBezTo>
                <a:cubicBezTo>
                  <a:pt x="573722" y="741296"/>
                  <a:pt x="584996" y="746745"/>
                  <a:pt x="594719" y="754392"/>
                </a:cubicBezTo>
                <a:cubicBezTo>
                  <a:pt x="602760" y="761160"/>
                  <a:pt x="606288" y="767291"/>
                  <a:pt x="605016" y="771340"/>
                </a:cubicBezTo>
                <a:cubicBezTo>
                  <a:pt x="603992" y="773573"/>
                  <a:pt x="601678" y="774915"/>
                  <a:pt x="599231" y="774695"/>
                </a:cubicBezTo>
                <a:cubicBezTo>
                  <a:pt x="592973" y="774018"/>
                  <a:pt x="587055" y="771502"/>
                  <a:pt x="582225" y="767465"/>
                </a:cubicBezTo>
                <a:cubicBezTo>
                  <a:pt x="574127" y="761680"/>
                  <a:pt x="557005" y="757920"/>
                  <a:pt x="536412" y="757920"/>
                </a:cubicBezTo>
                <a:cubicBezTo>
                  <a:pt x="522125" y="757920"/>
                  <a:pt x="512812" y="759656"/>
                  <a:pt x="511424" y="760986"/>
                </a:cubicBezTo>
                <a:cubicBezTo>
                  <a:pt x="513911" y="766077"/>
                  <a:pt x="563136" y="794189"/>
                  <a:pt x="580432" y="794189"/>
                </a:cubicBezTo>
                <a:cubicBezTo>
                  <a:pt x="581432" y="794224"/>
                  <a:pt x="582427" y="794085"/>
                  <a:pt x="583382" y="793784"/>
                </a:cubicBezTo>
                <a:cubicBezTo>
                  <a:pt x="584660" y="793321"/>
                  <a:pt x="586014" y="793084"/>
                  <a:pt x="587373" y="793090"/>
                </a:cubicBezTo>
                <a:cubicBezTo>
                  <a:pt x="596455" y="793090"/>
                  <a:pt x="605941" y="802460"/>
                  <a:pt x="609528" y="811137"/>
                </a:cubicBezTo>
                <a:cubicBezTo>
                  <a:pt x="611876" y="815163"/>
                  <a:pt x="611575" y="820201"/>
                  <a:pt x="608776" y="823921"/>
                </a:cubicBezTo>
                <a:cubicBezTo>
                  <a:pt x="603570" y="829127"/>
                  <a:pt x="603685" y="839886"/>
                  <a:pt x="603801" y="849430"/>
                </a:cubicBezTo>
                <a:cubicBezTo>
                  <a:pt x="603980" y="853387"/>
                  <a:pt x="603841" y="857355"/>
                  <a:pt x="603396" y="861288"/>
                </a:cubicBezTo>
                <a:cubicBezTo>
                  <a:pt x="602528" y="866552"/>
                  <a:pt x="596975" y="866552"/>
                  <a:pt x="595124" y="866552"/>
                </a:cubicBezTo>
                <a:cubicBezTo>
                  <a:pt x="591393" y="866402"/>
                  <a:pt x="587680" y="865956"/>
                  <a:pt x="584018" y="865222"/>
                </a:cubicBezTo>
                <a:cubicBezTo>
                  <a:pt x="579674" y="864325"/>
                  <a:pt x="575261" y="863799"/>
                  <a:pt x="570830" y="863660"/>
                </a:cubicBezTo>
                <a:cubicBezTo>
                  <a:pt x="569788" y="863602"/>
                  <a:pt x="568747" y="863602"/>
                  <a:pt x="567706" y="863660"/>
                </a:cubicBezTo>
                <a:cubicBezTo>
                  <a:pt x="555212" y="865222"/>
                  <a:pt x="546882" y="868924"/>
                  <a:pt x="546882" y="881881"/>
                </a:cubicBezTo>
                <a:cubicBezTo>
                  <a:pt x="546882" y="889169"/>
                  <a:pt x="541792" y="895127"/>
                  <a:pt x="536354" y="901490"/>
                </a:cubicBezTo>
                <a:cubicBezTo>
                  <a:pt x="530396" y="907165"/>
                  <a:pt x="526203" y="914435"/>
                  <a:pt x="524265" y="922430"/>
                </a:cubicBezTo>
                <a:cubicBezTo>
                  <a:pt x="522703" y="933420"/>
                  <a:pt x="530396" y="936254"/>
                  <a:pt x="539247" y="939783"/>
                </a:cubicBezTo>
                <a:cubicBezTo>
                  <a:pt x="543180" y="941050"/>
                  <a:pt x="546928" y="942820"/>
                  <a:pt x="550411" y="945047"/>
                </a:cubicBezTo>
                <a:cubicBezTo>
                  <a:pt x="552320" y="946319"/>
                  <a:pt x="553245" y="947708"/>
                  <a:pt x="553129" y="949212"/>
                </a:cubicBezTo>
                <a:cubicBezTo>
                  <a:pt x="553129" y="952335"/>
                  <a:pt x="548849" y="954707"/>
                  <a:pt x="543585" y="957715"/>
                </a:cubicBezTo>
                <a:cubicBezTo>
                  <a:pt x="538321" y="960723"/>
                  <a:pt x="530628" y="965061"/>
                  <a:pt x="529934" y="970325"/>
                </a:cubicBezTo>
                <a:cubicBezTo>
                  <a:pt x="528488" y="981026"/>
                  <a:pt x="555212" y="1002255"/>
                  <a:pt x="567301" y="1008733"/>
                </a:cubicBezTo>
                <a:cubicBezTo>
                  <a:pt x="574185" y="1012435"/>
                  <a:pt x="573085" y="1023657"/>
                  <a:pt x="572333" y="1035573"/>
                </a:cubicBezTo>
                <a:cubicBezTo>
                  <a:pt x="571356" y="1042451"/>
                  <a:pt x="571472" y="1049438"/>
                  <a:pt x="572681" y="1056281"/>
                </a:cubicBezTo>
                <a:cubicBezTo>
                  <a:pt x="573953" y="1060562"/>
                  <a:pt x="576036" y="1061430"/>
                  <a:pt x="578465" y="1061430"/>
                </a:cubicBezTo>
                <a:lnTo>
                  <a:pt x="580779" y="1061430"/>
                </a:lnTo>
                <a:lnTo>
                  <a:pt x="583035" y="1061430"/>
                </a:lnTo>
                <a:cubicBezTo>
                  <a:pt x="584556" y="1061320"/>
                  <a:pt x="586054" y="1061869"/>
                  <a:pt x="587142" y="1062933"/>
                </a:cubicBezTo>
                <a:cubicBezTo>
                  <a:pt x="588761" y="1065473"/>
                  <a:pt x="589282" y="1068562"/>
                  <a:pt x="588588" y="1071494"/>
                </a:cubicBezTo>
                <a:cubicBezTo>
                  <a:pt x="587419" y="1078233"/>
                  <a:pt x="590323" y="1085030"/>
                  <a:pt x="595992" y="1088848"/>
                </a:cubicBezTo>
                <a:cubicBezTo>
                  <a:pt x="599434" y="1091190"/>
                  <a:pt x="601736" y="1094858"/>
                  <a:pt x="602355" y="1098970"/>
                </a:cubicBezTo>
                <a:cubicBezTo>
                  <a:pt x="602644" y="1102904"/>
                  <a:pt x="607272" y="1104755"/>
                  <a:pt x="612130" y="1107242"/>
                </a:cubicBezTo>
                <a:cubicBezTo>
                  <a:pt x="618783" y="1110250"/>
                  <a:pt x="626302" y="1113721"/>
                  <a:pt x="623294" y="1122860"/>
                </a:cubicBezTo>
                <a:cubicBezTo>
                  <a:pt x="619477" y="1134429"/>
                  <a:pt x="626649" y="1143106"/>
                  <a:pt x="632434" y="1150278"/>
                </a:cubicBezTo>
                <a:cubicBezTo>
                  <a:pt x="633764" y="1151898"/>
                  <a:pt x="635037" y="1153460"/>
                  <a:pt x="636078" y="1154906"/>
                </a:cubicBezTo>
                <a:cubicBezTo>
                  <a:pt x="639664" y="1159140"/>
                  <a:pt x="643656" y="1163016"/>
                  <a:pt x="647994" y="1166475"/>
                </a:cubicBezTo>
                <a:cubicBezTo>
                  <a:pt x="655687" y="1173185"/>
                  <a:pt x="664364" y="1180820"/>
                  <a:pt x="666851" y="1187356"/>
                </a:cubicBezTo>
                <a:cubicBezTo>
                  <a:pt x="670611" y="1197132"/>
                  <a:pt x="680502" y="1207544"/>
                  <a:pt x="691319" y="1207544"/>
                </a:cubicBezTo>
                <a:cubicBezTo>
                  <a:pt x="692962" y="1207544"/>
                  <a:pt x="694599" y="1207313"/>
                  <a:pt x="696178" y="1206850"/>
                </a:cubicBezTo>
                <a:cubicBezTo>
                  <a:pt x="697908" y="1206353"/>
                  <a:pt x="699701" y="1206081"/>
                  <a:pt x="701500" y="1206040"/>
                </a:cubicBezTo>
                <a:cubicBezTo>
                  <a:pt x="705728" y="1206208"/>
                  <a:pt x="709737" y="1207961"/>
                  <a:pt x="712722" y="1210957"/>
                </a:cubicBezTo>
                <a:cubicBezTo>
                  <a:pt x="715359" y="1213791"/>
                  <a:pt x="719160" y="1215243"/>
                  <a:pt x="723018" y="1214890"/>
                </a:cubicBezTo>
                <a:cubicBezTo>
                  <a:pt x="724244" y="1214491"/>
                  <a:pt x="725505" y="1214179"/>
                  <a:pt x="726778" y="1213965"/>
                </a:cubicBezTo>
                <a:close/>
                <a:moveTo>
                  <a:pt x="541676" y="835779"/>
                </a:moveTo>
                <a:lnTo>
                  <a:pt x="541676" y="835779"/>
                </a:lnTo>
                <a:cubicBezTo>
                  <a:pt x="535435" y="836184"/>
                  <a:pt x="529263" y="834286"/>
                  <a:pt x="524323" y="830457"/>
                </a:cubicBezTo>
                <a:cubicBezTo>
                  <a:pt x="520118" y="826466"/>
                  <a:pt x="515022" y="823533"/>
                  <a:pt x="509457" y="821896"/>
                </a:cubicBezTo>
                <a:cubicBezTo>
                  <a:pt x="503661" y="820317"/>
                  <a:pt x="498438" y="817101"/>
                  <a:pt x="494417" y="812641"/>
                </a:cubicBezTo>
                <a:cubicBezTo>
                  <a:pt x="485914" y="803560"/>
                  <a:pt x="491699" y="796618"/>
                  <a:pt x="495516" y="791991"/>
                </a:cubicBezTo>
                <a:cubicBezTo>
                  <a:pt x="496615" y="790845"/>
                  <a:pt x="497535" y="789538"/>
                  <a:pt x="498235" y="788115"/>
                </a:cubicBezTo>
                <a:cubicBezTo>
                  <a:pt x="499739" y="783545"/>
                  <a:pt x="505581" y="781058"/>
                  <a:pt x="514779" y="781058"/>
                </a:cubicBezTo>
                <a:cubicBezTo>
                  <a:pt x="529240" y="781058"/>
                  <a:pt x="548213" y="787421"/>
                  <a:pt x="553592" y="797602"/>
                </a:cubicBezTo>
                <a:cubicBezTo>
                  <a:pt x="556305" y="802900"/>
                  <a:pt x="561216" y="806729"/>
                  <a:pt x="567012" y="808071"/>
                </a:cubicBezTo>
                <a:cubicBezTo>
                  <a:pt x="571639" y="809575"/>
                  <a:pt x="575978" y="811021"/>
                  <a:pt x="575515" y="818426"/>
                </a:cubicBezTo>
                <a:cubicBezTo>
                  <a:pt x="574994" y="827854"/>
                  <a:pt x="556889" y="835432"/>
                  <a:pt x="541676" y="835432"/>
                </a:cubicBezTo>
                <a:close/>
                <a:moveTo>
                  <a:pt x="514894" y="783314"/>
                </a:moveTo>
                <a:cubicBezTo>
                  <a:pt x="507027" y="783314"/>
                  <a:pt x="501590" y="785397"/>
                  <a:pt x="500491" y="788809"/>
                </a:cubicBezTo>
                <a:cubicBezTo>
                  <a:pt x="499704" y="790510"/>
                  <a:pt x="498652" y="792072"/>
                  <a:pt x="497367" y="793437"/>
                </a:cubicBezTo>
                <a:cubicBezTo>
                  <a:pt x="493434" y="798122"/>
                  <a:pt x="489038" y="803444"/>
                  <a:pt x="496153" y="811137"/>
                </a:cubicBezTo>
                <a:cubicBezTo>
                  <a:pt x="499971" y="815302"/>
                  <a:pt x="504882" y="818310"/>
                  <a:pt x="510325" y="819814"/>
                </a:cubicBezTo>
                <a:cubicBezTo>
                  <a:pt x="516196" y="821526"/>
                  <a:pt x="521569" y="824621"/>
                  <a:pt x="526000" y="828837"/>
                </a:cubicBezTo>
                <a:cubicBezTo>
                  <a:pt x="530483" y="832256"/>
                  <a:pt x="536054" y="833922"/>
                  <a:pt x="541676" y="833523"/>
                </a:cubicBezTo>
                <a:cubicBezTo>
                  <a:pt x="555501" y="833523"/>
                  <a:pt x="572854" y="826466"/>
                  <a:pt x="573375" y="818252"/>
                </a:cubicBezTo>
                <a:cubicBezTo>
                  <a:pt x="573722" y="812468"/>
                  <a:pt x="571003" y="811716"/>
                  <a:pt x="566434" y="810212"/>
                </a:cubicBezTo>
                <a:cubicBezTo>
                  <a:pt x="560059" y="808708"/>
                  <a:pt x="554662" y="804474"/>
                  <a:pt x="551683" y="798643"/>
                </a:cubicBezTo>
                <a:cubicBezTo>
                  <a:pt x="546882" y="789156"/>
                  <a:pt x="528777" y="782967"/>
                  <a:pt x="514894" y="78296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8" name="Forma libre: forma 397">
            <a:extLst>
              <a:ext uri="{FF2B5EF4-FFF2-40B4-BE49-F238E27FC236}">
                <a16:creationId xmlns:a16="http://schemas.microsoft.com/office/drawing/2014/main" id="{A3B8BAFA-45D0-1D16-1762-318C3763B79C}"/>
              </a:ext>
            </a:extLst>
          </p:cNvPr>
          <p:cNvSpPr/>
          <p:nvPr/>
        </p:nvSpPr>
        <p:spPr>
          <a:xfrm>
            <a:off x="1567383" y="2075993"/>
            <a:ext cx="2776174" cy="1883236"/>
          </a:xfrm>
          <a:custGeom>
            <a:avLst/>
            <a:gdLst>
              <a:gd name="connsiteX0" fmla="*/ 336804 w 2776174"/>
              <a:gd name="connsiteY0" fmla="*/ 1883108 h 1883236"/>
              <a:gd name="connsiteX1" fmla="*/ 336804 w 2776174"/>
              <a:gd name="connsiteY1" fmla="*/ 1883108 h 1883236"/>
              <a:gd name="connsiteX2" fmla="*/ 327839 w 2776174"/>
              <a:gd name="connsiteY2" fmla="*/ 1864655 h 1883236"/>
              <a:gd name="connsiteX3" fmla="*/ 337152 w 2776174"/>
              <a:gd name="connsiteY3" fmla="*/ 1846781 h 1883236"/>
              <a:gd name="connsiteX4" fmla="*/ 357686 w 2776174"/>
              <a:gd name="connsiteY4" fmla="*/ 1857309 h 1883236"/>
              <a:gd name="connsiteX5" fmla="*/ 359248 w 2776174"/>
              <a:gd name="connsiteY5" fmla="*/ 1870671 h 1883236"/>
              <a:gd name="connsiteX6" fmla="*/ 347679 w 2776174"/>
              <a:gd name="connsiteY6" fmla="*/ 1878075 h 1883236"/>
              <a:gd name="connsiteX7" fmla="*/ 339234 w 2776174"/>
              <a:gd name="connsiteY7" fmla="*/ 1882182 h 1883236"/>
              <a:gd name="connsiteX8" fmla="*/ 336804 w 2776174"/>
              <a:gd name="connsiteY8" fmla="*/ 1883108 h 1883236"/>
              <a:gd name="connsiteX9" fmla="*/ 339523 w 2776174"/>
              <a:gd name="connsiteY9" fmla="*/ 1848864 h 1883236"/>
              <a:gd name="connsiteX10" fmla="*/ 337441 w 2776174"/>
              <a:gd name="connsiteY10" fmla="*/ 1848864 h 1883236"/>
              <a:gd name="connsiteX11" fmla="*/ 330095 w 2776174"/>
              <a:gd name="connsiteY11" fmla="*/ 1864424 h 1883236"/>
              <a:gd name="connsiteX12" fmla="*/ 336804 w 2776174"/>
              <a:gd name="connsiteY12" fmla="*/ 1880736 h 1883236"/>
              <a:gd name="connsiteX13" fmla="*/ 336804 w 2776174"/>
              <a:gd name="connsiteY13" fmla="*/ 1880736 h 1883236"/>
              <a:gd name="connsiteX14" fmla="*/ 337961 w 2776174"/>
              <a:gd name="connsiteY14" fmla="*/ 1880273 h 1883236"/>
              <a:gd name="connsiteX15" fmla="*/ 346985 w 2776174"/>
              <a:gd name="connsiteY15" fmla="*/ 1875877 h 1883236"/>
              <a:gd name="connsiteX16" fmla="*/ 357281 w 2776174"/>
              <a:gd name="connsiteY16" fmla="*/ 1869514 h 1883236"/>
              <a:gd name="connsiteX17" fmla="*/ 355720 w 2776174"/>
              <a:gd name="connsiteY17" fmla="*/ 1858350 h 1883236"/>
              <a:gd name="connsiteX18" fmla="*/ 339523 w 2776174"/>
              <a:gd name="connsiteY18" fmla="*/ 1848864 h 1883236"/>
              <a:gd name="connsiteX19" fmla="*/ 317947 w 2776174"/>
              <a:gd name="connsiteY19" fmla="*/ 1839898 h 1883236"/>
              <a:gd name="connsiteX20" fmla="*/ 311584 w 2776174"/>
              <a:gd name="connsiteY20" fmla="*/ 1831395 h 1883236"/>
              <a:gd name="connsiteX21" fmla="*/ 316808 w 2776174"/>
              <a:gd name="connsiteY21" fmla="*/ 1823667 h 1883236"/>
              <a:gd name="connsiteX22" fmla="*/ 317369 w 2776174"/>
              <a:gd name="connsiteY22" fmla="*/ 1823586 h 1883236"/>
              <a:gd name="connsiteX23" fmla="*/ 326971 w 2776174"/>
              <a:gd name="connsiteY23" fmla="*/ 1827809 h 1883236"/>
              <a:gd name="connsiteX24" fmla="*/ 320897 w 2776174"/>
              <a:gd name="connsiteY24" fmla="*/ 1839030 h 1883236"/>
              <a:gd name="connsiteX25" fmla="*/ 317947 w 2776174"/>
              <a:gd name="connsiteY25" fmla="*/ 1839898 h 1883236"/>
              <a:gd name="connsiteX26" fmla="*/ 319220 w 2776174"/>
              <a:gd name="connsiteY26" fmla="*/ 1825726 h 1883236"/>
              <a:gd name="connsiteX27" fmla="*/ 317427 w 2776174"/>
              <a:gd name="connsiteY27" fmla="*/ 1825726 h 1883236"/>
              <a:gd name="connsiteX28" fmla="*/ 313771 w 2776174"/>
              <a:gd name="connsiteY28" fmla="*/ 1831059 h 1883236"/>
              <a:gd name="connsiteX29" fmla="*/ 313782 w 2776174"/>
              <a:gd name="connsiteY29" fmla="*/ 1831105 h 1883236"/>
              <a:gd name="connsiteX30" fmla="*/ 317947 w 2776174"/>
              <a:gd name="connsiteY30" fmla="*/ 1837526 h 1883236"/>
              <a:gd name="connsiteX31" fmla="*/ 319278 w 2776174"/>
              <a:gd name="connsiteY31" fmla="*/ 1837064 h 1883236"/>
              <a:gd name="connsiteX32" fmla="*/ 324484 w 2776174"/>
              <a:gd name="connsiteY32" fmla="*/ 1828387 h 1883236"/>
              <a:gd name="connsiteX33" fmla="*/ 319220 w 2776174"/>
              <a:gd name="connsiteY33" fmla="*/ 1825726 h 1883236"/>
              <a:gd name="connsiteX34" fmla="*/ 275547 w 2776174"/>
              <a:gd name="connsiteY34" fmla="*/ 1821156 h 1883236"/>
              <a:gd name="connsiteX35" fmla="*/ 264615 w 2776174"/>
              <a:gd name="connsiteY35" fmla="*/ 1812827 h 1883236"/>
              <a:gd name="connsiteX36" fmla="*/ 263805 w 2776174"/>
              <a:gd name="connsiteY36" fmla="*/ 1807736 h 1883236"/>
              <a:gd name="connsiteX37" fmla="*/ 270052 w 2776174"/>
              <a:gd name="connsiteY37" fmla="*/ 1805249 h 1883236"/>
              <a:gd name="connsiteX38" fmla="*/ 283646 w 2776174"/>
              <a:gd name="connsiteY38" fmla="*/ 1811034 h 1883236"/>
              <a:gd name="connsiteX39" fmla="*/ 283646 w 2776174"/>
              <a:gd name="connsiteY39" fmla="*/ 1815661 h 1883236"/>
              <a:gd name="connsiteX40" fmla="*/ 275547 w 2776174"/>
              <a:gd name="connsiteY40" fmla="*/ 1821156 h 1883236"/>
              <a:gd name="connsiteX41" fmla="*/ 270052 w 2776174"/>
              <a:gd name="connsiteY41" fmla="*/ 1807505 h 1883236"/>
              <a:gd name="connsiteX42" fmla="*/ 265830 w 2776174"/>
              <a:gd name="connsiteY42" fmla="*/ 1808836 h 1883236"/>
              <a:gd name="connsiteX43" fmla="*/ 266524 w 2776174"/>
              <a:gd name="connsiteY43" fmla="*/ 1811612 h 1883236"/>
              <a:gd name="connsiteX44" fmla="*/ 281563 w 2776174"/>
              <a:gd name="connsiteY44" fmla="*/ 1814331 h 1883236"/>
              <a:gd name="connsiteX45" fmla="*/ 281563 w 2776174"/>
              <a:gd name="connsiteY45" fmla="*/ 1812017 h 1883236"/>
              <a:gd name="connsiteX46" fmla="*/ 270052 w 2776174"/>
              <a:gd name="connsiteY46" fmla="*/ 1807505 h 1883236"/>
              <a:gd name="connsiteX47" fmla="*/ 232106 w 2776174"/>
              <a:gd name="connsiteY47" fmla="*/ 1800564 h 1883236"/>
              <a:gd name="connsiteX48" fmla="*/ 232106 w 2776174"/>
              <a:gd name="connsiteY48" fmla="*/ 1800564 h 1883236"/>
              <a:gd name="connsiteX49" fmla="*/ 221984 w 2776174"/>
              <a:gd name="connsiteY49" fmla="*/ 1794779 h 1883236"/>
              <a:gd name="connsiteX50" fmla="*/ 220248 w 2776174"/>
              <a:gd name="connsiteY50" fmla="*/ 1789400 h 1883236"/>
              <a:gd name="connsiteX51" fmla="*/ 229041 w 2776174"/>
              <a:gd name="connsiteY51" fmla="*/ 1785929 h 1883236"/>
              <a:gd name="connsiteX52" fmla="*/ 239279 w 2776174"/>
              <a:gd name="connsiteY52" fmla="*/ 1789400 h 1883236"/>
              <a:gd name="connsiteX53" fmla="*/ 239915 w 2776174"/>
              <a:gd name="connsiteY53" fmla="*/ 1792986 h 1883236"/>
              <a:gd name="connsiteX54" fmla="*/ 232106 w 2776174"/>
              <a:gd name="connsiteY54" fmla="*/ 1800564 h 1883236"/>
              <a:gd name="connsiteX55" fmla="*/ 229041 w 2776174"/>
              <a:gd name="connsiteY55" fmla="*/ 1788185 h 1883236"/>
              <a:gd name="connsiteX56" fmla="*/ 222331 w 2776174"/>
              <a:gd name="connsiteY56" fmla="*/ 1790267 h 1883236"/>
              <a:gd name="connsiteX57" fmla="*/ 223661 w 2776174"/>
              <a:gd name="connsiteY57" fmla="*/ 1793218 h 1883236"/>
              <a:gd name="connsiteX58" fmla="*/ 232106 w 2776174"/>
              <a:gd name="connsiteY58" fmla="*/ 1798250 h 1883236"/>
              <a:gd name="connsiteX59" fmla="*/ 237891 w 2776174"/>
              <a:gd name="connsiteY59" fmla="*/ 1792466 h 1883236"/>
              <a:gd name="connsiteX60" fmla="*/ 237602 w 2776174"/>
              <a:gd name="connsiteY60" fmla="*/ 1790904 h 1883236"/>
              <a:gd name="connsiteX61" fmla="*/ 229041 w 2776174"/>
              <a:gd name="connsiteY61" fmla="*/ 1788185 h 1883236"/>
              <a:gd name="connsiteX62" fmla="*/ 2393689 w 2776174"/>
              <a:gd name="connsiteY62" fmla="*/ 1704369 h 1883236"/>
              <a:gd name="connsiteX63" fmla="*/ 2378071 w 2776174"/>
              <a:gd name="connsiteY63" fmla="*/ 1694824 h 1883236"/>
              <a:gd name="connsiteX64" fmla="*/ 2360140 w 2776174"/>
              <a:gd name="connsiteY64" fmla="*/ 1672092 h 1883236"/>
              <a:gd name="connsiteX65" fmla="*/ 2354760 w 2776174"/>
              <a:gd name="connsiteY65" fmla="*/ 1660002 h 1883236"/>
              <a:gd name="connsiteX66" fmla="*/ 2348976 w 2776174"/>
              <a:gd name="connsiteY66" fmla="*/ 1643459 h 1883236"/>
              <a:gd name="connsiteX67" fmla="*/ 2339894 w 2776174"/>
              <a:gd name="connsiteY67" fmla="*/ 1625701 h 1883236"/>
              <a:gd name="connsiteX68" fmla="*/ 2337175 w 2776174"/>
              <a:gd name="connsiteY68" fmla="*/ 1615925 h 1883236"/>
              <a:gd name="connsiteX69" fmla="*/ 2337812 w 2776174"/>
              <a:gd name="connsiteY69" fmla="*/ 1602505 h 1883236"/>
              <a:gd name="connsiteX70" fmla="*/ 2336713 w 2776174"/>
              <a:gd name="connsiteY70" fmla="*/ 1585152 h 1883236"/>
              <a:gd name="connsiteX71" fmla="*/ 2321616 w 2776174"/>
              <a:gd name="connsiteY71" fmla="*/ 1568435 h 1883236"/>
              <a:gd name="connsiteX72" fmla="*/ 2309410 w 2776174"/>
              <a:gd name="connsiteY72" fmla="*/ 1554841 h 1883236"/>
              <a:gd name="connsiteX73" fmla="*/ 2303105 w 2776174"/>
              <a:gd name="connsiteY73" fmla="*/ 1551776 h 1883236"/>
              <a:gd name="connsiteX74" fmla="*/ 2288529 w 2776174"/>
              <a:gd name="connsiteY74" fmla="*/ 1560741 h 1883236"/>
              <a:gd name="connsiteX75" fmla="*/ 2285521 w 2776174"/>
              <a:gd name="connsiteY75" fmla="*/ 1563460 h 1883236"/>
              <a:gd name="connsiteX76" fmla="*/ 2274704 w 2776174"/>
              <a:gd name="connsiteY76" fmla="*/ 1568088 h 1883236"/>
              <a:gd name="connsiteX77" fmla="*/ 2264928 w 2776174"/>
              <a:gd name="connsiteY77" fmla="*/ 1559758 h 1883236"/>
              <a:gd name="connsiteX78" fmla="*/ 2240576 w 2776174"/>
              <a:gd name="connsiteY78" fmla="*/ 1542405 h 1883236"/>
              <a:gd name="connsiteX79" fmla="*/ 2222181 w 2776174"/>
              <a:gd name="connsiteY79" fmla="*/ 1546049 h 1883236"/>
              <a:gd name="connsiteX80" fmla="*/ 2207836 w 2776174"/>
              <a:gd name="connsiteY80" fmla="*/ 1549057 h 1883236"/>
              <a:gd name="connsiteX81" fmla="*/ 2203093 w 2776174"/>
              <a:gd name="connsiteY81" fmla="*/ 1545470 h 1883236"/>
              <a:gd name="connsiteX82" fmla="*/ 2198060 w 2776174"/>
              <a:gd name="connsiteY82" fmla="*/ 1535810 h 1883236"/>
              <a:gd name="connsiteX83" fmla="*/ 2194300 w 2776174"/>
              <a:gd name="connsiteY83" fmla="*/ 1538818 h 1883236"/>
              <a:gd name="connsiteX84" fmla="*/ 2186781 w 2776174"/>
              <a:gd name="connsiteY84" fmla="*/ 1544603 h 1883236"/>
              <a:gd name="connsiteX85" fmla="*/ 2183078 w 2776174"/>
              <a:gd name="connsiteY85" fmla="*/ 1544198 h 1883236"/>
              <a:gd name="connsiteX86" fmla="*/ 2173881 w 2776174"/>
              <a:gd name="connsiteY86" fmla="*/ 1543330 h 1883236"/>
              <a:gd name="connsiteX87" fmla="*/ 2149760 w 2776174"/>
              <a:gd name="connsiteY87" fmla="*/ 1550850 h 1883236"/>
              <a:gd name="connsiteX88" fmla="*/ 2150975 w 2776174"/>
              <a:gd name="connsiteY88" fmla="*/ 1553395 h 1883236"/>
              <a:gd name="connsiteX89" fmla="*/ 2153751 w 2776174"/>
              <a:gd name="connsiteY89" fmla="*/ 1561435 h 1883236"/>
              <a:gd name="connsiteX90" fmla="*/ 2156470 w 2776174"/>
              <a:gd name="connsiteY90" fmla="*/ 1568550 h 1883236"/>
              <a:gd name="connsiteX91" fmla="*/ 2168039 w 2776174"/>
              <a:gd name="connsiteY91" fmla="*/ 1582549 h 1883236"/>
              <a:gd name="connsiteX92" fmla="*/ 2163643 w 2776174"/>
              <a:gd name="connsiteY92" fmla="*/ 1584573 h 1883236"/>
              <a:gd name="connsiteX93" fmla="*/ 2161503 w 2776174"/>
              <a:gd name="connsiteY93" fmla="*/ 1584573 h 1883236"/>
              <a:gd name="connsiteX94" fmla="*/ 2143282 w 2776174"/>
              <a:gd name="connsiteY94" fmla="*/ 1571211 h 1883236"/>
              <a:gd name="connsiteX95" fmla="*/ 2138538 w 2776174"/>
              <a:gd name="connsiteY95" fmla="*/ 1566410 h 1883236"/>
              <a:gd name="connsiteX96" fmla="*/ 2138538 w 2776174"/>
              <a:gd name="connsiteY96" fmla="*/ 1566410 h 1883236"/>
              <a:gd name="connsiteX97" fmla="*/ 2138538 w 2776174"/>
              <a:gd name="connsiteY97" fmla="*/ 1567336 h 1883236"/>
              <a:gd name="connsiteX98" fmla="*/ 2128011 w 2776174"/>
              <a:gd name="connsiteY98" fmla="*/ 1577748 h 1883236"/>
              <a:gd name="connsiteX99" fmla="*/ 2125292 w 2776174"/>
              <a:gd name="connsiteY99" fmla="*/ 1577748 h 1883236"/>
              <a:gd name="connsiteX100" fmla="*/ 2120144 w 2776174"/>
              <a:gd name="connsiteY100" fmla="*/ 1577748 h 1883236"/>
              <a:gd name="connsiteX101" fmla="*/ 2117541 w 2776174"/>
              <a:gd name="connsiteY101" fmla="*/ 1577748 h 1883236"/>
              <a:gd name="connsiteX102" fmla="*/ 2101518 w 2776174"/>
              <a:gd name="connsiteY102" fmla="*/ 1570806 h 1883236"/>
              <a:gd name="connsiteX103" fmla="*/ 2087057 w 2776174"/>
              <a:gd name="connsiteY103" fmla="*/ 1559237 h 1883236"/>
              <a:gd name="connsiteX104" fmla="*/ 2085264 w 2776174"/>
              <a:gd name="connsiteY104" fmla="*/ 1561782 h 1883236"/>
              <a:gd name="connsiteX105" fmla="*/ 2075662 w 2776174"/>
              <a:gd name="connsiteY105" fmla="*/ 1568377 h 1883236"/>
              <a:gd name="connsiteX106" fmla="*/ 2060854 w 2776174"/>
              <a:gd name="connsiteY106" fmla="*/ 1561609 h 1883236"/>
              <a:gd name="connsiteX107" fmla="*/ 2052061 w 2776174"/>
              <a:gd name="connsiteY107" fmla="*/ 1555825 h 1883236"/>
              <a:gd name="connsiteX108" fmla="*/ 2049574 w 2776174"/>
              <a:gd name="connsiteY108" fmla="*/ 1558254 h 1883236"/>
              <a:gd name="connsiteX109" fmla="*/ 2045872 w 2776174"/>
              <a:gd name="connsiteY109" fmla="*/ 1561898 h 1883236"/>
              <a:gd name="connsiteX110" fmla="*/ 2038930 w 2776174"/>
              <a:gd name="connsiteY110" fmla="*/ 1559816 h 1883236"/>
              <a:gd name="connsiteX111" fmla="*/ 2034129 w 2776174"/>
              <a:gd name="connsiteY111" fmla="*/ 1557965 h 1883236"/>
              <a:gd name="connsiteX112" fmla="*/ 2029155 w 2776174"/>
              <a:gd name="connsiteY112" fmla="*/ 1561898 h 1883236"/>
              <a:gd name="connsiteX113" fmla="*/ 2019842 w 2776174"/>
              <a:gd name="connsiteY113" fmla="*/ 1569187 h 1883236"/>
              <a:gd name="connsiteX114" fmla="*/ 2017297 w 2776174"/>
              <a:gd name="connsiteY114" fmla="*/ 1569187 h 1883236"/>
              <a:gd name="connsiteX115" fmla="*/ 2005728 w 2776174"/>
              <a:gd name="connsiteY115" fmla="*/ 1569187 h 1883236"/>
              <a:gd name="connsiteX116" fmla="*/ 2005381 w 2776174"/>
              <a:gd name="connsiteY116" fmla="*/ 1573467 h 1883236"/>
              <a:gd name="connsiteX117" fmla="*/ 2000869 w 2776174"/>
              <a:gd name="connsiteY117" fmla="*/ 1583474 h 1883236"/>
              <a:gd name="connsiteX118" fmla="*/ 1977731 w 2776174"/>
              <a:gd name="connsiteY118" fmla="*/ 1597241 h 1883236"/>
              <a:gd name="connsiteX119" fmla="*/ 1970269 w 2776174"/>
              <a:gd name="connsiteY119" fmla="*/ 1596605 h 1883236"/>
              <a:gd name="connsiteX120" fmla="*/ 1962634 w 2776174"/>
              <a:gd name="connsiteY120" fmla="*/ 1602389 h 1883236"/>
              <a:gd name="connsiteX121" fmla="*/ 1948057 w 2776174"/>
              <a:gd name="connsiteY121" fmla="*/ 1616792 h 1883236"/>
              <a:gd name="connsiteX122" fmla="*/ 1942273 w 2776174"/>
              <a:gd name="connsiteY122" fmla="*/ 1620263 h 1883236"/>
              <a:gd name="connsiteX123" fmla="*/ 1941636 w 2776174"/>
              <a:gd name="connsiteY123" fmla="*/ 1627147 h 1883236"/>
              <a:gd name="connsiteX124" fmla="*/ 1935852 w 2776174"/>
              <a:gd name="connsiteY124" fmla="*/ 1646293 h 1883236"/>
              <a:gd name="connsiteX125" fmla="*/ 1932208 w 2776174"/>
              <a:gd name="connsiteY125" fmla="*/ 1651036 h 1883236"/>
              <a:gd name="connsiteX126" fmla="*/ 1935968 w 2776174"/>
              <a:gd name="connsiteY126" fmla="*/ 1658440 h 1883236"/>
              <a:gd name="connsiteX127" fmla="*/ 1944239 w 2776174"/>
              <a:gd name="connsiteY127" fmla="*/ 1680710 h 1883236"/>
              <a:gd name="connsiteX128" fmla="*/ 1943603 w 2776174"/>
              <a:gd name="connsiteY128" fmla="*/ 1681636 h 1883236"/>
              <a:gd name="connsiteX129" fmla="*/ 1942504 w 2776174"/>
              <a:gd name="connsiteY129" fmla="*/ 1681636 h 1883236"/>
              <a:gd name="connsiteX130" fmla="*/ 1932208 w 2776174"/>
              <a:gd name="connsiteY130" fmla="*/ 1677529 h 1883236"/>
              <a:gd name="connsiteX131" fmla="*/ 1931051 w 2776174"/>
              <a:gd name="connsiteY131" fmla="*/ 1677529 h 1883236"/>
              <a:gd name="connsiteX132" fmla="*/ 1904790 w 2776174"/>
              <a:gd name="connsiteY132" fmla="*/ 1668447 h 1883236"/>
              <a:gd name="connsiteX133" fmla="*/ 1893510 w 2776174"/>
              <a:gd name="connsiteY133" fmla="*/ 1663878 h 1883236"/>
              <a:gd name="connsiteX134" fmla="*/ 1887725 w 2776174"/>
              <a:gd name="connsiteY134" fmla="*/ 1655201 h 1883236"/>
              <a:gd name="connsiteX135" fmla="*/ 1884660 w 2776174"/>
              <a:gd name="connsiteY135" fmla="*/ 1646582 h 1883236"/>
              <a:gd name="connsiteX136" fmla="*/ 1881883 w 2776174"/>
              <a:gd name="connsiteY136" fmla="*/ 1636170 h 1883236"/>
              <a:gd name="connsiteX137" fmla="*/ 1878470 w 2776174"/>
              <a:gd name="connsiteY137" fmla="*/ 1626163 h 1883236"/>
              <a:gd name="connsiteX138" fmla="*/ 1852151 w 2776174"/>
              <a:gd name="connsiteY138" fmla="*/ 1588622 h 1883236"/>
              <a:gd name="connsiteX139" fmla="*/ 1804661 w 2776174"/>
              <a:gd name="connsiteY139" fmla="*/ 1561667 h 1883236"/>
              <a:gd name="connsiteX140" fmla="*/ 1804256 w 2776174"/>
              <a:gd name="connsiteY140" fmla="*/ 1561667 h 1883236"/>
              <a:gd name="connsiteX141" fmla="*/ 1788523 w 2776174"/>
              <a:gd name="connsiteY141" fmla="*/ 1579541 h 1883236"/>
              <a:gd name="connsiteX142" fmla="*/ 1783779 w 2776174"/>
              <a:gd name="connsiteY142" fmla="*/ 1586829 h 1883236"/>
              <a:gd name="connsiteX143" fmla="*/ 1782854 w 2776174"/>
              <a:gd name="connsiteY143" fmla="*/ 1586829 h 1883236"/>
              <a:gd name="connsiteX144" fmla="*/ 1759716 w 2776174"/>
              <a:gd name="connsiteY144" fmla="*/ 1575260 h 1883236"/>
              <a:gd name="connsiteX145" fmla="*/ 1750982 w 2776174"/>
              <a:gd name="connsiteY145" fmla="*/ 1570344 h 1883236"/>
              <a:gd name="connsiteX146" fmla="*/ 1740627 w 2776174"/>
              <a:gd name="connsiteY146" fmla="*/ 1551833 h 1883236"/>
              <a:gd name="connsiteX147" fmla="*/ 1723911 w 2776174"/>
              <a:gd name="connsiteY147" fmla="*/ 1531530 h 1883236"/>
              <a:gd name="connsiteX148" fmla="*/ 1692790 w 2776174"/>
              <a:gd name="connsiteY148" fmla="*/ 1503765 h 1883236"/>
              <a:gd name="connsiteX149" fmla="*/ 1650795 w 2776174"/>
              <a:gd name="connsiteY149" fmla="*/ 1503765 h 1883236"/>
              <a:gd name="connsiteX150" fmla="*/ 1642119 w 2776174"/>
              <a:gd name="connsiteY150" fmla="*/ 1514987 h 1883236"/>
              <a:gd name="connsiteX151" fmla="*/ 1641251 w 2776174"/>
              <a:gd name="connsiteY151" fmla="*/ 1515392 h 1883236"/>
              <a:gd name="connsiteX152" fmla="*/ 1563566 w 2776174"/>
              <a:gd name="connsiteY152" fmla="*/ 1516028 h 1883236"/>
              <a:gd name="connsiteX153" fmla="*/ 1563161 w 2776174"/>
              <a:gd name="connsiteY153" fmla="*/ 1516028 h 1883236"/>
              <a:gd name="connsiteX154" fmla="*/ 1492765 w 2776174"/>
              <a:gd name="connsiteY154" fmla="*/ 1491560 h 1883236"/>
              <a:gd name="connsiteX155" fmla="*/ 1462339 w 2776174"/>
              <a:gd name="connsiteY155" fmla="*/ 1475421 h 1883236"/>
              <a:gd name="connsiteX156" fmla="*/ 1399925 w 2776174"/>
              <a:gd name="connsiteY156" fmla="*/ 1483577 h 1883236"/>
              <a:gd name="connsiteX157" fmla="*/ 1398768 w 2776174"/>
              <a:gd name="connsiteY157" fmla="*/ 1482941 h 1883236"/>
              <a:gd name="connsiteX158" fmla="*/ 1392578 w 2776174"/>
              <a:gd name="connsiteY158" fmla="*/ 1465588 h 1883236"/>
              <a:gd name="connsiteX159" fmla="*/ 1367937 w 2776174"/>
              <a:gd name="connsiteY159" fmla="*/ 1436087 h 1883236"/>
              <a:gd name="connsiteX160" fmla="*/ 1363483 w 2776174"/>
              <a:gd name="connsiteY160" fmla="*/ 1435624 h 1883236"/>
              <a:gd name="connsiteX161" fmla="*/ 1361111 w 2776174"/>
              <a:gd name="connsiteY161" fmla="*/ 1435624 h 1883236"/>
              <a:gd name="connsiteX162" fmla="*/ 1344568 w 2776174"/>
              <a:gd name="connsiteY162" fmla="*/ 1431054 h 1883236"/>
              <a:gd name="connsiteX163" fmla="*/ 1311307 w 2776174"/>
              <a:gd name="connsiteY163" fmla="*/ 1417288 h 1883236"/>
              <a:gd name="connsiteX164" fmla="*/ 1304771 w 2776174"/>
              <a:gd name="connsiteY164" fmla="*/ 1409710 h 1883236"/>
              <a:gd name="connsiteX165" fmla="*/ 1296557 w 2776174"/>
              <a:gd name="connsiteY165" fmla="*/ 1391605 h 1883236"/>
              <a:gd name="connsiteX166" fmla="*/ 1294301 w 2776174"/>
              <a:gd name="connsiteY166" fmla="*/ 1389580 h 1883236"/>
              <a:gd name="connsiteX167" fmla="*/ 1267750 w 2776174"/>
              <a:gd name="connsiteY167" fmla="*/ 1359790 h 1883236"/>
              <a:gd name="connsiteX168" fmla="*/ 1268618 w 2776174"/>
              <a:gd name="connsiteY168" fmla="*/ 1354006 h 1883236"/>
              <a:gd name="connsiteX169" fmla="*/ 1264800 w 2776174"/>
              <a:gd name="connsiteY169" fmla="*/ 1339545 h 1883236"/>
              <a:gd name="connsiteX170" fmla="*/ 1253231 w 2776174"/>
              <a:gd name="connsiteY170" fmla="*/ 1322191 h 1883236"/>
              <a:gd name="connsiteX171" fmla="*/ 1253231 w 2776174"/>
              <a:gd name="connsiteY171" fmla="*/ 1321497 h 1883236"/>
              <a:gd name="connsiteX172" fmla="*/ 1248488 w 2776174"/>
              <a:gd name="connsiteY172" fmla="*/ 1314672 h 1883236"/>
              <a:gd name="connsiteX173" fmla="*/ 1239407 w 2776174"/>
              <a:gd name="connsiteY173" fmla="*/ 1306805 h 1883236"/>
              <a:gd name="connsiteX174" fmla="*/ 1219219 w 2776174"/>
              <a:gd name="connsiteY174" fmla="*/ 1283667 h 1883236"/>
              <a:gd name="connsiteX175" fmla="*/ 1214187 w 2776174"/>
              <a:gd name="connsiteY175" fmla="*/ 1266834 h 1883236"/>
              <a:gd name="connsiteX176" fmla="*/ 1210369 w 2776174"/>
              <a:gd name="connsiteY176" fmla="*/ 1247572 h 1883236"/>
              <a:gd name="connsiteX177" fmla="*/ 1207187 w 2776174"/>
              <a:gd name="connsiteY177" fmla="*/ 1210957 h 1883236"/>
              <a:gd name="connsiteX178" fmla="*/ 1198279 w 2776174"/>
              <a:gd name="connsiteY178" fmla="*/ 1167689 h 1883236"/>
              <a:gd name="connsiteX179" fmla="*/ 1201287 w 2776174"/>
              <a:gd name="connsiteY179" fmla="*/ 1136858 h 1883236"/>
              <a:gd name="connsiteX180" fmla="*/ 1205336 w 2776174"/>
              <a:gd name="connsiteY180" fmla="*/ 1124480 h 1883236"/>
              <a:gd name="connsiteX181" fmla="*/ 1206840 w 2776174"/>
              <a:gd name="connsiteY181" fmla="*/ 1098623 h 1883236"/>
              <a:gd name="connsiteX182" fmla="*/ 1209617 w 2776174"/>
              <a:gd name="connsiteY182" fmla="*/ 1057207 h 1883236"/>
              <a:gd name="connsiteX183" fmla="*/ 1210369 w 2776174"/>
              <a:gd name="connsiteY183" fmla="*/ 1040374 h 1883236"/>
              <a:gd name="connsiteX184" fmla="*/ 1211468 w 2776174"/>
              <a:gd name="connsiteY184" fmla="*/ 1032392 h 1883236"/>
              <a:gd name="connsiteX185" fmla="*/ 1216327 w 2776174"/>
              <a:gd name="connsiteY185" fmla="*/ 1031408 h 1883236"/>
              <a:gd name="connsiteX186" fmla="*/ 1221591 w 2776174"/>
              <a:gd name="connsiteY186" fmla="*/ 1030425 h 1883236"/>
              <a:gd name="connsiteX187" fmla="*/ 1215806 w 2776174"/>
              <a:gd name="connsiteY187" fmla="*/ 1024640 h 1883236"/>
              <a:gd name="connsiteX188" fmla="*/ 1209328 w 2776174"/>
              <a:gd name="connsiteY188" fmla="*/ 1013766 h 1883236"/>
              <a:gd name="connsiteX189" fmla="*/ 1203543 w 2776174"/>
              <a:gd name="connsiteY189" fmla="*/ 998900 h 1883236"/>
              <a:gd name="connsiteX190" fmla="*/ 1189372 w 2776174"/>
              <a:gd name="connsiteY190" fmla="*/ 961937 h 1883236"/>
              <a:gd name="connsiteX191" fmla="*/ 1188909 w 2776174"/>
              <a:gd name="connsiteY191" fmla="*/ 960144 h 1883236"/>
              <a:gd name="connsiteX192" fmla="*/ 1188909 w 2776174"/>
              <a:gd name="connsiteY192" fmla="*/ 959045 h 1883236"/>
              <a:gd name="connsiteX193" fmla="*/ 1189950 w 2776174"/>
              <a:gd name="connsiteY193" fmla="*/ 958582 h 1883236"/>
              <a:gd name="connsiteX194" fmla="*/ 1216096 w 2776174"/>
              <a:gd name="connsiteY194" fmla="*/ 960723 h 1883236"/>
              <a:gd name="connsiteX195" fmla="*/ 1232697 w 2776174"/>
              <a:gd name="connsiteY195" fmla="*/ 958698 h 1883236"/>
              <a:gd name="connsiteX196" fmla="*/ 1233680 w 2776174"/>
              <a:gd name="connsiteY196" fmla="*/ 958698 h 1883236"/>
              <a:gd name="connsiteX197" fmla="*/ 1234085 w 2776174"/>
              <a:gd name="connsiteY197" fmla="*/ 959623 h 1883236"/>
              <a:gd name="connsiteX198" fmla="*/ 1236052 w 2776174"/>
              <a:gd name="connsiteY198" fmla="*/ 967433 h 1883236"/>
              <a:gd name="connsiteX199" fmla="*/ 1238250 w 2776174"/>
              <a:gd name="connsiteY199" fmla="*/ 968358 h 1883236"/>
              <a:gd name="connsiteX200" fmla="*/ 1246117 w 2776174"/>
              <a:gd name="connsiteY200" fmla="*/ 976167 h 1883236"/>
              <a:gd name="connsiteX201" fmla="*/ 1242415 w 2776174"/>
              <a:gd name="connsiteY201" fmla="*/ 987447 h 1883236"/>
              <a:gd name="connsiteX202" fmla="*/ 1239002 w 2776174"/>
              <a:gd name="connsiteY202" fmla="*/ 994851 h 1883236"/>
              <a:gd name="connsiteX203" fmla="*/ 1247522 w 2776174"/>
              <a:gd name="connsiteY203" fmla="*/ 998842 h 1883236"/>
              <a:gd name="connsiteX204" fmla="*/ 1250571 w 2776174"/>
              <a:gd name="connsiteY204" fmla="*/ 996586 h 1883236"/>
              <a:gd name="connsiteX205" fmla="*/ 1252942 w 2776174"/>
              <a:gd name="connsiteY205" fmla="*/ 972812 h 1883236"/>
              <a:gd name="connsiteX206" fmla="*/ 1252480 w 2776174"/>
              <a:gd name="connsiteY206" fmla="*/ 960375 h 1883236"/>
              <a:gd name="connsiteX207" fmla="*/ 1248315 w 2776174"/>
              <a:gd name="connsiteY207" fmla="*/ 944815 h 1883236"/>
              <a:gd name="connsiteX208" fmla="*/ 1245538 w 2776174"/>
              <a:gd name="connsiteY208" fmla="*/ 941171 h 1883236"/>
              <a:gd name="connsiteX209" fmla="*/ 1245538 w 2776174"/>
              <a:gd name="connsiteY209" fmla="*/ 940014 h 1883236"/>
              <a:gd name="connsiteX210" fmla="*/ 1246522 w 2776174"/>
              <a:gd name="connsiteY210" fmla="*/ 939378 h 1883236"/>
              <a:gd name="connsiteX211" fmla="*/ 1998497 w 2776174"/>
              <a:gd name="connsiteY211" fmla="*/ 935387 h 1883236"/>
              <a:gd name="connsiteX212" fmla="*/ 2005554 w 2776174"/>
              <a:gd name="connsiteY212" fmla="*/ 921736 h 1883236"/>
              <a:gd name="connsiteX213" fmla="*/ 2009661 w 2776174"/>
              <a:gd name="connsiteY213" fmla="*/ 923297 h 1883236"/>
              <a:gd name="connsiteX214" fmla="*/ 2015099 w 2776174"/>
              <a:gd name="connsiteY214" fmla="*/ 934866 h 1883236"/>
              <a:gd name="connsiteX215" fmla="*/ 2020883 w 2776174"/>
              <a:gd name="connsiteY215" fmla="*/ 944121 h 1883236"/>
              <a:gd name="connsiteX216" fmla="*/ 2030601 w 2776174"/>
              <a:gd name="connsiteY216" fmla="*/ 948691 h 1883236"/>
              <a:gd name="connsiteX217" fmla="*/ 2043442 w 2776174"/>
              <a:gd name="connsiteY217" fmla="*/ 952219 h 1883236"/>
              <a:gd name="connsiteX218" fmla="*/ 2046219 w 2776174"/>
              <a:gd name="connsiteY218" fmla="*/ 950831 h 1883236"/>
              <a:gd name="connsiteX219" fmla="*/ 2057788 w 2776174"/>
              <a:gd name="connsiteY219" fmla="*/ 947071 h 1883236"/>
              <a:gd name="connsiteX220" fmla="*/ 2069704 w 2776174"/>
              <a:gd name="connsiteY220" fmla="*/ 953376 h 1883236"/>
              <a:gd name="connsiteX221" fmla="*/ 2082834 w 2776174"/>
              <a:gd name="connsiteY221" fmla="*/ 959161 h 1883236"/>
              <a:gd name="connsiteX222" fmla="*/ 2092379 w 2776174"/>
              <a:gd name="connsiteY222" fmla="*/ 962574 h 1883236"/>
              <a:gd name="connsiteX223" fmla="*/ 2106030 w 2776174"/>
              <a:gd name="connsiteY223" fmla="*/ 970729 h 1883236"/>
              <a:gd name="connsiteX224" fmla="*/ 2113550 w 2776174"/>
              <a:gd name="connsiteY224" fmla="*/ 965755 h 1883236"/>
              <a:gd name="connsiteX225" fmla="*/ 2122458 w 2776174"/>
              <a:gd name="connsiteY225" fmla="*/ 962574 h 1883236"/>
              <a:gd name="connsiteX226" fmla="*/ 2152016 w 2776174"/>
              <a:gd name="connsiteY226" fmla="*/ 970209 h 1883236"/>
              <a:gd name="connsiteX227" fmla="*/ 2153867 w 2776174"/>
              <a:gd name="connsiteY227" fmla="*/ 970903 h 1883236"/>
              <a:gd name="connsiteX228" fmla="*/ 2154619 w 2776174"/>
              <a:gd name="connsiteY228" fmla="*/ 971771 h 1883236"/>
              <a:gd name="connsiteX229" fmla="*/ 2154214 w 2776174"/>
              <a:gd name="connsiteY229" fmla="*/ 972812 h 1883236"/>
              <a:gd name="connsiteX230" fmla="*/ 2139406 w 2776174"/>
              <a:gd name="connsiteY230" fmla="*/ 978596 h 1883236"/>
              <a:gd name="connsiteX231" fmla="*/ 2085206 w 2776174"/>
              <a:gd name="connsiteY231" fmla="*/ 1006998 h 1883236"/>
              <a:gd name="connsiteX232" fmla="*/ 2085726 w 2776174"/>
              <a:gd name="connsiteY232" fmla="*/ 1011799 h 1883236"/>
              <a:gd name="connsiteX233" fmla="*/ 2093073 w 2776174"/>
              <a:gd name="connsiteY233" fmla="*/ 1014807 h 1883236"/>
              <a:gd name="connsiteX234" fmla="*/ 2099841 w 2776174"/>
              <a:gd name="connsiteY234" fmla="*/ 1013824 h 1883236"/>
              <a:gd name="connsiteX235" fmla="*/ 2108170 w 2776174"/>
              <a:gd name="connsiteY235" fmla="*/ 1012667 h 1883236"/>
              <a:gd name="connsiteX236" fmla="*/ 2120838 w 2776174"/>
              <a:gd name="connsiteY236" fmla="*/ 1017815 h 1883236"/>
              <a:gd name="connsiteX237" fmla="*/ 2128589 w 2776174"/>
              <a:gd name="connsiteY237" fmla="*/ 1020591 h 1883236"/>
              <a:gd name="connsiteX238" fmla="*/ 2165609 w 2776174"/>
              <a:gd name="connsiteY238" fmla="*/ 1002313 h 1883236"/>
              <a:gd name="connsiteX239" fmla="*/ 2181343 w 2776174"/>
              <a:gd name="connsiteY239" fmla="*/ 992190 h 1883236"/>
              <a:gd name="connsiteX240" fmla="*/ 2188632 w 2776174"/>
              <a:gd name="connsiteY240" fmla="*/ 989355 h 1883236"/>
              <a:gd name="connsiteX241" fmla="*/ 2190714 w 2776174"/>
              <a:gd name="connsiteY241" fmla="*/ 990281 h 1883236"/>
              <a:gd name="connsiteX242" fmla="*/ 2189846 w 2776174"/>
              <a:gd name="connsiteY242" fmla="*/ 997338 h 1883236"/>
              <a:gd name="connsiteX243" fmla="*/ 2188747 w 2776174"/>
              <a:gd name="connsiteY243" fmla="*/ 1005668 h 1883236"/>
              <a:gd name="connsiteX244" fmla="*/ 2191582 w 2776174"/>
              <a:gd name="connsiteY244" fmla="*/ 1006593 h 1883236"/>
              <a:gd name="connsiteX245" fmla="*/ 2202688 w 2776174"/>
              <a:gd name="connsiteY245" fmla="*/ 1013477 h 1883236"/>
              <a:gd name="connsiteX246" fmla="*/ 2212695 w 2776174"/>
              <a:gd name="connsiteY246" fmla="*/ 1023715 h 1883236"/>
              <a:gd name="connsiteX247" fmla="*/ 2220157 w 2776174"/>
              <a:gd name="connsiteY247" fmla="*/ 1025392 h 1883236"/>
              <a:gd name="connsiteX248" fmla="*/ 2239650 w 2776174"/>
              <a:gd name="connsiteY248" fmla="*/ 1020013 h 1883236"/>
              <a:gd name="connsiteX249" fmla="*/ 2262788 w 2776174"/>
              <a:gd name="connsiteY249" fmla="*/ 1013881 h 1883236"/>
              <a:gd name="connsiteX250" fmla="*/ 2279852 w 2776174"/>
              <a:gd name="connsiteY250" fmla="*/ 1022789 h 1883236"/>
              <a:gd name="connsiteX251" fmla="*/ 2287603 w 2776174"/>
              <a:gd name="connsiteY251" fmla="*/ 1024987 h 1883236"/>
              <a:gd name="connsiteX252" fmla="*/ 2290437 w 2776174"/>
              <a:gd name="connsiteY252" fmla="*/ 1021343 h 1883236"/>
              <a:gd name="connsiteX253" fmla="*/ 2291132 w 2776174"/>
              <a:gd name="connsiteY253" fmla="*/ 1020591 h 1883236"/>
              <a:gd name="connsiteX254" fmla="*/ 2292115 w 2776174"/>
              <a:gd name="connsiteY254" fmla="*/ 1020591 h 1883236"/>
              <a:gd name="connsiteX255" fmla="*/ 2307791 w 2776174"/>
              <a:gd name="connsiteY255" fmla="*/ 1031466 h 1883236"/>
              <a:gd name="connsiteX256" fmla="*/ 2308196 w 2776174"/>
              <a:gd name="connsiteY256" fmla="*/ 1032565 h 1883236"/>
              <a:gd name="connsiteX257" fmla="*/ 2307444 w 2776174"/>
              <a:gd name="connsiteY257" fmla="*/ 1033433 h 1883236"/>
              <a:gd name="connsiteX258" fmla="*/ 2305130 w 2776174"/>
              <a:gd name="connsiteY258" fmla="*/ 1035457 h 1883236"/>
              <a:gd name="connsiteX259" fmla="*/ 2279563 w 2776174"/>
              <a:gd name="connsiteY259" fmla="*/ 1043035 h 1883236"/>
              <a:gd name="connsiteX260" fmla="*/ 2247343 w 2776174"/>
              <a:gd name="connsiteY260" fmla="*/ 1047489 h 1883236"/>
              <a:gd name="connsiteX261" fmla="*/ 2204076 w 2776174"/>
              <a:gd name="connsiteY261" fmla="*/ 1079593 h 1883236"/>
              <a:gd name="connsiteX262" fmla="*/ 2205869 w 2776174"/>
              <a:gd name="connsiteY262" fmla="*/ 1080402 h 1883236"/>
              <a:gd name="connsiteX263" fmla="*/ 2210728 w 2776174"/>
              <a:gd name="connsiteY263" fmla="*/ 1082543 h 1883236"/>
              <a:gd name="connsiteX264" fmla="*/ 2207257 w 2776174"/>
              <a:gd name="connsiteY264" fmla="*/ 1106374 h 1883236"/>
              <a:gd name="connsiteX265" fmla="*/ 2200952 w 2776174"/>
              <a:gd name="connsiteY265" fmla="*/ 1128992 h 1883236"/>
              <a:gd name="connsiteX266" fmla="*/ 2205233 w 2776174"/>
              <a:gd name="connsiteY266" fmla="*/ 1178159 h 1883236"/>
              <a:gd name="connsiteX267" fmla="*/ 2219584 w 2776174"/>
              <a:gd name="connsiteY267" fmla="*/ 1180074 h 1883236"/>
              <a:gd name="connsiteX268" fmla="*/ 2219810 w 2776174"/>
              <a:gd name="connsiteY268" fmla="*/ 1179895 h 1883236"/>
              <a:gd name="connsiteX269" fmla="*/ 2238725 w 2776174"/>
              <a:gd name="connsiteY269" fmla="*/ 1141197 h 1883236"/>
              <a:gd name="connsiteX270" fmla="*/ 2246071 w 2776174"/>
              <a:gd name="connsiteY270" fmla="*/ 1082253 h 1883236"/>
              <a:gd name="connsiteX271" fmla="*/ 2259780 w 2776174"/>
              <a:gd name="connsiteY271" fmla="*/ 1073114 h 1883236"/>
              <a:gd name="connsiteX272" fmla="*/ 2273836 w 2776174"/>
              <a:gd name="connsiteY272" fmla="*/ 1061545 h 1883236"/>
              <a:gd name="connsiteX273" fmla="*/ 2291189 w 2776174"/>
              <a:gd name="connsiteY273" fmla="*/ 1049514 h 1883236"/>
              <a:gd name="connsiteX274" fmla="*/ 2318145 w 2776174"/>
              <a:gd name="connsiteY274" fmla="*/ 1066173 h 1883236"/>
              <a:gd name="connsiteX275" fmla="*/ 2314501 w 2776174"/>
              <a:gd name="connsiteY275" fmla="*/ 1100879 h 1883236"/>
              <a:gd name="connsiteX276" fmla="*/ 2307444 w 2776174"/>
              <a:gd name="connsiteY276" fmla="*/ 1116266 h 1883236"/>
              <a:gd name="connsiteX277" fmla="*/ 2307444 w 2776174"/>
              <a:gd name="connsiteY277" fmla="*/ 1120141 h 1883236"/>
              <a:gd name="connsiteX278" fmla="*/ 2307444 w 2776174"/>
              <a:gd name="connsiteY278" fmla="*/ 1120141 h 1883236"/>
              <a:gd name="connsiteX279" fmla="*/ 2313749 w 2776174"/>
              <a:gd name="connsiteY279" fmla="*/ 1116902 h 1883236"/>
              <a:gd name="connsiteX280" fmla="*/ 2331623 w 2776174"/>
              <a:gd name="connsiteY280" fmla="*/ 1110366 h 1883236"/>
              <a:gd name="connsiteX281" fmla="*/ 2335961 w 2776174"/>
              <a:gd name="connsiteY281" fmla="*/ 1111060 h 1883236"/>
              <a:gd name="connsiteX282" fmla="*/ 2344406 w 2776174"/>
              <a:gd name="connsiteY282" fmla="*/ 1134198 h 1883236"/>
              <a:gd name="connsiteX283" fmla="*/ 2346199 w 2776174"/>
              <a:gd name="connsiteY283" fmla="*/ 1145766 h 1883236"/>
              <a:gd name="connsiteX284" fmla="*/ 2346894 w 2776174"/>
              <a:gd name="connsiteY284" fmla="*/ 1146981 h 1883236"/>
              <a:gd name="connsiteX285" fmla="*/ 2351000 w 2776174"/>
              <a:gd name="connsiteY285" fmla="*/ 1167458 h 1883236"/>
              <a:gd name="connsiteX286" fmla="*/ 2351347 w 2776174"/>
              <a:gd name="connsiteY286" fmla="*/ 1168326 h 1883236"/>
              <a:gd name="connsiteX287" fmla="*/ 2350885 w 2776174"/>
              <a:gd name="connsiteY287" fmla="*/ 1169193 h 1883236"/>
              <a:gd name="connsiteX288" fmla="*/ 2341340 w 2776174"/>
              <a:gd name="connsiteY288" fmla="*/ 1173994 h 1883236"/>
              <a:gd name="connsiteX289" fmla="*/ 2338159 w 2776174"/>
              <a:gd name="connsiteY289" fmla="*/ 1171796 h 1883236"/>
              <a:gd name="connsiteX290" fmla="*/ 2328210 w 2776174"/>
              <a:gd name="connsiteY290" fmla="*/ 1165491 h 1883236"/>
              <a:gd name="connsiteX291" fmla="*/ 2319764 w 2776174"/>
              <a:gd name="connsiteY291" fmla="*/ 1177407 h 1883236"/>
              <a:gd name="connsiteX292" fmla="*/ 2327689 w 2776174"/>
              <a:gd name="connsiteY292" fmla="*/ 1190017 h 1883236"/>
              <a:gd name="connsiteX293" fmla="*/ 2347298 w 2776174"/>
              <a:gd name="connsiteY293" fmla="*/ 1194703 h 1883236"/>
              <a:gd name="connsiteX294" fmla="*/ 2372634 w 2776174"/>
              <a:gd name="connsiteY294" fmla="*/ 1188571 h 1883236"/>
              <a:gd name="connsiteX295" fmla="*/ 2382294 w 2776174"/>
              <a:gd name="connsiteY295" fmla="*/ 1183481 h 1883236"/>
              <a:gd name="connsiteX296" fmla="*/ 2434701 w 2776174"/>
              <a:gd name="connsiteY296" fmla="*/ 1150568 h 1883236"/>
              <a:gd name="connsiteX297" fmla="*/ 2435164 w 2776174"/>
              <a:gd name="connsiteY297" fmla="*/ 1150047 h 1883236"/>
              <a:gd name="connsiteX298" fmla="*/ 2442684 w 2776174"/>
              <a:gd name="connsiteY298" fmla="*/ 1144262 h 1883236"/>
              <a:gd name="connsiteX299" fmla="*/ 2441180 w 2776174"/>
              <a:gd name="connsiteY299" fmla="*/ 1133851 h 1883236"/>
              <a:gd name="connsiteX300" fmla="*/ 2441810 w 2776174"/>
              <a:gd name="connsiteY300" fmla="*/ 1132520 h 1883236"/>
              <a:gd name="connsiteX301" fmla="*/ 2442105 w 2776174"/>
              <a:gd name="connsiteY301" fmla="*/ 1132462 h 1883236"/>
              <a:gd name="connsiteX302" fmla="*/ 2463970 w 2776174"/>
              <a:gd name="connsiteY302" fmla="*/ 1130322 h 1883236"/>
              <a:gd name="connsiteX303" fmla="*/ 2516609 w 2776174"/>
              <a:gd name="connsiteY303" fmla="*/ 1113894 h 1883236"/>
              <a:gd name="connsiteX304" fmla="*/ 2516609 w 2776174"/>
              <a:gd name="connsiteY304" fmla="*/ 1105391 h 1883236"/>
              <a:gd name="connsiteX305" fmla="*/ 2515683 w 2776174"/>
              <a:gd name="connsiteY305" fmla="*/ 1104061 h 1883236"/>
              <a:gd name="connsiteX306" fmla="*/ 2515677 w 2776174"/>
              <a:gd name="connsiteY306" fmla="*/ 1102505 h 1883236"/>
              <a:gd name="connsiteX307" fmla="*/ 2515683 w 2776174"/>
              <a:gd name="connsiteY307" fmla="*/ 1102499 h 1883236"/>
              <a:gd name="connsiteX308" fmla="*/ 2552992 w 2776174"/>
              <a:gd name="connsiteY308" fmla="*/ 1074618 h 1883236"/>
              <a:gd name="connsiteX309" fmla="*/ 2646353 w 2776174"/>
              <a:gd name="connsiteY309" fmla="*/ 1073808 h 1883236"/>
              <a:gd name="connsiteX310" fmla="*/ 2679556 w 2776174"/>
              <a:gd name="connsiteY310" fmla="*/ 1039101 h 1883236"/>
              <a:gd name="connsiteX311" fmla="*/ 2711833 w 2776174"/>
              <a:gd name="connsiteY311" fmla="*/ 988488 h 1883236"/>
              <a:gd name="connsiteX312" fmla="*/ 2716056 w 2776174"/>
              <a:gd name="connsiteY312" fmla="*/ 989992 h 1883236"/>
              <a:gd name="connsiteX313" fmla="*/ 2737574 w 2776174"/>
              <a:gd name="connsiteY313" fmla="*/ 995313 h 1883236"/>
              <a:gd name="connsiteX314" fmla="*/ 2752845 w 2776174"/>
              <a:gd name="connsiteY314" fmla="*/ 1001098 h 1883236"/>
              <a:gd name="connsiteX315" fmla="*/ 2752845 w 2776174"/>
              <a:gd name="connsiteY315" fmla="*/ 1006593 h 1883236"/>
              <a:gd name="connsiteX316" fmla="*/ 2775982 w 2776174"/>
              <a:gd name="connsiteY316" fmla="*/ 1076527 h 1883236"/>
              <a:gd name="connsiteX317" fmla="*/ 2775982 w 2776174"/>
              <a:gd name="connsiteY317" fmla="*/ 1077394 h 1883236"/>
              <a:gd name="connsiteX318" fmla="*/ 2775462 w 2776174"/>
              <a:gd name="connsiteY318" fmla="*/ 1078146 h 1883236"/>
              <a:gd name="connsiteX319" fmla="*/ 2755216 w 2776174"/>
              <a:gd name="connsiteY319" fmla="*/ 1093302 h 1883236"/>
              <a:gd name="connsiteX320" fmla="*/ 2745556 w 2776174"/>
              <a:gd name="connsiteY320" fmla="*/ 1097351 h 1883236"/>
              <a:gd name="connsiteX321" fmla="*/ 2745556 w 2776174"/>
              <a:gd name="connsiteY321" fmla="*/ 1097351 h 1883236"/>
              <a:gd name="connsiteX322" fmla="*/ 2733467 w 2776174"/>
              <a:gd name="connsiteY322" fmla="*/ 1093417 h 1883236"/>
              <a:gd name="connsiteX323" fmla="*/ 2725195 w 2776174"/>
              <a:gd name="connsiteY323" fmla="*/ 1090352 h 1883236"/>
              <a:gd name="connsiteX324" fmla="*/ 2721320 w 2776174"/>
              <a:gd name="connsiteY324" fmla="*/ 1092087 h 1883236"/>
              <a:gd name="connsiteX325" fmla="*/ 2714205 w 2776174"/>
              <a:gd name="connsiteY325" fmla="*/ 1101573 h 1883236"/>
              <a:gd name="connsiteX326" fmla="*/ 2700553 w 2776174"/>
              <a:gd name="connsiteY326" fmla="*/ 1112390 h 1883236"/>
              <a:gd name="connsiteX327" fmla="*/ 2694364 w 2776174"/>
              <a:gd name="connsiteY327" fmla="*/ 1115745 h 1883236"/>
              <a:gd name="connsiteX328" fmla="*/ 2684993 w 2776174"/>
              <a:gd name="connsiteY328" fmla="*/ 1122050 h 1883236"/>
              <a:gd name="connsiteX329" fmla="*/ 2670648 w 2776174"/>
              <a:gd name="connsiteY329" fmla="*/ 1137090 h 1883236"/>
              <a:gd name="connsiteX330" fmla="*/ 2668219 w 2776174"/>
              <a:gd name="connsiteY330" fmla="*/ 1150105 h 1883236"/>
              <a:gd name="connsiteX331" fmla="*/ 2664516 w 2776174"/>
              <a:gd name="connsiteY331" fmla="*/ 1158955 h 1883236"/>
              <a:gd name="connsiteX332" fmla="*/ 2661855 w 2776174"/>
              <a:gd name="connsiteY332" fmla="*/ 1162483 h 1883236"/>
              <a:gd name="connsiteX333" fmla="*/ 2663880 w 2776174"/>
              <a:gd name="connsiteY333" fmla="*/ 1163467 h 1883236"/>
              <a:gd name="connsiteX334" fmla="*/ 2675449 w 2776174"/>
              <a:gd name="connsiteY334" fmla="*/ 1177060 h 1883236"/>
              <a:gd name="connsiteX335" fmla="*/ 2671400 w 2776174"/>
              <a:gd name="connsiteY335" fmla="*/ 1186720 h 1883236"/>
              <a:gd name="connsiteX336" fmla="*/ 2646874 w 2776174"/>
              <a:gd name="connsiteY336" fmla="*/ 1184638 h 1883236"/>
              <a:gd name="connsiteX337" fmla="*/ 2645833 w 2776174"/>
              <a:gd name="connsiteY337" fmla="*/ 1183423 h 1883236"/>
              <a:gd name="connsiteX338" fmla="*/ 2645486 w 2776174"/>
              <a:gd name="connsiteY338" fmla="*/ 1185101 h 1883236"/>
              <a:gd name="connsiteX339" fmla="*/ 2634495 w 2776174"/>
              <a:gd name="connsiteY339" fmla="*/ 1196669 h 1883236"/>
              <a:gd name="connsiteX340" fmla="*/ 2591343 w 2776174"/>
              <a:gd name="connsiteY340" fmla="*/ 1209511 h 1883236"/>
              <a:gd name="connsiteX341" fmla="*/ 2593946 w 2776174"/>
              <a:gd name="connsiteY341" fmla="*/ 1209974 h 1883236"/>
              <a:gd name="connsiteX342" fmla="*/ 2609159 w 2776174"/>
              <a:gd name="connsiteY342" fmla="*/ 1207775 h 1883236"/>
              <a:gd name="connsiteX343" fmla="*/ 2627149 w 2776174"/>
              <a:gd name="connsiteY343" fmla="*/ 1205346 h 1883236"/>
              <a:gd name="connsiteX344" fmla="*/ 2632933 w 2776174"/>
              <a:gd name="connsiteY344" fmla="*/ 1207371 h 1883236"/>
              <a:gd name="connsiteX345" fmla="*/ 2632933 w 2776174"/>
              <a:gd name="connsiteY345" fmla="*/ 1211246 h 1883236"/>
              <a:gd name="connsiteX346" fmla="*/ 2593310 w 2776174"/>
              <a:gd name="connsiteY346" fmla="*/ 1222815 h 1883236"/>
              <a:gd name="connsiteX347" fmla="*/ 2591922 w 2776174"/>
              <a:gd name="connsiteY347" fmla="*/ 1222815 h 1883236"/>
              <a:gd name="connsiteX348" fmla="*/ 2589550 w 2776174"/>
              <a:gd name="connsiteY348" fmla="*/ 1222815 h 1883236"/>
              <a:gd name="connsiteX349" fmla="*/ 2575841 w 2776174"/>
              <a:gd name="connsiteY349" fmla="*/ 1226575 h 1883236"/>
              <a:gd name="connsiteX350" fmla="*/ 2577461 w 2776174"/>
              <a:gd name="connsiteY350" fmla="*/ 1228657 h 1883236"/>
              <a:gd name="connsiteX351" fmla="*/ 2579948 w 2776174"/>
              <a:gd name="connsiteY351" fmla="*/ 1232938 h 1883236"/>
              <a:gd name="connsiteX352" fmla="*/ 2563115 w 2776174"/>
              <a:gd name="connsiteY352" fmla="*/ 1264289 h 1883236"/>
              <a:gd name="connsiteX353" fmla="*/ 2551257 w 2776174"/>
              <a:gd name="connsiteY353" fmla="*/ 1272561 h 1883236"/>
              <a:gd name="connsiteX354" fmla="*/ 2542002 w 2776174"/>
              <a:gd name="connsiteY354" fmla="*/ 1265446 h 1883236"/>
              <a:gd name="connsiteX355" fmla="*/ 2539804 w 2776174"/>
              <a:gd name="connsiteY355" fmla="*/ 1263653 h 1883236"/>
              <a:gd name="connsiteX356" fmla="*/ 2538763 w 2776174"/>
              <a:gd name="connsiteY356" fmla="*/ 1265909 h 1883236"/>
              <a:gd name="connsiteX357" fmla="*/ 2542060 w 2776174"/>
              <a:gd name="connsiteY357" fmla="*/ 1275164 h 1883236"/>
              <a:gd name="connsiteX358" fmla="*/ 2545531 w 2776174"/>
              <a:gd name="connsiteY358" fmla="*/ 1278577 h 1883236"/>
              <a:gd name="connsiteX359" fmla="*/ 2538474 w 2776174"/>
              <a:gd name="connsiteY359" fmla="*/ 1312532 h 1883236"/>
              <a:gd name="connsiteX360" fmla="*/ 2525806 w 2776174"/>
              <a:gd name="connsiteY360" fmla="*/ 1329480 h 1883236"/>
              <a:gd name="connsiteX361" fmla="*/ 2524186 w 2776174"/>
              <a:gd name="connsiteY361" fmla="*/ 1328728 h 1883236"/>
              <a:gd name="connsiteX362" fmla="*/ 2524186 w 2776174"/>
              <a:gd name="connsiteY362" fmla="*/ 1319646 h 1883236"/>
              <a:gd name="connsiteX363" fmla="*/ 2517187 w 2776174"/>
              <a:gd name="connsiteY363" fmla="*/ 1287890 h 1883236"/>
              <a:gd name="connsiteX364" fmla="*/ 2519501 w 2776174"/>
              <a:gd name="connsiteY364" fmla="*/ 1259893 h 1883236"/>
              <a:gd name="connsiteX365" fmla="*/ 2520195 w 2776174"/>
              <a:gd name="connsiteY365" fmla="*/ 1257290 h 1883236"/>
              <a:gd name="connsiteX366" fmla="*/ 2518633 w 2776174"/>
              <a:gd name="connsiteY366" fmla="*/ 1256654 h 1883236"/>
              <a:gd name="connsiteX367" fmla="*/ 2512386 w 2776174"/>
              <a:gd name="connsiteY367" fmla="*/ 1260992 h 1883236"/>
              <a:gd name="connsiteX368" fmla="*/ 2511460 w 2776174"/>
              <a:gd name="connsiteY368" fmla="*/ 1276437 h 1883236"/>
              <a:gd name="connsiteX369" fmla="*/ 2507296 w 2776174"/>
              <a:gd name="connsiteY369" fmla="*/ 1297319 h 1883236"/>
              <a:gd name="connsiteX370" fmla="*/ 2494859 w 2776174"/>
              <a:gd name="connsiteY370" fmla="*/ 1302467 h 1883236"/>
              <a:gd name="connsiteX371" fmla="*/ 2496884 w 2776174"/>
              <a:gd name="connsiteY371" fmla="*/ 1305012 h 1883236"/>
              <a:gd name="connsiteX372" fmla="*/ 2497751 w 2776174"/>
              <a:gd name="connsiteY372" fmla="*/ 1305648 h 1883236"/>
              <a:gd name="connsiteX373" fmla="*/ 2516435 w 2776174"/>
              <a:gd name="connsiteY373" fmla="*/ 1324852 h 1883236"/>
              <a:gd name="connsiteX374" fmla="*/ 2514584 w 2776174"/>
              <a:gd name="connsiteY374" fmla="*/ 1329769 h 1883236"/>
              <a:gd name="connsiteX375" fmla="*/ 2508800 w 2776174"/>
              <a:gd name="connsiteY375" fmla="*/ 1338793 h 1883236"/>
              <a:gd name="connsiteX376" fmla="*/ 2514584 w 2776174"/>
              <a:gd name="connsiteY376" fmla="*/ 1341164 h 1883236"/>
              <a:gd name="connsiteX377" fmla="*/ 2528640 w 2776174"/>
              <a:gd name="connsiteY377" fmla="*/ 1354584 h 1883236"/>
              <a:gd name="connsiteX378" fmla="*/ 2524533 w 2776174"/>
              <a:gd name="connsiteY378" fmla="*/ 1362104 h 1883236"/>
              <a:gd name="connsiteX379" fmla="*/ 2521005 w 2776174"/>
              <a:gd name="connsiteY379" fmla="*/ 1365170 h 1883236"/>
              <a:gd name="connsiteX380" fmla="*/ 2532574 w 2776174"/>
              <a:gd name="connsiteY380" fmla="*/ 1369045 h 1883236"/>
              <a:gd name="connsiteX381" fmla="*/ 2539110 w 2776174"/>
              <a:gd name="connsiteY381" fmla="*/ 1372285 h 1883236"/>
              <a:gd name="connsiteX382" fmla="*/ 2526500 w 2776174"/>
              <a:gd name="connsiteY382" fmla="*/ 1387440 h 1883236"/>
              <a:gd name="connsiteX383" fmla="*/ 2516377 w 2776174"/>
              <a:gd name="connsiteY383" fmla="*/ 1390448 h 1883236"/>
              <a:gd name="connsiteX384" fmla="*/ 2506081 w 2776174"/>
              <a:gd name="connsiteY384" fmla="*/ 1385878 h 1883236"/>
              <a:gd name="connsiteX385" fmla="*/ 2501164 w 2776174"/>
              <a:gd name="connsiteY385" fmla="*/ 1387266 h 1883236"/>
              <a:gd name="connsiteX386" fmla="*/ 2501164 w 2776174"/>
              <a:gd name="connsiteY386" fmla="*/ 1394439 h 1883236"/>
              <a:gd name="connsiteX387" fmla="*/ 2503420 w 2776174"/>
              <a:gd name="connsiteY387" fmla="*/ 1397968 h 1883236"/>
              <a:gd name="connsiteX388" fmla="*/ 2507354 w 2776174"/>
              <a:gd name="connsiteY388" fmla="*/ 1409536 h 1883236"/>
              <a:gd name="connsiteX389" fmla="*/ 2497925 w 2776174"/>
              <a:gd name="connsiteY389" fmla="*/ 1414395 h 1883236"/>
              <a:gd name="connsiteX390" fmla="*/ 2469755 w 2776174"/>
              <a:gd name="connsiteY390" fmla="*/ 1433484 h 1883236"/>
              <a:gd name="connsiteX391" fmla="*/ 2459169 w 2776174"/>
              <a:gd name="connsiteY391" fmla="*/ 1440657 h 1883236"/>
              <a:gd name="connsiteX392" fmla="*/ 2455756 w 2776174"/>
              <a:gd name="connsiteY392" fmla="*/ 1440657 h 1883236"/>
              <a:gd name="connsiteX393" fmla="*/ 2452286 w 2776174"/>
              <a:gd name="connsiteY393" fmla="*/ 1440657 h 1883236"/>
              <a:gd name="connsiteX394" fmla="*/ 2430999 w 2776174"/>
              <a:gd name="connsiteY394" fmla="*/ 1461596 h 1883236"/>
              <a:gd name="connsiteX395" fmla="*/ 2419893 w 2776174"/>
              <a:gd name="connsiteY395" fmla="*/ 1469868 h 1883236"/>
              <a:gd name="connsiteX396" fmla="*/ 2406415 w 2776174"/>
              <a:gd name="connsiteY396" fmla="*/ 1476057 h 1883236"/>
              <a:gd name="connsiteX397" fmla="*/ 2374717 w 2776174"/>
              <a:gd name="connsiteY397" fmla="*/ 1532224 h 1883236"/>
              <a:gd name="connsiteX398" fmla="*/ 2389582 w 2776174"/>
              <a:gd name="connsiteY398" fmla="*/ 1584805 h 1883236"/>
              <a:gd name="connsiteX399" fmla="*/ 2394384 w 2776174"/>
              <a:gd name="connsiteY399" fmla="*/ 1599844 h 1883236"/>
              <a:gd name="connsiteX400" fmla="*/ 2397507 w 2776174"/>
              <a:gd name="connsiteY400" fmla="*/ 1610893 h 1883236"/>
              <a:gd name="connsiteX401" fmla="*/ 2412836 w 2776174"/>
              <a:gd name="connsiteY401" fmla="*/ 1666828 h 1883236"/>
              <a:gd name="connsiteX402" fmla="*/ 2407051 w 2776174"/>
              <a:gd name="connsiteY402" fmla="*/ 1682677 h 1883236"/>
              <a:gd name="connsiteX403" fmla="*/ 2400978 w 2776174"/>
              <a:gd name="connsiteY403" fmla="*/ 1698931 h 1883236"/>
              <a:gd name="connsiteX404" fmla="*/ 2393689 w 2776174"/>
              <a:gd name="connsiteY404" fmla="*/ 1704369 h 1883236"/>
              <a:gd name="connsiteX405" fmla="*/ 2302990 w 2776174"/>
              <a:gd name="connsiteY405" fmla="*/ 1549519 h 1883236"/>
              <a:gd name="connsiteX406" fmla="*/ 2310914 w 2776174"/>
              <a:gd name="connsiteY406" fmla="*/ 1553280 h 1883236"/>
              <a:gd name="connsiteX407" fmla="*/ 2323235 w 2776174"/>
              <a:gd name="connsiteY407" fmla="*/ 1566989 h 1883236"/>
              <a:gd name="connsiteX408" fmla="*/ 2338159 w 2776174"/>
              <a:gd name="connsiteY408" fmla="*/ 1583532 h 1883236"/>
              <a:gd name="connsiteX409" fmla="*/ 2339836 w 2776174"/>
              <a:gd name="connsiteY409" fmla="*/ 1603199 h 1883236"/>
              <a:gd name="connsiteX410" fmla="*/ 2338911 w 2776174"/>
              <a:gd name="connsiteY410" fmla="*/ 1614768 h 1883236"/>
              <a:gd name="connsiteX411" fmla="*/ 2341977 w 2776174"/>
              <a:gd name="connsiteY411" fmla="*/ 1625585 h 1883236"/>
              <a:gd name="connsiteX412" fmla="*/ 2350133 w 2776174"/>
              <a:gd name="connsiteY412" fmla="*/ 1641723 h 1883236"/>
              <a:gd name="connsiteX413" fmla="*/ 2357016 w 2776174"/>
              <a:gd name="connsiteY413" fmla="*/ 1660118 h 1883236"/>
              <a:gd name="connsiteX414" fmla="*/ 2360660 w 2776174"/>
              <a:gd name="connsiteY414" fmla="*/ 1670009 h 1883236"/>
              <a:gd name="connsiteX415" fmla="*/ 2380270 w 2776174"/>
              <a:gd name="connsiteY415" fmla="*/ 1694477 h 1883236"/>
              <a:gd name="connsiteX416" fmla="*/ 2393689 w 2776174"/>
              <a:gd name="connsiteY416" fmla="*/ 1702229 h 1883236"/>
              <a:gd name="connsiteX417" fmla="*/ 2398664 w 2776174"/>
              <a:gd name="connsiteY417" fmla="*/ 1698237 h 1883236"/>
              <a:gd name="connsiteX418" fmla="*/ 2404969 w 2776174"/>
              <a:gd name="connsiteY418" fmla="*/ 1681289 h 1883236"/>
              <a:gd name="connsiteX419" fmla="*/ 2410754 w 2776174"/>
              <a:gd name="connsiteY419" fmla="*/ 1666134 h 1883236"/>
              <a:gd name="connsiteX420" fmla="*/ 2395830 w 2776174"/>
              <a:gd name="connsiteY420" fmla="*/ 1611818 h 1883236"/>
              <a:gd name="connsiteX421" fmla="*/ 2392301 w 2776174"/>
              <a:gd name="connsiteY421" fmla="*/ 1599266 h 1883236"/>
              <a:gd name="connsiteX422" fmla="*/ 2387963 w 2776174"/>
              <a:gd name="connsiteY422" fmla="*/ 1585788 h 1883236"/>
              <a:gd name="connsiteX423" fmla="*/ 2372634 w 2776174"/>
              <a:gd name="connsiteY423" fmla="*/ 1531704 h 1883236"/>
              <a:gd name="connsiteX424" fmla="*/ 2405085 w 2776174"/>
              <a:gd name="connsiteY424" fmla="*/ 1473859 h 1883236"/>
              <a:gd name="connsiteX425" fmla="*/ 2419488 w 2776174"/>
              <a:gd name="connsiteY425" fmla="*/ 1467149 h 1883236"/>
              <a:gd name="connsiteX426" fmla="*/ 2428975 w 2776174"/>
              <a:gd name="connsiteY426" fmla="*/ 1460497 h 1883236"/>
              <a:gd name="connsiteX427" fmla="*/ 2452459 w 2776174"/>
              <a:gd name="connsiteY427" fmla="*/ 1437822 h 1883236"/>
              <a:gd name="connsiteX428" fmla="*/ 2456046 w 2776174"/>
              <a:gd name="connsiteY428" fmla="*/ 1437822 h 1883236"/>
              <a:gd name="connsiteX429" fmla="*/ 2459343 w 2776174"/>
              <a:gd name="connsiteY429" fmla="*/ 1437822 h 1883236"/>
              <a:gd name="connsiteX430" fmla="*/ 2467730 w 2776174"/>
              <a:gd name="connsiteY430" fmla="*/ 1432559 h 1883236"/>
              <a:gd name="connsiteX431" fmla="*/ 2497751 w 2776174"/>
              <a:gd name="connsiteY431" fmla="*/ 1411619 h 1883236"/>
              <a:gd name="connsiteX432" fmla="*/ 2505445 w 2776174"/>
              <a:gd name="connsiteY432" fmla="*/ 1408032 h 1883236"/>
              <a:gd name="connsiteX433" fmla="*/ 2501743 w 2776174"/>
              <a:gd name="connsiteY433" fmla="*/ 1398777 h 1883236"/>
              <a:gd name="connsiteX434" fmla="*/ 2499371 w 2776174"/>
              <a:gd name="connsiteY434" fmla="*/ 1395075 h 1883236"/>
              <a:gd name="connsiteX435" fmla="*/ 2499371 w 2776174"/>
              <a:gd name="connsiteY435" fmla="*/ 1385705 h 1883236"/>
              <a:gd name="connsiteX436" fmla="*/ 2504577 w 2776174"/>
              <a:gd name="connsiteY436" fmla="*/ 1382118 h 1883236"/>
              <a:gd name="connsiteX437" fmla="*/ 2508106 w 2776174"/>
              <a:gd name="connsiteY437" fmla="*/ 1384258 h 1883236"/>
              <a:gd name="connsiteX438" fmla="*/ 2516493 w 2776174"/>
              <a:gd name="connsiteY438" fmla="*/ 1387729 h 1883236"/>
              <a:gd name="connsiteX439" fmla="*/ 2525285 w 2776174"/>
              <a:gd name="connsiteY439" fmla="*/ 1385126 h 1883236"/>
              <a:gd name="connsiteX440" fmla="*/ 2536854 w 2776174"/>
              <a:gd name="connsiteY440" fmla="*/ 1372400 h 1883236"/>
              <a:gd name="connsiteX441" fmla="*/ 2532400 w 2776174"/>
              <a:gd name="connsiteY441" fmla="*/ 1370839 h 1883236"/>
              <a:gd name="connsiteX442" fmla="*/ 2518575 w 2776174"/>
              <a:gd name="connsiteY442" fmla="*/ 1365054 h 1883236"/>
              <a:gd name="connsiteX443" fmla="*/ 2523550 w 2776174"/>
              <a:gd name="connsiteY443" fmla="*/ 1359559 h 1883236"/>
              <a:gd name="connsiteX444" fmla="*/ 2526211 w 2776174"/>
              <a:gd name="connsiteY444" fmla="*/ 1354411 h 1883236"/>
              <a:gd name="connsiteX445" fmla="*/ 2514179 w 2776174"/>
              <a:gd name="connsiteY445" fmla="*/ 1342842 h 1883236"/>
              <a:gd name="connsiteX446" fmla="*/ 2506428 w 2776174"/>
              <a:gd name="connsiteY446" fmla="*/ 1338966 h 1883236"/>
              <a:gd name="connsiteX447" fmla="*/ 2512849 w 2776174"/>
              <a:gd name="connsiteY447" fmla="*/ 1327397 h 1883236"/>
              <a:gd name="connsiteX448" fmla="*/ 2514063 w 2776174"/>
              <a:gd name="connsiteY448" fmla="*/ 1324274 h 1883236"/>
              <a:gd name="connsiteX449" fmla="*/ 2496363 w 2776174"/>
              <a:gd name="connsiteY449" fmla="*/ 1306921 h 1883236"/>
              <a:gd name="connsiteX450" fmla="*/ 2495438 w 2776174"/>
              <a:gd name="connsiteY450" fmla="*/ 1306284 h 1883236"/>
              <a:gd name="connsiteX451" fmla="*/ 2492545 w 2776174"/>
              <a:gd name="connsiteY451" fmla="*/ 1301425 h 1883236"/>
              <a:gd name="connsiteX452" fmla="*/ 2506775 w 2776174"/>
              <a:gd name="connsiteY452" fmla="*/ 1294542 h 1883236"/>
              <a:gd name="connsiteX453" fmla="*/ 2509089 w 2776174"/>
              <a:gd name="connsiteY453" fmla="*/ 1275916 h 1883236"/>
              <a:gd name="connsiteX454" fmla="*/ 2510246 w 2776174"/>
              <a:gd name="connsiteY454" fmla="*/ 1259488 h 1883236"/>
              <a:gd name="connsiteX455" fmla="*/ 2518518 w 2776174"/>
              <a:gd name="connsiteY455" fmla="*/ 1253704 h 1883236"/>
              <a:gd name="connsiteX456" fmla="*/ 2522104 w 2776174"/>
              <a:gd name="connsiteY456" fmla="*/ 1255497 h 1883236"/>
              <a:gd name="connsiteX457" fmla="*/ 2521294 w 2776174"/>
              <a:gd name="connsiteY457" fmla="*/ 1260414 h 1883236"/>
              <a:gd name="connsiteX458" fmla="*/ 2518749 w 2776174"/>
              <a:gd name="connsiteY458" fmla="*/ 1285750 h 1883236"/>
              <a:gd name="connsiteX459" fmla="*/ 2526268 w 2776174"/>
              <a:gd name="connsiteY459" fmla="*/ 1319415 h 1883236"/>
              <a:gd name="connsiteX460" fmla="*/ 2525806 w 2776174"/>
              <a:gd name="connsiteY460" fmla="*/ 1326588 h 1883236"/>
              <a:gd name="connsiteX461" fmla="*/ 2536276 w 2776174"/>
              <a:gd name="connsiteY461" fmla="*/ 1310796 h 1883236"/>
              <a:gd name="connsiteX462" fmla="*/ 2543275 w 2776174"/>
              <a:gd name="connsiteY462" fmla="*/ 1278808 h 1883236"/>
              <a:gd name="connsiteX463" fmla="*/ 2541192 w 2776174"/>
              <a:gd name="connsiteY463" fmla="*/ 1276668 h 1883236"/>
              <a:gd name="connsiteX464" fmla="*/ 2536334 w 2776174"/>
              <a:gd name="connsiteY464" fmla="*/ 1265099 h 1883236"/>
              <a:gd name="connsiteX465" fmla="*/ 2539630 w 2776174"/>
              <a:gd name="connsiteY465" fmla="*/ 1260934 h 1883236"/>
              <a:gd name="connsiteX466" fmla="*/ 2543622 w 2776174"/>
              <a:gd name="connsiteY466" fmla="*/ 1263595 h 1883236"/>
              <a:gd name="connsiteX467" fmla="*/ 2551084 w 2776174"/>
              <a:gd name="connsiteY467" fmla="*/ 1269842 h 1883236"/>
              <a:gd name="connsiteX468" fmla="*/ 2561322 w 2776174"/>
              <a:gd name="connsiteY468" fmla="*/ 1262323 h 1883236"/>
              <a:gd name="connsiteX469" fmla="*/ 2577519 w 2776174"/>
              <a:gd name="connsiteY469" fmla="*/ 1232764 h 1883236"/>
              <a:gd name="connsiteX470" fmla="*/ 2576073 w 2776174"/>
              <a:gd name="connsiteY470" fmla="*/ 1230103 h 1883236"/>
              <a:gd name="connsiteX471" fmla="*/ 2573470 w 2776174"/>
              <a:gd name="connsiteY471" fmla="*/ 1225534 h 1883236"/>
              <a:gd name="connsiteX472" fmla="*/ 2589377 w 2776174"/>
              <a:gd name="connsiteY472" fmla="*/ 1220096 h 1883236"/>
              <a:gd name="connsiteX473" fmla="*/ 2593136 w 2776174"/>
              <a:gd name="connsiteY473" fmla="*/ 1220096 h 1883236"/>
              <a:gd name="connsiteX474" fmla="*/ 2630793 w 2776174"/>
              <a:gd name="connsiteY474" fmla="*/ 1209742 h 1883236"/>
              <a:gd name="connsiteX475" fmla="*/ 2631082 w 2776174"/>
              <a:gd name="connsiteY475" fmla="*/ 1208065 h 1883236"/>
              <a:gd name="connsiteX476" fmla="*/ 2626918 w 2776174"/>
              <a:gd name="connsiteY476" fmla="*/ 1207139 h 1883236"/>
              <a:gd name="connsiteX477" fmla="*/ 2609564 w 2776174"/>
              <a:gd name="connsiteY477" fmla="*/ 1209569 h 1883236"/>
              <a:gd name="connsiteX478" fmla="*/ 2590823 w 2776174"/>
              <a:gd name="connsiteY478" fmla="*/ 1211304 h 1883236"/>
              <a:gd name="connsiteX479" fmla="*/ 2589088 w 2776174"/>
              <a:gd name="connsiteY479" fmla="*/ 1209048 h 1883236"/>
              <a:gd name="connsiteX480" fmla="*/ 2634379 w 2776174"/>
              <a:gd name="connsiteY480" fmla="*/ 1193951 h 1883236"/>
              <a:gd name="connsiteX481" fmla="*/ 2643288 w 2776174"/>
              <a:gd name="connsiteY481" fmla="*/ 1184349 h 1883236"/>
              <a:gd name="connsiteX482" fmla="*/ 2645601 w 2776174"/>
              <a:gd name="connsiteY482" fmla="*/ 1180531 h 1883236"/>
              <a:gd name="connsiteX483" fmla="*/ 2648667 w 2776174"/>
              <a:gd name="connsiteY483" fmla="*/ 1182903 h 1883236"/>
              <a:gd name="connsiteX484" fmla="*/ 2658906 w 2776174"/>
              <a:gd name="connsiteY484" fmla="*/ 1188166 h 1883236"/>
              <a:gd name="connsiteX485" fmla="*/ 2670475 w 2776174"/>
              <a:gd name="connsiteY485" fmla="*/ 1184464 h 1883236"/>
              <a:gd name="connsiteX486" fmla="*/ 2673482 w 2776174"/>
              <a:gd name="connsiteY486" fmla="*/ 1177060 h 1883236"/>
              <a:gd name="connsiteX487" fmla="*/ 2663533 w 2776174"/>
              <a:gd name="connsiteY487" fmla="*/ 1165491 h 1883236"/>
              <a:gd name="connsiteX488" fmla="*/ 2659889 w 2776174"/>
              <a:gd name="connsiteY488" fmla="*/ 1162888 h 1883236"/>
              <a:gd name="connsiteX489" fmla="*/ 2663128 w 2776174"/>
              <a:gd name="connsiteY489" fmla="*/ 1157104 h 1883236"/>
              <a:gd name="connsiteX490" fmla="*/ 2666483 w 2776174"/>
              <a:gd name="connsiteY490" fmla="*/ 1150972 h 1883236"/>
              <a:gd name="connsiteX491" fmla="*/ 2668797 w 2776174"/>
              <a:gd name="connsiteY491" fmla="*/ 1135875 h 1883236"/>
              <a:gd name="connsiteX492" fmla="*/ 2684762 w 2776174"/>
              <a:gd name="connsiteY492" fmla="*/ 1119621 h 1883236"/>
              <a:gd name="connsiteX493" fmla="*/ 2692629 w 2776174"/>
              <a:gd name="connsiteY493" fmla="*/ 1114357 h 1883236"/>
              <a:gd name="connsiteX494" fmla="*/ 2700785 w 2776174"/>
              <a:gd name="connsiteY494" fmla="*/ 1109903 h 1883236"/>
              <a:gd name="connsiteX495" fmla="*/ 2712354 w 2776174"/>
              <a:gd name="connsiteY495" fmla="*/ 1100127 h 1883236"/>
              <a:gd name="connsiteX496" fmla="*/ 2719758 w 2776174"/>
              <a:gd name="connsiteY496" fmla="*/ 1090236 h 1883236"/>
              <a:gd name="connsiteX497" fmla="*/ 2725542 w 2776174"/>
              <a:gd name="connsiteY497" fmla="*/ 1087864 h 1883236"/>
              <a:gd name="connsiteX498" fmla="*/ 2734855 w 2776174"/>
              <a:gd name="connsiteY498" fmla="*/ 1091161 h 1883236"/>
              <a:gd name="connsiteX499" fmla="*/ 2745903 w 2776174"/>
              <a:gd name="connsiteY499" fmla="*/ 1094864 h 1883236"/>
              <a:gd name="connsiteX500" fmla="*/ 2745903 w 2776174"/>
              <a:gd name="connsiteY500" fmla="*/ 1094864 h 1883236"/>
              <a:gd name="connsiteX501" fmla="*/ 2754059 w 2776174"/>
              <a:gd name="connsiteY501" fmla="*/ 1091393 h 1883236"/>
              <a:gd name="connsiteX502" fmla="*/ 2773553 w 2776174"/>
              <a:gd name="connsiteY502" fmla="*/ 1076643 h 1883236"/>
              <a:gd name="connsiteX503" fmla="*/ 2750878 w 2776174"/>
              <a:gd name="connsiteY503" fmla="*/ 1006130 h 1883236"/>
              <a:gd name="connsiteX504" fmla="*/ 2750878 w 2776174"/>
              <a:gd name="connsiteY504" fmla="*/ 1001098 h 1883236"/>
              <a:gd name="connsiteX505" fmla="*/ 2737747 w 2776174"/>
              <a:gd name="connsiteY505" fmla="*/ 997164 h 1883236"/>
              <a:gd name="connsiteX506" fmla="*/ 2714956 w 2776174"/>
              <a:gd name="connsiteY506" fmla="*/ 991380 h 1883236"/>
              <a:gd name="connsiteX507" fmla="*/ 2682043 w 2776174"/>
              <a:gd name="connsiteY507" fmla="*/ 1039217 h 1883236"/>
              <a:gd name="connsiteX508" fmla="*/ 2647337 w 2776174"/>
              <a:gd name="connsiteY508" fmla="*/ 1075428 h 1883236"/>
              <a:gd name="connsiteX509" fmla="*/ 2646758 w 2776174"/>
              <a:gd name="connsiteY509" fmla="*/ 1075428 h 1883236"/>
              <a:gd name="connsiteX510" fmla="*/ 2553050 w 2776174"/>
              <a:gd name="connsiteY510" fmla="*/ 1076238 h 1883236"/>
              <a:gd name="connsiteX511" fmla="*/ 2518055 w 2776174"/>
              <a:gd name="connsiteY511" fmla="*/ 1102846 h 1883236"/>
              <a:gd name="connsiteX512" fmla="*/ 2518518 w 2776174"/>
              <a:gd name="connsiteY512" fmla="*/ 1103656 h 1883236"/>
              <a:gd name="connsiteX513" fmla="*/ 2518518 w 2776174"/>
              <a:gd name="connsiteY513" fmla="*/ 1114357 h 1883236"/>
              <a:gd name="connsiteX514" fmla="*/ 2463970 w 2776174"/>
              <a:gd name="connsiteY514" fmla="*/ 1131710 h 1883236"/>
              <a:gd name="connsiteX515" fmla="*/ 2443609 w 2776174"/>
              <a:gd name="connsiteY515" fmla="*/ 1133619 h 1883236"/>
              <a:gd name="connsiteX516" fmla="*/ 2444882 w 2776174"/>
              <a:gd name="connsiteY516" fmla="*/ 1143626 h 1883236"/>
              <a:gd name="connsiteX517" fmla="*/ 2436494 w 2776174"/>
              <a:gd name="connsiteY517" fmla="*/ 1151146 h 1883236"/>
              <a:gd name="connsiteX518" fmla="*/ 2383278 w 2776174"/>
              <a:gd name="connsiteY518" fmla="*/ 1184753 h 1883236"/>
              <a:gd name="connsiteX519" fmla="*/ 2373618 w 2776174"/>
              <a:gd name="connsiteY519" fmla="*/ 1189786 h 1883236"/>
              <a:gd name="connsiteX520" fmla="*/ 2347241 w 2776174"/>
              <a:gd name="connsiteY520" fmla="*/ 1196207 h 1883236"/>
              <a:gd name="connsiteX521" fmla="*/ 2326474 w 2776174"/>
              <a:gd name="connsiteY521" fmla="*/ 1191232 h 1883236"/>
              <a:gd name="connsiteX522" fmla="*/ 2317451 w 2776174"/>
              <a:gd name="connsiteY522" fmla="*/ 1176655 h 1883236"/>
              <a:gd name="connsiteX523" fmla="*/ 2328152 w 2776174"/>
              <a:gd name="connsiteY523" fmla="*/ 1162483 h 1883236"/>
              <a:gd name="connsiteX524" fmla="*/ 2340183 w 2776174"/>
              <a:gd name="connsiteY524" fmla="*/ 1170177 h 1883236"/>
              <a:gd name="connsiteX525" fmla="*/ 2341283 w 2776174"/>
              <a:gd name="connsiteY525" fmla="*/ 1170987 h 1883236"/>
              <a:gd name="connsiteX526" fmla="*/ 2348455 w 2776174"/>
              <a:gd name="connsiteY526" fmla="*/ 1167342 h 1883236"/>
              <a:gd name="connsiteX527" fmla="*/ 2344464 w 2776174"/>
              <a:gd name="connsiteY527" fmla="*/ 1146634 h 1883236"/>
              <a:gd name="connsiteX528" fmla="*/ 2342092 w 2776174"/>
              <a:gd name="connsiteY528" fmla="*/ 1133214 h 1883236"/>
              <a:gd name="connsiteX529" fmla="*/ 2335151 w 2776174"/>
              <a:gd name="connsiteY529" fmla="*/ 1112332 h 1883236"/>
              <a:gd name="connsiteX530" fmla="*/ 2331565 w 2776174"/>
              <a:gd name="connsiteY530" fmla="*/ 1111754 h 1883236"/>
              <a:gd name="connsiteX531" fmla="*/ 2315195 w 2776174"/>
              <a:gd name="connsiteY531" fmla="*/ 1118695 h 1883236"/>
              <a:gd name="connsiteX532" fmla="*/ 2307791 w 2776174"/>
              <a:gd name="connsiteY532" fmla="*/ 1122397 h 1883236"/>
              <a:gd name="connsiteX533" fmla="*/ 2305882 w 2776174"/>
              <a:gd name="connsiteY533" fmla="*/ 1121588 h 1883236"/>
              <a:gd name="connsiteX534" fmla="*/ 2305303 w 2776174"/>
              <a:gd name="connsiteY534" fmla="*/ 1115803 h 1883236"/>
              <a:gd name="connsiteX535" fmla="*/ 2312650 w 2776174"/>
              <a:gd name="connsiteY535" fmla="*/ 1099607 h 1883236"/>
              <a:gd name="connsiteX536" fmla="*/ 2316410 w 2776174"/>
              <a:gd name="connsiteY536" fmla="*/ 1066983 h 1883236"/>
              <a:gd name="connsiteX537" fmla="*/ 2291305 w 2776174"/>
              <a:gd name="connsiteY537" fmla="*/ 1051364 h 1883236"/>
              <a:gd name="connsiteX538" fmla="*/ 2275976 w 2776174"/>
              <a:gd name="connsiteY538" fmla="*/ 1061777 h 1883236"/>
              <a:gd name="connsiteX539" fmla="*/ 2260416 w 2776174"/>
              <a:gd name="connsiteY539" fmla="*/ 1074618 h 1883236"/>
              <a:gd name="connsiteX540" fmla="*/ 2248095 w 2776174"/>
              <a:gd name="connsiteY540" fmla="*/ 1082601 h 1883236"/>
              <a:gd name="connsiteX541" fmla="*/ 2240923 w 2776174"/>
              <a:gd name="connsiteY541" fmla="*/ 1139982 h 1883236"/>
              <a:gd name="connsiteX542" fmla="*/ 2220967 w 2776174"/>
              <a:gd name="connsiteY542" fmla="*/ 1181225 h 1883236"/>
              <a:gd name="connsiteX543" fmla="*/ 2203613 w 2776174"/>
              <a:gd name="connsiteY543" fmla="*/ 1178969 h 1883236"/>
              <a:gd name="connsiteX544" fmla="*/ 2198812 w 2776174"/>
              <a:gd name="connsiteY544" fmla="*/ 1127950 h 1883236"/>
              <a:gd name="connsiteX545" fmla="*/ 2205175 w 2776174"/>
              <a:gd name="connsiteY545" fmla="*/ 1104813 h 1883236"/>
              <a:gd name="connsiteX546" fmla="*/ 2209051 w 2776174"/>
              <a:gd name="connsiteY546" fmla="*/ 1083005 h 1883236"/>
              <a:gd name="connsiteX547" fmla="*/ 2205985 w 2776174"/>
              <a:gd name="connsiteY547" fmla="*/ 1081791 h 1883236"/>
              <a:gd name="connsiteX548" fmla="*/ 2201936 w 2776174"/>
              <a:gd name="connsiteY548" fmla="*/ 1078956 h 1883236"/>
              <a:gd name="connsiteX549" fmla="*/ 2246939 w 2776174"/>
              <a:gd name="connsiteY549" fmla="*/ 1044250 h 1883236"/>
              <a:gd name="connsiteX550" fmla="*/ 2279505 w 2776174"/>
              <a:gd name="connsiteY550" fmla="*/ 1039738 h 1883236"/>
              <a:gd name="connsiteX551" fmla="*/ 2302990 w 2776174"/>
              <a:gd name="connsiteY551" fmla="*/ 1034416 h 1883236"/>
              <a:gd name="connsiteX552" fmla="*/ 2305072 w 2776174"/>
              <a:gd name="connsiteY552" fmla="*/ 1031061 h 1883236"/>
              <a:gd name="connsiteX553" fmla="*/ 2292173 w 2776174"/>
              <a:gd name="connsiteY553" fmla="*/ 1022153 h 1883236"/>
              <a:gd name="connsiteX554" fmla="*/ 2288991 w 2776174"/>
              <a:gd name="connsiteY554" fmla="*/ 1025682 h 1883236"/>
              <a:gd name="connsiteX555" fmla="*/ 2284364 w 2776174"/>
              <a:gd name="connsiteY555" fmla="*/ 1027475 h 1883236"/>
              <a:gd name="connsiteX556" fmla="*/ 2278174 w 2776174"/>
              <a:gd name="connsiteY556" fmla="*/ 1023021 h 1883236"/>
              <a:gd name="connsiteX557" fmla="*/ 2262904 w 2776174"/>
              <a:gd name="connsiteY557" fmla="*/ 1014981 h 1883236"/>
              <a:gd name="connsiteX558" fmla="*/ 2240344 w 2776174"/>
              <a:gd name="connsiteY558" fmla="*/ 1020765 h 1883236"/>
              <a:gd name="connsiteX559" fmla="*/ 2220041 w 2776174"/>
              <a:gd name="connsiteY559" fmla="*/ 1026549 h 1883236"/>
              <a:gd name="connsiteX560" fmla="*/ 2211538 w 2776174"/>
              <a:gd name="connsiteY560" fmla="*/ 1024640 h 1883236"/>
              <a:gd name="connsiteX561" fmla="*/ 2200547 w 2776174"/>
              <a:gd name="connsiteY561" fmla="*/ 1013419 h 1883236"/>
              <a:gd name="connsiteX562" fmla="*/ 2191466 w 2776174"/>
              <a:gd name="connsiteY562" fmla="*/ 1007634 h 1883236"/>
              <a:gd name="connsiteX563" fmla="*/ 2186781 w 2776174"/>
              <a:gd name="connsiteY563" fmla="*/ 1005725 h 1883236"/>
              <a:gd name="connsiteX564" fmla="*/ 2187590 w 2776174"/>
              <a:gd name="connsiteY564" fmla="*/ 995429 h 1883236"/>
              <a:gd name="connsiteX565" fmla="*/ 2188747 w 2776174"/>
              <a:gd name="connsiteY565" fmla="*/ 990397 h 1883236"/>
              <a:gd name="connsiteX566" fmla="*/ 2182327 w 2776174"/>
              <a:gd name="connsiteY566" fmla="*/ 992942 h 1883236"/>
              <a:gd name="connsiteX567" fmla="*/ 2166766 w 2776174"/>
              <a:gd name="connsiteY567" fmla="*/ 1002949 h 1883236"/>
              <a:gd name="connsiteX568" fmla="*/ 2128473 w 2776174"/>
              <a:gd name="connsiteY568" fmla="*/ 1021633 h 1883236"/>
              <a:gd name="connsiteX569" fmla="*/ 2119218 w 2776174"/>
              <a:gd name="connsiteY569" fmla="*/ 1018278 h 1883236"/>
              <a:gd name="connsiteX570" fmla="*/ 2108054 w 2776174"/>
              <a:gd name="connsiteY570" fmla="*/ 1013708 h 1883236"/>
              <a:gd name="connsiteX571" fmla="*/ 2100188 w 2776174"/>
              <a:gd name="connsiteY571" fmla="*/ 1014807 h 1883236"/>
              <a:gd name="connsiteX572" fmla="*/ 2092957 w 2776174"/>
              <a:gd name="connsiteY572" fmla="*/ 1015848 h 1883236"/>
              <a:gd name="connsiteX573" fmla="*/ 2084049 w 2776174"/>
              <a:gd name="connsiteY573" fmla="*/ 1012204 h 1883236"/>
              <a:gd name="connsiteX574" fmla="*/ 2083008 w 2776174"/>
              <a:gd name="connsiteY574" fmla="*/ 1004915 h 1883236"/>
              <a:gd name="connsiteX575" fmla="*/ 2137960 w 2776174"/>
              <a:gd name="connsiteY575" fmla="*/ 975068 h 1883236"/>
              <a:gd name="connsiteX576" fmla="*/ 2139406 w 2776174"/>
              <a:gd name="connsiteY576" fmla="*/ 975068 h 1883236"/>
              <a:gd name="connsiteX577" fmla="*/ 2150975 w 2776174"/>
              <a:gd name="connsiteY577" fmla="*/ 971077 h 1883236"/>
              <a:gd name="connsiteX578" fmla="*/ 2122053 w 2776174"/>
              <a:gd name="connsiteY578" fmla="*/ 963615 h 1883236"/>
              <a:gd name="connsiteX579" fmla="*/ 2114880 w 2776174"/>
              <a:gd name="connsiteY579" fmla="*/ 965986 h 1883236"/>
              <a:gd name="connsiteX580" fmla="*/ 2105162 w 2776174"/>
              <a:gd name="connsiteY580" fmla="*/ 970961 h 1883236"/>
              <a:gd name="connsiteX581" fmla="*/ 2089718 w 2776174"/>
              <a:gd name="connsiteY581" fmla="*/ 961937 h 1883236"/>
              <a:gd name="connsiteX582" fmla="*/ 2082082 w 2776174"/>
              <a:gd name="connsiteY582" fmla="*/ 959392 h 1883236"/>
              <a:gd name="connsiteX583" fmla="*/ 2067274 w 2776174"/>
              <a:gd name="connsiteY583" fmla="*/ 954186 h 1883236"/>
              <a:gd name="connsiteX584" fmla="*/ 2057036 w 2776174"/>
              <a:gd name="connsiteY584" fmla="*/ 948691 h 1883236"/>
              <a:gd name="connsiteX585" fmla="*/ 2046450 w 2776174"/>
              <a:gd name="connsiteY585" fmla="*/ 952219 h 1883236"/>
              <a:gd name="connsiteX586" fmla="*/ 2043500 w 2776174"/>
              <a:gd name="connsiteY586" fmla="*/ 953666 h 1883236"/>
              <a:gd name="connsiteX587" fmla="*/ 2040377 w 2776174"/>
              <a:gd name="connsiteY587" fmla="*/ 954302 h 1883236"/>
              <a:gd name="connsiteX588" fmla="*/ 2028808 w 2776174"/>
              <a:gd name="connsiteY588" fmla="*/ 950079 h 1883236"/>
              <a:gd name="connsiteX589" fmla="*/ 2019321 w 2776174"/>
              <a:gd name="connsiteY589" fmla="*/ 945625 h 1883236"/>
              <a:gd name="connsiteX590" fmla="*/ 2012264 w 2776174"/>
              <a:gd name="connsiteY590" fmla="*/ 934461 h 1883236"/>
              <a:gd name="connsiteX591" fmla="*/ 2007752 w 2776174"/>
              <a:gd name="connsiteY591" fmla="*/ 924454 h 1883236"/>
              <a:gd name="connsiteX592" fmla="*/ 2004976 w 2776174"/>
              <a:gd name="connsiteY592" fmla="*/ 923297 h 1883236"/>
              <a:gd name="connsiteX593" fmla="*/ 2000117 w 2776174"/>
              <a:gd name="connsiteY593" fmla="*/ 935849 h 1883236"/>
              <a:gd name="connsiteX594" fmla="*/ 1999018 w 2776174"/>
              <a:gd name="connsiteY594" fmla="*/ 936891 h 1883236"/>
              <a:gd name="connsiteX595" fmla="*/ 1248257 w 2776174"/>
              <a:gd name="connsiteY595" fmla="*/ 940940 h 1883236"/>
              <a:gd name="connsiteX596" fmla="*/ 1249587 w 2776174"/>
              <a:gd name="connsiteY596" fmla="*/ 942559 h 1883236"/>
              <a:gd name="connsiteX597" fmla="*/ 1254331 w 2776174"/>
              <a:gd name="connsiteY597" fmla="*/ 959913 h 1883236"/>
              <a:gd name="connsiteX598" fmla="*/ 1254678 w 2776174"/>
              <a:gd name="connsiteY598" fmla="*/ 971482 h 1883236"/>
              <a:gd name="connsiteX599" fmla="*/ 1251901 w 2776174"/>
              <a:gd name="connsiteY599" fmla="*/ 997164 h 1883236"/>
              <a:gd name="connsiteX600" fmla="*/ 1239517 w 2776174"/>
              <a:gd name="connsiteY600" fmla="*/ 998992 h 1883236"/>
              <a:gd name="connsiteX601" fmla="*/ 1236399 w 2776174"/>
              <a:gd name="connsiteY601" fmla="*/ 994677 h 1883236"/>
              <a:gd name="connsiteX602" fmla="*/ 1240969 w 2776174"/>
              <a:gd name="connsiteY602" fmla="*/ 984728 h 1883236"/>
              <a:gd name="connsiteX603" fmla="*/ 1243514 w 2776174"/>
              <a:gd name="connsiteY603" fmla="*/ 975993 h 1883236"/>
              <a:gd name="connsiteX604" fmla="*/ 1237729 w 2776174"/>
              <a:gd name="connsiteY604" fmla="*/ 969862 h 1883236"/>
              <a:gd name="connsiteX605" fmla="*/ 1233912 w 2776174"/>
              <a:gd name="connsiteY605" fmla="*/ 968242 h 1883236"/>
              <a:gd name="connsiteX606" fmla="*/ 1231309 w 2776174"/>
              <a:gd name="connsiteY606" fmla="*/ 960260 h 1883236"/>
              <a:gd name="connsiteX607" fmla="*/ 1215575 w 2776174"/>
              <a:gd name="connsiteY607" fmla="*/ 961995 h 1883236"/>
              <a:gd name="connsiteX608" fmla="*/ 1190875 w 2776174"/>
              <a:gd name="connsiteY608" fmla="*/ 960028 h 1883236"/>
              <a:gd name="connsiteX609" fmla="*/ 1190875 w 2776174"/>
              <a:gd name="connsiteY609" fmla="*/ 960780 h 1883236"/>
              <a:gd name="connsiteX610" fmla="*/ 1204584 w 2776174"/>
              <a:gd name="connsiteY610" fmla="*/ 996528 h 1883236"/>
              <a:gd name="connsiteX611" fmla="*/ 1211179 w 2776174"/>
              <a:gd name="connsiteY611" fmla="*/ 1012609 h 1883236"/>
              <a:gd name="connsiteX612" fmla="*/ 1216443 w 2776174"/>
              <a:gd name="connsiteY612" fmla="*/ 1021806 h 1883236"/>
              <a:gd name="connsiteX613" fmla="*/ 1223558 w 2776174"/>
              <a:gd name="connsiteY613" fmla="*/ 1030309 h 1883236"/>
              <a:gd name="connsiteX614" fmla="*/ 1218178 w 2776174"/>
              <a:gd name="connsiteY614" fmla="*/ 1033201 h 1883236"/>
              <a:gd name="connsiteX615" fmla="*/ 1215748 w 2776174"/>
              <a:gd name="connsiteY615" fmla="*/ 1033201 h 1883236"/>
              <a:gd name="connsiteX616" fmla="*/ 1214476 w 2776174"/>
              <a:gd name="connsiteY616" fmla="*/ 1033201 h 1883236"/>
              <a:gd name="connsiteX617" fmla="*/ 1212914 w 2776174"/>
              <a:gd name="connsiteY617" fmla="*/ 1033606 h 1883236"/>
              <a:gd name="connsiteX618" fmla="*/ 1212393 w 2776174"/>
              <a:gd name="connsiteY618" fmla="*/ 1039911 h 1883236"/>
              <a:gd name="connsiteX619" fmla="*/ 1211584 w 2776174"/>
              <a:gd name="connsiteY619" fmla="*/ 1057265 h 1883236"/>
              <a:gd name="connsiteX620" fmla="*/ 1208865 w 2776174"/>
              <a:gd name="connsiteY620" fmla="*/ 1098392 h 1883236"/>
              <a:gd name="connsiteX621" fmla="*/ 1207361 w 2776174"/>
              <a:gd name="connsiteY621" fmla="*/ 1124480 h 1883236"/>
              <a:gd name="connsiteX622" fmla="*/ 1203138 w 2776174"/>
              <a:gd name="connsiteY622" fmla="*/ 1137379 h 1883236"/>
              <a:gd name="connsiteX623" fmla="*/ 1199899 w 2776174"/>
              <a:gd name="connsiteY623" fmla="*/ 1166301 h 1883236"/>
              <a:gd name="connsiteX624" fmla="*/ 1209154 w 2776174"/>
              <a:gd name="connsiteY624" fmla="*/ 1211420 h 1883236"/>
              <a:gd name="connsiteX625" fmla="*/ 1212046 w 2776174"/>
              <a:gd name="connsiteY625" fmla="*/ 1246126 h 1883236"/>
              <a:gd name="connsiteX626" fmla="*/ 1216211 w 2776174"/>
              <a:gd name="connsiteY626" fmla="*/ 1266430 h 1883236"/>
              <a:gd name="connsiteX627" fmla="*/ 1220145 w 2776174"/>
              <a:gd name="connsiteY627" fmla="*/ 1281469 h 1883236"/>
              <a:gd name="connsiteX628" fmla="*/ 1241142 w 2776174"/>
              <a:gd name="connsiteY628" fmla="*/ 1305475 h 1883236"/>
              <a:gd name="connsiteX629" fmla="*/ 1249182 w 2776174"/>
              <a:gd name="connsiteY629" fmla="*/ 1312416 h 1883236"/>
              <a:gd name="connsiteX630" fmla="*/ 1254967 w 2776174"/>
              <a:gd name="connsiteY630" fmla="*/ 1321092 h 1883236"/>
              <a:gd name="connsiteX631" fmla="*/ 1254967 w 2776174"/>
              <a:gd name="connsiteY631" fmla="*/ 1321787 h 1883236"/>
              <a:gd name="connsiteX632" fmla="*/ 1265090 w 2776174"/>
              <a:gd name="connsiteY632" fmla="*/ 1337115 h 1883236"/>
              <a:gd name="connsiteX633" fmla="*/ 1270238 w 2776174"/>
              <a:gd name="connsiteY633" fmla="*/ 1354122 h 1883236"/>
              <a:gd name="connsiteX634" fmla="*/ 1269428 w 2776174"/>
              <a:gd name="connsiteY634" fmla="*/ 1359328 h 1883236"/>
              <a:gd name="connsiteX635" fmla="*/ 1295226 w 2776174"/>
              <a:gd name="connsiteY635" fmla="*/ 1387382 h 1883236"/>
              <a:gd name="connsiteX636" fmla="*/ 1297482 w 2776174"/>
              <a:gd name="connsiteY636" fmla="*/ 1389407 h 1883236"/>
              <a:gd name="connsiteX637" fmla="*/ 1306448 w 2776174"/>
              <a:gd name="connsiteY637" fmla="*/ 1409247 h 1883236"/>
              <a:gd name="connsiteX638" fmla="*/ 1310729 w 2776174"/>
              <a:gd name="connsiteY638" fmla="*/ 1414569 h 1883236"/>
              <a:gd name="connsiteX639" fmla="*/ 1345435 w 2776174"/>
              <a:gd name="connsiteY639" fmla="*/ 1428683 h 1883236"/>
              <a:gd name="connsiteX640" fmla="*/ 1360648 w 2776174"/>
              <a:gd name="connsiteY640" fmla="*/ 1432906 h 1883236"/>
              <a:gd name="connsiteX641" fmla="*/ 1368110 w 2776174"/>
              <a:gd name="connsiteY641" fmla="*/ 1433368 h 1883236"/>
              <a:gd name="connsiteX642" fmla="*/ 1394372 w 2776174"/>
              <a:gd name="connsiteY642" fmla="*/ 1464488 h 1883236"/>
              <a:gd name="connsiteX643" fmla="*/ 1400156 w 2776174"/>
              <a:gd name="connsiteY643" fmla="*/ 1480801 h 1883236"/>
              <a:gd name="connsiteX644" fmla="*/ 1462165 w 2776174"/>
              <a:gd name="connsiteY644" fmla="*/ 1472645 h 1883236"/>
              <a:gd name="connsiteX645" fmla="*/ 1462975 w 2776174"/>
              <a:gd name="connsiteY645" fmla="*/ 1472645 h 1883236"/>
              <a:gd name="connsiteX646" fmla="*/ 1492996 w 2776174"/>
              <a:gd name="connsiteY646" fmla="*/ 1488725 h 1883236"/>
              <a:gd name="connsiteX647" fmla="*/ 1563450 w 2776174"/>
              <a:gd name="connsiteY647" fmla="*/ 1513193 h 1883236"/>
              <a:gd name="connsiteX648" fmla="*/ 1640383 w 2776174"/>
              <a:gd name="connsiteY648" fmla="*/ 1512557 h 1883236"/>
              <a:gd name="connsiteX649" fmla="*/ 1649060 w 2776174"/>
              <a:gd name="connsiteY649" fmla="*/ 1501335 h 1883236"/>
              <a:gd name="connsiteX650" fmla="*/ 1649985 w 2776174"/>
              <a:gd name="connsiteY650" fmla="*/ 1500930 h 1883236"/>
              <a:gd name="connsiteX651" fmla="*/ 1692675 w 2776174"/>
              <a:gd name="connsiteY651" fmla="*/ 1500930 h 1883236"/>
              <a:gd name="connsiteX652" fmla="*/ 1693484 w 2776174"/>
              <a:gd name="connsiteY652" fmla="*/ 1500930 h 1883236"/>
              <a:gd name="connsiteX653" fmla="*/ 1724142 w 2776174"/>
              <a:gd name="connsiteY653" fmla="*/ 1528522 h 1883236"/>
              <a:gd name="connsiteX654" fmla="*/ 1742363 w 2776174"/>
              <a:gd name="connsiteY654" fmla="*/ 1550966 h 1883236"/>
              <a:gd name="connsiteX655" fmla="*/ 1751444 w 2776174"/>
              <a:gd name="connsiteY655" fmla="*/ 1567451 h 1883236"/>
              <a:gd name="connsiteX656" fmla="*/ 1760352 w 2776174"/>
              <a:gd name="connsiteY656" fmla="*/ 1572484 h 1883236"/>
              <a:gd name="connsiteX657" fmla="*/ 1782160 w 2776174"/>
              <a:gd name="connsiteY657" fmla="*/ 1583532 h 1883236"/>
              <a:gd name="connsiteX658" fmla="*/ 1785804 w 2776174"/>
              <a:gd name="connsiteY658" fmla="*/ 1577343 h 1883236"/>
              <a:gd name="connsiteX659" fmla="*/ 1803562 w 2776174"/>
              <a:gd name="connsiteY659" fmla="*/ 1558254 h 1883236"/>
              <a:gd name="connsiteX660" fmla="*/ 1804083 w 2776174"/>
              <a:gd name="connsiteY660" fmla="*/ 1558254 h 1883236"/>
              <a:gd name="connsiteX661" fmla="*/ 1853655 w 2776174"/>
              <a:gd name="connsiteY661" fmla="*/ 1586887 h 1883236"/>
              <a:gd name="connsiteX662" fmla="*/ 1879107 w 2776174"/>
              <a:gd name="connsiteY662" fmla="*/ 1623156 h 1883236"/>
              <a:gd name="connsiteX663" fmla="*/ 1883387 w 2776174"/>
              <a:gd name="connsiteY663" fmla="*/ 1634724 h 1883236"/>
              <a:gd name="connsiteX664" fmla="*/ 1885875 w 2776174"/>
              <a:gd name="connsiteY664" fmla="*/ 1644153 h 1883236"/>
              <a:gd name="connsiteX665" fmla="*/ 1889229 w 2776174"/>
              <a:gd name="connsiteY665" fmla="*/ 1653466 h 1883236"/>
              <a:gd name="connsiteX666" fmla="*/ 1892642 w 2776174"/>
              <a:gd name="connsiteY666" fmla="*/ 1660465 h 1883236"/>
              <a:gd name="connsiteX667" fmla="*/ 1904847 w 2776174"/>
              <a:gd name="connsiteY667" fmla="*/ 1665208 h 1883236"/>
              <a:gd name="connsiteX668" fmla="*/ 1930762 w 2776174"/>
              <a:gd name="connsiteY668" fmla="*/ 1674116 h 1883236"/>
              <a:gd name="connsiteX669" fmla="*/ 1941116 w 2776174"/>
              <a:gd name="connsiteY669" fmla="*/ 1677529 h 1883236"/>
              <a:gd name="connsiteX670" fmla="*/ 1933365 w 2776174"/>
              <a:gd name="connsiteY670" fmla="*/ 1658672 h 1883236"/>
              <a:gd name="connsiteX671" fmla="*/ 1929084 w 2776174"/>
              <a:gd name="connsiteY671" fmla="*/ 1649590 h 1883236"/>
              <a:gd name="connsiteX672" fmla="*/ 1933654 w 2776174"/>
              <a:gd name="connsiteY672" fmla="*/ 1643343 h 1883236"/>
              <a:gd name="connsiteX673" fmla="*/ 1938802 w 2776174"/>
              <a:gd name="connsiteY673" fmla="*/ 1626626 h 1883236"/>
              <a:gd name="connsiteX674" fmla="*/ 1940364 w 2776174"/>
              <a:gd name="connsiteY674" fmla="*/ 1617255 h 1883236"/>
              <a:gd name="connsiteX675" fmla="*/ 1946148 w 2776174"/>
              <a:gd name="connsiteY675" fmla="*/ 1613611 h 1883236"/>
              <a:gd name="connsiteX676" fmla="*/ 1959626 w 2776174"/>
              <a:gd name="connsiteY676" fmla="*/ 1601232 h 1883236"/>
              <a:gd name="connsiteX677" fmla="*/ 1969517 w 2776174"/>
              <a:gd name="connsiteY677" fmla="*/ 1593423 h 1883236"/>
              <a:gd name="connsiteX678" fmla="*/ 1977211 w 2776174"/>
              <a:gd name="connsiteY678" fmla="*/ 1594060 h 1883236"/>
              <a:gd name="connsiteX679" fmla="*/ 1998613 w 2776174"/>
              <a:gd name="connsiteY679" fmla="*/ 1581103 h 1883236"/>
              <a:gd name="connsiteX680" fmla="*/ 2002662 w 2776174"/>
              <a:gd name="connsiteY680" fmla="*/ 1572946 h 1883236"/>
              <a:gd name="connsiteX681" fmla="*/ 2003472 w 2776174"/>
              <a:gd name="connsiteY681" fmla="*/ 1566815 h 1883236"/>
              <a:gd name="connsiteX682" fmla="*/ 2008678 w 2776174"/>
              <a:gd name="connsiteY682" fmla="*/ 1565022 h 1883236"/>
              <a:gd name="connsiteX683" fmla="*/ 2017297 w 2776174"/>
              <a:gd name="connsiteY683" fmla="*/ 1566179 h 1883236"/>
              <a:gd name="connsiteX684" fmla="*/ 2019379 w 2776174"/>
              <a:gd name="connsiteY684" fmla="*/ 1566179 h 1883236"/>
              <a:gd name="connsiteX685" fmla="*/ 2026725 w 2776174"/>
              <a:gd name="connsiteY685" fmla="*/ 1560047 h 1883236"/>
              <a:gd name="connsiteX686" fmla="*/ 2032510 w 2776174"/>
              <a:gd name="connsiteY686" fmla="*/ 1554784 h 1883236"/>
              <a:gd name="connsiteX687" fmla="*/ 2034303 w 2776174"/>
              <a:gd name="connsiteY687" fmla="*/ 1555073 h 1883236"/>
              <a:gd name="connsiteX688" fmla="*/ 2039278 w 2776174"/>
              <a:gd name="connsiteY688" fmla="*/ 1556982 h 1883236"/>
              <a:gd name="connsiteX689" fmla="*/ 2045351 w 2776174"/>
              <a:gd name="connsiteY689" fmla="*/ 1558890 h 1883236"/>
              <a:gd name="connsiteX690" fmla="*/ 2046797 w 2776174"/>
              <a:gd name="connsiteY690" fmla="*/ 1557271 h 1883236"/>
              <a:gd name="connsiteX691" fmla="*/ 2051477 w 2776174"/>
              <a:gd name="connsiteY691" fmla="*/ 1552817 h 1883236"/>
              <a:gd name="connsiteX692" fmla="*/ 2051540 w 2776174"/>
              <a:gd name="connsiteY692" fmla="*/ 1552817 h 1883236"/>
              <a:gd name="connsiteX693" fmla="*/ 2062126 w 2776174"/>
              <a:gd name="connsiteY693" fmla="*/ 1559700 h 1883236"/>
              <a:gd name="connsiteX694" fmla="*/ 2075141 w 2776174"/>
              <a:gd name="connsiteY694" fmla="*/ 1565485 h 1883236"/>
              <a:gd name="connsiteX695" fmla="*/ 2082545 w 2776174"/>
              <a:gd name="connsiteY695" fmla="*/ 1560857 h 1883236"/>
              <a:gd name="connsiteX696" fmla="*/ 2086536 w 2776174"/>
              <a:gd name="connsiteY696" fmla="*/ 1556345 h 1883236"/>
              <a:gd name="connsiteX697" fmla="*/ 2102675 w 2776174"/>
              <a:gd name="connsiteY697" fmla="*/ 1568724 h 1883236"/>
              <a:gd name="connsiteX698" fmla="*/ 2117020 w 2776174"/>
              <a:gd name="connsiteY698" fmla="*/ 1574913 h 1883236"/>
              <a:gd name="connsiteX699" fmla="*/ 2119623 w 2776174"/>
              <a:gd name="connsiteY699" fmla="*/ 1574913 h 1883236"/>
              <a:gd name="connsiteX700" fmla="*/ 2124887 w 2776174"/>
              <a:gd name="connsiteY700" fmla="*/ 1574913 h 1883236"/>
              <a:gd name="connsiteX701" fmla="*/ 2127490 w 2776174"/>
              <a:gd name="connsiteY701" fmla="*/ 1574913 h 1883236"/>
              <a:gd name="connsiteX702" fmla="*/ 2135820 w 2776174"/>
              <a:gd name="connsiteY702" fmla="*/ 1566642 h 1883236"/>
              <a:gd name="connsiteX703" fmla="*/ 2135820 w 2776174"/>
              <a:gd name="connsiteY703" fmla="*/ 1566179 h 1883236"/>
              <a:gd name="connsiteX704" fmla="*/ 2137786 w 2776174"/>
              <a:gd name="connsiteY704" fmla="*/ 1563749 h 1883236"/>
              <a:gd name="connsiteX705" fmla="*/ 2144554 w 2776174"/>
              <a:gd name="connsiteY705" fmla="*/ 1569534 h 1883236"/>
              <a:gd name="connsiteX706" fmla="*/ 2161329 w 2776174"/>
              <a:gd name="connsiteY706" fmla="*/ 1582202 h 1883236"/>
              <a:gd name="connsiteX707" fmla="*/ 2163238 w 2776174"/>
              <a:gd name="connsiteY707" fmla="*/ 1582202 h 1883236"/>
              <a:gd name="connsiteX708" fmla="*/ 2165494 w 2776174"/>
              <a:gd name="connsiteY708" fmla="*/ 1581739 h 1883236"/>
              <a:gd name="connsiteX709" fmla="*/ 2154446 w 2776174"/>
              <a:gd name="connsiteY709" fmla="*/ 1570170 h 1883236"/>
              <a:gd name="connsiteX710" fmla="*/ 2150917 w 2776174"/>
              <a:gd name="connsiteY710" fmla="*/ 1560683 h 1883236"/>
              <a:gd name="connsiteX711" fmla="*/ 2149268 w 2776174"/>
              <a:gd name="connsiteY711" fmla="*/ 1555026 h 1883236"/>
              <a:gd name="connsiteX712" fmla="*/ 2149008 w 2776174"/>
              <a:gd name="connsiteY712" fmla="*/ 1554899 h 1883236"/>
              <a:gd name="connsiteX713" fmla="*/ 2146984 w 2776174"/>
              <a:gd name="connsiteY713" fmla="*/ 1549867 h 1883236"/>
              <a:gd name="connsiteX714" fmla="*/ 2171510 w 2776174"/>
              <a:gd name="connsiteY714" fmla="*/ 1540727 h 1883236"/>
              <a:gd name="connsiteX715" fmla="*/ 2173361 w 2776174"/>
              <a:gd name="connsiteY715" fmla="*/ 1540727 h 1883236"/>
              <a:gd name="connsiteX716" fmla="*/ 2182731 w 2776174"/>
              <a:gd name="connsiteY716" fmla="*/ 1541595 h 1883236"/>
              <a:gd name="connsiteX717" fmla="*/ 2186144 w 2776174"/>
              <a:gd name="connsiteY717" fmla="*/ 1542000 h 1883236"/>
              <a:gd name="connsiteX718" fmla="*/ 2191929 w 2776174"/>
              <a:gd name="connsiteY718" fmla="*/ 1536967 h 1883236"/>
              <a:gd name="connsiteX719" fmla="*/ 2197713 w 2776174"/>
              <a:gd name="connsiteY719" fmla="*/ 1532918 h 1883236"/>
              <a:gd name="connsiteX720" fmla="*/ 2205001 w 2776174"/>
              <a:gd name="connsiteY720" fmla="*/ 1544834 h 1883236"/>
              <a:gd name="connsiteX721" fmla="*/ 2207489 w 2776174"/>
              <a:gd name="connsiteY721" fmla="*/ 1546107 h 1883236"/>
              <a:gd name="connsiteX722" fmla="*/ 2221198 w 2776174"/>
              <a:gd name="connsiteY722" fmla="*/ 1543215 h 1883236"/>
              <a:gd name="connsiteX723" fmla="*/ 2240229 w 2776174"/>
              <a:gd name="connsiteY723" fmla="*/ 1539513 h 1883236"/>
              <a:gd name="connsiteX724" fmla="*/ 2266779 w 2776174"/>
              <a:gd name="connsiteY724" fmla="*/ 1558659 h 1883236"/>
              <a:gd name="connsiteX725" fmla="*/ 2274357 w 2776174"/>
              <a:gd name="connsiteY725" fmla="*/ 1565080 h 1883236"/>
              <a:gd name="connsiteX726" fmla="*/ 2283728 w 2776174"/>
              <a:gd name="connsiteY726" fmla="*/ 1560973 h 1883236"/>
              <a:gd name="connsiteX727" fmla="*/ 2286678 w 2776174"/>
              <a:gd name="connsiteY727" fmla="*/ 1558312 h 1883236"/>
              <a:gd name="connsiteX728" fmla="*/ 2302990 w 2776174"/>
              <a:gd name="connsiteY728" fmla="*/ 1549519 h 1883236"/>
              <a:gd name="connsiteX729" fmla="*/ 16058 w 2776174"/>
              <a:gd name="connsiteY729" fmla="*/ 780191 h 1883236"/>
              <a:gd name="connsiteX730" fmla="*/ 13374 w 2776174"/>
              <a:gd name="connsiteY730" fmla="*/ 777669 h 1883236"/>
              <a:gd name="connsiteX731" fmla="*/ 13397 w 2776174"/>
              <a:gd name="connsiteY731" fmla="*/ 777240 h 1883236"/>
              <a:gd name="connsiteX732" fmla="*/ 19182 w 2776174"/>
              <a:gd name="connsiteY732" fmla="*/ 764457 h 1883236"/>
              <a:gd name="connsiteX733" fmla="*/ 30114 w 2776174"/>
              <a:gd name="connsiteY733" fmla="*/ 755838 h 1883236"/>
              <a:gd name="connsiteX734" fmla="*/ 31213 w 2776174"/>
              <a:gd name="connsiteY734" fmla="*/ 756937 h 1883236"/>
              <a:gd name="connsiteX735" fmla="*/ 31213 w 2776174"/>
              <a:gd name="connsiteY735" fmla="*/ 756995 h 1883236"/>
              <a:gd name="connsiteX736" fmla="*/ 30114 w 2776174"/>
              <a:gd name="connsiteY736" fmla="*/ 758094 h 1883236"/>
              <a:gd name="connsiteX737" fmla="*/ 21033 w 2776174"/>
              <a:gd name="connsiteY737" fmla="*/ 765787 h 1883236"/>
              <a:gd name="connsiteX738" fmla="*/ 15248 w 2776174"/>
              <a:gd name="connsiteY738" fmla="*/ 777356 h 1883236"/>
              <a:gd name="connsiteX739" fmla="*/ 15653 w 2776174"/>
              <a:gd name="connsiteY739" fmla="*/ 778050 h 1883236"/>
              <a:gd name="connsiteX740" fmla="*/ 16752 w 2776174"/>
              <a:gd name="connsiteY740" fmla="*/ 779149 h 1883236"/>
              <a:gd name="connsiteX741" fmla="*/ 16752 w 2776174"/>
              <a:gd name="connsiteY741" fmla="*/ 779207 h 1883236"/>
              <a:gd name="connsiteX742" fmla="*/ 16058 w 2776174"/>
              <a:gd name="connsiteY742" fmla="*/ 780248 h 1883236"/>
              <a:gd name="connsiteX743" fmla="*/ 86165 w 2776174"/>
              <a:gd name="connsiteY743" fmla="*/ 743517 h 1883236"/>
              <a:gd name="connsiteX744" fmla="*/ 84372 w 2776174"/>
              <a:gd name="connsiteY744" fmla="*/ 743517 h 1883236"/>
              <a:gd name="connsiteX745" fmla="*/ 80959 w 2776174"/>
              <a:gd name="connsiteY745" fmla="*/ 740394 h 1883236"/>
              <a:gd name="connsiteX746" fmla="*/ 116186 w 2776174"/>
              <a:gd name="connsiteY746" fmla="*/ 722404 h 1883236"/>
              <a:gd name="connsiteX747" fmla="*/ 121277 w 2776174"/>
              <a:gd name="connsiteY747" fmla="*/ 723156 h 1883236"/>
              <a:gd name="connsiteX748" fmla="*/ 126656 w 2776174"/>
              <a:gd name="connsiteY748" fmla="*/ 728535 h 1883236"/>
              <a:gd name="connsiteX749" fmla="*/ 106353 w 2776174"/>
              <a:gd name="connsiteY749" fmla="*/ 736287 h 1883236"/>
              <a:gd name="connsiteX750" fmla="*/ 95710 w 2776174"/>
              <a:gd name="connsiteY750" fmla="*/ 740104 h 1883236"/>
              <a:gd name="connsiteX751" fmla="*/ 86165 w 2776174"/>
              <a:gd name="connsiteY751" fmla="*/ 743575 h 1883236"/>
              <a:gd name="connsiteX752" fmla="*/ 116186 w 2776174"/>
              <a:gd name="connsiteY752" fmla="*/ 724486 h 1883236"/>
              <a:gd name="connsiteX753" fmla="*/ 83157 w 2776174"/>
              <a:gd name="connsiteY753" fmla="*/ 740451 h 1883236"/>
              <a:gd name="connsiteX754" fmla="*/ 84719 w 2776174"/>
              <a:gd name="connsiteY754" fmla="*/ 741203 h 1883236"/>
              <a:gd name="connsiteX755" fmla="*/ 94553 w 2776174"/>
              <a:gd name="connsiteY755" fmla="*/ 738080 h 1883236"/>
              <a:gd name="connsiteX756" fmla="*/ 106121 w 2776174"/>
              <a:gd name="connsiteY756" fmla="*/ 733915 h 1883236"/>
              <a:gd name="connsiteX757" fmla="*/ 124227 w 2776174"/>
              <a:gd name="connsiteY757" fmla="*/ 728131 h 1883236"/>
              <a:gd name="connsiteX758" fmla="*/ 120235 w 2776174"/>
              <a:gd name="connsiteY758" fmla="*/ 725296 h 1883236"/>
              <a:gd name="connsiteX759" fmla="*/ 116186 w 2776174"/>
              <a:gd name="connsiteY759" fmla="*/ 724544 h 1883236"/>
              <a:gd name="connsiteX760" fmla="*/ 1027060 w 2776174"/>
              <a:gd name="connsiteY760" fmla="*/ 731948 h 1883236"/>
              <a:gd name="connsiteX761" fmla="*/ 1026598 w 2776174"/>
              <a:gd name="connsiteY761" fmla="*/ 731948 h 1883236"/>
              <a:gd name="connsiteX762" fmla="*/ 1025903 w 2776174"/>
              <a:gd name="connsiteY762" fmla="*/ 731081 h 1883236"/>
              <a:gd name="connsiteX763" fmla="*/ 1025903 w 2776174"/>
              <a:gd name="connsiteY763" fmla="*/ 727668 h 1883236"/>
              <a:gd name="connsiteX764" fmla="*/ 1025903 w 2776174"/>
              <a:gd name="connsiteY764" fmla="*/ 726569 h 1883236"/>
              <a:gd name="connsiteX765" fmla="*/ 1022144 w 2776174"/>
              <a:gd name="connsiteY765" fmla="*/ 727783 h 1883236"/>
              <a:gd name="connsiteX766" fmla="*/ 1017227 w 2776174"/>
              <a:gd name="connsiteY766" fmla="*/ 729230 h 1883236"/>
              <a:gd name="connsiteX767" fmla="*/ 1014393 w 2776174"/>
              <a:gd name="connsiteY767" fmla="*/ 726048 h 1883236"/>
              <a:gd name="connsiteX768" fmla="*/ 1015202 w 2776174"/>
              <a:gd name="connsiteY768" fmla="*/ 719454 h 1883236"/>
              <a:gd name="connsiteX769" fmla="*/ 1015202 w 2776174"/>
              <a:gd name="connsiteY769" fmla="*/ 709042 h 1883236"/>
              <a:gd name="connsiteX770" fmla="*/ 1013004 w 2776174"/>
              <a:gd name="connsiteY770" fmla="*/ 707769 h 1883236"/>
              <a:gd name="connsiteX771" fmla="*/ 1007220 w 2776174"/>
              <a:gd name="connsiteY771" fmla="*/ 712571 h 1883236"/>
              <a:gd name="connsiteX772" fmla="*/ 1003055 w 2776174"/>
              <a:gd name="connsiteY772" fmla="*/ 716446 h 1883236"/>
              <a:gd name="connsiteX773" fmla="*/ 999700 w 2776174"/>
              <a:gd name="connsiteY773" fmla="*/ 713959 h 1883236"/>
              <a:gd name="connsiteX774" fmla="*/ 989519 w 2776174"/>
              <a:gd name="connsiteY774" fmla="*/ 706844 h 1883236"/>
              <a:gd name="connsiteX775" fmla="*/ 987842 w 2776174"/>
              <a:gd name="connsiteY775" fmla="*/ 708464 h 1883236"/>
              <a:gd name="connsiteX776" fmla="*/ 982347 w 2776174"/>
              <a:gd name="connsiteY776" fmla="*/ 725470 h 1883236"/>
              <a:gd name="connsiteX777" fmla="*/ 979975 w 2776174"/>
              <a:gd name="connsiteY777" fmla="*/ 724544 h 1883236"/>
              <a:gd name="connsiteX778" fmla="*/ 966555 w 2776174"/>
              <a:gd name="connsiteY778" fmla="*/ 718760 h 1883236"/>
              <a:gd name="connsiteX779" fmla="*/ 965861 w 2776174"/>
              <a:gd name="connsiteY779" fmla="*/ 723098 h 1883236"/>
              <a:gd name="connsiteX780" fmla="*/ 961523 w 2776174"/>
              <a:gd name="connsiteY780" fmla="*/ 730676 h 1883236"/>
              <a:gd name="connsiteX781" fmla="*/ 955738 w 2776174"/>
              <a:gd name="connsiteY781" fmla="*/ 728362 h 1883236"/>
              <a:gd name="connsiteX782" fmla="*/ 953309 w 2776174"/>
              <a:gd name="connsiteY782" fmla="*/ 712108 h 1883236"/>
              <a:gd name="connsiteX783" fmla="*/ 954697 w 2776174"/>
              <a:gd name="connsiteY783" fmla="*/ 701233 h 1883236"/>
              <a:gd name="connsiteX784" fmla="*/ 952268 w 2776174"/>
              <a:gd name="connsiteY784" fmla="*/ 695969 h 1883236"/>
              <a:gd name="connsiteX785" fmla="*/ 948161 w 2776174"/>
              <a:gd name="connsiteY785" fmla="*/ 680525 h 1883236"/>
              <a:gd name="connsiteX786" fmla="*/ 952036 w 2776174"/>
              <a:gd name="connsiteY786" fmla="*/ 678500 h 1883236"/>
              <a:gd name="connsiteX787" fmla="*/ 963605 w 2776174"/>
              <a:gd name="connsiteY787" fmla="*/ 685557 h 1883236"/>
              <a:gd name="connsiteX788" fmla="*/ 972398 w 2776174"/>
              <a:gd name="connsiteY788" fmla="*/ 691631 h 1883236"/>
              <a:gd name="connsiteX789" fmla="*/ 974885 w 2776174"/>
              <a:gd name="connsiteY789" fmla="*/ 690358 h 1883236"/>
              <a:gd name="connsiteX790" fmla="*/ 982809 w 2776174"/>
              <a:gd name="connsiteY790" fmla="*/ 684111 h 1883236"/>
              <a:gd name="connsiteX791" fmla="*/ 988594 w 2776174"/>
              <a:gd name="connsiteY791" fmla="*/ 677054 h 1883236"/>
              <a:gd name="connsiteX792" fmla="*/ 977893 w 2776174"/>
              <a:gd name="connsiteY792" fmla="*/ 656982 h 1883236"/>
              <a:gd name="connsiteX793" fmla="*/ 968869 w 2776174"/>
              <a:gd name="connsiteY793" fmla="*/ 651198 h 1883236"/>
              <a:gd name="connsiteX794" fmla="*/ 963085 w 2776174"/>
              <a:gd name="connsiteY794" fmla="*/ 658255 h 1883236"/>
              <a:gd name="connsiteX795" fmla="*/ 967782 w 2776174"/>
              <a:gd name="connsiteY795" fmla="*/ 664028 h 1883236"/>
              <a:gd name="connsiteX796" fmla="*/ 967886 w 2776174"/>
              <a:gd name="connsiteY796" fmla="*/ 664039 h 1883236"/>
              <a:gd name="connsiteX797" fmla="*/ 981537 w 2776174"/>
              <a:gd name="connsiteY797" fmla="*/ 674856 h 1883236"/>
              <a:gd name="connsiteX798" fmla="*/ 979165 w 2776174"/>
              <a:gd name="connsiteY798" fmla="*/ 679484 h 1883236"/>
              <a:gd name="connsiteX799" fmla="*/ 976909 w 2776174"/>
              <a:gd name="connsiteY799" fmla="*/ 679946 h 1883236"/>
              <a:gd name="connsiteX800" fmla="*/ 954639 w 2776174"/>
              <a:gd name="connsiteY800" fmla="*/ 660626 h 1883236"/>
              <a:gd name="connsiteX801" fmla="*/ 953367 w 2776174"/>
              <a:gd name="connsiteY801" fmla="*/ 659065 h 1883236"/>
              <a:gd name="connsiteX802" fmla="*/ 947582 w 2776174"/>
              <a:gd name="connsiteY802" fmla="*/ 663056 h 1883236"/>
              <a:gd name="connsiteX803" fmla="*/ 940352 w 2776174"/>
              <a:gd name="connsiteY803" fmla="*/ 667741 h 1883236"/>
              <a:gd name="connsiteX804" fmla="*/ 936823 w 2776174"/>
              <a:gd name="connsiteY804" fmla="*/ 664271 h 1883236"/>
              <a:gd name="connsiteX805" fmla="*/ 936013 w 2776174"/>
              <a:gd name="connsiteY805" fmla="*/ 662304 h 1883236"/>
              <a:gd name="connsiteX806" fmla="*/ 933642 w 2776174"/>
              <a:gd name="connsiteY806" fmla="*/ 666816 h 1883236"/>
              <a:gd name="connsiteX807" fmla="*/ 927221 w 2776174"/>
              <a:gd name="connsiteY807" fmla="*/ 674798 h 1883236"/>
              <a:gd name="connsiteX808" fmla="*/ 926816 w 2776174"/>
              <a:gd name="connsiteY808" fmla="*/ 674798 h 1883236"/>
              <a:gd name="connsiteX809" fmla="*/ 922941 w 2776174"/>
              <a:gd name="connsiteY809" fmla="*/ 670055 h 1883236"/>
              <a:gd name="connsiteX810" fmla="*/ 922941 w 2776174"/>
              <a:gd name="connsiteY810" fmla="*/ 644430 h 1883236"/>
              <a:gd name="connsiteX811" fmla="*/ 930634 w 2776174"/>
              <a:gd name="connsiteY811" fmla="*/ 641885 h 1883236"/>
              <a:gd name="connsiteX812" fmla="*/ 937749 w 2776174"/>
              <a:gd name="connsiteY812" fmla="*/ 637951 h 1883236"/>
              <a:gd name="connsiteX813" fmla="*/ 942376 w 2776174"/>
              <a:gd name="connsiteY813" fmla="*/ 631242 h 1883236"/>
              <a:gd name="connsiteX814" fmla="*/ 946888 w 2776174"/>
              <a:gd name="connsiteY814" fmla="*/ 619673 h 1883236"/>
              <a:gd name="connsiteX815" fmla="*/ 934047 w 2776174"/>
              <a:gd name="connsiteY815" fmla="*/ 599658 h 1883236"/>
              <a:gd name="connsiteX816" fmla="*/ 932659 w 2776174"/>
              <a:gd name="connsiteY816" fmla="*/ 601047 h 1883236"/>
              <a:gd name="connsiteX817" fmla="*/ 934278 w 2776174"/>
              <a:gd name="connsiteY817" fmla="*/ 611921 h 1883236"/>
              <a:gd name="connsiteX818" fmla="*/ 932774 w 2776174"/>
              <a:gd name="connsiteY818" fmla="*/ 627655 h 1883236"/>
              <a:gd name="connsiteX819" fmla="*/ 924907 w 2776174"/>
              <a:gd name="connsiteY819" fmla="*/ 633729 h 1883236"/>
              <a:gd name="connsiteX820" fmla="*/ 918024 w 2776174"/>
              <a:gd name="connsiteY820" fmla="*/ 638067 h 1883236"/>
              <a:gd name="connsiteX821" fmla="*/ 915016 w 2776174"/>
              <a:gd name="connsiteY821" fmla="*/ 636505 h 1883236"/>
              <a:gd name="connsiteX822" fmla="*/ 914033 w 2776174"/>
              <a:gd name="connsiteY822" fmla="*/ 627019 h 1883236"/>
              <a:gd name="connsiteX823" fmla="*/ 911892 w 2776174"/>
              <a:gd name="connsiteY823" fmla="*/ 617417 h 1883236"/>
              <a:gd name="connsiteX824" fmla="*/ 907265 w 2776174"/>
              <a:gd name="connsiteY824" fmla="*/ 619325 h 1883236"/>
              <a:gd name="connsiteX825" fmla="*/ 908942 w 2776174"/>
              <a:gd name="connsiteY825" fmla="*/ 633960 h 1883236"/>
              <a:gd name="connsiteX826" fmla="*/ 913686 w 2776174"/>
              <a:gd name="connsiteY826" fmla="*/ 661147 h 1883236"/>
              <a:gd name="connsiteX827" fmla="*/ 910909 w 2776174"/>
              <a:gd name="connsiteY827" fmla="*/ 665254 h 1883236"/>
              <a:gd name="connsiteX828" fmla="*/ 909405 w 2776174"/>
              <a:gd name="connsiteY828" fmla="*/ 665601 h 1883236"/>
              <a:gd name="connsiteX829" fmla="*/ 904546 w 2776174"/>
              <a:gd name="connsiteY829" fmla="*/ 659296 h 1883236"/>
              <a:gd name="connsiteX830" fmla="*/ 897373 w 2776174"/>
              <a:gd name="connsiteY830" fmla="*/ 649578 h 1883236"/>
              <a:gd name="connsiteX831" fmla="*/ 893729 w 2776174"/>
              <a:gd name="connsiteY831" fmla="*/ 640612 h 1883236"/>
              <a:gd name="connsiteX832" fmla="*/ 888986 w 2776174"/>
              <a:gd name="connsiteY832" fmla="*/ 630837 h 1883236"/>
              <a:gd name="connsiteX833" fmla="*/ 865848 w 2776174"/>
              <a:gd name="connsiteY833" fmla="*/ 602956 h 1883236"/>
              <a:gd name="connsiteX834" fmla="*/ 880656 w 2776174"/>
              <a:gd name="connsiteY834" fmla="*/ 593700 h 1883236"/>
              <a:gd name="connsiteX835" fmla="*/ 886441 w 2776174"/>
              <a:gd name="connsiteY835" fmla="*/ 595667 h 1883236"/>
              <a:gd name="connsiteX836" fmla="*/ 886846 w 2776174"/>
              <a:gd name="connsiteY836" fmla="*/ 598502 h 1883236"/>
              <a:gd name="connsiteX837" fmla="*/ 887713 w 2776174"/>
              <a:gd name="connsiteY837" fmla="*/ 601278 h 1883236"/>
              <a:gd name="connsiteX838" fmla="*/ 898415 w 2776174"/>
              <a:gd name="connsiteY838" fmla="*/ 606368 h 1883236"/>
              <a:gd name="connsiteX839" fmla="*/ 904720 w 2776174"/>
              <a:gd name="connsiteY839" fmla="*/ 602088 h 1883236"/>
              <a:gd name="connsiteX840" fmla="*/ 903042 w 2776174"/>
              <a:gd name="connsiteY840" fmla="*/ 567381 h 1883236"/>
              <a:gd name="connsiteX841" fmla="*/ 892746 w 2776174"/>
              <a:gd name="connsiteY841" fmla="*/ 555813 h 1883236"/>
              <a:gd name="connsiteX842" fmla="*/ 894134 w 2776174"/>
              <a:gd name="connsiteY842" fmla="*/ 563795 h 1883236"/>
              <a:gd name="connsiteX843" fmla="*/ 898704 w 2776174"/>
              <a:gd name="connsiteY843" fmla="*/ 590808 h 1883236"/>
              <a:gd name="connsiteX844" fmla="*/ 889912 w 2776174"/>
              <a:gd name="connsiteY844" fmla="*/ 587974 h 1883236"/>
              <a:gd name="connsiteX845" fmla="*/ 880772 w 2776174"/>
              <a:gd name="connsiteY845" fmla="*/ 582537 h 1883236"/>
              <a:gd name="connsiteX846" fmla="*/ 868162 w 2776174"/>
              <a:gd name="connsiteY846" fmla="*/ 576752 h 1883236"/>
              <a:gd name="connsiteX847" fmla="*/ 863882 w 2776174"/>
              <a:gd name="connsiteY847" fmla="*/ 574901 h 1883236"/>
              <a:gd name="connsiteX848" fmla="*/ 863592 w 2776174"/>
              <a:gd name="connsiteY848" fmla="*/ 580685 h 1883236"/>
              <a:gd name="connsiteX849" fmla="*/ 862146 w 2776174"/>
              <a:gd name="connsiteY849" fmla="*/ 590577 h 1883236"/>
              <a:gd name="connsiteX850" fmla="*/ 852544 w 2776174"/>
              <a:gd name="connsiteY850" fmla="*/ 590056 h 1883236"/>
              <a:gd name="connsiteX851" fmla="*/ 824837 w 2776174"/>
              <a:gd name="connsiteY851" fmla="*/ 568827 h 1883236"/>
              <a:gd name="connsiteX852" fmla="*/ 820151 w 2776174"/>
              <a:gd name="connsiteY852" fmla="*/ 563795 h 1883236"/>
              <a:gd name="connsiteX853" fmla="*/ 794353 w 2776174"/>
              <a:gd name="connsiteY853" fmla="*/ 550549 h 1883236"/>
              <a:gd name="connsiteX854" fmla="*/ 788568 w 2776174"/>
              <a:gd name="connsiteY854" fmla="*/ 548293 h 1883236"/>
              <a:gd name="connsiteX855" fmla="*/ 782784 w 2776174"/>
              <a:gd name="connsiteY855" fmla="*/ 546326 h 1883236"/>
              <a:gd name="connsiteX856" fmla="*/ 773529 w 2776174"/>
              <a:gd name="connsiteY856" fmla="*/ 541236 h 1883236"/>
              <a:gd name="connsiteX857" fmla="*/ 775091 w 2776174"/>
              <a:gd name="connsiteY857" fmla="*/ 536782 h 1883236"/>
              <a:gd name="connsiteX858" fmla="*/ 779545 w 2776174"/>
              <a:gd name="connsiteY858" fmla="*/ 532733 h 1883236"/>
              <a:gd name="connsiteX859" fmla="*/ 784404 w 2776174"/>
              <a:gd name="connsiteY859" fmla="*/ 526948 h 1883236"/>
              <a:gd name="connsiteX860" fmla="*/ 780702 w 2776174"/>
              <a:gd name="connsiteY860" fmla="*/ 521684 h 1883236"/>
              <a:gd name="connsiteX861" fmla="*/ 777289 w 2776174"/>
              <a:gd name="connsiteY861" fmla="*/ 520296 h 1883236"/>
              <a:gd name="connsiteX862" fmla="*/ 769653 w 2776174"/>
              <a:gd name="connsiteY862" fmla="*/ 524924 h 1883236"/>
              <a:gd name="connsiteX863" fmla="*/ 752300 w 2776174"/>
              <a:gd name="connsiteY863" fmla="*/ 533253 h 1883236"/>
              <a:gd name="connsiteX864" fmla="*/ 748019 w 2776174"/>
              <a:gd name="connsiteY864" fmla="*/ 532848 h 1883236"/>
              <a:gd name="connsiteX865" fmla="*/ 730204 w 2776174"/>
              <a:gd name="connsiteY865" fmla="*/ 521279 h 1883236"/>
              <a:gd name="connsiteX866" fmla="*/ 724072 w 2776174"/>
              <a:gd name="connsiteY866" fmla="*/ 516768 h 1883236"/>
              <a:gd name="connsiteX867" fmla="*/ 717536 w 2776174"/>
              <a:gd name="connsiteY867" fmla="*/ 517404 h 1883236"/>
              <a:gd name="connsiteX868" fmla="*/ 680978 w 2776174"/>
              <a:gd name="connsiteY868" fmla="*/ 519660 h 1883236"/>
              <a:gd name="connsiteX869" fmla="*/ 664492 w 2776174"/>
              <a:gd name="connsiteY869" fmla="*/ 518561 h 1883236"/>
              <a:gd name="connsiteX870" fmla="*/ 661195 w 2776174"/>
              <a:gd name="connsiteY870" fmla="*/ 518040 h 1883236"/>
              <a:gd name="connsiteX871" fmla="*/ 632620 w 2776174"/>
              <a:gd name="connsiteY871" fmla="*/ 507802 h 1883236"/>
              <a:gd name="connsiteX872" fmla="*/ 632620 w 2776174"/>
              <a:gd name="connsiteY872" fmla="*/ 502769 h 1883236"/>
              <a:gd name="connsiteX873" fmla="*/ 631753 w 2776174"/>
              <a:gd name="connsiteY873" fmla="*/ 501034 h 1883236"/>
              <a:gd name="connsiteX874" fmla="*/ 628745 w 2776174"/>
              <a:gd name="connsiteY874" fmla="*/ 503116 h 1883236"/>
              <a:gd name="connsiteX875" fmla="*/ 618680 w 2776174"/>
              <a:gd name="connsiteY875" fmla="*/ 509653 h 1883236"/>
              <a:gd name="connsiteX876" fmla="*/ 610813 w 2776174"/>
              <a:gd name="connsiteY876" fmla="*/ 505604 h 1883236"/>
              <a:gd name="connsiteX877" fmla="*/ 603987 w 2776174"/>
              <a:gd name="connsiteY877" fmla="*/ 502538 h 1883236"/>
              <a:gd name="connsiteX878" fmla="*/ 590510 w 2776174"/>
              <a:gd name="connsiteY878" fmla="*/ 509884 h 1883236"/>
              <a:gd name="connsiteX879" fmla="*/ 585651 w 2776174"/>
              <a:gd name="connsiteY879" fmla="*/ 511909 h 1883236"/>
              <a:gd name="connsiteX880" fmla="*/ 579866 w 2776174"/>
              <a:gd name="connsiteY880" fmla="*/ 506124 h 1883236"/>
              <a:gd name="connsiteX881" fmla="*/ 586345 w 2776174"/>
              <a:gd name="connsiteY881" fmla="*/ 497968 h 1883236"/>
              <a:gd name="connsiteX882" fmla="*/ 593749 w 2776174"/>
              <a:gd name="connsiteY882" fmla="*/ 496696 h 1883236"/>
              <a:gd name="connsiteX883" fmla="*/ 601269 w 2776174"/>
              <a:gd name="connsiteY883" fmla="*/ 494671 h 1883236"/>
              <a:gd name="connsiteX884" fmla="*/ 598029 w 2776174"/>
              <a:gd name="connsiteY884" fmla="*/ 490853 h 1883236"/>
              <a:gd name="connsiteX885" fmla="*/ 592245 w 2776174"/>
              <a:gd name="connsiteY885" fmla="*/ 488655 h 1883236"/>
              <a:gd name="connsiteX886" fmla="*/ 587212 w 2776174"/>
              <a:gd name="connsiteY886" fmla="*/ 489812 h 1883236"/>
              <a:gd name="connsiteX887" fmla="*/ 582701 w 2776174"/>
              <a:gd name="connsiteY887" fmla="*/ 490911 h 1883236"/>
              <a:gd name="connsiteX888" fmla="*/ 576338 w 2776174"/>
              <a:gd name="connsiteY888" fmla="*/ 485647 h 1883236"/>
              <a:gd name="connsiteX889" fmla="*/ 568355 w 2776174"/>
              <a:gd name="connsiteY889" fmla="*/ 479863 h 1883236"/>
              <a:gd name="connsiteX890" fmla="*/ 565289 w 2776174"/>
              <a:gd name="connsiteY890" fmla="*/ 479863 h 1883236"/>
              <a:gd name="connsiteX891" fmla="*/ 562108 w 2776174"/>
              <a:gd name="connsiteY891" fmla="*/ 479863 h 1883236"/>
              <a:gd name="connsiteX892" fmla="*/ 556729 w 2776174"/>
              <a:gd name="connsiteY892" fmla="*/ 478359 h 1883236"/>
              <a:gd name="connsiteX893" fmla="*/ 547763 w 2776174"/>
              <a:gd name="connsiteY893" fmla="*/ 474136 h 1883236"/>
              <a:gd name="connsiteX894" fmla="*/ 543309 w 2776174"/>
              <a:gd name="connsiteY894" fmla="*/ 478937 h 1883236"/>
              <a:gd name="connsiteX895" fmla="*/ 536309 w 2776174"/>
              <a:gd name="connsiteY895" fmla="*/ 485242 h 1883236"/>
              <a:gd name="connsiteX896" fmla="*/ 533533 w 2776174"/>
              <a:gd name="connsiteY896" fmla="*/ 486631 h 1883236"/>
              <a:gd name="connsiteX897" fmla="*/ 534227 w 2776174"/>
              <a:gd name="connsiteY897" fmla="*/ 491547 h 1883236"/>
              <a:gd name="connsiteX898" fmla="*/ 544234 w 2776174"/>
              <a:gd name="connsiteY898" fmla="*/ 502596 h 1883236"/>
              <a:gd name="connsiteX899" fmla="*/ 548110 w 2776174"/>
              <a:gd name="connsiteY899" fmla="*/ 506876 h 1883236"/>
              <a:gd name="connsiteX900" fmla="*/ 545738 w 2776174"/>
              <a:gd name="connsiteY900" fmla="*/ 509364 h 1883236"/>
              <a:gd name="connsiteX901" fmla="*/ 544350 w 2776174"/>
              <a:gd name="connsiteY901" fmla="*/ 510578 h 1883236"/>
              <a:gd name="connsiteX902" fmla="*/ 545796 w 2776174"/>
              <a:gd name="connsiteY902" fmla="*/ 515784 h 1883236"/>
              <a:gd name="connsiteX903" fmla="*/ 547069 w 2776174"/>
              <a:gd name="connsiteY903" fmla="*/ 521569 h 1883236"/>
              <a:gd name="connsiteX904" fmla="*/ 545044 w 2776174"/>
              <a:gd name="connsiteY904" fmla="*/ 523304 h 1883236"/>
              <a:gd name="connsiteX905" fmla="*/ 536657 w 2776174"/>
              <a:gd name="connsiteY905" fmla="*/ 522610 h 1883236"/>
              <a:gd name="connsiteX906" fmla="*/ 522832 w 2776174"/>
              <a:gd name="connsiteY906" fmla="*/ 520354 h 1883236"/>
              <a:gd name="connsiteX907" fmla="*/ 505478 w 2776174"/>
              <a:gd name="connsiteY907" fmla="*/ 524577 h 1883236"/>
              <a:gd name="connsiteX908" fmla="*/ 483382 w 2776174"/>
              <a:gd name="connsiteY908" fmla="*/ 538401 h 1883236"/>
              <a:gd name="connsiteX909" fmla="*/ 451047 w 2776174"/>
              <a:gd name="connsiteY909" fmla="*/ 554424 h 1883236"/>
              <a:gd name="connsiteX910" fmla="*/ 434214 w 2776174"/>
              <a:gd name="connsiteY910" fmla="*/ 548235 h 1883236"/>
              <a:gd name="connsiteX911" fmla="*/ 439999 w 2776174"/>
              <a:gd name="connsiteY911" fmla="*/ 543145 h 1883236"/>
              <a:gd name="connsiteX912" fmla="*/ 453592 w 2776174"/>
              <a:gd name="connsiteY912" fmla="*/ 534641 h 1883236"/>
              <a:gd name="connsiteX913" fmla="*/ 449948 w 2776174"/>
              <a:gd name="connsiteY913" fmla="*/ 533195 h 1883236"/>
              <a:gd name="connsiteX914" fmla="*/ 441271 w 2776174"/>
              <a:gd name="connsiteY914" fmla="*/ 528452 h 1883236"/>
              <a:gd name="connsiteX915" fmla="*/ 447056 w 2776174"/>
              <a:gd name="connsiteY915" fmla="*/ 511446 h 1883236"/>
              <a:gd name="connsiteX916" fmla="*/ 451336 w 2776174"/>
              <a:gd name="connsiteY916" fmla="*/ 499877 h 1883236"/>
              <a:gd name="connsiteX917" fmla="*/ 458104 w 2776174"/>
              <a:gd name="connsiteY917" fmla="*/ 486399 h 1883236"/>
              <a:gd name="connsiteX918" fmla="*/ 475457 w 2776174"/>
              <a:gd name="connsiteY918" fmla="*/ 477260 h 1883236"/>
              <a:gd name="connsiteX919" fmla="*/ 488067 w 2776174"/>
              <a:gd name="connsiteY919" fmla="*/ 480731 h 1883236"/>
              <a:gd name="connsiteX920" fmla="*/ 496860 w 2776174"/>
              <a:gd name="connsiteY920" fmla="*/ 478475 h 1883236"/>
              <a:gd name="connsiteX921" fmla="*/ 486968 w 2776174"/>
              <a:gd name="connsiteY921" fmla="*/ 472690 h 1883236"/>
              <a:gd name="connsiteX922" fmla="*/ 474532 w 2776174"/>
              <a:gd name="connsiteY922" fmla="*/ 465922 h 1883236"/>
              <a:gd name="connsiteX923" fmla="*/ 473838 w 2776174"/>
              <a:gd name="connsiteY923" fmla="*/ 464766 h 1883236"/>
              <a:gd name="connsiteX924" fmla="*/ 471177 w 2776174"/>
              <a:gd name="connsiteY924" fmla="*/ 465865 h 1883236"/>
              <a:gd name="connsiteX925" fmla="*/ 461748 w 2776174"/>
              <a:gd name="connsiteY925" fmla="*/ 473326 h 1883236"/>
              <a:gd name="connsiteX926" fmla="*/ 447114 w 2776174"/>
              <a:gd name="connsiteY926" fmla="*/ 482350 h 1883236"/>
              <a:gd name="connsiteX927" fmla="*/ 440288 w 2776174"/>
              <a:gd name="connsiteY927" fmla="*/ 488597 h 1883236"/>
              <a:gd name="connsiteX928" fmla="*/ 433867 w 2776174"/>
              <a:gd name="connsiteY928" fmla="*/ 498373 h 1883236"/>
              <a:gd name="connsiteX929" fmla="*/ 425133 w 2776174"/>
              <a:gd name="connsiteY929" fmla="*/ 505719 h 1883236"/>
              <a:gd name="connsiteX930" fmla="*/ 416051 w 2776174"/>
              <a:gd name="connsiteY930" fmla="*/ 517635 h 1883236"/>
              <a:gd name="connsiteX931" fmla="*/ 397599 w 2776174"/>
              <a:gd name="connsiteY931" fmla="*/ 534989 h 1883236"/>
              <a:gd name="connsiteX932" fmla="*/ 396326 w 2776174"/>
              <a:gd name="connsiteY932" fmla="*/ 534989 h 1883236"/>
              <a:gd name="connsiteX933" fmla="*/ 376544 w 2776174"/>
              <a:gd name="connsiteY933" fmla="*/ 549681 h 1883236"/>
              <a:gd name="connsiteX934" fmla="*/ 375387 w 2776174"/>
              <a:gd name="connsiteY934" fmla="*/ 552862 h 1883236"/>
              <a:gd name="connsiteX935" fmla="*/ 383948 w 2776174"/>
              <a:gd name="connsiteY935" fmla="*/ 556160 h 1883236"/>
              <a:gd name="connsiteX936" fmla="*/ 397252 w 2776174"/>
              <a:gd name="connsiteY936" fmla="*/ 564142 h 1883236"/>
              <a:gd name="connsiteX937" fmla="*/ 382386 w 2776174"/>
              <a:gd name="connsiteY937" fmla="*/ 579239 h 1883236"/>
              <a:gd name="connsiteX938" fmla="*/ 378452 w 2776174"/>
              <a:gd name="connsiteY938" fmla="*/ 587627 h 1883236"/>
              <a:gd name="connsiteX939" fmla="*/ 372668 w 2776174"/>
              <a:gd name="connsiteY939" fmla="*/ 599196 h 1883236"/>
              <a:gd name="connsiteX940" fmla="*/ 365553 w 2776174"/>
              <a:gd name="connsiteY940" fmla="*/ 600815 h 1883236"/>
              <a:gd name="connsiteX941" fmla="*/ 352365 w 2776174"/>
              <a:gd name="connsiteY941" fmla="*/ 606600 h 1883236"/>
              <a:gd name="connsiteX942" fmla="*/ 321476 w 2776174"/>
              <a:gd name="connsiteY942" fmla="*/ 625631 h 1883236"/>
              <a:gd name="connsiteX943" fmla="*/ 316733 w 2776174"/>
              <a:gd name="connsiteY943" fmla="*/ 631936 h 1883236"/>
              <a:gd name="connsiteX944" fmla="*/ 310948 w 2776174"/>
              <a:gd name="connsiteY944" fmla="*/ 640149 h 1883236"/>
              <a:gd name="connsiteX945" fmla="*/ 262012 w 2776174"/>
              <a:gd name="connsiteY945" fmla="*/ 668030 h 1883236"/>
              <a:gd name="connsiteX946" fmla="*/ 260334 w 2776174"/>
              <a:gd name="connsiteY946" fmla="*/ 673294 h 1883236"/>
              <a:gd name="connsiteX947" fmla="*/ 244832 w 2776174"/>
              <a:gd name="connsiteY947" fmla="*/ 684863 h 1883236"/>
              <a:gd name="connsiteX948" fmla="*/ 227479 w 2776174"/>
              <a:gd name="connsiteY948" fmla="*/ 691862 h 1883236"/>
              <a:gd name="connsiteX949" fmla="*/ 220075 w 2776174"/>
              <a:gd name="connsiteY949" fmla="*/ 694581 h 1883236"/>
              <a:gd name="connsiteX950" fmla="*/ 217992 w 2776174"/>
              <a:gd name="connsiteY950" fmla="*/ 694581 h 1883236"/>
              <a:gd name="connsiteX951" fmla="*/ 210820 w 2776174"/>
              <a:gd name="connsiteY951" fmla="*/ 694002 h 1883236"/>
              <a:gd name="connsiteX952" fmla="*/ 200986 w 2776174"/>
              <a:gd name="connsiteY952" fmla="*/ 697010 h 1883236"/>
              <a:gd name="connsiteX953" fmla="*/ 182360 w 2776174"/>
              <a:gd name="connsiteY953" fmla="*/ 706381 h 1883236"/>
              <a:gd name="connsiteX954" fmla="*/ 176981 w 2776174"/>
              <a:gd name="connsiteY954" fmla="*/ 704125 h 1883236"/>
              <a:gd name="connsiteX955" fmla="*/ 171196 w 2776174"/>
              <a:gd name="connsiteY955" fmla="*/ 700076 h 1883236"/>
              <a:gd name="connsiteX956" fmla="*/ 168940 w 2776174"/>
              <a:gd name="connsiteY956" fmla="*/ 704183 h 1883236"/>
              <a:gd name="connsiteX957" fmla="*/ 137184 w 2776174"/>
              <a:gd name="connsiteY957" fmla="*/ 723330 h 1883236"/>
              <a:gd name="connsiteX958" fmla="*/ 134349 w 2776174"/>
              <a:gd name="connsiteY958" fmla="*/ 722404 h 1883236"/>
              <a:gd name="connsiteX959" fmla="*/ 133135 w 2776174"/>
              <a:gd name="connsiteY959" fmla="*/ 719512 h 1883236"/>
              <a:gd name="connsiteX960" fmla="*/ 141117 w 2776174"/>
              <a:gd name="connsiteY960" fmla="*/ 708579 h 1883236"/>
              <a:gd name="connsiteX961" fmla="*/ 154017 w 2776174"/>
              <a:gd name="connsiteY961" fmla="*/ 691515 h 1883236"/>
              <a:gd name="connsiteX962" fmla="*/ 168015 w 2776174"/>
              <a:gd name="connsiteY962" fmla="*/ 684516 h 1883236"/>
              <a:gd name="connsiteX963" fmla="*/ 183806 w 2776174"/>
              <a:gd name="connsiteY963" fmla="*/ 686309 h 1883236"/>
              <a:gd name="connsiteX964" fmla="*/ 193929 w 2776174"/>
              <a:gd name="connsiteY964" fmla="*/ 687582 h 1883236"/>
              <a:gd name="connsiteX965" fmla="*/ 196590 w 2776174"/>
              <a:gd name="connsiteY965" fmla="*/ 687003 h 1883236"/>
              <a:gd name="connsiteX966" fmla="*/ 243444 w 2776174"/>
              <a:gd name="connsiteY966" fmla="*/ 650157 h 1883236"/>
              <a:gd name="connsiteX967" fmla="*/ 263863 w 2776174"/>
              <a:gd name="connsiteY967" fmla="*/ 633324 h 1883236"/>
              <a:gd name="connsiteX968" fmla="*/ 276589 w 2776174"/>
              <a:gd name="connsiteY968" fmla="*/ 621119 h 1883236"/>
              <a:gd name="connsiteX969" fmla="*/ 279365 w 2776174"/>
              <a:gd name="connsiteY969" fmla="*/ 608219 h 1883236"/>
              <a:gd name="connsiteX970" fmla="*/ 285670 w 2776174"/>
              <a:gd name="connsiteY970" fmla="*/ 577909 h 1883236"/>
              <a:gd name="connsiteX971" fmla="*/ 288100 w 2776174"/>
              <a:gd name="connsiteY971" fmla="*/ 574901 h 1883236"/>
              <a:gd name="connsiteX972" fmla="*/ 296024 w 2776174"/>
              <a:gd name="connsiteY972" fmla="*/ 563679 h 1883236"/>
              <a:gd name="connsiteX973" fmla="*/ 295735 w 2776174"/>
              <a:gd name="connsiteY973" fmla="*/ 563679 h 1883236"/>
              <a:gd name="connsiteX974" fmla="*/ 286422 w 2776174"/>
              <a:gd name="connsiteY974" fmla="*/ 566919 h 1883236"/>
              <a:gd name="connsiteX975" fmla="*/ 266755 w 2776174"/>
              <a:gd name="connsiteY975" fmla="*/ 572240 h 1883236"/>
              <a:gd name="connsiteX976" fmla="*/ 255186 w 2776174"/>
              <a:gd name="connsiteY976" fmla="*/ 562927 h 1883236"/>
              <a:gd name="connsiteX977" fmla="*/ 254319 w 2776174"/>
              <a:gd name="connsiteY977" fmla="*/ 560787 h 1883236"/>
              <a:gd name="connsiteX978" fmla="*/ 245989 w 2776174"/>
              <a:gd name="connsiteY978" fmla="*/ 576810 h 1883236"/>
              <a:gd name="connsiteX979" fmla="*/ 242287 w 2776174"/>
              <a:gd name="connsiteY979" fmla="*/ 584735 h 1883236"/>
              <a:gd name="connsiteX980" fmla="*/ 227016 w 2776174"/>
              <a:gd name="connsiteY980" fmla="*/ 572067 h 1883236"/>
              <a:gd name="connsiteX981" fmla="*/ 204688 w 2776174"/>
              <a:gd name="connsiteY981" fmla="*/ 562522 h 1883236"/>
              <a:gd name="connsiteX982" fmla="*/ 191442 w 2776174"/>
              <a:gd name="connsiteY982" fmla="*/ 568307 h 1883236"/>
              <a:gd name="connsiteX983" fmla="*/ 170271 w 2776174"/>
              <a:gd name="connsiteY983" fmla="*/ 577157 h 1883236"/>
              <a:gd name="connsiteX984" fmla="*/ 160322 w 2776174"/>
              <a:gd name="connsiteY984" fmla="*/ 574380 h 1883236"/>
              <a:gd name="connsiteX985" fmla="*/ 159512 w 2776174"/>
              <a:gd name="connsiteY985" fmla="*/ 571546 h 1883236"/>
              <a:gd name="connsiteX986" fmla="*/ 159165 w 2776174"/>
              <a:gd name="connsiteY986" fmla="*/ 562233 h 1883236"/>
              <a:gd name="connsiteX987" fmla="*/ 162404 w 2776174"/>
              <a:gd name="connsiteY987" fmla="*/ 543492 h 1883236"/>
              <a:gd name="connsiteX988" fmla="*/ 164081 w 2776174"/>
              <a:gd name="connsiteY988" fmla="*/ 539790 h 1883236"/>
              <a:gd name="connsiteX989" fmla="*/ 151414 w 2776174"/>
              <a:gd name="connsiteY989" fmla="*/ 514396 h 1883236"/>
              <a:gd name="connsiteX990" fmla="*/ 149563 w 2776174"/>
              <a:gd name="connsiteY990" fmla="*/ 513181 h 1883236"/>
              <a:gd name="connsiteX991" fmla="*/ 148521 w 2776174"/>
              <a:gd name="connsiteY991" fmla="*/ 516016 h 1883236"/>
              <a:gd name="connsiteX992" fmla="*/ 138283 w 2776174"/>
              <a:gd name="connsiteY992" fmla="*/ 526196 h 1883236"/>
              <a:gd name="connsiteX993" fmla="*/ 124516 w 2776174"/>
              <a:gd name="connsiteY993" fmla="*/ 530245 h 1883236"/>
              <a:gd name="connsiteX994" fmla="*/ 112947 w 2776174"/>
              <a:gd name="connsiteY994" fmla="*/ 533658 h 1883236"/>
              <a:gd name="connsiteX995" fmla="*/ 105543 w 2776174"/>
              <a:gd name="connsiteY995" fmla="*/ 530766 h 1883236"/>
              <a:gd name="connsiteX996" fmla="*/ 96404 w 2776174"/>
              <a:gd name="connsiteY996" fmla="*/ 520296 h 1883236"/>
              <a:gd name="connsiteX997" fmla="*/ 72225 w 2776174"/>
              <a:gd name="connsiteY997" fmla="*/ 498894 h 1883236"/>
              <a:gd name="connsiteX998" fmla="*/ 68176 w 2776174"/>
              <a:gd name="connsiteY998" fmla="*/ 496349 h 1883236"/>
              <a:gd name="connsiteX999" fmla="*/ 71473 w 2776174"/>
              <a:gd name="connsiteY999" fmla="*/ 487383 h 1883236"/>
              <a:gd name="connsiteX1000" fmla="*/ 72977 w 2776174"/>
              <a:gd name="connsiteY1000" fmla="*/ 472690 h 1883236"/>
              <a:gd name="connsiteX1001" fmla="*/ 64242 w 2776174"/>
              <a:gd name="connsiteY1001" fmla="*/ 469567 h 1883236"/>
              <a:gd name="connsiteX1002" fmla="*/ 47872 w 2776174"/>
              <a:gd name="connsiteY1002" fmla="*/ 456031 h 1883236"/>
              <a:gd name="connsiteX1003" fmla="*/ 42840 w 2776174"/>
              <a:gd name="connsiteY1003" fmla="*/ 444462 h 1883236"/>
              <a:gd name="connsiteX1004" fmla="*/ 47930 w 2776174"/>
              <a:gd name="connsiteY1004" fmla="*/ 442091 h 1883236"/>
              <a:gd name="connsiteX1005" fmla="*/ 61003 w 2776174"/>
              <a:gd name="connsiteY1005" fmla="*/ 430522 h 1883236"/>
              <a:gd name="connsiteX1006" fmla="*/ 81538 w 2776174"/>
              <a:gd name="connsiteY1006" fmla="*/ 414383 h 1883236"/>
              <a:gd name="connsiteX1007" fmla="*/ 88248 w 2776174"/>
              <a:gd name="connsiteY1007" fmla="*/ 410912 h 1883236"/>
              <a:gd name="connsiteX1008" fmla="*/ 88248 w 2776174"/>
              <a:gd name="connsiteY1008" fmla="*/ 408136 h 1883236"/>
              <a:gd name="connsiteX1009" fmla="*/ 91776 w 2776174"/>
              <a:gd name="connsiteY1009" fmla="*/ 384998 h 1883236"/>
              <a:gd name="connsiteX1010" fmla="*/ 100511 w 2776174"/>
              <a:gd name="connsiteY1010" fmla="*/ 381586 h 1883236"/>
              <a:gd name="connsiteX1011" fmla="*/ 117401 w 2776174"/>
              <a:gd name="connsiteY1011" fmla="*/ 388527 h 1883236"/>
              <a:gd name="connsiteX1012" fmla="*/ 128565 w 2776174"/>
              <a:gd name="connsiteY1012" fmla="*/ 393733 h 1883236"/>
              <a:gd name="connsiteX1013" fmla="*/ 134349 w 2776174"/>
              <a:gd name="connsiteY1013" fmla="*/ 391477 h 1883236"/>
              <a:gd name="connsiteX1014" fmla="*/ 142968 w 2776174"/>
              <a:gd name="connsiteY1014" fmla="*/ 376611 h 1883236"/>
              <a:gd name="connsiteX1015" fmla="*/ 149678 w 2776174"/>
              <a:gd name="connsiteY1015" fmla="*/ 368802 h 1883236"/>
              <a:gd name="connsiteX1016" fmla="*/ 155463 w 2776174"/>
              <a:gd name="connsiteY1016" fmla="*/ 369901 h 1883236"/>
              <a:gd name="connsiteX1017" fmla="*/ 167032 w 2776174"/>
              <a:gd name="connsiteY1017" fmla="*/ 371636 h 1883236"/>
              <a:gd name="connsiteX1018" fmla="*/ 182245 w 2776174"/>
              <a:gd name="connsiteY1018" fmla="*/ 366604 h 1883236"/>
              <a:gd name="connsiteX1019" fmla="*/ 188492 w 2776174"/>
              <a:gd name="connsiteY1019" fmla="*/ 355845 h 1883236"/>
              <a:gd name="connsiteX1020" fmla="*/ 179063 w 2776174"/>
              <a:gd name="connsiteY1020" fmla="*/ 331955 h 1883236"/>
              <a:gd name="connsiteX1021" fmla="*/ 177617 w 2776174"/>
              <a:gd name="connsiteY1021" fmla="*/ 328195 h 1883236"/>
              <a:gd name="connsiteX1022" fmla="*/ 183980 w 2776174"/>
              <a:gd name="connsiteY1022" fmla="*/ 323394 h 1883236"/>
              <a:gd name="connsiteX1023" fmla="*/ 190401 w 2776174"/>
              <a:gd name="connsiteY1023" fmla="*/ 318824 h 1883236"/>
              <a:gd name="connsiteX1024" fmla="*/ 186988 w 2776174"/>
              <a:gd name="connsiteY1024" fmla="*/ 313040 h 1883236"/>
              <a:gd name="connsiteX1025" fmla="*/ 177096 w 2776174"/>
              <a:gd name="connsiteY1025" fmla="*/ 309396 h 1883236"/>
              <a:gd name="connsiteX1026" fmla="*/ 140076 w 2776174"/>
              <a:gd name="connsiteY1026" fmla="*/ 329873 h 1883236"/>
              <a:gd name="connsiteX1027" fmla="*/ 133250 w 2776174"/>
              <a:gd name="connsiteY1027" fmla="*/ 333112 h 1883236"/>
              <a:gd name="connsiteX1028" fmla="*/ 124053 w 2776174"/>
              <a:gd name="connsiteY1028" fmla="*/ 330220 h 1883236"/>
              <a:gd name="connsiteX1029" fmla="*/ 114451 w 2776174"/>
              <a:gd name="connsiteY1029" fmla="*/ 327270 h 1883236"/>
              <a:gd name="connsiteX1030" fmla="*/ 103345 w 2776174"/>
              <a:gd name="connsiteY1030" fmla="*/ 328427 h 1883236"/>
              <a:gd name="connsiteX1031" fmla="*/ 76100 w 2776174"/>
              <a:gd name="connsiteY1031" fmla="*/ 330740 h 1883236"/>
              <a:gd name="connsiteX1032" fmla="*/ 55797 w 2776174"/>
              <a:gd name="connsiteY1032" fmla="*/ 327096 h 1883236"/>
              <a:gd name="connsiteX1033" fmla="*/ 42493 w 2776174"/>
              <a:gd name="connsiteY1033" fmla="*/ 314023 h 1883236"/>
              <a:gd name="connsiteX1034" fmla="*/ 35320 w 2776174"/>
              <a:gd name="connsiteY1034" fmla="*/ 307198 h 1883236"/>
              <a:gd name="connsiteX1035" fmla="*/ 32428 w 2776174"/>
              <a:gd name="connsiteY1035" fmla="*/ 304653 h 1883236"/>
              <a:gd name="connsiteX1036" fmla="*/ 38212 w 2776174"/>
              <a:gd name="connsiteY1036" fmla="*/ 298521 h 1883236"/>
              <a:gd name="connsiteX1037" fmla="*/ 42724 w 2776174"/>
              <a:gd name="connsiteY1037" fmla="*/ 294703 h 1883236"/>
              <a:gd name="connsiteX1038" fmla="*/ 42724 w 2776174"/>
              <a:gd name="connsiteY1038" fmla="*/ 294703 h 1883236"/>
              <a:gd name="connsiteX1039" fmla="*/ 40468 w 2776174"/>
              <a:gd name="connsiteY1039" fmla="*/ 293894 h 1883236"/>
              <a:gd name="connsiteX1040" fmla="*/ 37750 w 2776174"/>
              <a:gd name="connsiteY1040" fmla="*/ 293373 h 1883236"/>
              <a:gd name="connsiteX1041" fmla="*/ 324 w 2776174"/>
              <a:gd name="connsiteY1041" fmla="*/ 280184 h 1883236"/>
              <a:gd name="connsiteX1042" fmla="*/ 324 w 2776174"/>
              <a:gd name="connsiteY1042" fmla="*/ 276540 h 1883236"/>
              <a:gd name="connsiteX1043" fmla="*/ 21669 w 2776174"/>
              <a:gd name="connsiteY1043" fmla="*/ 262831 h 1883236"/>
              <a:gd name="connsiteX1044" fmla="*/ 37692 w 2776174"/>
              <a:gd name="connsiteY1044" fmla="*/ 254906 h 1883236"/>
              <a:gd name="connsiteX1045" fmla="*/ 46368 w 2776174"/>
              <a:gd name="connsiteY1045" fmla="*/ 252303 h 1883236"/>
              <a:gd name="connsiteX1046" fmla="*/ 55103 w 2776174"/>
              <a:gd name="connsiteY1046" fmla="*/ 254270 h 1883236"/>
              <a:gd name="connsiteX1047" fmla="*/ 58863 w 2776174"/>
              <a:gd name="connsiteY1047" fmla="*/ 255369 h 1883236"/>
              <a:gd name="connsiteX1048" fmla="*/ 60829 w 2776174"/>
              <a:gd name="connsiteY1048" fmla="*/ 253113 h 1883236"/>
              <a:gd name="connsiteX1049" fmla="*/ 61350 w 2776174"/>
              <a:gd name="connsiteY1049" fmla="*/ 248486 h 1883236"/>
              <a:gd name="connsiteX1050" fmla="*/ 75985 w 2776174"/>
              <a:gd name="connsiteY1050" fmla="*/ 236396 h 1883236"/>
              <a:gd name="connsiteX1051" fmla="*/ 76505 w 2776174"/>
              <a:gd name="connsiteY1051" fmla="*/ 236107 h 1883236"/>
              <a:gd name="connsiteX1052" fmla="*/ 100164 w 2776174"/>
              <a:gd name="connsiteY1052" fmla="*/ 228703 h 1883236"/>
              <a:gd name="connsiteX1053" fmla="*/ 110749 w 2776174"/>
              <a:gd name="connsiteY1053" fmla="*/ 232116 h 1883236"/>
              <a:gd name="connsiteX1054" fmla="*/ 112079 w 2776174"/>
              <a:gd name="connsiteY1054" fmla="*/ 235933 h 1883236"/>
              <a:gd name="connsiteX1055" fmla="*/ 109824 w 2776174"/>
              <a:gd name="connsiteY1055" fmla="*/ 243164 h 1883236"/>
              <a:gd name="connsiteX1056" fmla="*/ 107741 w 2776174"/>
              <a:gd name="connsiteY1056" fmla="*/ 252882 h 1883236"/>
              <a:gd name="connsiteX1057" fmla="*/ 110865 w 2776174"/>
              <a:gd name="connsiteY1057" fmla="*/ 253518 h 1883236"/>
              <a:gd name="connsiteX1058" fmla="*/ 116129 w 2776174"/>
              <a:gd name="connsiteY1058" fmla="*/ 252824 h 1883236"/>
              <a:gd name="connsiteX1059" fmla="*/ 134002 w 2776174"/>
              <a:gd name="connsiteY1059" fmla="*/ 251031 h 1883236"/>
              <a:gd name="connsiteX1060" fmla="*/ 147017 w 2776174"/>
              <a:gd name="connsiteY1060" fmla="*/ 255138 h 1883236"/>
              <a:gd name="connsiteX1061" fmla="*/ 151645 w 2776174"/>
              <a:gd name="connsiteY1061" fmla="*/ 257972 h 1883236"/>
              <a:gd name="connsiteX1062" fmla="*/ 168478 w 2776174"/>
              <a:gd name="connsiteY1062" fmla="*/ 248254 h 1883236"/>
              <a:gd name="connsiteX1063" fmla="*/ 191615 w 2776174"/>
              <a:gd name="connsiteY1063" fmla="*/ 243280 h 1883236"/>
              <a:gd name="connsiteX1064" fmla="*/ 200986 w 2776174"/>
              <a:gd name="connsiteY1064" fmla="*/ 241949 h 1883236"/>
              <a:gd name="connsiteX1065" fmla="*/ 200986 w 2776174"/>
              <a:gd name="connsiteY1065" fmla="*/ 240503 h 1883236"/>
              <a:gd name="connsiteX1066" fmla="*/ 192136 w 2776174"/>
              <a:gd name="connsiteY1066" fmla="*/ 236801 h 1883236"/>
              <a:gd name="connsiteX1067" fmla="*/ 188145 w 2776174"/>
              <a:gd name="connsiteY1067" fmla="*/ 236801 h 1883236"/>
              <a:gd name="connsiteX1068" fmla="*/ 183575 w 2776174"/>
              <a:gd name="connsiteY1068" fmla="*/ 236801 h 1883236"/>
              <a:gd name="connsiteX1069" fmla="*/ 172469 w 2776174"/>
              <a:gd name="connsiteY1069" fmla="*/ 234835 h 1883236"/>
              <a:gd name="connsiteX1070" fmla="*/ 167899 w 2776174"/>
              <a:gd name="connsiteY1070" fmla="*/ 221241 h 1883236"/>
              <a:gd name="connsiteX1071" fmla="*/ 163677 w 2776174"/>
              <a:gd name="connsiteY1071" fmla="*/ 211292 h 1883236"/>
              <a:gd name="connsiteX1072" fmla="*/ 159628 w 2776174"/>
              <a:gd name="connsiteY1072" fmla="*/ 211292 h 1883236"/>
              <a:gd name="connsiteX1073" fmla="*/ 144414 w 2776174"/>
              <a:gd name="connsiteY1073" fmla="*/ 212507 h 1883236"/>
              <a:gd name="connsiteX1074" fmla="*/ 128218 w 2776174"/>
              <a:gd name="connsiteY1074" fmla="*/ 213721 h 1883236"/>
              <a:gd name="connsiteX1075" fmla="*/ 116649 w 2776174"/>
              <a:gd name="connsiteY1075" fmla="*/ 209614 h 1883236"/>
              <a:gd name="connsiteX1076" fmla="*/ 72572 w 2776174"/>
              <a:gd name="connsiteY1076" fmla="*/ 163050 h 1883236"/>
              <a:gd name="connsiteX1077" fmla="*/ 40642 w 2776174"/>
              <a:gd name="connsiteY1077" fmla="*/ 147605 h 1883236"/>
              <a:gd name="connsiteX1078" fmla="*/ 41683 w 2776174"/>
              <a:gd name="connsiteY1078" fmla="*/ 141821 h 1883236"/>
              <a:gd name="connsiteX1079" fmla="*/ 43476 w 2776174"/>
              <a:gd name="connsiteY1079" fmla="*/ 133202 h 1883236"/>
              <a:gd name="connsiteX1080" fmla="*/ 45154 w 2776174"/>
              <a:gd name="connsiteY1080" fmla="*/ 125972 h 1883236"/>
              <a:gd name="connsiteX1081" fmla="*/ 49839 w 2776174"/>
              <a:gd name="connsiteY1081" fmla="*/ 124410 h 1883236"/>
              <a:gd name="connsiteX1082" fmla="*/ 54119 w 2776174"/>
              <a:gd name="connsiteY1082" fmla="*/ 124410 h 1883236"/>
              <a:gd name="connsiteX1083" fmla="*/ 65110 w 2776174"/>
              <a:gd name="connsiteY1083" fmla="*/ 124410 h 1883236"/>
              <a:gd name="connsiteX1084" fmla="*/ 118095 w 2776174"/>
              <a:gd name="connsiteY1084" fmla="*/ 110527 h 1883236"/>
              <a:gd name="connsiteX1085" fmla="*/ 127292 w 2776174"/>
              <a:gd name="connsiteY1085" fmla="*/ 89587 h 1883236"/>
              <a:gd name="connsiteX1086" fmla="*/ 129606 w 2776174"/>
              <a:gd name="connsiteY1086" fmla="*/ 81374 h 1883236"/>
              <a:gd name="connsiteX1087" fmla="*/ 132903 w 2776174"/>
              <a:gd name="connsiteY1087" fmla="*/ 78019 h 1883236"/>
              <a:gd name="connsiteX1088" fmla="*/ 161826 w 2776174"/>
              <a:gd name="connsiteY1088" fmla="*/ 54360 h 1883236"/>
              <a:gd name="connsiteX1089" fmla="*/ 162578 w 2776174"/>
              <a:gd name="connsiteY1089" fmla="*/ 54360 h 1883236"/>
              <a:gd name="connsiteX1090" fmla="*/ 172295 w 2776174"/>
              <a:gd name="connsiteY1090" fmla="*/ 54997 h 1883236"/>
              <a:gd name="connsiteX1091" fmla="*/ 201507 w 2776174"/>
              <a:gd name="connsiteY1091" fmla="*/ 47477 h 1883236"/>
              <a:gd name="connsiteX1092" fmla="*/ 206713 w 2776174"/>
              <a:gd name="connsiteY1092" fmla="*/ 44643 h 1883236"/>
              <a:gd name="connsiteX1093" fmla="*/ 213191 w 2776174"/>
              <a:gd name="connsiteY1093" fmla="*/ 48460 h 1883236"/>
              <a:gd name="connsiteX1094" fmla="*/ 218166 w 2776174"/>
              <a:gd name="connsiteY1094" fmla="*/ 51642 h 1883236"/>
              <a:gd name="connsiteX1095" fmla="*/ 221521 w 2776174"/>
              <a:gd name="connsiteY1095" fmla="*/ 49791 h 1883236"/>
              <a:gd name="connsiteX1096" fmla="*/ 223950 w 2776174"/>
              <a:gd name="connsiteY1096" fmla="*/ 45799 h 1883236"/>
              <a:gd name="connsiteX1097" fmla="*/ 220538 w 2776174"/>
              <a:gd name="connsiteY1097" fmla="*/ 42618 h 1883236"/>
              <a:gd name="connsiteX1098" fmla="*/ 215158 w 2776174"/>
              <a:gd name="connsiteY1098" fmla="*/ 36197 h 1883236"/>
              <a:gd name="connsiteX1099" fmla="*/ 216662 w 2776174"/>
              <a:gd name="connsiteY1099" fmla="*/ 31917 h 1883236"/>
              <a:gd name="connsiteX1100" fmla="*/ 235866 w 2776174"/>
              <a:gd name="connsiteY1100" fmla="*/ 26769 h 1883236"/>
              <a:gd name="connsiteX1101" fmla="*/ 241651 w 2776174"/>
              <a:gd name="connsiteY1101" fmla="*/ 26769 h 1883236"/>
              <a:gd name="connsiteX1102" fmla="*/ 253914 w 2776174"/>
              <a:gd name="connsiteY1102" fmla="*/ 27520 h 1883236"/>
              <a:gd name="connsiteX1103" fmla="*/ 283819 w 2776174"/>
              <a:gd name="connsiteY1103" fmla="*/ 17976 h 1883236"/>
              <a:gd name="connsiteX1104" fmla="*/ 311180 w 2776174"/>
              <a:gd name="connsiteY1104" fmla="*/ -129 h 1883236"/>
              <a:gd name="connsiteX1105" fmla="*/ 313378 w 2776174"/>
              <a:gd name="connsiteY1105" fmla="*/ 218 h 1883236"/>
              <a:gd name="connsiteX1106" fmla="*/ 317369 w 2776174"/>
              <a:gd name="connsiteY1106" fmla="*/ 1259 h 1883236"/>
              <a:gd name="connsiteX1107" fmla="*/ 335937 w 2776174"/>
              <a:gd name="connsiteY1107" fmla="*/ 11671 h 1883236"/>
              <a:gd name="connsiteX1108" fmla="*/ 328764 w 2776174"/>
              <a:gd name="connsiteY1108" fmla="*/ 18381 h 1883236"/>
              <a:gd name="connsiteX1109" fmla="*/ 324137 w 2776174"/>
              <a:gd name="connsiteY1109" fmla="*/ 21736 h 1883236"/>
              <a:gd name="connsiteX1110" fmla="*/ 324715 w 2776174"/>
              <a:gd name="connsiteY1110" fmla="*/ 22893 h 1883236"/>
              <a:gd name="connsiteX1111" fmla="*/ 332235 w 2776174"/>
              <a:gd name="connsiteY1111" fmla="*/ 25438 h 1883236"/>
              <a:gd name="connsiteX1112" fmla="*/ 344151 w 2776174"/>
              <a:gd name="connsiteY1112" fmla="*/ 19654 h 1883236"/>
              <a:gd name="connsiteX1113" fmla="*/ 355720 w 2776174"/>
              <a:gd name="connsiteY1113" fmla="*/ 12308 h 1883236"/>
              <a:gd name="connsiteX1114" fmla="*/ 359306 w 2776174"/>
              <a:gd name="connsiteY1114" fmla="*/ 13638 h 1883236"/>
              <a:gd name="connsiteX1115" fmla="*/ 360174 w 2776174"/>
              <a:gd name="connsiteY1115" fmla="*/ 16762 h 1883236"/>
              <a:gd name="connsiteX1116" fmla="*/ 362140 w 2776174"/>
              <a:gd name="connsiteY1116" fmla="*/ 23645 h 1883236"/>
              <a:gd name="connsiteX1117" fmla="*/ 372263 w 2776174"/>
              <a:gd name="connsiteY1117" fmla="*/ 26364 h 1883236"/>
              <a:gd name="connsiteX1118" fmla="*/ 381692 w 2776174"/>
              <a:gd name="connsiteY1118" fmla="*/ 24802 h 1883236"/>
              <a:gd name="connsiteX1119" fmla="*/ 406738 w 2776174"/>
              <a:gd name="connsiteY1119" fmla="*/ 21620 h 1883236"/>
              <a:gd name="connsiteX1120" fmla="*/ 420563 w 2776174"/>
              <a:gd name="connsiteY1120" fmla="*/ 26248 h 1883236"/>
              <a:gd name="connsiteX1121" fmla="*/ 423224 w 2776174"/>
              <a:gd name="connsiteY1121" fmla="*/ 36660 h 1883236"/>
              <a:gd name="connsiteX1122" fmla="*/ 423513 w 2776174"/>
              <a:gd name="connsiteY1122" fmla="*/ 39379 h 1883236"/>
              <a:gd name="connsiteX1123" fmla="*/ 428025 w 2776174"/>
              <a:gd name="connsiteY1123" fmla="*/ 39668 h 1883236"/>
              <a:gd name="connsiteX1124" fmla="*/ 438842 w 2776174"/>
              <a:gd name="connsiteY1124" fmla="*/ 44874 h 1883236"/>
              <a:gd name="connsiteX1125" fmla="*/ 445320 w 2776174"/>
              <a:gd name="connsiteY1125" fmla="*/ 47592 h 1883236"/>
              <a:gd name="connsiteX1126" fmla="*/ 493678 w 2776174"/>
              <a:gd name="connsiteY1126" fmla="*/ 40478 h 1883236"/>
              <a:gd name="connsiteX1127" fmla="*/ 515601 w 2776174"/>
              <a:gd name="connsiteY1127" fmla="*/ 42734 h 1883236"/>
              <a:gd name="connsiteX1128" fmla="*/ 541689 w 2776174"/>
              <a:gd name="connsiteY1128" fmla="*/ 52336 h 1883236"/>
              <a:gd name="connsiteX1129" fmla="*/ 567950 w 2776174"/>
              <a:gd name="connsiteY1129" fmla="*/ 60087 h 1883236"/>
              <a:gd name="connsiteX1130" fmla="*/ 573330 w 2776174"/>
              <a:gd name="connsiteY1130" fmla="*/ 59682 h 1883236"/>
              <a:gd name="connsiteX1131" fmla="*/ 586403 w 2776174"/>
              <a:gd name="connsiteY1131" fmla="*/ 58641 h 1883236"/>
              <a:gd name="connsiteX1132" fmla="*/ 617002 w 2776174"/>
              <a:gd name="connsiteY1132" fmla="*/ 65871 h 1883236"/>
              <a:gd name="connsiteX1133" fmla="*/ 632100 w 2776174"/>
              <a:gd name="connsiteY1133" fmla="*/ 68127 h 1883236"/>
              <a:gd name="connsiteX1134" fmla="*/ 667732 w 2776174"/>
              <a:gd name="connsiteY1134" fmla="*/ 63962 h 1883236"/>
              <a:gd name="connsiteX1135" fmla="*/ 672938 w 2776174"/>
              <a:gd name="connsiteY1135" fmla="*/ 63442 h 1883236"/>
              <a:gd name="connsiteX1136" fmla="*/ 716668 w 2776174"/>
              <a:gd name="connsiteY1136" fmla="*/ 76110 h 1883236"/>
              <a:gd name="connsiteX1137" fmla="*/ 725923 w 2776174"/>
              <a:gd name="connsiteY1137" fmla="*/ 79754 h 1883236"/>
              <a:gd name="connsiteX1138" fmla="*/ 738186 w 2776174"/>
              <a:gd name="connsiteY1138" fmla="*/ 82241 h 1883236"/>
              <a:gd name="connsiteX1139" fmla="*/ 739227 w 2776174"/>
              <a:gd name="connsiteY1139" fmla="*/ 83398 h 1883236"/>
              <a:gd name="connsiteX1140" fmla="*/ 739227 w 2776174"/>
              <a:gd name="connsiteY1140" fmla="*/ 501497 h 1883236"/>
              <a:gd name="connsiteX1141" fmla="*/ 748887 w 2776174"/>
              <a:gd name="connsiteY1141" fmla="*/ 505488 h 1883236"/>
              <a:gd name="connsiteX1142" fmla="*/ 751722 w 2776174"/>
              <a:gd name="connsiteY1142" fmla="*/ 504331 h 1883236"/>
              <a:gd name="connsiteX1143" fmla="*/ 757853 w 2776174"/>
              <a:gd name="connsiteY1143" fmla="*/ 501959 h 1883236"/>
              <a:gd name="connsiteX1144" fmla="*/ 760514 w 2776174"/>
              <a:gd name="connsiteY1144" fmla="*/ 501959 h 1883236"/>
              <a:gd name="connsiteX1145" fmla="*/ 764042 w 2776174"/>
              <a:gd name="connsiteY1145" fmla="*/ 501959 h 1883236"/>
              <a:gd name="connsiteX1146" fmla="*/ 777173 w 2776174"/>
              <a:gd name="connsiteY1146" fmla="*/ 498951 h 1883236"/>
              <a:gd name="connsiteX1147" fmla="*/ 784346 w 2776174"/>
              <a:gd name="connsiteY1147" fmla="*/ 497158 h 1883236"/>
              <a:gd name="connsiteX1148" fmla="*/ 797361 w 2776174"/>
              <a:gd name="connsiteY1148" fmla="*/ 513702 h 1883236"/>
              <a:gd name="connsiteX1149" fmla="*/ 809797 w 2776174"/>
              <a:gd name="connsiteY1149" fmla="*/ 526775 h 1883236"/>
              <a:gd name="connsiteX1150" fmla="*/ 824548 w 2776174"/>
              <a:gd name="connsiteY1150" fmla="*/ 540484 h 1883236"/>
              <a:gd name="connsiteX1151" fmla="*/ 828134 w 2776174"/>
              <a:gd name="connsiteY1151" fmla="*/ 545285 h 1883236"/>
              <a:gd name="connsiteX1152" fmla="*/ 839703 w 2776174"/>
              <a:gd name="connsiteY1152" fmla="*/ 555523 h 1883236"/>
              <a:gd name="connsiteX1153" fmla="*/ 844272 w 2776174"/>
              <a:gd name="connsiteY1153" fmla="*/ 553904 h 1883236"/>
              <a:gd name="connsiteX1154" fmla="*/ 853065 w 2776174"/>
              <a:gd name="connsiteY1154" fmla="*/ 549450 h 1883236"/>
              <a:gd name="connsiteX1155" fmla="*/ 868740 w 2776174"/>
              <a:gd name="connsiteY1155" fmla="*/ 535509 h 1883236"/>
              <a:gd name="connsiteX1156" fmla="*/ 888465 w 2776174"/>
              <a:gd name="connsiteY1156" fmla="*/ 526080 h 1883236"/>
              <a:gd name="connsiteX1157" fmla="*/ 908190 w 2776174"/>
              <a:gd name="connsiteY1157" fmla="*/ 537129 h 1883236"/>
              <a:gd name="connsiteX1158" fmla="*/ 926411 w 2776174"/>
              <a:gd name="connsiteY1158" fmla="*/ 558473 h 1883236"/>
              <a:gd name="connsiteX1159" fmla="*/ 966902 w 2776174"/>
              <a:gd name="connsiteY1159" fmla="*/ 603592 h 1883236"/>
              <a:gd name="connsiteX1160" fmla="*/ 978471 w 2776174"/>
              <a:gd name="connsiteY1160" fmla="*/ 625052 h 1883236"/>
              <a:gd name="connsiteX1161" fmla="*/ 1014971 w 2776174"/>
              <a:gd name="connsiteY1161" fmla="*/ 660453 h 1883236"/>
              <a:gd name="connsiteX1162" fmla="*/ 1041464 w 2776174"/>
              <a:gd name="connsiteY1162" fmla="*/ 690995 h 1883236"/>
              <a:gd name="connsiteX1163" fmla="*/ 1046265 w 2776174"/>
              <a:gd name="connsiteY1163" fmla="*/ 701754 h 1883236"/>
              <a:gd name="connsiteX1164" fmla="*/ 1051239 w 2776174"/>
              <a:gd name="connsiteY1164" fmla="*/ 710546 h 1883236"/>
              <a:gd name="connsiteX1165" fmla="*/ 1046727 w 2776174"/>
              <a:gd name="connsiteY1165" fmla="*/ 716330 h 1883236"/>
              <a:gd name="connsiteX1166" fmla="*/ 1028102 w 2776174"/>
              <a:gd name="connsiteY1166" fmla="*/ 729461 h 1883236"/>
              <a:gd name="connsiteX1167" fmla="*/ 1028854 w 2776174"/>
              <a:gd name="connsiteY1167" fmla="*/ 731254 h 1883236"/>
              <a:gd name="connsiteX1168" fmla="*/ 1027060 w 2776174"/>
              <a:gd name="connsiteY1168" fmla="*/ 732006 h 1883236"/>
              <a:gd name="connsiteX1169" fmla="*/ 1025846 w 2776174"/>
              <a:gd name="connsiteY1169" fmla="*/ 724197 h 1883236"/>
              <a:gd name="connsiteX1170" fmla="*/ 1027697 w 2776174"/>
              <a:gd name="connsiteY1170" fmla="*/ 725007 h 1883236"/>
              <a:gd name="connsiteX1171" fmla="*/ 1028217 w 2776174"/>
              <a:gd name="connsiteY1171" fmla="*/ 727957 h 1883236"/>
              <a:gd name="connsiteX1172" fmla="*/ 1028217 w 2776174"/>
              <a:gd name="connsiteY1172" fmla="*/ 728651 h 1883236"/>
              <a:gd name="connsiteX1173" fmla="*/ 1045166 w 2776174"/>
              <a:gd name="connsiteY1173" fmla="*/ 716735 h 1883236"/>
              <a:gd name="connsiteX1174" fmla="*/ 1048694 w 2776174"/>
              <a:gd name="connsiteY1174" fmla="*/ 712339 h 1883236"/>
              <a:gd name="connsiteX1175" fmla="*/ 1044356 w 2776174"/>
              <a:gd name="connsiteY1175" fmla="*/ 705282 h 1883236"/>
              <a:gd name="connsiteX1176" fmla="*/ 1039092 w 2776174"/>
              <a:gd name="connsiteY1176" fmla="*/ 692209 h 1883236"/>
              <a:gd name="connsiteX1177" fmla="*/ 1013872 w 2776174"/>
              <a:gd name="connsiteY1177" fmla="*/ 664618 h 1883236"/>
              <a:gd name="connsiteX1178" fmla="*/ 976157 w 2776174"/>
              <a:gd name="connsiteY1178" fmla="*/ 628060 h 1883236"/>
              <a:gd name="connsiteX1179" fmla="*/ 964589 w 2776174"/>
              <a:gd name="connsiteY1179" fmla="*/ 606715 h 1883236"/>
              <a:gd name="connsiteX1180" fmla="*/ 924502 w 2776174"/>
              <a:gd name="connsiteY1180" fmla="*/ 562233 h 1883236"/>
              <a:gd name="connsiteX1181" fmla="*/ 905472 w 2776174"/>
              <a:gd name="connsiteY1181" fmla="*/ 539095 h 1883236"/>
              <a:gd name="connsiteX1182" fmla="*/ 888118 w 2776174"/>
              <a:gd name="connsiteY1182" fmla="*/ 530361 h 1883236"/>
              <a:gd name="connsiteX1183" fmla="*/ 870765 w 2776174"/>
              <a:gd name="connsiteY1183" fmla="*/ 537476 h 1883236"/>
              <a:gd name="connsiteX1184" fmla="*/ 853759 w 2776174"/>
              <a:gd name="connsiteY1184" fmla="*/ 553499 h 1883236"/>
              <a:gd name="connsiteX1185" fmla="*/ 845256 w 2776174"/>
              <a:gd name="connsiteY1185" fmla="*/ 557779 h 1883236"/>
              <a:gd name="connsiteX1186" fmla="*/ 839471 w 2776174"/>
              <a:gd name="connsiteY1186" fmla="*/ 559746 h 1883236"/>
              <a:gd name="connsiteX1187" fmla="*/ 826225 w 2776174"/>
              <a:gd name="connsiteY1187" fmla="*/ 548582 h 1883236"/>
              <a:gd name="connsiteX1188" fmla="*/ 822754 w 2776174"/>
              <a:gd name="connsiteY1188" fmla="*/ 543839 h 1883236"/>
              <a:gd name="connsiteX1189" fmla="*/ 808293 w 2776174"/>
              <a:gd name="connsiteY1189" fmla="*/ 530477 h 1883236"/>
              <a:gd name="connsiteX1190" fmla="*/ 795047 w 2776174"/>
              <a:gd name="connsiteY1190" fmla="*/ 515669 h 1883236"/>
              <a:gd name="connsiteX1191" fmla="*/ 784288 w 2776174"/>
              <a:gd name="connsiteY1191" fmla="*/ 501381 h 1883236"/>
              <a:gd name="connsiteX1192" fmla="*/ 778099 w 2776174"/>
              <a:gd name="connsiteY1192" fmla="*/ 502943 h 1883236"/>
              <a:gd name="connsiteX1193" fmla="*/ 763985 w 2776174"/>
              <a:gd name="connsiteY1193" fmla="*/ 506182 h 1883236"/>
              <a:gd name="connsiteX1194" fmla="*/ 760340 w 2776174"/>
              <a:gd name="connsiteY1194" fmla="*/ 506182 h 1883236"/>
              <a:gd name="connsiteX1195" fmla="*/ 757795 w 2776174"/>
              <a:gd name="connsiteY1195" fmla="*/ 506182 h 1883236"/>
              <a:gd name="connsiteX1196" fmla="*/ 753399 w 2776174"/>
              <a:gd name="connsiteY1196" fmla="*/ 507744 h 1883236"/>
              <a:gd name="connsiteX1197" fmla="*/ 748829 w 2776174"/>
              <a:gd name="connsiteY1197" fmla="*/ 509711 h 1883236"/>
              <a:gd name="connsiteX1198" fmla="*/ 737261 w 2776174"/>
              <a:gd name="connsiteY1198" fmla="*/ 504909 h 1883236"/>
              <a:gd name="connsiteX1199" fmla="*/ 736798 w 2776174"/>
              <a:gd name="connsiteY1199" fmla="*/ 504042 h 1883236"/>
              <a:gd name="connsiteX1200" fmla="*/ 736798 w 2776174"/>
              <a:gd name="connsiteY1200" fmla="*/ 86522 h 1883236"/>
              <a:gd name="connsiteX1201" fmla="*/ 725229 w 2776174"/>
              <a:gd name="connsiteY1201" fmla="*/ 84034 h 1883236"/>
              <a:gd name="connsiteX1202" fmla="*/ 715916 w 2776174"/>
              <a:gd name="connsiteY1202" fmla="*/ 80332 h 1883236"/>
              <a:gd name="connsiteX1203" fmla="*/ 672996 w 2776174"/>
              <a:gd name="connsiteY1203" fmla="*/ 67838 h 1883236"/>
              <a:gd name="connsiteX1204" fmla="*/ 668310 w 2776174"/>
              <a:gd name="connsiteY1204" fmla="*/ 68301 h 1883236"/>
              <a:gd name="connsiteX1205" fmla="*/ 632157 w 2776174"/>
              <a:gd name="connsiteY1205" fmla="*/ 72523 h 1883236"/>
              <a:gd name="connsiteX1206" fmla="*/ 616077 w 2776174"/>
              <a:gd name="connsiteY1206" fmla="*/ 70036 h 1883236"/>
              <a:gd name="connsiteX1207" fmla="*/ 586460 w 2776174"/>
              <a:gd name="connsiteY1207" fmla="*/ 63037 h 1883236"/>
              <a:gd name="connsiteX1208" fmla="*/ 573735 w 2776174"/>
              <a:gd name="connsiteY1208" fmla="*/ 64078 h 1883236"/>
              <a:gd name="connsiteX1209" fmla="*/ 567950 w 2776174"/>
              <a:gd name="connsiteY1209" fmla="*/ 64483 h 1883236"/>
              <a:gd name="connsiteX1210" fmla="*/ 540764 w 2776174"/>
              <a:gd name="connsiteY1210" fmla="*/ 56558 h 1883236"/>
              <a:gd name="connsiteX1211" fmla="*/ 515081 w 2776174"/>
              <a:gd name="connsiteY1211" fmla="*/ 47072 h 1883236"/>
              <a:gd name="connsiteX1212" fmla="*/ 493678 w 2776174"/>
              <a:gd name="connsiteY1212" fmla="*/ 44874 h 1883236"/>
              <a:gd name="connsiteX1213" fmla="*/ 446072 w 2776174"/>
              <a:gd name="connsiteY1213" fmla="*/ 51873 h 1883236"/>
              <a:gd name="connsiteX1214" fmla="*/ 437049 w 2776174"/>
              <a:gd name="connsiteY1214" fmla="*/ 48460 h 1883236"/>
              <a:gd name="connsiteX1215" fmla="*/ 428256 w 2776174"/>
              <a:gd name="connsiteY1215" fmla="*/ 44064 h 1883236"/>
              <a:gd name="connsiteX1216" fmla="*/ 421893 w 2776174"/>
              <a:gd name="connsiteY1216" fmla="*/ 43081 h 1883236"/>
              <a:gd name="connsiteX1217" fmla="*/ 420968 w 2776174"/>
              <a:gd name="connsiteY1217" fmla="*/ 38742 h 1883236"/>
              <a:gd name="connsiteX1218" fmla="*/ 418712 w 2776174"/>
              <a:gd name="connsiteY1218" fmla="*/ 29661 h 1883236"/>
              <a:gd name="connsiteX1219" fmla="*/ 406738 w 2776174"/>
              <a:gd name="connsiteY1219" fmla="*/ 25959 h 1883236"/>
              <a:gd name="connsiteX1220" fmla="*/ 382097 w 2776174"/>
              <a:gd name="connsiteY1220" fmla="*/ 29140 h 1883236"/>
              <a:gd name="connsiteX1221" fmla="*/ 372494 w 2776174"/>
              <a:gd name="connsiteY1221" fmla="*/ 30760 h 1883236"/>
              <a:gd name="connsiteX1222" fmla="*/ 369891 w 2776174"/>
              <a:gd name="connsiteY1222" fmla="*/ 30760 h 1883236"/>
              <a:gd name="connsiteX1223" fmla="*/ 360463 w 2776174"/>
              <a:gd name="connsiteY1223" fmla="*/ 27173 h 1883236"/>
              <a:gd name="connsiteX1224" fmla="*/ 357976 w 2776174"/>
              <a:gd name="connsiteY1224" fmla="*/ 18497 h 1883236"/>
              <a:gd name="connsiteX1225" fmla="*/ 357628 w 2776174"/>
              <a:gd name="connsiteY1225" fmla="*/ 17166 h 1883236"/>
              <a:gd name="connsiteX1226" fmla="*/ 355720 w 2776174"/>
              <a:gd name="connsiteY1226" fmla="*/ 16588 h 1883236"/>
              <a:gd name="connsiteX1227" fmla="*/ 346117 w 2776174"/>
              <a:gd name="connsiteY1227" fmla="*/ 22835 h 1883236"/>
              <a:gd name="connsiteX1228" fmla="*/ 332235 w 2776174"/>
              <a:gd name="connsiteY1228" fmla="*/ 29892 h 1883236"/>
              <a:gd name="connsiteX1229" fmla="*/ 323153 w 2776174"/>
              <a:gd name="connsiteY1229" fmla="*/ 26711 h 1883236"/>
              <a:gd name="connsiteX1230" fmla="*/ 321881 w 2776174"/>
              <a:gd name="connsiteY1230" fmla="*/ 23587 h 1883236"/>
              <a:gd name="connsiteX1231" fmla="*/ 327665 w 2776174"/>
              <a:gd name="connsiteY1231" fmla="*/ 18555 h 1883236"/>
              <a:gd name="connsiteX1232" fmla="*/ 333450 w 2776174"/>
              <a:gd name="connsiteY1232" fmla="*/ 13638 h 1883236"/>
              <a:gd name="connsiteX1233" fmla="*/ 316559 w 2776174"/>
              <a:gd name="connsiteY1233" fmla="*/ 5655 h 1883236"/>
              <a:gd name="connsiteX1234" fmla="*/ 312452 w 2776174"/>
              <a:gd name="connsiteY1234" fmla="*/ 4556 h 1883236"/>
              <a:gd name="connsiteX1235" fmla="*/ 285092 w 2776174"/>
              <a:gd name="connsiteY1235" fmla="*/ 21910 h 1883236"/>
              <a:gd name="connsiteX1236" fmla="*/ 253682 w 2776174"/>
              <a:gd name="connsiteY1236" fmla="*/ 32032 h 1883236"/>
              <a:gd name="connsiteX1237" fmla="*/ 241188 w 2776174"/>
              <a:gd name="connsiteY1237" fmla="*/ 31280 h 1883236"/>
              <a:gd name="connsiteX1238" fmla="*/ 235403 w 2776174"/>
              <a:gd name="connsiteY1238" fmla="*/ 30991 h 1883236"/>
              <a:gd name="connsiteX1239" fmla="*/ 218050 w 2776174"/>
              <a:gd name="connsiteY1239" fmla="*/ 35387 h 1883236"/>
              <a:gd name="connsiteX1240" fmla="*/ 217125 w 2776174"/>
              <a:gd name="connsiteY1240" fmla="*/ 37990 h 1883236"/>
              <a:gd name="connsiteX1241" fmla="*/ 221463 w 2776174"/>
              <a:gd name="connsiteY1241" fmla="*/ 42676 h 1883236"/>
              <a:gd name="connsiteX1242" fmla="*/ 225859 w 2776174"/>
              <a:gd name="connsiteY1242" fmla="*/ 47535 h 1883236"/>
              <a:gd name="connsiteX1243" fmla="*/ 222851 w 2776174"/>
              <a:gd name="connsiteY1243" fmla="*/ 53319 h 1883236"/>
              <a:gd name="connsiteX1244" fmla="*/ 217877 w 2776174"/>
              <a:gd name="connsiteY1244" fmla="*/ 55806 h 1883236"/>
              <a:gd name="connsiteX1245" fmla="*/ 211340 w 2776174"/>
              <a:gd name="connsiteY1245" fmla="*/ 51989 h 1883236"/>
              <a:gd name="connsiteX1246" fmla="*/ 206424 w 2776174"/>
              <a:gd name="connsiteY1246" fmla="*/ 48807 h 1883236"/>
              <a:gd name="connsiteX1247" fmla="*/ 202895 w 2776174"/>
              <a:gd name="connsiteY1247" fmla="*/ 50890 h 1883236"/>
              <a:gd name="connsiteX1248" fmla="*/ 172006 w 2776174"/>
              <a:gd name="connsiteY1248" fmla="*/ 59161 h 1883236"/>
              <a:gd name="connsiteX1249" fmla="*/ 161883 w 2776174"/>
              <a:gd name="connsiteY1249" fmla="*/ 58467 h 1883236"/>
              <a:gd name="connsiteX1250" fmla="*/ 161536 w 2776174"/>
              <a:gd name="connsiteY1250" fmla="*/ 58467 h 1883236"/>
              <a:gd name="connsiteX1251" fmla="*/ 134060 w 2776174"/>
              <a:gd name="connsiteY1251" fmla="*/ 81605 h 1883236"/>
              <a:gd name="connsiteX1252" fmla="*/ 130763 w 2776174"/>
              <a:gd name="connsiteY1252" fmla="*/ 85018 h 1883236"/>
              <a:gd name="connsiteX1253" fmla="*/ 129086 w 2776174"/>
              <a:gd name="connsiteY1253" fmla="*/ 91439 h 1883236"/>
              <a:gd name="connsiteX1254" fmla="*/ 119310 w 2776174"/>
              <a:gd name="connsiteY1254" fmla="*/ 114056 h 1883236"/>
              <a:gd name="connsiteX1255" fmla="*/ 64647 w 2776174"/>
              <a:gd name="connsiteY1255" fmla="*/ 128690 h 1883236"/>
              <a:gd name="connsiteX1256" fmla="*/ 53599 w 2776174"/>
              <a:gd name="connsiteY1256" fmla="*/ 128690 h 1883236"/>
              <a:gd name="connsiteX1257" fmla="*/ 46311 w 2776174"/>
              <a:gd name="connsiteY1257" fmla="*/ 129500 h 1883236"/>
              <a:gd name="connsiteX1258" fmla="*/ 45269 w 2776174"/>
              <a:gd name="connsiteY1258" fmla="*/ 135284 h 1883236"/>
              <a:gd name="connsiteX1259" fmla="*/ 43013 w 2776174"/>
              <a:gd name="connsiteY1259" fmla="*/ 145292 h 1883236"/>
              <a:gd name="connsiteX1260" fmla="*/ 42261 w 2776174"/>
              <a:gd name="connsiteY1260" fmla="*/ 148820 h 1883236"/>
              <a:gd name="connsiteX1261" fmla="*/ 72688 w 2776174"/>
              <a:gd name="connsiteY1261" fmla="*/ 162876 h 1883236"/>
              <a:gd name="connsiteX1262" fmla="*/ 118269 w 2776174"/>
              <a:gd name="connsiteY1262" fmla="*/ 210829 h 1883236"/>
              <a:gd name="connsiteX1263" fmla="*/ 127640 w 2776174"/>
              <a:gd name="connsiteY1263" fmla="*/ 213490 h 1883236"/>
              <a:gd name="connsiteX1264" fmla="*/ 143605 w 2776174"/>
              <a:gd name="connsiteY1264" fmla="*/ 212275 h 1883236"/>
              <a:gd name="connsiteX1265" fmla="*/ 159049 w 2776174"/>
              <a:gd name="connsiteY1265" fmla="*/ 211060 h 1883236"/>
              <a:gd name="connsiteX1266" fmla="*/ 163445 w 2776174"/>
              <a:gd name="connsiteY1266" fmla="*/ 211350 h 1883236"/>
              <a:gd name="connsiteX1267" fmla="*/ 169577 w 2776174"/>
              <a:gd name="connsiteY1267" fmla="*/ 223728 h 1883236"/>
              <a:gd name="connsiteX1268" fmla="*/ 172874 w 2776174"/>
              <a:gd name="connsiteY1268" fmla="*/ 235297 h 1883236"/>
              <a:gd name="connsiteX1269" fmla="*/ 182997 w 2776174"/>
              <a:gd name="connsiteY1269" fmla="*/ 237033 h 1883236"/>
              <a:gd name="connsiteX1270" fmla="*/ 187451 w 2776174"/>
              <a:gd name="connsiteY1270" fmla="*/ 237033 h 1883236"/>
              <a:gd name="connsiteX1271" fmla="*/ 191557 w 2776174"/>
              <a:gd name="connsiteY1271" fmla="*/ 237033 h 1883236"/>
              <a:gd name="connsiteX1272" fmla="*/ 202490 w 2776174"/>
              <a:gd name="connsiteY1272" fmla="*/ 242181 h 1883236"/>
              <a:gd name="connsiteX1273" fmla="*/ 202490 w 2776174"/>
              <a:gd name="connsiteY1273" fmla="*/ 245767 h 1883236"/>
              <a:gd name="connsiteX1274" fmla="*/ 190921 w 2776174"/>
              <a:gd name="connsiteY1274" fmla="*/ 248023 h 1883236"/>
              <a:gd name="connsiteX1275" fmla="*/ 169287 w 2776174"/>
              <a:gd name="connsiteY1275" fmla="*/ 252593 h 1883236"/>
              <a:gd name="connsiteX1276" fmla="*/ 151124 w 2776174"/>
              <a:gd name="connsiteY1276" fmla="*/ 262715 h 1883236"/>
              <a:gd name="connsiteX1277" fmla="*/ 144704 w 2776174"/>
              <a:gd name="connsiteY1277" fmla="*/ 259013 h 1883236"/>
              <a:gd name="connsiteX1278" fmla="*/ 133482 w 2776174"/>
              <a:gd name="connsiteY1278" fmla="*/ 255774 h 1883236"/>
              <a:gd name="connsiteX1279" fmla="*/ 116129 w 2776174"/>
              <a:gd name="connsiteY1279" fmla="*/ 257509 h 1883236"/>
              <a:gd name="connsiteX1280" fmla="*/ 110749 w 2776174"/>
              <a:gd name="connsiteY1280" fmla="*/ 258261 h 1883236"/>
              <a:gd name="connsiteX1281" fmla="*/ 105485 w 2776174"/>
              <a:gd name="connsiteY1281" fmla="*/ 256642 h 1883236"/>
              <a:gd name="connsiteX1282" fmla="*/ 107394 w 2776174"/>
              <a:gd name="connsiteY1282" fmla="*/ 245073 h 1883236"/>
              <a:gd name="connsiteX1283" fmla="*/ 109534 w 2776174"/>
              <a:gd name="connsiteY1283" fmla="*/ 238479 h 1883236"/>
              <a:gd name="connsiteX1284" fmla="*/ 108725 w 2776174"/>
              <a:gd name="connsiteY1284" fmla="*/ 236338 h 1883236"/>
              <a:gd name="connsiteX1285" fmla="*/ 99816 w 2776174"/>
              <a:gd name="connsiteY1285" fmla="*/ 233678 h 1883236"/>
              <a:gd name="connsiteX1286" fmla="*/ 77257 w 2776174"/>
              <a:gd name="connsiteY1286" fmla="*/ 240735 h 1883236"/>
              <a:gd name="connsiteX1287" fmla="*/ 76794 w 2776174"/>
              <a:gd name="connsiteY1287" fmla="*/ 240735 h 1883236"/>
              <a:gd name="connsiteX1288" fmla="*/ 63259 w 2776174"/>
              <a:gd name="connsiteY1288" fmla="*/ 250799 h 1883236"/>
              <a:gd name="connsiteX1289" fmla="*/ 62680 w 2776174"/>
              <a:gd name="connsiteY1289" fmla="*/ 256121 h 1883236"/>
              <a:gd name="connsiteX1290" fmla="*/ 58516 w 2776174"/>
              <a:gd name="connsiteY1290" fmla="*/ 260055 h 1883236"/>
              <a:gd name="connsiteX1291" fmla="*/ 53946 w 2776174"/>
              <a:gd name="connsiteY1291" fmla="*/ 258840 h 1883236"/>
              <a:gd name="connsiteX1292" fmla="*/ 46021 w 2776174"/>
              <a:gd name="connsiteY1292" fmla="*/ 256931 h 1883236"/>
              <a:gd name="connsiteX1293" fmla="*/ 38559 w 2776174"/>
              <a:gd name="connsiteY1293" fmla="*/ 259245 h 1883236"/>
              <a:gd name="connsiteX1294" fmla="*/ 22189 w 2776174"/>
              <a:gd name="connsiteY1294" fmla="*/ 267343 h 1883236"/>
              <a:gd name="connsiteX1295" fmla="*/ 2002 w 2776174"/>
              <a:gd name="connsiteY1295" fmla="*/ 279953 h 1883236"/>
              <a:gd name="connsiteX1296" fmla="*/ 2002 w 2776174"/>
              <a:gd name="connsiteY1296" fmla="*/ 281631 h 1883236"/>
              <a:gd name="connsiteX1297" fmla="*/ 37865 w 2776174"/>
              <a:gd name="connsiteY1297" fmla="*/ 293604 h 1883236"/>
              <a:gd name="connsiteX1298" fmla="*/ 40526 w 2776174"/>
              <a:gd name="connsiteY1298" fmla="*/ 294125 h 1883236"/>
              <a:gd name="connsiteX1299" fmla="*/ 44633 w 2776174"/>
              <a:gd name="connsiteY1299" fmla="*/ 296728 h 1883236"/>
              <a:gd name="connsiteX1300" fmla="*/ 38849 w 2776174"/>
              <a:gd name="connsiteY1300" fmla="*/ 302802 h 1883236"/>
              <a:gd name="connsiteX1301" fmla="*/ 34163 w 2776174"/>
              <a:gd name="connsiteY1301" fmla="*/ 306735 h 1883236"/>
              <a:gd name="connsiteX1302" fmla="*/ 34163 w 2776174"/>
              <a:gd name="connsiteY1302" fmla="*/ 306735 h 1883236"/>
              <a:gd name="connsiteX1303" fmla="*/ 35551 w 2776174"/>
              <a:gd name="connsiteY1303" fmla="*/ 307429 h 1883236"/>
              <a:gd name="connsiteX1304" fmla="*/ 44055 w 2776174"/>
              <a:gd name="connsiteY1304" fmla="*/ 315412 h 1883236"/>
              <a:gd name="connsiteX1305" fmla="*/ 56375 w 2776174"/>
              <a:gd name="connsiteY1305" fmla="*/ 327559 h 1883236"/>
              <a:gd name="connsiteX1306" fmla="*/ 75638 w 2776174"/>
              <a:gd name="connsiteY1306" fmla="*/ 330914 h 1883236"/>
              <a:gd name="connsiteX1307" fmla="*/ 102593 w 2776174"/>
              <a:gd name="connsiteY1307" fmla="*/ 328600 h 1883236"/>
              <a:gd name="connsiteX1308" fmla="*/ 114162 w 2776174"/>
              <a:gd name="connsiteY1308" fmla="*/ 327443 h 1883236"/>
              <a:gd name="connsiteX1309" fmla="*/ 124690 w 2776174"/>
              <a:gd name="connsiteY1309" fmla="*/ 330625 h 1883236"/>
              <a:gd name="connsiteX1310" fmla="*/ 132961 w 2776174"/>
              <a:gd name="connsiteY1310" fmla="*/ 333286 h 1883236"/>
              <a:gd name="connsiteX1311" fmla="*/ 138167 w 2776174"/>
              <a:gd name="connsiteY1311" fmla="*/ 330798 h 1883236"/>
              <a:gd name="connsiteX1312" fmla="*/ 176807 w 2776174"/>
              <a:gd name="connsiteY1312" fmla="*/ 309569 h 1883236"/>
              <a:gd name="connsiteX1313" fmla="*/ 188376 w 2776174"/>
              <a:gd name="connsiteY1313" fmla="*/ 313792 h 1883236"/>
              <a:gd name="connsiteX1314" fmla="*/ 192541 w 2776174"/>
              <a:gd name="connsiteY1314" fmla="*/ 321370 h 1883236"/>
              <a:gd name="connsiteX1315" fmla="*/ 184790 w 2776174"/>
              <a:gd name="connsiteY1315" fmla="*/ 327675 h 1883236"/>
              <a:gd name="connsiteX1316" fmla="*/ 179699 w 2776174"/>
              <a:gd name="connsiteY1316" fmla="*/ 330856 h 1883236"/>
              <a:gd name="connsiteX1317" fmla="*/ 180567 w 2776174"/>
              <a:gd name="connsiteY1317" fmla="*/ 332591 h 1883236"/>
              <a:gd name="connsiteX1318" fmla="*/ 190632 w 2776174"/>
              <a:gd name="connsiteY1318" fmla="*/ 358274 h 1883236"/>
              <a:gd name="connsiteX1319" fmla="*/ 183459 w 2776174"/>
              <a:gd name="connsiteY1319" fmla="*/ 370653 h 1883236"/>
              <a:gd name="connsiteX1320" fmla="*/ 166916 w 2776174"/>
              <a:gd name="connsiteY1320" fmla="*/ 376090 h 1883236"/>
              <a:gd name="connsiteX1321" fmla="*/ 154884 w 2776174"/>
              <a:gd name="connsiteY1321" fmla="*/ 374297 h 1883236"/>
              <a:gd name="connsiteX1322" fmla="*/ 149100 w 2776174"/>
              <a:gd name="connsiteY1322" fmla="*/ 373256 h 1883236"/>
              <a:gd name="connsiteX1323" fmla="*/ 148753 w 2776174"/>
              <a:gd name="connsiteY1323" fmla="*/ 373256 h 1883236"/>
              <a:gd name="connsiteX1324" fmla="*/ 144761 w 2776174"/>
              <a:gd name="connsiteY1324" fmla="*/ 379387 h 1883236"/>
              <a:gd name="connsiteX1325" fmla="*/ 135333 w 2776174"/>
              <a:gd name="connsiteY1325" fmla="*/ 395468 h 1883236"/>
              <a:gd name="connsiteX1326" fmla="*/ 128160 w 2776174"/>
              <a:gd name="connsiteY1326" fmla="*/ 398187 h 1883236"/>
              <a:gd name="connsiteX1327" fmla="*/ 115724 w 2776174"/>
              <a:gd name="connsiteY1327" fmla="*/ 392402 h 1883236"/>
              <a:gd name="connsiteX1328" fmla="*/ 100106 w 2776174"/>
              <a:gd name="connsiteY1328" fmla="*/ 385808 h 1883236"/>
              <a:gd name="connsiteX1329" fmla="*/ 92991 w 2776174"/>
              <a:gd name="connsiteY1329" fmla="*/ 388469 h 1883236"/>
              <a:gd name="connsiteX1330" fmla="*/ 90099 w 2776174"/>
              <a:gd name="connsiteY1330" fmla="*/ 409640 h 1883236"/>
              <a:gd name="connsiteX1331" fmla="*/ 90099 w 2776174"/>
              <a:gd name="connsiteY1331" fmla="*/ 412416 h 1883236"/>
              <a:gd name="connsiteX1332" fmla="*/ 81422 w 2776174"/>
              <a:gd name="connsiteY1332" fmla="*/ 418201 h 1883236"/>
              <a:gd name="connsiteX1333" fmla="*/ 62796 w 2776174"/>
              <a:gd name="connsiteY1333" fmla="*/ 432662 h 1883236"/>
              <a:gd name="connsiteX1334" fmla="*/ 48509 w 2776174"/>
              <a:gd name="connsiteY1334" fmla="*/ 445156 h 1883236"/>
              <a:gd name="connsiteX1335" fmla="*/ 45096 w 2776174"/>
              <a:gd name="connsiteY1335" fmla="*/ 446140 h 1883236"/>
              <a:gd name="connsiteX1336" fmla="*/ 49955 w 2776174"/>
              <a:gd name="connsiteY1336" fmla="*/ 455337 h 1883236"/>
              <a:gd name="connsiteX1337" fmla="*/ 64474 w 2776174"/>
              <a:gd name="connsiteY1337" fmla="*/ 467889 h 1883236"/>
              <a:gd name="connsiteX1338" fmla="*/ 74539 w 2776174"/>
              <a:gd name="connsiteY1338" fmla="*/ 471418 h 1883236"/>
              <a:gd name="connsiteX1339" fmla="*/ 73555 w 2776174"/>
              <a:gd name="connsiteY1339" fmla="*/ 489234 h 1883236"/>
              <a:gd name="connsiteX1340" fmla="*/ 70489 w 2776174"/>
              <a:gd name="connsiteY1340" fmla="*/ 496002 h 1883236"/>
              <a:gd name="connsiteX1341" fmla="*/ 72861 w 2776174"/>
              <a:gd name="connsiteY1341" fmla="*/ 497274 h 1883236"/>
              <a:gd name="connsiteX1342" fmla="*/ 98370 w 2776174"/>
              <a:gd name="connsiteY1342" fmla="*/ 519428 h 1883236"/>
              <a:gd name="connsiteX1343" fmla="*/ 107336 w 2776174"/>
              <a:gd name="connsiteY1343" fmla="*/ 529667 h 1883236"/>
              <a:gd name="connsiteX1344" fmla="*/ 113121 w 2776174"/>
              <a:gd name="connsiteY1344" fmla="*/ 531981 h 1883236"/>
              <a:gd name="connsiteX1345" fmla="*/ 123995 w 2776174"/>
              <a:gd name="connsiteY1345" fmla="*/ 528741 h 1883236"/>
              <a:gd name="connsiteX1346" fmla="*/ 138572 w 2776174"/>
              <a:gd name="connsiteY1346" fmla="*/ 524519 h 1883236"/>
              <a:gd name="connsiteX1347" fmla="*/ 146786 w 2776174"/>
              <a:gd name="connsiteY1347" fmla="*/ 516016 h 1883236"/>
              <a:gd name="connsiteX1348" fmla="*/ 149967 w 2776174"/>
              <a:gd name="connsiteY1348" fmla="*/ 511504 h 1883236"/>
              <a:gd name="connsiteX1349" fmla="*/ 153322 w 2776174"/>
              <a:gd name="connsiteY1349" fmla="*/ 513297 h 1883236"/>
              <a:gd name="connsiteX1350" fmla="*/ 166742 w 2776174"/>
              <a:gd name="connsiteY1350" fmla="*/ 540484 h 1883236"/>
              <a:gd name="connsiteX1351" fmla="*/ 164139 w 2776174"/>
              <a:gd name="connsiteY1351" fmla="*/ 545921 h 1883236"/>
              <a:gd name="connsiteX1352" fmla="*/ 161826 w 2776174"/>
              <a:gd name="connsiteY1352" fmla="*/ 562580 h 1883236"/>
              <a:gd name="connsiteX1353" fmla="*/ 162115 w 2776174"/>
              <a:gd name="connsiteY1353" fmla="*/ 572472 h 1883236"/>
              <a:gd name="connsiteX1354" fmla="*/ 162462 w 2776174"/>
              <a:gd name="connsiteY1354" fmla="*/ 573513 h 1883236"/>
              <a:gd name="connsiteX1355" fmla="*/ 170676 w 2776174"/>
              <a:gd name="connsiteY1355" fmla="*/ 575480 h 1883236"/>
              <a:gd name="connsiteX1356" fmla="*/ 189591 w 2776174"/>
              <a:gd name="connsiteY1356" fmla="*/ 568423 h 1883236"/>
              <a:gd name="connsiteX1357" fmla="*/ 205093 w 2776174"/>
              <a:gd name="connsiteY1357" fmla="*/ 560614 h 1883236"/>
              <a:gd name="connsiteX1358" fmla="*/ 229098 w 2776174"/>
              <a:gd name="connsiteY1358" fmla="*/ 570910 h 1883236"/>
              <a:gd name="connsiteX1359" fmla="*/ 242692 w 2776174"/>
              <a:gd name="connsiteY1359" fmla="*/ 582826 h 1883236"/>
              <a:gd name="connsiteX1360" fmla="*/ 244138 w 2776174"/>
              <a:gd name="connsiteY1360" fmla="*/ 577041 h 1883236"/>
              <a:gd name="connsiteX1361" fmla="*/ 254723 w 2776174"/>
              <a:gd name="connsiteY1361" fmla="*/ 558763 h 1883236"/>
              <a:gd name="connsiteX1362" fmla="*/ 257847 w 2776174"/>
              <a:gd name="connsiteY1362" fmla="*/ 563043 h 1883236"/>
              <a:gd name="connsiteX1363" fmla="*/ 267218 w 2776174"/>
              <a:gd name="connsiteY1363" fmla="*/ 570216 h 1883236"/>
              <a:gd name="connsiteX1364" fmla="*/ 285959 w 2776174"/>
              <a:gd name="connsiteY1364" fmla="*/ 565068 h 1883236"/>
              <a:gd name="connsiteX1365" fmla="*/ 296198 w 2776174"/>
              <a:gd name="connsiteY1365" fmla="*/ 561655 h 1883236"/>
              <a:gd name="connsiteX1366" fmla="*/ 298512 w 2776174"/>
              <a:gd name="connsiteY1366" fmla="*/ 562870 h 1883236"/>
              <a:gd name="connsiteX1367" fmla="*/ 290356 w 2776174"/>
              <a:gd name="connsiteY1367" fmla="*/ 576521 h 1883236"/>
              <a:gd name="connsiteX1368" fmla="*/ 287926 w 2776174"/>
              <a:gd name="connsiteY1368" fmla="*/ 579529 h 1883236"/>
              <a:gd name="connsiteX1369" fmla="*/ 282142 w 2776174"/>
              <a:gd name="connsiteY1369" fmla="*/ 608451 h 1883236"/>
              <a:gd name="connsiteX1370" fmla="*/ 277688 w 2776174"/>
              <a:gd name="connsiteY1370" fmla="*/ 623722 h 1883236"/>
              <a:gd name="connsiteX1371" fmla="*/ 266119 w 2776174"/>
              <a:gd name="connsiteY1371" fmla="*/ 635291 h 1883236"/>
              <a:gd name="connsiteX1372" fmla="*/ 244138 w 2776174"/>
              <a:gd name="connsiteY1372" fmla="*/ 653049 h 1883236"/>
              <a:gd name="connsiteX1373" fmla="*/ 198904 w 2776174"/>
              <a:gd name="connsiteY1373" fmla="*/ 688970 h 1883236"/>
              <a:gd name="connsiteX1374" fmla="*/ 194392 w 2776174"/>
              <a:gd name="connsiteY1374" fmla="*/ 690474 h 1883236"/>
              <a:gd name="connsiteX1375" fmla="*/ 183922 w 2776174"/>
              <a:gd name="connsiteY1375" fmla="*/ 689201 h 1883236"/>
              <a:gd name="connsiteX1376" fmla="*/ 168478 w 2776174"/>
              <a:gd name="connsiteY1376" fmla="*/ 687408 h 1883236"/>
              <a:gd name="connsiteX1377" fmla="*/ 156620 w 2776174"/>
              <a:gd name="connsiteY1377" fmla="*/ 692903 h 1883236"/>
              <a:gd name="connsiteX1378" fmla="*/ 143142 w 2776174"/>
              <a:gd name="connsiteY1378" fmla="*/ 710777 h 1883236"/>
              <a:gd name="connsiteX1379" fmla="*/ 135854 w 2776174"/>
              <a:gd name="connsiteY1379" fmla="*/ 720206 h 1883236"/>
              <a:gd name="connsiteX1380" fmla="*/ 136374 w 2776174"/>
              <a:gd name="connsiteY1380" fmla="*/ 721421 h 1883236"/>
              <a:gd name="connsiteX1381" fmla="*/ 137647 w 2776174"/>
              <a:gd name="connsiteY1381" fmla="*/ 721710 h 1883236"/>
              <a:gd name="connsiteX1382" fmla="*/ 167205 w 2776174"/>
              <a:gd name="connsiteY1382" fmla="*/ 704357 h 1883236"/>
              <a:gd name="connsiteX1383" fmla="*/ 171659 w 2776174"/>
              <a:gd name="connsiteY1383" fmla="*/ 698572 h 1883236"/>
              <a:gd name="connsiteX1384" fmla="*/ 178832 w 2776174"/>
              <a:gd name="connsiteY1384" fmla="*/ 703431 h 1883236"/>
              <a:gd name="connsiteX1385" fmla="*/ 182534 w 2776174"/>
              <a:gd name="connsiteY1385" fmla="*/ 704877 h 1883236"/>
              <a:gd name="connsiteX1386" fmla="*/ 199887 w 2776174"/>
              <a:gd name="connsiteY1386" fmla="*/ 696027 h 1883236"/>
              <a:gd name="connsiteX1387" fmla="*/ 211456 w 2776174"/>
              <a:gd name="connsiteY1387" fmla="*/ 692499 h 1883236"/>
              <a:gd name="connsiteX1388" fmla="*/ 218918 w 2776174"/>
              <a:gd name="connsiteY1388" fmla="*/ 693077 h 1883236"/>
              <a:gd name="connsiteX1389" fmla="*/ 221000 w 2776174"/>
              <a:gd name="connsiteY1389" fmla="*/ 693366 h 1883236"/>
              <a:gd name="connsiteX1390" fmla="*/ 226785 w 2776174"/>
              <a:gd name="connsiteY1390" fmla="*/ 690937 h 1883236"/>
              <a:gd name="connsiteX1391" fmla="*/ 244832 w 2776174"/>
              <a:gd name="connsiteY1391" fmla="*/ 683648 h 1883236"/>
              <a:gd name="connsiteX1392" fmla="*/ 258541 w 2776174"/>
              <a:gd name="connsiteY1392" fmla="*/ 673583 h 1883236"/>
              <a:gd name="connsiteX1393" fmla="*/ 260334 w 2776174"/>
              <a:gd name="connsiteY1393" fmla="*/ 667799 h 1883236"/>
              <a:gd name="connsiteX1394" fmla="*/ 310775 w 2776174"/>
              <a:gd name="connsiteY1394" fmla="*/ 638877 h 1883236"/>
              <a:gd name="connsiteX1395" fmla="*/ 315113 w 2776174"/>
              <a:gd name="connsiteY1395" fmla="*/ 632340 h 1883236"/>
              <a:gd name="connsiteX1396" fmla="*/ 321881 w 2776174"/>
              <a:gd name="connsiteY1396" fmla="*/ 624300 h 1883236"/>
              <a:gd name="connsiteX1397" fmla="*/ 351555 w 2776174"/>
              <a:gd name="connsiteY1397" fmla="*/ 605790 h 1883236"/>
              <a:gd name="connsiteX1398" fmla="*/ 365900 w 2776174"/>
              <a:gd name="connsiteY1398" fmla="*/ 599196 h 1883236"/>
              <a:gd name="connsiteX1399" fmla="*/ 372437 w 2776174"/>
              <a:gd name="connsiteY1399" fmla="*/ 597750 h 1883236"/>
              <a:gd name="connsiteX1400" fmla="*/ 376544 w 2776174"/>
              <a:gd name="connsiteY1400" fmla="*/ 588090 h 1883236"/>
              <a:gd name="connsiteX1401" fmla="*/ 382328 w 2776174"/>
              <a:gd name="connsiteY1401" fmla="*/ 577678 h 1883236"/>
              <a:gd name="connsiteX1402" fmla="*/ 395285 w 2776174"/>
              <a:gd name="connsiteY1402" fmla="*/ 564836 h 1883236"/>
              <a:gd name="connsiteX1403" fmla="*/ 383716 w 2776174"/>
              <a:gd name="connsiteY1403" fmla="*/ 559052 h 1883236"/>
              <a:gd name="connsiteX1404" fmla="*/ 373593 w 2776174"/>
              <a:gd name="connsiteY1404" fmla="*/ 554424 h 1883236"/>
              <a:gd name="connsiteX1405" fmla="*/ 374982 w 2776174"/>
              <a:gd name="connsiteY1405" fmla="*/ 549160 h 1883236"/>
              <a:gd name="connsiteX1406" fmla="*/ 397136 w 2776174"/>
              <a:gd name="connsiteY1406" fmla="*/ 533427 h 1883236"/>
              <a:gd name="connsiteX1407" fmla="*/ 397888 w 2776174"/>
              <a:gd name="connsiteY1407" fmla="*/ 533427 h 1883236"/>
              <a:gd name="connsiteX1408" fmla="*/ 414084 w 2776174"/>
              <a:gd name="connsiteY1408" fmla="*/ 518098 h 1883236"/>
              <a:gd name="connsiteX1409" fmla="*/ 424091 w 2776174"/>
              <a:gd name="connsiteY1409" fmla="*/ 504447 h 1883236"/>
              <a:gd name="connsiteX1410" fmla="*/ 432537 w 2776174"/>
              <a:gd name="connsiteY1410" fmla="*/ 497390 h 1883236"/>
              <a:gd name="connsiteX1411" fmla="*/ 438321 w 2776174"/>
              <a:gd name="connsiteY1411" fmla="*/ 488193 h 1883236"/>
              <a:gd name="connsiteX1412" fmla="*/ 447056 w 2776174"/>
              <a:gd name="connsiteY1412" fmla="*/ 480673 h 1883236"/>
              <a:gd name="connsiteX1413" fmla="*/ 460360 w 2776174"/>
              <a:gd name="connsiteY1413" fmla="*/ 472227 h 1883236"/>
              <a:gd name="connsiteX1414" fmla="*/ 470193 w 2776174"/>
              <a:gd name="connsiteY1414" fmla="*/ 464476 h 1883236"/>
              <a:gd name="connsiteX1415" fmla="*/ 476730 w 2776174"/>
              <a:gd name="connsiteY1415" fmla="*/ 465633 h 1883236"/>
              <a:gd name="connsiteX1416" fmla="*/ 487142 w 2776174"/>
              <a:gd name="connsiteY1416" fmla="*/ 471013 h 1883236"/>
              <a:gd name="connsiteX1417" fmla="*/ 499231 w 2776174"/>
              <a:gd name="connsiteY1417" fmla="*/ 479111 h 1883236"/>
              <a:gd name="connsiteX1418" fmla="*/ 493505 w 2776174"/>
              <a:gd name="connsiteY1418" fmla="*/ 484953 h 1883236"/>
              <a:gd name="connsiteX1419" fmla="*/ 492637 w 2776174"/>
              <a:gd name="connsiteY1419" fmla="*/ 484895 h 1883236"/>
              <a:gd name="connsiteX1420" fmla="*/ 487258 w 2776174"/>
              <a:gd name="connsiteY1420" fmla="*/ 483623 h 1883236"/>
              <a:gd name="connsiteX1421" fmla="*/ 475689 w 2776174"/>
              <a:gd name="connsiteY1421" fmla="*/ 480326 h 1883236"/>
              <a:gd name="connsiteX1422" fmla="*/ 460129 w 2776174"/>
              <a:gd name="connsiteY1422" fmla="*/ 488887 h 1883236"/>
              <a:gd name="connsiteX1423" fmla="*/ 453419 w 2776174"/>
              <a:gd name="connsiteY1423" fmla="*/ 500108 h 1883236"/>
              <a:gd name="connsiteX1424" fmla="*/ 448733 w 2776174"/>
              <a:gd name="connsiteY1424" fmla="*/ 512834 h 1883236"/>
              <a:gd name="connsiteX1425" fmla="*/ 442949 w 2776174"/>
              <a:gd name="connsiteY1425" fmla="*/ 527584 h 1883236"/>
              <a:gd name="connsiteX1426" fmla="*/ 449774 w 2776174"/>
              <a:gd name="connsiteY1426" fmla="*/ 530997 h 1883236"/>
              <a:gd name="connsiteX1427" fmla="*/ 455559 w 2776174"/>
              <a:gd name="connsiteY1427" fmla="*/ 534468 h 1883236"/>
              <a:gd name="connsiteX1428" fmla="*/ 440346 w 2776174"/>
              <a:gd name="connsiteY1428" fmla="*/ 545343 h 1883236"/>
              <a:gd name="connsiteX1429" fmla="*/ 436355 w 2776174"/>
              <a:gd name="connsiteY1429" fmla="*/ 547946 h 1883236"/>
              <a:gd name="connsiteX1430" fmla="*/ 450931 w 2776174"/>
              <a:gd name="connsiteY1430" fmla="*/ 552226 h 1883236"/>
              <a:gd name="connsiteX1431" fmla="*/ 481994 w 2776174"/>
              <a:gd name="connsiteY1431" fmla="*/ 536608 h 1883236"/>
              <a:gd name="connsiteX1432" fmla="*/ 504379 w 2776174"/>
              <a:gd name="connsiteY1432" fmla="*/ 522610 h 1883236"/>
              <a:gd name="connsiteX1433" fmla="*/ 523005 w 2776174"/>
              <a:gd name="connsiteY1433" fmla="*/ 518156 h 1883236"/>
              <a:gd name="connsiteX1434" fmla="*/ 536714 w 2776174"/>
              <a:gd name="connsiteY1434" fmla="*/ 520007 h 1883236"/>
              <a:gd name="connsiteX1435" fmla="*/ 543887 w 2776174"/>
              <a:gd name="connsiteY1435" fmla="*/ 520759 h 1883236"/>
              <a:gd name="connsiteX1436" fmla="*/ 544581 w 2776174"/>
              <a:gd name="connsiteY1436" fmla="*/ 520296 h 1883236"/>
              <a:gd name="connsiteX1437" fmla="*/ 543309 w 2776174"/>
              <a:gd name="connsiteY1437" fmla="*/ 516363 h 1883236"/>
              <a:gd name="connsiteX1438" fmla="*/ 541862 w 2776174"/>
              <a:gd name="connsiteY1438" fmla="*/ 509421 h 1883236"/>
              <a:gd name="connsiteX1439" fmla="*/ 544408 w 2776174"/>
              <a:gd name="connsiteY1439" fmla="*/ 506876 h 1883236"/>
              <a:gd name="connsiteX1440" fmla="*/ 545449 w 2776174"/>
              <a:gd name="connsiteY1440" fmla="*/ 506182 h 1883236"/>
              <a:gd name="connsiteX1441" fmla="*/ 542557 w 2776174"/>
              <a:gd name="connsiteY1441" fmla="*/ 504042 h 1883236"/>
              <a:gd name="connsiteX1442" fmla="*/ 531682 w 2776174"/>
              <a:gd name="connsiteY1442" fmla="*/ 491894 h 1883236"/>
              <a:gd name="connsiteX1443" fmla="*/ 531103 w 2776174"/>
              <a:gd name="connsiteY1443" fmla="*/ 485242 h 1883236"/>
              <a:gd name="connsiteX1444" fmla="*/ 535268 w 2776174"/>
              <a:gd name="connsiteY1444" fmla="*/ 482697 h 1883236"/>
              <a:gd name="connsiteX1445" fmla="*/ 541053 w 2776174"/>
              <a:gd name="connsiteY1445" fmla="*/ 477954 h 1883236"/>
              <a:gd name="connsiteX1446" fmla="*/ 547647 w 2776174"/>
              <a:gd name="connsiteY1446" fmla="*/ 471418 h 1883236"/>
              <a:gd name="connsiteX1447" fmla="*/ 557943 w 2776174"/>
              <a:gd name="connsiteY1447" fmla="*/ 476103 h 1883236"/>
              <a:gd name="connsiteX1448" fmla="*/ 561992 w 2776174"/>
              <a:gd name="connsiteY1448" fmla="*/ 477202 h 1883236"/>
              <a:gd name="connsiteX1449" fmla="*/ 564942 w 2776174"/>
              <a:gd name="connsiteY1449" fmla="*/ 477202 h 1883236"/>
              <a:gd name="connsiteX1450" fmla="*/ 568240 w 2776174"/>
              <a:gd name="connsiteY1450" fmla="*/ 477202 h 1883236"/>
              <a:gd name="connsiteX1451" fmla="*/ 578247 w 2776174"/>
              <a:gd name="connsiteY1451" fmla="*/ 484259 h 1883236"/>
              <a:gd name="connsiteX1452" fmla="*/ 582585 w 2776174"/>
              <a:gd name="connsiteY1452" fmla="*/ 488250 h 1883236"/>
              <a:gd name="connsiteX1453" fmla="*/ 586345 w 2776174"/>
              <a:gd name="connsiteY1453" fmla="*/ 487325 h 1883236"/>
              <a:gd name="connsiteX1454" fmla="*/ 592129 w 2776174"/>
              <a:gd name="connsiteY1454" fmla="*/ 485994 h 1883236"/>
              <a:gd name="connsiteX1455" fmla="*/ 599186 w 2776174"/>
              <a:gd name="connsiteY1455" fmla="*/ 488713 h 1883236"/>
              <a:gd name="connsiteX1456" fmla="*/ 603120 w 2776174"/>
              <a:gd name="connsiteY1456" fmla="*/ 494845 h 1883236"/>
              <a:gd name="connsiteX1457" fmla="*/ 593749 w 2776174"/>
              <a:gd name="connsiteY1457" fmla="*/ 498489 h 1883236"/>
              <a:gd name="connsiteX1458" fmla="*/ 586576 w 2776174"/>
              <a:gd name="connsiteY1458" fmla="*/ 499761 h 1883236"/>
              <a:gd name="connsiteX1459" fmla="*/ 581827 w 2776174"/>
              <a:gd name="connsiteY1459" fmla="*/ 505494 h 1883236"/>
              <a:gd name="connsiteX1460" fmla="*/ 581833 w 2776174"/>
              <a:gd name="connsiteY1460" fmla="*/ 505546 h 1883236"/>
              <a:gd name="connsiteX1461" fmla="*/ 585246 w 2776174"/>
              <a:gd name="connsiteY1461" fmla="*/ 509132 h 1883236"/>
              <a:gd name="connsiteX1462" fmla="*/ 588659 w 2776174"/>
              <a:gd name="connsiteY1462" fmla="*/ 507628 h 1883236"/>
              <a:gd name="connsiteX1463" fmla="*/ 603582 w 2776174"/>
              <a:gd name="connsiteY1463" fmla="*/ 499761 h 1883236"/>
              <a:gd name="connsiteX1464" fmla="*/ 611970 w 2776174"/>
              <a:gd name="connsiteY1464" fmla="*/ 503406 h 1883236"/>
              <a:gd name="connsiteX1465" fmla="*/ 618275 w 2776174"/>
              <a:gd name="connsiteY1465" fmla="*/ 506876 h 1883236"/>
              <a:gd name="connsiteX1466" fmla="*/ 626720 w 2776174"/>
              <a:gd name="connsiteY1466" fmla="*/ 501092 h 1883236"/>
              <a:gd name="connsiteX1467" fmla="*/ 631348 w 2776174"/>
              <a:gd name="connsiteY1467" fmla="*/ 498373 h 1883236"/>
              <a:gd name="connsiteX1468" fmla="*/ 634413 w 2776174"/>
              <a:gd name="connsiteY1468" fmla="*/ 501902 h 1883236"/>
              <a:gd name="connsiteX1469" fmla="*/ 634703 w 2776174"/>
              <a:gd name="connsiteY1469" fmla="*/ 507397 h 1883236"/>
              <a:gd name="connsiteX1470" fmla="*/ 661369 w 2776174"/>
              <a:gd name="connsiteY1470" fmla="*/ 515379 h 1883236"/>
              <a:gd name="connsiteX1471" fmla="*/ 664666 w 2776174"/>
              <a:gd name="connsiteY1471" fmla="*/ 515958 h 1883236"/>
              <a:gd name="connsiteX1472" fmla="*/ 680804 w 2776174"/>
              <a:gd name="connsiteY1472" fmla="*/ 516999 h 1883236"/>
              <a:gd name="connsiteX1473" fmla="*/ 717131 w 2776174"/>
              <a:gd name="connsiteY1473" fmla="*/ 514743 h 1883236"/>
              <a:gd name="connsiteX1474" fmla="*/ 723725 w 2776174"/>
              <a:gd name="connsiteY1474" fmla="*/ 514107 h 1883236"/>
              <a:gd name="connsiteX1475" fmla="*/ 731881 w 2776174"/>
              <a:gd name="connsiteY1475" fmla="*/ 519602 h 1883236"/>
              <a:gd name="connsiteX1476" fmla="*/ 748309 w 2776174"/>
              <a:gd name="connsiteY1476" fmla="*/ 530535 h 1883236"/>
              <a:gd name="connsiteX1477" fmla="*/ 752126 w 2776174"/>
              <a:gd name="connsiteY1477" fmla="*/ 530882 h 1883236"/>
              <a:gd name="connsiteX1478" fmla="*/ 768149 w 2776174"/>
              <a:gd name="connsiteY1478" fmla="*/ 523073 h 1883236"/>
              <a:gd name="connsiteX1479" fmla="*/ 777289 w 2776174"/>
              <a:gd name="connsiteY1479" fmla="*/ 517924 h 1883236"/>
              <a:gd name="connsiteX1480" fmla="*/ 782090 w 2776174"/>
              <a:gd name="connsiteY1480" fmla="*/ 519833 h 1883236"/>
              <a:gd name="connsiteX1481" fmla="*/ 786660 w 2776174"/>
              <a:gd name="connsiteY1481" fmla="*/ 526832 h 1883236"/>
              <a:gd name="connsiteX1482" fmla="*/ 780875 w 2776174"/>
              <a:gd name="connsiteY1482" fmla="*/ 534641 h 1883236"/>
              <a:gd name="connsiteX1483" fmla="*/ 776710 w 2776174"/>
              <a:gd name="connsiteY1483" fmla="*/ 538401 h 1883236"/>
              <a:gd name="connsiteX1484" fmla="*/ 775611 w 2776174"/>
              <a:gd name="connsiteY1484" fmla="*/ 540715 h 1883236"/>
              <a:gd name="connsiteX1485" fmla="*/ 783362 w 2776174"/>
              <a:gd name="connsiteY1485" fmla="*/ 544302 h 1883236"/>
              <a:gd name="connsiteX1486" fmla="*/ 789610 w 2776174"/>
              <a:gd name="connsiteY1486" fmla="*/ 546326 h 1883236"/>
              <a:gd name="connsiteX1487" fmla="*/ 795394 w 2776174"/>
              <a:gd name="connsiteY1487" fmla="*/ 548524 h 1883236"/>
              <a:gd name="connsiteX1488" fmla="*/ 822060 w 2776174"/>
              <a:gd name="connsiteY1488" fmla="*/ 562291 h 1883236"/>
              <a:gd name="connsiteX1489" fmla="*/ 826803 w 2776174"/>
              <a:gd name="connsiteY1489" fmla="*/ 567381 h 1883236"/>
              <a:gd name="connsiteX1490" fmla="*/ 853875 w 2776174"/>
              <a:gd name="connsiteY1490" fmla="*/ 588147 h 1883236"/>
              <a:gd name="connsiteX1491" fmla="*/ 859081 w 2776174"/>
              <a:gd name="connsiteY1491" fmla="*/ 589767 h 1883236"/>
              <a:gd name="connsiteX1492" fmla="*/ 860816 w 2776174"/>
              <a:gd name="connsiteY1492" fmla="*/ 589131 h 1883236"/>
              <a:gd name="connsiteX1493" fmla="*/ 861626 w 2776174"/>
              <a:gd name="connsiteY1493" fmla="*/ 580917 h 1883236"/>
              <a:gd name="connsiteX1494" fmla="*/ 862551 w 2776174"/>
              <a:gd name="connsiteY1494" fmla="*/ 573339 h 1883236"/>
              <a:gd name="connsiteX1495" fmla="*/ 869782 w 2776174"/>
              <a:gd name="connsiteY1495" fmla="*/ 574901 h 1883236"/>
              <a:gd name="connsiteX1496" fmla="*/ 881351 w 2776174"/>
              <a:gd name="connsiteY1496" fmla="*/ 580685 h 1883236"/>
              <a:gd name="connsiteX1497" fmla="*/ 891878 w 2776174"/>
              <a:gd name="connsiteY1497" fmla="*/ 586470 h 1883236"/>
              <a:gd name="connsiteX1498" fmla="*/ 897026 w 2776174"/>
              <a:gd name="connsiteY1498" fmla="*/ 589825 h 1883236"/>
              <a:gd name="connsiteX1499" fmla="*/ 897373 w 2776174"/>
              <a:gd name="connsiteY1499" fmla="*/ 589825 h 1883236"/>
              <a:gd name="connsiteX1500" fmla="*/ 892457 w 2776174"/>
              <a:gd name="connsiteY1500" fmla="*/ 564778 h 1883236"/>
              <a:gd name="connsiteX1501" fmla="*/ 891531 w 2776174"/>
              <a:gd name="connsiteY1501" fmla="*/ 554713 h 1883236"/>
              <a:gd name="connsiteX1502" fmla="*/ 893209 w 2776174"/>
              <a:gd name="connsiteY1502" fmla="*/ 553904 h 1883236"/>
              <a:gd name="connsiteX1503" fmla="*/ 905356 w 2776174"/>
              <a:gd name="connsiteY1503" fmla="*/ 566282 h 1883236"/>
              <a:gd name="connsiteX1504" fmla="*/ 907323 w 2776174"/>
              <a:gd name="connsiteY1504" fmla="*/ 603013 h 1883236"/>
              <a:gd name="connsiteX1505" fmla="*/ 898877 w 2776174"/>
              <a:gd name="connsiteY1505" fmla="*/ 608798 h 1883236"/>
              <a:gd name="connsiteX1506" fmla="*/ 886325 w 2776174"/>
              <a:gd name="connsiteY1506" fmla="*/ 603013 h 1883236"/>
              <a:gd name="connsiteX1507" fmla="*/ 885168 w 2776174"/>
              <a:gd name="connsiteY1507" fmla="*/ 598270 h 1883236"/>
              <a:gd name="connsiteX1508" fmla="*/ 885168 w 2776174"/>
              <a:gd name="connsiteY1508" fmla="*/ 597403 h 1883236"/>
              <a:gd name="connsiteX1509" fmla="*/ 881235 w 2776174"/>
              <a:gd name="connsiteY1509" fmla="*/ 596361 h 1883236"/>
              <a:gd name="connsiteX1510" fmla="*/ 868625 w 2776174"/>
              <a:gd name="connsiteY1510" fmla="*/ 603534 h 1883236"/>
              <a:gd name="connsiteX1511" fmla="*/ 890143 w 2776174"/>
              <a:gd name="connsiteY1511" fmla="*/ 628986 h 1883236"/>
              <a:gd name="connsiteX1512" fmla="*/ 896737 w 2776174"/>
              <a:gd name="connsiteY1512" fmla="*/ 640959 h 1883236"/>
              <a:gd name="connsiteX1513" fmla="*/ 898762 w 2776174"/>
              <a:gd name="connsiteY1513" fmla="*/ 647785 h 1883236"/>
              <a:gd name="connsiteX1514" fmla="*/ 907438 w 2776174"/>
              <a:gd name="connsiteY1514" fmla="*/ 658891 h 1883236"/>
              <a:gd name="connsiteX1515" fmla="*/ 910157 w 2776174"/>
              <a:gd name="connsiteY1515" fmla="*/ 663750 h 1883236"/>
              <a:gd name="connsiteX1516" fmla="*/ 910620 w 2776174"/>
              <a:gd name="connsiteY1516" fmla="*/ 663750 h 1883236"/>
              <a:gd name="connsiteX1517" fmla="*/ 912240 w 2776174"/>
              <a:gd name="connsiteY1517" fmla="*/ 661089 h 1883236"/>
              <a:gd name="connsiteX1518" fmla="*/ 907785 w 2776174"/>
              <a:gd name="connsiteY1518" fmla="*/ 635695 h 1883236"/>
              <a:gd name="connsiteX1519" fmla="*/ 905992 w 2776174"/>
              <a:gd name="connsiteY1519" fmla="*/ 618805 h 1883236"/>
              <a:gd name="connsiteX1520" fmla="*/ 913339 w 2776174"/>
              <a:gd name="connsiteY1520" fmla="*/ 615797 h 1883236"/>
              <a:gd name="connsiteX1521" fmla="*/ 917041 w 2776174"/>
              <a:gd name="connsiteY1521" fmla="*/ 627829 h 1883236"/>
              <a:gd name="connsiteX1522" fmla="*/ 917445 w 2776174"/>
              <a:gd name="connsiteY1522" fmla="*/ 635580 h 1883236"/>
              <a:gd name="connsiteX1523" fmla="*/ 918776 w 2776174"/>
              <a:gd name="connsiteY1523" fmla="*/ 636332 h 1883236"/>
              <a:gd name="connsiteX1524" fmla="*/ 924155 w 2776174"/>
              <a:gd name="connsiteY1524" fmla="*/ 632572 h 1883236"/>
              <a:gd name="connsiteX1525" fmla="*/ 932427 w 2776174"/>
              <a:gd name="connsiteY1525" fmla="*/ 626209 h 1883236"/>
              <a:gd name="connsiteX1526" fmla="*/ 932890 w 2776174"/>
              <a:gd name="connsiteY1526" fmla="*/ 613136 h 1883236"/>
              <a:gd name="connsiteX1527" fmla="*/ 931328 w 2776174"/>
              <a:gd name="connsiteY1527" fmla="*/ 600700 h 1883236"/>
              <a:gd name="connsiteX1528" fmla="*/ 934799 w 2776174"/>
              <a:gd name="connsiteY1528" fmla="*/ 597923 h 1883236"/>
              <a:gd name="connsiteX1529" fmla="*/ 949780 w 2776174"/>
              <a:gd name="connsiteY1529" fmla="*/ 619615 h 1883236"/>
              <a:gd name="connsiteX1530" fmla="*/ 944459 w 2776174"/>
              <a:gd name="connsiteY1530" fmla="*/ 633844 h 1883236"/>
              <a:gd name="connsiteX1531" fmla="*/ 940757 w 2776174"/>
              <a:gd name="connsiteY1531" fmla="*/ 638703 h 1883236"/>
              <a:gd name="connsiteX1532" fmla="*/ 931675 w 2776174"/>
              <a:gd name="connsiteY1532" fmla="*/ 644893 h 1883236"/>
              <a:gd name="connsiteX1533" fmla="*/ 925254 w 2776174"/>
              <a:gd name="connsiteY1533" fmla="*/ 646801 h 1883236"/>
              <a:gd name="connsiteX1534" fmla="*/ 925602 w 2776174"/>
              <a:gd name="connsiteY1534" fmla="*/ 669939 h 1883236"/>
              <a:gd name="connsiteX1535" fmla="*/ 927626 w 2776174"/>
              <a:gd name="connsiteY1535" fmla="*/ 673121 h 1883236"/>
              <a:gd name="connsiteX1536" fmla="*/ 932080 w 2776174"/>
              <a:gd name="connsiteY1536" fmla="*/ 666526 h 1883236"/>
              <a:gd name="connsiteX1537" fmla="*/ 936592 w 2776174"/>
              <a:gd name="connsiteY1537" fmla="*/ 660742 h 1883236"/>
              <a:gd name="connsiteX1538" fmla="*/ 939484 w 2776174"/>
              <a:gd name="connsiteY1538" fmla="*/ 664444 h 1883236"/>
              <a:gd name="connsiteX1539" fmla="*/ 940872 w 2776174"/>
              <a:gd name="connsiteY1539" fmla="*/ 666295 h 1883236"/>
              <a:gd name="connsiteX1540" fmla="*/ 946657 w 2776174"/>
              <a:gd name="connsiteY1540" fmla="*/ 662246 h 1883236"/>
              <a:gd name="connsiteX1541" fmla="*/ 953772 w 2776174"/>
              <a:gd name="connsiteY1541" fmla="*/ 657619 h 1883236"/>
              <a:gd name="connsiteX1542" fmla="*/ 957184 w 2776174"/>
              <a:gd name="connsiteY1542" fmla="*/ 660800 h 1883236"/>
              <a:gd name="connsiteX1543" fmla="*/ 977314 w 2776174"/>
              <a:gd name="connsiteY1543" fmla="*/ 678500 h 1883236"/>
              <a:gd name="connsiteX1544" fmla="*/ 978645 w 2776174"/>
              <a:gd name="connsiteY1544" fmla="*/ 678500 h 1883236"/>
              <a:gd name="connsiteX1545" fmla="*/ 979744 w 2776174"/>
              <a:gd name="connsiteY1545" fmla="*/ 676302 h 1883236"/>
              <a:gd name="connsiteX1546" fmla="*/ 968175 w 2776174"/>
              <a:gd name="connsiteY1546" fmla="*/ 667336 h 1883236"/>
              <a:gd name="connsiteX1547" fmla="*/ 961291 w 2776174"/>
              <a:gd name="connsiteY1547" fmla="*/ 659238 h 1883236"/>
              <a:gd name="connsiteX1548" fmla="*/ 968753 w 2776174"/>
              <a:gd name="connsiteY1548" fmla="*/ 649925 h 1883236"/>
              <a:gd name="connsiteX1549" fmla="*/ 979917 w 2776174"/>
              <a:gd name="connsiteY1549" fmla="*/ 656577 h 1883236"/>
              <a:gd name="connsiteX1550" fmla="*/ 991197 w 2776174"/>
              <a:gd name="connsiteY1550" fmla="*/ 678442 h 1883236"/>
              <a:gd name="connsiteX1551" fmla="*/ 984429 w 2776174"/>
              <a:gd name="connsiteY1551" fmla="*/ 687177 h 1883236"/>
              <a:gd name="connsiteX1552" fmla="*/ 976967 w 2776174"/>
              <a:gd name="connsiteY1552" fmla="*/ 692961 h 1883236"/>
              <a:gd name="connsiteX1553" fmla="*/ 972802 w 2776174"/>
              <a:gd name="connsiteY1553" fmla="*/ 694986 h 1883236"/>
              <a:gd name="connsiteX1554" fmla="*/ 962448 w 2776174"/>
              <a:gd name="connsiteY1554" fmla="*/ 688276 h 1883236"/>
              <a:gd name="connsiteX1555" fmla="*/ 952846 w 2776174"/>
              <a:gd name="connsiteY1555" fmla="*/ 681797 h 1883236"/>
              <a:gd name="connsiteX1556" fmla="*/ 952846 w 2776174"/>
              <a:gd name="connsiteY1556" fmla="*/ 681797 h 1883236"/>
              <a:gd name="connsiteX1557" fmla="*/ 950764 w 2776174"/>
              <a:gd name="connsiteY1557" fmla="*/ 682781 h 1883236"/>
              <a:gd name="connsiteX1558" fmla="*/ 954929 w 2776174"/>
              <a:gd name="connsiteY1558" fmla="*/ 696085 h 1883236"/>
              <a:gd name="connsiteX1559" fmla="*/ 957416 w 2776174"/>
              <a:gd name="connsiteY1559" fmla="*/ 701406 h 1883236"/>
              <a:gd name="connsiteX1560" fmla="*/ 956028 w 2776174"/>
              <a:gd name="connsiteY1560" fmla="*/ 714017 h 1883236"/>
              <a:gd name="connsiteX1561" fmla="*/ 957589 w 2776174"/>
              <a:gd name="connsiteY1561" fmla="*/ 727610 h 1883236"/>
              <a:gd name="connsiteX1562" fmla="*/ 962101 w 2776174"/>
              <a:gd name="connsiteY1562" fmla="*/ 729519 h 1883236"/>
              <a:gd name="connsiteX1563" fmla="*/ 964184 w 2776174"/>
              <a:gd name="connsiteY1563" fmla="*/ 724024 h 1883236"/>
              <a:gd name="connsiteX1564" fmla="*/ 964993 w 2776174"/>
              <a:gd name="connsiteY1564" fmla="*/ 719049 h 1883236"/>
              <a:gd name="connsiteX1565" fmla="*/ 968580 w 2776174"/>
              <a:gd name="connsiteY1565" fmla="*/ 716562 h 1883236"/>
              <a:gd name="connsiteX1566" fmla="*/ 981942 w 2776174"/>
              <a:gd name="connsiteY1566" fmla="*/ 724024 h 1883236"/>
              <a:gd name="connsiteX1567" fmla="*/ 982925 w 2776174"/>
              <a:gd name="connsiteY1567" fmla="*/ 724486 h 1883236"/>
              <a:gd name="connsiteX1568" fmla="*/ 986164 w 2776174"/>
              <a:gd name="connsiteY1568" fmla="*/ 709736 h 1883236"/>
              <a:gd name="connsiteX1569" fmla="*/ 989554 w 2776174"/>
              <a:gd name="connsiteY1569" fmla="*/ 705855 h 1883236"/>
              <a:gd name="connsiteX1570" fmla="*/ 990098 w 2776174"/>
              <a:gd name="connsiteY1570" fmla="*/ 705861 h 1883236"/>
              <a:gd name="connsiteX1571" fmla="*/ 1002129 w 2776174"/>
              <a:gd name="connsiteY1571" fmla="*/ 714017 h 1883236"/>
              <a:gd name="connsiteX1572" fmla="*/ 1003633 w 2776174"/>
              <a:gd name="connsiteY1572" fmla="*/ 715463 h 1883236"/>
              <a:gd name="connsiteX1573" fmla="*/ 1005889 w 2776174"/>
              <a:gd name="connsiteY1573" fmla="*/ 712686 h 1883236"/>
              <a:gd name="connsiteX1574" fmla="*/ 1014103 w 2776174"/>
              <a:gd name="connsiteY1574" fmla="*/ 706902 h 1883236"/>
              <a:gd name="connsiteX1575" fmla="*/ 1017805 w 2776174"/>
              <a:gd name="connsiteY1575" fmla="*/ 709042 h 1883236"/>
              <a:gd name="connsiteX1576" fmla="*/ 1018210 w 2776174"/>
              <a:gd name="connsiteY1576" fmla="*/ 721131 h 1883236"/>
              <a:gd name="connsiteX1577" fmla="*/ 1017458 w 2776174"/>
              <a:gd name="connsiteY1577" fmla="*/ 727379 h 1883236"/>
              <a:gd name="connsiteX1578" fmla="*/ 1018037 w 2776174"/>
              <a:gd name="connsiteY1578" fmla="*/ 728304 h 1883236"/>
              <a:gd name="connsiteX1579" fmla="*/ 1022086 w 2776174"/>
              <a:gd name="connsiteY1579" fmla="*/ 727032 h 1883236"/>
              <a:gd name="connsiteX1580" fmla="*/ 1026077 w 2776174"/>
              <a:gd name="connsiteY1580" fmla="*/ 724255 h 1883236"/>
              <a:gd name="connsiteX1581" fmla="*/ 370759 w 2776174"/>
              <a:gd name="connsiteY1581" fmla="*/ 648363 h 1883236"/>
              <a:gd name="connsiteX1582" fmla="*/ 363586 w 2776174"/>
              <a:gd name="connsiteY1582" fmla="*/ 643331 h 1883236"/>
              <a:gd name="connsiteX1583" fmla="*/ 361562 w 2776174"/>
              <a:gd name="connsiteY1583" fmla="*/ 624300 h 1883236"/>
              <a:gd name="connsiteX1584" fmla="*/ 374288 w 2776174"/>
              <a:gd name="connsiteY1584" fmla="*/ 619383 h 1883236"/>
              <a:gd name="connsiteX1585" fmla="*/ 376081 w 2776174"/>
              <a:gd name="connsiteY1585" fmla="*/ 619383 h 1883236"/>
              <a:gd name="connsiteX1586" fmla="*/ 381460 w 2776174"/>
              <a:gd name="connsiteY1586" fmla="*/ 617243 h 1883236"/>
              <a:gd name="connsiteX1587" fmla="*/ 393318 w 2776174"/>
              <a:gd name="connsiteY1587" fmla="*/ 602261 h 1883236"/>
              <a:gd name="connsiteX1588" fmla="*/ 405928 w 2776174"/>
              <a:gd name="connsiteY1588" fmla="*/ 588899 h 1883236"/>
              <a:gd name="connsiteX1589" fmla="*/ 424381 w 2776174"/>
              <a:gd name="connsiteY1589" fmla="*/ 576521 h 1883236"/>
              <a:gd name="connsiteX1590" fmla="*/ 428025 w 2776174"/>
              <a:gd name="connsiteY1590" fmla="*/ 577967 h 1883236"/>
              <a:gd name="connsiteX1591" fmla="*/ 429124 w 2776174"/>
              <a:gd name="connsiteY1591" fmla="*/ 581900 h 1883236"/>
              <a:gd name="connsiteX1592" fmla="*/ 433231 w 2776174"/>
              <a:gd name="connsiteY1592" fmla="*/ 588321 h 1883236"/>
              <a:gd name="connsiteX1593" fmla="*/ 436528 w 2776174"/>
              <a:gd name="connsiteY1593" fmla="*/ 593180 h 1883236"/>
              <a:gd name="connsiteX1594" fmla="*/ 433983 w 2776174"/>
              <a:gd name="connsiteY1594" fmla="*/ 596130 h 1883236"/>
              <a:gd name="connsiteX1595" fmla="*/ 424554 w 2776174"/>
              <a:gd name="connsiteY1595" fmla="*/ 599254 h 1883236"/>
              <a:gd name="connsiteX1596" fmla="*/ 415184 w 2776174"/>
              <a:gd name="connsiteY1596" fmla="*/ 604113 h 1883236"/>
              <a:gd name="connsiteX1597" fmla="*/ 419985 w 2776174"/>
              <a:gd name="connsiteY1597" fmla="*/ 608856 h 1883236"/>
              <a:gd name="connsiteX1598" fmla="*/ 425306 w 2776174"/>
              <a:gd name="connsiteY1598" fmla="*/ 621176 h 1883236"/>
              <a:gd name="connsiteX1599" fmla="*/ 388633 w 2776174"/>
              <a:gd name="connsiteY1599" fmla="*/ 647149 h 1883236"/>
              <a:gd name="connsiteX1600" fmla="*/ 383600 w 2776174"/>
              <a:gd name="connsiteY1600" fmla="*/ 645587 h 1883236"/>
              <a:gd name="connsiteX1601" fmla="*/ 380419 w 2776174"/>
              <a:gd name="connsiteY1601" fmla="*/ 644488 h 1883236"/>
              <a:gd name="connsiteX1602" fmla="*/ 374635 w 2776174"/>
              <a:gd name="connsiteY1602" fmla="*/ 646975 h 1883236"/>
              <a:gd name="connsiteX1603" fmla="*/ 370759 w 2776174"/>
              <a:gd name="connsiteY1603" fmla="*/ 648363 h 1883236"/>
              <a:gd name="connsiteX1604" fmla="*/ 372263 w 2776174"/>
              <a:gd name="connsiteY1604" fmla="*/ 621639 h 1883236"/>
              <a:gd name="connsiteX1605" fmla="*/ 363586 w 2776174"/>
              <a:gd name="connsiteY1605" fmla="*/ 625341 h 1883236"/>
              <a:gd name="connsiteX1606" fmla="*/ 365495 w 2776174"/>
              <a:gd name="connsiteY1606" fmla="*/ 642174 h 1883236"/>
              <a:gd name="connsiteX1607" fmla="*/ 373420 w 2776174"/>
              <a:gd name="connsiteY1607" fmla="*/ 645124 h 1883236"/>
              <a:gd name="connsiteX1608" fmla="*/ 380419 w 2776174"/>
              <a:gd name="connsiteY1608" fmla="*/ 642232 h 1883236"/>
              <a:gd name="connsiteX1609" fmla="*/ 384700 w 2776174"/>
              <a:gd name="connsiteY1609" fmla="*/ 643620 h 1883236"/>
              <a:gd name="connsiteX1610" fmla="*/ 388633 w 2776174"/>
              <a:gd name="connsiteY1610" fmla="*/ 644893 h 1883236"/>
              <a:gd name="connsiteX1611" fmla="*/ 423340 w 2776174"/>
              <a:gd name="connsiteY1611" fmla="*/ 619962 h 1883236"/>
              <a:gd name="connsiteX1612" fmla="*/ 418712 w 2776174"/>
              <a:gd name="connsiteY1612" fmla="*/ 610707 h 1883236"/>
              <a:gd name="connsiteX1613" fmla="*/ 412928 w 2776174"/>
              <a:gd name="connsiteY1613" fmla="*/ 604344 h 1883236"/>
              <a:gd name="connsiteX1614" fmla="*/ 423976 w 2776174"/>
              <a:gd name="connsiteY1614" fmla="*/ 597056 h 1883236"/>
              <a:gd name="connsiteX1615" fmla="*/ 432884 w 2776174"/>
              <a:gd name="connsiteY1615" fmla="*/ 594163 h 1883236"/>
              <a:gd name="connsiteX1616" fmla="*/ 434214 w 2776174"/>
              <a:gd name="connsiteY1616" fmla="*/ 592948 h 1883236"/>
              <a:gd name="connsiteX1617" fmla="*/ 431669 w 2776174"/>
              <a:gd name="connsiteY1617" fmla="*/ 589999 h 1883236"/>
              <a:gd name="connsiteX1618" fmla="*/ 426810 w 2776174"/>
              <a:gd name="connsiteY1618" fmla="*/ 581669 h 1883236"/>
              <a:gd name="connsiteX1619" fmla="*/ 426290 w 2776174"/>
              <a:gd name="connsiteY1619" fmla="*/ 579471 h 1883236"/>
              <a:gd name="connsiteX1620" fmla="*/ 407606 w 2776174"/>
              <a:gd name="connsiteY1620" fmla="*/ 590403 h 1883236"/>
              <a:gd name="connsiteX1621" fmla="*/ 394822 w 2776174"/>
              <a:gd name="connsiteY1621" fmla="*/ 603881 h 1883236"/>
              <a:gd name="connsiteX1622" fmla="*/ 383600 w 2776174"/>
              <a:gd name="connsiteY1622" fmla="*/ 617822 h 1883236"/>
              <a:gd name="connsiteX1623" fmla="*/ 376023 w 2776174"/>
              <a:gd name="connsiteY1623" fmla="*/ 621697 h 1883236"/>
              <a:gd name="connsiteX1624" fmla="*/ 372437 w 2776174"/>
              <a:gd name="connsiteY1624" fmla="*/ 621697 h 1883236"/>
              <a:gd name="connsiteX1625" fmla="*/ 48335 w 2776174"/>
              <a:gd name="connsiteY1625" fmla="*/ 532443 h 1883236"/>
              <a:gd name="connsiteX1626" fmla="*/ 48335 w 2776174"/>
              <a:gd name="connsiteY1626" fmla="*/ 532443 h 1883236"/>
              <a:gd name="connsiteX1627" fmla="*/ 16752 w 2776174"/>
              <a:gd name="connsiteY1627" fmla="*/ 519139 h 1883236"/>
              <a:gd name="connsiteX1628" fmla="*/ 17967 w 2776174"/>
              <a:gd name="connsiteY1628" fmla="*/ 513355 h 1883236"/>
              <a:gd name="connsiteX1629" fmla="*/ 35320 w 2776174"/>
              <a:gd name="connsiteY1629" fmla="*/ 505257 h 1883236"/>
              <a:gd name="connsiteX1630" fmla="*/ 42956 w 2776174"/>
              <a:gd name="connsiteY1630" fmla="*/ 510405 h 1883236"/>
              <a:gd name="connsiteX1631" fmla="*/ 44691 w 2776174"/>
              <a:gd name="connsiteY1631" fmla="*/ 512892 h 1883236"/>
              <a:gd name="connsiteX1632" fmla="*/ 49434 w 2776174"/>
              <a:gd name="connsiteY1632" fmla="*/ 511330 h 1883236"/>
              <a:gd name="connsiteX1633" fmla="*/ 57127 w 2776174"/>
              <a:gd name="connsiteY1633" fmla="*/ 509132 h 1883236"/>
              <a:gd name="connsiteX1634" fmla="*/ 61986 w 2776174"/>
              <a:gd name="connsiteY1634" fmla="*/ 510925 h 1883236"/>
              <a:gd name="connsiteX1635" fmla="*/ 65746 w 2776174"/>
              <a:gd name="connsiteY1635" fmla="*/ 521684 h 1883236"/>
              <a:gd name="connsiteX1636" fmla="*/ 56144 w 2776174"/>
              <a:gd name="connsiteY1636" fmla="*/ 531634 h 1883236"/>
              <a:gd name="connsiteX1637" fmla="*/ 48509 w 2776174"/>
              <a:gd name="connsiteY1637" fmla="*/ 532443 h 1883236"/>
              <a:gd name="connsiteX1638" fmla="*/ 35551 w 2776174"/>
              <a:gd name="connsiteY1638" fmla="*/ 507281 h 1883236"/>
              <a:gd name="connsiteX1639" fmla="*/ 19818 w 2776174"/>
              <a:gd name="connsiteY1639" fmla="*/ 514454 h 1883236"/>
              <a:gd name="connsiteX1640" fmla="*/ 18892 w 2776174"/>
              <a:gd name="connsiteY1640" fmla="*/ 518445 h 1883236"/>
              <a:gd name="connsiteX1641" fmla="*/ 48335 w 2776174"/>
              <a:gd name="connsiteY1641" fmla="*/ 530014 h 1883236"/>
              <a:gd name="connsiteX1642" fmla="*/ 48335 w 2776174"/>
              <a:gd name="connsiteY1642" fmla="*/ 530014 h 1883236"/>
              <a:gd name="connsiteX1643" fmla="*/ 55623 w 2776174"/>
              <a:gd name="connsiteY1643" fmla="*/ 529088 h 1883236"/>
              <a:gd name="connsiteX1644" fmla="*/ 63722 w 2776174"/>
              <a:gd name="connsiteY1644" fmla="*/ 520817 h 1883236"/>
              <a:gd name="connsiteX1645" fmla="*/ 60714 w 2776174"/>
              <a:gd name="connsiteY1645" fmla="*/ 512198 h 1883236"/>
              <a:gd name="connsiteX1646" fmla="*/ 57359 w 2776174"/>
              <a:gd name="connsiteY1646" fmla="*/ 510983 h 1883236"/>
              <a:gd name="connsiteX1647" fmla="*/ 50533 w 2776174"/>
              <a:gd name="connsiteY1647" fmla="*/ 513008 h 1883236"/>
              <a:gd name="connsiteX1648" fmla="*/ 44749 w 2776174"/>
              <a:gd name="connsiteY1648" fmla="*/ 514743 h 1883236"/>
              <a:gd name="connsiteX1649" fmla="*/ 40757 w 2776174"/>
              <a:gd name="connsiteY1649" fmla="*/ 510289 h 1883236"/>
              <a:gd name="connsiteX1650" fmla="*/ 35609 w 2776174"/>
              <a:gd name="connsiteY1650" fmla="*/ 507281 h 188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Lst>
            <a:rect l="l" t="t" r="r" b="b"/>
            <a:pathLst>
              <a:path w="2776174" h="1883236">
                <a:moveTo>
                  <a:pt x="336804" y="1883108"/>
                </a:moveTo>
                <a:lnTo>
                  <a:pt x="336804" y="1883108"/>
                </a:lnTo>
                <a:cubicBezTo>
                  <a:pt x="331946" y="1883108"/>
                  <a:pt x="328359" y="1873563"/>
                  <a:pt x="327839" y="1864655"/>
                </a:cubicBezTo>
                <a:cubicBezTo>
                  <a:pt x="327202" y="1854243"/>
                  <a:pt x="330673" y="1847302"/>
                  <a:pt x="337152" y="1846781"/>
                </a:cubicBezTo>
                <a:cubicBezTo>
                  <a:pt x="345464" y="1846000"/>
                  <a:pt x="353469" y="1850108"/>
                  <a:pt x="357686" y="1857309"/>
                </a:cubicBezTo>
                <a:cubicBezTo>
                  <a:pt x="360434" y="1861214"/>
                  <a:pt x="361018" y="1866240"/>
                  <a:pt x="359248" y="1870671"/>
                </a:cubicBezTo>
                <a:cubicBezTo>
                  <a:pt x="356379" y="1874419"/>
                  <a:pt x="352284" y="1877040"/>
                  <a:pt x="347679" y="1878075"/>
                </a:cubicBezTo>
                <a:cubicBezTo>
                  <a:pt x="344689" y="1879041"/>
                  <a:pt x="341843" y="1880424"/>
                  <a:pt x="339234" y="1882182"/>
                </a:cubicBezTo>
                <a:cubicBezTo>
                  <a:pt x="338546" y="1882749"/>
                  <a:pt x="337695" y="1883073"/>
                  <a:pt x="336804" y="1883108"/>
                </a:cubicBezTo>
                <a:close/>
                <a:moveTo>
                  <a:pt x="339523" y="1848864"/>
                </a:moveTo>
                <a:lnTo>
                  <a:pt x="337441" y="1848864"/>
                </a:lnTo>
                <a:cubicBezTo>
                  <a:pt x="329805" y="1849789"/>
                  <a:pt x="329863" y="1861011"/>
                  <a:pt x="330095" y="1864424"/>
                </a:cubicBezTo>
                <a:cubicBezTo>
                  <a:pt x="330615" y="1873448"/>
                  <a:pt x="334202" y="1880736"/>
                  <a:pt x="336804" y="1880736"/>
                </a:cubicBezTo>
                <a:lnTo>
                  <a:pt x="336804" y="1880736"/>
                </a:lnTo>
                <a:cubicBezTo>
                  <a:pt x="337233" y="1880730"/>
                  <a:pt x="337649" y="1880568"/>
                  <a:pt x="337961" y="1880273"/>
                </a:cubicBezTo>
                <a:cubicBezTo>
                  <a:pt x="340750" y="1878399"/>
                  <a:pt x="343786" y="1876918"/>
                  <a:pt x="346985" y="1875877"/>
                </a:cubicBezTo>
                <a:cubicBezTo>
                  <a:pt x="351017" y="1874923"/>
                  <a:pt x="354626" y="1872690"/>
                  <a:pt x="357281" y="1869514"/>
                </a:cubicBezTo>
                <a:cubicBezTo>
                  <a:pt x="358652" y="1865766"/>
                  <a:pt x="358068" y="1861578"/>
                  <a:pt x="355720" y="1858350"/>
                </a:cubicBezTo>
                <a:cubicBezTo>
                  <a:pt x="352330" y="1852595"/>
                  <a:pt x="346204" y="1849002"/>
                  <a:pt x="339523" y="1848864"/>
                </a:cubicBezTo>
                <a:close/>
                <a:moveTo>
                  <a:pt x="317947" y="1839898"/>
                </a:moveTo>
                <a:cubicBezTo>
                  <a:pt x="314477" y="1839898"/>
                  <a:pt x="311874" y="1835502"/>
                  <a:pt x="311584" y="1831395"/>
                </a:cubicBezTo>
                <a:cubicBezTo>
                  <a:pt x="310896" y="1827820"/>
                  <a:pt x="313233" y="1824361"/>
                  <a:pt x="316808" y="1823667"/>
                </a:cubicBezTo>
                <a:cubicBezTo>
                  <a:pt x="316993" y="1823632"/>
                  <a:pt x="317178" y="1823603"/>
                  <a:pt x="317369" y="1823586"/>
                </a:cubicBezTo>
                <a:cubicBezTo>
                  <a:pt x="322343" y="1822892"/>
                  <a:pt x="325930" y="1824569"/>
                  <a:pt x="326971" y="1827809"/>
                </a:cubicBezTo>
                <a:cubicBezTo>
                  <a:pt x="328012" y="1831048"/>
                  <a:pt x="325814" y="1835444"/>
                  <a:pt x="320897" y="1839030"/>
                </a:cubicBezTo>
                <a:cubicBezTo>
                  <a:pt x="320041" y="1839643"/>
                  <a:pt x="319000" y="1839950"/>
                  <a:pt x="317947" y="1839898"/>
                </a:cubicBezTo>
                <a:close/>
                <a:moveTo>
                  <a:pt x="319220" y="1825726"/>
                </a:moveTo>
                <a:cubicBezTo>
                  <a:pt x="318624" y="1825668"/>
                  <a:pt x="318022" y="1825668"/>
                  <a:pt x="317427" y="1825726"/>
                </a:cubicBezTo>
                <a:cubicBezTo>
                  <a:pt x="314945" y="1826189"/>
                  <a:pt x="313308" y="1828578"/>
                  <a:pt x="313771" y="1831059"/>
                </a:cubicBezTo>
                <a:cubicBezTo>
                  <a:pt x="313777" y="1831071"/>
                  <a:pt x="313777" y="1831088"/>
                  <a:pt x="313782" y="1831105"/>
                </a:cubicBezTo>
                <a:cubicBezTo>
                  <a:pt x="313782" y="1834403"/>
                  <a:pt x="316038" y="1837526"/>
                  <a:pt x="317947" y="1837526"/>
                </a:cubicBezTo>
                <a:cubicBezTo>
                  <a:pt x="318427" y="1837503"/>
                  <a:pt x="318890" y="1837341"/>
                  <a:pt x="319278" y="1837064"/>
                </a:cubicBezTo>
                <a:cubicBezTo>
                  <a:pt x="324079" y="1833535"/>
                  <a:pt x="325062" y="1830296"/>
                  <a:pt x="324484" y="1828387"/>
                </a:cubicBezTo>
                <a:cubicBezTo>
                  <a:pt x="323905" y="1826478"/>
                  <a:pt x="321996" y="1825726"/>
                  <a:pt x="319220" y="1825726"/>
                </a:cubicBezTo>
                <a:close/>
                <a:moveTo>
                  <a:pt x="275547" y="1821156"/>
                </a:moveTo>
                <a:cubicBezTo>
                  <a:pt x="271903" y="1821156"/>
                  <a:pt x="268201" y="1818380"/>
                  <a:pt x="264615" y="1812827"/>
                </a:cubicBezTo>
                <a:cubicBezTo>
                  <a:pt x="263406" y="1811421"/>
                  <a:pt x="263094" y="1809449"/>
                  <a:pt x="263805" y="1807736"/>
                </a:cubicBezTo>
                <a:cubicBezTo>
                  <a:pt x="264673" y="1806117"/>
                  <a:pt x="266871" y="1805249"/>
                  <a:pt x="270052" y="1805249"/>
                </a:cubicBezTo>
                <a:cubicBezTo>
                  <a:pt x="275218" y="1805058"/>
                  <a:pt x="280204" y="1807175"/>
                  <a:pt x="283646" y="1811034"/>
                </a:cubicBezTo>
                <a:cubicBezTo>
                  <a:pt x="284507" y="1812456"/>
                  <a:pt x="284507" y="1814238"/>
                  <a:pt x="283646" y="1815661"/>
                </a:cubicBezTo>
                <a:cubicBezTo>
                  <a:pt x="282124" y="1818808"/>
                  <a:pt x="279035" y="1820908"/>
                  <a:pt x="275547" y="1821156"/>
                </a:cubicBezTo>
                <a:close/>
                <a:moveTo>
                  <a:pt x="270052" y="1807505"/>
                </a:moveTo>
                <a:cubicBezTo>
                  <a:pt x="267854" y="1807505"/>
                  <a:pt x="266234" y="1808026"/>
                  <a:pt x="265830" y="1808836"/>
                </a:cubicBezTo>
                <a:cubicBezTo>
                  <a:pt x="265425" y="1809645"/>
                  <a:pt x="265830" y="1810918"/>
                  <a:pt x="266524" y="1811612"/>
                </a:cubicBezTo>
                <a:cubicBezTo>
                  <a:pt x="272019" y="1820057"/>
                  <a:pt x="277283" y="1821272"/>
                  <a:pt x="281563" y="1814331"/>
                </a:cubicBezTo>
                <a:cubicBezTo>
                  <a:pt x="282032" y="1813631"/>
                  <a:pt x="282032" y="1812717"/>
                  <a:pt x="281563" y="1812017"/>
                </a:cubicBezTo>
                <a:cubicBezTo>
                  <a:pt x="278544" y="1808945"/>
                  <a:pt x="274356" y="1807303"/>
                  <a:pt x="270052" y="1807505"/>
                </a:cubicBezTo>
                <a:close/>
                <a:moveTo>
                  <a:pt x="232106" y="1800564"/>
                </a:moveTo>
                <a:lnTo>
                  <a:pt x="232106" y="1800564"/>
                </a:lnTo>
                <a:cubicBezTo>
                  <a:pt x="228092" y="1800066"/>
                  <a:pt x="224448" y="1797984"/>
                  <a:pt x="221984" y="1794779"/>
                </a:cubicBezTo>
                <a:cubicBezTo>
                  <a:pt x="219670" y="1792350"/>
                  <a:pt x="219786" y="1790499"/>
                  <a:pt x="220248" y="1789400"/>
                </a:cubicBezTo>
                <a:cubicBezTo>
                  <a:pt x="221636" y="1786219"/>
                  <a:pt x="227305" y="1785929"/>
                  <a:pt x="229041" y="1785929"/>
                </a:cubicBezTo>
                <a:cubicBezTo>
                  <a:pt x="232783" y="1785646"/>
                  <a:pt x="236479" y="1786901"/>
                  <a:pt x="239279" y="1789400"/>
                </a:cubicBezTo>
                <a:cubicBezTo>
                  <a:pt x="240083" y="1790412"/>
                  <a:pt x="240326" y="1791760"/>
                  <a:pt x="239915" y="1792986"/>
                </a:cubicBezTo>
                <a:cubicBezTo>
                  <a:pt x="238527" y="1797845"/>
                  <a:pt x="235693" y="1800564"/>
                  <a:pt x="232106" y="1800564"/>
                </a:cubicBezTo>
                <a:close/>
                <a:moveTo>
                  <a:pt x="229041" y="1788185"/>
                </a:moveTo>
                <a:cubicBezTo>
                  <a:pt x="225628" y="1788185"/>
                  <a:pt x="222851" y="1789053"/>
                  <a:pt x="222331" y="1790267"/>
                </a:cubicBezTo>
                <a:cubicBezTo>
                  <a:pt x="221810" y="1791482"/>
                  <a:pt x="222967" y="1792523"/>
                  <a:pt x="223661" y="1793218"/>
                </a:cubicBezTo>
                <a:cubicBezTo>
                  <a:pt x="225720" y="1795925"/>
                  <a:pt x="228746" y="1797730"/>
                  <a:pt x="232106" y="1798250"/>
                </a:cubicBezTo>
                <a:cubicBezTo>
                  <a:pt x="235519" y="1798250"/>
                  <a:pt x="237139" y="1794548"/>
                  <a:pt x="237891" y="1792466"/>
                </a:cubicBezTo>
                <a:cubicBezTo>
                  <a:pt x="238076" y="1791928"/>
                  <a:pt x="237966" y="1791338"/>
                  <a:pt x="237602" y="1790904"/>
                </a:cubicBezTo>
                <a:cubicBezTo>
                  <a:pt x="235230" y="1788879"/>
                  <a:pt x="232147" y="1787902"/>
                  <a:pt x="229041" y="1788185"/>
                </a:cubicBezTo>
                <a:close/>
                <a:moveTo>
                  <a:pt x="2393689" y="1704369"/>
                </a:moveTo>
                <a:cubicBezTo>
                  <a:pt x="2387269" y="1704369"/>
                  <a:pt x="2378939" y="1699278"/>
                  <a:pt x="2378071" y="1694824"/>
                </a:cubicBezTo>
                <a:cubicBezTo>
                  <a:pt x="2376972" y="1689040"/>
                  <a:pt x="2369337" y="1674348"/>
                  <a:pt x="2360140" y="1672092"/>
                </a:cubicBezTo>
                <a:cubicBezTo>
                  <a:pt x="2354702" y="1670703"/>
                  <a:pt x="2354702" y="1665497"/>
                  <a:pt x="2354760" y="1660002"/>
                </a:cubicBezTo>
                <a:cubicBezTo>
                  <a:pt x="2354818" y="1654507"/>
                  <a:pt x="2354760" y="1647566"/>
                  <a:pt x="2348976" y="1643459"/>
                </a:cubicBezTo>
                <a:cubicBezTo>
                  <a:pt x="2343186" y="1639415"/>
                  <a:pt x="2339779" y="1632763"/>
                  <a:pt x="2339894" y="1625701"/>
                </a:cubicBezTo>
                <a:cubicBezTo>
                  <a:pt x="2339825" y="1622264"/>
                  <a:pt x="2338888" y="1618904"/>
                  <a:pt x="2337175" y="1615925"/>
                </a:cubicBezTo>
                <a:cubicBezTo>
                  <a:pt x="2334457" y="1612049"/>
                  <a:pt x="2336134" y="1607364"/>
                  <a:pt x="2337812" y="1602505"/>
                </a:cubicBezTo>
                <a:cubicBezTo>
                  <a:pt x="2339894" y="1596721"/>
                  <a:pt x="2342035" y="1590473"/>
                  <a:pt x="2336713" y="1585152"/>
                </a:cubicBezTo>
                <a:cubicBezTo>
                  <a:pt x="2331391" y="1579830"/>
                  <a:pt x="2326359" y="1573988"/>
                  <a:pt x="2321616" y="1568435"/>
                </a:cubicBezTo>
                <a:cubicBezTo>
                  <a:pt x="2316872" y="1562882"/>
                  <a:pt x="2313402" y="1558833"/>
                  <a:pt x="2309410" y="1554841"/>
                </a:cubicBezTo>
                <a:cubicBezTo>
                  <a:pt x="2307814" y="1553008"/>
                  <a:pt x="2305535" y="1551897"/>
                  <a:pt x="2303105" y="1551776"/>
                </a:cubicBezTo>
                <a:cubicBezTo>
                  <a:pt x="2298536" y="1551776"/>
                  <a:pt x="2293677" y="1556172"/>
                  <a:pt x="2288529" y="1560741"/>
                </a:cubicBezTo>
                <a:lnTo>
                  <a:pt x="2285521" y="1563460"/>
                </a:lnTo>
                <a:cubicBezTo>
                  <a:pt x="2282588" y="1566254"/>
                  <a:pt x="2278747" y="1567897"/>
                  <a:pt x="2274704" y="1568088"/>
                </a:cubicBezTo>
                <a:cubicBezTo>
                  <a:pt x="2269804" y="1568192"/>
                  <a:pt x="2265599" y="1564611"/>
                  <a:pt x="2264928" y="1559758"/>
                </a:cubicBezTo>
                <a:cubicBezTo>
                  <a:pt x="2263771" y="1552990"/>
                  <a:pt x="2252839" y="1542405"/>
                  <a:pt x="2240576" y="1542405"/>
                </a:cubicBezTo>
                <a:cubicBezTo>
                  <a:pt x="2234323" y="1542897"/>
                  <a:pt x="2228151" y="1544117"/>
                  <a:pt x="2222181" y="1546049"/>
                </a:cubicBezTo>
                <a:cubicBezTo>
                  <a:pt x="2217531" y="1547588"/>
                  <a:pt x="2212718" y="1548600"/>
                  <a:pt x="2207836" y="1549057"/>
                </a:cubicBezTo>
                <a:cubicBezTo>
                  <a:pt x="2203729" y="1549057"/>
                  <a:pt x="2203093" y="1546801"/>
                  <a:pt x="2203093" y="1545470"/>
                </a:cubicBezTo>
                <a:cubicBezTo>
                  <a:pt x="2203093" y="1540669"/>
                  <a:pt x="2200547" y="1535810"/>
                  <a:pt x="2198060" y="1535810"/>
                </a:cubicBezTo>
                <a:cubicBezTo>
                  <a:pt x="2196845" y="1535810"/>
                  <a:pt x="2195573" y="1536852"/>
                  <a:pt x="2194300" y="1538818"/>
                </a:cubicBezTo>
                <a:cubicBezTo>
                  <a:pt x="2191582" y="1543041"/>
                  <a:pt x="2190020" y="1544603"/>
                  <a:pt x="2186781" y="1544603"/>
                </a:cubicBezTo>
                <a:cubicBezTo>
                  <a:pt x="2185537" y="1544557"/>
                  <a:pt x="2184299" y="1544424"/>
                  <a:pt x="2183078" y="1544198"/>
                </a:cubicBezTo>
                <a:cubicBezTo>
                  <a:pt x="2180030" y="1543729"/>
                  <a:pt x="2176959" y="1543434"/>
                  <a:pt x="2173881" y="1543330"/>
                </a:cubicBezTo>
                <a:cubicBezTo>
                  <a:pt x="2162312" y="1542752"/>
                  <a:pt x="2150743" y="1547264"/>
                  <a:pt x="2149760" y="1550850"/>
                </a:cubicBezTo>
                <a:cubicBezTo>
                  <a:pt x="2149760" y="1551197"/>
                  <a:pt x="2149355" y="1552123"/>
                  <a:pt x="2150975" y="1553395"/>
                </a:cubicBezTo>
                <a:cubicBezTo>
                  <a:pt x="2153798" y="1554992"/>
                  <a:pt x="2154989" y="1558439"/>
                  <a:pt x="2153751" y="1561435"/>
                </a:cubicBezTo>
                <a:cubicBezTo>
                  <a:pt x="2153173" y="1563634"/>
                  <a:pt x="2152652" y="1565542"/>
                  <a:pt x="2156470" y="1568550"/>
                </a:cubicBezTo>
                <a:cubicBezTo>
                  <a:pt x="2168039" y="1577632"/>
                  <a:pt x="2168907" y="1580698"/>
                  <a:pt x="2168039" y="1582549"/>
                </a:cubicBezTo>
                <a:cubicBezTo>
                  <a:pt x="2167171" y="1584400"/>
                  <a:pt x="2164568" y="1584573"/>
                  <a:pt x="2163643" y="1584573"/>
                </a:cubicBezTo>
                <a:cubicBezTo>
                  <a:pt x="2162931" y="1584625"/>
                  <a:pt x="2162214" y="1584625"/>
                  <a:pt x="2161503" y="1584573"/>
                </a:cubicBezTo>
                <a:cubicBezTo>
                  <a:pt x="2154735" y="1583879"/>
                  <a:pt x="2148141" y="1576533"/>
                  <a:pt x="2143282" y="1571211"/>
                </a:cubicBezTo>
                <a:cubicBezTo>
                  <a:pt x="2141864" y="1569459"/>
                  <a:pt x="2140279" y="1567845"/>
                  <a:pt x="2138538" y="1566410"/>
                </a:cubicBezTo>
                <a:lnTo>
                  <a:pt x="2138538" y="1566410"/>
                </a:lnTo>
                <a:lnTo>
                  <a:pt x="2138538" y="1567336"/>
                </a:lnTo>
                <a:cubicBezTo>
                  <a:pt x="2138018" y="1573814"/>
                  <a:pt x="2137728" y="1577748"/>
                  <a:pt x="2128011" y="1577748"/>
                </a:cubicBezTo>
                <a:lnTo>
                  <a:pt x="2125292" y="1577748"/>
                </a:lnTo>
                <a:cubicBezTo>
                  <a:pt x="2123383" y="1577748"/>
                  <a:pt x="2121648" y="1577748"/>
                  <a:pt x="2120144" y="1577748"/>
                </a:cubicBezTo>
                <a:lnTo>
                  <a:pt x="2117541" y="1577748"/>
                </a:lnTo>
                <a:cubicBezTo>
                  <a:pt x="2111357" y="1578378"/>
                  <a:pt x="2105289" y="1575746"/>
                  <a:pt x="2101518" y="1570806"/>
                </a:cubicBezTo>
                <a:cubicBezTo>
                  <a:pt x="2098857" y="1567972"/>
                  <a:pt x="2090701" y="1559237"/>
                  <a:pt x="2087057" y="1559237"/>
                </a:cubicBezTo>
                <a:cubicBezTo>
                  <a:pt x="2086652" y="1559237"/>
                  <a:pt x="2085669" y="1559237"/>
                  <a:pt x="2085264" y="1561782"/>
                </a:cubicBezTo>
                <a:cubicBezTo>
                  <a:pt x="2084685" y="1565890"/>
                  <a:pt x="2081099" y="1568377"/>
                  <a:pt x="2075662" y="1568377"/>
                </a:cubicBezTo>
                <a:cubicBezTo>
                  <a:pt x="2069970" y="1568423"/>
                  <a:pt x="2064544" y="1565941"/>
                  <a:pt x="2060854" y="1561609"/>
                </a:cubicBezTo>
                <a:cubicBezTo>
                  <a:pt x="2058887" y="1558509"/>
                  <a:pt x="2055688" y="1556403"/>
                  <a:pt x="2052061" y="1555825"/>
                </a:cubicBezTo>
                <a:cubicBezTo>
                  <a:pt x="2050557" y="1555825"/>
                  <a:pt x="2049747" y="1556635"/>
                  <a:pt x="2049574" y="1558254"/>
                </a:cubicBezTo>
                <a:cubicBezTo>
                  <a:pt x="2049227" y="1561262"/>
                  <a:pt x="2047376" y="1561898"/>
                  <a:pt x="2045872" y="1561898"/>
                </a:cubicBezTo>
                <a:cubicBezTo>
                  <a:pt x="2043460" y="1561586"/>
                  <a:pt x="2041117" y="1560880"/>
                  <a:pt x="2038930" y="1559816"/>
                </a:cubicBezTo>
                <a:cubicBezTo>
                  <a:pt x="2037426" y="1559237"/>
                  <a:pt x="2035807" y="1558543"/>
                  <a:pt x="2034129" y="1557965"/>
                </a:cubicBezTo>
                <a:cubicBezTo>
                  <a:pt x="2032452" y="1557387"/>
                  <a:pt x="2030832" y="1558833"/>
                  <a:pt x="2029155" y="1561898"/>
                </a:cubicBezTo>
                <a:cubicBezTo>
                  <a:pt x="2027477" y="1564964"/>
                  <a:pt x="2025106" y="1569187"/>
                  <a:pt x="2019842" y="1569187"/>
                </a:cubicBezTo>
                <a:cubicBezTo>
                  <a:pt x="2018997" y="1569268"/>
                  <a:pt x="2018141" y="1569268"/>
                  <a:pt x="2017297" y="1569187"/>
                </a:cubicBezTo>
                <a:cubicBezTo>
                  <a:pt x="2010182" y="1567741"/>
                  <a:pt x="2006827" y="1567683"/>
                  <a:pt x="2005728" y="1569187"/>
                </a:cubicBezTo>
                <a:cubicBezTo>
                  <a:pt x="2004629" y="1570691"/>
                  <a:pt x="2004976" y="1571327"/>
                  <a:pt x="2005381" y="1573467"/>
                </a:cubicBezTo>
                <a:cubicBezTo>
                  <a:pt x="2005219" y="1577262"/>
                  <a:pt x="2003605" y="1580842"/>
                  <a:pt x="2000869" y="1583474"/>
                </a:cubicBezTo>
                <a:cubicBezTo>
                  <a:pt x="1995084" y="1590531"/>
                  <a:pt x="1984499" y="1598109"/>
                  <a:pt x="1977731" y="1597241"/>
                </a:cubicBezTo>
                <a:cubicBezTo>
                  <a:pt x="1975261" y="1596882"/>
                  <a:pt x="1972768" y="1596668"/>
                  <a:pt x="1970269" y="1596605"/>
                </a:cubicBezTo>
                <a:cubicBezTo>
                  <a:pt x="1964774" y="1596605"/>
                  <a:pt x="1962634" y="1598167"/>
                  <a:pt x="1962634" y="1602389"/>
                </a:cubicBezTo>
                <a:cubicBezTo>
                  <a:pt x="1962634" y="1608521"/>
                  <a:pt x="1954883" y="1612917"/>
                  <a:pt x="1948057" y="1616792"/>
                </a:cubicBezTo>
                <a:cubicBezTo>
                  <a:pt x="1946067" y="1617840"/>
                  <a:pt x="1944135" y="1618997"/>
                  <a:pt x="1942273" y="1620263"/>
                </a:cubicBezTo>
                <a:cubicBezTo>
                  <a:pt x="1940075" y="1621709"/>
                  <a:pt x="1940537" y="1623503"/>
                  <a:pt x="1941636" y="1627147"/>
                </a:cubicBezTo>
                <a:cubicBezTo>
                  <a:pt x="1944905" y="1634071"/>
                  <a:pt x="1942406" y="1642337"/>
                  <a:pt x="1935852" y="1646293"/>
                </a:cubicBezTo>
                <a:cubicBezTo>
                  <a:pt x="1934076" y="1647352"/>
                  <a:pt x="1932775" y="1649046"/>
                  <a:pt x="1932208" y="1651036"/>
                </a:cubicBezTo>
                <a:cubicBezTo>
                  <a:pt x="1931919" y="1653177"/>
                  <a:pt x="1933712" y="1655490"/>
                  <a:pt x="1935968" y="1658440"/>
                </a:cubicBezTo>
                <a:cubicBezTo>
                  <a:pt x="1941590" y="1664462"/>
                  <a:pt x="1944569" y="1672479"/>
                  <a:pt x="1944239" y="1680710"/>
                </a:cubicBezTo>
                <a:cubicBezTo>
                  <a:pt x="1944176" y="1681098"/>
                  <a:pt x="1943939" y="1681433"/>
                  <a:pt x="1943603" y="1681636"/>
                </a:cubicBezTo>
                <a:cubicBezTo>
                  <a:pt x="1943262" y="1681833"/>
                  <a:pt x="1942845" y="1681833"/>
                  <a:pt x="1942504" y="1681636"/>
                </a:cubicBezTo>
                <a:cubicBezTo>
                  <a:pt x="1939473" y="1679421"/>
                  <a:pt x="1935933" y="1678009"/>
                  <a:pt x="1932208" y="1677529"/>
                </a:cubicBezTo>
                <a:lnTo>
                  <a:pt x="1931051" y="1677529"/>
                </a:lnTo>
                <a:cubicBezTo>
                  <a:pt x="1924283" y="1677529"/>
                  <a:pt x="1913698" y="1672497"/>
                  <a:pt x="1904790" y="1668447"/>
                </a:cubicBezTo>
                <a:cubicBezTo>
                  <a:pt x="1901221" y="1666498"/>
                  <a:pt x="1897432" y="1664965"/>
                  <a:pt x="1893510" y="1663878"/>
                </a:cubicBezTo>
                <a:cubicBezTo>
                  <a:pt x="1890039" y="1663878"/>
                  <a:pt x="1888998" y="1659655"/>
                  <a:pt x="1887725" y="1655201"/>
                </a:cubicBezTo>
                <a:cubicBezTo>
                  <a:pt x="1887199" y="1652176"/>
                  <a:pt x="1886158" y="1649261"/>
                  <a:pt x="1884660" y="1646582"/>
                </a:cubicBezTo>
                <a:cubicBezTo>
                  <a:pt x="1882930" y="1643378"/>
                  <a:pt x="1881976" y="1639809"/>
                  <a:pt x="1881883" y="1636170"/>
                </a:cubicBezTo>
                <a:cubicBezTo>
                  <a:pt x="1881363" y="1631948"/>
                  <a:pt x="1880900" y="1627956"/>
                  <a:pt x="1878470" y="1626163"/>
                </a:cubicBezTo>
                <a:cubicBezTo>
                  <a:pt x="1866352" y="1616365"/>
                  <a:pt x="1857230" y="1603355"/>
                  <a:pt x="1852151" y="1588622"/>
                </a:cubicBezTo>
                <a:cubicBezTo>
                  <a:pt x="1847177" y="1571269"/>
                  <a:pt x="1816172" y="1562303"/>
                  <a:pt x="1804661" y="1561667"/>
                </a:cubicBezTo>
                <a:lnTo>
                  <a:pt x="1804256" y="1561667"/>
                </a:lnTo>
                <a:cubicBezTo>
                  <a:pt x="1797257" y="1561667"/>
                  <a:pt x="1791993" y="1572426"/>
                  <a:pt x="1788523" y="1579541"/>
                </a:cubicBezTo>
                <a:cubicBezTo>
                  <a:pt x="1786267" y="1584053"/>
                  <a:pt x="1785168" y="1586251"/>
                  <a:pt x="1783779" y="1586829"/>
                </a:cubicBezTo>
                <a:cubicBezTo>
                  <a:pt x="1783473" y="1586887"/>
                  <a:pt x="1783160" y="1586887"/>
                  <a:pt x="1782854" y="1586829"/>
                </a:cubicBezTo>
                <a:cubicBezTo>
                  <a:pt x="1779614" y="1586829"/>
                  <a:pt x="1770938" y="1581855"/>
                  <a:pt x="1759716" y="1575260"/>
                </a:cubicBezTo>
                <a:cubicBezTo>
                  <a:pt x="1756014" y="1573120"/>
                  <a:pt x="1752833" y="1571269"/>
                  <a:pt x="1750982" y="1570344"/>
                </a:cubicBezTo>
                <a:cubicBezTo>
                  <a:pt x="1744214" y="1566722"/>
                  <a:pt x="1740170" y="1559498"/>
                  <a:pt x="1740627" y="1551833"/>
                </a:cubicBezTo>
                <a:cubicBezTo>
                  <a:pt x="1740627" y="1544603"/>
                  <a:pt x="1727439" y="1532745"/>
                  <a:pt x="1723911" y="1531530"/>
                </a:cubicBezTo>
                <a:cubicBezTo>
                  <a:pt x="1720382" y="1530315"/>
                  <a:pt x="1696782" y="1507640"/>
                  <a:pt x="1692790" y="1503765"/>
                </a:cubicBezTo>
                <a:lnTo>
                  <a:pt x="1650795" y="1503765"/>
                </a:lnTo>
                <a:lnTo>
                  <a:pt x="1642119" y="1514987"/>
                </a:lnTo>
                <a:cubicBezTo>
                  <a:pt x="1641899" y="1515235"/>
                  <a:pt x="1641581" y="1515380"/>
                  <a:pt x="1641251" y="1515392"/>
                </a:cubicBezTo>
                <a:lnTo>
                  <a:pt x="1563566" y="1516028"/>
                </a:lnTo>
                <a:cubicBezTo>
                  <a:pt x="1563566" y="1516028"/>
                  <a:pt x="1563277" y="1516028"/>
                  <a:pt x="1563161" y="1516028"/>
                </a:cubicBezTo>
                <a:cubicBezTo>
                  <a:pt x="1563045" y="1516028"/>
                  <a:pt x="1503582" y="1494047"/>
                  <a:pt x="1492765" y="1491560"/>
                </a:cubicBezTo>
                <a:cubicBezTo>
                  <a:pt x="1481936" y="1487591"/>
                  <a:pt x="1471698" y="1482160"/>
                  <a:pt x="1462339" y="1475421"/>
                </a:cubicBezTo>
                <a:lnTo>
                  <a:pt x="1399925" y="1483577"/>
                </a:lnTo>
                <a:cubicBezTo>
                  <a:pt x="1399445" y="1483629"/>
                  <a:pt x="1398982" y="1483375"/>
                  <a:pt x="1398768" y="1482941"/>
                </a:cubicBezTo>
                <a:cubicBezTo>
                  <a:pt x="1396194" y="1477353"/>
                  <a:pt x="1394123" y="1471545"/>
                  <a:pt x="1392578" y="1465588"/>
                </a:cubicBezTo>
                <a:cubicBezTo>
                  <a:pt x="1389455" y="1454019"/>
                  <a:pt x="1375225" y="1437707"/>
                  <a:pt x="1367937" y="1436087"/>
                </a:cubicBezTo>
                <a:cubicBezTo>
                  <a:pt x="1366479" y="1435746"/>
                  <a:pt x="1364981" y="1435589"/>
                  <a:pt x="1363483" y="1435624"/>
                </a:cubicBezTo>
                <a:lnTo>
                  <a:pt x="1361111" y="1435624"/>
                </a:lnTo>
                <a:cubicBezTo>
                  <a:pt x="1355223" y="1436168"/>
                  <a:pt x="1349340" y="1434542"/>
                  <a:pt x="1344568" y="1431054"/>
                </a:cubicBezTo>
                <a:cubicBezTo>
                  <a:pt x="1334387" y="1424576"/>
                  <a:pt x="1322876" y="1417288"/>
                  <a:pt x="1311307" y="1417288"/>
                </a:cubicBezTo>
                <a:cubicBezTo>
                  <a:pt x="1304829" y="1417288"/>
                  <a:pt x="1304829" y="1413586"/>
                  <a:pt x="1304771" y="1409710"/>
                </a:cubicBezTo>
                <a:cubicBezTo>
                  <a:pt x="1305193" y="1402688"/>
                  <a:pt x="1302116" y="1395914"/>
                  <a:pt x="1296557" y="1391605"/>
                </a:cubicBezTo>
                <a:lnTo>
                  <a:pt x="1294301" y="1389580"/>
                </a:lnTo>
                <a:cubicBezTo>
                  <a:pt x="1278857" y="1375929"/>
                  <a:pt x="1267750" y="1366095"/>
                  <a:pt x="1267750" y="1359790"/>
                </a:cubicBezTo>
                <a:cubicBezTo>
                  <a:pt x="1267831" y="1357835"/>
                  <a:pt x="1268121" y="1355897"/>
                  <a:pt x="1268618" y="1354006"/>
                </a:cubicBezTo>
                <a:cubicBezTo>
                  <a:pt x="1269833" y="1348221"/>
                  <a:pt x="1271105" y="1342437"/>
                  <a:pt x="1264800" y="1339545"/>
                </a:cubicBezTo>
                <a:cubicBezTo>
                  <a:pt x="1254678" y="1335149"/>
                  <a:pt x="1254446" y="1332719"/>
                  <a:pt x="1253231" y="1322191"/>
                </a:cubicBezTo>
                <a:lnTo>
                  <a:pt x="1253231" y="1321497"/>
                </a:lnTo>
                <a:cubicBezTo>
                  <a:pt x="1252653" y="1316349"/>
                  <a:pt x="1251091" y="1315713"/>
                  <a:pt x="1248488" y="1314672"/>
                </a:cubicBezTo>
                <a:cubicBezTo>
                  <a:pt x="1244619" y="1313214"/>
                  <a:pt x="1241402" y="1310426"/>
                  <a:pt x="1239407" y="1306805"/>
                </a:cubicBezTo>
                <a:cubicBezTo>
                  <a:pt x="1234588" y="1297613"/>
                  <a:pt x="1227670" y="1289689"/>
                  <a:pt x="1219219" y="1283667"/>
                </a:cubicBezTo>
                <a:cubicBezTo>
                  <a:pt x="1214939" y="1281180"/>
                  <a:pt x="1214592" y="1274528"/>
                  <a:pt x="1214187" y="1266834"/>
                </a:cubicBezTo>
                <a:cubicBezTo>
                  <a:pt x="1214308" y="1260217"/>
                  <a:pt x="1213007" y="1253646"/>
                  <a:pt x="1210369" y="1247572"/>
                </a:cubicBezTo>
                <a:cubicBezTo>
                  <a:pt x="1203601" y="1236004"/>
                  <a:pt x="1202791" y="1226691"/>
                  <a:pt x="1207187" y="1210957"/>
                </a:cubicBezTo>
                <a:cubicBezTo>
                  <a:pt x="1210415" y="1195923"/>
                  <a:pt x="1207182" y="1180224"/>
                  <a:pt x="1198279" y="1167689"/>
                </a:cubicBezTo>
                <a:cubicBezTo>
                  <a:pt x="1192495" y="1158897"/>
                  <a:pt x="1197180" y="1147213"/>
                  <a:pt x="1201287" y="1136858"/>
                </a:cubicBezTo>
                <a:cubicBezTo>
                  <a:pt x="1203052" y="1132879"/>
                  <a:pt x="1204405" y="1128731"/>
                  <a:pt x="1205336" y="1124480"/>
                </a:cubicBezTo>
                <a:cubicBezTo>
                  <a:pt x="1206146" y="1119505"/>
                  <a:pt x="1206435" y="1109845"/>
                  <a:pt x="1206840" y="1098623"/>
                </a:cubicBezTo>
                <a:cubicBezTo>
                  <a:pt x="1206991" y="1084775"/>
                  <a:pt x="1207916" y="1070951"/>
                  <a:pt x="1209617" y="1057207"/>
                </a:cubicBezTo>
                <a:cubicBezTo>
                  <a:pt x="1210502" y="1051642"/>
                  <a:pt x="1210756" y="1045997"/>
                  <a:pt x="1210369" y="1040374"/>
                </a:cubicBezTo>
                <a:cubicBezTo>
                  <a:pt x="1210369" y="1036499"/>
                  <a:pt x="1210080" y="1033896"/>
                  <a:pt x="1211468" y="1032392"/>
                </a:cubicBezTo>
                <a:cubicBezTo>
                  <a:pt x="1212827" y="1031281"/>
                  <a:pt x="1214644" y="1030917"/>
                  <a:pt x="1216327" y="1031408"/>
                </a:cubicBezTo>
                <a:cubicBezTo>
                  <a:pt x="1219277" y="1031813"/>
                  <a:pt x="1221359" y="1031408"/>
                  <a:pt x="1221591" y="1030425"/>
                </a:cubicBezTo>
                <a:cubicBezTo>
                  <a:pt x="1221822" y="1029442"/>
                  <a:pt x="1220434" y="1027012"/>
                  <a:pt x="1215806" y="1024640"/>
                </a:cubicBezTo>
                <a:cubicBezTo>
                  <a:pt x="1211815" y="1022477"/>
                  <a:pt x="1209328" y="1018306"/>
                  <a:pt x="1209328" y="1013766"/>
                </a:cubicBezTo>
                <a:cubicBezTo>
                  <a:pt x="1208796" y="1008375"/>
                  <a:pt x="1206800" y="1003232"/>
                  <a:pt x="1203543" y="998900"/>
                </a:cubicBezTo>
                <a:cubicBezTo>
                  <a:pt x="1195688" y="988019"/>
                  <a:pt x="1190800" y="975282"/>
                  <a:pt x="1189372" y="961937"/>
                </a:cubicBezTo>
                <a:cubicBezTo>
                  <a:pt x="1189337" y="961313"/>
                  <a:pt x="1189181" y="960705"/>
                  <a:pt x="1188909" y="960144"/>
                </a:cubicBezTo>
                <a:cubicBezTo>
                  <a:pt x="1188712" y="959803"/>
                  <a:pt x="1188712" y="959386"/>
                  <a:pt x="1188909" y="959045"/>
                </a:cubicBezTo>
                <a:cubicBezTo>
                  <a:pt x="1189157" y="958727"/>
                  <a:pt x="1189545" y="958553"/>
                  <a:pt x="1189950" y="958582"/>
                </a:cubicBezTo>
                <a:cubicBezTo>
                  <a:pt x="1198615" y="959791"/>
                  <a:pt x="1207350" y="960503"/>
                  <a:pt x="1216096" y="960723"/>
                </a:cubicBezTo>
                <a:cubicBezTo>
                  <a:pt x="1221695" y="960804"/>
                  <a:pt x="1227283" y="960121"/>
                  <a:pt x="1232697" y="958698"/>
                </a:cubicBezTo>
                <a:cubicBezTo>
                  <a:pt x="1233009" y="958565"/>
                  <a:pt x="1233368" y="958565"/>
                  <a:pt x="1233680" y="958698"/>
                </a:cubicBezTo>
                <a:cubicBezTo>
                  <a:pt x="1233952" y="958929"/>
                  <a:pt x="1234097" y="959271"/>
                  <a:pt x="1234085" y="959623"/>
                </a:cubicBezTo>
                <a:cubicBezTo>
                  <a:pt x="1233750" y="962383"/>
                  <a:pt x="1234455" y="965165"/>
                  <a:pt x="1236052" y="967433"/>
                </a:cubicBezTo>
                <a:cubicBezTo>
                  <a:pt x="1236613" y="968051"/>
                  <a:pt x="1237417" y="968387"/>
                  <a:pt x="1238250" y="968358"/>
                </a:cubicBezTo>
                <a:cubicBezTo>
                  <a:pt x="1242357" y="968358"/>
                  <a:pt x="1245133" y="972291"/>
                  <a:pt x="1246117" y="976167"/>
                </a:cubicBezTo>
                <a:cubicBezTo>
                  <a:pt x="1247609" y="980332"/>
                  <a:pt x="1246088" y="984977"/>
                  <a:pt x="1242415" y="987447"/>
                </a:cubicBezTo>
                <a:cubicBezTo>
                  <a:pt x="1239708" y="988829"/>
                  <a:pt x="1238296" y="991889"/>
                  <a:pt x="1239002" y="994851"/>
                </a:cubicBezTo>
                <a:cubicBezTo>
                  <a:pt x="1240251" y="998304"/>
                  <a:pt x="1244069" y="1000091"/>
                  <a:pt x="1247522" y="998842"/>
                </a:cubicBezTo>
                <a:cubicBezTo>
                  <a:pt x="1248737" y="998402"/>
                  <a:pt x="1249796" y="997616"/>
                  <a:pt x="1250571" y="996586"/>
                </a:cubicBezTo>
                <a:cubicBezTo>
                  <a:pt x="1254452" y="989280"/>
                  <a:pt x="1255302" y="980742"/>
                  <a:pt x="1252942" y="972812"/>
                </a:cubicBezTo>
                <a:cubicBezTo>
                  <a:pt x="1251971" y="968740"/>
                  <a:pt x="1251808" y="964511"/>
                  <a:pt x="1252480" y="960375"/>
                </a:cubicBezTo>
                <a:cubicBezTo>
                  <a:pt x="1253914" y="954817"/>
                  <a:pt x="1252335" y="948911"/>
                  <a:pt x="1248315" y="944815"/>
                </a:cubicBezTo>
                <a:cubicBezTo>
                  <a:pt x="1247297" y="943670"/>
                  <a:pt x="1246371" y="942455"/>
                  <a:pt x="1245538" y="941171"/>
                </a:cubicBezTo>
                <a:cubicBezTo>
                  <a:pt x="1245330" y="940812"/>
                  <a:pt x="1245330" y="940373"/>
                  <a:pt x="1245538" y="940014"/>
                </a:cubicBezTo>
                <a:cubicBezTo>
                  <a:pt x="1245729" y="939638"/>
                  <a:pt x="1246105" y="939395"/>
                  <a:pt x="1246522" y="939378"/>
                </a:cubicBezTo>
                <a:lnTo>
                  <a:pt x="1998497" y="935387"/>
                </a:lnTo>
                <a:cubicBezTo>
                  <a:pt x="1998497" y="931800"/>
                  <a:pt x="1999886" y="921736"/>
                  <a:pt x="2005554" y="921736"/>
                </a:cubicBezTo>
                <a:cubicBezTo>
                  <a:pt x="2007052" y="921816"/>
                  <a:pt x="2008487" y="922360"/>
                  <a:pt x="2009661" y="923297"/>
                </a:cubicBezTo>
                <a:cubicBezTo>
                  <a:pt x="2013184" y="926091"/>
                  <a:pt x="2015197" y="930372"/>
                  <a:pt x="2015099" y="934866"/>
                </a:cubicBezTo>
                <a:cubicBezTo>
                  <a:pt x="2015503" y="939031"/>
                  <a:pt x="2015850" y="942270"/>
                  <a:pt x="2020883" y="944121"/>
                </a:cubicBezTo>
                <a:cubicBezTo>
                  <a:pt x="2024203" y="945463"/>
                  <a:pt x="2027448" y="946990"/>
                  <a:pt x="2030601" y="948691"/>
                </a:cubicBezTo>
                <a:cubicBezTo>
                  <a:pt x="2035922" y="951410"/>
                  <a:pt x="2040319" y="953550"/>
                  <a:pt x="2043442" y="952219"/>
                </a:cubicBezTo>
                <a:cubicBezTo>
                  <a:pt x="2044391" y="951803"/>
                  <a:pt x="2045317" y="951340"/>
                  <a:pt x="2046219" y="950831"/>
                </a:cubicBezTo>
                <a:cubicBezTo>
                  <a:pt x="2049713" y="948656"/>
                  <a:pt x="2053687" y="947366"/>
                  <a:pt x="2057788" y="947071"/>
                </a:cubicBezTo>
                <a:cubicBezTo>
                  <a:pt x="2062514" y="947239"/>
                  <a:pt x="2066910" y="949559"/>
                  <a:pt x="2069704" y="953376"/>
                </a:cubicBezTo>
                <a:cubicBezTo>
                  <a:pt x="2072694" y="957564"/>
                  <a:pt x="2077727" y="959780"/>
                  <a:pt x="2082834" y="959161"/>
                </a:cubicBezTo>
                <a:cubicBezTo>
                  <a:pt x="2086409" y="958362"/>
                  <a:pt x="2090123" y="959687"/>
                  <a:pt x="2092379" y="962574"/>
                </a:cubicBezTo>
                <a:cubicBezTo>
                  <a:pt x="2095548" y="967126"/>
                  <a:pt x="2100517" y="970099"/>
                  <a:pt x="2106030" y="970729"/>
                </a:cubicBezTo>
                <a:cubicBezTo>
                  <a:pt x="2109182" y="970348"/>
                  <a:pt x="2111965" y="968508"/>
                  <a:pt x="2113550" y="965755"/>
                </a:cubicBezTo>
                <a:cubicBezTo>
                  <a:pt x="2115898" y="963418"/>
                  <a:pt x="2119161" y="962255"/>
                  <a:pt x="2122458" y="962574"/>
                </a:cubicBezTo>
                <a:cubicBezTo>
                  <a:pt x="2132638" y="963626"/>
                  <a:pt x="2142599" y="966200"/>
                  <a:pt x="2152016" y="970209"/>
                </a:cubicBezTo>
                <a:lnTo>
                  <a:pt x="2153867" y="970903"/>
                </a:lnTo>
                <a:cubicBezTo>
                  <a:pt x="2154266" y="971013"/>
                  <a:pt x="2154567" y="971354"/>
                  <a:pt x="2154619" y="971771"/>
                </a:cubicBezTo>
                <a:cubicBezTo>
                  <a:pt x="2154671" y="972164"/>
                  <a:pt x="2154521" y="972557"/>
                  <a:pt x="2154214" y="972812"/>
                </a:cubicBezTo>
                <a:cubicBezTo>
                  <a:pt x="2150182" y="976537"/>
                  <a:pt x="2144895" y="978602"/>
                  <a:pt x="2139406" y="978596"/>
                </a:cubicBezTo>
                <a:cubicBezTo>
                  <a:pt x="2122053" y="977729"/>
                  <a:pt x="2089718" y="995950"/>
                  <a:pt x="2085206" y="1006998"/>
                </a:cubicBezTo>
                <a:cubicBezTo>
                  <a:pt x="2084338" y="1008548"/>
                  <a:pt x="2084546" y="1010474"/>
                  <a:pt x="2085726" y="1011799"/>
                </a:cubicBezTo>
                <a:cubicBezTo>
                  <a:pt x="2087630" y="1013806"/>
                  <a:pt x="2090308" y="1014905"/>
                  <a:pt x="2093073" y="1014807"/>
                </a:cubicBezTo>
                <a:cubicBezTo>
                  <a:pt x="2095358" y="1014720"/>
                  <a:pt x="2097625" y="1014390"/>
                  <a:pt x="2099841" y="1013824"/>
                </a:cubicBezTo>
                <a:cubicBezTo>
                  <a:pt x="2102565" y="1013141"/>
                  <a:pt x="2105359" y="1012753"/>
                  <a:pt x="2108170" y="1012667"/>
                </a:cubicBezTo>
                <a:cubicBezTo>
                  <a:pt x="2112902" y="1012655"/>
                  <a:pt x="2117454" y="1014506"/>
                  <a:pt x="2120838" y="1017815"/>
                </a:cubicBezTo>
                <a:cubicBezTo>
                  <a:pt x="2122972" y="1019695"/>
                  <a:pt x="2125743" y="1020690"/>
                  <a:pt x="2128589" y="1020591"/>
                </a:cubicBezTo>
                <a:cubicBezTo>
                  <a:pt x="2138712" y="1020591"/>
                  <a:pt x="2152999" y="1010873"/>
                  <a:pt x="2165609" y="1002313"/>
                </a:cubicBezTo>
                <a:cubicBezTo>
                  <a:pt x="2171394" y="998495"/>
                  <a:pt x="2176542" y="994909"/>
                  <a:pt x="2181343" y="992190"/>
                </a:cubicBezTo>
                <a:cubicBezTo>
                  <a:pt x="2183524" y="990703"/>
                  <a:pt x="2186017" y="989731"/>
                  <a:pt x="2188632" y="989355"/>
                </a:cubicBezTo>
                <a:cubicBezTo>
                  <a:pt x="2189430" y="989327"/>
                  <a:pt x="2190199" y="989668"/>
                  <a:pt x="2190714" y="990281"/>
                </a:cubicBezTo>
                <a:cubicBezTo>
                  <a:pt x="2191755" y="991785"/>
                  <a:pt x="2190714" y="994214"/>
                  <a:pt x="2189846" y="997338"/>
                </a:cubicBezTo>
                <a:cubicBezTo>
                  <a:pt x="2188979" y="1000462"/>
                  <a:pt x="2187590" y="1004048"/>
                  <a:pt x="2188747" y="1005668"/>
                </a:cubicBezTo>
                <a:cubicBezTo>
                  <a:pt x="2189210" y="1006304"/>
                  <a:pt x="2190135" y="1006593"/>
                  <a:pt x="2191582" y="1006593"/>
                </a:cubicBezTo>
                <a:cubicBezTo>
                  <a:pt x="2196469" y="1005870"/>
                  <a:pt x="2201161" y="1008779"/>
                  <a:pt x="2202688" y="1013477"/>
                </a:cubicBezTo>
                <a:cubicBezTo>
                  <a:pt x="2204602" y="1018035"/>
                  <a:pt x="2208183" y="1021696"/>
                  <a:pt x="2212695" y="1023715"/>
                </a:cubicBezTo>
                <a:cubicBezTo>
                  <a:pt x="2215020" y="1024843"/>
                  <a:pt x="2217571" y="1025421"/>
                  <a:pt x="2220157" y="1025392"/>
                </a:cubicBezTo>
                <a:cubicBezTo>
                  <a:pt x="2226924" y="1024791"/>
                  <a:pt x="2233530" y="1022969"/>
                  <a:pt x="2239650" y="1020013"/>
                </a:cubicBezTo>
                <a:cubicBezTo>
                  <a:pt x="2246915" y="1016560"/>
                  <a:pt x="2254765" y="1014477"/>
                  <a:pt x="2262788" y="1013881"/>
                </a:cubicBezTo>
                <a:cubicBezTo>
                  <a:pt x="2269654" y="1013615"/>
                  <a:pt x="2276144" y="1017005"/>
                  <a:pt x="2279852" y="1022789"/>
                </a:cubicBezTo>
                <a:cubicBezTo>
                  <a:pt x="2282744" y="1026434"/>
                  <a:pt x="2284017" y="1027475"/>
                  <a:pt x="2287603" y="1024987"/>
                </a:cubicBezTo>
                <a:cubicBezTo>
                  <a:pt x="2288945" y="1024143"/>
                  <a:pt x="2289952" y="1022853"/>
                  <a:pt x="2290437" y="1021343"/>
                </a:cubicBezTo>
                <a:cubicBezTo>
                  <a:pt x="2290542" y="1020996"/>
                  <a:pt x="2290796" y="1020719"/>
                  <a:pt x="2291132" y="1020591"/>
                </a:cubicBezTo>
                <a:cubicBezTo>
                  <a:pt x="2291438" y="1020418"/>
                  <a:pt x="2291808" y="1020418"/>
                  <a:pt x="2292115" y="1020591"/>
                </a:cubicBezTo>
                <a:cubicBezTo>
                  <a:pt x="2297541" y="1023917"/>
                  <a:pt x="2302776" y="1027550"/>
                  <a:pt x="2307791" y="1031466"/>
                </a:cubicBezTo>
                <a:cubicBezTo>
                  <a:pt x="2308115" y="1031732"/>
                  <a:pt x="2308271" y="1032154"/>
                  <a:pt x="2308196" y="1032565"/>
                </a:cubicBezTo>
                <a:cubicBezTo>
                  <a:pt x="2308115" y="1032964"/>
                  <a:pt x="2307831" y="1033300"/>
                  <a:pt x="2307444" y="1033433"/>
                </a:cubicBezTo>
                <a:cubicBezTo>
                  <a:pt x="2305130" y="1034243"/>
                  <a:pt x="2305130" y="1035168"/>
                  <a:pt x="2305130" y="1035457"/>
                </a:cubicBezTo>
                <a:cubicBezTo>
                  <a:pt x="2305130" y="1040721"/>
                  <a:pt x="2295007" y="1041647"/>
                  <a:pt x="2279563" y="1043035"/>
                </a:cubicBezTo>
                <a:cubicBezTo>
                  <a:pt x="2268728" y="1043752"/>
                  <a:pt x="2257964" y="1045245"/>
                  <a:pt x="2247343" y="1047489"/>
                </a:cubicBezTo>
                <a:cubicBezTo>
                  <a:pt x="2225363" y="1052695"/>
                  <a:pt x="2203497" y="1074271"/>
                  <a:pt x="2204076" y="1079593"/>
                </a:cubicBezTo>
                <a:cubicBezTo>
                  <a:pt x="2204076" y="1079593"/>
                  <a:pt x="2204076" y="1080402"/>
                  <a:pt x="2205869" y="1080402"/>
                </a:cubicBezTo>
                <a:cubicBezTo>
                  <a:pt x="2207737" y="1080287"/>
                  <a:pt x="2209548" y="1081085"/>
                  <a:pt x="2210728" y="1082543"/>
                </a:cubicBezTo>
                <a:cubicBezTo>
                  <a:pt x="2213620" y="1086418"/>
                  <a:pt x="2210728" y="1094806"/>
                  <a:pt x="2207257" y="1106374"/>
                </a:cubicBezTo>
                <a:cubicBezTo>
                  <a:pt x="2204701" y="1113779"/>
                  <a:pt x="2202595" y="1121333"/>
                  <a:pt x="2200952" y="1128992"/>
                </a:cubicBezTo>
                <a:cubicBezTo>
                  <a:pt x="2196614" y="1150452"/>
                  <a:pt x="2198291" y="1169483"/>
                  <a:pt x="2205233" y="1178159"/>
                </a:cubicBezTo>
                <a:cubicBezTo>
                  <a:pt x="2208669" y="1182648"/>
                  <a:pt x="2215095" y="1183504"/>
                  <a:pt x="2219584" y="1180074"/>
                </a:cubicBezTo>
                <a:cubicBezTo>
                  <a:pt x="2219659" y="1180016"/>
                  <a:pt x="2219734" y="1179952"/>
                  <a:pt x="2219810" y="1179895"/>
                </a:cubicBezTo>
                <a:cubicBezTo>
                  <a:pt x="2238609" y="1168615"/>
                  <a:pt x="2243237" y="1159186"/>
                  <a:pt x="2238725" y="1141197"/>
                </a:cubicBezTo>
                <a:cubicBezTo>
                  <a:pt x="2233692" y="1121067"/>
                  <a:pt x="2240113" y="1094112"/>
                  <a:pt x="2246071" y="1082253"/>
                </a:cubicBezTo>
                <a:cubicBezTo>
                  <a:pt x="2249015" y="1077285"/>
                  <a:pt x="2254059" y="1073924"/>
                  <a:pt x="2259780" y="1073114"/>
                </a:cubicBezTo>
                <a:cubicBezTo>
                  <a:pt x="2265564" y="1071379"/>
                  <a:pt x="2271349" y="1069701"/>
                  <a:pt x="2273836" y="1061545"/>
                </a:cubicBezTo>
                <a:cubicBezTo>
                  <a:pt x="2276237" y="1054072"/>
                  <a:pt x="2283352" y="1049138"/>
                  <a:pt x="2291189" y="1049514"/>
                </a:cubicBezTo>
                <a:cubicBezTo>
                  <a:pt x="2302411" y="1050167"/>
                  <a:pt x="2312546" y="1056432"/>
                  <a:pt x="2318145" y="1066173"/>
                </a:cubicBezTo>
                <a:cubicBezTo>
                  <a:pt x="2327284" y="1080229"/>
                  <a:pt x="2320459" y="1091335"/>
                  <a:pt x="2314501" y="1100879"/>
                </a:cubicBezTo>
                <a:cubicBezTo>
                  <a:pt x="2311175" y="1105501"/>
                  <a:pt x="2308780" y="1110730"/>
                  <a:pt x="2307444" y="1116266"/>
                </a:cubicBezTo>
                <a:cubicBezTo>
                  <a:pt x="2306923" y="1119332"/>
                  <a:pt x="2307444" y="1120026"/>
                  <a:pt x="2307444" y="1120141"/>
                </a:cubicBezTo>
                <a:lnTo>
                  <a:pt x="2307444" y="1120141"/>
                </a:lnTo>
                <a:cubicBezTo>
                  <a:pt x="2309746" y="1119505"/>
                  <a:pt x="2311892" y="1118406"/>
                  <a:pt x="2313749" y="1116902"/>
                </a:cubicBezTo>
                <a:cubicBezTo>
                  <a:pt x="2318995" y="1113125"/>
                  <a:pt x="2325179" y="1110863"/>
                  <a:pt x="2331623" y="1110366"/>
                </a:cubicBezTo>
                <a:cubicBezTo>
                  <a:pt x="2333098" y="1110360"/>
                  <a:pt x="2334561" y="1110597"/>
                  <a:pt x="2335961" y="1111060"/>
                </a:cubicBezTo>
                <a:cubicBezTo>
                  <a:pt x="2344985" y="1114068"/>
                  <a:pt x="2344638" y="1125232"/>
                  <a:pt x="2344406" y="1134198"/>
                </a:cubicBezTo>
                <a:cubicBezTo>
                  <a:pt x="2344406" y="1139982"/>
                  <a:pt x="2344059" y="1145014"/>
                  <a:pt x="2346199" y="1145766"/>
                </a:cubicBezTo>
                <a:cubicBezTo>
                  <a:pt x="2346679" y="1145969"/>
                  <a:pt x="2346963" y="1146466"/>
                  <a:pt x="2346894" y="1146981"/>
                </a:cubicBezTo>
                <a:cubicBezTo>
                  <a:pt x="2344927" y="1154073"/>
                  <a:pt x="2346454" y="1161674"/>
                  <a:pt x="2351000" y="1167458"/>
                </a:cubicBezTo>
                <a:cubicBezTo>
                  <a:pt x="2351232" y="1167684"/>
                  <a:pt x="2351359" y="1168002"/>
                  <a:pt x="2351347" y="1168326"/>
                </a:cubicBezTo>
                <a:cubicBezTo>
                  <a:pt x="2351284" y="1168655"/>
                  <a:pt x="2351128" y="1168956"/>
                  <a:pt x="2350885" y="1169193"/>
                </a:cubicBezTo>
                <a:cubicBezTo>
                  <a:pt x="2348172" y="1171594"/>
                  <a:pt x="2344881" y="1173248"/>
                  <a:pt x="2341340" y="1173994"/>
                </a:cubicBezTo>
                <a:cubicBezTo>
                  <a:pt x="2339923" y="1174006"/>
                  <a:pt x="2338645" y="1173127"/>
                  <a:pt x="2338159" y="1171796"/>
                </a:cubicBezTo>
                <a:cubicBezTo>
                  <a:pt x="2336238" y="1168036"/>
                  <a:pt x="2332427" y="1165619"/>
                  <a:pt x="2328210" y="1165491"/>
                </a:cubicBezTo>
                <a:cubicBezTo>
                  <a:pt x="2322830" y="1165491"/>
                  <a:pt x="2319764" y="1169830"/>
                  <a:pt x="2319764" y="1177407"/>
                </a:cubicBezTo>
                <a:cubicBezTo>
                  <a:pt x="2319932" y="1182735"/>
                  <a:pt x="2322963" y="1187553"/>
                  <a:pt x="2327689" y="1190017"/>
                </a:cubicBezTo>
                <a:cubicBezTo>
                  <a:pt x="2333699" y="1193274"/>
                  <a:pt x="2340461" y="1194894"/>
                  <a:pt x="2347298" y="1194703"/>
                </a:cubicBezTo>
                <a:cubicBezTo>
                  <a:pt x="2356108" y="1194685"/>
                  <a:pt x="2364791" y="1192586"/>
                  <a:pt x="2372634" y="1188571"/>
                </a:cubicBezTo>
                <a:lnTo>
                  <a:pt x="2382294" y="1183481"/>
                </a:lnTo>
                <a:cubicBezTo>
                  <a:pt x="2402771" y="1172837"/>
                  <a:pt x="2430883" y="1158319"/>
                  <a:pt x="2434701" y="1150568"/>
                </a:cubicBezTo>
                <a:cubicBezTo>
                  <a:pt x="2434811" y="1150359"/>
                  <a:pt x="2434967" y="1150180"/>
                  <a:pt x="2435164" y="1150047"/>
                </a:cubicBezTo>
                <a:cubicBezTo>
                  <a:pt x="2441932" y="1146461"/>
                  <a:pt x="2442626" y="1144610"/>
                  <a:pt x="2442684" y="1144262"/>
                </a:cubicBezTo>
                <a:cubicBezTo>
                  <a:pt x="2442799" y="1140728"/>
                  <a:pt x="2442290" y="1137206"/>
                  <a:pt x="2441180" y="1133851"/>
                </a:cubicBezTo>
                <a:cubicBezTo>
                  <a:pt x="2440989" y="1133307"/>
                  <a:pt x="2441272" y="1132711"/>
                  <a:pt x="2441810" y="1132520"/>
                </a:cubicBezTo>
                <a:cubicBezTo>
                  <a:pt x="2441908" y="1132485"/>
                  <a:pt x="2442007" y="1132468"/>
                  <a:pt x="2442105" y="1132462"/>
                </a:cubicBezTo>
                <a:cubicBezTo>
                  <a:pt x="2449347" y="1131346"/>
                  <a:pt x="2456647" y="1130629"/>
                  <a:pt x="2463970" y="1130322"/>
                </a:cubicBezTo>
                <a:cubicBezTo>
                  <a:pt x="2490058" y="1129281"/>
                  <a:pt x="2511750" y="1122513"/>
                  <a:pt x="2516609" y="1113894"/>
                </a:cubicBezTo>
                <a:cubicBezTo>
                  <a:pt x="2518188" y="1111280"/>
                  <a:pt x="2518188" y="1108006"/>
                  <a:pt x="2516609" y="1105391"/>
                </a:cubicBezTo>
                <a:cubicBezTo>
                  <a:pt x="2516348" y="1104917"/>
                  <a:pt x="2516036" y="1104471"/>
                  <a:pt x="2515683" y="1104061"/>
                </a:cubicBezTo>
                <a:cubicBezTo>
                  <a:pt x="2515249" y="1103633"/>
                  <a:pt x="2515249" y="1102939"/>
                  <a:pt x="2515677" y="1102505"/>
                </a:cubicBezTo>
                <a:cubicBezTo>
                  <a:pt x="2515677" y="1102505"/>
                  <a:pt x="2515683" y="1102499"/>
                  <a:pt x="2515683" y="1102499"/>
                </a:cubicBezTo>
                <a:cubicBezTo>
                  <a:pt x="2536276" y="1083989"/>
                  <a:pt x="2548828" y="1074618"/>
                  <a:pt x="2552992" y="1074618"/>
                </a:cubicBezTo>
                <a:cubicBezTo>
                  <a:pt x="2559992" y="1074618"/>
                  <a:pt x="2640569" y="1073866"/>
                  <a:pt x="2646353" y="1073808"/>
                </a:cubicBezTo>
                <a:cubicBezTo>
                  <a:pt x="2649303" y="1071899"/>
                  <a:pt x="2675854" y="1054604"/>
                  <a:pt x="2679556" y="1039101"/>
                </a:cubicBezTo>
                <a:cubicBezTo>
                  <a:pt x="2683258" y="1023599"/>
                  <a:pt x="2699454" y="988488"/>
                  <a:pt x="2711833" y="988488"/>
                </a:cubicBezTo>
                <a:cubicBezTo>
                  <a:pt x="2713372" y="988488"/>
                  <a:pt x="2714864" y="989020"/>
                  <a:pt x="2716056" y="989992"/>
                </a:cubicBezTo>
                <a:cubicBezTo>
                  <a:pt x="2722592" y="993734"/>
                  <a:pt x="2730048" y="995574"/>
                  <a:pt x="2737574" y="995313"/>
                </a:cubicBezTo>
                <a:cubicBezTo>
                  <a:pt x="2745498" y="995834"/>
                  <a:pt x="2752324" y="996297"/>
                  <a:pt x="2752845" y="1001098"/>
                </a:cubicBezTo>
                <a:cubicBezTo>
                  <a:pt x="2752978" y="1002926"/>
                  <a:pt x="2752978" y="1004765"/>
                  <a:pt x="2752845" y="1006593"/>
                </a:cubicBezTo>
                <a:cubicBezTo>
                  <a:pt x="2751919" y="1018162"/>
                  <a:pt x="2750126" y="1042514"/>
                  <a:pt x="2775982" y="1076527"/>
                </a:cubicBezTo>
                <a:cubicBezTo>
                  <a:pt x="2776092" y="1076804"/>
                  <a:pt x="2776092" y="1077117"/>
                  <a:pt x="2775982" y="1077394"/>
                </a:cubicBezTo>
                <a:cubicBezTo>
                  <a:pt x="2775919" y="1077707"/>
                  <a:pt x="2775734" y="1077979"/>
                  <a:pt x="2775462" y="1078146"/>
                </a:cubicBezTo>
                <a:cubicBezTo>
                  <a:pt x="2768318" y="1082647"/>
                  <a:pt x="2761550" y="1087714"/>
                  <a:pt x="2755216" y="1093302"/>
                </a:cubicBezTo>
                <a:cubicBezTo>
                  <a:pt x="2752636" y="1095841"/>
                  <a:pt x="2749177" y="1097293"/>
                  <a:pt x="2745556" y="1097351"/>
                </a:cubicBezTo>
                <a:lnTo>
                  <a:pt x="2745556" y="1097351"/>
                </a:lnTo>
                <a:cubicBezTo>
                  <a:pt x="2741276" y="1096998"/>
                  <a:pt x="2737134" y="1095650"/>
                  <a:pt x="2733467" y="1093417"/>
                </a:cubicBezTo>
                <a:cubicBezTo>
                  <a:pt x="2730962" y="1091809"/>
                  <a:pt x="2728139" y="1090762"/>
                  <a:pt x="2725195" y="1090352"/>
                </a:cubicBezTo>
                <a:cubicBezTo>
                  <a:pt x="2723714" y="1090363"/>
                  <a:pt x="2722309" y="1090988"/>
                  <a:pt x="2721320" y="1092087"/>
                </a:cubicBezTo>
                <a:cubicBezTo>
                  <a:pt x="2718589" y="1094962"/>
                  <a:pt x="2716200" y="1098149"/>
                  <a:pt x="2714205" y="1101573"/>
                </a:cubicBezTo>
                <a:cubicBezTo>
                  <a:pt x="2710503" y="1107358"/>
                  <a:pt x="2707321" y="1112390"/>
                  <a:pt x="2700553" y="1112390"/>
                </a:cubicBezTo>
                <a:cubicBezTo>
                  <a:pt x="2697968" y="1111980"/>
                  <a:pt x="2695428" y="1113356"/>
                  <a:pt x="2694364" y="1115745"/>
                </a:cubicBezTo>
                <a:cubicBezTo>
                  <a:pt x="2692467" y="1119262"/>
                  <a:pt x="2688961" y="1121616"/>
                  <a:pt x="2684993" y="1122050"/>
                </a:cubicBezTo>
                <a:cubicBezTo>
                  <a:pt x="2678862" y="1123381"/>
                  <a:pt x="2673424" y="1130669"/>
                  <a:pt x="2670648" y="1137090"/>
                </a:cubicBezTo>
                <a:cubicBezTo>
                  <a:pt x="2668265" y="1140983"/>
                  <a:pt x="2667403" y="1145616"/>
                  <a:pt x="2668219" y="1150105"/>
                </a:cubicBezTo>
                <a:cubicBezTo>
                  <a:pt x="2670012" y="1153344"/>
                  <a:pt x="2666946" y="1156410"/>
                  <a:pt x="2664516" y="1158955"/>
                </a:cubicBezTo>
                <a:cubicBezTo>
                  <a:pt x="2663417" y="1160112"/>
                  <a:pt x="2661682" y="1161847"/>
                  <a:pt x="2661855" y="1162483"/>
                </a:cubicBezTo>
                <a:cubicBezTo>
                  <a:pt x="2662029" y="1163120"/>
                  <a:pt x="2661855" y="1163004"/>
                  <a:pt x="2663880" y="1163467"/>
                </a:cubicBezTo>
                <a:cubicBezTo>
                  <a:pt x="2669948" y="1165514"/>
                  <a:pt x="2674396" y="1170744"/>
                  <a:pt x="2675449" y="1177060"/>
                </a:cubicBezTo>
                <a:cubicBezTo>
                  <a:pt x="2676224" y="1180809"/>
                  <a:pt x="2674616" y="1184649"/>
                  <a:pt x="2671400" y="1186720"/>
                </a:cubicBezTo>
                <a:cubicBezTo>
                  <a:pt x="2661855" y="1192505"/>
                  <a:pt x="2652485" y="1191926"/>
                  <a:pt x="2646874" y="1184638"/>
                </a:cubicBezTo>
                <a:cubicBezTo>
                  <a:pt x="2646562" y="1184204"/>
                  <a:pt x="2646214" y="1183799"/>
                  <a:pt x="2645833" y="1183423"/>
                </a:cubicBezTo>
                <a:cubicBezTo>
                  <a:pt x="2645833" y="1183886"/>
                  <a:pt x="2645833" y="1184580"/>
                  <a:pt x="2645486" y="1185101"/>
                </a:cubicBezTo>
                <a:cubicBezTo>
                  <a:pt x="2644792" y="1188976"/>
                  <a:pt x="2643403" y="1196207"/>
                  <a:pt x="2634495" y="1196669"/>
                </a:cubicBezTo>
                <a:cubicBezTo>
                  <a:pt x="2619513" y="1197364"/>
                  <a:pt x="2591343" y="1204363"/>
                  <a:pt x="2591343" y="1209511"/>
                </a:cubicBezTo>
                <a:cubicBezTo>
                  <a:pt x="2591343" y="1209511"/>
                  <a:pt x="2591690" y="1209974"/>
                  <a:pt x="2593946" y="1209974"/>
                </a:cubicBezTo>
                <a:cubicBezTo>
                  <a:pt x="2599066" y="1209638"/>
                  <a:pt x="2604156" y="1208904"/>
                  <a:pt x="2609159" y="1207775"/>
                </a:cubicBezTo>
                <a:cubicBezTo>
                  <a:pt x="2615083" y="1206497"/>
                  <a:pt x="2621099" y="1205687"/>
                  <a:pt x="2627149" y="1205346"/>
                </a:cubicBezTo>
                <a:cubicBezTo>
                  <a:pt x="2630446" y="1205346"/>
                  <a:pt x="2632355" y="1205982"/>
                  <a:pt x="2632933" y="1207371"/>
                </a:cubicBezTo>
                <a:cubicBezTo>
                  <a:pt x="2633651" y="1208562"/>
                  <a:pt x="2633651" y="1210055"/>
                  <a:pt x="2632933" y="1211246"/>
                </a:cubicBezTo>
                <a:cubicBezTo>
                  <a:pt x="2630851" y="1215469"/>
                  <a:pt x="2605631" y="1222815"/>
                  <a:pt x="2593310" y="1222815"/>
                </a:cubicBezTo>
                <a:lnTo>
                  <a:pt x="2591922" y="1222815"/>
                </a:lnTo>
                <a:lnTo>
                  <a:pt x="2589550" y="1222815"/>
                </a:lnTo>
                <a:cubicBezTo>
                  <a:pt x="2581278" y="1222815"/>
                  <a:pt x="2576304" y="1225013"/>
                  <a:pt x="2575841" y="1226575"/>
                </a:cubicBezTo>
                <a:cubicBezTo>
                  <a:pt x="2575379" y="1228137"/>
                  <a:pt x="2576882" y="1228310"/>
                  <a:pt x="2577461" y="1228657"/>
                </a:cubicBezTo>
                <a:cubicBezTo>
                  <a:pt x="2578890" y="1229641"/>
                  <a:pt x="2579803" y="1231208"/>
                  <a:pt x="2579948" y="1232938"/>
                </a:cubicBezTo>
                <a:cubicBezTo>
                  <a:pt x="2580873" y="1240457"/>
                  <a:pt x="2572081" y="1254803"/>
                  <a:pt x="2563115" y="1264289"/>
                </a:cubicBezTo>
                <a:cubicBezTo>
                  <a:pt x="2557331" y="1270074"/>
                  <a:pt x="2554265" y="1272561"/>
                  <a:pt x="2551257" y="1272561"/>
                </a:cubicBezTo>
                <a:cubicBezTo>
                  <a:pt x="2548250" y="1272561"/>
                  <a:pt x="2545473" y="1269611"/>
                  <a:pt x="2542002" y="1265446"/>
                </a:cubicBezTo>
                <a:cubicBezTo>
                  <a:pt x="2540672" y="1263711"/>
                  <a:pt x="2539920" y="1263653"/>
                  <a:pt x="2539804" y="1263653"/>
                </a:cubicBezTo>
                <a:cubicBezTo>
                  <a:pt x="2539688" y="1263653"/>
                  <a:pt x="2538936" y="1264405"/>
                  <a:pt x="2538763" y="1265909"/>
                </a:cubicBezTo>
                <a:cubicBezTo>
                  <a:pt x="2538242" y="1269495"/>
                  <a:pt x="2539573" y="1274470"/>
                  <a:pt x="2542060" y="1275164"/>
                </a:cubicBezTo>
                <a:cubicBezTo>
                  <a:pt x="2543662" y="1275737"/>
                  <a:pt x="2544935" y="1276986"/>
                  <a:pt x="2545531" y="1278577"/>
                </a:cubicBezTo>
                <a:cubicBezTo>
                  <a:pt x="2548307" y="1284940"/>
                  <a:pt x="2545531" y="1298533"/>
                  <a:pt x="2538474" y="1312532"/>
                </a:cubicBezTo>
                <a:cubicBezTo>
                  <a:pt x="2534598" y="1320283"/>
                  <a:pt x="2529276" y="1329480"/>
                  <a:pt x="2525806" y="1329480"/>
                </a:cubicBezTo>
                <a:cubicBezTo>
                  <a:pt x="2525181" y="1329480"/>
                  <a:pt x="2524591" y="1329202"/>
                  <a:pt x="2524186" y="1328728"/>
                </a:cubicBezTo>
                <a:cubicBezTo>
                  <a:pt x="2523550" y="1327918"/>
                  <a:pt x="2522856" y="1326067"/>
                  <a:pt x="2524186" y="1319646"/>
                </a:cubicBezTo>
                <a:cubicBezTo>
                  <a:pt x="2527576" y="1308563"/>
                  <a:pt x="2524921" y="1296520"/>
                  <a:pt x="2517187" y="1287890"/>
                </a:cubicBezTo>
                <a:cubicBezTo>
                  <a:pt x="2508221" y="1277594"/>
                  <a:pt x="2516146" y="1265215"/>
                  <a:pt x="2519501" y="1259893"/>
                </a:cubicBezTo>
                <a:cubicBezTo>
                  <a:pt x="2520195" y="1258794"/>
                  <a:pt x="2520484" y="1257753"/>
                  <a:pt x="2520195" y="1257290"/>
                </a:cubicBezTo>
                <a:cubicBezTo>
                  <a:pt x="2519906" y="1256828"/>
                  <a:pt x="2519443" y="1256654"/>
                  <a:pt x="2518633" y="1256654"/>
                </a:cubicBezTo>
                <a:cubicBezTo>
                  <a:pt x="2515909" y="1256839"/>
                  <a:pt x="2513508" y="1258505"/>
                  <a:pt x="2512386" y="1260992"/>
                </a:cubicBezTo>
                <a:cubicBezTo>
                  <a:pt x="2511310" y="1266065"/>
                  <a:pt x="2510998" y="1271271"/>
                  <a:pt x="2511460" y="1276437"/>
                </a:cubicBezTo>
                <a:cubicBezTo>
                  <a:pt x="2511460" y="1287196"/>
                  <a:pt x="2511807" y="1296451"/>
                  <a:pt x="2507296" y="1297319"/>
                </a:cubicBezTo>
                <a:cubicBezTo>
                  <a:pt x="2496594" y="1299517"/>
                  <a:pt x="2495033" y="1301657"/>
                  <a:pt x="2494859" y="1302467"/>
                </a:cubicBezTo>
                <a:cubicBezTo>
                  <a:pt x="2494686" y="1303276"/>
                  <a:pt x="2495438" y="1304028"/>
                  <a:pt x="2496884" y="1305012"/>
                </a:cubicBezTo>
                <a:lnTo>
                  <a:pt x="2497751" y="1305648"/>
                </a:lnTo>
                <a:cubicBezTo>
                  <a:pt x="2504982" y="1310623"/>
                  <a:pt x="2515857" y="1318143"/>
                  <a:pt x="2516435" y="1324852"/>
                </a:cubicBezTo>
                <a:cubicBezTo>
                  <a:pt x="2516643" y="1326692"/>
                  <a:pt x="2515955" y="1328520"/>
                  <a:pt x="2514584" y="1329769"/>
                </a:cubicBezTo>
                <a:cubicBezTo>
                  <a:pt x="2512733" y="1331620"/>
                  <a:pt x="2507874" y="1336479"/>
                  <a:pt x="2508800" y="1338793"/>
                </a:cubicBezTo>
                <a:cubicBezTo>
                  <a:pt x="2509089" y="1339603"/>
                  <a:pt x="2510304" y="1340702"/>
                  <a:pt x="2514584" y="1341164"/>
                </a:cubicBezTo>
                <a:cubicBezTo>
                  <a:pt x="2521629" y="1342223"/>
                  <a:pt x="2527258" y="1347591"/>
                  <a:pt x="2528640" y="1354584"/>
                </a:cubicBezTo>
                <a:cubicBezTo>
                  <a:pt x="2529363" y="1357766"/>
                  <a:pt x="2527599" y="1360988"/>
                  <a:pt x="2524533" y="1362104"/>
                </a:cubicBezTo>
                <a:cubicBezTo>
                  <a:pt x="2522220" y="1363030"/>
                  <a:pt x="2520831" y="1364187"/>
                  <a:pt x="2521005" y="1365170"/>
                </a:cubicBezTo>
                <a:cubicBezTo>
                  <a:pt x="2521178" y="1366153"/>
                  <a:pt x="2524475" y="1368640"/>
                  <a:pt x="2532574" y="1369045"/>
                </a:cubicBezTo>
                <a:cubicBezTo>
                  <a:pt x="2536391" y="1369045"/>
                  <a:pt x="2538358" y="1370260"/>
                  <a:pt x="2539110" y="1372285"/>
                </a:cubicBezTo>
                <a:cubicBezTo>
                  <a:pt x="2540498" y="1377201"/>
                  <a:pt x="2529797" y="1385126"/>
                  <a:pt x="2526500" y="1387440"/>
                </a:cubicBezTo>
                <a:cubicBezTo>
                  <a:pt x="2523498" y="1389418"/>
                  <a:pt x="2519975" y="1390465"/>
                  <a:pt x="2516377" y="1390448"/>
                </a:cubicBezTo>
                <a:cubicBezTo>
                  <a:pt x="2512386" y="1390812"/>
                  <a:pt x="2508487" y="1389083"/>
                  <a:pt x="2506081" y="1385878"/>
                </a:cubicBezTo>
                <a:cubicBezTo>
                  <a:pt x="2504924" y="1384027"/>
                  <a:pt x="2502495" y="1385010"/>
                  <a:pt x="2501164" y="1387266"/>
                </a:cubicBezTo>
                <a:cubicBezTo>
                  <a:pt x="2499857" y="1389482"/>
                  <a:pt x="2499857" y="1392224"/>
                  <a:pt x="2501164" y="1394439"/>
                </a:cubicBezTo>
                <a:cubicBezTo>
                  <a:pt x="2501800" y="1395596"/>
                  <a:pt x="2502610" y="1396753"/>
                  <a:pt x="2503420" y="1397968"/>
                </a:cubicBezTo>
                <a:cubicBezTo>
                  <a:pt x="2506081" y="1401901"/>
                  <a:pt x="2508858" y="1406008"/>
                  <a:pt x="2507354" y="1409536"/>
                </a:cubicBezTo>
                <a:cubicBezTo>
                  <a:pt x="2506255" y="1412024"/>
                  <a:pt x="2503189" y="1413586"/>
                  <a:pt x="2497925" y="1414395"/>
                </a:cubicBezTo>
                <a:cubicBezTo>
                  <a:pt x="2482481" y="1416767"/>
                  <a:pt x="2470912" y="1425964"/>
                  <a:pt x="2469755" y="1433484"/>
                </a:cubicBezTo>
                <a:cubicBezTo>
                  <a:pt x="2468829" y="1439789"/>
                  <a:pt x="2463970" y="1440657"/>
                  <a:pt x="2459169" y="1440657"/>
                </a:cubicBezTo>
                <a:lnTo>
                  <a:pt x="2455756" y="1440657"/>
                </a:lnTo>
                <a:lnTo>
                  <a:pt x="2452286" y="1440657"/>
                </a:lnTo>
                <a:cubicBezTo>
                  <a:pt x="2445981" y="1440657"/>
                  <a:pt x="2433428" y="1451878"/>
                  <a:pt x="2430999" y="1461596"/>
                </a:cubicBezTo>
                <a:cubicBezTo>
                  <a:pt x="2429495" y="1467381"/>
                  <a:pt x="2425215" y="1468595"/>
                  <a:pt x="2419893" y="1469868"/>
                </a:cubicBezTo>
                <a:cubicBezTo>
                  <a:pt x="2414942" y="1470724"/>
                  <a:pt x="2410291" y="1472859"/>
                  <a:pt x="2406415" y="1476057"/>
                </a:cubicBezTo>
                <a:cubicBezTo>
                  <a:pt x="2395830" y="1485428"/>
                  <a:pt x="2375295" y="1514582"/>
                  <a:pt x="2374717" y="1532224"/>
                </a:cubicBezTo>
                <a:cubicBezTo>
                  <a:pt x="2374161" y="1550861"/>
                  <a:pt x="2379350" y="1569216"/>
                  <a:pt x="2389582" y="1584805"/>
                </a:cubicBezTo>
                <a:cubicBezTo>
                  <a:pt x="2393313" y="1588871"/>
                  <a:pt x="2395066" y="1594372"/>
                  <a:pt x="2394384" y="1599844"/>
                </a:cubicBezTo>
                <a:cubicBezTo>
                  <a:pt x="2393828" y="1603801"/>
                  <a:pt x="2394962" y="1607809"/>
                  <a:pt x="2397507" y="1610893"/>
                </a:cubicBezTo>
                <a:cubicBezTo>
                  <a:pt x="2405374" y="1621767"/>
                  <a:pt x="2414166" y="1656358"/>
                  <a:pt x="2412836" y="1666828"/>
                </a:cubicBezTo>
                <a:cubicBezTo>
                  <a:pt x="2411737" y="1672381"/>
                  <a:pt x="2409788" y="1677726"/>
                  <a:pt x="2407051" y="1682677"/>
                </a:cubicBezTo>
                <a:cubicBezTo>
                  <a:pt x="2404165" y="1687733"/>
                  <a:pt x="2402112" y="1693222"/>
                  <a:pt x="2400978" y="1698931"/>
                </a:cubicBezTo>
                <a:cubicBezTo>
                  <a:pt x="2400411" y="1702414"/>
                  <a:pt x="2397189" y="1704820"/>
                  <a:pt x="2393689" y="1704369"/>
                </a:cubicBezTo>
                <a:close/>
                <a:moveTo>
                  <a:pt x="2302990" y="1549519"/>
                </a:moveTo>
                <a:cubicBezTo>
                  <a:pt x="2306044" y="1549606"/>
                  <a:pt x="2308919" y="1550972"/>
                  <a:pt x="2310914" y="1553280"/>
                </a:cubicBezTo>
                <a:cubicBezTo>
                  <a:pt x="2314963" y="1557329"/>
                  <a:pt x="2318955" y="1562014"/>
                  <a:pt x="2323235" y="1566989"/>
                </a:cubicBezTo>
                <a:cubicBezTo>
                  <a:pt x="2327516" y="1571963"/>
                  <a:pt x="2332780" y="1578152"/>
                  <a:pt x="2338159" y="1583532"/>
                </a:cubicBezTo>
                <a:cubicBezTo>
                  <a:pt x="2344522" y="1589895"/>
                  <a:pt x="2342035" y="1596952"/>
                  <a:pt x="2339836" y="1603199"/>
                </a:cubicBezTo>
                <a:cubicBezTo>
                  <a:pt x="2338275" y="1607769"/>
                  <a:pt x="2336886" y="1611702"/>
                  <a:pt x="2338911" y="1614768"/>
                </a:cubicBezTo>
                <a:cubicBezTo>
                  <a:pt x="2340878" y="1618036"/>
                  <a:pt x="2341936" y="1621773"/>
                  <a:pt x="2341977" y="1625585"/>
                </a:cubicBezTo>
                <a:cubicBezTo>
                  <a:pt x="2341826" y="1631988"/>
                  <a:pt x="2344886" y="1638044"/>
                  <a:pt x="2350133" y="1641723"/>
                </a:cubicBezTo>
                <a:cubicBezTo>
                  <a:pt x="2357016" y="1646524"/>
                  <a:pt x="2357016" y="1654044"/>
                  <a:pt x="2357016" y="1660118"/>
                </a:cubicBezTo>
                <a:cubicBezTo>
                  <a:pt x="2357016" y="1666192"/>
                  <a:pt x="2357016" y="1669141"/>
                  <a:pt x="2360660" y="1670009"/>
                </a:cubicBezTo>
                <a:cubicBezTo>
                  <a:pt x="2370899" y="1672554"/>
                  <a:pt x="2379055" y="1688346"/>
                  <a:pt x="2380270" y="1694477"/>
                </a:cubicBezTo>
                <a:cubicBezTo>
                  <a:pt x="2383127" y="1699180"/>
                  <a:pt x="2388189" y="1702101"/>
                  <a:pt x="2393689" y="1702229"/>
                </a:cubicBezTo>
                <a:cubicBezTo>
                  <a:pt x="2396755" y="1702229"/>
                  <a:pt x="2398375" y="1700956"/>
                  <a:pt x="2398664" y="1698237"/>
                </a:cubicBezTo>
                <a:cubicBezTo>
                  <a:pt x="2399850" y="1692285"/>
                  <a:pt x="2401978" y="1686564"/>
                  <a:pt x="2404969" y="1681289"/>
                </a:cubicBezTo>
                <a:cubicBezTo>
                  <a:pt x="2407705" y="1676580"/>
                  <a:pt x="2409660" y="1671467"/>
                  <a:pt x="2410754" y="1666134"/>
                </a:cubicBezTo>
                <a:cubicBezTo>
                  <a:pt x="2411911" y="1657110"/>
                  <a:pt x="2403812" y="1622808"/>
                  <a:pt x="2395830" y="1611818"/>
                </a:cubicBezTo>
                <a:cubicBezTo>
                  <a:pt x="2392961" y="1608307"/>
                  <a:pt x="2391682" y="1603760"/>
                  <a:pt x="2392301" y="1599266"/>
                </a:cubicBezTo>
                <a:cubicBezTo>
                  <a:pt x="2392966" y="1594349"/>
                  <a:pt x="2391370" y="1589398"/>
                  <a:pt x="2387963" y="1585788"/>
                </a:cubicBezTo>
                <a:cubicBezTo>
                  <a:pt x="2377372" y="1569782"/>
                  <a:pt x="2372015" y="1550885"/>
                  <a:pt x="2372634" y="1531704"/>
                </a:cubicBezTo>
                <a:cubicBezTo>
                  <a:pt x="2373213" y="1513483"/>
                  <a:pt x="2394268" y="1483519"/>
                  <a:pt x="2405085" y="1473859"/>
                </a:cubicBezTo>
                <a:cubicBezTo>
                  <a:pt x="2409232" y="1470429"/>
                  <a:pt x="2414190" y="1468115"/>
                  <a:pt x="2419488" y="1467149"/>
                </a:cubicBezTo>
                <a:cubicBezTo>
                  <a:pt x="2424521" y="1465935"/>
                  <a:pt x="2427818" y="1465125"/>
                  <a:pt x="2428975" y="1460497"/>
                </a:cubicBezTo>
                <a:cubicBezTo>
                  <a:pt x="2431519" y="1450374"/>
                  <a:pt x="2444477" y="1437822"/>
                  <a:pt x="2452459" y="1437822"/>
                </a:cubicBezTo>
                <a:lnTo>
                  <a:pt x="2456046" y="1437822"/>
                </a:lnTo>
                <a:lnTo>
                  <a:pt x="2459343" y="1437822"/>
                </a:lnTo>
                <a:cubicBezTo>
                  <a:pt x="2464144" y="1437822"/>
                  <a:pt x="2467036" y="1436955"/>
                  <a:pt x="2467730" y="1432559"/>
                </a:cubicBezTo>
                <a:cubicBezTo>
                  <a:pt x="2468945" y="1424460"/>
                  <a:pt x="2480803" y="1414164"/>
                  <a:pt x="2497751" y="1411619"/>
                </a:cubicBezTo>
                <a:cubicBezTo>
                  <a:pt x="2502147" y="1410925"/>
                  <a:pt x="2504751" y="1409710"/>
                  <a:pt x="2505445" y="1408032"/>
                </a:cubicBezTo>
                <a:cubicBezTo>
                  <a:pt x="2506139" y="1406355"/>
                  <a:pt x="2504056" y="1402248"/>
                  <a:pt x="2501743" y="1398777"/>
                </a:cubicBezTo>
                <a:cubicBezTo>
                  <a:pt x="2500875" y="1397505"/>
                  <a:pt x="2500065" y="1396290"/>
                  <a:pt x="2499371" y="1395075"/>
                </a:cubicBezTo>
                <a:cubicBezTo>
                  <a:pt x="2497636" y="1392195"/>
                  <a:pt x="2497636" y="1388585"/>
                  <a:pt x="2499371" y="1385705"/>
                </a:cubicBezTo>
                <a:cubicBezTo>
                  <a:pt x="2500349" y="1383668"/>
                  <a:pt x="2502327" y="1382303"/>
                  <a:pt x="2504577" y="1382118"/>
                </a:cubicBezTo>
                <a:cubicBezTo>
                  <a:pt x="2506058" y="1382136"/>
                  <a:pt x="2507412" y="1382957"/>
                  <a:pt x="2508106" y="1384258"/>
                </a:cubicBezTo>
                <a:cubicBezTo>
                  <a:pt x="2510176" y="1386705"/>
                  <a:pt x="2513300" y="1388001"/>
                  <a:pt x="2516493" y="1387729"/>
                </a:cubicBezTo>
                <a:cubicBezTo>
                  <a:pt x="2519617" y="1387764"/>
                  <a:pt x="2522682" y="1386856"/>
                  <a:pt x="2525285" y="1385126"/>
                </a:cubicBezTo>
                <a:cubicBezTo>
                  <a:pt x="2531532" y="1380788"/>
                  <a:pt x="2537722" y="1374888"/>
                  <a:pt x="2536854" y="1372400"/>
                </a:cubicBezTo>
                <a:cubicBezTo>
                  <a:pt x="2536854" y="1371533"/>
                  <a:pt x="2534945" y="1370954"/>
                  <a:pt x="2532400" y="1370839"/>
                </a:cubicBezTo>
                <a:cubicBezTo>
                  <a:pt x="2524244" y="1370434"/>
                  <a:pt x="2519096" y="1368293"/>
                  <a:pt x="2518575" y="1365054"/>
                </a:cubicBezTo>
                <a:cubicBezTo>
                  <a:pt x="2518575" y="1363782"/>
                  <a:pt x="2518575" y="1361410"/>
                  <a:pt x="2523550" y="1359559"/>
                </a:cubicBezTo>
                <a:cubicBezTo>
                  <a:pt x="2525603" y="1358755"/>
                  <a:pt x="2526743" y="1356551"/>
                  <a:pt x="2526211" y="1354411"/>
                </a:cubicBezTo>
                <a:cubicBezTo>
                  <a:pt x="2525042" y="1348407"/>
                  <a:pt x="2520230" y="1343779"/>
                  <a:pt x="2514179" y="1342842"/>
                </a:cubicBezTo>
                <a:cubicBezTo>
                  <a:pt x="2509609" y="1342321"/>
                  <a:pt x="2507180" y="1341107"/>
                  <a:pt x="2506428" y="1338966"/>
                </a:cubicBezTo>
                <a:cubicBezTo>
                  <a:pt x="2505676" y="1336826"/>
                  <a:pt x="2508221" y="1332199"/>
                  <a:pt x="2512849" y="1327397"/>
                </a:cubicBezTo>
                <a:cubicBezTo>
                  <a:pt x="2513728" y="1326611"/>
                  <a:pt x="2514179" y="1325448"/>
                  <a:pt x="2514063" y="1324274"/>
                </a:cubicBezTo>
                <a:cubicBezTo>
                  <a:pt x="2513601" y="1318490"/>
                  <a:pt x="2502495" y="1310912"/>
                  <a:pt x="2496363" y="1306921"/>
                </a:cubicBezTo>
                <a:lnTo>
                  <a:pt x="2495438" y="1306284"/>
                </a:lnTo>
                <a:cubicBezTo>
                  <a:pt x="2493182" y="1304723"/>
                  <a:pt x="2492198" y="1303103"/>
                  <a:pt x="2492545" y="1301425"/>
                </a:cubicBezTo>
                <a:cubicBezTo>
                  <a:pt x="2493124" y="1298591"/>
                  <a:pt x="2497636" y="1296393"/>
                  <a:pt x="2506775" y="1294542"/>
                </a:cubicBezTo>
                <a:cubicBezTo>
                  <a:pt x="2509378" y="1294021"/>
                  <a:pt x="2509205" y="1282973"/>
                  <a:pt x="2509089" y="1275916"/>
                </a:cubicBezTo>
                <a:cubicBezTo>
                  <a:pt x="2508562" y="1270415"/>
                  <a:pt x="2508950" y="1264862"/>
                  <a:pt x="2510246" y="1259488"/>
                </a:cubicBezTo>
                <a:cubicBezTo>
                  <a:pt x="2511698" y="1256157"/>
                  <a:pt x="2514891" y="1253924"/>
                  <a:pt x="2518518" y="1253704"/>
                </a:cubicBezTo>
                <a:cubicBezTo>
                  <a:pt x="2519952" y="1253588"/>
                  <a:pt x="2521335" y="1254277"/>
                  <a:pt x="2522104" y="1255497"/>
                </a:cubicBezTo>
                <a:cubicBezTo>
                  <a:pt x="2522786" y="1257157"/>
                  <a:pt x="2522474" y="1259060"/>
                  <a:pt x="2521294" y="1260414"/>
                </a:cubicBezTo>
                <a:cubicBezTo>
                  <a:pt x="2516435" y="1267991"/>
                  <a:pt x="2511807" y="1277767"/>
                  <a:pt x="2518749" y="1285750"/>
                </a:cubicBezTo>
                <a:cubicBezTo>
                  <a:pt x="2526986" y="1294878"/>
                  <a:pt x="2529837" y="1307649"/>
                  <a:pt x="2526268" y="1319415"/>
                </a:cubicBezTo>
                <a:cubicBezTo>
                  <a:pt x="2524938" y="1325604"/>
                  <a:pt x="2525748" y="1326588"/>
                  <a:pt x="2525806" y="1326588"/>
                </a:cubicBezTo>
                <a:cubicBezTo>
                  <a:pt x="2525864" y="1326588"/>
                  <a:pt x="2529913" y="1323580"/>
                  <a:pt x="2536276" y="1310796"/>
                </a:cubicBezTo>
                <a:cubicBezTo>
                  <a:pt x="2543969" y="1295410"/>
                  <a:pt x="2545299" y="1283436"/>
                  <a:pt x="2543275" y="1278808"/>
                </a:cubicBezTo>
                <a:cubicBezTo>
                  <a:pt x="2542980" y="1277796"/>
                  <a:pt x="2542199" y="1276992"/>
                  <a:pt x="2541192" y="1276668"/>
                </a:cubicBezTo>
                <a:cubicBezTo>
                  <a:pt x="2537143" y="1275453"/>
                  <a:pt x="2535755" y="1268917"/>
                  <a:pt x="2536334" y="1265099"/>
                </a:cubicBezTo>
                <a:cubicBezTo>
                  <a:pt x="2536912" y="1261281"/>
                  <a:pt x="2538821" y="1260934"/>
                  <a:pt x="2539630" y="1260934"/>
                </a:cubicBezTo>
                <a:cubicBezTo>
                  <a:pt x="2541285" y="1261200"/>
                  <a:pt x="2542737" y="1262172"/>
                  <a:pt x="2543622" y="1263595"/>
                </a:cubicBezTo>
                <a:cubicBezTo>
                  <a:pt x="2546861" y="1267702"/>
                  <a:pt x="2548944" y="1269842"/>
                  <a:pt x="2551084" y="1269842"/>
                </a:cubicBezTo>
                <a:cubicBezTo>
                  <a:pt x="2553224" y="1269842"/>
                  <a:pt x="2556290" y="1267644"/>
                  <a:pt x="2561322" y="1262323"/>
                </a:cubicBezTo>
                <a:cubicBezTo>
                  <a:pt x="2569767" y="1253299"/>
                  <a:pt x="2578328" y="1239185"/>
                  <a:pt x="2577519" y="1232764"/>
                </a:cubicBezTo>
                <a:cubicBezTo>
                  <a:pt x="2577495" y="1231694"/>
                  <a:pt x="2576957" y="1230705"/>
                  <a:pt x="2576073" y="1230103"/>
                </a:cubicBezTo>
                <a:cubicBezTo>
                  <a:pt x="2573354" y="1228368"/>
                  <a:pt x="2573180" y="1226633"/>
                  <a:pt x="2573470" y="1225534"/>
                </a:cubicBezTo>
                <a:cubicBezTo>
                  <a:pt x="2574569" y="1221832"/>
                  <a:pt x="2582493" y="1220096"/>
                  <a:pt x="2589377" y="1220096"/>
                </a:cubicBezTo>
                <a:lnTo>
                  <a:pt x="2593136" y="1220096"/>
                </a:lnTo>
                <a:cubicBezTo>
                  <a:pt x="2606441" y="1220096"/>
                  <a:pt x="2629463" y="1212345"/>
                  <a:pt x="2630793" y="1209742"/>
                </a:cubicBezTo>
                <a:cubicBezTo>
                  <a:pt x="2630793" y="1209280"/>
                  <a:pt x="2631314" y="1208528"/>
                  <a:pt x="2631082" y="1208065"/>
                </a:cubicBezTo>
                <a:cubicBezTo>
                  <a:pt x="2630851" y="1207602"/>
                  <a:pt x="2630215" y="1207139"/>
                  <a:pt x="2626918" y="1207139"/>
                </a:cubicBezTo>
                <a:cubicBezTo>
                  <a:pt x="2621081" y="1207498"/>
                  <a:pt x="2615279" y="1208308"/>
                  <a:pt x="2609564" y="1209569"/>
                </a:cubicBezTo>
                <a:cubicBezTo>
                  <a:pt x="2603473" y="1211263"/>
                  <a:pt x="2597122" y="1211854"/>
                  <a:pt x="2590823" y="1211304"/>
                </a:cubicBezTo>
                <a:cubicBezTo>
                  <a:pt x="2589805" y="1211021"/>
                  <a:pt x="2589099" y="1210101"/>
                  <a:pt x="2589088" y="1209048"/>
                </a:cubicBezTo>
                <a:cubicBezTo>
                  <a:pt x="2589088" y="1200603"/>
                  <a:pt x="2623100" y="1194471"/>
                  <a:pt x="2634379" y="1193951"/>
                </a:cubicBezTo>
                <a:cubicBezTo>
                  <a:pt x="2641495" y="1193661"/>
                  <a:pt x="2642536" y="1188166"/>
                  <a:pt x="2643288" y="1184349"/>
                </a:cubicBezTo>
                <a:cubicBezTo>
                  <a:pt x="2643693" y="1182324"/>
                  <a:pt x="2643982" y="1180531"/>
                  <a:pt x="2645601" y="1180531"/>
                </a:cubicBezTo>
                <a:cubicBezTo>
                  <a:pt x="2647221" y="1180531"/>
                  <a:pt x="2647337" y="1181225"/>
                  <a:pt x="2648667" y="1182903"/>
                </a:cubicBezTo>
                <a:cubicBezTo>
                  <a:pt x="2651021" y="1186217"/>
                  <a:pt x="2654839" y="1188184"/>
                  <a:pt x="2658906" y="1188166"/>
                </a:cubicBezTo>
                <a:cubicBezTo>
                  <a:pt x="2663036" y="1188045"/>
                  <a:pt x="2667044" y="1186761"/>
                  <a:pt x="2670475" y="1184464"/>
                </a:cubicBezTo>
                <a:cubicBezTo>
                  <a:pt x="2672898" y="1182845"/>
                  <a:pt x="2674090" y="1179912"/>
                  <a:pt x="2673482" y="1177060"/>
                </a:cubicBezTo>
                <a:cubicBezTo>
                  <a:pt x="2672528" y="1171675"/>
                  <a:pt x="2668710" y="1167244"/>
                  <a:pt x="2663533" y="1165491"/>
                </a:cubicBezTo>
                <a:cubicBezTo>
                  <a:pt x="2662203" y="1165144"/>
                  <a:pt x="2660352" y="1164508"/>
                  <a:pt x="2659889" y="1162888"/>
                </a:cubicBezTo>
                <a:cubicBezTo>
                  <a:pt x="2659426" y="1161269"/>
                  <a:pt x="2661103" y="1159244"/>
                  <a:pt x="2663128" y="1157104"/>
                </a:cubicBezTo>
                <a:cubicBezTo>
                  <a:pt x="2665153" y="1154964"/>
                  <a:pt x="2667351" y="1152592"/>
                  <a:pt x="2666483" y="1150972"/>
                </a:cubicBezTo>
                <a:cubicBezTo>
                  <a:pt x="2664632" y="1147675"/>
                  <a:pt x="2666483" y="1140792"/>
                  <a:pt x="2668797" y="1135875"/>
                </a:cubicBezTo>
                <a:cubicBezTo>
                  <a:pt x="2671978" y="1128992"/>
                  <a:pt x="2677821" y="1121067"/>
                  <a:pt x="2684762" y="1119621"/>
                </a:cubicBezTo>
                <a:cubicBezTo>
                  <a:pt x="2688105" y="1119314"/>
                  <a:pt x="2691073" y="1117336"/>
                  <a:pt x="2692629" y="1114357"/>
                </a:cubicBezTo>
                <a:cubicBezTo>
                  <a:pt x="2694069" y="1111239"/>
                  <a:pt x="2697384" y="1109434"/>
                  <a:pt x="2700785" y="1109903"/>
                </a:cubicBezTo>
                <a:cubicBezTo>
                  <a:pt x="2706569" y="1109903"/>
                  <a:pt x="2709057" y="1105565"/>
                  <a:pt x="2712354" y="1100127"/>
                </a:cubicBezTo>
                <a:cubicBezTo>
                  <a:pt x="2714448" y="1096564"/>
                  <a:pt x="2716929" y="1093250"/>
                  <a:pt x="2719758" y="1090236"/>
                </a:cubicBezTo>
                <a:cubicBezTo>
                  <a:pt x="2721262" y="1088662"/>
                  <a:pt x="2723367" y="1087801"/>
                  <a:pt x="2725542" y="1087864"/>
                </a:cubicBezTo>
                <a:cubicBezTo>
                  <a:pt x="2728857" y="1088246"/>
                  <a:pt x="2732038" y="1089374"/>
                  <a:pt x="2734855" y="1091161"/>
                </a:cubicBezTo>
                <a:cubicBezTo>
                  <a:pt x="2738198" y="1093238"/>
                  <a:pt x="2741982" y="1094505"/>
                  <a:pt x="2745903" y="1094864"/>
                </a:cubicBezTo>
                <a:lnTo>
                  <a:pt x="2745903" y="1094864"/>
                </a:lnTo>
                <a:cubicBezTo>
                  <a:pt x="2748975" y="1094835"/>
                  <a:pt x="2751907" y="1093585"/>
                  <a:pt x="2754059" y="1091393"/>
                </a:cubicBezTo>
                <a:cubicBezTo>
                  <a:pt x="2760168" y="1085984"/>
                  <a:pt x="2766687" y="1081056"/>
                  <a:pt x="2773553" y="1076643"/>
                </a:cubicBezTo>
                <a:cubicBezTo>
                  <a:pt x="2748101" y="1042514"/>
                  <a:pt x="2749953" y="1017988"/>
                  <a:pt x="2750878" y="1006130"/>
                </a:cubicBezTo>
                <a:cubicBezTo>
                  <a:pt x="2750976" y="1004453"/>
                  <a:pt x="2750976" y="1002775"/>
                  <a:pt x="2750878" y="1001098"/>
                </a:cubicBezTo>
                <a:cubicBezTo>
                  <a:pt x="2750531" y="997974"/>
                  <a:pt x="2744631" y="997627"/>
                  <a:pt x="2737747" y="997164"/>
                </a:cubicBezTo>
                <a:cubicBezTo>
                  <a:pt x="2729753" y="997442"/>
                  <a:pt x="2721852" y="995435"/>
                  <a:pt x="2714956" y="991380"/>
                </a:cubicBezTo>
                <a:cubicBezTo>
                  <a:pt x="2705297" y="983860"/>
                  <a:pt x="2686324" y="1021054"/>
                  <a:pt x="2682043" y="1039217"/>
                </a:cubicBezTo>
                <a:cubicBezTo>
                  <a:pt x="2677936" y="1056571"/>
                  <a:pt x="2648840" y="1074618"/>
                  <a:pt x="2647337" y="1075428"/>
                </a:cubicBezTo>
                <a:cubicBezTo>
                  <a:pt x="2647146" y="1075486"/>
                  <a:pt x="2646949" y="1075486"/>
                  <a:pt x="2646758" y="1075428"/>
                </a:cubicBezTo>
                <a:cubicBezTo>
                  <a:pt x="2645891" y="1075428"/>
                  <a:pt x="2560281" y="1076238"/>
                  <a:pt x="2553050" y="1076238"/>
                </a:cubicBezTo>
                <a:cubicBezTo>
                  <a:pt x="2549753" y="1076238"/>
                  <a:pt x="2536681" y="1086187"/>
                  <a:pt x="2518055" y="1102846"/>
                </a:cubicBezTo>
                <a:cubicBezTo>
                  <a:pt x="2518055" y="1102846"/>
                  <a:pt x="2518344" y="1103367"/>
                  <a:pt x="2518518" y="1103656"/>
                </a:cubicBezTo>
                <a:cubicBezTo>
                  <a:pt x="2520478" y="1106953"/>
                  <a:pt x="2520478" y="1111060"/>
                  <a:pt x="2518518" y="1114357"/>
                </a:cubicBezTo>
                <a:cubicBezTo>
                  <a:pt x="2512386" y="1125232"/>
                  <a:pt x="2486703" y="1131074"/>
                  <a:pt x="2463970" y="1131710"/>
                </a:cubicBezTo>
                <a:cubicBezTo>
                  <a:pt x="2457156" y="1131999"/>
                  <a:pt x="2450359" y="1132642"/>
                  <a:pt x="2443609" y="1133619"/>
                </a:cubicBezTo>
                <a:cubicBezTo>
                  <a:pt x="2444592" y="1136858"/>
                  <a:pt x="2445026" y="1140242"/>
                  <a:pt x="2444882" y="1143626"/>
                </a:cubicBezTo>
                <a:cubicBezTo>
                  <a:pt x="2444882" y="1145014"/>
                  <a:pt x="2443667" y="1147270"/>
                  <a:pt x="2436494" y="1151146"/>
                </a:cubicBezTo>
                <a:cubicBezTo>
                  <a:pt x="2431809" y="1159591"/>
                  <a:pt x="2404911" y="1173532"/>
                  <a:pt x="2383278" y="1184753"/>
                </a:cubicBezTo>
                <a:lnTo>
                  <a:pt x="2373618" y="1189786"/>
                </a:lnTo>
                <a:cubicBezTo>
                  <a:pt x="2365467" y="1194009"/>
                  <a:pt x="2356420" y="1196207"/>
                  <a:pt x="2347241" y="1196207"/>
                </a:cubicBezTo>
                <a:cubicBezTo>
                  <a:pt x="2339998" y="1196421"/>
                  <a:pt x="2332832" y="1194703"/>
                  <a:pt x="2326474" y="1191232"/>
                </a:cubicBezTo>
                <a:cubicBezTo>
                  <a:pt x="2321026" y="1188392"/>
                  <a:pt x="2317561" y="1182798"/>
                  <a:pt x="2317451" y="1176655"/>
                </a:cubicBezTo>
                <a:cubicBezTo>
                  <a:pt x="2317451" y="1163525"/>
                  <a:pt x="2325607" y="1162483"/>
                  <a:pt x="2328152" y="1162483"/>
                </a:cubicBezTo>
                <a:cubicBezTo>
                  <a:pt x="2333288" y="1162576"/>
                  <a:pt x="2337939" y="1165549"/>
                  <a:pt x="2340183" y="1170177"/>
                </a:cubicBezTo>
                <a:cubicBezTo>
                  <a:pt x="2340183" y="1170813"/>
                  <a:pt x="2340820" y="1170987"/>
                  <a:pt x="2341283" y="1170987"/>
                </a:cubicBezTo>
                <a:cubicBezTo>
                  <a:pt x="2343926" y="1170350"/>
                  <a:pt x="2346385" y="1169101"/>
                  <a:pt x="2348455" y="1167342"/>
                </a:cubicBezTo>
                <a:cubicBezTo>
                  <a:pt x="2344192" y="1161344"/>
                  <a:pt x="2342740" y="1153789"/>
                  <a:pt x="2344464" y="1146634"/>
                </a:cubicBezTo>
                <a:cubicBezTo>
                  <a:pt x="2341745" y="1144610"/>
                  <a:pt x="2341861" y="1139288"/>
                  <a:pt x="2342092" y="1133214"/>
                </a:cubicBezTo>
                <a:cubicBezTo>
                  <a:pt x="2342092" y="1124595"/>
                  <a:pt x="2342613" y="1114820"/>
                  <a:pt x="2335151" y="1112332"/>
                </a:cubicBezTo>
                <a:cubicBezTo>
                  <a:pt x="2334000" y="1111927"/>
                  <a:pt x="2332785" y="1111737"/>
                  <a:pt x="2331565" y="1111754"/>
                </a:cubicBezTo>
                <a:cubicBezTo>
                  <a:pt x="2325578" y="1112529"/>
                  <a:pt x="2319915" y="1114930"/>
                  <a:pt x="2315195" y="1118695"/>
                </a:cubicBezTo>
                <a:cubicBezTo>
                  <a:pt x="2313049" y="1120494"/>
                  <a:pt x="2310515" y="1121761"/>
                  <a:pt x="2307791" y="1122397"/>
                </a:cubicBezTo>
                <a:cubicBezTo>
                  <a:pt x="2307068" y="1122409"/>
                  <a:pt x="2306373" y="1122114"/>
                  <a:pt x="2305882" y="1121588"/>
                </a:cubicBezTo>
                <a:cubicBezTo>
                  <a:pt x="2305014" y="1120604"/>
                  <a:pt x="2304841" y="1118811"/>
                  <a:pt x="2305303" y="1115803"/>
                </a:cubicBezTo>
                <a:cubicBezTo>
                  <a:pt x="2306692" y="1109984"/>
                  <a:pt x="2309185" y="1104483"/>
                  <a:pt x="2312650" y="1099607"/>
                </a:cubicBezTo>
                <a:cubicBezTo>
                  <a:pt x="2318434" y="1089889"/>
                  <a:pt x="2324739" y="1079824"/>
                  <a:pt x="2316410" y="1066983"/>
                </a:cubicBezTo>
                <a:cubicBezTo>
                  <a:pt x="2311140" y="1057947"/>
                  <a:pt x="2301740" y="1052099"/>
                  <a:pt x="2291305" y="1051364"/>
                </a:cubicBezTo>
                <a:cubicBezTo>
                  <a:pt x="2284416" y="1050925"/>
                  <a:pt x="2278105" y="1055211"/>
                  <a:pt x="2275976" y="1061777"/>
                </a:cubicBezTo>
                <a:cubicBezTo>
                  <a:pt x="2273709" y="1068706"/>
                  <a:pt x="2267647" y="1073704"/>
                  <a:pt x="2260416" y="1074618"/>
                </a:cubicBezTo>
                <a:cubicBezTo>
                  <a:pt x="2255332" y="1075324"/>
                  <a:pt x="2250820" y="1078251"/>
                  <a:pt x="2248095" y="1082601"/>
                </a:cubicBezTo>
                <a:cubicBezTo>
                  <a:pt x="2242311" y="1094169"/>
                  <a:pt x="2236006" y="1120431"/>
                  <a:pt x="2240923" y="1139982"/>
                </a:cubicBezTo>
                <a:cubicBezTo>
                  <a:pt x="2245839" y="1159533"/>
                  <a:pt x="2240923" y="1169425"/>
                  <a:pt x="2220967" y="1181225"/>
                </a:cubicBezTo>
                <a:cubicBezTo>
                  <a:pt x="2215535" y="1185326"/>
                  <a:pt x="2207818" y="1184320"/>
                  <a:pt x="2203613" y="1178969"/>
                </a:cubicBezTo>
                <a:cubicBezTo>
                  <a:pt x="2196267" y="1170061"/>
                  <a:pt x="2194416" y="1150047"/>
                  <a:pt x="2198812" y="1127950"/>
                </a:cubicBezTo>
                <a:cubicBezTo>
                  <a:pt x="2200507" y="1120124"/>
                  <a:pt x="2202630" y="1112402"/>
                  <a:pt x="2205175" y="1104813"/>
                </a:cubicBezTo>
                <a:cubicBezTo>
                  <a:pt x="2208414" y="1094690"/>
                  <a:pt x="2211249" y="1085955"/>
                  <a:pt x="2209051" y="1083005"/>
                </a:cubicBezTo>
                <a:cubicBezTo>
                  <a:pt x="2208299" y="1082109"/>
                  <a:pt x="2207147" y="1081652"/>
                  <a:pt x="2205985" y="1081791"/>
                </a:cubicBezTo>
                <a:cubicBezTo>
                  <a:pt x="2202630" y="1081791"/>
                  <a:pt x="2202051" y="1079824"/>
                  <a:pt x="2201936" y="1078956"/>
                </a:cubicBezTo>
                <a:cubicBezTo>
                  <a:pt x="2201068" y="1071321"/>
                  <a:pt x="2225478" y="1049514"/>
                  <a:pt x="2246939" y="1044250"/>
                </a:cubicBezTo>
                <a:cubicBezTo>
                  <a:pt x="2257674" y="1041982"/>
                  <a:pt x="2268555" y="1040478"/>
                  <a:pt x="2279505" y="1039738"/>
                </a:cubicBezTo>
                <a:cubicBezTo>
                  <a:pt x="2291074" y="1038697"/>
                  <a:pt x="2302990" y="1037598"/>
                  <a:pt x="2302990" y="1034416"/>
                </a:cubicBezTo>
                <a:cubicBezTo>
                  <a:pt x="2303007" y="1032999"/>
                  <a:pt x="2303811" y="1031703"/>
                  <a:pt x="2305072" y="1031061"/>
                </a:cubicBezTo>
                <a:cubicBezTo>
                  <a:pt x="2301428" y="1028285"/>
                  <a:pt x="2297205" y="1025277"/>
                  <a:pt x="2292173" y="1022153"/>
                </a:cubicBezTo>
                <a:cubicBezTo>
                  <a:pt x="2291421" y="1023576"/>
                  <a:pt x="2290328" y="1024791"/>
                  <a:pt x="2288991" y="1025682"/>
                </a:cubicBezTo>
                <a:cubicBezTo>
                  <a:pt x="2287672" y="1026740"/>
                  <a:pt x="2286053" y="1027371"/>
                  <a:pt x="2284364" y="1027475"/>
                </a:cubicBezTo>
                <a:cubicBezTo>
                  <a:pt x="2281703" y="1027475"/>
                  <a:pt x="2280083" y="1025392"/>
                  <a:pt x="2278174" y="1023021"/>
                </a:cubicBezTo>
                <a:cubicBezTo>
                  <a:pt x="2274872" y="1017821"/>
                  <a:pt x="2269058" y="1014761"/>
                  <a:pt x="2262904" y="1014981"/>
                </a:cubicBezTo>
                <a:cubicBezTo>
                  <a:pt x="2255095" y="1015507"/>
                  <a:pt x="2247442" y="1017468"/>
                  <a:pt x="2240344" y="1020765"/>
                </a:cubicBezTo>
                <a:cubicBezTo>
                  <a:pt x="2233987" y="1023912"/>
                  <a:pt x="2227104" y="1025873"/>
                  <a:pt x="2220041" y="1026549"/>
                </a:cubicBezTo>
                <a:cubicBezTo>
                  <a:pt x="2217097" y="1026584"/>
                  <a:pt x="2214187" y="1025930"/>
                  <a:pt x="2211538" y="1024640"/>
                </a:cubicBezTo>
                <a:cubicBezTo>
                  <a:pt x="2206604" y="1022402"/>
                  <a:pt x="2202688" y="1018399"/>
                  <a:pt x="2200547" y="1013419"/>
                </a:cubicBezTo>
                <a:cubicBezTo>
                  <a:pt x="2198812" y="1009890"/>
                  <a:pt x="2197771" y="1007634"/>
                  <a:pt x="2191466" y="1007634"/>
                </a:cubicBezTo>
                <a:cubicBezTo>
                  <a:pt x="2189684" y="1007819"/>
                  <a:pt x="2187926" y="1007102"/>
                  <a:pt x="2186781" y="1005725"/>
                </a:cubicBezTo>
                <a:cubicBezTo>
                  <a:pt x="2184987" y="1003238"/>
                  <a:pt x="2186376" y="999073"/>
                  <a:pt x="2187590" y="995429"/>
                </a:cubicBezTo>
                <a:cubicBezTo>
                  <a:pt x="2188302" y="993844"/>
                  <a:pt x="2188695" y="992132"/>
                  <a:pt x="2188747" y="990397"/>
                </a:cubicBezTo>
                <a:cubicBezTo>
                  <a:pt x="2186433" y="990726"/>
                  <a:pt x="2184235" y="991600"/>
                  <a:pt x="2182327" y="992942"/>
                </a:cubicBezTo>
                <a:cubicBezTo>
                  <a:pt x="2177583" y="995603"/>
                  <a:pt x="2172377" y="999189"/>
                  <a:pt x="2166766" y="1002949"/>
                </a:cubicBezTo>
                <a:cubicBezTo>
                  <a:pt x="2153289" y="1012146"/>
                  <a:pt x="2139290" y="1021633"/>
                  <a:pt x="2128473" y="1021633"/>
                </a:cubicBezTo>
                <a:cubicBezTo>
                  <a:pt x="2125072" y="1021737"/>
                  <a:pt x="2121764" y="1020539"/>
                  <a:pt x="2119218" y="1018278"/>
                </a:cubicBezTo>
                <a:cubicBezTo>
                  <a:pt x="2116251" y="1015333"/>
                  <a:pt x="2112237" y="1013685"/>
                  <a:pt x="2108054" y="1013708"/>
                </a:cubicBezTo>
                <a:cubicBezTo>
                  <a:pt x="2105399" y="1013812"/>
                  <a:pt x="2102767" y="1014176"/>
                  <a:pt x="2100188" y="1014807"/>
                </a:cubicBezTo>
                <a:cubicBezTo>
                  <a:pt x="2097822" y="1015403"/>
                  <a:pt x="2095398" y="1015750"/>
                  <a:pt x="2092957" y="1015848"/>
                </a:cubicBezTo>
                <a:cubicBezTo>
                  <a:pt x="2089608" y="1015946"/>
                  <a:pt x="2086369" y="1014622"/>
                  <a:pt x="2084049" y="1012204"/>
                </a:cubicBezTo>
                <a:cubicBezTo>
                  <a:pt x="2082140" y="1010266"/>
                  <a:pt x="2081718" y="1007310"/>
                  <a:pt x="2083008" y="1004915"/>
                </a:cubicBezTo>
                <a:cubicBezTo>
                  <a:pt x="2088098" y="992653"/>
                  <a:pt x="2120433" y="975068"/>
                  <a:pt x="2137960" y="975068"/>
                </a:cubicBezTo>
                <a:lnTo>
                  <a:pt x="2139406" y="975068"/>
                </a:lnTo>
                <a:cubicBezTo>
                  <a:pt x="2143606" y="975085"/>
                  <a:pt x="2147684" y="973680"/>
                  <a:pt x="2150975" y="971077"/>
                </a:cubicBezTo>
                <a:cubicBezTo>
                  <a:pt x="2141755" y="967178"/>
                  <a:pt x="2132008" y="964662"/>
                  <a:pt x="2122053" y="963615"/>
                </a:cubicBezTo>
                <a:cubicBezTo>
                  <a:pt x="2119427" y="963308"/>
                  <a:pt x="2116806" y="964176"/>
                  <a:pt x="2114880" y="965986"/>
                </a:cubicBezTo>
                <a:cubicBezTo>
                  <a:pt x="2112607" y="969081"/>
                  <a:pt x="2109003" y="970926"/>
                  <a:pt x="2105162" y="970961"/>
                </a:cubicBezTo>
                <a:cubicBezTo>
                  <a:pt x="2098955" y="970313"/>
                  <a:pt x="2093327" y="967028"/>
                  <a:pt x="2089718" y="961937"/>
                </a:cubicBezTo>
                <a:cubicBezTo>
                  <a:pt x="2087849" y="959728"/>
                  <a:pt x="2084905" y="958750"/>
                  <a:pt x="2082082" y="959392"/>
                </a:cubicBezTo>
                <a:cubicBezTo>
                  <a:pt x="2076576" y="960358"/>
                  <a:pt x="2070965" y="958386"/>
                  <a:pt x="2067274" y="954186"/>
                </a:cubicBezTo>
                <a:cubicBezTo>
                  <a:pt x="2064874" y="950895"/>
                  <a:pt x="2061108" y="948876"/>
                  <a:pt x="2057036" y="948691"/>
                </a:cubicBezTo>
                <a:cubicBezTo>
                  <a:pt x="2053276" y="949015"/>
                  <a:pt x="2049649" y="950224"/>
                  <a:pt x="2046450" y="952219"/>
                </a:cubicBezTo>
                <a:lnTo>
                  <a:pt x="2043500" y="953666"/>
                </a:lnTo>
                <a:cubicBezTo>
                  <a:pt x="2042517" y="954094"/>
                  <a:pt x="2041453" y="954308"/>
                  <a:pt x="2040377" y="954302"/>
                </a:cubicBezTo>
                <a:cubicBezTo>
                  <a:pt x="2036264" y="953741"/>
                  <a:pt x="2032319" y="952300"/>
                  <a:pt x="2028808" y="950079"/>
                </a:cubicBezTo>
                <a:cubicBezTo>
                  <a:pt x="2025742" y="948402"/>
                  <a:pt x="2022572" y="946915"/>
                  <a:pt x="2019321" y="945625"/>
                </a:cubicBezTo>
                <a:cubicBezTo>
                  <a:pt x="2014717" y="943925"/>
                  <a:pt x="2011830" y="939349"/>
                  <a:pt x="2012264" y="934461"/>
                </a:cubicBezTo>
                <a:cubicBezTo>
                  <a:pt x="2012467" y="930591"/>
                  <a:pt x="2010789" y="926860"/>
                  <a:pt x="2007752" y="924454"/>
                </a:cubicBezTo>
                <a:cubicBezTo>
                  <a:pt x="2006966" y="923795"/>
                  <a:pt x="2006000" y="923390"/>
                  <a:pt x="2004976" y="923297"/>
                </a:cubicBezTo>
                <a:cubicBezTo>
                  <a:pt x="2001332" y="923297"/>
                  <a:pt x="2000233" y="932552"/>
                  <a:pt x="2000117" y="935849"/>
                </a:cubicBezTo>
                <a:cubicBezTo>
                  <a:pt x="2000088" y="936434"/>
                  <a:pt x="1999602" y="936891"/>
                  <a:pt x="1999018" y="936891"/>
                </a:cubicBezTo>
                <a:lnTo>
                  <a:pt x="1248257" y="940940"/>
                </a:lnTo>
                <a:cubicBezTo>
                  <a:pt x="1248656" y="941518"/>
                  <a:pt x="1249101" y="942056"/>
                  <a:pt x="1249587" y="942559"/>
                </a:cubicBezTo>
                <a:cubicBezTo>
                  <a:pt x="1253995" y="947175"/>
                  <a:pt x="1255777" y="953700"/>
                  <a:pt x="1254331" y="959913"/>
                </a:cubicBezTo>
                <a:cubicBezTo>
                  <a:pt x="1253712" y="963754"/>
                  <a:pt x="1253827" y="967681"/>
                  <a:pt x="1254678" y="971482"/>
                </a:cubicBezTo>
                <a:cubicBezTo>
                  <a:pt x="1256818" y="979464"/>
                  <a:pt x="1256529" y="991206"/>
                  <a:pt x="1251901" y="997164"/>
                </a:cubicBezTo>
                <a:cubicBezTo>
                  <a:pt x="1248986" y="1001086"/>
                  <a:pt x="1243444" y="1001908"/>
                  <a:pt x="1239517" y="998992"/>
                </a:cubicBezTo>
                <a:cubicBezTo>
                  <a:pt x="1238059" y="997905"/>
                  <a:pt x="1236972" y="996401"/>
                  <a:pt x="1236399" y="994677"/>
                </a:cubicBezTo>
                <a:cubicBezTo>
                  <a:pt x="1235444" y="990703"/>
                  <a:pt x="1237330" y="986590"/>
                  <a:pt x="1240969" y="984728"/>
                </a:cubicBezTo>
                <a:cubicBezTo>
                  <a:pt x="1243647" y="982697"/>
                  <a:pt x="1244682" y="979146"/>
                  <a:pt x="1243514" y="975993"/>
                </a:cubicBezTo>
                <a:cubicBezTo>
                  <a:pt x="1242820" y="973043"/>
                  <a:pt x="1240679" y="969862"/>
                  <a:pt x="1237729" y="969862"/>
                </a:cubicBezTo>
                <a:cubicBezTo>
                  <a:pt x="1236283" y="969891"/>
                  <a:pt x="1234895" y="969301"/>
                  <a:pt x="1233912" y="968242"/>
                </a:cubicBezTo>
                <a:cubicBezTo>
                  <a:pt x="1232072" y="966004"/>
                  <a:pt x="1231147" y="963152"/>
                  <a:pt x="1231309" y="960260"/>
                </a:cubicBezTo>
                <a:cubicBezTo>
                  <a:pt x="1226155" y="961480"/>
                  <a:pt x="1220873" y="962065"/>
                  <a:pt x="1215575" y="961995"/>
                </a:cubicBezTo>
                <a:cubicBezTo>
                  <a:pt x="1207309" y="961804"/>
                  <a:pt x="1199066" y="961151"/>
                  <a:pt x="1190875" y="960028"/>
                </a:cubicBezTo>
                <a:cubicBezTo>
                  <a:pt x="1190898" y="960277"/>
                  <a:pt x="1190898" y="960532"/>
                  <a:pt x="1190875" y="960780"/>
                </a:cubicBezTo>
                <a:cubicBezTo>
                  <a:pt x="1192287" y="973680"/>
                  <a:pt x="1197007" y="985995"/>
                  <a:pt x="1204584" y="996528"/>
                </a:cubicBezTo>
                <a:cubicBezTo>
                  <a:pt x="1208240" y="1001167"/>
                  <a:pt x="1210519" y="1006738"/>
                  <a:pt x="1211179" y="1012609"/>
                </a:cubicBezTo>
                <a:cubicBezTo>
                  <a:pt x="1211873" y="1016831"/>
                  <a:pt x="1212336" y="1019608"/>
                  <a:pt x="1216443" y="1021806"/>
                </a:cubicBezTo>
                <a:cubicBezTo>
                  <a:pt x="1221533" y="1024525"/>
                  <a:pt x="1224194" y="1027591"/>
                  <a:pt x="1223558" y="1030309"/>
                </a:cubicBezTo>
                <a:cubicBezTo>
                  <a:pt x="1223558" y="1031177"/>
                  <a:pt x="1222401" y="1033201"/>
                  <a:pt x="1218178" y="1033201"/>
                </a:cubicBezTo>
                <a:lnTo>
                  <a:pt x="1215748" y="1033201"/>
                </a:lnTo>
                <a:cubicBezTo>
                  <a:pt x="1215326" y="1033149"/>
                  <a:pt x="1214898" y="1033149"/>
                  <a:pt x="1214476" y="1033201"/>
                </a:cubicBezTo>
                <a:cubicBezTo>
                  <a:pt x="1213319" y="1033201"/>
                  <a:pt x="1212972" y="1033491"/>
                  <a:pt x="1212914" y="1033606"/>
                </a:cubicBezTo>
                <a:cubicBezTo>
                  <a:pt x="1212856" y="1033722"/>
                  <a:pt x="1212278" y="1036846"/>
                  <a:pt x="1212393" y="1039911"/>
                </a:cubicBezTo>
                <a:cubicBezTo>
                  <a:pt x="1212781" y="1045707"/>
                  <a:pt x="1212509" y="1051532"/>
                  <a:pt x="1211584" y="1057265"/>
                </a:cubicBezTo>
                <a:cubicBezTo>
                  <a:pt x="1209923" y="1070916"/>
                  <a:pt x="1209021" y="1084642"/>
                  <a:pt x="1208865" y="1098392"/>
                </a:cubicBezTo>
                <a:cubicBezTo>
                  <a:pt x="1208460" y="1109672"/>
                  <a:pt x="1208171" y="1119389"/>
                  <a:pt x="1207361" y="1124480"/>
                </a:cubicBezTo>
                <a:cubicBezTo>
                  <a:pt x="1206395" y="1128911"/>
                  <a:pt x="1204984" y="1133237"/>
                  <a:pt x="1203138" y="1137379"/>
                </a:cubicBezTo>
                <a:cubicBezTo>
                  <a:pt x="1199263" y="1147155"/>
                  <a:pt x="1194867" y="1158319"/>
                  <a:pt x="1199899" y="1166301"/>
                </a:cubicBezTo>
                <a:cubicBezTo>
                  <a:pt x="1209172" y="1179380"/>
                  <a:pt x="1212527" y="1195750"/>
                  <a:pt x="1209154" y="1211420"/>
                </a:cubicBezTo>
                <a:cubicBezTo>
                  <a:pt x="1204932" y="1226459"/>
                  <a:pt x="1205683" y="1235252"/>
                  <a:pt x="1212046" y="1246126"/>
                </a:cubicBezTo>
                <a:cubicBezTo>
                  <a:pt x="1214933" y="1252495"/>
                  <a:pt x="1216356" y="1259436"/>
                  <a:pt x="1216211" y="1266430"/>
                </a:cubicBezTo>
                <a:cubicBezTo>
                  <a:pt x="1216558" y="1273197"/>
                  <a:pt x="1216905" y="1279560"/>
                  <a:pt x="1220145" y="1281469"/>
                </a:cubicBezTo>
                <a:cubicBezTo>
                  <a:pt x="1228966" y="1287670"/>
                  <a:pt x="1236168" y="1295901"/>
                  <a:pt x="1241142" y="1305475"/>
                </a:cubicBezTo>
                <a:cubicBezTo>
                  <a:pt x="1242860" y="1308714"/>
                  <a:pt x="1245729" y="1311189"/>
                  <a:pt x="1249182" y="1312416"/>
                </a:cubicBezTo>
                <a:cubicBezTo>
                  <a:pt x="1252017" y="1313631"/>
                  <a:pt x="1254504" y="1314614"/>
                  <a:pt x="1254967" y="1321092"/>
                </a:cubicBezTo>
                <a:lnTo>
                  <a:pt x="1254967" y="1321787"/>
                </a:lnTo>
                <a:cubicBezTo>
                  <a:pt x="1256066" y="1331967"/>
                  <a:pt x="1256239" y="1333355"/>
                  <a:pt x="1265090" y="1337115"/>
                </a:cubicBezTo>
                <a:cubicBezTo>
                  <a:pt x="1273940" y="1340875"/>
                  <a:pt x="1271453" y="1348395"/>
                  <a:pt x="1270238" y="1354122"/>
                </a:cubicBezTo>
                <a:cubicBezTo>
                  <a:pt x="1269810" y="1355828"/>
                  <a:pt x="1269538" y="1357569"/>
                  <a:pt x="1269428" y="1359328"/>
                </a:cubicBezTo>
                <a:cubicBezTo>
                  <a:pt x="1269428" y="1364591"/>
                  <a:pt x="1281344" y="1375177"/>
                  <a:pt x="1295226" y="1387382"/>
                </a:cubicBezTo>
                <a:lnTo>
                  <a:pt x="1297482" y="1389407"/>
                </a:lnTo>
                <a:cubicBezTo>
                  <a:pt x="1303516" y="1394173"/>
                  <a:pt x="1306859" y="1401571"/>
                  <a:pt x="1306448" y="1409247"/>
                </a:cubicBezTo>
                <a:cubicBezTo>
                  <a:pt x="1306448" y="1413296"/>
                  <a:pt x="1306448" y="1414569"/>
                  <a:pt x="1310729" y="1414569"/>
                </a:cubicBezTo>
                <a:cubicBezTo>
                  <a:pt x="1322934" y="1414569"/>
                  <a:pt x="1334792" y="1422089"/>
                  <a:pt x="1345435" y="1428683"/>
                </a:cubicBezTo>
                <a:cubicBezTo>
                  <a:pt x="1349797" y="1431945"/>
                  <a:pt x="1355228" y="1433455"/>
                  <a:pt x="1360648" y="1432906"/>
                </a:cubicBezTo>
                <a:cubicBezTo>
                  <a:pt x="1363147" y="1432738"/>
                  <a:pt x="1365652" y="1432894"/>
                  <a:pt x="1368110" y="1433368"/>
                </a:cubicBezTo>
                <a:cubicBezTo>
                  <a:pt x="1376556" y="1435335"/>
                  <a:pt x="1391248" y="1452746"/>
                  <a:pt x="1394372" y="1464488"/>
                </a:cubicBezTo>
                <a:cubicBezTo>
                  <a:pt x="1395870" y="1470070"/>
                  <a:pt x="1397802" y="1475525"/>
                  <a:pt x="1400156" y="1480801"/>
                </a:cubicBezTo>
                <a:lnTo>
                  <a:pt x="1462165" y="1472645"/>
                </a:lnTo>
                <a:cubicBezTo>
                  <a:pt x="1462425" y="1472558"/>
                  <a:pt x="1462715" y="1472558"/>
                  <a:pt x="1462975" y="1472645"/>
                </a:cubicBezTo>
                <a:cubicBezTo>
                  <a:pt x="1462975" y="1472645"/>
                  <a:pt x="1482295" y="1486180"/>
                  <a:pt x="1492996" y="1488725"/>
                </a:cubicBezTo>
                <a:cubicBezTo>
                  <a:pt x="1503697" y="1491270"/>
                  <a:pt x="1559112" y="1511863"/>
                  <a:pt x="1563450" y="1513193"/>
                </a:cubicBezTo>
                <a:lnTo>
                  <a:pt x="1640383" y="1512557"/>
                </a:lnTo>
                <a:lnTo>
                  <a:pt x="1649060" y="1501335"/>
                </a:lnTo>
                <a:cubicBezTo>
                  <a:pt x="1649309" y="1501087"/>
                  <a:pt x="1649638" y="1500942"/>
                  <a:pt x="1649985" y="1500930"/>
                </a:cubicBezTo>
                <a:lnTo>
                  <a:pt x="1692675" y="1500930"/>
                </a:lnTo>
                <a:cubicBezTo>
                  <a:pt x="1692935" y="1500844"/>
                  <a:pt x="1693224" y="1500844"/>
                  <a:pt x="1693484" y="1500930"/>
                </a:cubicBezTo>
                <a:cubicBezTo>
                  <a:pt x="1703081" y="1510799"/>
                  <a:pt x="1713325" y="1520013"/>
                  <a:pt x="1724142" y="1528522"/>
                </a:cubicBezTo>
                <a:cubicBezTo>
                  <a:pt x="1728191" y="1529911"/>
                  <a:pt x="1742363" y="1542521"/>
                  <a:pt x="1742363" y="1550966"/>
                </a:cubicBezTo>
                <a:cubicBezTo>
                  <a:pt x="1741888" y="1557768"/>
                  <a:pt x="1745440" y="1564218"/>
                  <a:pt x="1751444" y="1567451"/>
                </a:cubicBezTo>
                <a:cubicBezTo>
                  <a:pt x="1753411" y="1568377"/>
                  <a:pt x="1756593" y="1570286"/>
                  <a:pt x="1760352" y="1572484"/>
                </a:cubicBezTo>
                <a:cubicBezTo>
                  <a:pt x="1767166" y="1577002"/>
                  <a:pt x="1774490" y="1580709"/>
                  <a:pt x="1782160" y="1583532"/>
                </a:cubicBezTo>
                <a:cubicBezTo>
                  <a:pt x="1783681" y="1581670"/>
                  <a:pt x="1784913" y="1579581"/>
                  <a:pt x="1785804" y="1577343"/>
                </a:cubicBezTo>
                <a:cubicBezTo>
                  <a:pt x="1789506" y="1569765"/>
                  <a:pt x="1795117" y="1558254"/>
                  <a:pt x="1803562" y="1558254"/>
                </a:cubicBezTo>
                <a:lnTo>
                  <a:pt x="1804083" y="1558254"/>
                </a:lnTo>
                <a:cubicBezTo>
                  <a:pt x="1816461" y="1558948"/>
                  <a:pt x="1848276" y="1568146"/>
                  <a:pt x="1853655" y="1586887"/>
                </a:cubicBezTo>
                <a:cubicBezTo>
                  <a:pt x="1858560" y="1601128"/>
                  <a:pt x="1867382" y="1613698"/>
                  <a:pt x="1879107" y="1623156"/>
                </a:cubicBezTo>
                <a:cubicBezTo>
                  <a:pt x="1882016" y="1626291"/>
                  <a:pt x="1883555" y="1630450"/>
                  <a:pt x="1883387" y="1634724"/>
                </a:cubicBezTo>
                <a:cubicBezTo>
                  <a:pt x="1883538" y="1638010"/>
                  <a:pt x="1884388" y="1641220"/>
                  <a:pt x="1885875" y="1644153"/>
                </a:cubicBezTo>
                <a:cubicBezTo>
                  <a:pt x="1887494" y="1647051"/>
                  <a:pt x="1888628" y="1650198"/>
                  <a:pt x="1889229" y="1653466"/>
                </a:cubicBezTo>
                <a:cubicBezTo>
                  <a:pt x="1890097" y="1657110"/>
                  <a:pt x="1890965" y="1660465"/>
                  <a:pt x="1892642" y="1660465"/>
                </a:cubicBezTo>
                <a:cubicBezTo>
                  <a:pt x="1896917" y="1661460"/>
                  <a:pt x="1901024" y="1663056"/>
                  <a:pt x="1904847" y="1665208"/>
                </a:cubicBezTo>
                <a:cubicBezTo>
                  <a:pt x="1913640" y="1669315"/>
                  <a:pt x="1924688" y="1674348"/>
                  <a:pt x="1930762" y="1674116"/>
                </a:cubicBezTo>
                <a:cubicBezTo>
                  <a:pt x="1934475" y="1674214"/>
                  <a:pt x="1938073" y="1675400"/>
                  <a:pt x="1941116" y="1677529"/>
                </a:cubicBezTo>
                <a:cubicBezTo>
                  <a:pt x="1940907" y="1670512"/>
                  <a:pt x="1938154" y="1663808"/>
                  <a:pt x="1933365" y="1658672"/>
                </a:cubicBezTo>
                <a:cubicBezTo>
                  <a:pt x="1930819" y="1655432"/>
                  <a:pt x="1928679" y="1652887"/>
                  <a:pt x="1929084" y="1649590"/>
                </a:cubicBezTo>
                <a:cubicBezTo>
                  <a:pt x="1929697" y="1646976"/>
                  <a:pt x="1931346" y="1644720"/>
                  <a:pt x="1933654" y="1643343"/>
                </a:cubicBezTo>
                <a:cubicBezTo>
                  <a:pt x="1939508" y="1640000"/>
                  <a:pt x="1941764" y="1632682"/>
                  <a:pt x="1938802" y="1626626"/>
                </a:cubicBezTo>
                <a:cubicBezTo>
                  <a:pt x="1937761" y="1623213"/>
                  <a:pt x="1936720" y="1619685"/>
                  <a:pt x="1940364" y="1617255"/>
                </a:cubicBezTo>
                <a:cubicBezTo>
                  <a:pt x="1942157" y="1616040"/>
                  <a:pt x="1944239" y="1614883"/>
                  <a:pt x="1946148" y="1613611"/>
                </a:cubicBezTo>
                <a:cubicBezTo>
                  <a:pt x="1952453" y="1610083"/>
                  <a:pt x="1959626" y="1606091"/>
                  <a:pt x="1959626" y="1601232"/>
                </a:cubicBezTo>
                <a:cubicBezTo>
                  <a:pt x="1959626" y="1594233"/>
                  <a:pt x="1965410" y="1593423"/>
                  <a:pt x="1969517" y="1593423"/>
                </a:cubicBezTo>
                <a:cubicBezTo>
                  <a:pt x="1972091" y="1593481"/>
                  <a:pt x="1974660" y="1593690"/>
                  <a:pt x="1977211" y="1594060"/>
                </a:cubicBezTo>
                <a:cubicBezTo>
                  <a:pt x="1983284" y="1594696"/>
                  <a:pt x="1993060" y="1587812"/>
                  <a:pt x="1998613" y="1581103"/>
                </a:cubicBezTo>
                <a:cubicBezTo>
                  <a:pt x="2000892" y="1578956"/>
                  <a:pt x="2002327" y="1576059"/>
                  <a:pt x="2002662" y="1572946"/>
                </a:cubicBezTo>
                <a:cubicBezTo>
                  <a:pt x="2001968" y="1570887"/>
                  <a:pt x="2002263" y="1568620"/>
                  <a:pt x="2003472" y="1566815"/>
                </a:cubicBezTo>
                <a:cubicBezTo>
                  <a:pt x="2004843" y="1565462"/>
                  <a:pt x="2006763" y="1564802"/>
                  <a:pt x="2008678" y="1565022"/>
                </a:cubicBezTo>
                <a:cubicBezTo>
                  <a:pt x="2011582" y="1565115"/>
                  <a:pt x="2014468" y="1565502"/>
                  <a:pt x="2017297" y="1566179"/>
                </a:cubicBezTo>
                <a:cubicBezTo>
                  <a:pt x="2017991" y="1566260"/>
                  <a:pt x="2018685" y="1566260"/>
                  <a:pt x="2019379" y="1566179"/>
                </a:cubicBezTo>
                <a:cubicBezTo>
                  <a:pt x="2023312" y="1566179"/>
                  <a:pt x="2025164" y="1563055"/>
                  <a:pt x="2026725" y="1560047"/>
                </a:cubicBezTo>
                <a:cubicBezTo>
                  <a:pt x="2028287" y="1557039"/>
                  <a:pt x="2029617" y="1554784"/>
                  <a:pt x="2032510" y="1554784"/>
                </a:cubicBezTo>
                <a:cubicBezTo>
                  <a:pt x="2033117" y="1554795"/>
                  <a:pt x="2033725" y="1554893"/>
                  <a:pt x="2034303" y="1555073"/>
                </a:cubicBezTo>
                <a:cubicBezTo>
                  <a:pt x="2036096" y="1555651"/>
                  <a:pt x="2037716" y="1556345"/>
                  <a:pt x="2039278" y="1556982"/>
                </a:cubicBezTo>
                <a:cubicBezTo>
                  <a:pt x="2041192" y="1557919"/>
                  <a:pt x="2043240" y="1558560"/>
                  <a:pt x="2045351" y="1558890"/>
                </a:cubicBezTo>
                <a:cubicBezTo>
                  <a:pt x="2046045" y="1558890"/>
                  <a:pt x="2046624" y="1558890"/>
                  <a:pt x="2046797" y="1557271"/>
                </a:cubicBezTo>
                <a:cubicBezTo>
                  <a:pt x="2046861" y="1554749"/>
                  <a:pt x="2048955" y="1552753"/>
                  <a:pt x="2051477" y="1552817"/>
                </a:cubicBezTo>
                <a:cubicBezTo>
                  <a:pt x="2051500" y="1552817"/>
                  <a:pt x="2051517" y="1552817"/>
                  <a:pt x="2051540" y="1552817"/>
                </a:cubicBezTo>
                <a:cubicBezTo>
                  <a:pt x="2055908" y="1553453"/>
                  <a:pt x="2059772" y="1555969"/>
                  <a:pt x="2062126" y="1559700"/>
                </a:cubicBezTo>
                <a:cubicBezTo>
                  <a:pt x="2065435" y="1563402"/>
                  <a:pt x="2070172" y="1565508"/>
                  <a:pt x="2075141" y="1565485"/>
                </a:cubicBezTo>
                <a:cubicBezTo>
                  <a:pt x="2077165" y="1565485"/>
                  <a:pt x="2081909" y="1565080"/>
                  <a:pt x="2082545" y="1560857"/>
                </a:cubicBezTo>
                <a:cubicBezTo>
                  <a:pt x="2083181" y="1556635"/>
                  <a:pt x="2084974" y="1556345"/>
                  <a:pt x="2086536" y="1556345"/>
                </a:cubicBezTo>
                <a:cubicBezTo>
                  <a:pt x="2089776" y="1556345"/>
                  <a:pt x="2094635" y="1560047"/>
                  <a:pt x="2102675" y="1568724"/>
                </a:cubicBezTo>
                <a:cubicBezTo>
                  <a:pt x="2106024" y="1573184"/>
                  <a:pt x="2111479" y="1575538"/>
                  <a:pt x="2117020" y="1574913"/>
                </a:cubicBezTo>
                <a:lnTo>
                  <a:pt x="2119623" y="1574913"/>
                </a:lnTo>
                <a:cubicBezTo>
                  <a:pt x="2121185" y="1574913"/>
                  <a:pt x="2122920" y="1574913"/>
                  <a:pt x="2124887" y="1574913"/>
                </a:cubicBezTo>
                <a:lnTo>
                  <a:pt x="2127490" y="1574913"/>
                </a:lnTo>
                <a:cubicBezTo>
                  <a:pt x="2135126" y="1574913"/>
                  <a:pt x="2135241" y="1573004"/>
                  <a:pt x="2135820" y="1566642"/>
                </a:cubicBezTo>
                <a:lnTo>
                  <a:pt x="2135820" y="1566179"/>
                </a:lnTo>
                <a:cubicBezTo>
                  <a:pt x="2135820" y="1563981"/>
                  <a:pt x="2137266" y="1563749"/>
                  <a:pt x="2137786" y="1563749"/>
                </a:cubicBezTo>
                <a:cubicBezTo>
                  <a:pt x="2139348" y="1563749"/>
                  <a:pt x="2141084" y="1565600"/>
                  <a:pt x="2144554" y="1569534"/>
                </a:cubicBezTo>
                <a:cubicBezTo>
                  <a:pt x="2149182" y="1574624"/>
                  <a:pt x="2155429" y="1581623"/>
                  <a:pt x="2161329" y="1582202"/>
                </a:cubicBezTo>
                <a:cubicBezTo>
                  <a:pt x="2161965" y="1582254"/>
                  <a:pt x="2162602" y="1582254"/>
                  <a:pt x="2163238" y="1582202"/>
                </a:cubicBezTo>
                <a:cubicBezTo>
                  <a:pt x="2164915" y="1582202"/>
                  <a:pt x="2165436" y="1581855"/>
                  <a:pt x="2165494" y="1581739"/>
                </a:cubicBezTo>
                <a:cubicBezTo>
                  <a:pt x="2165552" y="1581623"/>
                  <a:pt x="2165899" y="1579252"/>
                  <a:pt x="2154446" y="1570170"/>
                </a:cubicBezTo>
                <a:cubicBezTo>
                  <a:pt x="2151062" y="1568336"/>
                  <a:pt x="2149552" y="1564281"/>
                  <a:pt x="2150917" y="1560683"/>
                </a:cubicBezTo>
                <a:cubicBezTo>
                  <a:pt x="2152022" y="1558665"/>
                  <a:pt x="2151282" y="1556137"/>
                  <a:pt x="2149268" y="1555026"/>
                </a:cubicBezTo>
                <a:cubicBezTo>
                  <a:pt x="2149182" y="1554980"/>
                  <a:pt x="2149095" y="1554940"/>
                  <a:pt x="2149008" y="1554899"/>
                </a:cubicBezTo>
                <a:cubicBezTo>
                  <a:pt x="2147238" y="1553904"/>
                  <a:pt x="2146399" y="1551810"/>
                  <a:pt x="2146984" y="1549867"/>
                </a:cubicBezTo>
                <a:cubicBezTo>
                  <a:pt x="2148777" y="1544487"/>
                  <a:pt x="2161329" y="1540727"/>
                  <a:pt x="2171510" y="1540727"/>
                </a:cubicBezTo>
                <a:lnTo>
                  <a:pt x="2173361" y="1540727"/>
                </a:lnTo>
                <a:cubicBezTo>
                  <a:pt x="2176496" y="1540860"/>
                  <a:pt x="2179625" y="1541150"/>
                  <a:pt x="2182731" y="1541595"/>
                </a:cubicBezTo>
                <a:cubicBezTo>
                  <a:pt x="2183859" y="1541809"/>
                  <a:pt x="2184999" y="1541948"/>
                  <a:pt x="2186144" y="1542000"/>
                </a:cubicBezTo>
                <a:cubicBezTo>
                  <a:pt x="2187995" y="1542000"/>
                  <a:pt x="2188921" y="1541364"/>
                  <a:pt x="2191929" y="1536967"/>
                </a:cubicBezTo>
                <a:cubicBezTo>
                  <a:pt x="2193004" y="1534688"/>
                  <a:pt x="2195203" y="1533150"/>
                  <a:pt x="2197713" y="1532918"/>
                </a:cubicBezTo>
                <a:cubicBezTo>
                  <a:pt x="2201994" y="1532918"/>
                  <a:pt x="2205001" y="1539165"/>
                  <a:pt x="2205001" y="1544834"/>
                </a:cubicBezTo>
                <a:cubicBezTo>
                  <a:pt x="2205001" y="1545297"/>
                  <a:pt x="2205001" y="1546107"/>
                  <a:pt x="2207489" y="1546107"/>
                </a:cubicBezTo>
                <a:cubicBezTo>
                  <a:pt x="2212151" y="1545644"/>
                  <a:pt x="2216750" y="1544678"/>
                  <a:pt x="2221198" y="1543215"/>
                </a:cubicBezTo>
                <a:cubicBezTo>
                  <a:pt x="2227376" y="1541242"/>
                  <a:pt x="2233762" y="1539998"/>
                  <a:pt x="2240229" y="1539513"/>
                </a:cubicBezTo>
                <a:cubicBezTo>
                  <a:pt x="2253764" y="1539513"/>
                  <a:pt x="2265506" y="1551081"/>
                  <a:pt x="2266779" y="1558659"/>
                </a:cubicBezTo>
                <a:cubicBezTo>
                  <a:pt x="2267282" y="1562425"/>
                  <a:pt x="2270556" y="1565201"/>
                  <a:pt x="2274357" y="1565080"/>
                </a:cubicBezTo>
                <a:cubicBezTo>
                  <a:pt x="2277874" y="1564883"/>
                  <a:pt x="2281200" y="1563425"/>
                  <a:pt x="2283728" y="1560973"/>
                </a:cubicBezTo>
                <a:lnTo>
                  <a:pt x="2286678" y="1558312"/>
                </a:lnTo>
                <a:cubicBezTo>
                  <a:pt x="2292404" y="1554147"/>
                  <a:pt x="2297552" y="1549519"/>
                  <a:pt x="2302990" y="1549519"/>
                </a:cubicBezTo>
                <a:close/>
                <a:moveTo>
                  <a:pt x="16058" y="780191"/>
                </a:moveTo>
                <a:cubicBezTo>
                  <a:pt x="14623" y="780237"/>
                  <a:pt x="13420" y="779109"/>
                  <a:pt x="13374" y="777669"/>
                </a:cubicBezTo>
                <a:cubicBezTo>
                  <a:pt x="13368" y="777524"/>
                  <a:pt x="13380" y="777385"/>
                  <a:pt x="13397" y="777240"/>
                </a:cubicBezTo>
                <a:cubicBezTo>
                  <a:pt x="14247" y="772567"/>
                  <a:pt x="16231" y="768176"/>
                  <a:pt x="19182" y="764457"/>
                </a:cubicBezTo>
                <a:cubicBezTo>
                  <a:pt x="21090" y="761854"/>
                  <a:pt x="25949" y="755838"/>
                  <a:pt x="30114" y="755838"/>
                </a:cubicBezTo>
                <a:cubicBezTo>
                  <a:pt x="30721" y="755838"/>
                  <a:pt x="31213" y="756330"/>
                  <a:pt x="31213" y="756937"/>
                </a:cubicBezTo>
                <a:cubicBezTo>
                  <a:pt x="31213" y="756955"/>
                  <a:pt x="31213" y="756978"/>
                  <a:pt x="31213" y="756995"/>
                </a:cubicBezTo>
                <a:cubicBezTo>
                  <a:pt x="31213" y="757602"/>
                  <a:pt x="30721" y="758094"/>
                  <a:pt x="30114" y="758094"/>
                </a:cubicBezTo>
                <a:cubicBezTo>
                  <a:pt x="27974" y="758094"/>
                  <a:pt x="24330" y="761102"/>
                  <a:pt x="21033" y="765787"/>
                </a:cubicBezTo>
                <a:cubicBezTo>
                  <a:pt x="18198" y="769119"/>
                  <a:pt x="16208" y="773087"/>
                  <a:pt x="15248" y="777356"/>
                </a:cubicBezTo>
                <a:cubicBezTo>
                  <a:pt x="15248" y="778050"/>
                  <a:pt x="15248" y="778050"/>
                  <a:pt x="15653" y="778050"/>
                </a:cubicBezTo>
                <a:cubicBezTo>
                  <a:pt x="16260" y="778050"/>
                  <a:pt x="16752" y="778542"/>
                  <a:pt x="16752" y="779149"/>
                </a:cubicBezTo>
                <a:cubicBezTo>
                  <a:pt x="16752" y="779167"/>
                  <a:pt x="16752" y="779190"/>
                  <a:pt x="16752" y="779207"/>
                </a:cubicBezTo>
                <a:cubicBezTo>
                  <a:pt x="16781" y="779670"/>
                  <a:pt x="16498" y="780092"/>
                  <a:pt x="16058" y="780248"/>
                </a:cubicBezTo>
                <a:close/>
                <a:moveTo>
                  <a:pt x="86165" y="743517"/>
                </a:moveTo>
                <a:cubicBezTo>
                  <a:pt x="85569" y="743575"/>
                  <a:pt x="84968" y="743575"/>
                  <a:pt x="84372" y="743517"/>
                </a:cubicBezTo>
                <a:cubicBezTo>
                  <a:pt x="81075" y="743054"/>
                  <a:pt x="80901" y="741203"/>
                  <a:pt x="80959" y="740394"/>
                </a:cubicBezTo>
                <a:cubicBezTo>
                  <a:pt x="81364" y="734609"/>
                  <a:pt x="103229" y="722404"/>
                  <a:pt x="116186" y="722404"/>
                </a:cubicBezTo>
                <a:cubicBezTo>
                  <a:pt x="117916" y="722358"/>
                  <a:pt x="119634" y="722612"/>
                  <a:pt x="121277" y="723156"/>
                </a:cubicBezTo>
                <a:cubicBezTo>
                  <a:pt x="125210" y="724602"/>
                  <a:pt x="127061" y="726395"/>
                  <a:pt x="126656" y="728535"/>
                </a:cubicBezTo>
                <a:cubicBezTo>
                  <a:pt x="125846" y="733279"/>
                  <a:pt x="112831" y="736287"/>
                  <a:pt x="106353" y="736287"/>
                </a:cubicBezTo>
                <a:cubicBezTo>
                  <a:pt x="102500" y="736460"/>
                  <a:pt x="98793" y="737791"/>
                  <a:pt x="95710" y="740104"/>
                </a:cubicBezTo>
                <a:cubicBezTo>
                  <a:pt x="92933" y="742158"/>
                  <a:pt x="89613" y="743367"/>
                  <a:pt x="86165" y="743575"/>
                </a:cubicBezTo>
                <a:close/>
                <a:moveTo>
                  <a:pt x="116186" y="724486"/>
                </a:moveTo>
                <a:cubicBezTo>
                  <a:pt x="103287" y="724486"/>
                  <a:pt x="83447" y="736634"/>
                  <a:pt x="83157" y="740451"/>
                </a:cubicBezTo>
                <a:cubicBezTo>
                  <a:pt x="83157" y="740914"/>
                  <a:pt x="84314" y="741146"/>
                  <a:pt x="84719" y="741203"/>
                </a:cubicBezTo>
                <a:cubicBezTo>
                  <a:pt x="88271" y="741412"/>
                  <a:pt x="91770" y="740301"/>
                  <a:pt x="94553" y="738080"/>
                </a:cubicBezTo>
                <a:cubicBezTo>
                  <a:pt x="97913" y="735575"/>
                  <a:pt x="101939" y="734129"/>
                  <a:pt x="106121" y="733915"/>
                </a:cubicBezTo>
                <a:cubicBezTo>
                  <a:pt x="113468" y="733915"/>
                  <a:pt x="123764" y="730560"/>
                  <a:pt x="124227" y="728131"/>
                </a:cubicBezTo>
                <a:cubicBezTo>
                  <a:pt x="124227" y="727494"/>
                  <a:pt x="123359" y="726395"/>
                  <a:pt x="120235" y="725296"/>
                </a:cubicBezTo>
                <a:cubicBezTo>
                  <a:pt x="118940" y="724805"/>
                  <a:pt x="117569" y="724550"/>
                  <a:pt x="116186" y="724544"/>
                </a:cubicBezTo>
                <a:close/>
                <a:moveTo>
                  <a:pt x="1027060" y="731948"/>
                </a:moveTo>
                <a:lnTo>
                  <a:pt x="1026598" y="731948"/>
                </a:lnTo>
                <a:cubicBezTo>
                  <a:pt x="1026216" y="731815"/>
                  <a:pt x="1025950" y="731480"/>
                  <a:pt x="1025903" y="731081"/>
                </a:cubicBezTo>
                <a:cubicBezTo>
                  <a:pt x="1025759" y="729947"/>
                  <a:pt x="1025759" y="728802"/>
                  <a:pt x="1025903" y="727668"/>
                </a:cubicBezTo>
                <a:cubicBezTo>
                  <a:pt x="1025903" y="726800"/>
                  <a:pt x="1025903" y="726569"/>
                  <a:pt x="1025903" y="726569"/>
                </a:cubicBezTo>
                <a:cubicBezTo>
                  <a:pt x="1024590" y="726765"/>
                  <a:pt x="1023324" y="727176"/>
                  <a:pt x="1022144" y="727783"/>
                </a:cubicBezTo>
                <a:cubicBezTo>
                  <a:pt x="1020605" y="728553"/>
                  <a:pt x="1018939" y="729039"/>
                  <a:pt x="1017227" y="729230"/>
                </a:cubicBezTo>
                <a:cubicBezTo>
                  <a:pt x="1015492" y="729230"/>
                  <a:pt x="1014393" y="728073"/>
                  <a:pt x="1014393" y="726048"/>
                </a:cubicBezTo>
                <a:cubicBezTo>
                  <a:pt x="1014485" y="723833"/>
                  <a:pt x="1014757" y="721629"/>
                  <a:pt x="1015202" y="719454"/>
                </a:cubicBezTo>
                <a:cubicBezTo>
                  <a:pt x="1015839" y="715521"/>
                  <a:pt x="1016590" y="711067"/>
                  <a:pt x="1015202" y="709042"/>
                </a:cubicBezTo>
                <a:cubicBezTo>
                  <a:pt x="1014682" y="708325"/>
                  <a:pt x="1013883" y="707862"/>
                  <a:pt x="1013004" y="707769"/>
                </a:cubicBezTo>
                <a:cubicBezTo>
                  <a:pt x="1010228" y="707364"/>
                  <a:pt x="1008550" y="710083"/>
                  <a:pt x="1007220" y="712571"/>
                </a:cubicBezTo>
                <a:cubicBezTo>
                  <a:pt x="1005889" y="715058"/>
                  <a:pt x="1004848" y="716446"/>
                  <a:pt x="1003055" y="716446"/>
                </a:cubicBezTo>
                <a:cubicBezTo>
                  <a:pt x="1001262" y="716446"/>
                  <a:pt x="1000394" y="715058"/>
                  <a:pt x="999700" y="713959"/>
                </a:cubicBezTo>
                <a:cubicBezTo>
                  <a:pt x="997461" y="710257"/>
                  <a:pt x="993765" y="707671"/>
                  <a:pt x="989519" y="706844"/>
                </a:cubicBezTo>
                <a:cubicBezTo>
                  <a:pt x="988305" y="706844"/>
                  <a:pt x="987842" y="707307"/>
                  <a:pt x="987842" y="708464"/>
                </a:cubicBezTo>
                <a:cubicBezTo>
                  <a:pt x="987842" y="712455"/>
                  <a:pt x="987437" y="725470"/>
                  <a:pt x="982347" y="725470"/>
                </a:cubicBezTo>
                <a:cubicBezTo>
                  <a:pt x="981473" y="725458"/>
                  <a:pt x="980629" y="725129"/>
                  <a:pt x="979975" y="724544"/>
                </a:cubicBezTo>
                <a:cubicBezTo>
                  <a:pt x="976042" y="721478"/>
                  <a:pt x="967886" y="714942"/>
                  <a:pt x="966555" y="718760"/>
                </a:cubicBezTo>
                <a:cubicBezTo>
                  <a:pt x="966121" y="720165"/>
                  <a:pt x="965884" y="721629"/>
                  <a:pt x="965861" y="723098"/>
                </a:cubicBezTo>
                <a:cubicBezTo>
                  <a:pt x="965572" y="726453"/>
                  <a:pt x="965225" y="730676"/>
                  <a:pt x="961523" y="730676"/>
                </a:cubicBezTo>
                <a:cubicBezTo>
                  <a:pt x="959417" y="730468"/>
                  <a:pt x="957410" y="729663"/>
                  <a:pt x="955738" y="728362"/>
                </a:cubicBezTo>
                <a:cubicBezTo>
                  <a:pt x="949028" y="724024"/>
                  <a:pt x="951284" y="717719"/>
                  <a:pt x="953309" y="712108"/>
                </a:cubicBezTo>
                <a:cubicBezTo>
                  <a:pt x="955073" y="708770"/>
                  <a:pt x="955571" y="704906"/>
                  <a:pt x="954697" y="701233"/>
                </a:cubicBezTo>
                <a:cubicBezTo>
                  <a:pt x="954003" y="699556"/>
                  <a:pt x="953135" y="697820"/>
                  <a:pt x="952268" y="695969"/>
                </a:cubicBezTo>
                <a:cubicBezTo>
                  <a:pt x="949202" y="689722"/>
                  <a:pt x="946483" y="683764"/>
                  <a:pt x="948161" y="680525"/>
                </a:cubicBezTo>
                <a:cubicBezTo>
                  <a:pt x="949023" y="679235"/>
                  <a:pt x="950486" y="678471"/>
                  <a:pt x="952036" y="678500"/>
                </a:cubicBezTo>
                <a:cubicBezTo>
                  <a:pt x="955912" y="678095"/>
                  <a:pt x="959845" y="681913"/>
                  <a:pt x="963605" y="685557"/>
                </a:cubicBezTo>
                <a:cubicBezTo>
                  <a:pt x="967365" y="689201"/>
                  <a:pt x="969852" y="691631"/>
                  <a:pt x="972398" y="691631"/>
                </a:cubicBezTo>
                <a:cubicBezTo>
                  <a:pt x="973369" y="691573"/>
                  <a:pt x="974272" y="691110"/>
                  <a:pt x="974885" y="690358"/>
                </a:cubicBezTo>
                <a:cubicBezTo>
                  <a:pt x="977210" y="687906"/>
                  <a:pt x="979883" y="685800"/>
                  <a:pt x="982809" y="684111"/>
                </a:cubicBezTo>
                <a:cubicBezTo>
                  <a:pt x="986222" y="682087"/>
                  <a:pt x="988247" y="680814"/>
                  <a:pt x="988594" y="677054"/>
                </a:cubicBezTo>
                <a:cubicBezTo>
                  <a:pt x="988941" y="673294"/>
                  <a:pt x="983851" y="663403"/>
                  <a:pt x="977893" y="656982"/>
                </a:cubicBezTo>
                <a:cubicBezTo>
                  <a:pt x="975683" y="654026"/>
                  <a:pt x="972479" y="651973"/>
                  <a:pt x="968869" y="651198"/>
                </a:cubicBezTo>
                <a:cubicBezTo>
                  <a:pt x="965364" y="651620"/>
                  <a:pt x="962813" y="654732"/>
                  <a:pt x="963085" y="658255"/>
                </a:cubicBezTo>
                <a:cubicBezTo>
                  <a:pt x="962790" y="661147"/>
                  <a:pt x="964889" y="663733"/>
                  <a:pt x="967782" y="664028"/>
                </a:cubicBezTo>
                <a:cubicBezTo>
                  <a:pt x="967816" y="664033"/>
                  <a:pt x="967851" y="664039"/>
                  <a:pt x="967886" y="664039"/>
                </a:cubicBezTo>
                <a:cubicBezTo>
                  <a:pt x="974168" y="664641"/>
                  <a:pt x="979512" y="668875"/>
                  <a:pt x="981537" y="674856"/>
                </a:cubicBezTo>
                <a:cubicBezTo>
                  <a:pt x="982052" y="676776"/>
                  <a:pt x="981028" y="678778"/>
                  <a:pt x="979165" y="679484"/>
                </a:cubicBezTo>
                <a:cubicBezTo>
                  <a:pt x="978454" y="679790"/>
                  <a:pt x="977684" y="679946"/>
                  <a:pt x="976909" y="679946"/>
                </a:cubicBezTo>
                <a:cubicBezTo>
                  <a:pt x="970142" y="679946"/>
                  <a:pt x="957532" y="669939"/>
                  <a:pt x="954639" y="660626"/>
                </a:cubicBezTo>
                <a:cubicBezTo>
                  <a:pt x="954119" y="659065"/>
                  <a:pt x="953540" y="659065"/>
                  <a:pt x="953367" y="659065"/>
                </a:cubicBezTo>
                <a:cubicBezTo>
                  <a:pt x="952094" y="659065"/>
                  <a:pt x="949722" y="661263"/>
                  <a:pt x="947582" y="663056"/>
                </a:cubicBezTo>
                <a:cubicBezTo>
                  <a:pt x="945442" y="664849"/>
                  <a:pt x="942608" y="667741"/>
                  <a:pt x="940352" y="667741"/>
                </a:cubicBezTo>
                <a:cubicBezTo>
                  <a:pt x="939195" y="667741"/>
                  <a:pt x="937633" y="667105"/>
                  <a:pt x="936823" y="664271"/>
                </a:cubicBezTo>
                <a:cubicBezTo>
                  <a:pt x="936667" y="663571"/>
                  <a:pt x="936395" y="662911"/>
                  <a:pt x="936013" y="662304"/>
                </a:cubicBezTo>
                <a:cubicBezTo>
                  <a:pt x="935053" y="663715"/>
                  <a:pt x="934261" y="665225"/>
                  <a:pt x="933642" y="666816"/>
                </a:cubicBezTo>
                <a:cubicBezTo>
                  <a:pt x="931849" y="670691"/>
                  <a:pt x="929998" y="674798"/>
                  <a:pt x="927221" y="674798"/>
                </a:cubicBezTo>
                <a:lnTo>
                  <a:pt x="926816" y="674798"/>
                </a:lnTo>
                <a:cubicBezTo>
                  <a:pt x="925254" y="674798"/>
                  <a:pt x="923982" y="673063"/>
                  <a:pt x="922941" y="670055"/>
                </a:cubicBezTo>
                <a:cubicBezTo>
                  <a:pt x="920569" y="663114"/>
                  <a:pt x="919759" y="647785"/>
                  <a:pt x="922941" y="644430"/>
                </a:cubicBezTo>
                <a:cubicBezTo>
                  <a:pt x="925185" y="642816"/>
                  <a:pt x="927869" y="641925"/>
                  <a:pt x="930634" y="641885"/>
                </a:cubicBezTo>
                <a:cubicBezTo>
                  <a:pt x="935435" y="641248"/>
                  <a:pt x="937749" y="640612"/>
                  <a:pt x="937749" y="637951"/>
                </a:cubicBezTo>
                <a:cubicBezTo>
                  <a:pt x="937749" y="635291"/>
                  <a:pt x="940120" y="632977"/>
                  <a:pt x="942376" y="631242"/>
                </a:cubicBezTo>
                <a:cubicBezTo>
                  <a:pt x="946605" y="629095"/>
                  <a:pt x="948548" y="624115"/>
                  <a:pt x="946888" y="619673"/>
                </a:cubicBezTo>
                <a:cubicBezTo>
                  <a:pt x="943822" y="609087"/>
                  <a:pt x="937170" y="599658"/>
                  <a:pt x="934047" y="599658"/>
                </a:cubicBezTo>
                <a:cubicBezTo>
                  <a:pt x="934047" y="599658"/>
                  <a:pt x="933237" y="599658"/>
                  <a:pt x="932659" y="601047"/>
                </a:cubicBezTo>
                <a:cubicBezTo>
                  <a:pt x="932005" y="604749"/>
                  <a:pt x="932572" y="608566"/>
                  <a:pt x="934278" y="611921"/>
                </a:cubicBezTo>
                <a:cubicBezTo>
                  <a:pt x="936245" y="617706"/>
                  <a:pt x="938443" y="624416"/>
                  <a:pt x="932774" y="627655"/>
                </a:cubicBezTo>
                <a:cubicBezTo>
                  <a:pt x="929946" y="629396"/>
                  <a:pt x="927308" y="631432"/>
                  <a:pt x="924907" y="633729"/>
                </a:cubicBezTo>
                <a:cubicBezTo>
                  <a:pt x="922246" y="636158"/>
                  <a:pt x="920164" y="638067"/>
                  <a:pt x="918024" y="638067"/>
                </a:cubicBezTo>
                <a:cubicBezTo>
                  <a:pt x="916832" y="638044"/>
                  <a:pt x="915722" y="637465"/>
                  <a:pt x="915016" y="636505"/>
                </a:cubicBezTo>
                <a:cubicBezTo>
                  <a:pt x="913107" y="634307"/>
                  <a:pt x="913570" y="630721"/>
                  <a:pt x="914033" y="627019"/>
                </a:cubicBezTo>
                <a:cubicBezTo>
                  <a:pt x="914727" y="621871"/>
                  <a:pt x="914900" y="618458"/>
                  <a:pt x="911892" y="617417"/>
                </a:cubicBezTo>
                <a:cubicBezTo>
                  <a:pt x="910088" y="616694"/>
                  <a:pt x="908034" y="617538"/>
                  <a:pt x="907265" y="619325"/>
                </a:cubicBezTo>
                <a:cubicBezTo>
                  <a:pt x="905373" y="624185"/>
                  <a:pt x="906004" y="629656"/>
                  <a:pt x="908942" y="633960"/>
                </a:cubicBezTo>
                <a:cubicBezTo>
                  <a:pt x="913506" y="642243"/>
                  <a:pt x="915178" y="651811"/>
                  <a:pt x="913686" y="661147"/>
                </a:cubicBezTo>
                <a:cubicBezTo>
                  <a:pt x="913385" y="662848"/>
                  <a:pt x="912378" y="664340"/>
                  <a:pt x="910909" y="665254"/>
                </a:cubicBezTo>
                <a:cubicBezTo>
                  <a:pt x="910441" y="665479"/>
                  <a:pt x="909926" y="665595"/>
                  <a:pt x="909405" y="665601"/>
                </a:cubicBezTo>
                <a:cubicBezTo>
                  <a:pt x="906976" y="665601"/>
                  <a:pt x="905877" y="662709"/>
                  <a:pt x="904546" y="659296"/>
                </a:cubicBezTo>
                <a:cubicBezTo>
                  <a:pt x="903216" y="655883"/>
                  <a:pt x="901249" y="650735"/>
                  <a:pt x="897373" y="649578"/>
                </a:cubicBezTo>
                <a:cubicBezTo>
                  <a:pt x="893498" y="648421"/>
                  <a:pt x="893787" y="644488"/>
                  <a:pt x="893729" y="640612"/>
                </a:cubicBezTo>
                <a:cubicBezTo>
                  <a:pt x="893729" y="635175"/>
                  <a:pt x="893209" y="631589"/>
                  <a:pt x="888986" y="630837"/>
                </a:cubicBezTo>
                <a:cubicBezTo>
                  <a:pt x="878921" y="628928"/>
                  <a:pt x="864981" y="612269"/>
                  <a:pt x="865848" y="602956"/>
                </a:cubicBezTo>
                <a:cubicBezTo>
                  <a:pt x="866253" y="596882"/>
                  <a:pt x="874698" y="593700"/>
                  <a:pt x="880656" y="593700"/>
                </a:cubicBezTo>
                <a:cubicBezTo>
                  <a:pt x="882779" y="593469"/>
                  <a:pt x="884896" y="594186"/>
                  <a:pt x="886441" y="595667"/>
                </a:cubicBezTo>
                <a:cubicBezTo>
                  <a:pt x="887037" y="596489"/>
                  <a:pt x="887187" y="597547"/>
                  <a:pt x="886846" y="598502"/>
                </a:cubicBezTo>
                <a:cubicBezTo>
                  <a:pt x="886678" y="599514"/>
                  <a:pt x="887002" y="600544"/>
                  <a:pt x="887713" y="601278"/>
                </a:cubicBezTo>
                <a:cubicBezTo>
                  <a:pt x="890415" y="604396"/>
                  <a:pt x="894290" y="606241"/>
                  <a:pt x="898415" y="606368"/>
                </a:cubicBezTo>
                <a:cubicBezTo>
                  <a:pt x="901249" y="606559"/>
                  <a:pt x="903852" y="604795"/>
                  <a:pt x="904720" y="602088"/>
                </a:cubicBezTo>
                <a:cubicBezTo>
                  <a:pt x="908075" y="591907"/>
                  <a:pt x="908422" y="575711"/>
                  <a:pt x="903042" y="567381"/>
                </a:cubicBezTo>
                <a:cubicBezTo>
                  <a:pt x="898877" y="561018"/>
                  <a:pt x="894134" y="555813"/>
                  <a:pt x="892746" y="555813"/>
                </a:cubicBezTo>
                <a:cubicBezTo>
                  <a:pt x="892746" y="555813"/>
                  <a:pt x="892110" y="557027"/>
                  <a:pt x="894134" y="563795"/>
                </a:cubicBezTo>
                <a:cubicBezTo>
                  <a:pt x="898820" y="579471"/>
                  <a:pt x="900844" y="587974"/>
                  <a:pt x="898704" y="590808"/>
                </a:cubicBezTo>
                <a:cubicBezTo>
                  <a:pt x="896564" y="593643"/>
                  <a:pt x="894423" y="592081"/>
                  <a:pt x="889912" y="587974"/>
                </a:cubicBezTo>
                <a:cubicBezTo>
                  <a:pt x="884127" y="582768"/>
                  <a:pt x="882623" y="582652"/>
                  <a:pt x="880772" y="582537"/>
                </a:cubicBezTo>
                <a:cubicBezTo>
                  <a:pt x="878921" y="582421"/>
                  <a:pt x="875971" y="582189"/>
                  <a:pt x="868162" y="576752"/>
                </a:cubicBezTo>
                <a:cubicBezTo>
                  <a:pt x="864518" y="574149"/>
                  <a:pt x="863997" y="574785"/>
                  <a:pt x="863882" y="574901"/>
                </a:cubicBezTo>
                <a:cubicBezTo>
                  <a:pt x="863355" y="576781"/>
                  <a:pt x="863257" y="578759"/>
                  <a:pt x="863592" y="580685"/>
                </a:cubicBezTo>
                <a:cubicBezTo>
                  <a:pt x="864362" y="584046"/>
                  <a:pt x="863847" y="587575"/>
                  <a:pt x="862146" y="590577"/>
                </a:cubicBezTo>
                <a:cubicBezTo>
                  <a:pt x="860353" y="592544"/>
                  <a:pt x="857287" y="592370"/>
                  <a:pt x="852544" y="590056"/>
                </a:cubicBezTo>
                <a:cubicBezTo>
                  <a:pt x="841901" y="585030"/>
                  <a:pt x="832455" y="577793"/>
                  <a:pt x="824837" y="568827"/>
                </a:cubicBezTo>
                <a:cubicBezTo>
                  <a:pt x="823333" y="567092"/>
                  <a:pt x="821829" y="565415"/>
                  <a:pt x="820151" y="563795"/>
                </a:cubicBezTo>
                <a:cubicBezTo>
                  <a:pt x="812464" y="557791"/>
                  <a:pt x="803712" y="553296"/>
                  <a:pt x="794353" y="550549"/>
                </a:cubicBezTo>
                <a:lnTo>
                  <a:pt x="788568" y="548293"/>
                </a:lnTo>
                <a:cubicBezTo>
                  <a:pt x="786683" y="547523"/>
                  <a:pt x="784751" y="546870"/>
                  <a:pt x="782784" y="546326"/>
                </a:cubicBezTo>
                <a:cubicBezTo>
                  <a:pt x="778214" y="544996"/>
                  <a:pt x="774281" y="543897"/>
                  <a:pt x="773529" y="541236"/>
                </a:cubicBezTo>
                <a:cubicBezTo>
                  <a:pt x="773211" y="539576"/>
                  <a:pt x="773807" y="537875"/>
                  <a:pt x="775091" y="536782"/>
                </a:cubicBezTo>
                <a:cubicBezTo>
                  <a:pt x="776491" y="535341"/>
                  <a:pt x="777977" y="533988"/>
                  <a:pt x="779545" y="532733"/>
                </a:cubicBezTo>
                <a:cubicBezTo>
                  <a:pt x="782148" y="530592"/>
                  <a:pt x="784404" y="528741"/>
                  <a:pt x="784404" y="526948"/>
                </a:cubicBezTo>
                <a:cubicBezTo>
                  <a:pt x="784404" y="525155"/>
                  <a:pt x="783131" y="523709"/>
                  <a:pt x="780702" y="521684"/>
                </a:cubicBezTo>
                <a:cubicBezTo>
                  <a:pt x="779747" y="520863"/>
                  <a:pt x="778550" y="520377"/>
                  <a:pt x="777289" y="520296"/>
                </a:cubicBezTo>
                <a:cubicBezTo>
                  <a:pt x="774917" y="520296"/>
                  <a:pt x="772430" y="522436"/>
                  <a:pt x="769653" y="524924"/>
                </a:cubicBezTo>
                <a:cubicBezTo>
                  <a:pt x="765130" y="529794"/>
                  <a:pt x="758929" y="532773"/>
                  <a:pt x="752300" y="533253"/>
                </a:cubicBezTo>
                <a:cubicBezTo>
                  <a:pt x="750865" y="533259"/>
                  <a:pt x="749431" y="533126"/>
                  <a:pt x="748019" y="532848"/>
                </a:cubicBezTo>
                <a:cubicBezTo>
                  <a:pt x="740639" y="531871"/>
                  <a:pt x="734096" y="527625"/>
                  <a:pt x="730204" y="521279"/>
                </a:cubicBezTo>
                <a:cubicBezTo>
                  <a:pt x="728121" y="518156"/>
                  <a:pt x="726849" y="516594"/>
                  <a:pt x="724072" y="516768"/>
                </a:cubicBezTo>
                <a:lnTo>
                  <a:pt x="717536" y="517404"/>
                </a:lnTo>
                <a:cubicBezTo>
                  <a:pt x="708743" y="518272"/>
                  <a:pt x="694051" y="519660"/>
                  <a:pt x="680978" y="519660"/>
                </a:cubicBezTo>
                <a:cubicBezTo>
                  <a:pt x="675460" y="519746"/>
                  <a:pt x="669947" y="519382"/>
                  <a:pt x="664492" y="518561"/>
                </a:cubicBezTo>
                <a:lnTo>
                  <a:pt x="661195" y="518040"/>
                </a:lnTo>
                <a:cubicBezTo>
                  <a:pt x="643379" y="515090"/>
                  <a:pt x="632620" y="513297"/>
                  <a:pt x="632620" y="507802"/>
                </a:cubicBezTo>
                <a:cubicBezTo>
                  <a:pt x="632742" y="506124"/>
                  <a:pt x="632742" y="504447"/>
                  <a:pt x="632620" y="502769"/>
                </a:cubicBezTo>
                <a:cubicBezTo>
                  <a:pt x="632620" y="502364"/>
                  <a:pt x="632273" y="501034"/>
                  <a:pt x="631753" y="501034"/>
                </a:cubicBezTo>
                <a:cubicBezTo>
                  <a:pt x="631232" y="501034"/>
                  <a:pt x="630653" y="501034"/>
                  <a:pt x="628745" y="503116"/>
                </a:cubicBezTo>
                <a:cubicBezTo>
                  <a:pt x="624927" y="506934"/>
                  <a:pt x="622208" y="509653"/>
                  <a:pt x="618680" y="509653"/>
                </a:cubicBezTo>
                <a:cubicBezTo>
                  <a:pt x="615643" y="509329"/>
                  <a:pt x="612837" y="507883"/>
                  <a:pt x="610813" y="505604"/>
                </a:cubicBezTo>
                <a:cubicBezTo>
                  <a:pt x="609020" y="503735"/>
                  <a:pt x="606573" y="502636"/>
                  <a:pt x="603987" y="502538"/>
                </a:cubicBezTo>
                <a:cubicBezTo>
                  <a:pt x="598804" y="503423"/>
                  <a:pt x="594061" y="506003"/>
                  <a:pt x="590510" y="509884"/>
                </a:cubicBezTo>
                <a:cubicBezTo>
                  <a:pt x="589179" y="511110"/>
                  <a:pt x="587455" y="511828"/>
                  <a:pt x="585651" y="511909"/>
                </a:cubicBezTo>
                <a:cubicBezTo>
                  <a:pt x="582458" y="511909"/>
                  <a:pt x="579866" y="509317"/>
                  <a:pt x="579866" y="506124"/>
                </a:cubicBezTo>
                <a:cubicBezTo>
                  <a:pt x="579490" y="502110"/>
                  <a:pt x="582348" y="498506"/>
                  <a:pt x="586345" y="497968"/>
                </a:cubicBezTo>
                <a:cubicBezTo>
                  <a:pt x="588890" y="497390"/>
                  <a:pt x="591435" y="496985"/>
                  <a:pt x="593749" y="496696"/>
                </a:cubicBezTo>
                <a:cubicBezTo>
                  <a:pt x="596063" y="496406"/>
                  <a:pt x="600979" y="495597"/>
                  <a:pt x="601269" y="494671"/>
                </a:cubicBezTo>
                <a:cubicBezTo>
                  <a:pt x="601558" y="493746"/>
                  <a:pt x="601269" y="493630"/>
                  <a:pt x="598029" y="490853"/>
                </a:cubicBezTo>
                <a:cubicBezTo>
                  <a:pt x="596421" y="489459"/>
                  <a:pt x="594374" y="488678"/>
                  <a:pt x="592245" y="488655"/>
                </a:cubicBezTo>
                <a:cubicBezTo>
                  <a:pt x="590515" y="488748"/>
                  <a:pt x="588809" y="489141"/>
                  <a:pt x="587212" y="489812"/>
                </a:cubicBezTo>
                <a:cubicBezTo>
                  <a:pt x="585784" y="490443"/>
                  <a:pt x="584257" y="490813"/>
                  <a:pt x="582701" y="490911"/>
                </a:cubicBezTo>
                <a:cubicBezTo>
                  <a:pt x="580098" y="490911"/>
                  <a:pt x="578073" y="489234"/>
                  <a:pt x="576338" y="485647"/>
                </a:cubicBezTo>
                <a:cubicBezTo>
                  <a:pt x="573966" y="480557"/>
                  <a:pt x="571074" y="479863"/>
                  <a:pt x="568355" y="479863"/>
                </a:cubicBezTo>
                <a:cubicBezTo>
                  <a:pt x="567331" y="479805"/>
                  <a:pt x="566313" y="479805"/>
                  <a:pt x="565289" y="479863"/>
                </a:cubicBezTo>
                <a:cubicBezTo>
                  <a:pt x="564231" y="479921"/>
                  <a:pt x="563167" y="479921"/>
                  <a:pt x="562108" y="479863"/>
                </a:cubicBezTo>
                <a:cubicBezTo>
                  <a:pt x="560205" y="479921"/>
                  <a:pt x="558325" y="479394"/>
                  <a:pt x="556729" y="478359"/>
                </a:cubicBezTo>
                <a:cubicBezTo>
                  <a:pt x="554166" y="476184"/>
                  <a:pt x="551071" y="474726"/>
                  <a:pt x="547763" y="474136"/>
                </a:cubicBezTo>
                <a:cubicBezTo>
                  <a:pt x="546432" y="474136"/>
                  <a:pt x="544466" y="474599"/>
                  <a:pt x="543309" y="478937"/>
                </a:cubicBezTo>
                <a:cubicBezTo>
                  <a:pt x="542487" y="482275"/>
                  <a:pt x="539717" y="484774"/>
                  <a:pt x="536309" y="485242"/>
                </a:cubicBezTo>
                <a:cubicBezTo>
                  <a:pt x="534806" y="485647"/>
                  <a:pt x="533880" y="485936"/>
                  <a:pt x="533533" y="486631"/>
                </a:cubicBezTo>
                <a:cubicBezTo>
                  <a:pt x="533186" y="487325"/>
                  <a:pt x="533533" y="489118"/>
                  <a:pt x="534227" y="491547"/>
                </a:cubicBezTo>
                <a:cubicBezTo>
                  <a:pt x="536281" y="496215"/>
                  <a:pt x="539792" y="500091"/>
                  <a:pt x="544234" y="502596"/>
                </a:cubicBezTo>
                <a:cubicBezTo>
                  <a:pt x="546664" y="504215"/>
                  <a:pt x="548225" y="505314"/>
                  <a:pt x="548110" y="506876"/>
                </a:cubicBezTo>
                <a:cubicBezTo>
                  <a:pt x="547994" y="508438"/>
                  <a:pt x="546721" y="508901"/>
                  <a:pt x="545738" y="509364"/>
                </a:cubicBezTo>
                <a:cubicBezTo>
                  <a:pt x="545113" y="509537"/>
                  <a:pt x="544604" y="509982"/>
                  <a:pt x="544350" y="510578"/>
                </a:cubicBezTo>
                <a:cubicBezTo>
                  <a:pt x="543887" y="511851"/>
                  <a:pt x="544928" y="513933"/>
                  <a:pt x="545796" y="515784"/>
                </a:cubicBezTo>
                <a:cubicBezTo>
                  <a:pt x="546664" y="517635"/>
                  <a:pt x="547763" y="519949"/>
                  <a:pt x="547069" y="521569"/>
                </a:cubicBezTo>
                <a:cubicBezTo>
                  <a:pt x="546675" y="522413"/>
                  <a:pt x="545935" y="523044"/>
                  <a:pt x="545044" y="523304"/>
                </a:cubicBezTo>
                <a:cubicBezTo>
                  <a:pt x="542233" y="523709"/>
                  <a:pt x="539364" y="523472"/>
                  <a:pt x="536657" y="522610"/>
                </a:cubicBezTo>
                <a:cubicBezTo>
                  <a:pt x="532156" y="521314"/>
                  <a:pt x="527511" y="520556"/>
                  <a:pt x="522832" y="520354"/>
                </a:cubicBezTo>
                <a:cubicBezTo>
                  <a:pt x="516799" y="520400"/>
                  <a:pt x="510858" y="521846"/>
                  <a:pt x="505478" y="524577"/>
                </a:cubicBezTo>
                <a:cubicBezTo>
                  <a:pt x="497814" y="528689"/>
                  <a:pt x="490433" y="533305"/>
                  <a:pt x="483382" y="538401"/>
                </a:cubicBezTo>
                <a:cubicBezTo>
                  <a:pt x="471350" y="546673"/>
                  <a:pt x="460244" y="554424"/>
                  <a:pt x="451047" y="554424"/>
                </a:cubicBezTo>
                <a:cubicBezTo>
                  <a:pt x="441850" y="554424"/>
                  <a:pt x="434735" y="551821"/>
                  <a:pt x="434214" y="548235"/>
                </a:cubicBezTo>
                <a:cubicBezTo>
                  <a:pt x="434214" y="546673"/>
                  <a:pt x="434793" y="544591"/>
                  <a:pt x="439999" y="543145"/>
                </a:cubicBezTo>
                <a:cubicBezTo>
                  <a:pt x="447981" y="540773"/>
                  <a:pt x="453708" y="536377"/>
                  <a:pt x="453592" y="534641"/>
                </a:cubicBezTo>
                <a:cubicBezTo>
                  <a:pt x="453592" y="534179"/>
                  <a:pt x="452551" y="533485"/>
                  <a:pt x="449948" y="533195"/>
                </a:cubicBezTo>
                <a:cubicBezTo>
                  <a:pt x="445378" y="532675"/>
                  <a:pt x="442428" y="531113"/>
                  <a:pt x="441271" y="528452"/>
                </a:cubicBezTo>
                <a:cubicBezTo>
                  <a:pt x="439652" y="524692"/>
                  <a:pt x="441618" y="519139"/>
                  <a:pt x="447056" y="511446"/>
                </a:cubicBezTo>
                <a:cubicBezTo>
                  <a:pt x="449728" y="508172"/>
                  <a:pt x="451232" y="504100"/>
                  <a:pt x="451336" y="499877"/>
                </a:cubicBezTo>
                <a:cubicBezTo>
                  <a:pt x="451463" y="494596"/>
                  <a:pt x="453945" y="489650"/>
                  <a:pt x="458104" y="486399"/>
                </a:cubicBezTo>
                <a:cubicBezTo>
                  <a:pt x="465103" y="479805"/>
                  <a:pt x="469673" y="477260"/>
                  <a:pt x="475457" y="477260"/>
                </a:cubicBezTo>
                <a:cubicBezTo>
                  <a:pt x="479859" y="477520"/>
                  <a:pt x="484151" y="478700"/>
                  <a:pt x="488067" y="480731"/>
                </a:cubicBezTo>
                <a:cubicBezTo>
                  <a:pt x="492695" y="482871"/>
                  <a:pt x="496802" y="481483"/>
                  <a:pt x="496860" y="478475"/>
                </a:cubicBezTo>
                <a:cubicBezTo>
                  <a:pt x="496918" y="475467"/>
                  <a:pt x="493852" y="472690"/>
                  <a:pt x="486968" y="472690"/>
                </a:cubicBezTo>
                <a:cubicBezTo>
                  <a:pt x="477193" y="472343"/>
                  <a:pt x="475399" y="468294"/>
                  <a:pt x="474532" y="465922"/>
                </a:cubicBezTo>
                <a:cubicBezTo>
                  <a:pt x="474069" y="464881"/>
                  <a:pt x="474011" y="464766"/>
                  <a:pt x="473838" y="464766"/>
                </a:cubicBezTo>
                <a:cubicBezTo>
                  <a:pt x="472877" y="464922"/>
                  <a:pt x="471969" y="465298"/>
                  <a:pt x="471177" y="465865"/>
                </a:cubicBezTo>
                <a:cubicBezTo>
                  <a:pt x="467799" y="468040"/>
                  <a:pt x="464640" y="470538"/>
                  <a:pt x="461748" y="473326"/>
                </a:cubicBezTo>
                <a:cubicBezTo>
                  <a:pt x="457959" y="477821"/>
                  <a:pt x="452829" y="480979"/>
                  <a:pt x="447114" y="482350"/>
                </a:cubicBezTo>
                <a:cubicBezTo>
                  <a:pt x="443122" y="482697"/>
                  <a:pt x="442139" y="484780"/>
                  <a:pt x="440288" y="488597"/>
                </a:cubicBezTo>
                <a:cubicBezTo>
                  <a:pt x="438686" y="492178"/>
                  <a:pt x="436517" y="495481"/>
                  <a:pt x="433867" y="498373"/>
                </a:cubicBezTo>
                <a:cubicBezTo>
                  <a:pt x="431241" y="501138"/>
                  <a:pt x="428308" y="503602"/>
                  <a:pt x="425133" y="505719"/>
                </a:cubicBezTo>
                <a:cubicBezTo>
                  <a:pt x="420216" y="509190"/>
                  <a:pt x="416398" y="511966"/>
                  <a:pt x="416051" y="517635"/>
                </a:cubicBezTo>
                <a:cubicBezTo>
                  <a:pt x="414646" y="526989"/>
                  <a:pt x="407016" y="534161"/>
                  <a:pt x="397599" y="534989"/>
                </a:cubicBezTo>
                <a:lnTo>
                  <a:pt x="396326" y="534989"/>
                </a:lnTo>
                <a:cubicBezTo>
                  <a:pt x="391583" y="534989"/>
                  <a:pt x="380477" y="543781"/>
                  <a:pt x="376544" y="549681"/>
                </a:cubicBezTo>
                <a:cubicBezTo>
                  <a:pt x="375040" y="551995"/>
                  <a:pt x="375329" y="552747"/>
                  <a:pt x="375387" y="552862"/>
                </a:cubicBezTo>
                <a:cubicBezTo>
                  <a:pt x="375907" y="554135"/>
                  <a:pt x="380361" y="555234"/>
                  <a:pt x="383948" y="556160"/>
                </a:cubicBezTo>
                <a:cubicBezTo>
                  <a:pt x="390484" y="557779"/>
                  <a:pt x="397252" y="559457"/>
                  <a:pt x="397252" y="564142"/>
                </a:cubicBezTo>
                <a:cubicBezTo>
                  <a:pt x="396523" y="572073"/>
                  <a:pt x="390305" y="578389"/>
                  <a:pt x="382386" y="579239"/>
                </a:cubicBezTo>
                <a:cubicBezTo>
                  <a:pt x="379494" y="579644"/>
                  <a:pt x="378973" y="582710"/>
                  <a:pt x="378452" y="587627"/>
                </a:cubicBezTo>
                <a:cubicBezTo>
                  <a:pt x="377932" y="592544"/>
                  <a:pt x="377469" y="597403"/>
                  <a:pt x="372668" y="599196"/>
                </a:cubicBezTo>
                <a:cubicBezTo>
                  <a:pt x="370383" y="600058"/>
                  <a:pt x="367988" y="600601"/>
                  <a:pt x="365553" y="600815"/>
                </a:cubicBezTo>
                <a:cubicBezTo>
                  <a:pt x="360619" y="601157"/>
                  <a:pt x="355957" y="603204"/>
                  <a:pt x="352365" y="606600"/>
                </a:cubicBezTo>
                <a:cubicBezTo>
                  <a:pt x="340796" y="616318"/>
                  <a:pt x="329227" y="625052"/>
                  <a:pt x="321476" y="625631"/>
                </a:cubicBezTo>
                <a:cubicBezTo>
                  <a:pt x="318410" y="625920"/>
                  <a:pt x="317658" y="628234"/>
                  <a:pt x="316733" y="631936"/>
                </a:cubicBezTo>
                <a:cubicBezTo>
                  <a:pt x="315807" y="635638"/>
                  <a:pt x="314939" y="639108"/>
                  <a:pt x="310948" y="640149"/>
                </a:cubicBezTo>
                <a:cubicBezTo>
                  <a:pt x="303660" y="642000"/>
                  <a:pt x="265367" y="660164"/>
                  <a:pt x="262012" y="668030"/>
                </a:cubicBezTo>
                <a:cubicBezTo>
                  <a:pt x="261318" y="669743"/>
                  <a:pt x="260757" y="671501"/>
                  <a:pt x="260334" y="673294"/>
                </a:cubicBezTo>
                <a:cubicBezTo>
                  <a:pt x="258888" y="679079"/>
                  <a:pt x="257384" y="682723"/>
                  <a:pt x="244832" y="684863"/>
                </a:cubicBezTo>
                <a:cubicBezTo>
                  <a:pt x="238596" y="685870"/>
                  <a:pt x="232667" y="688259"/>
                  <a:pt x="227479" y="691862"/>
                </a:cubicBezTo>
                <a:cubicBezTo>
                  <a:pt x="225437" y="693655"/>
                  <a:pt x="222793" y="694627"/>
                  <a:pt x="220075" y="694581"/>
                </a:cubicBezTo>
                <a:lnTo>
                  <a:pt x="217992" y="694581"/>
                </a:lnTo>
                <a:cubicBezTo>
                  <a:pt x="215615" y="694234"/>
                  <a:pt x="213220" y="694037"/>
                  <a:pt x="210820" y="694002"/>
                </a:cubicBezTo>
                <a:cubicBezTo>
                  <a:pt x="207280" y="693731"/>
                  <a:pt x="203768" y="694807"/>
                  <a:pt x="200986" y="697010"/>
                </a:cubicBezTo>
                <a:cubicBezTo>
                  <a:pt x="195861" y="701939"/>
                  <a:pt x="189371" y="705201"/>
                  <a:pt x="182360" y="706381"/>
                </a:cubicBezTo>
                <a:cubicBezTo>
                  <a:pt x="180318" y="706474"/>
                  <a:pt x="178346" y="705646"/>
                  <a:pt x="176981" y="704125"/>
                </a:cubicBezTo>
                <a:cubicBezTo>
                  <a:pt x="173799" y="700597"/>
                  <a:pt x="172180" y="700076"/>
                  <a:pt x="171196" y="700076"/>
                </a:cubicBezTo>
                <a:cubicBezTo>
                  <a:pt x="170213" y="700076"/>
                  <a:pt x="169287" y="702332"/>
                  <a:pt x="168940" y="704183"/>
                </a:cubicBezTo>
                <a:cubicBezTo>
                  <a:pt x="167726" y="711472"/>
                  <a:pt x="144877" y="723330"/>
                  <a:pt x="137184" y="723330"/>
                </a:cubicBezTo>
                <a:cubicBezTo>
                  <a:pt x="136154" y="723399"/>
                  <a:pt x="135142" y="723069"/>
                  <a:pt x="134349" y="722404"/>
                </a:cubicBezTo>
                <a:cubicBezTo>
                  <a:pt x="133540" y="721664"/>
                  <a:pt x="133100" y="720605"/>
                  <a:pt x="133135" y="719512"/>
                </a:cubicBezTo>
                <a:cubicBezTo>
                  <a:pt x="133135" y="716446"/>
                  <a:pt x="136663" y="712975"/>
                  <a:pt x="141117" y="708579"/>
                </a:cubicBezTo>
                <a:cubicBezTo>
                  <a:pt x="146595" y="703882"/>
                  <a:pt x="150991" y="698063"/>
                  <a:pt x="154017" y="691515"/>
                </a:cubicBezTo>
                <a:cubicBezTo>
                  <a:pt x="155694" y="686830"/>
                  <a:pt x="160264" y="684516"/>
                  <a:pt x="168015" y="684516"/>
                </a:cubicBezTo>
                <a:cubicBezTo>
                  <a:pt x="173319" y="684713"/>
                  <a:pt x="178595" y="685308"/>
                  <a:pt x="183806" y="686309"/>
                </a:cubicBezTo>
                <a:cubicBezTo>
                  <a:pt x="187150" y="686957"/>
                  <a:pt x="190528" y="687385"/>
                  <a:pt x="193929" y="687582"/>
                </a:cubicBezTo>
                <a:cubicBezTo>
                  <a:pt x="196012" y="687582"/>
                  <a:pt x="196532" y="687119"/>
                  <a:pt x="196590" y="687003"/>
                </a:cubicBezTo>
                <a:cubicBezTo>
                  <a:pt x="199656" y="682896"/>
                  <a:pt x="226843" y="652297"/>
                  <a:pt x="243444" y="650157"/>
                </a:cubicBezTo>
                <a:cubicBezTo>
                  <a:pt x="252005" y="649173"/>
                  <a:pt x="258310" y="640728"/>
                  <a:pt x="263863" y="633324"/>
                </a:cubicBezTo>
                <a:cubicBezTo>
                  <a:pt x="268259" y="627539"/>
                  <a:pt x="272077" y="622276"/>
                  <a:pt x="276589" y="621119"/>
                </a:cubicBezTo>
                <a:cubicBezTo>
                  <a:pt x="279944" y="620309"/>
                  <a:pt x="279828" y="615913"/>
                  <a:pt x="279365" y="608219"/>
                </a:cubicBezTo>
                <a:cubicBezTo>
                  <a:pt x="278845" y="599427"/>
                  <a:pt x="278093" y="587395"/>
                  <a:pt x="285670" y="577909"/>
                </a:cubicBezTo>
                <a:lnTo>
                  <a:pt x="288100" y="574901"/>
                </a:lnTo>
                <a:cubicBezTo>
                  <a:pt x="291258" y="571558"/>
                  <a:pt x="293930" y="567775"/>
                  <a:pt x="296024" y="563679"/>
                </a:cubicBezTo>
                <a:lnTo>
                  <a:pt x="295735" y="563679"/>
                </a:lnTo>
                <a:cubicBezTo>
                  <a:pt x="292478" y="564269"/>
                  <a:pt x="289338" y="565363"/>
                  <a:pt x="286422" y="566919"/>
                </a:cubicBezTo>
                <a:cubicBezTo>
                  <a:pt x="280296" y="570002"/>
                  <a:pt x="273604" y="571812"/>
                  <a:pt x="266755" y="572240"/>
                </a:cubicBezTo>
                <a:cubicBezTo>
                  <a:pt x="259756" y="572240"/>
                  <a:pt x="255533" y="568827"/>
                  <a:pt x="255186" y="562927"/>
                </a:cubicBezTo>
                <a:cubicBezTo>
                  <a:pt x="255186" y="562580"/>
                  <a:pt x="255186" y="560787"/>
                  <a:pt x="254319" y="560787"/>
                </a:cubicBezTo>
                <a:cubicBezTo>
                  <a:pt x="252063" y="560787"/>
                  <a:pt x="245989" y="568596"/>
                  <a:pt x="245989" y="576810"/>
                </a:cubicBezTo>
                <a:cubicBezTo>
                  <a:pt x="245989" y="579182"/>
                  <a:pt x="245989" y="584735"/>
                  <a:pt x="242287" y="584735"/>
                </a:cubicBezTo>
                <a:cubicBezTo>
                  <a:pt x="239568" y="584735"/>
                  <a:pt x="235577" y="581437"/>
                  <a:pt x="227016" y="572067"/>
                </a:cubicBezTo>
                <a:cubicBezTo>
                  <a:pt x="221214" y="565935"/>
                  <a:pt x="213128" y="562482"/>
                  <a:pt x="204688" y="562522"/>
                </a:cubicBezTo>
                <a:cubicBezTo>
                  <a:pt x="197747" y="562522"/>
                  <a:pt x="192136" y="565068"/>
                  <a:pt x="191442" y="568307"/>
                </a:cubicBezTo>
                <a:cubicBezTo>
                  <a:pt x="190111" y="574380"/>
                  <a:pt x="178253" y="577157"/>
                  <a:pt x="170271" y="577157"/>
                </a:cubicBezTo>
                <a:cubicBezTo>
                  <a:pt x="166725" y="577492"/>
                  <a:pt x="163179" y="576503"/>
                  <a:pt x="160322" y="574380"/>
                </a:cubicBezTo>
                <a:cubicBezTo>
                  <a:pt x="159639" y="573605"/>
                  <a:pt x="159338" y="572564"/>
                  <a:pt x="159512" y="571546"/>
                </a:cubicBezTo>
                <a:cubicBezTo>
                  <a:pt x="159755" y="568440"/>
                  <a:pt x="159639" y="565316"/>
                  <a:pt x="159165" y="562233"/>
                </a:cubicBezTo>
                <a:cubicBezTo>
                  <a:pt x="158355" y="555118"/>
                  <a:pt x="157487" y="547078"/>
                  <a:pt x="162404" y="543492"/>
                </a:cubicBezTo>
                <a:cubicBezTo>
                  <a:pt x="163497" y="542578"/>
                  <a:pt x="164116" y="541213"/>
                  <a:pt x="164081" y="539790"/>
                </a:cubicBezTo>
                <a:cubicBezTo>
                  <a:pt x="164429" y="532848"/>
                  <a:pt x="157314" y="519833"/>
                  <a:pt x="151414" y="514396"/>
                </a:cubicBezTo>
                <a:cubicBezTo>
                  <a:pt x="150083" y="513239"/>
                  <a:pt x="149620" y="513181"/>
                  <a:pt x="149563" y="513181"/>
                </a:cubicBezTo>
                <a:cubicBezTo>
                  <a:pt x="149054" y="514060"/>
                  <a:pt x="148701" y="515021"/>
                  <a:pt x="148521" y="516016"/>
                </a:cubicBezTo>
                <a:cubicBezTo>
                  <a:pt x="147596" y="519660"/>
                  <a:pt x="145976" y="525849"/>
                  <a:pt x="138283" y="526196"/>
                </a:cubicBezTo>
                <a:cubicBezTo>
                  <a:pt x="133493" y="526728"/>
                  <a:pt x="128831" y="528099"/>
                  <a:pt x="124516" y="530245"/>
                </a:cubicBezTo>
                <a:cubicBezTo>
                  <a:pt x="120912" y="532114"/>
                  <a:pt x="116985" y="533271"/>
                  <a:pt x="112947" y="533658"/>
                </a:cubicBezTo>
                <a:cubicBezTo>
                  <a:pt x="110194" y="533704"/>
                  <a:pt x="107533" y="532663"/>
                  <a:pt x="105543" y="530766"/>
                </a:cubicBezTo>
                <a:cubicBezTo>
                  <a:pt x="102292" y="527463"/>
                  <a:pt x="99238" y="523963"/>
                  <a:pt x="96404" y="520296"/>
                </a:cubicBezTo>
                <a:cubicBezTo>
                  <a:pt x="89173" y="511504"/>
                  <a:pt x="80149" y="500513"/>
                  <a:pt x="72225" y="498894"/>
                </a:cubicBezTo>
                <a:cubicBezTo>
                  <a:pt x="70530" y="498790"/>
                  <a:pt x="69003" y="497835"/>
                  <a:pt x="68176" y="496349"/>
                </a:cubicBezTo>
                <a:cubicBezTo>
                  <a:pt x="67192" y="493919"/>
                  <a:pt x="69159" y="490911"/>
                  <a:pt x="71473" y="487383"/>
                </a:cubicBezTo>
                <a:cubicBezTo>
                  <a:pt x="75580" y="481078"/>
                  <a:pt x="78125" y="476277"/>
                  <a:pt x="72977" y="472690"/>
                </a:cubicBezTo>
                <a:cubicBezTo>
                  <a:pt x="70547" y="470614"/>
                  <a:pt x="67435" y="469503"/>
                  <a:pt x="64242" y="469567"/>
                </a:cubicBezTo>
                <a:cubicBezTo>
                  <a:pt x="60077" y="469567"/>
                  <a:pt x="57012" y="468873"/>
                  <a:pt x="47872" y="456031"/>
                </a:cubicBezTo>
                <a:cubicBezTo>
                  <a:pt x="43303" y="449668"/>
                  <a:pt x="42088" y="446660"/>
                  <a:pt x="42840" y="444462"/>
                </a:cubicBezTo>
                <a:cubicBezTo>
                  <a:pt x="43592" y="442264"/>
                  <a:pt x="45559" y="442438"/>
                  <a:pt x="47930" y="442091"/>
                </a:cubicBezTo>
                <a:cubicBezTo>
                  <a:pt x="54565" y="442033"/>
                  <a:pt x="60135" y="437099"/>
                  <a:pt x="61003" y="430522"/>
                </a:cubicBezTo>
                <a:cubicBezTo>
                  <a:pt x="64474" y="416639"/>
                  <a:pt x="74770" y="415309"/>
                  <a:pt x="81538" y="414383"/>
                </a:cubicBezTo>
                <a:cubicBezTo>
                  <a:pt x="86628" y="413689"/>
                  <a:pt x="88421" y="413226"/>
                  <a:pt x="88248" y="410912"/>
                </a:cubicBezTo>
                <a:cubicBezTo>
                  <a:pt x="88248" y="410045"/>
                  <a:pt x="88248" y="409177"/>
                  <a:pt x="88248" y="408136"/>
                </a:cubicBezTo>
                <a:cubicBezTo>
                  <a:pt x="87669" y="400790"/>
                  <a:pt x="86802" y="390783"/>
                  <a:pt x="91776" y="384998"/>
                </a:cubicBezTo>
                <a:cubicBezTo>
                  <a:pt x="94073" y="382679"/>
                  <a:pt x="97248" y="381441"/>
                  <a:pt x="100511" y="381586"/>
                </a:cubicBezTo>
                <a:cubicBezTo>
                  <a:pt x="106711" y="382135"/>
                  <a:pt x="112606" y="384553"/>
                  <a:pt x="117401" y="388527"/>
                </a:cubicBezTo>
                <a:cubicBezTo>
                  <a:pt x="120565" y="391274"/>
                  <a:pt x="124429" y="393073"/>
                  <a:pt x="128565" y="393733"/>
                </a:cubicBezTo>
                <a:cubicBezTo>
                  <a:pt x="130694" y="393669"/>
                  <a:pt x="132741" y="392871"/>
                  <a:pt x="134349" y="391477"/>
                </a:cubicBezTo>
                <a:cubicBezTo>
                  <a:pt x="138832" y="387648"/>
                  <a:pt x="141875" y="382401"/>
                  <a:pt x="142968" y="376611"/>
                </a:cubicBezTo>
                <a:cubicBezTo>
                  <a:pt x="144241" y="372215"/>
                  <a:pt x="145282" y="368455"/>
                  <a:pt x="149678" y="368802"/>
                </a:cubicBezTo>
                <a:cubicBezTo>
                  <a:pt x="151628" y="369045"/>
                  <a:pt x="153560" y="369409"/>
                  <a:pt x="155463" y="369901"/>
                </a:cubicBezTo>
                <a:cubicBezTo>
                  <a:pt x="159234" y="370936"/>
                  <a:pt x="163121" y="371520"/>
                  <a:pt x="167032" y="371636"/>
                </a:cubicBezTo>
                <a:cubicBezTo>
                  <a:pt x="172515" y="371659"/>
                  <a:pt x="177860" y="369895"/>
                  <a:pt x="182245" y="366604"/>
                </a:cubicBezTo>
                <a:cubicBezTo>
                  <a:pt x="185825" y="364122"/>
                  <a:pt x="188116" y="360183"/>
                  <a:pt x="188492" y="355845"/>
                </a:cubicBezTo>
                <a:cubicBezTo>
                  <a:pt x="188555" y="346960"/>
                  <a:pt x="185177" y="338399"/>
                  <a:pt x="179063" y="331955"/>
                </a:cubicBezTo>
                <a:cubicBezTo>
                  <a:pt x="177993" y="331012"/>
                  <a:pt x="177455" y="329612"/>
                  <a:pt x="177617" y="328195"/>
                </a:cubicBezTo>
                <a:cubicBezTo>
                  <a:pt x="178080" y="325939"/>
                  <a:pt x="180972" y="324724"/>
                  <a:pt x="183980" y="323394"/>
                </a:cubicBezTo>
                <a:cubicBezTo>
                  <a:pt x="186988" y="322064"/>
                  <a:pt x="190111" y="320791"/>
                  <a:pt x="190401" y="318824"/>
                </a:cubicBezTo>
                <a:cubicBezTo>
                  <a:pt x="190690" y="316858"/>
                  <a:pt x="189475" y="315527"/>
                  <a:pt x="186988" y="313040"/>
                </a:cubicBezTo>
                <a:cubicBezTo>
                  <a:pt x="184292" y="310582"/>
                  <a:pt x="180741" y="309274"/>
                  <a:pt x="177096" y="309396"/>
                </a:cubicBezTo>
                <a:cubicBezTo>
                  <a:pt x="163619" y="309396"/>
                  <a:pt x="146034" y="323452"/>
                  <a:pt x="140076" y="329873"/>
                </a:cubicBezTo>
                <a:cubicBezTo>
                  <a:pt x="138399" y="331920"/>
                  <a:pt x="135894" y="333106"/>
                  <a:pt x="133250" y="333112"/>
                </a:cubicBezTo>
                <a:cubicBezTo>
                  <a:pt x="130011" y="332828"/>
                  <a:pt x="126870" y="331839"/>
                  <a:pt x="124053" y="330220"/>
                </a:cubicBezTo>
                <a:cubicBezTo>
                  <a:pt x="121092" y="328577"/>
                  <a:pt x="117823" y="327576"/>
                  <a:pt x="114451" y="327270"/>
                </a:cubicBezTo>
                <a:cubicBezTo>
                  <a:pt x="110732" y="327461"/>
                  <a:pt x="107024" y="327848"/>
                  <a:pt x="103345" y="328427"/>
                </a:cubicBezTo>
                <a:cubicBezTo>
                  <a:pt x="94321" y="329774"/>
                  <a:pt x="85222" y="330544"/>
                  <a:pt x="76100" y="330740"/>
                </a:cubicBezTo>
                <a:cubicBezTo>
                  <a:pt x="69142" y="331151"/>
                  <a:pt x="62183" y="329902"/>
                  <a:pt x="55797" y="327096"/>
                </a:cubicBezTo>
                <a:cubicBezTo>
                  <a:pt x="50018" y="324360"/>
                  <a:pt x="45327" y="319756"/>
                  <a:pt x="42493" y="314023"/>
                </a:cubicBezTo>
                <a:cubicBezTo>
                  <a:pt x="41243" y="310790"/>
                  <a:pt x="38611" y="308285"/>
                  <a:pt x="35320" y="307198"/>
                </a:cubicBezTo>
                <a:cubicBezTo>
                  <a:pt x="34684" y="307198"/>
                  <a:pt x="32659" y="306330"/>
                  <a:pt x="32428" y="304653"/>
                </a:cubicBezTo>
                <a:cubicBezTo>
                  <a:pt x="32197" y="302975"/>
                  <a:pt x="34857" y="300661"/>
                  <a:pt x="38212" y="298521"/>
                </a:cubicBezTo>
                <a:cubicBezTo>
                  <a:pt x="39774" y="297480"/>
                  <a:pt x="42666" y="295513"/>
                  <a:pt x="42724" y="294703"/>
                </a:cubicBezTo>
                <a:lnTo>
                  <a:pt x="42724" y="294703"/>
                </a:lnTo>
                <a:cubicBezTo>
                  <a:pt x="42724" y="294703"/>
                  <a:pt x="42377" y="294299"/>
                  <a:pt x="40468" y="293894"/>
                </a:cubicBezTo>
                <a:lnTo>
                  <a:pt x="37750" y="293373"/>
                </a:lnTo>
                <a:cubicBezTo>
                  <a:pt x="21264" y="290134"/>
                  <a:pt x="3043" y="286142"/>
                  <a:pt x="324" y="280184"/>
                </a:cubicBezTo>
                <a:cubicBezTo>
                  <a:pt x="-254" y="279039"/>
                  <a:pt x="-254" y="277686"/>
                  <a:pt x="324" y="276540"/>
                </a:cubicBezTo>
                <a:cubicBezTo>
                  <a:pt x="2754" y="271219"/>
                  <a:pt x="11893" y="267170"/>
                  <a:pt x="21669" y="262831"/>
                </a:cubicBezTo>
                <a:cubicBezTo>
                  <a:pt x="27158" y="260506"/>
                  <a:pt x="32509" y="257856"/>
                  <a:pt x="37692" y="254906"/>
                </a:cubicBezTo>
                <a:cubicBezTo>
                  <a:pt x="40266" y="253212"/>
                  <a:pt x="43285" y="252303"/>
                  <a:pt x="46368" y="252303"/>
                </a:cubicBezTo>
                <a:cubicBezTo>
                  <a:pt x="49376" y="252425"/>
                  <a:pt x="52332" y="253090"/>
                  <a:pt x="55103" y="254270"/>
                </a:cubicBezTo>
                <a:cubicBezTo>
                  <a:pt x="56283" y="254849"/>
                  <a:pt x="57555" y="255219"/>
                  <a:pt x="58863" y="255369"/>
                </a:cubicBezTo>
                <a:cubicBezTo>
                  <a:pt x="59383" y="255369"/>
                  <a:pt x="60251" y="255369"/>
                  <a:pt x="60829" y="253113"/>
                </a:cubicBezTo>
                <a:cubicBezTo>
                  <a:pt x="61257" y="251609"/>
                  <a:pt x="61437" y="250047"/>
                  <a:pt x="61350" y="248486"/>
                </a:cubicBezTo>
                <a:cubicBezTo>
                  <a:pt x="61350" y="244842"/>
                  <a:pt x="61350" y="244726"/>
                  <a:pt x="75985" y="236396"/>
                </a:cubicBezTo>
                <a:lnTo>
                  <a:pt x="76505" y="236107"/>
                </a:lnTo>
                <a:cubicBezTo>
                  <a:pt x="83632" y="231670"/>
                  <a:pt x="91776" y="229120"/>
                  <a:pt x="100164" y="228703"/>
                </a:cubicBezTo>
                <a:cubicBezTo>
                  <a:pt x="104010" y="228373"/>
                  <a:pt x="107822" y="229599"/>
                  <a:pt x="110749" y="232116"/>
                </a:cubicBezTo>
                <a:cubicBezTo>
                  <a:pt x="111756" y="233116"/>
                  <a:pt x="112247" y="234522"/>
                  <a:pt x="112079" y="235933"/>
                </a:cubicBezTo>
                <a:cubicBezTo>
                  <a:pt x="111657" y="238432"/>
                  <a:pt x="110899" y="240868"/>
                  <a:pt x="109824" y="243164"/>
                </a:cubicBezTo>
                <a:cubicBezTo>
                  <a:pt x="108435" y="246808"/>
                  <a:pt x="106642" y="251262"/>
                  <a:pt x="107741" y="252882"/>
                </a:cubicBezTo>
                <a:cubicBezTo>
                  <a:pt x="108146" y="253460"/>
                  <a:pt x="109245" y="253692"/>
                  <a:pt x="110865" y="253518"/>
                </a:cubicBezTo>
                <a:lnTo>
                  <a:pt x="116129" y="252824"/>
                </a:lnTo>
                <a:cubicBezTo>
                  <a:pt x="122034" y="251806"/>
                  <a:pt x="128010" y="251204"/>
                  <a:pt x="134002" y="251031"/>
                </a:cubicBezTo>
                <a:cubicBezTo>
                  <a:pt x="140770" y="251031"/>
                  <a:pt x="144993" y="252419"/>
                  <a:pt x="147017" y="255138"/>
                </a:cubicBezTo>
                <a:cubicBezTo>
                  <a:pt x="147995" y="256792"/>
                  <a:pt x="149730" y="257856"/>
                  <a:pt x="151645" y="257972"/>
                </a:cubicBezTo>
                <a:cubicBezTo>
                  <a:pt x="155347" y="257972"/>
                  <a:pt x="160437" y="254270"/>
                  <a:pt x="168478" y="248254"/>
                </a:cubicBezTo>
                <a:cubicBezTo>
                  <a:pt x="175488" y="244234"/>
                  <a:pt x="183575" y="242499"/>
                  <a:pt x="191615" y="243280"/>
                </a:cubicBezTo>
                <a:cubicBezTo>
                  <a:pt x="195838" y="243280"/>
                  <a:pt x="200176" y="243280"/>
                  <a:pt x="200986" y="241949"/>
                </a:cubicBezTo>
                <a:cubicBezTo>
                  <a:pt x="201223" y="241498"/>
                  <a:pt x="201223" y="240954"/>
                  <a:pt x="200986" y="240503"/>
                </a:cubicBezTo>
                <a:cubicBezTo>
                  <a:pt x="200003" y="237842"/>
                  <a:pt x="197515" y="236801"/>
                  <a:pt x="192136" y="236801"/>
                </a:cubicBezTo>
                <a:lnTo>
                  <a:pt x="188145" y="236801"/>
                </a:lnTo>
                <a:lnTo>
                  <a:pt x="183575" y="236801"/>
                </a:lnTo>
                <a:cubicBezTo>
                  <a:pt x="179775" y="236963"/>
                  <a:pt x="175986" y="236292"/>
                  <a:pt x="172469" y="234835"/>
                </a:cubicBezTo>
                <a:cubicBezTo>
                  <a:pt x="166684" y="232174"/>
                  <a:pt x="167379" y="226331"/>
                  <a:pt x="167899" y="221241"/>
                </a:cubicBezTo>
                <a:cubicBezTo>
                  <a:pt x="168420" y="216151"/>
                  <a:pt x="168651" y="212044"/>
                  <a:pt x="163677" y="211292"/>
                </a:cubicBezTo>
                <a:cubicBezTo>
                  <a:pt x="162329" y="211188"/>
                  <a:pt x="160975" y="211188"/>
                  <a:pt x="159628" y="211292"/>
                </a:cubicBezTo>
                <a:cubicBezTo>
                  <a:pt x="154537" y="211431"/>
                  <a:pt x="149458" y="211836"/>
                  <a:pt x="144414" y="212507"/>
                </a:cubicBezTo>
                <a:cubicBezTo>
                  <a:pt x="138630" y="213085"/>
                  <a:pt x="132846" y="213721"/>
                  <a:pt x="128218" y="213721"/>
                </a:cubicBezTo>
                <a:cubicBezTo>
                  <a:pt x="123590" y="213721"/>
                  <a:pt x="118211" y="213316"/>
                  <a:pt x="116649" y="209614"/>
                </a:cubicBezTo>
                <a:cubicBezTo>
                  <a:pt x="113526" y="201458"/>
                  <a:pt x="96866" y="169528"/>
                  <a:pt x="72572" y="163050"/>
                </a:cubicBezTo>
                <a:cubicBezTo>
                  <a:pt x="52326" y="157612"/>
                  <a:pt x="42493" y="152869"/>
                  <a:pt x="40642" y="147605"/>
                </a:cubicBezTo>
                <a:cubicBezTo>
                  <a:pt x="39913" y="145633"/>
                  <a:pt x="40312" y="143417"/>
                  <a:pt x="41683" y="141821"/>
                </a:cubicBezTo>
                <a:cubicBezTo>
                  <a:pt x="43175" y="139212"/>
                  <a:pt x="43806" y="136193"/>
                  <a:pt x="43476" y="133202"/>
                </a:cubicBezTo>
                <a:cubicBezTo>
                  <a:pt x="43094" y="130668"/>
                  <a:pt x="43696" y="128083"/>
                  <a:pt x="45154" y="125972"/>
                </a:cubicBezTo>
                <a:cubicBezTo>
                  <a:pt x="46449" y="124855"/>
                  <a:pt x="48133" y="124294"/>
                  <a:pt x="49839" y="124410"/>
                </a:cubicBezTo>
                <a:lnTo>
                  <a:pt x="54119" y="124410"/>
                </a:lnTo>
                <a:cubicBezTo>
                  <a:pt x="57012" y="124410"/>
                  <a:pt x="60772" y="124410"/>
                  <a:pt x="65110" y="124410"/>
                </a:cubicBezTo>
                <a:cubicBezTo>
                  <a:pt x="91660" y="124410"/>
                  <a:pt x="109476" y="119724"/>
                  <a:pt x="118095" y="110527"/>
                </a:cubicBezTo>
                <a:cubicBezTo>
                  <a:pt x="127929" y="99942"/>
                  <a:pt x="127582" y="93926"/>
                  <a:pt x="127292" y="89587"/>
                </a:cubicBezTo>
                <a:cubicBezTo>
                  <a:pt x="126703" y="86637"/>
                  <a:pt x="127559" y="83583"/>
                  <a:pt x="129606" y="81374"/>
                </a:cubicBezTo>
                <a:lnTo>
                  <a:pt x="132903" y="78019"/>
                </a:lnTo>
                <a:cubicBezTo>
                  <a:pt x="144009" y="66450"/>
                  <a:pt x="156330" y="54360"/>
                  <a:pt x="161826" y="54360"/>
                </a:cubicBezTo>
                <a:lnTo>
                  <a:pt x="162578" y="54360"/>
                </a:lnTo>
                <a:cubicBezTo>
                  <a:pt x="165794" y="54835"/>
                  <a:pt x="169045" y="55049"/>
                  <a:pt x="172295" y="54997"/>
                </a:cubicBezTo>
                <a:cubicBezTo>
                  <a:pt x="177501" y="54997"/>
                  <a:pt x="194970" y="54476"/>
                  <a:pt x="201507" y="47477"/>
                </a:cubicBezTo>
                <a:cubicBezTo>
                  <a:pt x="202756" y="45834"/>
                  <a:pt x="204653" y="44799"/>
                  <a:pt x="206713" y="44643"/>
                </a:cubicBezTo>
                <a:cubicBezTo>
                  <a:pt x="209287" y="45024"/>
                  <a:pt x="211612" y="46395"/>
                  <a:pt x="213191" y="48460"/>
                </a:cubicBezTo>
                <a:cubicBezTo>
                  <a:pt x="214869" y="50080"/>
                  <a:pt x="216488" y="51642"/>
                  <a:pt x="218166" y="51642"/>
                </a:cubicBezTo>
                <a:cubicBezTo>
                  <a:pt x="219491" y="51509"/>
                  <a:pt x="220705" y="50843"/>
                  <a:pt x="221521" y="49791"/>
                </a:cubicBezTo>
                <a:cubicBezTo>
                  <a:pt x="223256" y="48113"/>
                  <a:pt x="224008" y="46783"/>
                  <a:pt x="223950" y="45799"/>
                </a:cubicBezTo>
                <a:cubicBezTo>
                  <a:pt x="223893" y="44816"/>
                  <a:pt x="222215" y="43659"/>
                  <a:pt x="220538" y="42618"/>
                </a:cubicBezTo>
                <a:cubicBezTo>
                  <a:pt x="218860" y="41577"/>
                  <a:pt x="215447" y="39436"/>
                  <a:pt x="215158" y="36197"/>
                </a:cubicBezTo>
                <a:cubicBezTo>
                  <a:pt x="214996" y="34618"/>
                  <a:pt x="215546" y="33045"/>
                  <a:pt x="216662" y="31917"/>
                </a:cubicBezTo>
                <a:cubicBezTo>
                  <a:pt x="221000" y="27173"/>
                  <a:pt x="232453" y="26769"/>
                  <a:pt x="235866" y="26769"/>
                </a:cubicBezTo>
                <a:cubicBezTo>
                  <a:pt x="237891" y="26769"/>
                  <a:pt x="239915" y="26769"/>
                  <a:pt x="241651" y="26769"/>
                </a:cubicBezTo>
                <a:cubicBezTo>
                  <a:pt x="245723" y="27254"/>
                  <a:pt x="249812" y="27509"/>
                  <a:pt x="253914" y="27520"/>
                </a:cubicBezTo>
                <a:cubicBezTo>
                  <a:pt x="264731" y="28255"/>
                  <a:pt x="275426" y="24842"/>
                  <a:pt x="283819" y="17976"/>
                </a:cubicBezTo>
                <a:cubicBezTo>
                  <a:pt x="296776" y="6407"/>
                  <a:pt x="304990" y="-129"/>
                  <a:pt x="311180" y="-129"/>
                </a:cubicBezTo>
                <a:cubicBezTo>
                  <a:pt x="311926" y="-129"/>
                  <a:pt x="312666" y="-13"/>
                  <a:pt x="313378" y="218"/>
                </a:cubicBezTo>
                <a:lnTo>
                  <a:pt x="317369" y="1259"/>
                </a:lnTo>
                <a:cubicBezTo>
                  <a:pt x="325467" y="3342"/>
                  <a:pt x="336573" y="6234"/>
                  <a:pt x="335937" y="11671"/>
                </a:cubicBezTo>
                <a:cubicBezTo>
                  <a:pt x="335590" y="14737"/>
                  <a:pt x="332003" y="16646"/>
                  <a:pt x="328764" y="18381"/>
                </a:cubicBezTo>
                <a:cubicBezTo>
                  <a:pt x="326740" y="19422"/>
                  <a:pt x="324252" y="20753"/>
                  <a:pt x="324137" y="21736"/>
                </a:cubicBezTo>
                <a:cubicBezTo>
                  <a:pt x="324160" y="22187"/>
                  <a:pt x="324368" y="22604"/>
                  <a:pt x="324715" y="22893"/>
                </a:cubicBezTo>
                <a:cubicBezTo>
                  <a:pt x="326803" y="24675"/>
                  <a:pt x="329493" y="25583"/>
                  <a:pt x="332235" y="25438"/>
                </a:cubicBezTo>
                <a:cubicBezTo>
                  <a:pt x="336938" y="25693"/>
                  <a:pt x="341444" y="23506"/>
                  <a:pt x="344151" y="19654"/>
                </a:cubicBezTo>
                <a:cubicBezTo>
                  <a:pt x="346551" y="15437"/>
                  <a:pt x="350884" y="12689"/>
                  <a:pt x="355720" y="12308"/>
                </a:cubicBezTo>
                <a:cubicBezTo>
                  <a:pt x="357050" y="12221"/>
                  <a:pt x="358352" y="12707"/>
                  <a:pt x="359306" y="13638"/>
                </a:cubicBezTo>
                <a:cubicBezTo>
                  <a:pt x="360046" y="14500"/>
                  <a:pt x="360364" y="15645"/>
                  <a:pt x="360174" y="16762"/>
                </a:cubicBezTo>
                <a:cubicBezTo>
                  <a:pt x="359821" y="19231"/>
                  <a:pt x="360538" y="21736"/>
                  <a:pt x="362140" y="23645"/>
                </a:cubicBezTo>
                <a:cubicBezTo>
                  <a:pt x="364859" y="26167"/>
                  <a:pt x="368648" y="27185"/>
                  <a:pt x="372263" y="26364"/>
                </a:cubicBezTo>
                <a:cubicBezTo>
                  <a:pt x="374635" y="26074"/>
                  <a:pt x="378047" y="25496"/>
                  <a:pt x="381692" y="24802"/>
                </a:cubicBezTo>
                <a:cubicBezTo>
                  <a:pt x="389934" y="23020"/>
                  <a:pt x="398316" y="21956"/>
                  <a:pt x="406738" y="21620"/>
                </a:cubicBezTo>
                <a:cubicBezTo>
                  <a:pt x="413969" y="21620"/>
                  <a:pt x="418307" y="23124"/>
                  <a:pt x="420563" y="26248"/>
                </a:cubicBezTo>
                <a:cubicBezTo>
                  <a:pt x="422599" y="29319"/>
                  <a:pt x="423536" y="32987"/>
                  <a:pt x="423224" y="36660"/>
                </a:cubicBezTo>
                <a:cubicBezTo>
                  <a:pt x="423224" y="37933"/>
                  <a:pt x="423224" y="38974"/>
                  <a:pt x="423513" y="39379"/>
                </a:cubicBezTo>
                <a:cubicBezTo>
                  <a:pt x="423802" y="39784"/>
                  <a:pt x="425133" y="40015"/>
                  <a:pt x="428025" y="39668"/>
                </a:cubicBezTo>
                <a:cubicBezTo>
                  <a:pt x="432346" y="39089"/>
                  <a:pt x="436597" y="41137"/>
                  <a:pt x="438842" y="44874"/>
                </a:cubicBezTo>
                <a:cubicBezTo>
                  <a:pt x="440866" y="47535"/>
                  <a:pt x="442197" y="48749"/>
                  <a:pt x="445320" y="47592"/>
                </a:cubicBezTo>
                <a:cubicBezTo>
                  <a:pt x="461031" y="42982"/>
                  <a:pt x="477308" y="40588"/>
                  <a:pt x="493678" y="40478"/>
                </a:cubicBezTo>
                <a:cubicBezTo>
                  <a:pt x="501048" y="40379"/>
                  <a:pt x="508405" y="41137"/>
                  <a:pt x="515601" y="42734"/>
                </a:cubicBezTo>
                <a:cubicBezTo>
                  <a:pt x="524596" y="45065"/>
                  <a:pt x="533330" y="48281"/>
                  <a:pt x="541689" y="52336"/>
                </a:cubicBezTo>
                <a:cubicBezTo>
                  <a:pt x="549770" y="56813"/>
                  <a:pt x="558736" y="59462"/>
                  <a:pt x="567950" y="60087"/>
                </a:cubicBezTo>
                <a:cubicBezTo>
                  <a:pt x="569749" y="60093"/>
                  <a:pt x="571548" y="59960"/>
                  <a:pt x="573330" y="59682"/>
                </a:cubicBezTo>
                <a:cubicBezTo>
                  <a:pt x="577657" y="59005"/>
                  <a:pt x="582024" y="58658"/>
                  <a:pt x="586403" y="58641"/>
                </a:cubicBezTo>
                <a:cubicBezTo>
                  <a:pt x="597034" y="58537"/>
                  <a:pt x="607539" y="61018"/>
                  <a:pt x="617002" y="65871"/>
                </a:cubicBezTo>
                <a:cubicBezTo>
                  <a:pt x="621821" y="67676"/>
                  <a:pt x="626963" y="68445"/>
                  <a:pt x="632100" y="68127"/>
                </a:cubicBezTo>
                <a:cubicBezTo>
                  <a:pt x="644079" y="67861"/>
                  <a:pt x="656012" y="66467"/>
                  <a:pt x="667732" y="63962"/>
                </a:cubicBezTo>
                <a:cubicBezTo>
                  <a:pt x="669444" y="63598"/>
                  <a:pt x="671191" y="63424"/>
                  <a:pt x="672938" y="63442"/>
                </a:cubicBezTo>
                <a:cubicBezTo>
                  <a:pt x="684969" y="63442"/>
                  <a:pt x="701860" y="70210"/>
                  <a:pt x="716668" y="76110"/>
                </a:cubicBezTo>
                <a:lnTo>
                  <a:pt x="725923" y="79754"/>
                </a:lnTo>
                <a:cubicBezTo>
                  <a:pt x="729891" y="81090"/>
                  <a:pt x="734010" y="81923"/>
                  <a:pt x="738186" y="82241"/>
                </a:cubicBezTo>
                <a:cubicBezTo>
                  <a:pt x="738782" y="82299"/>
                  <a:pt x="739233" y="82802"/>
                  <a:pt x="739227" y="83398"/>
                </a:cubicBezTo>
                <a:lnTo>
                  <a:pt x="739227" y="501497"/>
                </a:lnTo>
                <a:cubicBezTo>
                  <a:pt x="742062" y="503614"/>
                  <a:pt x="745382" y="504985"/>
                  <a:pt x="748887" y="505488"/>
                </a:cubicBezTo>
                <a:cubicBezTo>
                  <a:pt x="749963" y="505581"/>
                  <a:pt x="751016" y="505152"/>
                  <a:pt x="751722" y="504331"/>
                </a:cubicBezTo>
                <a:cubicBezTo>
                  <a:pt x="753272" y="502613"/>
                  <a:pt x="755551" y="501728"/>
                  <a:pt x="757853" y="501959"/>
                </a:cubicBezTo>
                <a:lnTo>
                  <a:pt x="760514" y="501959"/>
                </a:lnTo>
                <a:lnTo>
                  <a:pt x="764042" y="501959"/>
                </a:lnTo>
                <a:cubicBezTo>
                  <a:pt x="768589" y="501959"/>
                  <a:pt x="773078" y="500930"/>
                  <a:pt x="777173" y="498951"/>
                </a:cubicBezTo>
                <a:cubicBezTo>
                  <a:pt x="779400" y="497824"/>
                  <a:pt x="781853" y="497210"/>
                  <a:pt x="784346" y="497158"/>
                </a:cubicBezTo>
                <a:cubicBezTo>
                  <a:pt x="793196" y="497158"/>
                  <a:pt x="797361" y="506992"/>
                  <a:pt x="797361" y="513702"/>
                </a:cubicBezTo>
                <a:cubicBezTo>
                  <a:pt x="797361" y="516768"/>
                  <a:pt x="803666" y="521858"/>
                  <a:pt x="809797" y="526775"/>
                </a:cubicBezTo>
                <a:cubicBezTo>
                  <a:pt x="815229" y="530760"/>
                  <a:pt x="820175" y="535359"/>
                  <a:pt x="824548" y="540484"/>
                </a:cubicBezTo>
                <a:cubicBezTo>
                  <a:pt x="825820" y="542103"/>
                  <a:pt x="827035" y="543723"/>
                  <a:pt x="828134" y="545285"/>
                </a:cubicBezTo>
                <a:cubicBezTo>
                  <a:pt x="832299" y="551069"/>
                  <a:pt x="835596" y="555523"/>
                  <a:pt x="839703" y="555523"/>
                </a:cubicBezTo>
                <a:cubicBezTo>
                  <a:pt x="841351" y="555442"/>
                  <a:pt x="842942" y="554881"/>
                  <a:pt x="844272" y="553904"/>
                </a:cubicBezTo>
                <a:cubicBezTo>
                  <a:pt x="847101" y="552220"/>
                  <a:pt x="850039" y="550734"/>
                  <a:pt x="853065" y="549450"/>
                </a:cubicBezTo>
                <a:cubicBezTo>
                  <a:pt x="860758" y="545921"/>
                  <a:pt x="868740" y="542335"/>
                  <a:pt x="868740" y="535509"/>
                </a:cubicBezTo>
                <a:cubicBezTo>
                  <a:pt x="868740" y="528684"/>
                  <a:pt x="878690" y="526080"/>
                  <a:pt x="888465" y="526080"/>
                </a:cubicBezTo>
                <a:cubicBezTo>
                  <a:pt x="898241" y="526080"/>
                  <a:pt x="908190" y="528973"/>
                  <a:pt x="908190" y="537129"/>
                </a:cubicBezTo>
                <a:cubicBezTo>
                  <a:pt x="908190" y="542913"/>
                  <a:pt x="916231" y="549797"/>
                  <a:pt x="926411" y="558473"/>
                </a:cubicBezTo>
                <a:cubicBezTo>
                  <a:pt x="942509" y="570956"/>
                  <a:pt x="956224" y="586239"/>
                  <a:pt x="966902" y="603592"/>
                </a:cubicBezTo>
                <a:cubicBezTo>
                  <a:pt x="971703" y="612153"/>
                  <a:pt x="975348" y="619268"/>
                  <a:pt x="978471" y="625052"/>
                </a:cubicBezTo>
                <a:cubicBezTo>
                  <a:pt x="988420" y="644661"/>
                  <a:pt x="991775" y="651313"/>
                  <a:pt x="1014971" y="660453"/>
                </a:cubicBezTo>
                <a:cubicBezTo>
                  <a:pt x="1044934" y="672311"/>
                  <a:pt x="1046033" y="679137"/>
                  <a:pt x="1041464" y="690995"/>
                </a:cubicBezTo>
                <a:cubicBezTo>
                  <a:pt x="1039960" y="695044"/>
                  <a:pt x="1043025" y="698283"/>
                  <a:pt x="1046265" y="701754"/>
                </a:cubicBezTo>
                <a:cubicBezTo>
                  <a:pt x="1049504" y="705224"/>
                  <a:pt x="1051586" y="707538"/>
                  <a:pt x="1051239" y="710546"/>
                </a:cubicBezTo>
                <a:cubicBezTo>
                  <a:pt x="1050638" y="713033"/>
                  <a:pt x="1048995" y="715139"/>
                  <a:pt x="1046727" y="716330"/>
                </a:cubicBezTo>
                <a:cubicBezTo>
                  <a:pt x="1042158" y="719454"/>
                  <a:pt x="1035159" y="724255"/>
                  <a:pt x="1028102" y="729461"/>
                </a:cubicBezTo>
                <a:cubicBezTo>
                  <a:pt x="1028802" y="729750"/>
                  <a:pt x="1029143" y="730554"/>
                  <a:pt x="1028854" y="731254"/>
                </a:cubicBezTo>
                <a:cubicBezTo>
                  <a:pt x="1028564" y="731954"/>
                  <a:pt x="1027766" y="732296"/>
                  <a:pt x="1027060" y="732006"/>
                </a:cubicBezTo>
                <a:close/>
                <a:moveTo>
                  <a:pt x="1025846" y="724197"/>
                </a:moveTo>
                <a:cubicBezTo>
                  <a:pt x="1026551" y="724168"/>
                  <a:pt x="1027234" y="724469"/>
                  <a:pt x="1027697" y="725007"/>
                </a:cubicBezTo>
                <a:cubicBezTo>
                  <a:pt x="1028321" y="725852"/>
                  <a:pt x="1028518" y="726945"/>
                  <a:pt x="1028217" y="727957"/>
                </a:cubicBezTo>
                <a:cubicBezTo>
                  <a:pt x="1028217" y="727957"/>
                  <a:pt x="1028217" y="728420"/>
                  <a:pt x="1028217" y="728651"/>
                </a:cubicBezTo>
                <a:cubicBezTo>
                  <a:pt x="1034869" y="723908"/>
                  <a:pt x="1040943" y="719628"/>
                  <a:pt x="1045166" y="716735"/>
                </a:cubicBezTo>
                <a:cubicBezTo>
                  <a:pt x="1046912" y="715833"/>
                  <a:pt x="1048191" y="714236"/>
                  <a:pt x="1048694" y="712339"/>
                </a:cubicBezTo>
                <a:cubicBezTo>
                  <a:pt x="1048694" y="710141"/>
                  <a:pt x="1046670" y="707769"/>
                  <a:pt x="1044356" y="705282"/>
                </a:cubicBezTo>
                <a:cubicBezTo>
                  <a:pt x="1040885" y="701638"/>
                  <a:pt x="1037010" y="697589"/>
                  <a:pt x="1039092" y="692209"/>
                </a:cubicBezTo>
                <a:cubicBezTo>
                  <a:pt x="1042678" y="682954"/>
                  <a:pt x="1044876" y="676881"/>
                  <a:pt x="1013872" y="664618"/>
                </a:cubicBezTo>
                <a:cubicBezTo>
                  <a:pt x="989809" y="655073"/>
                  <a:pt x="986107" y="647727"/>
                  <a:pt x="976157" y="628060"/>
                </a:cubicBezTo>
                <a:cubicBezTo>
                  <a:pt x="973265" y="622276"/>
                  <a:pt x="969679" y="615219"/>
                  <a:pt x="964589" y="606715"/>
                </a:cubicBezTo>
                <a:cubicBezTo>
                  <a:pt x="954026" y="589588"/>
                  <a:pt x="940444" y="574514"/>
                  <a:pt x="924502" y="562233"/>
                </a:cubicBezTo>
                <a:cubicBezTo>
                  <a:pt x="913454" y="552747"/>
                  <a:pt x="905472" y="545979"/>
                  <a:pt x="905472" y="539095"/>
                </a:cubicBezTo>
                <a:cubicBezTo>
                  <a:pt x="905472" y="532212"/>
                  <a:pt x="896679" y="530361"/>
                  <a:pt x="888118" y="530361"/>
                </a:cubicBezTo>
                <a:cubicBezTo>
                  <a:pt x="878516" y="530361"/>
                  <a:pt x="870765" y="533542"/>
                  <a:pt x="870765" y="537476"/>
                </a:cubicBezTo>
                <a:cubicBezTo>
                  <a:pt x="870765" y="545748"/>
                  <a:pt x="862146" y="549681"/>
                  <a:pt x="853759" y="553499"/>
                </a:cubicBezTo>
                <a:cubicBezTo>
                  <a:pt x="850832" y="554737"/>
                  <a:pt x="847992" y="556165"/>
                  <a:pt x="845256" y="557779"/>
                </a:cubicBezTo>
                <a:cubicBezTo>
                  <a:pt x="843561" y="558988"/>
                  <a:pt x="841548" y="559671"/>
                  <a:pt x="839471" y="559746"/>
                </a:cubicBezTo>
                <a:cubicBezTo>
                  <a:pt x="834381" y="559746"/>
                  <a:pt x="830795" y="554829"/>
                  <a:pt x="826225" y="548582"/>
                </a:cubicBezTo>
                <a:lnTo>
                  <a:pt x="822754" y="543839"/>
                </a:lnTo>
                <a:cubicBezTo>
                  <a:pt x="818416" y="538887"/>
                  <a:pt x="813569" y="534410"/>
                  <a:pt x="808293" y="530477"/>
                </a:cubicBezTo>
                <a:cubicBezTo>
                  <a:pt x="801178" y="524692"/>
                  <a:pt x="795047" y="519833"/>
                  <a:pt x="795047" y="515669"/>
                </a:cubicBezTo>
                <a:cubicBezTo>
                  <a:pt x="795047" y="511504"/>
                  <a:pt x="792328" y="501381"/>
                  <a:pt x="784288" y="501381"/>
                </a:cubicBezTo>
                <a:cubicBezTo>
                  <a:pt x="782136" y="501439"/>
                  <a:pt x="780019" y="501971"/>
                  <a:pt x="778099" y="502943"/>
                </a:cubicBezTo>
                <a:cubicBezTo>
                  <a:pt x="773702" y="505089"/>
                  <a:pt x="768878" y="506199"/>
                  <a:pt x="763985" y="506182"/>
                </a:cubicBezTo>
                <a:cubicBezTo>
                  <a:pt x="762770" y="506246"/>
                  <a:pt x="761555" y="506246"/>
                  <a:pt x="760340" y="506182"/>
                </a:cubicBezTo>
                <a:lnTo>
                  <a:pt x="757795" y="506182"/>
                </a:lnTo>
                <a:cubicBezTo>
                  <a:pt x="756164" y="505939"/>
                  <a:pt x="754515" y="506523"/>
                  <a:pt x="753399" y="507744"/>
                </a:cubicBezTo>
                <a:cubicBezTo>
                  <a:pt x="752248" y="509057"/>
                  <a:pt x="750570" y="509774"/>
                  <a:pt x="748829" y="509711"/>
                </a:cubicBezTo>
                <a:cubicBezTo>
                  <a:pt x="744618" y="509155"/>
                  <a:pt x="740627" y="507501"/>
                  <a:pt x="737261" y="504909"/>
                </a:cubicBezTo>
                <a:cubicBezTo>
                  <a:pt x="736971" y="504719"/>
                  <a:pt x="736798" y="504389"/>
                  <a:pt x="736798" y="504042"/>
                </a:cubicBezTo>
                <a:lnTo>
                  <a:pt x="736798" y="86522"/>
                </a:lnTo>
                <a:cubicBezTo>
                  <a:pt x="732859" y="86146"/>
                  <a:pt x="728977" y="85313"/>
                  <a:pt x="725229" y="84034"/>
                </a:cubicBezTo>
                <a:cubicBezTo>
                  <a:pt x="722279" y="82935"/>
                  <a:pt x="719155" y="81663"/>
                  <a:pt x="715916" y="80332"/>
                </a:cubicBezTo>
                <a:cubicBezTo>
                  <a:pt x="701975" y="74548"/>
                  <a:pt x="684622" y="67838"/>
                  <a:pt x="672996" y="67838"/>
                </a:cubicBezTo>
                <a:cubicBezTo>
                  <a:pt x="671422" y="67832"/>
                  <a:pt x="669855" y="67988"/>
                  <a:pt x="668310" y="68301"/>
                </a:cubicBezTo>
                <a:cubicBezTo>
                  <a:pt x="656423" y="70852"/>
                  <a:pt x="644316" y="72269"/>
                  <a:pt x="632157" y="72523"/>
                </a:cubicBezTo>
                <a:cubicBezTo>
                  <a:pt x="626680" y="72842"/>
                  <a:pt x="621202" y="71991"/>
                  <a:pt x="616077" y="70036"/>
                </a:cubicBezTo>
                <a:cubicBezTo>
                  <a:pt x="606914" y="65357"/>
                  <a:pt x="596751" y="62956"/>
                  <a:pt x="586460" y="63037"/>
                </a:cubicBezTo>
                <a:cubicBezTo>
                  <a:pt x="582197" y="63054"/>
                  <a:pt x="577946" y="63401"/>
                  <a:pt x="573735" y="64078"/>
                </a:cubicBezTo>
                <a:cubicBezTo>
                  <a:pt x="571820" y="64356"/>
                  <a:pt x="569888" y="64495"/>
                  <a:pt x="567950" y="64483"/>
                </a:cubicBezTo>
                <a:cubicBezTo>
                  <a:pt x="558412" y="63887"/>
                  <a:pt x="549128" y="61180"/>
                  <a:pt x="540764" y="56558"/>
                </a:cubicBezTo>
                <a:cubicBezTo>
                  <a:pt x="532538" y="52556"/>
                  <a:pt x="523931" y="49380"/>
                  <a:pt x="515081" y="47072"/>
                </a:cubicBezTo>
                <a:cubicBezTo>
                  <a:pt x="508053" y="45522"/>
                  <a:pt x="500874" y="44787"/>
                  <a:pt x="493678" y="44874"/>
                </a:cubicBezTo>
                <a:cubicBezTo>
                  <a:pt x="477563" y="45007"/>
                  <a:pt x="461546" y="47361"/>
                  <a:pt x="446072" y="51873"/>
                </a:cubicBezTo>
                <a:cubicBezTo>
                  <a:pt x="442636" y="53389"/>
                  <a:pt x="438622" y="51867"/>
                  <a:pt x="437049" y="48460"/>
                </a:cubicBezTo>
                <a:cubicBezTo>
                  <a:pt x="435313" y="45313"/>
                  <a:pt x="431814" y="43567"/>
                  <a:pt x="428256" y="44064"/>
                </a:cubicBezTo>
                <a:cubicBezTo>
                  <a:pt x="424670" y="44469"/>
                  <a:pt x="422935" y="44064"/>
                  <a:pt x="421893" y="43081"/>
                </a:cubicBezTo>
                <a:cubicBezTo>
                  <a:pt x="421020" y="41814"/>
                  <a:pt x="420690" y="40252"/>
                  <a:pt x="420968" y="38742"/>
                </a:cubicBezTo>
                <a:cubicBezTo>
                  <a:pt x="421292" y="35544"/>
                  <a:pt x="420494" y="32333"/>
                  <a:pt x="418712" y="29661"/>
                </a:cubicBezTo>
                <a:cubicBezTo>
                  <a:pt x="417092" y="27231"/>
                  <a:pt x="412928" y="25959"/>
                  <a:pt x="406738" y="25959"/>
                </a:cubicBezTo>
                <a:cubicBezTo>
                  <a:pt x="398449" y="26329"/>
                  <a:pt x="390206" y="27393"/>
                  <a:pt x="382097" y="29140"/>
                </a:cubicBezTo>
                <a:cubicBezTo>
                  <a:pt x="378279" y="29834"/>
                  <a:pt x="374924" y="30471"/>
                  <a:pt x="372494" y="30760"/>
                </a:cubicBezTo>
                <a:cubicBezTo>
                  <a:pt x="371627" y="30818"/>
                  <a:pt x="370759" y="30818"/>
                  <a:pt x="369891" y="30760"/>
                </a:cubicBezTo>
                <a:cubicBezTo>
                  <a:pt x="366374" y="31003"/>
                  <a:pt x="362927" y="29690"/>
                  <a:pt x="360463" y="27173"/>
                </a:cubicBezTo>
                <a:cubicBezTo>
                  <a:pt x="358427" y="24773"/>
                  <a:pt x="357524" y="21615"/>
                  <a:pt x="357976" y="18497"/>
                </a:cubicBezTo>
                <a:cubicBezTo>
                  <a:pt x="358057" y="18022"/>
                  <a:pt x="357929" y="17542"/>
                  <a:pt x="357628" y="17166"/>
                </a:cubicBezTo>
                <a:cubicBezTo>
                  <a:pt x="357085" y="16744"/>
                  <a:pt x="356408" y="16536"/>
                  <a:pt x="355720" y="16588"/>
                </a:cubicBezTo>
                <a:cubicBezTo>
                  <a:pt x="351694" y="16987"/>
                  <a:pt x="348113" y="19313"/>
                  <a:pt x="346117" y="22835"/>
                </a:cubicBezTo>
                <a:cubicBezTo>
                  <a:pt x="343005" y="27411"/>
                  <a:pt x="337765" y="30077"/>
                  <a:pt x="332235" y="29892"/>
                </a:cubicBezTo>
                <a:cubicBezTo>
                  <a:pt x="328909" y="30043"/>
                  <a:pt x="325658" y="28903"/>
                  <a:pt x="323153" y="26711"/>
                </a:cubicBezTo>
                <a:cubicBezTo>
                  <a:pt x="322228" y="25953"/>
                  <a:pt x="321748" y="24779"/>
                  <a:pt x="321881" y="23587"/>
                </a:cubicBezTo>
                <a:cubicBezTo>
                  <a:pt x="322228" y="21447"/>
                  <a:pt x="324773" y="20116"/>
                  <a:pt x="327665" y="18555"/>
                </a:cubicBezTo>
                <a:cubicBezTo>
                  <a:pt x="330557" y="16993"/>
                  <a:pt x="333450" y="15547"/>
                  <a:pt x="333450" y="13638"/>
                </a:cubicBezTo>
                <a:cubicBezTo>
                  <a:pt x="333854" y="10109"/>
                  <a:pt x="322170" y="7101"/>
                  <a:pt x="316559" y="5655"/>
                </a:cubicBezTo>
                <a:lnTo>
                  <a:pt x="312452" y="4556"/>
                </a:lnTo>
                <a:cubicBezTo>
                  <a:pt x="306668" y="2879"/>
                  <a:pt x="296198" y="11787"/>
                  <a:pt x="285092" y="21910"/>
                </a:cubicBezTo>
                <a:cubicBezTo>
                  <a:pt x="276288" y="29158"/>
                  <a:pt x="265060" y="32773"/>
                  <a:pt x="253682" y="32032"/>
                </a:cubicBezTo>
                <a:cubicBezTo>
                  <a:pt x="249506" y="31998"/>
                  <a:pt x="245335" y="31749"/>
                  <a:pt x="241188" y="31280"/>
                </a:cubicBezTo>
                <a:cubicBezTo>
                  <a:pt x="239337" y="31280"/>
                  <a:pt x="237428" y="30991"/>
                  <a:pt x="235403" y="30991"/>
                </a:cubicBezTo>
                <a:cubicBezTo>
                  <a:pt x="229289" y="30436"/>
                  <a:pt x="223164" y="31986"/>
                  <a:pt x="218050" y="35387"/>
                </a:cubicBezTo>
                <a:cubicBezTo>
                  <a:pt x="217368" y="36076"/>
                  <a:pt x="217026" y="37030"/>
                  <a:pt x="217125" y="37990"/>
                </a:cubicBezTo>
                <a:cubicBezTo>
                  <a:pt x="217125" y="40073"/>
                  <a:pt x="219323" y="41345"/>
                  <a:pt x="221463" y="42676"/>
                </a:cubicBezTo>
                <a:cubicBezTo>
                  <a:pt x="223603" y="44006"/>
                  <a:pt x="225628" y="45279"/>
                  <a:pt x="225859" y="47535"/>
                </a:cubicBezTo>
                <a:cubicBezTo>
                  <a:pt x="226091" y="49791"/>
                  <a:pt x="225107" y="51121"/>
                  <a:pt x="222851" y="53319"/>
                </a:cubicBezTo>
                <a:cubicBezTo>
                  <a:pt x="221602" y="54788"/>
                  <a:pt x="219803" y="55685"/>
                  <a:pt x="217877" y="55806"/>
                </a:cubicBezTo>
                <a:cubicBezTo>
                  <a:pt x="215291" y="55419"/>
                  <a:pt x="212948" y="54054"/>
                  <a:pt x="211340" y="51989"/>
                </a:cubicBezTo>
                <a:cubicBezTo>
                  <a:pt x="209663" y="50369"/>
                  <a:pt x="208101" y="48807"/>
                  <a:pt x="206424" y="48807"/>
                </a:cubicBezTo>
                <a:cubicBezTo>
                  <a:pt x="205012" y="48981"/>
                  <a:pt x="203734" y="49738"/>
                  <a:pt x="202895" y="50890"/>
                </a:cubicBezTo>
                <a:cubicBezTo>
                  <a:pt x="195896" y="58409"/>
                  <a:pt x="178947" y="59161"/>
                  <a:pt x="172006" y="59161"/>
                </a:cubicBezTo>
                <a:cubicBezTo>
                  <a:pt x="168617" y="59225"/>
                  <a:pt x="165233" y="58994"/>
                  <a:pt x="161883" y="58467"/>
                </a:cubicBezTo>
                <a:lnTo>
                  <a:pt x="161536" y="58467"/>
                </a:lnTo>
                <a:cubicBezTo>
                  <a:pt x="156388" y="58467"/>
                  <a:pt x="140770" y="74548"/>
                  <a:pt x="134060" y="81605"/>
                </a:cubicBezTo>
                <a:lnTo>
                  <a:pt x="130763" y="85018"/>
                </a:lnTo>
                <a:cubicBezTo>
                  <a:pt x="129161" y="86742"/>
                  <a:pt x="128530" y="89154"/>
                  <a:pt x="129086" y="91439"/>
                </a:cubicBezTo>
                <a:cubicBezTo>
                  <a:pt x="129086" y="96240"/>
                  <a:pt x="129780" y="103007"/>
                  <a:pt x="119310" y="114056"/>
                </a:cubicBezTo>
                <a:cubicBezTo>
                  <a:pt x="110228" y="123773"/>
                  <a:pt x="91892" y="128690"/>
                  <a:pt x="64647" y="128690"/>
                </a:cubicBezTo>
                <a:cubicBezTo>
                  <a:pt x="60309" y="128690"/>
                  <a:pt x="56491" y="128690"/>
                  <a:pt x="53599" y="128690"/>
                </a:cubicBezTo>
                <a:cubicBezTo>
                  <a:pt x="49261" y="128690"/>
                  <a:pt x="47352" y="128690"/>
                  <a:pt x="46311" y="129500"/>
                </a:cubicBezTo>
                <a:cubicBezTo>
                  <a:pt x="45269" y="130310"/>
                  <a:pt x="45269" y="132624"/>
                  <a:pt x="45269" y="135284"/>
                </a:cubicBezTo>
                <a:cubicBezTo>
                  <a:pt x="45645" y="138778"/>
                  <a:pt x="44853" y="142301"/>
                  <a:pt x="43013" y="145292"/>
                </a:cubicBezTo>
                <a:cubicBezTo>
                  <a:pt x="42180" y="146263"/>
                  <a:pt x="41897" y="147594"/>
                  <a:pt x="42261" y="148820"/>
                </a:cubicBezTo>
                <a:cubicBezTo>
                  <a:pt x="43823" y="153158"/>
                  <a:pt x="53830" y="157902"/>
                  <a:pt x="72688" y="162876"/>
                </a:cubicBezTo>
                <a:cubicBezTo>
                  <a:pt x="97908" y="169644"/>
                  <a:pt x="115087" y="202442"/>
                  <a:pt x="118269" y="210829"/>
                </a:cubicBezTo>
                <a:cubicBezTo>
                  <a:pt x="118963" y="212622"/>
                  <a:pt x="122087" y="213490"/>
                  <a:pt x="127640" y="213490"/>
                </a:cubicBezTo>
                <a:cubicBezTo>
                  <a:pt x="132267" y="213490"/>
                  <a:pt x="138052" y="212854"/>
                  <a:pt x="143605" y="212275"/>
                </a:cubicBezTo>
                <a:cubicBezTo>
                  <a:pt x="148730" y="211604"/>
                  <a:pt x="153884" y="211199"/>
                  <a:pt x="159049" y="211060"/>
                </a:cubicBezTo>
                <a:cubicBezTo>
                  <a:pt x="160518" y="211055"/>
                  <a:pt x="161987" y="211147"/>
                  <a:pt x="163445" y="211350"/>
                </a:cubicBezTo>
                <a:cubicBezTo>
                  <a:pt x="170791" y="212449"/>
                  <a:pt x="170155" y="218465"/>
                  <a:pt x="169577" y="223728"/>
                </a:cubicBezTo>
                <a:cubicBezTo>
                  <a:pt x="168998" y="228992"/>
                  <a:pt x="168593" y="233041"/>
                  <a:pt x="172874" y="235297"/>
                </a:cubicBezTo>
                <a:cubicBezTo>
                  <a:pt x="176090" y="236581"/>
                  <a:pt x="179537" y="237171"/>
                  <a:pt x="182997" y="237033"/>
                </a:cubicBezTo>
                <a:lnTo>
                  <a:pt x="187451" y="237033"/>
                </a:lnTo>
                <a:lnTo>
                  <a:pt x="191557" y="237033"/>
                </a:lnTo>
                <a:cubicBezTo>
                  <a:pt x="196301" y="237033"/>
                  <a:pt x="200870" y="237669"/>
                  <a:pt x="202490" y="242181"/>
                </a:cubicBezTo>
                <a:cubicBezTo>
                  <a:pt x="203086" y="243303"/>
                  <a:pt x="203086" y="244645"/>
                  <a:pt x="202490" y="245767"/>
                </a:cubicBezTo>
                <a:cubicBezTo>
                  <a:pt x="200928" y="247907"/>
                  <a:pt x="196706" y="247965"/>
                  <a:pt x="190921" y="248023"/>
                </a:cubicBezTo>
                <a:cubicBezTo>
                  <a:pt x="183413" y="247317"/>
                  <a:pt x="175870" y="248914"/>
                  <a:pt x="169287" y="252593"/>
                </a:cubicBezTo>
                <a:cubicBezTo>
                  <a:pt x="160900" y="258840"/>
                  <a:pt x="155521" y="262715"/>
                  <a:pt x="151124" y="262715"/>
                </a:cubicBezTo>
                <a:cubicBezTo>
                  <a:pt x="148492" y="262652"/>
                  <a:pt x="146075" y="261258"/>
                  <a:pt x="144704" y="259013"/>
                </a:cubicBezTo>
                <a:cubicBezTo>
                  <a:pt x="143142" y="256873"/>
                  <a:pt x="139382" y="255774"/>
                  <a:pt x="133482" y="255774"/>
                </a:cubicBezTo>
                <a:cubicBezTo>
                  <a:pt x="127668" y="255971"/>
                  <a:pt x="121867" y="256555"/>
                  <a:pt x="116129" y="257509"/>
                </a:cubicBezTo>
                <a:lnTo>
                  <a:pt x="110749" y="258261"/>
                </a:lnTo>
                <a:cubicBezTo>
                  <a:pt x="108030" y="258261"/>
                  <a:pt x="106469" y="258261"/>
                  <a:pt x="105485" y="256642"/>
                </a:cubicBezTo>
                <a:cubicBezTo>
                  <a:pt x="103750" y="254039"/>
                  <a:pt x="105485" y="249585"/>
                  <a:pt x="107394" y="245073"/>
                </a:cubicBezTo>
                <a:cubicBezTo>
                  <a:pt x="108331" y="242956"/>
                  <a:pt x="109048" y="240746"/>
                  <a:pt x="109534" y="238479"/>
                </a:cubicBezTo>
                <a:cubicBezTo>
                  <a:pt x="109586" y="237680"/>
                  <a:pt x="109291" y="236900"/>
                  <a:pt x="108725" y="236338"/>
                </a:cubicBezTo>
                <a:cubicBezTo>
                  <a:pt x="106208" y="234337"/>
                  <a:pt x="103015" y="233388"/>
                  <a:pt x="99816" y="233678"/>
                </a:cubicBezTo>
                <a:cubicBezTo>
                  <a:pt x="91822" y="234094"/>
                  <a:pt x="84065" y="236524"/>
                  <a:pt x="77257" y="240735"/>
                </a:cubicBezTo>
                <a:lnTo>
                  <a:pt x="76794" y="240735"/>
                </a:lnTo>
                <a:cubicBezTo>
                  <a:pt x="63201" y="248601"/>
                  <a:pt x="63201" y="248601"/>
                  <a:pt x="63259" y="250799"/>
                </a:cubicBezTo>
                <a:cubicBezTo>
                  <a:pt x="63375" y="252593"/>
                  <a:pt x="63178" y="254392"/>
                  <a:pt x="62680" y="256121"/>
                </a:cubicBezTo>
                <a:cubicBezTo>
                  <a:pt x="62680" y="257104"/>
                  <a:pt x="61639" y="260055"/>
                  <a:pt x="58516" y="260055"/>
                </a:cubicBezTo>
                <a:cubicBezTo>
                  <a:pt x="56937" y="259898"/>
                  <a:pt x="55392" y="259494"/>
                  <a:pt x="53946" y="258840"/>
                </a:cubicBezTo>
                <a:cubicBezTo>
                  <a:pt x="51447" y="257718"/>
                  <a:pt x="48757" y="257070"/>
                  <a:pt x="46021" y="256931"/>
                </a:cubicBezTo>
                <a:cubicBezTo>
                  <a:pt x="43360" y="256954"/>
                  <a:pt x="40769" y="257758"/>
                  <a:pt x="38559" y="259245"/>
                </a:cubicBezTo>
                <a:cubicBezTo>
                  <a:pt x="33272" y="262276"/>
                  <a:pt x="27806" y="264983"/>
                  <a:pt x="22189" y="267343"/>
                </a:cubicBezTo>
                <a:cubicBezTo>
                  <a:pt x="12934" y="271450"/>
                  <a:pt x="4142" y="275383"/>
                  <a:pt x="2002" y="279953"/>
                </a:cubicBezTo>
                <a:cubicBezTo>
                  <a:pt x="1741" y="280479"/>
                  <a:pt x="1741" y="281104"/>
                  <a:pt x="2002" y="281631"/>
                </a:cubicBezTo>
                <a:cubicBezTo>
                  <a:pt x="4778" y="287068"/>
                  <a:pt x="27106" y="291464"/>
                  <a:pt x="37865" y="293604"/>
                </a:cubicBezTo>
                <a:lnTo>
                  <a:pt x="40526" y="294125"/>
                </a:lnTo>
                <a:cubicBezTo>
                  <a:pt x="42146" y="294414"/>
                  <a:pt x="44286" y="295050"/>
                  <a:pt x="44633" y="296728"/>
                </a:cubicBezTo>
                <a:cubicBezTo>
                  <a:pt x="44980" y="298405"/>
                  <a:pt x="42261" y="300661"/>
                  <a:pt x="38849" y="302802"/>
                </a:cubicBezTo>
                <a:cubicBezTo>
                  <a:pt x="37229" y="303901"/>
                  <a:pt x="34163" y="305983"/>
                  <a:pt x="34163" y="306735"/>
                </a:cubicBezTo>
                <a:lnTo>
                  <a:pt x="34163" y="306735"/>
                </a:lnTo>
                <a:cubicBezTo>
                  <a:pt x="34163" y="306735"/>
                  <a:pt x="34163" y="307082"/>
                  <a:pt x="35551" y="307429"/>
                </a:cubicBezTo>
                <a:cubicBezTo>
                  <a:pt x="39410" y="308731"/>
                  <a:pt x="42510" y="311646"/>
                  <a:pt x="44055" y="315412"/>
                </a:cubicBezTo>
                <a:cubicBezTo>
                  <a:pt x="46652" y="320751"/>
                  <a:pt x="51002" y="325037"/>
                  <a:pt x="56375" y="327559"/>
                </a:cubicBezTo>
                <a:cubicBezTo>
                  <a:pt x="62455" y="330145"/>
                  <a:pt x="69043" y="331290"/>
                  <a:pt x="75638" y="330914"/>
                </a:cubicBezTo>
                <a:cubicBezTo>
                  <a:pt x="84661" y="330717"/>
                  <a:pt x="93668" y="329942"/>
                  <a:pt x="102593" y="328600"/>
                </a:cubicBezTo>
                <a:cubicBezTo>
                  <a:pt x="106422" y="327987"/>
                  <a:pt x="110286" y="327605"/>
                  <a:pt x="114162" y="327443"/>
                </a:cubicBezTo>
                <a:cubicBezTo>
                  <a:pt x="117858" y="327727"/>
                  <a:pt x="121450" y="328814"/>
                  <a:pt x="124690" y="330625"/>
                </a:cubicBezTo>
                <a:cubicBezTo>
                  <a:pt x="127235" y="332076"/>
                  <a:pt x="130052" y="332979"/>
                  <a:pt x="132961" y="333286"/>
                </a:cubicBezTo>
                <a:cubicBezTo>
                  <a:pt x="134980" y="333257"/>
                  <a:pt x="136877" y="332348"/>
                  <a:pt x="138167" y="330798"/>
                </a:cubicBezTo>
                <a:cubicBezTo>
                  <a:pt x="144588" y="323857"/>
                  <a:pt x="162404" y="309569"/>
                  <a:pt x="176807" y="309569"/>
                </a:cubicBezTo>
                <a:cubicBezTo>
                  <a:pt x="181065" y="309425"/>
                  <a:pt x="185212" y="310940"/>
                  <a:pt x="188376" y="313792"/>
                </a:cubicBezTo>
                <a:cubicBezTo>
                  <a:pt x="191557" y="316684"/>
                  <a:pt x="192888" y="319171"/>
                  <a:pt x="192541" y="321370"/>
                </a:cubicBezTo>
                <a:cubicBezTo>
                  <a:pt x="192020" y="324551"/>
                  <a:pt x="188145" y="326228"/>
                  <a:pt x="184790" y="327675"/>
                </a:cubicBezTo>
                <a:cubicBezTo>
                  <a:pt x="182534" y="328658"/>
                  <a:pt x="179931" y="329757"/>
                  <a:pt x="179699" y="330856"/>
                </a:cubicBezTo>
                <a:cubicBezTo>
                  <a:pt x="179468" y="331955"/>
                  <a:pt x="180104" y="332129"/>
                  <a:pt x="180567" y="332591"/>
                </a:cubicBezTo>
                <a:cubicBezTo>
                  <a:pt x="187121" y="339527"/>
                  <a:pt x="190730" y="348736"/>
                  <a:pt x="190632" y="358274"/>
                </a:cubicBezTo>
                <a:cubicBezTo>
                  <a:pt x="190135" y="363237"/>
                  <a:pt x="187520" y="367749"/>
                  <a:pt x="183459" y="370653"/>
                </a:cubicBezTo>
                <a:cubicBezTo>
                  <a:pt x="178687" y="374222"/>
                  <a:pt x="172874" y="376131"/>
                  <a:pt x="166916" y="376090"/>
                </a:cubicBezTo>
                <a:cubicBezTo>
                  <a:pt x="162849" y="375957"/>
                  <a:pt x="158812" y="375356"/>
                  <a:pt x="154884" y="374297"/>
                </a:cubicBezTo>
                <a:cubicBezTo>
                  <a:pt x="152981" y="373823"/>
                  <a:pt x="151049" y="373476"/>
                  <a:pt x="149100" y="373256"/>
                </a:cubicBezTo>
                <a:lnTo>
                  <a:pt x="148753" y="373256"/>
                </a:lnTo>
                <a:cubicBezTo>
                  <a:pt x="146613" y="373256"/>
                  <a:pt x="145918" y="375223"/>
                  <a:pt x="144761" y="379387"/>
                </a:cubicBezTo>
                <a:cubicBezTo>
                  <a:pt x="143518" y="385658"/>
                  <a:pt x="140198" y="391321"/>
                  <a:pt x="135333" y="395468"/>
                </a:cubicBezTo>
                <a:cubicBezTo>
                  <a:pt x="133320" y="397163"/>
                  <a:pt x="130792" y="398123"/>
                  <a:pt x="128160" y="398187"/>
                </a:cubicBezTo>
                <a:cubicBezTo>
                  <a:pt x="123538" y="397516"/>
                  <a:pt x="119212" y="395503"/>
                  <a:pt x="115724" y="392402"/>
                </a:cubicBezTo>
                <a:cubicBezTo>
                  <a:pt x="111327" y="388643"/>
                  <a:pt x="105867" y="386334"/>
                  <a:pt x="100106" y="385808"/>
                </a:cubicBezTo>
                <a:cubicBezTo>
                  <a:pt x="97462" y="385623"/>
                  <a:pt x="94865" y="386589"/>
                  <a:pt x="92991" y="388469"/>
                </a:cubicBezTo>
                <a:cubicBezTo>
                  <a:pt x="88768" y="393096"/>
                  <a:pt x="89578" y="403104"/>
                  <a:pt x="90099" y="409640"/>
                </a:cubicBezTo>
                <a:cubicBezTo>
                  <a:pt x="90099" y="410681"/>
                  <a:pt x="90099" y="411607"/>
                  <a:pt x="90099" y="412416"/>
                </a:cubicBezTo>
                <a:cubicBezTo>
                  <a:pt x="90099" y="417102"/>
                  <a:pt x="86050" y="417680"/>
                  <a:pt x="81422" y="418201"/>
                </a:cubicBezTo>
                <a:cubicBezTo>
                  <a:pt x="74539" y="419126"/>
                  <a:pt x="65920" y="420225"/>
                  <a:pt x="62796" y="432662"/>
                </a:cubicBezTo>
                <a:cubicBezTo>
                  <a:pt x="61402" y="439574"/>
                  <a:pt x="55548" y="444694"/>
                  <a:pt x="48509" y="445156"/>
                </a:cubicBezTo>
                <a:cubicBezTo>
                  <a:pt x="46947" y="445156"/>
                  <a:pt x="45327" y="445619"/>
                  <a:pt x="45096" y="446140"/>
                </a:cubicBezTo>
                <a:cubicBezTo>
                  <a:pt x="44864" y="446660"/>
                  <a:pt x="45443" y="449032"/>
                  <a:pt x="49955" y="455337"/>
                </a:cubicBezTo>
                <a:cubicBezTo>
                  <a:pt x="58863" y="467831"/>
                  <a:pt x="61524" y="467889"/>
                  <a:pt x="64474" y="467889"/>
                </a:cubicBezTo>
                <a:cubicBezTo>
                  <a:pt x="68147" y="467797"/>
                  <a:pt x="71727" y="469052"/>
                  <a:pt x="74539" y="471418"/>
                </a:cubicBezTo>
                <a:cubicBezTo>
                  <a:pt x="81827" y="476566"/>
                  <a:pt x="77084" y="483854"/>
                  <a:pt x="73555" y="489234"/>
                </a:cubicBezTo>
                <a:cubicBezTo>
                  <a:pt x="71820" y="491952"/>
                  <a:pt x="69969" y="495018"/>
                  <a:pt x="70489" y="496002"/>
                </a:cubicBezTo>
                <a:cubicBezTo>
                  <a:pt x="71010" y="496985"/>
                  <a:pt x="71936" y="497101"/>
                  <a:pt x="72861" y="497274"/>
                </a:cubicBezTo>
                <a:cubicBezTo>
                  <a:pt x="81653" y="499067"/>
                  <a:pt x="90214" y="509884"/>
                  <a:pt x="98370" y="519428"/>
                </a:cubicBezTo>
                <a:cubicBezTo>
                  <a:pt x="101153" y="523015"/>
                  <a:pt x="104143" y="526439"/>
                  <a:pt x="107336" y="529667"/>
                </a:cubicBezTo>
                <a:cubicBezTo>
                  <a:pt x="108881" y="531177"/>
                  <a:pt x="110963" y="532010"/>
                  <a:pt x="113121" y="531981"/>
                </a:cubicBezTo>
                <a:cubicBezTo>
                  <a:pt x="116921" y="531605"/>
                  <a:pt x="120611" y="530506"/>
                  <a:pt x="123995" y="528741"/>
                </a:cubicBezTo>
                <a:cubicBezTo>
                  <a:pt x="128571" y="526491"/>
                  <a:pt x="133505" y="525062"/>
                  <a:pt x="138572" y="524519"/>
                </a:cubicBezTo>
                <a:cubicBezTo>
                  <a:pt x="144646" y="524230"/>
                  <a:pt x="145803" y="519660"/>
                  <a:pt x="146786" y="516016"/>
                </a:cubicBezTo>
                <a:cubicBezTo>
                  <a:pt x="147364" y="513702"/>
                  <a:pt x="147943" y="511504"/>
                  <a:pt x="149967" y="511504"/>
                </a:cubicBezTo>
                <a:cubicBezTo>
                  <a:pt x="151257" y="511706"/>
                  <a:pt x="152437" y="512337"/>
                  <a:pt x="153322" y="513297"/>
                </a:cubicBezTo>
                <a:cubicBezTo>
                  <a:pt x="159107" y="518561"/>
                  <a:pt x="167205" y="532270"/>
                  <a:pt x="166742" y="540484"/>
                </a:cubicBezTo>
                <a:cubicBezTo>
                  <a:pt x="166748" y="542601"/>
                  <a:pt x="165788" y="544602"/>
                  <a:pt x="164139" y="545921"/>
                </a:cubicBezTo>
                <a:cubicBezTo>
                  <a:pt x="160264" y="548698"/>
                  <a:pt x="161074" y="556044"/>
                  <a:pt x="161826" y="562580"/>
                </a:cubicBezTo>
                <a:cubicBezTo>
                  <a:pt x="162340" y="565854"/>
                  <a:pt x="162439" y="569175"/>
                  <a:pt x="162115" y="572472"/>
                </a:cubicBezTo>
                <a:cubicBezTo>
                  <a:pt x="162057" y="572853"/>
                  <a:pt x="162184" y="573241"/>
                  <a:pt x="162462" y="573513"/>
                </a:cubicBezTo>
                <a:cubicBezTo>
                  <a:pt x="164880" y="575127"/>
                  <a:pt x="167789" y="575821"/>
                  <a:pt x="170676" y="575480"/>
                </a:cubicBezTo>
                <a:cubicBezTo>
                  <a:pt x="178947" y="575480"/>
                  <a:pt x="188723" y="572587"/>
                  <a:pt x="189591" y="568423"/>
                </a:cubicBezTo>
                <a:cubicBezTo>
                  <a:pt x="190458" y="564258"/>
                  <a:pt x="196821" y="560614"/>
                  <a:pt x="205093" y="560614"/>
                </a:cubicBezTo>
                <a:cubicBezTo>
                  <a:pt x="214175" y="560590"/>
                  <a:pt x="222857" y="564316"/>
                  <a:pt x="229098" y="570910"/>
                </a:cubicBezTo>
                <a:cubicBezTo>
                  <a:pt x="234478" y="576694"/>
                  <a:pt x="240320" y="582826"/>
                  <a:pt x="242692" y="582826"/>
                </a:cubicBezTo>
                <a:cubicBezTo>
                  <a:pt x="243617" y="582826"/>
                  <a:pt x="244138" y="580801"/>
                  <a:pt x="244138" y="577041"/>
                </a:cubicBezTo>
                <a:cubicBezTo>
                  <a:pt x="244138" y="568596"/>
                  <a:pt x="250559" y="558763"/>
                  <a:pt x="254723" y="558763"/>
                </a:cubicBezTo>
                <a:cubicBezTo>
                  <a:pt x="255591" y="558763"/>
                  <a:pt x="257616" y="559167"/>
                  <a:pt x="257847" y="563043"/>
                </a:cubicBezTo>
                <a:cubicBezTo>
                  <a:pt x="258252" y="568827"/>
                  <a:pt x="263169" y="570216"/>
                  <a:pt x="267218" y="570216"/>
                </a:cubicBezTo>
                <a:cubicBezTo>
                  <a:pt x="273743" y="569759"/>
                  <a:pt x="280117" y="568012"/>
                  <a:pt x="285959" y="565068"/>
                </a:cubicBezTo>
                <a:cubicBezTo>
                  <a:pt x="289152" y="563350"/>
                  <a:pt x="292611" y="562193"/>
                  <a:pt x="296198" y="561655"/>
                </a:cubicBezTo>
                <a:cubicBezTo>
                  <a:pt x="297644" y="561655"/>
                  <a:pt x="298280" y="562291"/>
                  <a:pt x="298512" y="562870"/>
                </a:cubicBezTo>
                <a:cubicBezTo>
                  <a:pt x="299553" y="565010"/>
                  <a:pt x="296776" y="568654"/>
                  <a:pt x="290356" y="576521"/>
                </a:cubicBezTo>
                <a:lnTo>
                  <a:pt x="287926" y="579529"/>
                </a:lnTo>
                <a:cubicBezTo>
                  <a:pt x="280869" y="588379"/>
                  <a:pt x="281505" y="599427"/>
                  <a:pt x="282142" y="608451"/>
                </a:cubicBezTo>
                <a:cubicBezTo>
                  <a:pt x="282604" y="616260"/>
                  <a:pt x="282951" y="622391"/>
                  <a:pt x="277688" y="623722"/>
                </a:cubicBezTo>
                <a:cubicBezTo>
                  <a:pt x="273928" y="624647"/>
                  <a:pt x="270168" y="629506"/>
                  <a:pt x="266119" y="635291"/>
                </a:cubicBezTo>
                <a:cubicBezTo>
                  <a:pt x="260334" y="643100"/>
                  <a:pt x="253682" y="651950"/>
                  <a:pt x="244138" y="653049"/>
                </a:cubicBezTo>
                <a:cubicBezTo>
                  <a:pt x="229330" y="654784"/>
                  <a:pt x="203300" y="683070"/>
                  <a:pt x="198904" y="688970"/>
                </a:cubicBezTo>
                <a:cubicBezTo>
                  <a:pt x="197683" y="690092"/>
                  <a:pt x="196040" y="690642"/>
                  <a:pt x="194392" y="690474"/>
                </a:cubicBezTo>
                <a:cubicBezTo>
                  <a:pt x="190881" y="690277"/>
                  <a:pt x="187381" y="689855"/>
                  <a:pt x="183922" y="689201"/>
                </a:cubicBezTo>
                <a:cubicBezTo>
                  <a:pt x="178832" y="688183"/>
                  <a:pt x="173666" y="687582"/>
                  <a:pt x="168478" y="687408"/>
                </a:cubicBezTo>
                <a:cubicBezTo>
                  <a:pt x="161826" y="687408"/>
                  <a:pt x="157892" y="689201"/>
                  <a:pt x="156620" y="692903"/>
                </a:cubicBezTo>
                <a:cubicBezTo>
                  <a:pt x="153496" y="699781"/>
                  <a:pt x="148892" y="705884"/>
                  <a:pt x="143142" y="710777"/>
                </a:cubicBezTo>
                <a:cubicBezTo>
                  <a:pt x="139382" y="714537"/>
                  <a:pt x="135854" y="718008"/>
                  <a:pt x="135854" y="720206"/>
                </a:cubicBezTo>
                <a:cubicBezTo>
                  <a:pt x="135854" y="720663"/>
                  <a:pt x="136044" y="721102"/>
                  <a:pt x="136374" y="721421"/>
                </a:cubicBezTo>
                <a:cubicBezTo>
                  <a:pt x="136756" y="721652"/>
                  <a:pt x="137201" y="721756"/>
                  <a:pt x="137647" y="721710"/>
                </a:cubicBezTo>
                <a:cubicBezTo>
                  <a:pt x="144877" y="721710"/>
                  <a:pt x="166569" y="710141"/>
                  <a:pt x="167205" y="704357"/>
                </a:cubicBezTo>
                <a:cubicBezTo>
                  <a:pt x="167841" y="700365"/>
                  <a:pt x="169345" y="698572"/>
                  <a:pt x="171659" y="698572"/>
                </a:cubicBezTo>
                <a:cubicBezTo>
                  <a:pt x="173973" y="698572"/>
                  <a:pt x="175882" y="700076"/>
                  <a:pt x="178832" y="703431"/>
                </a:cubicBezTo>
                <a:cubicBezTo>
                  <a:pt x="179786" y="704443"/>
                  <a:pt x="181146" y="704976"/>
                  <a:pt x="182534" y="704877"/>
                </a:cubicBezTo>
                <a:cubicBezTo>
                  <a:pt x="189088" y="703772"/>
                  <a:pt x="195144" y="700683"/>
                  <a:pt x="199887" y="696027"/>
                </a:cubicBezTo>
                <a:cubicBezTo>
                  <a:pt x="203149" y="693412"/>
                  <a:pt x="207291" y="692152"/>
                  <a:pt x="211456" y="692499"/>
                </a:cubicBezTo>
                <a:cubicBezTo>
                  <a:pt x="213949" y="692562"/>
                  <a:pt x="216442" y="692753"/>
                  <a:pt x="218918" y="693077"/>
                </a:cubicBezTo>
                <a:lnTo>
                  <a:pt x="221000" y="693366"/>
                </a:lnTo>
                <a:cubicBezTo>
                  <a:pt x="222967" y="693366"/>
                  <a:pt x="224413" y="692556"/>
                  <a:pt x="226785" y="690937"/>
                </a:cubicBezTo>
                <a:cubicBezTo>
                  <a:pt x="232182" y="687188"/>
                  <a:pt x="238348" y="684701"/>
                  <a:pt x="244832" y="683648"/>
                </a:cubicBezTo>
                <a:cubicBezTo>
                  <a:pt x="256401" y="681508"/>
                  <a:pt x="257269" y="678674"/>
                  <a:pt x="258541" y="673583"/>
                </a:cubicBezTo>
                <a:cubicBezTo>
                  <a:pt x="258987" y="671611"/>
                  <a:pt x="259588" y="669679"/>
                  <a:pt x="260334" y="667799"/>
                </a:cubicBezTo>
                <a:cubicBezTo>
                  <a:pt x="264210" y="658775"/>
                  <a:pt x="303602" y="640496"/>
                  <a:pt x="310775" y="638877"/>
                </a:cubicBezTo>
                <a:cubicBezTo>
                  <a:pt x="313667" y="638183"/>
                  <a:pt x="314303" y="635464"/>
                  <a:pt x="315113" y="632340"/>
                </a:cubicBezTo>
                <a:cubicBezTo>
                  <a:pt x="315923" y="629217"/>
                  <a:pt x="317022" y="624705"/>
                  <a:pt x="321881" y="624300"/>
                </a:cubicBezTo>
                <a:cubicBezTo>
                  <a:pt x="329747" y="623722"/>
                  <a:pt x="342878" y="612731"/>
                  <a:pt x="351555" y="605790"/>
                </a:cubicBezTo>
                <a:cubicBezTo>
                  <a:pt x="355436" y="602013"/>
                  <a:pt x="360503" y="599682"/>
                  <a:pt x="365900" y="599196"/>
                </a:cubicBezTo>
                <a:cubicBezTo>
                  <a:pt x="368133" y="599005"/>
                  <a:pt x="370331" y="598519"/>
                  <a:pt x="372437" y="597750"/>
                </a:cubicBezTo>
                <a:cubicBezTo>
                  <a:pt x="375734" y="596477"/>
                  <a:pt x="376139" y="592370"/>
                  <a:pt x="376544" y="588090"/>
                </a:cubicBezTo>
                <a:cubicBezTo>
                  <a:pt x="376948" y="583809"/>
                  <a:pt x="377527" y="578430"/>
                  <a:pt x="382328" y="577678"/>
                </a:cubicBezTo>
                <a:cubicBezTo>
                  <a:pt x="389165" y="577047"/>
                  <a:pt x="394597" y="571668"/>
                  <a:pt x="395285" y="564836"/>
                </a:cubicBezTo>
                <a:cubicBezTo>
                  <a:pt x="395285" y="561944"/>
                  <a:pt x="388864" y="560324"/>
                  <a:pt x="383716" y="559052"/>
                </a:cubicBezTo>
                <a:cubicBezTo>
                  <a:pt x="378568" y="557779"/>
                  <a:pt x="374577" y="556738"/>
                  <a:pt x="373593" y="554424"/>
                </a:cubicBezTo>
                <a:cubicBezTo>
                  <a:pt x="373015" y="553152"/>
                  <a:pt x="373593" y="551416"/>
                  <a:pt x="374982" y="549160"/>
                </a:cubicBezTo>
                <a:cubicBezTo>
                  <a:pt x="379089" y="542913"/>
                  <a:pt x="391120" y="532790"/>
                  <a:pt x="397136" y="533427"/>
                </a:cubicBezTo>
                <a:lnTo>
                  <a:pt x="397888" y="533427"/>
                </a:lnTo>
                <a:cubicBezTo>
                  <a:pt x="406131" y="532565"/>
                  <a:pt x="412771" y="526283"/>
                  <a:pt x="414084" y="518098"/>
                </a:cubicBezTo>
                <a:cubicBezTo>
                  <a:pt x="414489" y="511330"/>
                  <a:pt x="418943" y="508149"/>
                  <a:pt x="424091" y="504447"/>
                </a:cubicBezTo>
                <a:cubicBezTo>
                  <a:pt x="427140" y="502388"/>
                  <a:pt x="429969" y="500022"/>
                  <a:pt x="432537" y="497390"/>
                </a:cubicBezTo>
                <a:cubicBezTo>
                  <a:pt x="434955" y="494660"/>
                  <a:pt x="436910" y="491553"/>
                  <a:pt x="438321" y="488193"/>
                </a:cubicBezTo>
                <a:cubicBezTo>
                  <a:pt x="440288" y="484201"/>
                  <a:pt x="441792" y="481078"/>
                  <a:pt x="447056" y="480673"/>
                </a:cubicBezTo>
                <a:cubicBezTo>
                  <a:pt x="452250" y="479290"/>
                  <a:pt x="456895" y="476340"/>
                  <a:pt x="460360" y="472227"/>
                </a:cubicBezTo>
                <a:cubicBezTo>
                  <a:pt x="463368" y="469318"/>
                  <a:pt x="466659" y="466721"/>
                  <a:pt x="470193" y="464476"/>
                </a:cubicBezTo>
                <a:cubicBezTo>
                  <a:pt x="475110" y="461700"/>
                  <a:pt x="475978" y="463898"/>
                  <a:pt x="476730" y="465633"/>
                </a:cubicBezTo>
                <a:cubicBezTo>
                  <a:pt x="477482" y="467369"/>
                  <a:pt x="478812" y="470724"/>
                  <a:pt x="487142" y="471013"/>
                </a:cubicBezTo>
                <a:cubicBezTo>
                  <a:pt x="495471" y="471302"/>
                  <a:pt x="499289" y="475467"/>
                  <a:pt x="499231" y="479111"/>
                </a:cubicBezTo>
                <a:cubicBezTo>
                  <a:pt x="499260" y="482304"/>
                  <a:pt x="496698" y="484918"/>
                  <a:pt x="493505" y="484953"/>
                </a:cubicBezTo>
                <a:cubicBezTo>
                  <a:pt x="493215" y="484953"/>
                  <a:pt x="492926" y="484936"/>
                  <a:pt x="492637" y="484895"/>
                </a:cubicBezTo>
                <a:cubicBezTo>
                  <a:pt x="490774" y="484866"/>
                  <a:pt x="488935" y="484433"/>
                  <a:pt x="487258" y="483623"/>
                </a:cubicBezTo>
                <a:cubicBezTo>
                  <a:pt x="483677" y="481725"/>
                  <a:pt x="479732" y="480603"/>
                  <a:pt x="475689" y="480326"/>
                </a:cubicBezTo>
                <a:cubicBezTo>
                  <a:pt x="470945" y="480326"/>
                  <a:pt x="466723" y="482640"/>
                  <a:pt x="460129" y="488887"/>
                </a:cubicBezTo>
                <a:cubicBezTo>
                  <a:pt x="456334" y="491443"/>
                  <a:pt x="453876" y="495556"/>
                  <a:pt x="453419" y="500108"/>
                </a:cubicBezTo>
                <a:cubicBezTo>
                  <a:pt x="453291" y="504748"/>
                  <a:pt x="451643" y="509219"/>
                  <a:pt x="448733" y="512834"/>
                </a:cubicBezTo>
                <a:cubicBezTo>
                  <a:pt x="443643" y="519718"/>
                  <a:pt x="441676" y="524692"/>
                  <a:pt x="442949" y="527584"/>
                </a:cubicBezTo>
                <a:cubicBezTo>
                  <a:pt x="443759" y="529436"/>
                  <a:pt x="446072" y="530592"/>
                  <a:pt x="449774" y="530997"/>
                </a:cubicBezTo>
                <a:cubicBezTo>
                  <a:pt x="453476" y="531402"/>
                  <a:pt x="455270" y="532559"/>
                  <a:pt x="455559" y="534468"/>
                </a:cubicBezTo>
                <a:cubicBezTo>
                  <a:pt x="455906" y="538748"/>
                  <a:pt x="446709" y="543492"/>
                  <a:pt x="440346" y="545343"/>
                </a:cubicBezTo>
                <a:cubicBezTo>
                  <a:pt x="437454" y="546210"/>
                  <a:pt x="436239" y="547251"/>
                  <a:pt x="436355" y="547946"/>
                </a:cubicBezTo>
                <a:cubicBezTo>
                  <a:pt x="436355" y="549508"/>
                  <a:pt x="441618" y="552226"/>
                  <a:pt x="450931" y="552226"/>
                </a:cubicBezTo>
                <a:cubicBezTo>
                  <a:pt x="459261" y="552226"/>
                  <a:pt x="470251" y="544649"/>
                  <a:pt x="481994" y="536608"/>
                </a:cubicBezTo>
                <a:cubicBezTo>
                  <a:pt x="489137" y="531448"/>
                  <a:pt x="496617" y="526775"/>
                  <a:pt x="504379" y="522610"/>
                </a:cubicBezTo>
                <a:cubicBezTo>
                  <a:pt x="510147" y="519671"/>
                  <a:pt x="516532" y="518144"/>
                  <a:pt x="523005" y="518156"/>
                </a:cubicBezTo>
                <a:cubicBezTo>
                  <a:pt x="527633" y="518231"/>
                  <a:pt x="532231" y="518850"/>
                  <a:pt x="536714" y="520007"/>
                </a:cubicBezTo>
                <a:cubicBezTo>
                  <a:pt x="539028" y="520759"/>
                  <a:pt x="541469" y="521013"/>
                  <a:pt x="543887" y="520759"/>
                </a:cubicBezTo>
                <a:cubicBezTo>
                  <a:pt x="544292" y="520759"/>
                  <a:pt x="544523" y="520470"/>
                  <a:pt x="544581" y="520296"/>
                </a:cubicBezTo>
                <a:cubicBezTo>
                  <a:pt x="544639" y="520122"/>
                  <a:pt x="544003" y="517809"/>
                  <a:pt x="543309" y="516363"/>
                </a:cubicBezTo>
                <a:cubicBezTo>
                  <a:pt x="541967" y="514315"/>
                  <a:pt x="541446" y="511834"/>
                  <a:pt x="541862" y="509421"/>
                </a:cubicBezTo>
                <a:cubicBezTo>
                  <a:pt x="542291" y="508236"/>
                  <a:pt x="543222" y="507304"/>
                  <a:pt x="544408" y="506876"/>
                </a:cubicBezTo>
                <a:cubicBezTo>
                  <a:pt x="545333" y="506471"/>
                  <a:pt x="545449" y="506182"/>
                  <a:pt x="545449" y="506182"/>
                </a:cubicBezTo>
                <a:cubicBezTo>
                  <a:pt x="544564" y="505372"/>
                  <a:pt x="543592" y="504655"/>
                  <a:pt x="542557" y="504042"/>
                </a:cubicBezTo>
                <a:cubicBezTo>
                  <a:pt x="537715" y="501271"/>
                  <a:pt x="533903" y="497008"/>
                  <a:pt x="531682" y="491894"/>
                </a:cubicBezTo>
                <a:cubicBezTo>
                  <a:pt x="530583" y="489853"/>
                  <a:pt x="530375" y="487446"/>
                  <a:pt x="531103" y="485242"/>
                </a:cubicBezTo>
                <a:cubicBezTo>
                  <a:pt x="532046" y="483819"/>
                  <a:pt x="533573" y="482888"/>
                  <a:pt x="535268" y="482697"/>
                </a:cubicBezTo>
                <a:cubicBezTo>
                  <a:pt x="537640" y="482003"/>
                  <a:pt x="539838" y="481367"/>
                  <a:pt x="541053" y="477954"/>
                </a:cubicBezTo>
                <a:cubicBezTo>
                  <a:pt x="542210" y="473616"/>
                  <a:pt x="544408" y="471418"/>
                  <a:pt x="547647" y="471418"/>
                </a:cubicBezTo>
                <a:cubicBezTo>
                  <a:pt x="551453" y="471979"/>
                  <a:pt x="555022" y="473604"/>
                  <a:pt x="557943" y="476103"/>
                </a:cubicBezTo>
                <a:cubicBezTo>
                  <a:pt x="559135" y="476901"/>
                  <a:pt x="560558" y="477289"/>
                  <a:pt x="561992" y="477202"/>
                </a:cubicBezTo>
                <a:cubicBezTo>
                  <a:pt x="562976" y="477260"/>
                  <a:pt x="563959" y="477260"/>
                  <a:pt x="564942" y="477202"/>
                </a:cubicBezTo>
                <a:cubicBezTo>
                  <a:pt x="566041" y="477144"/>
                  <a:pt x="567140" y="477144"/>
                  <a:pt x="568240" y="477202"/>
                </a:cubicBezTo>
                <a:cubicBezTo>
                  <a:pt x="572769" y="477081"/>
                  <a:pt x="576841" y="479950"/>
                  <a:pt x="578247" y="484259"/>
                </a:cubicBezTo>
                <a:cubicBezTo>
                  <a:pt x="579924" y="487788"/>
                  <a:pt x="581486" y="488250"/>
                  <a:pt x="582585" y="488250"/>
                </a:cubicBezTo>
                <a:cubicBezTo>
                  <a:pt x="583875" y="488129"/>
                  <a:pt x="585142" y="487817"/>
                  <a:pt x="586345" y="487325"/>
                </a:cubicBezTo>
                <a:cubicBezTo>
                  <a:pt x="588173" y="486532"/>
                  <a:pt x="590134" y="486081"/>
                  <a:pt x="592129" y="485994"/>
                </a:cubicBezTo>
                <a:cubicBezTo>
                  <a:pt x="594732" y="486029"/>
                  <a:pt x="597237" y="486989"/>
                  <a:pt x="599186" y="488713"/>
                </a:cubicBezTo>
                <a:cubicBezTo>
                  <a:pt x="602425" y="491374"/>
                  <a:pt x="603582" y="493167"/>
                  <a:pt x="603120" y="494845"/>
                </a:cubicBezTo>
                <a:cubicBezTo>
                  <a:pt x="602657" y="496522"/>
                  <a:pt x="598839" y="497737"/>
                  <a:pt x="593749" y="498489"/>
                </a:cubicBezTo>
                <a:cubicBezTo>
                  <a:pt x="591551" y="498836"/>
                  <a:pt x="589006" y="499183"/>
                  <a:pt x="586576" y="499761"/>
                </a:cubicBezTo>
                <a:cubicBezTo>
                  <a:pt x="583684" y="500033"/>
                  <a:pt x="581555" y="502602"/>
                  <a:pt x="581827" y="505494"/>
                </a:cubicBezTo>
                <a:cubicBezTo>
                  <a:pt x="581827" y="505511"/>
                  <a:pt x="581833" y="505528"/>
                  <a:pt x="581833" y="505546"/>
                </a:cubicBezTo>
                <a:cubicBezTo>
                  <a:pt x="581914" y="507426"/>
                  <a:pt x="583372" y="508959"/>
                  <a:pt x="585246" y="509132"/>
                </a:cubicBezTo>
                <a:cubicBezTo>
                  <a:pt x="586518" y="509022"/>
                  <a:pt x="587716" y="508490"/>
                  <a:pt x="588659" y="507628"/>
                </a:cubicBezTo>
                <a:cubicBezTo>
                  <a:pt x="592563" y="503342"/>
                  <a:pt x="597844" y="500560"/>
                  <a:pt x="603582" y="499761"/>
                </a:cubicBezTo>
                <a:cubicBezTo>
                  <a:pt x="606741" y="499860"/>
                  <a:pt x="609743" y="501167"/>
                  <a:pt x="611970" y="503406"/>
                </a:cubicBezTo>
                <a:cubicBezTo>
                  <a:pt x="613578" y="505291"/>
                  <a:pt x="615822" y="506523"/>
                  <a:pt x="618275" y="506876"/>
                </a:cubicBezTo>
                <a:cubicBezTo>
                  <a:pt x="620878" y="506876"/>
                  <a:pt x="623307" y="504389"/>
                  <a:pt x="626720" y="501092"/>
                </a:cubicBezTo>
                <a:cubicBezTo>
                  <a:pt x="627871" y="499646"/>
                  <a:pt x="629520" y="498674"/>
                  <a:pt x="631348" y="498373"/>
                </a:cubicBezTo>
                <a:cubicBezTo>
                  <a:pt x="632447" y="498373"/>
                  <a:pt x="633893" y="499009"/>
                  <a:pt x="634413" y="501902"/>
                </a:cubicBezTo>
                <a:cubicBezTo>
                  <a:pt x="634656" y="503724"/>
                  <a:pt x="634755" y="505563"/>
                  <a:pt x="634703" y="507397"/>
                </a:cubicBezTo>
                <a:cubicBezTo>
                  <a:pt x="634703" y="510983"/>
                  <a:pt x="647081" y="513181"/>
                  <a:pt x="661369" y="515379"/>
                </a:cubicBezTo>
                <a:lnTo>
                  <a:pt x="664666" y="515958"/>
                </a:lnTo>
                <a:cubicBezTo>
                  <a:pt x="670011" y="516727"/>
                  <a:pt x="675408" y="517074"/>
                  <a:pt x="680804" y="516999"/>
                </a:cubicBezTo>
                <a:cubicBezTo>
                  <a:pt x="693762" y="516999"/>
                  <a:pt x="708396" y="515611"/>
                  <a:pt x="717131" y="514743"/>
                </a:cubicBezTo>
                <a:lnTo>
                  <a:pt x="723725" y="514107"/>
                </a:lnTo>
                <a:cubicBezTo>
                  <a:pt x="728121" y="513760"/>
                  <a:pt x="729799" y="516478"/>
                  <a:pt x="731881" y="519602"/>
                </a:cubicBezTo>
                <a:cubicBezTo>
                  <a:pt x="735386" y="525577"/>
                  <a:pt x="741443" y="529603"/>
                  <a:pt x="748309" y="530535"/>
                </a:cubicBezTo>
                <a:cubicBezTo>
                  <a:pt x="749570" y="530760"/>
                  <a:pt x="750848" y="530876"/>
                  <a:pt x="752126" y="530882"/>
                </a:cubicBezTo>
                <a:cubicBezTo>
                  <a:pt x="758275" y="530454"/>
                  <a:pt x="764025" y="527654"/>
                  <a:pt x="768149" y="523073"/>
                </a:cubicBezTo>
                <a:cubicBezTo>
                  <a:pt x="770498" y="520337"/>
                  <a:pt x="773731" y="518515"/>
                  <a:pt x="777289" y="517924"/>
                </a:cubicBezTo>
                <a:cubicBezTo>
                  <a:pt x="779065" y="517976"/>
                  <a:pt x="780765" y="518653"/>
                  <a:pt x="782090" y="519833"/>
                </a:cubicBezTo>
                <a:cubicBezTo>
                  <a:pt x="784600" y="521349"/>
                  <a:pt x="786284" y="523923"/>
                  <a:pt x="786660" y="526832"/>
                </a:cubicBezTo>
                <a:cubicBezTo>
                  <a:pt x="786660" y="529898"/>
                  <a:pt x="783883" y="532212"/>
                  <a:pt x="780875" y="534641"/>
                </a:cubicBezTo>
                <a:cubicBezTo>
                  <a:pt x="779417" y="535816"/>
                  <a:pt x="778029" y="537071"/>
                  <a:pt x="776710" y="538401"/>
                </a:cubicBezTo>
                <a:cubicBezTo>
                  <a:pt x="776132" y="539095"/>
                  <a:pt x="775438" y="540079"/>
                  <a:pt x="775611" y="540715"/>
                </a:cubicBezTo>
                <a:cubicBezTo>
                  <a:pt x="775785" y="541351"/>
                  <a:pt x="779950" y="543318"/>
                  <a:pt x="783362" y="544302"/>
                </a:cubicBezTo>
                <a:cubicBezTo>
                  <a:pt x="785485" y="544839"/>
                  <a:pt x="787573" y="545510"/>
                  <a:pt x="789610" y="546326"/>
                </a:cubicBezTo>
                <a:lnTo>
                  <a:pt x="795394" y="548524"/>
                </a:lnTo>
                <a:cubicBezTo>
                  <a:pt x="805083" y="551364"/>
                  <a:pt x="814136" y="556038"/>
                  <a:pt x="822060" y="562291"/>
                </a:cubicBezTo>
                <a:cubicBezTo>
                  <a:pt x="823738" y="563969"/>
                  <a:pt x="825242" y="565704"/>
                  <a:pt x="826803" y="567381"/>
                </a:cubicBezTo>
                <a:cubicBezTo>
                  <a:pt x="834225" y="576174"/>
                  <a:pt x="843463" y="583254"/>
                  <a:pt x="853875" y="588147"/>
                </a:cubicBezTo>
                <a:cubicBezTo>
                  <a:pt x="855465" y="589067"/>
                  <a:pt x="857247" y="589623"/>
                  <a:pt x="859081" y="589767"/>
                </a:cubicBezTo>
                <a:cubicBezTo>
                  <a:pt x="859723" y="589819"/>
                  <a:pt x="860359" y="589588"/>
                  <a:pt x="860816" y="589131"/>
                </a:cubicBezTo>
                <a:cubicBezTo>
                  <a:pt x="862088" y="587742"/>
                  <a:pt x="861857" y="583983"/>
                  <a:pt x="861626" y="580917"/>
                </a:cubicBezTo>
                <a:cubicBezTo>
                  <a:pt x="861394" y="577851"/>
                  <a:pt x="861221" y="574785"/>
                  <a:pt x="862551" y="573339"/>
                </a:cubicBezTo>
                <a:cubicBezTo>
                  <a:pt x="863882" y="571893"/>
                  <a:pt x="866138" y="572240"/>
                  <a:pt x="869782" y="574901"/>
                </a:cubicBezTo>
                <a:cubicBezTo>
                  <a:pt x="877070" y="580107"/>
                  <a:pt x="879384" y="580281"/>
                  <a:pt x="881351" y="580685"/>
                </a:cubicBezTo>
                <a:cubicBezTo>
                  <a:pt x="883317" y="581090"/>
                  <a:pt x="885805" y="581264"/>
                  <a:pt x="891878" y="586470"/>
                </a:cubicBezTo>
                <a:cubicBezTo>
                  <a:pt x="895175" y="589478"/>
                  <a:pt x="896564" y="589825"/>
                  <a:pt x="897026" y="589825"/>
                </a:cubicBezTo>
                <a:cubicBezTo>
                  <a:pt x="897136" y="589889"/>
                  <a:pt x="897264" y="589889"/>
                  <a:pt x="897373" y="589825"/>
                </a:cubicBezTo>
                <a:cubicBezTo>
                  <a:pt x="899167" y="587395"/>
                  <a:pt x="894828" y="572472"/>
                  <a:pt x="892457" y="564778"/>
                </a:cubicBezTo>
                <a:cubicBezTo>
                  <a:pt x="890085" y="557085"/>
                  <a:pt x="890837" y="555697"/>
                  <a:pt x="891531" y="554713"/>
                </a:cubicBezTo>
                <a:cubicBezTo>
                  <a:pt x="891930" y="554193"/>
                  <a:pt x="892555" y="553892"/>
                  <a:pt x="893209" y="553904"/>
                </a:cubicBezTo>
                <a:cubicBezTo>
                  <a:pt x="897316" y="553904"/>
                  <a:pt x="905298" y="566167"/>
                  <a:pt x="905356" y="566282"/>
                </a:cubicBezTo>
                <a:cubicBezTo>
                  <a:pt x="911140" y="575364"/>
                  <a:pt x="911140" y="592081"/>
                  <a:pt x="907323" y="603013"/>
                </a:cubicBezTo>
                <a:cubicBezTo>
                  <a:pt x="906166" y="606646"/>
                  <a:pt x="902684" y="609029"/>
                  <a:pt x="898877" y="608798"/>
                </a:cubicBezTo>
                <a:cubicBezTo>
                  <a:pt x="894070" y="608694"/>
                  <a:pt x="889530" y="606594"/>
                  <a:pt x="886325" y="603013"/>
                </a:cubicBezTo>
                <a:cubicBezTo>
                  <a:pt x="885174" y="601723"/>
                  <a:pt x="884740" y="599948"/>
                  <a:pt x="885168" y="598270"/>
                </a:cubicBezTo>
                <a:cubicBezTo>
                  <a:pt x="885336" y="598004"/>
                  <a:pt x="885336" y="597669"/>
                  <a:pt x="885168" y="597403"/>
                </a:cubicBezTo>
                <a:cubicBezTo>
                  <a:pt x="884763" y="596882"/>
                  <a:pt x="883549" y="596361"/>
                  <a:pt x="881235" y="596361"/>
                </a:cubicBezTo>
                <a:cubicBezTo>
                  <a:pt x="876202" y="596361"/>
                  <a:pt x="868972" y="599080"/>
                  <a:pt x="868625" y="603534"/>
                </a:cubicBezTo>
                <a:cubicBezTo>
                  <a:pt x="868046" y="611632"/>
                  <a:pt x="881351" y="627366"/>
                  <a:pt x="890143" y="628986"/>
                </a:cubicBezTo>
                <a:cubicBezTo>
                  <a:pt x="896448" y="630200"/>
                  <a:pt x="896621" y="636158"/>
                  <a:pt x="896737" y="640959"/>
                </a:cubicBezTo>
                <a:cubicBezTo>
                  <a:pt x="896737" y="644835"/>
                  <a:pt x="896737" y="647264"/>
                  <a:pt x="898762" y="647785"/>
                </a:cubicBezTo>
                <a:cubicBezTo>
                  <a:pt x="903678" y="649289"/>
                  <a:pt x="905761" y="654610"/>
                  <a:pt x="907438" y="658891"/>
                </a:cubicBezTo>
                <a:cubicBezTo>
                  <a:pt x="908248" y="661031"/>
                  <a:pt x="909289" y="663750"/>
                  <a:pt x="910157" y="663750"/>
                </a:cubicBezTo>
                <a:lnTo>
                  <a:pt x="910620" y="663750"/>
                </a:lnTo>
                <a:cubicBezTo>
                  <a:pt x="911488" y="663108"/>
                  <a:pt x="912072" y="662153"/>
                  <a:pt x="912240" y="661089"/>
                </a:cubicBezTo>
                <a:cubicBezTo>
                  <a:pt x="913622" y="652366"/>
                  <a:pt x="912054" y="643429"/>
                  <a:pt x="907785" y="635695"/>
                </a:cubicBezTo>
                <a:cubicBezTo>
                  <a:pt x="904402" y="630721"/>
                  <a:pt x="903725" y="624381"/>
                  <a:pt x="905992" y="618805"/>
                </a:cubicBezTo>
                <a:cubicBezTo>
                  <a:pt x="907259" y="616017"/>
                  <a:pt x="910481" y="614698"/>
                  <a:pt x="913339" y="615797"/>
                </a:cubicBezTo>
                <a:cubicBezTo>
                  <a:pt x="918371" y="617475"/>
                  <a:pt x="917677" y="622970"/>
                  <a:pt x="917041" y="627829"/>
                </a:cubicBezTo>
                <a:cubicBezTo>
                  <a:pt x="916636" y="630894"/>
                  <a:pt x="916231" y="634134"/>
                  <a:pt x="917445" y="635580"/>
                </a:cubicBezTo>
                <a:cubicBezTo>
                  <a:pt x="917758" y="636008"/>
                  <a:pt x="918244" y="636285"/>
                  <a:pt x="918776" y="636332"/>
                </a:cubicBezTo>
                <a:cubicBezTo>
                  <a:pt x="920049" y="636332"/>
                  <a:pt x="921899" y="634596"/>
                  <a:pt x="924155" y="632572"/>
                </a:cubicBezTo>
                <a:cubicBezTo>
                  <a:pt x="926677" y="630160"/>
                  <a:pt x="929448" y="628025"/>
                  <a:pt x="932427" y="626209"/>
                </a:cubicBezTo>
                <a:cubicBezTo>
                  <a:pt x="936187" y="624069"/>
                  <a:pt x="935146" y="619846"/>
                  <a:pt x="932890" y="613136"/>
                </a:cubicBezTo>
                <a:cubicBezTo>
                  <a:pt x="930981" y="609284"/>
                  <a:pt x="930431" y="604905"/>
                  <a:pt x="931328" y="600700"/>
                </a:cubicBezTo>
                <a:cubicBezTo>
                  <a:pt x="931739" y="599103"/>
                  <a:pt x="933156" y="597975"/>
                  <a:pt x="934799" y="597923"/>
                </a:cubicBezTo>
                <a:cubicBezTo>
                  <a:pt x="939831" y="597923"/>
                  <a:pt x="946888" y="609492"/>
                  <a:pt x="949780" y="619615"/>
                </a:cubicBezTo>
                <a:cubicBezTo>
                  <a:pt x="951805" y="625023"/>
                  <a:pt x="949537" y="631091"/>
                  <a:pt x="944459" y="633844"/>
                </a:cubicBezTo>
                <a:cubicBezTo>
                  <a:pt x="942145" y="635580"/>
                  <a:pt x="940757" y="636737"/>
                  <a:pt x="940757" y="638703"/>
                </a:cubicBezTo>
                <a:cubicBezTo>
                  <a:pt x="940757" y="643620"/>
                  <a:pt x="935724" y="644488"/>
                  <a:pt x="931675" y="644893"/>
                </a:cubicBezTo>
                <a:cubicBezTo>
                  <a:pt x="929396" y="644904"/>
                  <a:pt x="927169" y="645564"/>
                  <a:pt x="925254" y="646801"/>
                </a:cubicBezTo>
                <a:cubicBezTo>
                  <a:pt x="923172" y="648884"/>
                  <a:pt x="922998" y="662477"/>
                  <a:pt x="925602" y="669939"/>
                </a:cubicBezTo>
                <a:cubicBezTo>
                  <a:pt x="926701" y="673121"/>
                  <a:pt x="927742" y="673121"/>
                  <a:pt x="927626" y="673121"/>
                </a:cubicBezTo>
                <a:cubicBezTo>
                  <a:pt x="929072" y="673121"/>
                  <a:pt x="930981" y="668956"/>
                  <a:pt x="932080" y="666526"/>
                </a:cubicBezTo>
                <a:cubicBezTo>
                  <a:pt x="933642" y="663056"/>
                  <a:pt x="934741" y="660742"/>
                  <a:pt x="936592" y="660742"/>
                </a:cubicBezTo>
                <a:cubicBezTo>
                  <a:pt x="938443" y="660742"/>
                  <a:pt x="938964" y="662709"/>
                  <a:pt x="939484" y="664444"/>
                </a:cubicBezTo>
                <a:cubicBezTo>
                  <a:pt x="940005" y="666179"/>
                  <a:pt x="940294" y="666295"/>
                  <a:pt x="940872" y="666295"/>
                </a:cubicBezTo>
                <a:cubicBezTo>
                  <a:pt x="941451" y="666295"/>
                  <a:pt x="944632" y="664039"/>
                  <a:pt x="946657" y="662246"/>
                </a:cubicBezTo>
                <a:cubicBezTo>
                  <a:pt x="948681" y="660453"/>
                  <a:pt x="951574" y="657619"/>
                  <a:pt x="953772" y="657619"/>
                </a:cubicBezTo>
                <a:cubicBezTo>
                  <a:pt x="954871" y="657619"/>
                  <a:pt x="956375" y="658139"/>
                  <a:pt x="957184" y="660800"/>
                </a:cubicBezTo>
                <a:cubicBezTo>
                  <a:pt x="959788" y="669187"/>
                  <a:pt x="971414" y="678500"/>
                  <a:pt x="977314" y="678500"/>
                </a:cubicBezTo>
                <a:cubicBezTo>
                  <a:pt x="977754" y="678599"/>
                  <a:pt x="978205" y="678599"/>
                  <a:pt x="978645" y="678500"/>
                </a:cubicBezTo>
                <a:cubicBezTo>
                  <a:pt x="979536" y="678170"/>
                  <a:pt x="980016" y="677210"/>
                  <a:pt x="979744" y="676302"/>
                </a:cubicBezTo>
                <a:cubicBezTo>
                  <a:pt x="977881" y="671374"/>
                  <a:pt x="973410" y="667909"/>
                  <a:pt x="968175" y="667336"/>
                </a:cubicBezTo>
                <a:cubicBezTo>
                  <a:pt x="964056" y="666966"/>
                  <a:pt x="960991" y="663362"/>
                  <a:pt x="961291" y="659238"/>
                </a:cubicBezTo>
                <a:cubicBezTo>
                  <a:pt x="960996" y="654674"/>
                  <a:pt x="964230" y="650631"/>
                  <a:pt x="968753" y="649925"/>
                </a:cubicBezTo>
                <a:cubicBezTo>
                  <a:pt x="972571" y="649578"/>
                  <a:pt x="976967" y="653396"/>
                  <a:pt x="979917" y="656577"/>
                </a:cubicBezTo>
                <a:cubicBezTo>
                  <a:pt x="985702" y="662882"/>
                  <a:pt x="991486" y="673179"/>
                  <a:pt x="991197" y="678442"/>
                </a:cubicBezTo>
                <a:cubicBezTo>
                  <a:pt x="990908" y="683706"/>
                  <a:pt x="987842" y="685095"/>
                  <a:pt x="984429" y="687177"/>
                </a:cubicBezTo>
                <a:cubicBezTo>
                  <a:pt x="981676" y="688733"/>
                  <a:pt x="979160" y="690682"/>
                  <a:pt x="976967" y="692961"/>
                </a:cubicBezTo>
                <a:cubicBezTo>
                  <a:pt x="975920" y="694188"/>
                  <a:pt x="974410" y="694922"/>
                  <a:pt x="972802" y="694986"/>
                </a:cubicBezTo>
                <a:cubicBezTo>
                  <a:pt x="969390" y="694986"/>
                  <a:pt x="965977" y="691689"/>
                  <a:pt x="962448" y="688276"/>
                </a:cubicBezTo>
                <a:cubicBezTo>
                  <a:pt x="958920" y="684863"/>
                  <a:pt x="955738" y="681797"/>
                  <a:pt x="952846" y="681797"/>
                </a:cubicBezTo>
                <a:lnTo>
                  <a:pt x="952846" y="681797"/>
                </a:lnTo>
                <a:cubicBezTo>
                  <a:pt x="951226" y="681797"/>
                  <a:pt x="950879" y="682549"/>
                  <a:pt x="950764" y="682781"/>
                </a:cubicBezTo>
                <a:cubicBezTo>
                  <a:pt x="949491" y="684979"/>
                  <a:pt x="952499" y="691168"/>
                  <a:pt x="954929" y="696085"/>
                </a:cubicBezTo>
                <a:cubicBezTo>
                  <a:pt x="955796" y="697936"/>
                  <a:pt x="956722" y="699729"/>
                  <a:pt x="957416" y="701406"/>
                </a:cubicBezTo>
                <a:cubicBezTo>
                  <a:pt x="958561" y="705635"/>
                  <a:pt x="958064" y="710141"/>
                  <a:pt x="956028" y="714017"/>
                </a:cubicBezTo>
                <a:cubicBezTo>
                  <a:pt x="954061" y="719454"/>
                  <a:pt x="952383" y="724197"/>
                  <a:pt x="957589" y="727610"/>
                </a:cubicBezTo>
                <a:cubicBezTo>
                  <a:pt x="958902" y="728628"/>
                  <a:pt x="960458" y="729287"/>
                  <a:pt x="962101" y="729519"/>
                </a:cubicBezTo>
                <a:cubicBezTo>
                  <a:pt x="963489" y="729519"/>
                  <a:pt x="963894" y="727899"/>
                  <a:pt x="964184" y="724024"/>
                </a:cubicBezTo>
                <a:cubicBezTo>
                  <a:pt x="964230" y="722335"/>
                  <a:pt x="964502" y="720663"/>
                  <a:pt x="964993" y="719049"/>
                </a:cubicBezTo>
                <a:cubicBezTo>
                  <a:pt x="965508" y="717516"/>
                  <a:pt x="966966" y="716504"/>
                  <a:pt x="968580" y="716562"/>
                </a:cubicBezTo>
                <a:cubicBezTo>
                  <a:pt x="973612" y="717829"/>
                  <a:pt x="978222" y="720403"/>
                  <a:pt x="981942" y="724024"/>
                </a:cubicBezTo>
                <a:cubicBezTo>
                  <a:pt x="982208" y="724284"/>
                  <a:pt x="982555" y="724446"/>
                  <a:pt x="982925" y="724486"/>
                </a:cubicBezTo>
                <a:cubicBezTo>
                  <a:pt x="984660" y="724486"/>
                  <a:pt x="986164" y="717603"/>
                  <a:pt x="986164" y="709736"/>
                </a:cubicBezTo>
                <a:cubicBezTo>
                  <a:pt x="986031" y="707729"/>
                  <a:pt x="987547" y="705994"/>
                  <a:pt x="989554" y="705855"/>
                </a:cubicBezTo>
                <a:cubicBezTo>
                  <a:pt x="989739" y="705843"/>
                  <a:pt x="989919" y="705843"/>
                  <a:pt x="990098" y="705861"/>
                </a:cubicBezTo>
                <a:cubicBezTo>
                  <a:pt x="995107" y="706688"/>
                  <a:pt x="999503" y="709667"/>
                  <a:pt x="1002129" y="714017"/>
                </a:cubicBezTo>
                <a:cubicBezTo>
                  <a:pt x="1003113" y="715405"/>
                  <a:pt x="1003576" y="715463"/>
                  <a:pt x="1003633" y="715463"/>
                </a:cubicBezTo>
                <a:cubicBezTo>
                  <a:pt x="1003691" y="715463"/>
                  <a:pt x="1005195" y="713785"/>
                  <a:pt x="1005889" y="712686"/>
                </a:cubicBezTo>
                <a:cubicBezTo>
                  <a:pt x="1007625" y="709794"/>
                  <a:pt x="1009881" y="706092"/>
                  <a:pt x="1014103" y="706902"/>
                </a:cubicBezTo>
                <a:cubicBezTo>
                  <a:pt x="1015584" y="707058"/>
                  <a:pt x="1016932" y="707839"/>
                  <a:pt x="1017805" y="709042"/>
                </a:cubicBezTo>
                <a:cubicBezTo>
                  <a:pt x="1019384" y="712895"/>
                  <a:pt x="1019529" y="717181"/>
                  <a:pt x="1018210" y="721131"/>
                </a:cubicBezTo>
                <a:cubicBezTo>
                  <a:pt x="1017788" y="723191"/>
                  <a:pt x="1017539" y="725279"/>
                  <a:pt x="1017458" y="727379"/>
                </a:cubicBezTo>
                <a:cubicBezTo>
                  <a:pt x="1017458" y="728304"/>
                  <a:pt x="1017458" y="728304"/>
                  <a:pt x="1018037" y="728304"/>
                </a:cubicBezTo>
                <a:cubicBezTo>
                  <a:pt x="1019448" y="728107"/>
                  <a:pt x="1020819" y="727680"/>
                  <a:pt x="1022086" y="727032"/>
                </a:cubicBezTo>
                <a:cubicBezTo>
                  <a:pt x="1023237" y="725875"/>
                  <a:pt x="1024590" y="724932"/>
                  <a:pt x="1026077" y="724255"/>
                </a:cubicBezTo>
                <a:close/>
                <a:moveTo>
                  <a:pt x="370759" y="648363"/>
                </a:moveTo>
                <a:cubicBezTo>
                  <a:pt x="367659" y="648039"/>
                  <a:pt x="364946" y="646136"/>
                  <a:pt x="363586" y="643331"/>
                </a:cubicBezTo>
                <a:cubicBezTo>
                  <a:pt x="360041" y="637627"/>
                  <a:pt x="359294" y="630622"/>
                  <a:pt x="361562" y="624300"/>
                </a:cubicBezTo>
                <a:cubicBezTo>
                  <a:pt x="364107" y="619268"/>
                  <a:pt x="369429" y="619268"/>
                  <a:pt x="374288" y="619383"/>
                </a:cubicBezTo>
                <a:lnTo>
                  <a:pt x="376081" y="619383"/>
                </a:lnTo>
                <a:cubicBezTo>
                  <a:pt x="379609" y="619383"/>
                  <a:pt x="381055" y="618863"/>
                  <a:pt x="381460" y="617243"/>
                </a:cubicBezTo>
                <a:cubicBezTo>
                  <a:pt x="384219" y="611412"/>
                  <a:pt x="388274" y="606287"/>
                  <a:pt x="393318" y="602261"/>
                </a:cubicBezTo>
                <a:cubicBezTo>
                  <a:pt x="397078" y="598502"/>
                  <a:pt x="401359" y="594221"/>
                  <a:pt x="405928" y="588899"/>
                </a:cubicBezTo>
                <a:cubicBezTo>
                  <a:pt x="412696" y="581148"/>
                  <a:pt x="419580" y="576521"/>
                  <a:pt x="424381" y="576521"/>
                </a:cubicBezTo>
                <a:cubicBezTo>
                  <a:pt x="425746" y="576463"/>
                  <a:pt x="427071" y="576989"/>
                  <a:pt x="428025" y="577967"/>
                </a:cubicBezTo>
                <a:cubicBezTo>
                  <a:pt x="428950" y="579054"/>
                  <a:pt x="429355" y="580489"/>
                  <a:pt x="429124" y="581900"/>
                </a:cubicBezTo>
                <a:cubicBezTo>
                  <a:pt x="429124" y="584445"/>
                  <a:pt x="431206" y="586470"/>
                  <a:pt x="433231" y="588321"/>
                </a:cubicBezTo>
                <a:cubicBezTo>
                  <a:pt x="435255" y="590172"/>
                  <a:pt x="436702" y="591387"/>
                  <a:pt x="436528" y="593180"/>
                </a:cubicBezTo>
                <a:cubicBezTo>
                  <a:pt x="436210" y="594522"/>
                  <a:pt x="435261" y="595621"/>
                  <a:pt x="433983" y="596130"/>
                </a:cubicBezTo>
                <a:cubicBezTo>
                  <a:pt x="430987" y="597564"/>
                  <a:pt x="427817" y="598617"/>
                  <a:pt x="424554" y="599254"/>
                </a:cubicBezTo>
                <a:cubicBezTo>
                  <a:pt x="419811" y="600410"/>
                  <a:pt x="414952" y="601683"/>
                  <a:pt x="415184" y="604113"/>
                </a:cubicBezTo>
                <a:cubicBezTo>
                  <a:pt x="415415" y="606542"/>
                  <a:pt x="417729" y="607294"/>
                  <a:pt x="419985" y="608856"/>
                </a:cubicBezTo>
                <a:cubicBezTo>
                  <a:pt x="423918" y="611459"/>
                  <a:pt x="429240" y="615103"/>
                  <a:pt x="425306" y="621176"/>
                </a:cubicBezTo>
                <a:cubicBezTo>
                  <a:pt x="419522" y="630085"/>
                  <a:pt x="394475" y="647149"/>
                  <a:pt x="388633" y="647149"/>
                </a:cubicBezTo>
                <a:cubicBezTo>
                  <a:pt x="386840" y="647108"/>
                  <a:pt x="385099" y="646564"/>
                  <a:pt x="383600" y="645587"/>
                </a:cubicBezTo>
                <a:cubicBezTo>
                  <a:pt x="382658" y="644939"/>
                  <a:pt x="381559" y="644563"/>
                  <a:pt x="380419" y="644488"/>
                </a:cubicBezTo>
                <a:cubicBezTo>
                  <a:pt x="378279" y="644702"/>
                  <a:pt x="376260" y="645569"/>
                  <a:pt x="374635" y="646975"/>
                </a:cubicBezTo>
                <a:cubicBezTo>
                  <a:pt x="373518" y="647825"/>
                  <a:pt x="372165" y="648311"/>
                  <a:pt x="370759" y="648363"/>
                </a:cubicBezTo>
                <a:close/>
                <a:moveTo>
                  <a:pt x="372263" y="621639"/>
                </a:moveTo>
                <a:cubicBezTo>
                  <a:pt x="368156" y="621639"/>
                  <a:pt x="365148" y="622218"/>
                  <a:pt x="363586" y="625341"/>
                </a:cubicBezTo>
                <a:cubicBezTo>
                  <a:pt x="361666" y="630952"/>
                  <a:pt x="362366" y="637136"/>
                  <a:pt x="365495" y="642174"/>
                </a:cubicBezTo>
                <a:cubicBezTo>
                  <a:pt x="367867" y="645934"/>
                  <a:pt x="370643" y="647091"/>
                  <a:pt x="373420" y="645124"/>
                </a:cubicBezTo>
                <a:cubicBezTo>
                  <a:pt x="375404" y="643470"/>
                  <a:pt x="377845" y="642457"/>
                  <a:pt x="380419" y="642232"/>
                </a:cubicBezTo>
                <a:cubicBezTo>
                  <a:pt x="381946" y="642284"/>
                  <a:pt x="383433" y="642764"/>
                  <a:pt x="384700" y="643620"/>
                </a:cubicBezTo>
                <a:cubicBezTo>
                  <a:pt x="385862" y="644407"/>
                  <a:pt x="387227" y="644852"/>
                  <a:pt x="388633" y="644893"/>
                </a:cubicBezTo>
                <a:cubicBezTo>
                  <a:pt x="393203" y="644893"/>
                  <a:pt x="417555" y="628696"/>
                  <a:pt x="423340" y="619962"/>
                </a:cubicBezTo>
                <a:cubicBezTo>
                  <a:pt x="425885" y="616028"/>
                  <a:pt x="423340" y="613830"/>
                  <a:pt x="418712" y="610707"/>
                </a:cubicBezTo>
                <a:cubicBezTo>
                  <a:pt x="415878" y="608798"/>
                  <a:pt x="413217" y="607005"/>
                  <a:pt x="412928" y="604344"/>
                </a:cubicBezTo>
                <a:cubicBezTo>
                  <a:pt x="412407" y="599948"/>
                  <a:pt x="418018" y="598559"/>
                  <a:pt x="423976" y="597056"/>
                </a:cubicBezTo>
                <a:cubicBezTo>
                  <a:pt x="427042" y="596425"/>
                  <a:pt x="430032" y="595453"/>
                  <a:pt x="432884" y="594163"/>
                </a:cubicBezTo>
                <a:cubicBezTo>
                  <a:pt x="434041" y="593469"/>
                  <a:pt x="434214" y="593064"/>
                  <a:pt x="434214" y="592948"/>
                </a:cubicBezTo>
                <a:cubicBezTo>
                  <a:pt x="434214" y="592833"/>
                  <a:pt x="432826" y="591040"/>
                  <a:pt x="431669" y="589999"/>
                </a:cubicBezTo>
                <a:cubicBezTo>
                  <a:pt x="428817" y="588153"/>
                  <a:pt x="427018" y="585059"/>
                  <a:pt x="426810" y="581669"/>
                </a:cubicBezTo>
                <a:cubicBezTo>
                  <a:pt x="426949" y="580894"/>
                  <a:pt x="426758" y="580101"/>
                  <a:pt x="426290" y="579471"/>
                </a:cubicBezTo>
                <a:cubicBezTo>
                  <a:pt x="424381" y="577388"/>
                  <a:pt x="417092" y="579471"/>
                  <a:pt x="407606" y="590403"/>
                </a:cubicBezTo>
                <a:cubicBezTo>
                  <a:pt x="402921" y="595783"/>
                  <a:pt x="398640" y="600063"/>
                  <a:pt x="394822" y="603881"/>
                </a:cubicBezTo>
                <a:cubicBezTo>
                  <a:pt x="390108" y="607653"/>
                  <a:pt x="386279" y="612413"/>
                  <a:pt x="383600" y="617822"/>
                </a:cubicBezTo>
                <a:cubicBezTo>
                  <a:pt x="382559" y="621697"/>
                  <a:pt x="378337" y="621697"/>
                  <a:pt x="376023" y="621697"/>
                </a:cubicBezTo>
                <a:lnTo>
                  <a:pt x="372437" y="621697"/>
                </a:lnTo>
                <a:close/>
                <a:moveTo>
                  <a:pt x="48335" y="532443"/>
                </a:moveTo>
                <a:lnTo>
                  <a:pt x="48335" y="532443"/>
                </a:lnTo>
                <a:cubicBezTo>
                  <a:pt x="36766" y="532443"/>
                  <a:pt x="19413" y="527411"/>
                  <a:pt x="16752" y="519139"/>
                </a:cubicBezTo>
                <a:cubicBezTo>
                  <a:pt x="16214" y="517126"/>
                  <a:pt x="16665" y="514980"/>
                  <a:pt x="17967" y="513355"/>
                </a:cubicBezTo>
                <a:cubicBezTo>
                  <a:pt x="22409" y="508403"/>
                  <a:pt x="28674" y="505482"/>
                  <a:pt x="35320" y="505257"/>
                </a:cubicBezTo>
                <a:cubicBezTo>
                  <a:pt x="39774" y="505257"/>
                  <a:pt x="42551" y="507165"/>
                  <a:pt x="42956" y="510405"/>
                </a:cubicBezTo>
                <a:cubicBezTo>
                  <a:pt x="43360" y="513644"/>
                  <a:pt x="44170" y="512892"/>
                  <a:pt x="44691" y="512892"/>
                </a:cubicBezTo>
                <a:cubicBezTo>
                  <a:pt x="46351" y="512643"/>
                  <a:pt x="47953" y="512117"/>
                  <a:pt x="49434" y="511330"/>
                </a:cubicBezTo>
                <a:cubicBezTo>
                  <a:pt x="51829" y="510092"/>
                  <a:pt x="54443" y="509346"/>
                  <a:pt x="57127" y="509132"/>
                </a:cubicBezTo>
                <a:cubicBezTo>
                  <a:pt x="58921" y="509080"/>
                  <a:pt x="60656" y="509722"/>
                  <a:pt x="61986" y="510925"/>
                </a:cubicBezTo>
                <a:cubicBezTo>
                  <a:pt x="65041" y="513604"/>
                  <a:pt x="66469" y="517687"/>
                  <a:pt x="65746" y="521684"/>
                </a:cubicBezTo>
                <a:cubicBezTo>
                  <a:pt x="64531" y="526468"/>
                  <a:pt x="60881" y="530251"/>
                  <a:pt x="56144" y="531634"/>
                </a:cubicBezTo>
                <a:cubicBezTo>
                  <a:pt x="53651" y="532270"/>
                  <a:pt x="51077" y="532542"/>
                  <a:pt x="48509" y="532443"/>
                </a:cubicBezTo>
                <a:close/>
                <a:moveTo>
                  <a:pt x="35551" y="507281"/>
                </a:moveTo>
                <a:cubicBezTo>
                  <a:pt x="29547" y="507431"/>
                  <a:pt x="23867" y="510017"/>
                  <a:pt x="19818" y="514454"/>
                </a:cubicBezTo>
                <a:cubicBezTo>
                  <a:pt x="18852" y="515541"/>
                  <a:pt x="18505" y="517045"/>
                  <a:pt x="18892" y="518445"/>
                </a:cubicBezTo>
                <a:cubicBezTo>
                  <a:pt x="21090" y="524981"/>
                  <a:pt x="36766" y="530014"/>
                  <a:pt x="48335" y="530014"/>
                </a:cubicBezTo>
                <a:lnTo>
                  <a:pt x="48335" y="530014"/>
                </a:lnTo>
                <a:cubicBezTo>
                  <a:pt x="50799" y="530089"/>
                  <a:pt x="53258" y="529777"/>
                  <a:pt x="55623" y="529088"/>
                </a:cubicBezTo>
                <a:cubicBezTo>
                  <a:pt x="59609" y="527978"/>
                  <a:pt x="62698" y="524825"/>
                  <a:pt x="63722" y="520817"/>
                </a:cubicBezTo>
                <a:cubicBezTo>
                  <a:pt x="64393" y="517606"/>
                  <a:pt x="63236" y="514292"/>
                  <a:pt x="60714" y="512198"/>
                </a:cubicBezTo>
                <a:cubicBezTo>
                  <a:pt x="59788" y="511382"/>
                  <a:pt x="58591" y="510948"/>
                  <a:pt x="57359" y="510983"/>
                </a:cubicBezTo>
                <a:cubicBezTo>
                  <a:pt x="54976" y="511209"/>
                  <a:pt x="52656" y="511897"/>
                  <a:pt x="50533" y="513008"/>
                </a:cubicBezTo>
                <a:cubicBezTo>
                  <a:pt x="48728" y="513945"/>
                  <a:pt x="46767" y="514529"/>
                  <a:pt x="44749" y="514743"/>
                </a:cubicBezTo>
                <a:cubicBezTo>
                  <a:pt x="43187" y="514743"/>
                  <a:pt x="41220" y="513933"/>
                  <a:pt x="40757" y="510289"/>
                </a:cubicBezTo>
                <a:cubicBezTo>
                  <a:pt x="40700" y="507860"/>
                  <a:pt x="37923" y="507281"/>
                  <a:pt x="35609" y="50728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99" name="Forma libre: forma 398">
            <a:extLst>
              <a:ext uri="{FF2B5EF4-FFF2-40B4-BE49-F238E27FC236}">
                <a16:creationId xmlns:a16="http://schemas.microsoft.com/office/drawing/2014/main" id="{2D4DE56B-9EA9-89E1-C4A4-63719997AA20}"/>
              </a:ext>
            </a:extLst>
          </p:cNvPr>
          <p:cNvSpPr/>
          <p:nvPr/>
        </p:nvSpPr>
        <p:spPr>
          <a:xfrm>
            <a:off x="5932805" y="3192272"/>
            <a:ext cx="348284" cy="250755"/>
          </a:xfrm>
          <a:custGeom>
            <a:avLst/>
            <a:gdLst>
              <a:gd name="connsiteX0" fmla="*/ 100134 w 348284"/>
              <a:gd name="connsiteY0" fmla="*/ 250395 h 250755"/>
              <a:gd name="connsiteX1" fmla="*/ 80005 w 348284"/>
              <a:gd name="connsiteY1" fmla="*/ 232636 h 250755"/>
              <a:gd name="connsiteX2" fmla="*/ 68031 w 348284"/>
              <a:gd name="connsiteY2" fmla="*/ 218754 h 250755"/>
              <a:gd name="connsiteX3" fmla="*/ 54206 w 348284"/>
              <a:gd name="connsiteY3" fmla="*/ 217771 h 250755"/>
              <a:gd name="connsiteX4" fmla="*/ 53049 w 348284"/>
              <a:gd name="connsiteY4" fmla="*/ 217250 h 250755"/>
              <a:gd name="connsiteX5" fmla="*/ 48884 w 348284"/>
              <a:gd name="connsiteY5" fmla="*/ 207706 h 250755"/>
              <a:gd name="connsiteX6" fmla="*/ 60453 w 348284"/>
              <a:gd name="connsiteY6" fmla="*/ 189947 h 250755"/>
              <a:gd name="connsiteX7" fmla="*/ 63519 w 348284"/>
              <a:gd name="connsiteY7" fmla="*/ 188386 h 250755"/>
              <a:gd name="connsiteX8" fmla="*/ 56520 w 348284"/>
              <a:gd name="connsiteY8" fmla="*/ 180287 h 250755"/>
              <a:gd name="connsiteX9" fmla="*/ 53917 w 348284"/>
              <a:gd name="connsiteY9" fmla="*/ 178031 h 250755"/>
              <a:gd name="connsiteX10" fmla="*/ 53917 w 348284"/>
              <a:gd name="connsiteY10" fmla="*/ 168314 h 250755"/>
              <a:gd name="connsiteX11" fmla="*/ 61726 w 348284"/>
              <a:gd name="connsiteY11" fmla="*/ 161430 h 250755"/>
              <a:gd name="connsiteX12" fmla="*/ 62941 w 348284"/>
              <a:gd name="connsiteY12" fmla="*/ 161141 h 250755"/>
              <a:gd name="connsiteX13" fmla="*/ 53049 w 348284"/>
              <a:gd name="connsiteY13" fmla="*/ 148589 h 250755"/>
              <a:gd name="connsiteX14" fmla="*/ 49752 w 348284"/>
              <a:gd name="connsiteY14" fmla="*/ 140317 h 250755"/>
              <a:gd name="connsiteX15" fmla="*/ 60742 w 348284"/>
              <a:gd name="connsiteY15" fmla="*/ 135863 h 250755"/>
              <a:gd name="connsiteX16" fmla="*/ 62073 w 348284"/>
              <a:gd name="connsiteY16" fmla="*/ 135516 h 250755"/>
              <a:gd name="connsiteX17" fmla="*/ 62073 w 348284"/>
              <a:gd name="connsiteY17" fmla="*/ 130715 h 250755"/>
              <a:gd name="connsiteX18" fmla="*/ 64734 w 348284"/>
              <a:gd name="connsiteY18" fmla="*/ 117526 h 250755"/>
              <a:gd name="connsiteX19" fmla="*/ 64734 w 348284"/>
              <a:gd name="connsiteY19" fmla="*/ 100462 h 250755"/>
              <a:gd name="connsiteX20" fmla="*/ 62767 w 348284"/>
              <a:gd name="connsiteY20" fmla="*/ 92769 h 250755"/>
              <a:gd name="connsiteX21" fmla="*/ 71039 w 348284"/>
              <a:gd name="connsiteY21" fmla="*/ 83514 h 250755"/>
              <a:gd name="connsiteX22" fmla="*/ 80815 w 348284"/>
              <a:gd name="connsiteY22" fmla="*/ 76226 h 250755"/>
              <a:gd name="connsiteX23" fmla="*/ 82781 w 348284"/>
              <a:gd name="connsiteY23" fmla="*/ 73218 h 250755"/>
              <a:gd name="connsiteX24" fmla="*/ 79542 w 348284"/>
              <a:gd name="connsiteY24" fmla="*/ 71540 h 250755"/>
              <a:gd name="connsiteX25" fmla="*/ 73757 w 348284"/>
              <a:gd name="connsiteY25" fmla="*/ 66218 h 250755"/>
              <a:gd name="connsiteX26" fmla="*/ 66816 w 348284"/>
              <a:gd name="connsiteY26" fmla="*/ 61649 h 250755"/>
              <a:gd name="connsiteX27" fmla="*/ 58833 w 348284"/>
              <a:gd name="connsiteY27" fmla="*/ 64194 h 250755"/>
              <a:gd name="connsiteX28" fmla="*/ 53628 w 348284"/>
              <a:gd name="connsiteY28" fmla="*/ 66623 h 250755"/>
              <a:gd name="connsiteX29" fmla="*/ 51025 w 348284"/>
              <a:gd name="connsiteY29" fmla="*/ 65640 h 250755"/>
              <a:gd name="connsiteX30" fmla="*/ 47380 w 348284"/>
              <a:gd name="connsiteY30" fmla="*/ 64425 h 250755"/>
              <a:gd name="connsiteX31" fmla="*/ 43678 w 348284"/>
              <a:gd name="connsiteY31" fmla="*/ 64425 h 250755"/>
              <a:gd name="connsiteX32" fmla="*/ 38935 w 348284"/>
              <a:gd name="connsiteY32" fmla="*/ 64425 h 250755"/>
              <a:gd name="connsiteX33" fmla="*/ 29507 w 348284"/>
              <a:gd name="connsiteY33" fmla="*/ 58988 h 250755"/>
              <a:gd name="connsiteX34" fmla="*/ 27135 w 348284"/>
              <a:gd name="connsiteY34" fmla="*/ 55170 h 250755"/>
              <a:gd name="connsiteX35" fmla="*/ 21698 w 348284"/>
              <a:gd name="connsiteY35" fmla="*/ 58756 h 250755"/>
              <a:gd name="connsiteX36" fmla="*/ 13715 w 348284"/>
              <a:gd name="connsiteY36" fmla="*/ 62227 h 250755"/>
              <a:gd name="connsiteX37" fmla="*/ 12790 w 348284"/>
              <a:gd name="connsiteY37" fmla="*/ 61880 h 250755"/>
              <a:gd name="connsiteX38" fmla="*/ 12443 w 348284"/>
              <a:gd name="connsiteY38" fmla="*/ 61012 h 250755"/>
              <a:gd name="connsiteX39" fmla="*/ 7931 w 348284"/>
              <a:gd name="connsiteY39" fmla="*/ 35330 h 250755"/>
              <a:gd name="connsiteX40" fmla="*/ 295 w 348284"/>
              <a:gd name="connsiteY40" fmla="*/ 20406 h 250755"/>
              <a:gd name="connsiteX41" fmla="*/ 14699 w 348284"/>
              <a:gd name="connsiteY41" fmla="*/ 13464 h 250755"/>
              <a:gd name="connsiteX42" fmla="*/ 27424 w 348284"/>
              <a:gd name="connsiteY42" fmla="*/ 5887 h 250755"/>
              <a:gd name="connsiteX43" fmla="*/ 37026 w 348284"/>
              <a:gd name="connsiteY43" fmla="*/ -129 h 250755"/>
              <a:gd name="connsiteX44" fmla="*/ 48595 w 348284"/>
              <a:gd name="connsiteY44" fmla="*/ 3631 h 250755"/>
              <a:gd name="connsiteX45" fmla="*/ 70229 w 348284"/>
              <a:gd name="connsiteY45" fmla="*/ 8374 h 250755"/>
              <a:gd name="connsiteX46" fmla="*/ 82434 w 348284"/>
              <a:gd name="connsiteY46" fmla="*/ 7969 h 250755"/>
              <a:gd name="connsiteX47" fmla="*/ 115695 w 348284"/>
              <a:gd name="connsiteY47" fmla="*/ 8895 h 250755"/>
              <a:gd name="connsiteX48" fmla="*/ 147451 w 348284"/>
              <a:gd name="connsiteY48" fmla="*/ 9705 h 250755"/>
              <a:gd name="connsiteX49" fmla="*/ 160235 w 348284"/>
              <a:gd name="connsiteY49" fmla="*/ 9184 h 250755"/>
              <a:gd name="connsiteX50" fmla="*/ 165267 w 348284"/>
              <a:gd name="connsiteY50" fmla="*/ 8895 h 250755"/>
              <a:gd name="connsiteX51" fmla="*/ 189793 w 348284"/>
              <a:gd name="connsiteY51" fmla="*/ 12192 h 250755"/>
              <a:gd name="connsiteX52" fmla="*/ 207146 w 348284"/>
              <a:gd name="connsiteY52" fmla="*/ 14332 h 250755"/>
              <a:gd name="connsiteX53" fmla="*/ 207840 w 348284"/>
              <a:gd name="connsiteY53" fmla="*/ 14332 h 250755"/>
              <a:gd name="connsiteX54" fmla="*/ 214435 w 348284"/>
              <a:gd name="connsiteY54" fmla="*/ 17456 h 250755"/>
              <a:gd name="connsiteX55" fmla="*/ 223516 w 348284"/>
              <a:gd name="connsiteY55" fmla="*/ 22141 h 250755"/>
              <a:gd name="connsiteX56" fmla="*/ 235490 w 348284"/>
              <a:gd name="connsiteY56" fmla="*/ 27926 h 250755"/>
              <a:gd name="connsiteX57" fmla="*/ 250009 w 348284"/>
              <a:gd name="connsiteY57" fmla="*/ 34925 h 250755"/>
              <a:gd name="connsiteX58" fmla="*/ 261578 w 348284"/>
              <a:gd name="connsiteY58" fmla="*/ 37875 h 250755"/>
              <a:gd name="connsiteX59" fmla="*/ 270197 w 348284"/>
              <a:gd name="connsiteY59" fmla="*/ 33883 h 250755"/>
              <a:gd name="connsiteX60" fmla="*/ 273783 w 348284"/>
              <a:gd name="connsiteY60" fmla="*/ 29834 h 250755"/>
              <a:gd name="connsiteX61" fmla="*/ 284889 w 348284"/>
              <a:gd name="connsiteY61" fmla="*/ 36024 h 250755"/>
              <a:gd name="connsiteX62" fmla="*/ 307159 w 348284"/>
              <a:gd name="connsiteY62" fmla="*/ 41808 h 250755"/>
              <a:gd name="connsiteX63" fmla="*/ 316761 w 348284"/>
              <a:gd name="connsiteY63" fmla="*/ 43370 h 250755"/>
              <a:gd name="connsiteX64" fmla="*/ 328619 w 348284"/>
              <a:gd name="connsiteY64" fmla="*/ 44295 h 250755"/>
              <a:gd name="connsiteX65" fmla="*/ 335098 w 348284"/>
              <a:gd name="connsiteY65" fmla="*/ 44295 h 250755"/>
              <a:gd name="connsiteX66" fmla="*/ 344584 w 348284"/>
              <a:gd name="connsiteY66" fmla="*/ 44295 h 250755"/>
              <a:gd name="connsiteX67" fmla="*/ 345683 w 348284"/>
              <a:gd name="connsiteY67" fmla="*/ 45221 h 250755"/>
              <a:gd name="connsiteX68" fmla="*/ 333710 w 348284"/>
              <a:gd name="connsiteY68" fmla="*/ 69284 h 250755"/>
              <a:gd name="connsiteX69" fmla="*/ 322141 w 348284"/>
              <a:gd name="connsiteY69" fmla="*/ 76399 h 250755"/>
              <a:gd name="connsiteX70" fmla="*/ 303399 w 348284"/>
              <a:gd name="connsiteY70" fmla="*/ 85133 h 250755"/>
              <a:gd name="connsiteX71" fmla="*/ 279394 w 348284"/>
              <a:gd name="connsiteY71" fmla="*/ 97339 h 250755"/>
              <a:gd name="connsiteX72" fmla="*/ 271122 w 348284"/>
              <a:gd name="connsiteY72" fmla="*/ 109312 h 250755"/>
              <a:gd name="connsiteX73" fmla="*/ 256546 w 348284"/>
              <a:gd name="connsiteY73" fmla="*/ 124641 h 250755"/>
              <a:gd name="connsiteX74" fmla="*/ 254984 w 348284"/>
              <a:gd name="connsiteY74" fmla="*/ 156398 h 250755"/>
              <a:gd name="connsiteX75" fmla="*/ 256314 w 348284"/>
              <a:gd name="connsiteY75" fmla="*/ 164265 h 250755"/>
              <a:gd name="connsiteX76" fmla="*/ 247117 w 348284"/>
              <a:gd name="connsiteY76" fmla="*/ 173635 h 250755"/>
              <a:gd name="connsiteX77" fmla="*/ 236126 w 348284"/>
              <a:gd name="connsiteY77" fmla="*/ 185204 h 250755"/>
              <a:gd name="connsiteX78" fmla="*/ 235837 w 348284"/>
              <a:gd name="connsiteY78" fmla="*/ 188733 h 250755"/>
              <a:gd name="connsiteX79" fmla="*/ 225078 w 348284"/>
              <a:gd name="connsiteY79" fmla="*/ 205565 h 250755"/>
              <a:gd name="connsiteX80" fmla="*/ 204601 w 348284"/>
              <a:gd name="connsiteY80" fmla="*/ 219332 h 250755"/>
              <a:gd name="connsiteX81" fmla="*/ 185339 w 348284"/>
              <a:gd name="connsiteY81" fmla="*/ 229802 h 250755"/>
              <a:gd name="connsiteX82" fmla="*/ 183372 w 348284"/>
              <a:gd name="connsiteY82" fmla="*/ 229802 h 250755"/>
              <a:gd name="connsiteX83" fmla="*/ 165556 w 348284"/>
              <a:gd name="connsiteY83" fmla="*/ 230323 h 250755"/>
              <a:gd name="connsiteX84" fmla="*/ 148724 w 348284"/>
              <a:gd name="connsiteY84" fmla="*/ 231075 h 250755"/>
              <a:gd name="connsiteX85" fmla="*/ 131370 w 348284"/>
              <a:gd name="connsiteY85" fmla="*/ 237264 h 250755"/>
              <a:gd name="connsiteX86" fmla="*/ 123561 w 348284"/>
              <a:gd name="connsiteY86" fmla="*/ 240735 h 250755"/>
              <a:gd name="connsiteX87" fmla="*/ 117430 w 348284"/>
              <a:gd name="connsiteY87" fmla="*/ 240272 h 250755"/>
              <a:gd name="connsiteX88" fmla="*/ 112860 w 348284"/>
              <a:gd name="connsiteY88" fmla="*/ 239867 h 250755"/>
              <a:gd name="connsiteX89" fmla="*/ 108638 w 348284"/>
              <a:gd name="connsiteY89" fmla="*/ 241197 h 250755"/>
              <a:gd name="connsiteX90" fmla="*/ 107134 w 348284"/>
              <a:gd name="connsiteY90" fmla="*/ 244842 h 250755"/>
              <a:gd name="connsiteX91" fmla="*/ 101349 w 348284"/>
              <a:gd name="connsiteY91" fmla="*/ 250626 h 250755"/>
              <a:gd name="connsiteX92" fmla="*/ 100134 w 348284"/>
              <a:gd name="connsiteY92" fmla="*/ 250395 h 250755"/>
              <a:gd name="connsiteX93" fmla="*/ 60222 w 348284"/>
              <a:gd name="connsiteY93" fmla="*/ 214878 h 250755"/>
              <a:gd name="connsiteX94" fmla="*/ 69014 w 348284"/>
              <a:gd name="connsiteY94" fmla="*/ 216671 h 250755"/>
              <a:gd name="connsiteX95" fmla="*/ 81914 w 348284"/>
              <a:gd name="connsiteY95" fmla="*/ 231422 h 250755"/>
              <a:gd name="connsiteX96" fmla="*/ 101465 w 348284"/>
              <a:gd name="connsiteY96" fmla="*/ 248081 h 250755"/>
              <a:gd name="connsiteX97" fmla="*/ 105225 w 348284"/>
              <a:gd name="connsiteY97" fmla="*/ 244321 h 250755"/>
              <a:gd name="connsiteX98" fmla="*/ 107307 w 348284"/>
              <a:gd name="connsiteY98" fmla="*/ 239520 h 250755"/>
              <a:gd name="connsiteX99" fmla="*/ 113091 w 348284"/>
              <a:gd name="connsiteY99" fmla="*/ 237495 h 250755"/>
              <a:gd name="connsiteX100" fmla="*/ 117951 w 348284"/>
              <a:gd name="connsiteY100" fmla="*/ 237900 h 250755"/>
              <a:gd name="connsiteX101" fmla="*/ 123735 w 348284"/>
              <a:gd name="connsiteY101" fmla="*/ 238363 h 250755"/>
              <a:gd name="connsiteX102" fmla="*/ 130213 w 348284"/>
              <a:gd name="connsiteY102" fmla="*/ 235297 h 250755"/>
              <a:gd name="connsiteX103" fmla="*/ 148724 w 348284"/>
              <a:gd name="connsiteY103" fmla="*/ 228645 h 250755"/>
              <a:gd name="connsiteX104" fmla="*/ 165498 w 348284"/>
              <a:gd name="connsiteY104" fmla="*/ 227951 h 250755"/>
              <a:gd name="connsiteX105" fmla="*/ 183546 w 348284"/>
              <a:gd name="connsiteY105" fmla="*/ 227430 h 250755"/>
              <a:gd name="connsiteX106" fmla="*/ 202230 w 348284"/>
              <a:gd name="connsiteY106" fmla="*/ 218522 h 250755"/>
              <a:gd name="connsiteX107" fmla="*/ 224557 w 348284"/>
              <a:gd name="connsiteY107" fmla="*/ 203252 h 250755"/>
              <a:gd name="connsiteX108" fmla="*/ 233408 w 348284"/>
              <a:gd name="connsiteY108" fmla="*/ 188559 h 250755"/>
              <a:gd name="connsiteX109" fmla="*/ 233408 w 348284"/>
              <a:gd name="connsiteY109" fmla="*/ 184857 h 250755"/>
              <a:gd name="connsiteX110" fmla="*/ 244977 w 348284"/>
              <a:gd name="connsiteY110" fmla="*/ 171842 h 250755"/>
              <a:gd name="connsiteX111" fmla="*/ 253422 w 348284"/>
              <a:gd name="connsiteY111" fmla="*/ 163686 h 250755"/>
              <a:gd name="connsiteX112" fmla="*/ 252091 w 348284"/>
              <a:gd name="connsiteY112" fmla="*/ 157034 h 250755"/>
              <a:gd name="connsiteX113" fmla="*/ 253942 w 348284"/>
              <a:gd name="connsiteY113" fmla="*/ 123369 h 250755"/>
              <a:gd name="connsiteX114" fmla="*/ 269040 w 348284"/>
              <a:gd name="connsiteY114" fmla="*/ 107519 h 250755"/>
              <a:gd name="connsiteX115" fmla="*/ 276444 w 348284"/>
              <a:gd name="connsiteY115" fmla="*/ 97339 h 250755"/>
              <a:gd name="connsiteX116" fmla="*/ 302474 w 348284"/>
              <a:gd name="connsiteY116" fmla="*/ 82878 h 250755"/>
              <a:gd name="connsiteX117" fmla="*/ 319827 w 348284"/>
              <a:gd name="connsiteY117" fmla="*/ 74606 h 250755"/>
              <a:gd name="connsiteX118" fmla="*/ 331801 w 348284"/>
              <a:gd name="connsiteY118" fmla="*/ 67202 h 250755"/>
              <a:gd name="connsiteX119" fmla="*/ 342560 w 348284"/>
              <a:gd name="connsiteY119" fmla="*/ 46493 h 250755"/>
              <a:gd name="connsiteX120" fmla="*/ 334115 w 348284"/>
              <a:gd name="connsiteY120" fmla="*/ 46493 h 250755"/>
              <a:gd name="connsiteX121" fmla="*/ 327578 w 348284"/>
              <a:gd name="connsiteY121" fmla="*/ 46493 h 250755"/>
              <a:gd name="connsiteX122" fmla="*/ 315257 w 348284"/>
              <a:gd name="connsiteY122" fmla="*/ 45510 h 250755"/>
              <a:gd name="connsiteX123" fmla="*/ 305771 w 348284"/>
              <a:gd name="connsiteY123" fmla="*/ 43948 h 250755"/>
              <a:gd name="connsiteX124" fmla="*/ 282228 w 348284"/>
              <a:gd name="connsiteY124" fmla="*/ 37354 h 250755"/>
              <a:gd name="connsiteX125" fmla="*/ 272742 w 348284"/>
              <a:gd name="connsiteY125" fmla="*/ 31570 h 250755"/>
              <a:gd name="connsiteX126" fmla="*/ 271411 w 348284"/>
              <a:gd name="connsiteY126" fmla="*/ 33363 h 250755"/>
              <a:gd name="connsiteX127" fmla="*/ 260537 w 348284"/>
              <a:gd name="connsiteY127" fmla="*/ 39610 h 250755"/>
              <a:gd name="connsiteX128" fmla="*/ 248042 w 348284"/>
              <a:gd name="connsiteY128" fmla="*/ 36313 h 250755"/>
              <a:gd name="connsiteX129" fmla="*/ 233870 w 348284"/>
              <a:gd name="connsiteY129" fmla="*/ 29487 h 250755"/>
              <a:gd name="connsiteX130" fmla="*/ 221492 w 348284"/>
              <a:gd name="connsiteY130" fmla="*/ 23703 h 250755"/>
              <a:gd name="connsiteX131" fmla="*/ 212757 w 348284"/>
              <a:gd name="connsiteY131" fmla="*/ 19249 h 250755"/>
              <a:gd name="connsiteX132" fmla="*/ 206452 w 348284"/>
              <a:gd name="connsiteY132" fmla="*/ 16183 h 250755"/>
              <a:gd name="connsiteX133" fmla="*/ 188289 w 348284"/>
              <a:gd name="connsiteY133" fmla="*/ 13985 h 250755"/>
              <a:gd name="connsiteX134" fmla="*/ 164226 w 348284"/>
              <a:gd name="connsiteY134" fmla="*/ 10746 h 250755"/>
              <a:gd name="connsiteX135" fmla="*/ 159483 w 348284"/>
              <a:gd name="connsiteY135" fmla="*/ 11035 h 250755"/>
              <a:gd name="connsiteX136" fmla="*/ 146410 w 348284"/>
              <a:gd name="connsiteY136" fmla="*/ 11555 h 250755"/>
              <a:gd name="connsiteX137" fmla="*/ 114595 w 348284"/>
              <a:gd name="connsiteY137" fmla="*/ 10688 h 250755"/>
              <a:gd name="connsiteX138" fmla="*/ 81393 w 348284"/>
              <a:gd name="connsiteY138" fmla="*/ 9878 h 250755"/>
              <a:gd name="connsiteX139" fmla="*/ 69361 w 348284"/>
              <a:gd name="connsiteY139" fmla="*/ 10225 h 250755"/>
              <a:gd name="connsiteX140" fmla="*/ 46223 w 348284"/>
              <a:gd name="connsiteY140" fmla="*/ 5193 h 250755"/>
              <a:gd name="connsiteX141" fmla="*/ 35927 w 348284"/>
              <a:gd name="connsiteY141" fmla="*/ 1722 h 250755"/>
              <a:gd name="connsiteX142" fmla="*/ 27945 w 348284"/>
              <a:gd name="connsiteY142" fmla="*/ 7217 h 250755"/>
              <a:gd name="connsiteX143" fmla="*/ 13368 w 348284"/>
              <a:gd name="connsiteY143" fmla="*/ 15836 h 250755"/>
              <a:gd name="connsiteX144" fmla="*/ 1047 w 348284"/>
              <a:gd name="connsiteY144" fmla="*/ 21216 h 250755"/>
              <a:gd name="connsiteX145" fmla="*/ 7988 w 348284"/>
              <a:gd name="connsiteY145" fmla="*/ 33652 h 250755"/>
              <a:gd name="connsiteX146" fmla="*/ 13426 w 348284"/>
              <a:gd name="connsiteY146" fmla="*/ 59856 h 250755"/>
              <a:gd name="connsiteX147" fmla="*/ 18574 w 348284"/>
              <a:gd name="connsiteY147" fmla="*/ 57426 h 250755"/>
              <a:gd name="connsiteX148" fmla="*/ 25747 w 348284"/>
              <a:gd name="connsiteY148" fmla="*/ 53030 h 250755"/>
              <a:gd name="connsiteX149" fmla="*/ 30374 w 348284"/>
              <a:gd name="connsiteY149" fmla="*/ 58814 h 250755"/>
              <a:gd name="connsiteX150" fmla="*/ 37547 w 348284"/>
              <a:gd name="connsiteY150" fmla="*/ 61938 h 250755"/>
              <a:gd name="connsiteX151" fmla="*/ 42175 w 348284"/>
              <a:gd name="connsiteY151" fmla="*/ 61938 h 250755"/>
              <a:gd name="connsiteX152" fmla="*/ 45992 w 348284"/>
              <a:gd name="connsiteY152" fmla="*/ 61938 h 250755"/>
              <a:gd name="connsiteX153" fmla="*/ 50967 w 348284"/>
              <a:gd name="connsiteY153" fmla="*/ 63500 h 250755"/>
              <a:gd name="connsiteX154" fmla="*/ 52239 w 348284"/>
              <a:gd name="connsiteY154" fmla="*/ 64136 h 250755"/>
              <a:gd name="connsiteX155" fmla="*/ 56173 w 348284"/>
              <a:gd name="connsiteY155" fmla="*/ 62169 h 250755"/>
              <a:gd name="connsiteX156" fmla="*/ 65428 w 348284"/>
              <a:gd name="connsiteY156" fmla="*/ 59161 h 250755"/>
              <a:gd name="connsiteX157" fmla="*/ 74625 w 348284"/>
              <a:gd name="connsiteY157" fmla="*/ 65987 h 250755"/>
              <a:gd name="connsiteX158" fmla="*/ 79021 w 348284"/>
              <a:gd name="connsiteY158" fmla="*/ 69169 h 250755"/>
              <a:gd name="connsiteX159" fmla="*/ 83765 w 348284"/>
              <a:gd name="connsiteY159" fmla="*/ 72466 h 250755"/>
              <a:gd name="connsiteX160" fmla="*/ 81162 w 348284"/>
              <a:gd name="connsiteY160" fmla="*/ 77614 h 250755"/>
              <a:gd name="connsiteX161" fmla="*/ 71039 w 348284"/>
              <a:gd name="connsiteY161" fmla="*/ 85191 h 250755"/>
              <a:gd name="connsiteX162" fmla="*/ 63808 w 348284"/>
              <a:gd name="connsiteY162" fmla="*/ 92537 h 250755"/>
              <a:gd name="connsiteX163" fmla="*/ 65659 w 348284"/>
              <a:gd name="connsiteY163" fmla="*/ 99479 h 250755"/>
              <a:gd name="connsiteX164" fmla="*/ 65659 w 348284"/>
              <a:gd name="connsiteY164" fmla="*/ 118857 h 250755"/>
              <a:gd name="connsiteX165" fmla="*/ 63577 w 348284"/>
              <a:gd name="connsiteY165" fmla="*/ 130426 h 250755"/>
              <a:gd name="connsiteX166" fmla="*/ 62998 w 348284"/>
              <a:gd name="connsiteY166" fmla="*/ 136962 h 250755"/>
              <a:gd name="connsiteX167" fmla="*/ 59990 w 348284"/>
              <a:gd name="connsiteY167" fmla="*/ 138119 h 250755"/>
              <a:gd name="connsiteX168" fmla="*/ 51083 w 348284"/>
              <a:gd name="connsiteY168" fmla="*/ 141185 h 250755"/>
              <a:gd name="connsiteX169" fmla="*/ 53859 w 348284"/>
              <a:gd name="connsiteY169" fmla="*/ 146969 h 250755"/>
              <a:gd name="connsiteX170" fmla="*/ 64271 w 348284"/>
              <a:gd name="connsiteY170" fmla="*/ 161951 h 250755"/>
              <a:gd name="connsiteX171" fmla="*/ 60974 w 348284"/>
              <a:gd name="connsiteY171" fmla="*/ 163628 h 250755"/>
              <a:gd name="connsiteX172" fmla="*/ 55190 w 348284"/>
              <a:gd name="connsiteY172" fmla="*/ 169123 h 250755"/>
              <a:gd name="connsiteX173" fmla="*/ 54843 w 348284"/>
              <a:gd name="connsiteY173" fmla="*/ 176412 h 250755"/>
              <a:gd name="connsiteX174" fmla="*/ 57214 w 348284"/>
              <a:gd name="connsiteY174" fmla="*/ 178494 h 250755"/>
              <a:gd name="connsiteX175" fmla="*/ 65023 w 348284"/>
              <a:gd name="connsiteY175" fmla="*/ 188906 h 250755"/>
              <a:gd name="connsiteX176" fmla="*/ 60106 w 348284"/>
              <a:gd name="connsiteY176" fmla="*/ 192088 h 250755"/>
              <a:gd name="connsiteX177" fmla="*/ 50215 w 348284"/>
              <a:gd name="connsiteY177" fmla="*/ 207648 h 250755"/>
              <a:gd name="connsiteX178" fmla="*/ 53628 w 348284"/>
              <a:gd name="connsiteY178" fmla="*/ 215341 h 250755"/>
              <a:gd name="connsiteX179" fmla="*/ 60222 w 348284"/>
              <a:gd name="connsiteY179" fmla="*/ 214878 h 250755"/>
              <a:gd name="connsiteX180" fmla="*/ 336486 w 348284"/>
              <a:gd name="connsiteY180" fmla="*/ 147547 h 250755"/>
              <a:gd name="connsiteX181" fmla="*/ 336486 w 348284"/>
              <a:gd name="connsiteY181" fmla="*/ 147547 h 250755"/>
              <a:gd name="connsiteX182" fmla="*/ 322314 w 348284"/>
              <a:gd name="connsiteY182" fmla="*/ 142746 h 250755"/>
              <a:gd name="connsiteX183" fmla="*/ 321158 w 348284"/>
              <a:gd name="connsiteY183" fmla="*/ 139160 h 250755"/>
              <a:gd name="connsiteX184" fmla="*/ 340709 w 348284"/>
              <a:gd name="connsiteY184" fmla="*/ 127591 h 250755"/>
              <a:gd name="connsiteX185" fmla="*/ 347882 w 348284"/>
              <a:gd name="connsiteY185" fmla="*/ 133665 h 250755"/>
              <a:gd name="connsiteX186" fmla="*/ 345568 w 348284"/>
              <a:gd name="connsiteY186" fmla="*/ 144019 h 250755"/>
              <a:gd name="connsiteX187" fmla="*/ 336486 w 348284"/>
              <a:gd name="connsiteY187" fmla="*/ 147547 h 250755"/>
              <a:gd name="connsiteX188" fmla="*/ 340709 w 348284"/>
              <a:gd name="connsiteY188" fmla="*/ 129732 h 250755"/>
              <a:gd name="connsiteX189" fmla="*/ 323356 w 348284"/>
              <a:gd name="connsiteY189" fmla="*/ 139854 h 250755"/>
              <a:gd name="connsiteX190" fmla="*/ 323356 w 348284"/>
              <a:gd name="connsiteY190" fmla="*/ 140838 h 250755"/>
              <a:gd name="connsiteX191" fmla="*/ 336255 w 348284"/>
              <a:gd name="connsiteY191" fmla="*/ 145292 h 250755"/>
              <a:gd name="connsiteX192" fmla="*/ 336255 w 348284"/>
              <a:gd name="connsiteY192" fmla="*/ 145292 h 250755"/>
              <a:gd name="connsiteX193" fmla="*/ 343659 w 348284"/>
              <a:gd name="connsiteY193" fmla="*/ 142399 h 250755"/>
              <a:gd name="connsiteX194" fmla="*/ 345452 w 348284"/>
              <a:gd name="connsiteY194" fmla="*/ 133838 h 250755"/>
              <a:gd name="connsiteX195" fmla="*/ 340709 w 348284"/>
              <a:gd name="connsiteY195" fmla="*/ 129732 h 250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348284" h="250755">
                <a:moveTo>
                  <a:pt x="100134" y="250395"/>
                </a:moveTo>
                <a:cubicBezTo>
                  <a:pt x="91342" y="250395"/>
                  <a:pt x="85558" y="241371"/>
                  <a:pt x="80005" y="232636"/>
                </a:cubicBezTo>
                <a:cubicBezTo>
                  <a:pt x="77222" y="227089"/>
                  <a:pt x="73110" y="222323"/>
                  <a:pt x="68031" y="218754"/>
                </a:cubicBezTo>
                <a:cubicBezTo>
                  <a:pt x="63658" y="216903"/>
                  <a:pt x="58793" y="216556"/>
                  <a:pt x="54206" y="217771"/>
                </a:cubicBezTo>
                <a:cubicBezTo>
                  <a:pt x="53749" y="217857"/>
                  <a:pt x="53286" y="217649"/>
                  <a:pt x="53049" y="217250"/>
                </a:cubicBezTo>
                <a:cubicBezTo>
                  <a:pt x="50845" y="214491"/>
                  <a:pt x="49411" y="211199"/>
                  <a:pt x="48884" y="207706"/>
                </a:cubicBezTo>
                <a:cubicBezTo>
                  <a:pt x="48884" y="201921"/>
                  <a:pt x="48884" y="192088"/>
                  <a:pt x="60453" y="189947"/>
                </a:cubicBezTo>
                <a:cubicBezTo>
                  <a:pt x="62246" y="189600"/>
                  <a:pt x="63345" y="189022"/>
                  <a:pt x="63519" y="188386"/>
                </a:cubicBezTo>
                <a:cubicBezTo>
                  <a:pt x="64040" y="186477"/>
                  <a:pt x="58949" y="182601"/>
                  <a:pt x="56520" y="180287"/>
                </a:cubicBezTo>
                <a:cubicBezTo>
                  <a:pt x="55612" y="179582"/>
                  <a:pt x="54744" y="178830"/>
                  <a:pt x="53917" y="178031"/>
                </a:cubicBezTo>
                <a:cubicBezTo>
                  <a:pt x="51892" y="176065"/>
                  <a:pt x="52413" y="171726"/>
                  <a:pt x="53917" y="168314"/>
                </a:cubicBezTo>
                <a:cubicBezTo>
                  <a:pt x="55710" y="163975"/>
                  <a:pt x="58602" y="161430"/>
                  <a:pt x="61726" y="161430"/>
                </a:cubicBezTo>
                <a:cubicBezTo>
                  <a:pt x="62651" y="161430"/>
                  <a:pt x="62941" y="161430"/>
                  <a:pt x="62941" y="161141"/>
                </a:cubicBezTo>
                <a:cubicBezTo>
                  <a:pt x="62941" y="160852"/>
                  <a:pt x="62941" y="158249"/>
                  <a:pt x="53049" y="148589"/>
                </a:cubicBezTo>
                <a:cubicBezTo>
                  <a:pt x="49926" y="145465"/>
                  <a:pt x="48769" y="142804"/>
                  <a:pt x="49752" y="140317"/>
                </a:cubicBezTo>
                <a:cubicBezTo>
                  <a:pt x="51140" y="137020"/>
                  <a:pt x="56346" y="135863"/>
                  <a:pt x="60742" y="135863"/>
                </a:cubicBezTo>
                <a:cubicBezTo>
                  <a:pt x="61211" y="135915"/>
                  <a:pt x="61685" y="135793"/>
                  <a:pt x="62073" y="135516"/>
                </a:cubicBezTo>
                <a:cubicBezTo>
                  <a:pt x="62651" y="134822"/>
                  <a:pt x="62362" y="132739"/>
                  <a:pt x="62073" y="130715"/>
                </a:cubicBezTo>
                <a:cubicBezTo>
                  <a:pt x="60795" y="126145"/>
                  <a:pt x="61784" y="121240"/>
                  <a:pt x="64734" y="117526"/>
                </a:cubicBezTo>
                <a:cubicBezTo>
                  <a:pt x="68956" y="113304"/>
                  <a:pt x="66527" y="106478"/>
                  <a:pt x="64734" y="100462"/>
                </a:cubicBezTo>
                <a:cubicBezTo>
                  <a:pt x="63698" y="98010"/>
                  <a:pt x="63039" y="95418"/>
                  <a:pt x="62767" y="92769"/>
                </a:cubicBezTo>
                <a:cubicBezTo>
                  <a:pt x="62767" y="88662"/>
                  <a:pt x="66411" y="86406"/>
                  <a:pt x="71039" y="83514"/>
                </a:cubicBezTo>
                <a:cubicBezTo>
                  <a:pt x="74573" y="81478"/>
                  <a:pt x="77853" y="79031"/>
                  <a:pt x="80815" y="76226"/>
                </a:cubicBezTo>
                <a:cubicBezTo>
                  <a:pt x="82781" y="74201"/>
                  <a:pt x="82781" y="73391"/>
                  <a:pt x="82781" y="73218"/>
                </a:cubicBezTo>
                <a:cubicBezTo>
                  <a:pt x="82781" y="73044"/>
                  <a:pt x="80930" y="72003"/>
                  <a:pt x="79542" y="71540"/>
                </a:cubicBezTo>
                <a:cubicBezTo>
                  <a:pt x="76881" y="70672"/>
                  <a:pt x="73757" y="69573"/>
                  <a:pt x="73757" y="66218"/>
                </a:cubicBezTo>
                <a:cubicBezTo>
                  <a:pt x="73757" y="62864"/>
                  <a:pt x="70171" y="61649"/>
                  <a:pt x="66816" y="61649"/>
                </a:cubicBezTo>
                <a:cubicBezTo>
                  <a:pt x="63959" y="61666"/>
                  <a:pt x="61176" y="62551"/>
                  <a:pt x="58833" y="64194"/>
                </a:cubicBezTo>
                <a:cubicBezTo>
                  <a:pt x="57382" y="65513"/>
                  <a:pt x="55571" y="66363"/>
                  <a:pt x="53628" y="66623"/>
                </a:cubicBezTo>
                <a:cubicBezTo>
                  <a:pt x="52679" y="66589"/>
                  <a:pt x="51765" y="66242"/>
                  <a:pt x="51025" y="65640"/>
                </a:cubicBezTo>
                <a:cubicBezTo>
                  <a:pt x="50012" y="64772"/>
                  <a:pt x="48705" y="64338"/>
                  <a:pt x="47380" y="64425"/>
                </a:cubicBezTo>
                <a:lnTo>
                  <a:pt x="43678" y="64425"/>
                </a:lnTo>
                <a:cubicBezTo>
                  <a:pt x="42117" y="64425"/>
                  <a:pt x="40497" y="64425"/>
                  <a:pt x="38935" y="64425"/>
                </a:cubicBezTo>
                <a:cubicBezTo>
                  <a:pt x="36390" y="64425"/>
                  <a:pt x="29507" y="64425"/>
                  <a:pt x="29507" y="58988"/>
                </a:cubicBezTo>
                <a:cubicBezTo>
                  <a:pt x="29507" y="57831"/>
                  <a:pt x="29507" y="55170"/>
                  <a:pt x="27135" y="55170"/>
                </a:cubicBezTo>
                <a:cubicBezTo>
                  <a:pt x="24914" y="55592"/>
                  <a:pt x="22959" y="56882"/>
                  <a:pt x="21698" y="58756"/>
                </a:cubicBezTo>
                <a:cubicBezTo>
                  <a:pt x="19592" y="60908"/>
                  <a:pt x="16729" y="62152"/>
                  <a:pt x="13715" y="62227"/>
                </a:cubicBezTo>
                <a:cubicBezTo>
                  <a:pt x="13368" y="62262"/>
                  <a:pt x="13027" y="62135"/>
                  <a:pt x="12790" y="61880"/>
                </a:cubicBezTo>
                <a:cubicBezTo>
                  <a:pt x="12558" y="61654"/>
                  <a:pt x="12431" y="61336"/>
                  <a:pt x="12443" y="61012"/>
                </a:cubicBezTo>
                <a:cubicBezTo>
                  <a:pt x="13310" y="51815"/>
                  <a:pt x="14352" y="40362"/>
                  <a:pt x="7931" y="35330"/>
                </a:cubicBezTo>
                <a:cubicBezTo>
                  <a:pt x="1510" y="30297"/>
                  <a:pt x="-1209" y="24802"/>
                  <a:pt x="295" y="20406"/>
                </a:cubicBezTo>
                <a:cubicBezTo>
                  <a:pt x="1799" y="16010"/>
                  <a:pt x="6832" y="13696"/>
                  <a:pt x="14699" y="13464"/>
                </a:cubicBezTo>
                <a:cubicBezTo>
                  <a:pt x="20107" y="13835"/>
                  <a:pt x="25174" y="10815"/>
                  <a:pt x="27424" y="5887"/>
                </a:cubicBezTo>
                <a:cubicBezTo>
                  <a:pt x="29223" y="2220"/>
                  <a:pt x="32943" y="-106"/>
                  <a:pt x="37026" y="-129"/>
                </a:cubicBezTo>
                <a:cubicBezTo>
                  <a:pt x="41168" y="-42"/>
                  <a:pt x="45194" y="1265"/>
                  <a:pt x="48595" y="3631"/>
                </a:cubicBezTo>
                <a:cubicBezTo>
                  <a:pt x="55033" y="7680"/>
                  <a:pt x="62686" y="9358"/>
                  <a:pt x="70229" y="8374"/>
                </a:cubicBezTo>
                <a:cubicBezTo>
                  <a:pt x="73352" y="8374"/>
                  <a:pt x="77402" y="7969"/>
                  <a:pt x="82434" y="7969"/>
                </a:cubicBezTo>
                <a:cubicBezTo>
                  <a:pt x="92036" y="7969"/>
                  <a:pt x="104068" y="8432"/>
                  <a:pt x="115695" y="8895"/>
                </a:cubicBezTo>
                <a:cubicBezTo>
                  <a:pt x="127321" y="9358"/>
                  <a:pt x="138485" y="9705"/>
                  <a:pt x="147451" y="9705"/>
                </a:cubicBezTo>
                <a:cubicBezTo>
                  <a:pt x="151720" y="9768"/>
                  <a:pt x="155989" y="9595"/>
                  <a:pt x="160235" y="9184"/>
                </a:cubicBezTo>
                <a:cubicBezTo>
                  <a:pt x="161906" y="8993"/>
                  <a:pt x="163584" y="8901"/>
                  <a:pt x="165267" y="8895"/>
                </a:cubicBezTo>
                <a:cubicBezTo>
                  <a:pt x="173527" y="9230"/>
                  <a:pt x="181735" y="10335"/>
                  <a:pt x="189793" y="12192"/>
                </a:cubicBezTo>
                <a:cubicBezTo>
                  <a:pt x="195456" y="13678"/>
                  <a:pt x="201293" y="14401"/>
                  <a:pt x="207146" y="14332"/>
                </a:cubicBezTo>
                <a:cubicBezTo>
                  <a:pt x="207372" y="14245"/>
                  <a:pt x="207615" y="14245"/>
                  <a:pt x="207840" y="14332"/>
                </a:cubicBezTo>
                <a:lnTo>
                  <a:pt x="214435" y="17456"/>
                </a:lnTo>
                <a:cubicBezTo>
                  <a:pt x="217558" y="18821"/>
                  <a:pt x="220595" y="20383"/>
                  <a:pt x="223516" y="22141"/>
                </a:cubicBezTo>
                <a:cubicBezTo>
                  <a:pt x="227352" y="24380"/>
                  <a:pt x="231354" y="26317"/>
                  <a:pt x="235490" y="27926"/>
                </a:cubicBezTo>
                <a:cubicBezTo>
                  <a:pt x="240494" y="29898"/>
                  <a:pt x="245347" y="32235"/>
                  <a:pt x="250009" y="34925"/>
                </a:cubicBezTo>
                <a:cubicBezTo>
                  <a:pt x="253520" y="36949"/>
                  <a:pt x="257523" y="37973"/>
                  <a:pt x="261578" y="37875"/>
                </a:cubicBezTo>
                <a:cubicBezTo>
                  <a:pt x="265743" y="37875"/>
                  <a:pt x="270197" y="36660"/>
                  <a:pt x="270197" y="33883"/>
                </a:cubicBezTo>
                <a:cubicBezTo>
                  <a:pt x="270197" y="31107"/>
                  <a:pt x="271527" y="29834"/>
                  <a:pt x="273783" y="29834"/>
                </a:cubicBezTo>
                <a:cubicBezTo>
                  <a:pt x="278052" y="30650"/>
                  <a:pt x="281951" y="32819"/>
                  <a:pt x="284889" y="36024"/>
                </a:cubicBezTo>
                <a:cubicBezTo>
                  <a:pt x="288128" y="39321"/>
                  <a:pt x="298656" y="40825"/>
                  <a:pt x="307159" y="41808"/>
                </a:cubicBezTo>
                <a:cubicBezTo>
                  <a:pt x="310746" y="42329"/>
                  <a:pt x="314158" y="42792"/>
                  <a:pt x="316761" y="43370"/>
                </a:cubicBezTo>
                <a:cubicBezTo>
                  <a:pt x="320672" y="44076"/>
                  <a:pt x="324645" y="44388"/>
                  <a:pt x="328619" y="44295"/>
                </a:cubicBezTo>
                <a:lnTo>
                  <a:pt x="335098" y="44295"/>
                </a:lnTo>
                <a:cubicBezTo>
                  <a:pt x="338280" y="44295"/>
                  <a:pt x="341519" y="44295"/>
                  <a:pt x="344584" y="44295"/>
                </a:cubicBezTo>
                <a:cubicBezTo>
                  <a:pt x="345128" y="44290"/>
                  <a:pt x="345597" y="44683"/>
                  <a:pt x="345683" y="45221"/>
                </a:cubicBezTo>
                <a:cubicBezTo>
                  <a:pt x="347766" y="57368"/>
                  <a:pt x="343948" y="65004"/>
                  <a:pt x="333710" y="69284"/>
                </a:cubicBezTo>
                <a:cubicBezTo>
                  <a:pt x="329556" y="71141"/>
                  <a:pt x="325669" y="73530"/>
                  <a:pt x="322141" y="76399"/>
                </a:cubicBezTo>
                <a:cubicBezTo>
                  <a:pt x="316900" y="81108"/>
                  <a:pt x="310375" y="84150"/>
                  <a:pt x="303399" y="85133"/>
                </a:cubicBezTo>
                <a:cubicBezTo>
                  <a:pt x="286798" y="87100"/>
                  <a:pt x="279394" y="90918"/>
                  <a:pt x="279394" y="97339"/>
                </a:cubicBezTo>
                <a:cubicBezTo>
                  <a:pt x="279394" y="102718"/>
                  <a:pt x="275923" y="105495"/>
                  <a:pt x="271122" y="109312"/>
                </a:cubicBezTo>
                <a:cubicBezTo>
                  <a:pt x="265402" y="113524"/>
                  <a:pt x="260467" y="118712"/>
                  <a:pt x="256546" y="124641"/>
                </a:cubicBezTo>
                <a:cubicBezTo>
                  <a:pt x="249083" y="135921"/>
                  <a:pt x="252612" y="148242"/>
                  <a:pt x="254984" y="156398"/>
                </a:cubicBezTo>
                <a:cubicBezTo>
                  <a:pt x="255996" y="158891"/>
                  <a:pt x="256447" y="161575"/>
                  <a:pt x="256314" y="164265"/>
                </a:cubicBezTo>
                <a:cubicBezTo>
                  <a:pt x="255678" y="166810"/>
                  <a:pt x="251686" y="170049"/>
                  <a:pt x="247117" y="173635"/>
                </a:cubicBezTo>
                <a:cubicBezTo>
                  <a:pt x="242547" y="177222"/>
                  <a:pt x="236531" y="182023"/>
                  <a:pt x="236126" y="185204"/>
                </a:cubicBezTo>
                <a:cubicBezTo>
                  <a:pt x="236126" y="186245"/>
                  <a:pt x="236126" y="187460"/>
                  <a:pt x="235837" y="188733"/>
                </a:cubicBezTo>
                <a:cubicBezTo>
                  <a:pt x="235837" y="195211"/>
                  <a:pt x="235085" y="204061"/>
                  <a:pt x="225078" y="205565"/>
                </a:cubicBezTo>
                <a:cubicBezTo>
                  <a:pt x="216280" y="206161"/>
                  <a:pt x="208471" y="211408"/>
                  <a:pt x="204601" y="219332"/>
                </a:cubicBezTo>
                <a:cubicBezTo>
                  <a:pt x="202230" y="225984"/>
                  <a:pt x="195230" y="229802"/>
                  <a:pt x="185339" y="229802"/>
                </a:cubicBezTo>
                <a:lnTo>
                  <a:pt x="183372" y="229802"/>
                </a:lnTo>
                <a:cubicBezTo>
                  <a:pt x="177877" y="229802"/>
                  <a:pt x="172266" y="229802"/>
                  <a:pt x="165556" y="230323"/>
                </a:cubicBezTo>
                <a:cubicBezTo>
                  <a:pt x="160698" y="230323"/>
                  <a:pt x="155202" y="230901"/>
                  <a:pt x="148724" y="231075"/>
                </a:cubicBezTo>
                <a:cubicBezTo>
                  <a:pt x="142407" y="231115"/>
                  <a:pt x="136287" y="233296"/>
                  <a:pt x="131370" y="237264"/>
                </a:cubicBezTo>
                <a:cubicBezTo>
                  <a:pt x="129224" y="239254"/>
                  <a:pt x="126477" y="240474"/>
                  <a:pt x="123561" y="240735"/>
                </a:cubicBezTo>
                <a:cubicBezTo>
                  <a:pt x="121508" y="240700"/>
                  <a:pt x="119460" y="240550"/>
                  <a:pt x="117430" y="240272"/>
                </a:cubicBezTo>
                <a:cubicBezTo>
                  <a:pt x="115920" y="240035"/>
                  <a:pt x="114393" y="239902"/>
                  <a:pt x="112860" y="239867"/>
                </a:cubicBezTo>
                <a:cubicBezTo>
                  <a:pt x="111333" y="239734"/>
                  <a:pt x="109812" y="240214"/>
                  <a:pt x="108638" y="241197"/>
                </a:cubicBezTo>
                <a:cubicBezTo>
                  <a:pt x="107753" y="242215"/>
                  <a:pt x="107226" y="243494"/>
                  <a:pt x="107134" y="244842"/>
                </a:cubicBezTo>
                <a:cubicBezTo>
                  <a:pt x="107134" y="248035"/>
                  <a:pt x="104542" y="250626"/>
                  <a:pt x="101349" y="250626"/>
                </a:cubicBezTo>
                <a:cubicBezTo>
                  <a:pt x="100939" y="250585"/>
                  <a:pt x="100534" y="250505"/>
                  <a:pt x="100134" y="250395"/>
                </a:cubicBezTo>
                <a:close/>
                <a:moveTo>
                  <a:pt x="60222" y="214878"/>
                </a:moveTo>
                <a:cubicBezTo>
                  <a:pt x="63247" y="214820"/>
                  <a:pt x="66249" y="215433"/>
                  <a:pt x="69014" y="216671"/>
                </a:cubicBezTo>
                <a:cubicBezTo>
                  <a:pt x="74504" y="220408"/>
                  <a:pt x="78946" y="225487"/>
                  <a:pt x="81914" y="231422"/>
                </a:cubicBezTo>
                <a:cubicBezTo>
                  <a:pt x="87698" y="240156"/>
                  <a:pt x="93482" y="249064"/>
                  <a:pt x="101465" y="248081"/>
                </a:cubicBezTo>
                <a:cubicBezTo>
                  <a:pt x="104588" y="247676"/>
                  <a:pt x="104820" y="246461"/>
                  <a:pt x="105225" y="244321"/>
                </a:cubicBezTo>
                <a:cubicBezTo>
                  <a:pt x="105375" y="242534"/>
                  <a:pt x="106104" y="240850"/>
                  <a:pt x="107307" y="239520"/>
                </a:cubicBezTo>
                <a:cubicBezTo>
                  <a:pt x="108886" y="238097"/>
                  <a:pt x="110969" y="237368"/>
                  <a:pt x="113091" y="237495"/>
                </a:cubicBezTo>
                <a:cubicBezTo>
                  <a:pt x="114717" y="237524"/>
                  <a:pt x="116342" y="237657"/>
                  <a:pt x="117951" y="237900"/>
                </a:cubicBezTo>
                <a:cubicBezTo>
                  <a:pt x="119865" y="238172"/>
                  <a:pt x="121797" y="238322"/>
                  <a:pt x="123735" y="238363"/>
                </a:cubicBezTo>
                <a:cubicBezTo>
                  <a:pt x="126164" y="238051"/>
                  <a:pt x="128432" y="236981"/>
                  <a:pt x="130213" y="235297"/>
                </a:cubicBezTo>
                <a:cubicBezTo>
                  <a:pt x="135489" y="231121"/>
                  <a:pt x="141991" y="228784"/>
                  <a:pt x="148724" y="228645"/>
                </a:cubicBezTo>
                <a:cubicBezTo>
                  <a:pt x="155202" y="228645"/>
                  <a:pt x="160640" y="228182"/>
                  <a:pt x="165498" y="227951"/>
                </a:cubicBezTo>
                <a:cubicBezTo>
                  <a:pt x="171503" y="227477"/>
                  <a:pt x="177524" y="227303"/>
                  <a:pt x="183546" y="227430"/>
                </a:cubicBezTo>
                <a:cubicBezTo>
                  <a:pt x="193090" y="227893"/>
                  <a:pt x="200089" y="224538"/>
                  <a:pt x="202230" y="218522"/>
                </a:cubicBezTo>
                <a:cubicBezTo>
                  <a:pt x="206394" y="209794"/>
                  <a:pt x="214915" y="203969"/>
                  <a:pt x="224557" y="203252"/>
                </a:cubicBezTo>
                <a:cubicBezTo>
                  <a:pt x="232656" y="202037"/>
                  <a:pt x="233061" y="194864"/>
                  <a:pt x="233408" y="188559"/>
                </a:cubicBezTo>
                <a:cubicBezTo>
                  <a:pt x="233408" y="187229"/>
                  <a:pt x="233408" y="185956"/>
                  <a:pt x="233408" y="184857"/>
                </a:cubicBezTo>
                <a:cubicBezTo>
                  <a:pt x="233928" y="180808"/>
                  <a:pt x="239655" y="176296"/>
                  <a:pt x="244977" y="171842"/>
                </a:cubicBezTo>
                <a:cubicBezTo>
                  <a:pt x="248736" y="168892"/>
                  <a:pt x="252959" y="165537"/>
                  <a:pt x="253422" y="163686"/>
                </a:cubicBezTo>
                <a:cubicBezTo>
                  <a:pt x="253381" y="161407"/>
                  <a:pt x="252930" y="159151"/>
                  <a:pt x="252091" y="157034"/>
                </a:cubicBezTo>
                <a:cubicBezTo>
                  <a:pt x="249778" y="148994"/>
                  <a:pt x="245960" y="135574"/>
                  <a:pt x="253942" y="123369"/>
                </a:cubicBezTo>
                <a:cubicBezTo>
                  <a:pt x="258038" y="117266"/>
                  <a:pt x="263146" y="111910"/>
                  <a:pt x="269040" y="107519"/>
                </a:cubicBezTo>
                <a:cubicBezTo>
                  <a:pt x="273494" y="103991"/>
                  <a:pt x="276444" y="101735"/>
                  <a:pt x="276444" y="97339"/>
                </a:cubicBezTo>
                <a:cubicBezTo>
                  <a:pt x="276444" y="87274"/>
                  <a:pt x="290326" y="84324"/>
                  <a:pt x="302474" y="82878"/>
                </a:cubicBezTo>
                <a:cubicBezTo>
                  <a:pt x="308929" y="81836"/>
                  <a:pt x="314951" y="78967"/>
                  <a:pt x="319827" y="74606"/>
                </a:cubicBezTo>
                <a:cubicBezTo>
                  <a:pt x="323465" y="71610"/>
                  <a:pt x="327491" y="69116"/>
                  <a:pt x="331801" y="67202"/>
                </a:cubicBezTo>
                <a:cubicBezTo>
                  <a:pt x="340767" y="63500"/>
                  <a:pt x="344122" y="57079"/>
                  <a:pt x="342560" y="46493"/>
                </a:cubicBezTo>
                <a:lnTo>
                  <a:pt x="334115" y="46493"/>
                </a:lnTo>
                <a:lnTo>
                  <a:pt x="327578" y="46493"/>
                </a:lnTo>
                <a:cubicBezTo>
                  <a:pt x="323448" y="46592"/>
                  <a:pt x="319318" y="46262"/>
                  <a:pt x="315257" y="45510"/>
                </a:cubicBezTo>
                <a:cubicBezTo>
                  <a:pt x="312712" y="44989"/>
                  <a:pt x="309473" y="44469"/>
                  <a:pt x="305771" y="43948"/>
                </a:cubicBezTo>
                <a:cubicBezTo>
                  <a:pt x="296516" y="42618"/>
                  <a:pt x="285988" y="41114"/>
                  <a:pt x="282228" y="37354"/>
                </a:cubicBezTo>
                <a:cubicBezTo>
                  <a:pt x="279770" y="34456"/>
                  <a:pt x="276444" y="32426"/>
                  <a:pt x="272742" y="31570"/>
                </a:cubicBezTo>
                <a:cubicBezTo>
                  <a:pt x="272106" y="31570"/>
                  <a:pt x="271411" y="31570"/>
                  <a:pt x="271411" y="33363"/>
                </a:cubicBezTo>
                <a:cubicBezTo>
                  <a:pt x="271411" y="37181"/>
                  <a:pt x="267131" y="39610"/>
                  <a:pt x="260537" y="39610"/>
                </a:cubicBezTo>
                <a:cubicBezTo>
                  <a:pt x="256152" y="39656"/>
                  <a:pt x="251837" y="38517"/>
                  <a:pt x="248042" y="36313"/>
                </a:cubicBezTo>
                <a:cubicBezTo>
                  <a:pt x="243496" y="33687"/>
                  <a:pt x="238758" y="31402"/>
                  <a:pt x="233870" y="29487"/>
                </a:cubicBezTo>
                <a:cubicBezTo>
                  <a:pt x="229590" y="27914"/>
                  <a:pt x="225448" y="25976"/>
                  <a:pt x="221492" y="23703"/>
                </a:cubicBezTo>
                <a:cubicBezTo>
                  <a:pt x="218686" y="22014"/>
                  <a:pt x="215771" y="20527"/>
                  <a:pt x="212757" y="19249"/>
                </a:cubicBezTo>
                <a:cubicBezTo>
                  <a:pt x="210733" y="18265"/>
                  <a:pt x="208535" y="17282"/>
                  <a:pt x="206452" y="16183"/>
                </a:cubicBezTo>
                <a:cubicBezTo>
                  <a:pt x="200327" y="16293"/>
                  <a:pt x="194213" y="15558"/>
                  <a:pt x="188289" y="13985"/>
                </a:cubicBezTo>
                <a:cubicBezTo>
                  <a:pt x="180382" y="12175"/>
                  <a:pt x="172330" y="11093"/>
                  <a:pt x="164226" y="10746"/>
                </a:cubicBezTo>
                <a:cubicBezTo>
                  <a:pt x="162641" y="10752"/>
                  <a:pt x="161056" y="10844"/>
                  <a:pt x="159483" y="11035"/>
                </a:cubicBezTo>
                <a:cubicBezTo>
                  <a:pt x="155139" y="11446"/>
                  <a:pt x="150771" y="11619"/>
                  <a:pt x="146410" y="11555"/>
                </a:cubicBezTo>
                <a:cubicBezTo>
                  <a:pt x="137444" y="11555"/>
                  <a:pt x="125817" y="11151"/>
                  <a:pt x="114595" y="10688"/>
                </a:cubicBezTo>
                <a:cubicBezTo>
                  <a:pt x="103374" y="10225"/>
                  <a:pt x="90995" y="9878"/>
                  <a:pt x="81393" y="9878"/>
                </a:cubicBezTo>
                <a:cubicBezTo>
                  <a:pt x="76418" y="9878"/>
                  <a:pt x="72427" y="9878"/>
                  <a:pt x="69361" y="10225"/>
                </a:cubicBezTo>
                <a:cubicBezTo>
                  <a:pt x="61292" y="11376"/>
                  <a:pt x="53084" y="9595"/>
                  <a:pt x="46223" y="5193"/>
                </a:cubicBezTo>
                <a:cubicBezTo>
                  <a:pt x="43204" y="3052"/>
                  <a:pt x="39623" y="1849"/>
                  <a:pt x="35927" y="1722"/>
                </a:cubicBezTo>
                <a:cubicBezTo>
                  <a:pt x="31357" y="1722"/>
                  <a:pt x="29854" y="4151"/>
                  <a:pt x="27945" y="7217"/>
                </a:cubicBezTo>
                <a:cubicBezTo>
                  <a:pt x="25284" y="12776"/>
                  <a:pt x="19523" y="16183"/>
                  <a:pt x="13368" y="15836"/>
                </a:cubicBezTo>
                <a:cubicBezTo>
                  <a:pt x="6600" y="15836"/>
                  <a:pt x="2146" y="17976"/>
                  <a:pt x="1047" y="21216"/>
                </a:cubicBezTo>
                <a:cubicBezTo>
                  <a:pt x="-52" y="24455"/>
                  <a:pt x="2493" y="29314"/>
                  <a:pt x="7988" y="33652"/>
                </a:cubicBezTo>
                <a:cubicBezTo>
                  <a:pt x="14930" y="39436"/>
                  <a:pt x="14294" y="50427"/>
                  <a:pt x="13426" y="59856"/>
                </a:cubicBezTo>
                <a:cubicBezTo>
                  <a:pt x="15381" y="59705"/>
                  <a:pt x="17215" y="58843"/>
                  <a:pt x="18574" y="57426"/>
                </a:cubicBezTo>
                <a:cubicBezTo>
                  <a:pt x="20228" y="55008"/>
                  <a:pt x="22837" y="53406"/>
                  <a:pt x="25747" y="53030"/>
                </a:cubicBezTo>
                <a:cubicBezTo>
                  <a:pt x="28581" y="53030"/>
                  <a:pt x="30374" y="55402"/>
                  <a:pt x="30374" y="58814"/>
                </a:cubicBezTo>
                <a:cubicBezTo>
                  <a:pt x="30374" y="60260"/>
                  <a:pt x="31184" y="61938"/>
                  <a:pt x="37547" y="61938"/>
                </a:cubicBezTo>
                <a:lnTo>
                  <a:pt x="42175" y="61938"/>
                </a:lnTo>
                <a:lnTo>
                  <a:pt x="45992" y="61938"/>
                </a:lnTo>
                <a:cubicBezTo>
                  <a:pt x="47780" y="61892"/>
                  <a:pt x="49527" y="62441"/>
                  <a:pt x="50967" y="63500"/>
                </a:cubicBezTo>
                <a:cubicBezTo>
                  <a:pt x="51545" y="63905"/>
                  <a:pt x="51835" y="64136"/>
                  <a:pt x="52239" y="64136"/>
                </a:cubicBezTo>
                <a:cubicBezTo>
                  <a:pt x="53691" y="63818"/>
                  <a:pt x="55045" y="63141"/>
                  <a:pt x="56173" y="62169"/>
                </a:cubicBezTo>
                <a:cubicBezTo>
                  <a:pt x="58862" y="60208"/>
                  <a:pt x="62102" y="59156"/>
                  <a:pt x="65428" y="59161"/>
                </a:cubicBezTo>
                <a:cubicBezTo>
                  <a:pt x="70865" y="59161"/>
                  <a:pt x="74625" y="61938"/>
                  <a:pt x="74625" y="65987"/>
                </a:cubicBezTo>
                <a:cubicBezTo>
                  <a:pt x="74625" y="67607"/>
                  <a:pt x="76360" y="68301"/>
                  <a:pt x="79021" y="69169"/>
                </a:cubicBezTo>
                <a:cubicBezTo>
                  <a:pt x="81682" y="70036"/>
                  <a:pt x="83302" y="70615"/>
                  <a:pt x="83765" y="72466"/>
                </a:cubicBezTo>
                <a:cubicBezTo>
                  <a:pt x="84227" y="74317"/>
                  <a:pt x="83302" y="75474"/>
                  <a:pt x="81162" y="77614"/>
                </a:cubicBezTo>
                <a:cubicBezTo>
                  <a:pt x="78102" y="80535"/>
                  <a:pt x="74706" y="83080"/>
                  <a:pt x="71039" y="85191"/>
                </a:cubicBezTo>
                <a:cubicBezTo>
                  <a:pt x="66816" y="87794"/>
                  <a:pt x="63808" y="89703"/>
                  <a:pt x="63808" y="92537"/>
                </a:cubicBezTo>
                <a:cubicBezTo>
                  <a:pt x="64086" y="94927"/>
                  <a:pt x="64711" y="97269"/>
                  <a:pt x="65659" y="99479"/>
                </a:cubicBezTo>
                <a:cubicBezTo>
                  <a:pt x="67858" y="105784"/>
                  <a:pt x="70634" y="113651"/>
                  <a:pt x="65659" y="118857"/>
                </a:cubicBezTo>
                <a:cubicBezTo>
                  <a:pt x="63126" y="122148"/>
                  <a:pt x="62351" y="126457"/>
                  <a:pt x="63577" y="130426"/>
                </a:cubicBezTo>
                <a:cubicBezTo>
                  <a:pt x="63924" y="133144"/>
                  <a:pt x="64271" y="135516"/>
                  <a:pt x="62998" y="136962"/>
                </a:cubicBezTo>
                <a:cubicBezTo>
                  <a:pt x="62212" y="137766"/>
                  <a:pt x="61113" y="138188"/>
                  <a:pt x="59990" y="138119"/>
                </a:cubicBezTo>
                <a:cubicBezTo>
                  <a:pt x="55421" y="138119"/>
                  <a:pt x="51835" y="139334"/>
                  <a:pt x="51083" y="141185"/>
                </a:cubicBezTo>
                <a:cubicBezTo>
                  <a:pt x="50331" y="143036"/>
                  <a:pt x="52182" y="145349"/>
                  <a:pt x="53859" y="146969"/>
                </a:cubicBezTo>
                <a:cubicBezTo>
                  <a:pt x="62478" y="155530"/>
                  <a:pt x="65428" y="159579"/>
                  <a:pt x="64271" y="161951"/>
                </a:cubicBezTo>
                <a:cubicBezTo>
                  <a:pt x="63866" y="163050"/>
                  <a:pt x="62709" y="163628"/>
                  <a:pt x="60974" y="163628"/>
                </a:cubicBezTo>
                <a:cubicBezTo>
                  <a:pt x="59238" y="163628"/>
                  <a:pt x="56346" y="166462"/>
                  <a:pt x="55190" y="169123"/>
                </a:cubicBezTo>
                <a:cubicBezTo>
                  <a:pt x="53905" y="171356"/>
                  <a:pt x="53778" y="174069"/>
                  <a:pt x="54843" y="176412"/>
                </a:cubicBezTo>
                <a:cubicBezTo>
                  <a:pt x="55363" y="176932"/>
                  <a:pt x="56231" y="177684"/>
                  <a:pt x="57214" y="178494"/>
                </a:cubicBezTo>
                <a:cubicBezTo>
                  <a:pt x="61957" y="182370"/>
                  <a:pt x="65833" y="185840"/>
                  <a:pt x="65023" y="188906"/>
                </a:cubicBezTo>
                <a:cubicBezTo>
                  <a:pt x="64618" y="190526"/>
                  <a:pt x="62998" y="191567"/>
                  <a:pt x="60106" y="192088"/>
                </a:cubicBezTo>
                <a:cubicBezTo>
                  <a:pt x="50215" y="193881"/>
                  <a:pt x="50215" y="201863"/>
                  <a:pt x="50215" y="207648"/>
                </a:cubicBezTo>
                <a:cubicBezTo>
                  <a:pt x="50707" y="210453"/>
                  <a:pt x="51875" y="213097"/>
                  <a:pt x="53628" y="215341"/>
                </a:cubicBezTo>
                <a:cubicBezTo>
                  <a:pt x="55809" y="214977"/>
                  <a:pt x="58012" y="214820"/>
                  <a:pt x="60222" y="214878"/>
                </a:cubicBezTo>
                <a:close/>
                <a:moveTo>
                  <a:pt x="336486" y="147547"/>
                </a:moveTo>
                <a:lnTo>
                  <a:pt x="336486" y="147547"/>
                </a:lnTo>
                <a:cubicBezTo>
                  <a:pt x="331402" y="147334"/>
                  <a:pt x="326485" y="145667"/>
                  <a:pt x="322314" y="142746"/>
                </a:cubicBezTo>
                <a:cubicBezTo>
                  <a:pt x="321169" y="141942"/>
                  <a:pt x="320695" y="140479"/>
                  <a:pt x="321158" y="139160"/>
                </a:cubicBezTo>
                <a:cubicBezTo>
                  <a:pt x="325536" y="132485"/>
                  <a:pt x="332755" y="128216"/>
                  <a:pt x="340709" y="127591"/>
                </a:cubicBezTo>
                <a:cubicBezTo>
                  <a:pt x="344364" y="127290"/>
                  <a:pt x="347575" y="130009"/>
                  <a:pt x="347882" y="133665"/>
                </a:cubicBezTo>
                <a:cubicBezTo>
                  <a:pt x="348680" y="137286"/>
                  <a:pt x="347830" y="141080"/>
                  <a:pt x="345568" y="144019"/>
                </a:cubicBezTo>
                <a:cubicBezTo>
                  <a:pt x="343208" y="146477"/>
                  <a:pt x="339887" y="147767"/>
                  <a:pt x="336486" y="147547"/>
                </a:cubicBezTo>
                <a:close/>
                <a:moveTo>
                  <a:pt x="340709" y="129732"/>
                </a:moveTo>
                <a:cubicBezTo>
                  <a:pt x="333721" y="130408"/>
                  <a:pt x="327381" y="134104"/>
                  <a:pt x="323356" y="139854"/>
                </a:cubicBezTo>
                <a:cubicBezTo>
                  <a:pt x="323356" y="140490"/>
                  <a:pt x="323356" y="140664"/>
                  <a:pt x="323356" y="140838"/>
                </a:cubicBezTo>
                <a:cubicBezTo>
                  <a:pt x="327139" y="143527"/>
                  <a:pt x="331616" y="145072"/>
                  <a:pt x="336255" y="145292"/>
                </a:cubicBezTo>
                <a:lnTo>
                  <a:pt x="336255" y="145292"/>
                </a:lnTo>
                <a:cubicBezTo>
                  <a:pt x="339026" y="145448"/>
                  <a:pt x="341727" y="144395"/>
                  <a:pt x="343659" y="142399"/>
                </a:cubicBezTo>
                <a:cubicBezTo>
                  <a:pt x="345463" y="139935"/>
                  <a:pt x="346117" y="136817"/>
                  <a:pt x="345452" y="133838"/>
                </a:cubicBezTo>
                <a:cubicBezTo>
                  <a:pt x="345267" y="131397"/>
                  <a:pt x="343150" y="129564"/>
                  <a:pt x="340709" y="12973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0" name="Forma libre: forma 399">
            <a:extLst>
              <a:ext uri="{FF2B5EF4-FFF2-40B4-BE49-F238E27FC236}">
                <a16:creationId xmlns:a16="http://schemas.microsoft.com/office/drawing/2014/main" id="{29C49B8B-82D2-0525-DEA4-DED598A0EFE0}"/>
              </a:ext>
            </a:extLst>
          </p:cNvPr>
          <p:cNvSpPr/>
          <p:nvPr/>
        </p:nvSpPr>
        <p:spPr>
          <a:xfrm>
            <a:off x="6539608" y="3084277"/>
            <a:ext cx="94254" cy="52811"/>
          </a:xfrm>
          <a:custGeom>
            <a:avLst/>
            <a:gdLst>
              <a:gd name="connsiteX0" fmla="*/ 23358 w 94254"/>
              <a:gd name="connsiteY0" fmla="*/ 52683 h 52811"/>
              <a:gd name="connsiteX1" fmla="*/ 22259 w 94254"/>
              <a:gd name="connsiteY1" fmla="*/ 51757 h 52811"/>
              <a:gd name="connsiteX2" fmla="*/ 18210 w 94254"/>
              <a:gd name="connsiteY2" fmla="*/ 44469 h 52811"/>
              <a:gd name="connsiteX3" fmla="*/ 1609 w 94254"/>
              <a:gd name="connsiteY3" fmla="*/ 46667 h 52811"/>
              <a:gd name="connsiteX4" fmla="*/ 626 w 94254"/>
              <a:gd name="connsiteY4" fmla="*/ 46667 h 52811"/>
              <a:gd name="connsiteX5" fmla="*/ 47 w 94254"/>
              <a:gd name="connsiteY5" fmla="*/ 45742 h 52811"/>
              <a:gd name="connsiteX6" fmla="*/ 1493 w 94254"/>
              <a:gd name="connsiteY6" fmla="*/ 9358 h 52811"/>
              <a:gd name="connsiteX7" fmla="*/ 2575 w 94254"/>
              <a:gd name="connsiteY7" fmla="*/ 8363 h 52811"/>
              <a:gd name="connsiteX8" fmla="*/ 2708 w 94254"/>
              <a:gd name="connsiteY8" fmla="*/ 8374 h 52811"/>
              <a:gd name="connsiteX9" fmla="*/ 13641 w 94254"/>
              <a:gd name="connsiteY9" fmla="*/ 9184 h 52811"/>
              <a:gd name="connsiteX10" fmla="*/ 32903 w 94254"/>
              <a:gd name="connsiteY10" fmla="*/ 12597 h 52811"/>
              <a:gd name="connsiteX11" fmla="*/ 43893 w 94254"/>
              <a:gd name="connsiteY11" fmla="*/ 14679 h 52811"/>
              <a:gd name="connsiteX12" fmla="*/ 50545 w 94254"/>
              <a:gd name="connsiteY12" fmla="*/ 11787 h 52811"/>
              <a:gd name="connsiteX13" fmla="*/ 67436 w 94254"/>
              <a:gd name="connsiteY13" fmla="*/ 6003 h 52811"/>
              <a:gd name="connsiteX14" fmla="*/ 82360 w 94254"/>
              <a:gd name="connsiteY14" fmla="*/ 1433 h 52811"/>
              <a:gd name="connsiteX15" fmla="*/ 86004 w 94254"/>
              <a:gd name="connsiteY15" fmla="*/ -129 h 52811"/>
              <a:gd name="connsiteX16" fmla="*/ 86582 w 94254"/>
              <a:gd name="connsiteY16" fmla="*/ -129 h 52811"/>
              <a:gd name="connsiteX17" fmla="*/ 93929 w 94254"/>
              <a:gd name="connsiteY17" fmla="*/ 10746 h 52811"/>
              <a:gd name="connsiteX18" fmla="*/ 93929 w 94254"/>
              <a:gd name="connsiteY18" fmla="*/ 12134 h 52811"/>
              <a:gd name="connsiteX19" fmla="*/ 76575 w 94254"/>
              <a:gd name="connsiteY19" fmla="*/ 23703 h 52811"/>
              <a:gd name="connsiteX20" fmla="*/ 74204 w 94254"/>
              <a:gd name="connsiteY20" fmla="*/ 29487 h 52811"/>
              <a:gd name="connsiteX21" fmla="*/ 69750 w 94254"/>
              <a:gd name="connsiteY21" fmla="*/ 36949 h 52811"/>
              <a:gd name="connsiteX22" fmla="*/ 61131 w 94254"/>
              <a:gd name="connsiteY22" fmla="*/ 48518 h 52811"/>
              <a:gd name="connsiteX23" fmla="*/ 57776 w 94254"/>
              <a:gd name="connsiteY23" fmla="*/ 50485 h 52811"/>
              <a:gd name="connsiteX24" fmla="*/ 51991 w 94254"/>
              <a:gd name="connsiteY24" fmla="*/ 49444 h 52811"/>
              <a:gd name="connsiteX25" fmla="*/ 43488 w 94254"/>
              <a:gd name="connsiteY25" fmla="*/ 48634 h 52811"/>
              <a:gd name="connsiteX26" fmla="*/ 23995 w 94254"/>
              <a:gd name="connsiteY26" fmla="*/ 52394 h 52811"/>
              <a:gd name="connsiteX27" fmla="*/ 14393 w 94254"/>
              <a:gd name="connsiteY27" fmla="*/ 41635 h 52811"/>
              <a:gd name="connsiteX28" fmla="*/ 19078 w 94254"/>
              <a:gd name="connsiteY28" fmla="*/ 42387 h 52811"/>
              <a:gd name="connsiteX29" fmla="*/ 24284 w 94254"/>
              <a:gd name="connsiteY29" fmla="*/ 50254 h 52811"/>
              <a:gd name="connsiteX30" fmla="*/ 42216 w 94254"/>
              <a:gd name="connsiteY30" fmla="*/ 46783 h 52811"/>
              <a:gd name="connsiteX31" fmla="*/ 52049 w 94254"/>
              <a:gd name="connsiteY31" fmla="*/ 47535 h 52811"/>
              <a:gd name="connsiteX32" fmla="*/ 57313 w 94254"/>
              <a:gd name="connsiteY32" fmla="*/ 48460 h 52811"/>
              <a:gd name="connsiteX33" fmla="*/ 58528 w 94254"/>
              <a:gd name="connsiteY33" fmla="*/ 48055 h 52811"/>
              <a:gd name="connsiteX34" fmla="*/ 69287 w 94254"/>
              <a:gd name="connsiteY34" fmla="*/ 35214 h 52811"/>
              <a:gd name="connsiteX35" fmla="*/ 71485 w 94254"/>
              <a:gd name="connsiteY35" fmla="*/ 29719 h 52811"/>
              <a:gd name="connsiteX36" fmla="*/ 75823 w 94254"/>
              <a:gd name="connsiteY36" fmla="*/ 21852 h 52811"/>
              <a:gd name="connsiteX37" fmla="*/ 91383 w 94254"/>
              <a:gd name="connsiteY37" fmla="*/ 11266 h 52811"/>
              <a:gd name="connsiteX38" fmla="*/ 85599 w 94254"/>
              <a:gd name="connsiteY38" fmla="*/ 2243 h 52811"/>
              <a:gd name="connsiteX39" fmla="*/ 83227 w 94254"/>
              <a:gd name="connsiteY39" fmla="*/ 3515 h 52811"/>
              <a:gd name="connsiteX40" fmla="*/ 67204 w 94254"/>
              <a:gd name="connsiteY40" fmla="*/ 8374 h 52811"/>
              <a:gd name="connsiteX41" fmla="*/ 51413 w 94254"/>
              <a:gd name="connsiteY41" fmla="*/ 13754 h 52811"/>
              <a:gd name="connsiteX42" fmla="*/ 43662 w 94254"/>
              <a:gd name="connsiteY42" fmla="*/ 16877 h 52811"/>
              <a:gd name="connsiteX43" fmla="*/ 32093 w 94254"/>
              <a:gd name="connsiteY43" fmla="*/ 14737 h 52811"/>
              <a:gd name="connsiteX44" fmla="*/ 13236 w 94254"/>
              <a:gd name="connsiteY44" fmla="*/ 11382 h 52811"/>
              <a:gd name="connsiteX45" fmla="*/ 3345 w 94254"/>
              <a:gd name="connsiteY45" fmla="*/ 10630 h 52811"/>
              <a:gd name="connsiteX46" fmla="*/ 1956 w 94254"/>
              <a:gd name="connsiteY46" fmla="*/ 44006 h 52811"/>
              <a:gd name="connsiteX47" fmla="*/ 14393 w 94254"/>
              <a:gd name="connsiteY47" fmla="*/ 41635 h 5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54" h="52811">
                <a:moveTo>
                  <a:pt x="23358" y="52683"/>
                </a:moveTo>
                <a:cubicBezTo>
                  <a:pt x="22820" y="52666"/>
                  <a:pt x="22369" y="52284"/>
                  <a:pt x="22259" y="51757"/>
                </a:cubicBezTo>
                <a:cubicBezTo>
                  <a:pt x="21739" y="48576"/>
                  <a:pt x="20929" y="45510"/>
                  <a:pt x="18210" y="44469"/>
                </a:cubicBezTo>
                <a:cubicBezTo>
                  <a:pt x="12582" y="43497"/>
                  <a:pt x="6792" y="44267"/>
                  <a:pt x="1609" y="46667"/>
                </a:cubicBezTo>
                <a:cubicBezTo>
                  <a:pt x="1302" y="46841"/>
                  <a:pt x="932" y="46841"/>
                  <a:pt x="626" y="46667"/>
                </a:cubicBezTo>
                <a:cubicBezTo>
                  <a:pt x="296" y="46465"/>
                  <a:pt x="82" y="46123"/>
                  <a:pt x="47" y="45742"/>
                </a:cubicBezTo>
                <a:cubicBezTo>
                  <a:pt x="-393" y="33594"/>
                  <a:pt x="94" y="21430"/>
                  <a:pt x="1493" y="9358"/>
                </a:cubicBezTo>
                <a:cubicBezTo>
                  <a:pt x="1516" y="8785"/>
                  <a:pt x="2002" y="8334"/>
                  <a:pt x="2575" y="8363"/>
                </a:cubicBezTo>
                <a:cubicBezTo>
                  <a:pt x="2621" y="8363"/>
                  <a:pt x="2668" y="8368"/>
                  <a:pt x="2708" y="8374"/>
                </a:cubicBezTo>
                <a:cubicBezTo>
                  <a:pt x="6641" y="8721"/>
                  <a:pt x="10286" y="9010"/>
                  <a:pt x="13641" y="9184"/>
                </a:cubicBezTo>
                <a:cubicBezTo>
                  <a:pt x="20136" y="9832"/>
                  <a:pt x="26580" y="10971"/>
                  <a:pt x="32903" y="12597"/>
                </a:cubicBezTo>
                <a:cubicBezTo>
                  <a:pt x="36506" y="13580"/>
                  <a:pt x="40180" y="14274"/>
                  <a:pt x="43893" y="14679"/>
                </a:cubicBezTo>
                <a:cubicBezTo>
                  <a:pt x="46288" y="14193"/>
                  <a:pt x="48556" y="13210"/>
                  <a:pt x="50545" y="11787"/>
                </a:cubicBezTo>
                <a:cubicBezTo>
                  <a:pt x="55578" y="8421"/>
                  <a:pt x="61397" y="6425"/>
                  <a:pt x="67436" y="6003"/>
                </a:cubicBezTo>
                <a:cubicBezTo>
                  <a:pt x="72734" y="5875"/>
                  <a:pt x="77900" y="4296"/>
                  <a:pt x="82360" y="1433"/>
                </a:cubicBezTo>
                <a:cubicBezTo>
                  <a:pt x="83435" y="635"/>
                  <a:pt x="84685" y="97"/>
                  <a:pt x="86004" y="-129"/>
                </a:cubicBezTo>
                <a:lnTo>
                  <a:pt x="86582" y="-129"/>
                </a:lnTo>
                <a:cubicBezTo>
                  <a:pt x="88549" y="565"/>
                  <a:pt x="92020" y="6986"/>
                  <a:pt x="93929" y="10746"/>
                </a:cubicBezTo>
                <a:cubicBezTo>
                  <a:pt x="94218" y="11162"/>
                  <a:pt x="94218" y="11718"/>
                  <a:pt x="93929" y="12134"/>
                </a:cubicBezTo>
                <a:cubicBezTo>
                  <a:pt x="92656" y="13291"/>
                  <a:pt x="81376" y="23240"/>
                  <a:pt x="76575" y="23703"/>
                </a:cubicBezTo>
                <a:cubicBezTo>
                  <a:pt x="74955" y="23703"/>
                  <a:pt x="74551" y="26826"/>
                  <a:pt x="74204" y="29487"/>
                </a:cubicBezTo>
                <a:cubicBezTo>
                  <a:pt x="73856" y="32148"/>
                  <a:pt x="73162" y="36949"/>
                  <a:pt x="69750" y="36949"/>
                </a:cubicBezTo>
                <a:cubicBezTo>
                  <a:pt x="66337" y="36949"/>
                  <a:pt x="62519" y="44064"/>
                  <a:pt x="61131" y="48518"/>
                </a:cubicBezTo>
                <a:cubicBezTo>
                  <a:pt x="60841" y="49386"/>
                  <a:pt x="60032" y="50485"/>
                  <a:pt x="57776" y="50485"/>
                </a:cubicBezTo>
                <a:cubicBezTo>
                  <a:pt x="55815" y="50346"/>
                  <a:pt x="53877" y="49999"/>
                  <a:pt x="51991" y="49444"/>
                </a:cubicBezTo>
                <a:cubicBezTo>
                  <a:pt x="49255" y="48518"/>
                  <a:pt x="46346" y="48240"/>
                  <a:pt x="43488" y="48634"/>
                </a:cubicBezTo>
                <a:cubicBezTo>
                  <a:pt x="37085" y="50329"/>
                  <a:pt x="30572" y="51584"/>
                  <a:pt x="23995" y="52394"/>
                </a:cubicBezTo>
                <a:close/>
                <a:moveTo>
                  <a:pt x="14393" y="41635"/>
                </a:moveTo>
                <a:cubicBezTo>
                  <a:pt x="15989" y="41571"/>
                  <a:pt x="17580" y="41826"/>
                  <a:pt x="19078" y="42387"/>
                </a:cubicBezTo>
                <a:cubicBezTo>
                  <a:pt x="22080" y="43908"/>
                  <a:pt x="24059" y="46898"/>
                  <a:pt x="24284" y="50254"/>
                </a:cubicBezTo>
                <a:cubicBezTo>
                  <a:pt x="30340" y="49559"/>
                  <a:pt x="36339" y="48397"/>
                  <a:pt x="42216" y="46783"/>
                </a:cubicBezTo>
                <a:cubicBezTo>
                  <a:pt x="45507" y="46204"/>
                  <a:pt x="48885" y="46465"/>
                  <a:pt x="52049" y="47535"/>
                </a:cubicBezTo>
                <a:cubicBezTo>
                  <a:pt x="53773" y="48009"/>
                  <a:pt x="55531" y="48321"/>
                  <a:pt x="57313" y="48460"/>
                </a:cubicBezTo>
                <a:cubicBezTo>
                  <a:pt x="58412" y="48460"/>
                  <a:pt x="58528" y="48171"/>
                  <a:pt x="58528" y="48055"/>
                </a:cubicBezTo>
                <a:cubicBezTo>
                  <a:pt x="59222" y="45915"/>
                  <a:pt x="63155" y="35214"/>
                  <a:pt x="69287" y="35214"/>
                </a:cubicBezTo>
                <a:cubicBezTo>
                  <a:pt x="70617" y="35214"/>
                  <a:pt x="71022" y="32900"/>
                  <a:pt x="71485" y="29719"/>
                </a:cubicBezTo>
                <a:cubicBezTo>
                  <a:pt x="71948" y="26537"/>
                  <a:pt x="72526" y="22257"/>
                  <a:pt x="75823" y="21852"/>
                </a:cubicBezTo>
                <a:cubicBezTo>
                  <a:pt x="81590" y="19261"/>
                  <a:pt x="86860" y="15680"/>
                  <a:pt x="91383" y="11266"/>
                </a:cubicBezTo>
                <a:cubicBezTo>
                  <a:pt x="89897" y="7998"/>
                  <a:pt x="87947" y="4961"/>
                  <a:pt x="85599" y="2243"/>
                </a:cubicBezTo>
                <a:cubicBezTo>
                  <a:pt x="84783" y="2619"/>
                  <a:pt x="83991" y="3041"/>
                  <a:pt x="83227" y="3515"/>
                </a:cubicBezTo>
                <a:cubicBezTo>
                  <a:pt x="78432" y="6575"/>
                  <a:pt x="72890" y="8258"/>
                  <a:pt x="67204" y="8374"/>
                </a:cubicBezTo>
                <a:cubicBezTo>
                  <a:pt x="61559" y="8744"/>
                  <a:pt x="56110" y="10601"/>
                  <a:pt x="51413" y="13754"/>
                </a:cubicBezTo>
                <a:cubicBezTo>
                  <a:pt x="49111" y="15385"/>
                  <a:pt x="46456" y="16455"/>
                  <a:pt x="43662" y="16877"/>
                </a:cubicBezTo>
                <a:cubicBezTo>
                  <a:pt x="39751" y="16507"/>
                  <a:pt x="35882" y="15790"/>
                  <a:pt x="32093" y="14737"/>
                </a:cubicBezTo>
                <a:cubicBezTo>
                  <a:pt x="25898" y="13164"/>
                  <a:pt x="19593" y="12041"/>
                  <a:pt x="13236" y="11382"/>
                </a:cubicBezTo>
                <a:cubicBezTo>
                  <a:pt x="10170" y="11382"/>
                  <a:pt x="6873" y="10977"/>
                  <a:pt x="3345" y="10630"/>
                </a:cubicBezTo>
                <a:cubicBezTo>
                  <a:pt x="2101" y="21707"/>
                  <a:pt x="1638" y="32860"/>
                  <a:pt x="1956" y="44006"/>
                </a:cubicBezTo>
                <a:cubicBezTo>
                  <a:pt x="5942" y="42526"/>
                  <a:pt x="10147" y="41727"/>
                  <a:pt x="14393" y="4163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1" name="Forma libre: forma 400">
            <a:extLst>
              <a:ext uri="{FF2B5EF4-FFF2-40B4-BE49-F238E27FC236}">
                <a16:creationId xmlns:a16="http://schemas.microsoft.com/office/drawing/2014/main" id="{C0E84C9D-A4A8-1E36-A61D-9628C4531E45}"/>
              </a:ext>
            </a:extLst>
          </p:cNvPr>
          <p:cNvSpPr/>
          <p:nvPr/>
        </p:nvSpPr>
        <p:spPr>
          <a:xfrm>
            <a:off x="6728858" y="3257040"/>
            <a:ext cx="175094" cy="218669"/>
          </a:xfrm>
          <a:custGeom>
            <a:avLst/>
            <a:gdLst>
              <a:gd name="connsiteX0" fmla="*/ 130329 w 175094"/>
              <a:gd name="connsiteY0" fmla="*/ 218540 h 218669"/>
              <a:gd name="connsiteX1" fmla="*/ 128999 w 175094"/>
              <a:gd name="connsiteY1" fmla="*/ 218540 h 218669"/>
              <a:gd name="connsiteX2" fmla="*/ 101291 w 175094"/>
              <a:gd name="connsiteY2" fmla="*/ 211888 h 218669"/>
              <a:gd name="connsiteX3" fmla="*/ 88855 w 175094"/>
              <a:gd name="connsiteY3" fmla="*/ 208013 h 218669"/>
              <a:gd name="connsiteX4" fmla="*/ 86252 w 175094"/>
              <a:gd name="connsiteY4" fmla="*/ 205236 h 218669"/>
              <a:gd name="connsiteX5" fmla="*/ 99787 w 175094"/>
              <a:gd name="connsiteY5" fmla="*/ 196733 h 218669"/>
              <a:gd name="connsiteX6" fmla="*/ 106382 w 175094"/>
              <a:gd name="connsiteY6" fmla="*/ 199220 h 218669"/>
              <a:gd name="connsiteX7" fmla="*/ 124371 w 175094"/>
              <a:gd name="connsiteY7" fmla="*/ 202749 h 218669"/>
              <a:gd name="connsiteX8" fmla="*/ 132122 w 175094"/>
              <a:gd name="connsiteY8" fmla="*/ 202749 h 218669"/>
              <a:gd name="connsiteX9" fmla="*/ 138948 w 175094"/>
              <a:gd name="connsiteY9" fmla="*/ 202749 h 218669"/>
              <a:gd name="connsiteX10" fmla="*/ 149360 w 175094"/>
              <a:gd name="connsiteY10" fmla="*/ 204195 h 218669"/>
              <a:gd name="connsiteX11" fmla="*/ 153814 w 175094"/>
              <a:gd name="connsiteY11" fmla="*/ 205178 h 218669"/>
              <a:gd name="connsiteX12" fmla="*/ 159598 w 175094"/>
              <a:gd name="connsiteY12" fmla="*/ 204368 h 218669"/>
              <a:gd name="connsiteX13" fmla="*/ 163589 w 175094"/>
              <a:gd name="connsiteY13" fmla="*/ 203848 h 218669"/>
              <a:gd name="connsiteX14" fmla="*/ 166713 w 175094"/>
              <a:gd name="connsiteY14" fmla="*/ 206219 h 218669"/>
              <a:gd name="connsiteX15" fmla="*/ 165730 w 175094"/>
              <a:gd name="connsiteY15" fmla="*/ 208649 h 218669"/>
              <a:gd name="connsiteX16" fmla="*/ 130329 w 175094"/>
              <a:gd name="connsiteY16" fmla="*/ 218540 h 218669"/>
              <a:gd name="connsiteX17" fmla="*/ 99787 w 175094"/>
              <a:gd name="connsiteY17" fmla="*/ 198989 h 218669"/>
              <a:gd name="connsiteX18" fmla="*/ 88508 w 175094"/>
              <a:gd name="connsiteY18" fmla="*/ 205410 h 218669"/>
              <a:gd name="connsiteX19" fmla="*/ 89260 w 175094"/>
              <a:gd name="connsiteY19" fmla="*/ 205815 h 218669"/>
              <a:gd name="connsiteX20" fmla="*/ 102101 w 175094"/>
              <a:gd name="connsiteY20" fmla="*/ 209748 h 218669"/>
              <a:gd name="connsiteX21" fmla="*/ 129056 w 175094"/>
              <a:gd name="connsiteY21" fmla="*/ 216284 h 218669"/>
              <a:gd name="connsiteX22" fmla="*/ 130329 w 175094"/>
              <a:gd name="connsiteY22" fmla="*/ 216284 h 218669"/>
              <a:gd name="connsiteX23" fmla="*/ 164226 w 175094"/>
              <a:gd name="connsiteY23" fmla="*/ 206914 h 218669"/>
              <a:gd name="connsiteX24" fmla="*/ 164631 w 175094"/>
              <a:gd name="connsiteY24" fmla="*/ 206219 h 218669"/>
              <a:gd name="connsiteX25" fmla="*/ 163763 w 175094"/>
              <a:gd name="connsiteY25" fmla="*/ 205872 h 218669"/>
              <a:gd name="connsiteX26" fmla="*/ 160235 w 175094"/>
              <a:gd name="connsiteY26" fmla="*/ 206393 h 218669"/>
              <a:gd name="connsiteX27" fmla="*/ 153814 w 175094"/>
              <a:gd name="connsiteY27" fmla="*/ 207203 h 218669"/>
              <a:gd name="connsiteX28" fmla="*/ 148030 w 175094"/>
              <a:gd name="connsiteY28" fmla="*/ 205930 h 218669"/>
              <a:gd name="connsiteX29" fmla="*/ 138717 w 175094"/>
              <a:gd name="connsiteY29" fmla="*/ 204773 h 218669"/>
              <a:gd name="connsiteX30" fmla="*/ 131891 w 175094"/>
              <a:gd name="connsiteY30" fmla="*/ 204773 h 218669"/>
              <a:gd name="connsiteX31" fmla="*/ 124140 w 175094"/>
              <a:gd name="connsiteY31" fmla="*/ 204773 h 218669"/>
              <a:gd name="connsiteX32" fmla="*/ 104588 w 175094"/>
              <a:gd name="connsiteY32" fmla="*/ 200666 h 218669"/>
              <a:gd name="connsiteX33" fmla="*/ 99787 w 175094"/>
              <a:gd name="connsiteY33" fmla="*/ 199105 h 218669"/>
              <a:gd name="connsiteX34" fmla="*/ 74972 w 175094"/>
              <a:gd name="connsiteY34" fmla="*/ 170067 h 218669"/>
              <a:gd name="connsiteX35" fmla="*/ 64618 w 175094"/>
              <a:gd name="connsiteY35" fmla="*/ 164282 h 218669"/>
              <a:gd name="connsiteX36" fmla="*/ 51430 w 175094"/>
              <a:gd name="connsiteY36" fmla="*/ 157399 h 218669"/>
              <a:gd name="connsiteX37" fmla="*/ 50620 w 175094"/>
              <a:gd name="connsiteY37" fmla="*/ 157399 h 218669"/>
              <a:gd name="connsiteX38" fmla="*/ 39051 w 175094"/>
              <a:gd name="connsiteY38" fmla="*/ 150920 h 218669"/>
              <a:gd name="connsiteX39" fmla="*/ 35927 w 175094"/>
              <a:gd name="connsiteY39" fmla="*/ 136980 h 218669"/>
              <a:gd name="connsiteX40" fmla="*/ 31705 w 175094"/>
              <a:gd name="connsiteY40" fmla="*/ 128072 h 218669"/>
              <a:gd name="connsiteX41" fmla="*/ 27077 w 175094"/>
              <a:gd name="connsiteY41" fmla="*/ 118643 h 218669"/>
              <a:gd name="connsiteX42" fmla="*/ 30721 w 175094"/>
              <a:gd name="connsiteY42" fmla="*/ 113379 h 218669"/>
              <a:gd name="connsiteX43" fmla="*/ 42290 w 175094"/>
              <a:gd name="connsiteY43" fmla="*/ 110140 h 218669"/>
              <a:gd name="connsiteX44" fmla="*/ 53049 w 175094"/>
              <a:gd name="connsiteY44" fmla="*/ 111355 h 218669"/>
              <a:gd name="connsiteX45" fmla="*/ 58313 w 175094"/>
              <a:gd name="connsiteY45" fmla="*/ 112107 h 218669"/>
              <a:gd name="connsiteX46" fmla="*/ 59470 w 175094"/>
              <a:gd name="connsiteY46" fmla="*/ 112107 h 218669"/>
              <a:gd name="connsiteX47" fmla="*/ 42117 w 175094"/>
              <a:gd name="connsiteY47" fmla="*/ 101868 h 218669"/>
              <a:gd name="connsiteX48" fmla="*/ 36968 w 175094"/>
              <a:gd name="connsiteY48" fmla="*/ 103893 h 218669"/>
              <a:gd name="connsiteX49" fmla="*/ 27251 w 175094"/>
              <a:gd name="connsiteY49" fmla="*/ 108116 h 218669"/>
              <a:gd name="connsiteX50" fmla="*/ 17938 w 175094"/>
              <a:gd name="connsiteY50" fmla="*/ 104240 h 218669"/>
              <a:gd name="connsiteX51" fmla="*/ 15624 w 175094"/>
              <a:gd name="connsiteY51" fmla="*/ 96547 h 218669"/>
              <a:gd name="connsiteX52" fmla="*/ 1857 w 175094"/>
              <a:gd name="connsiteY52" fmla="*/ 74335 h 218669"/>
              <a:gd name="connsiteX53" fmla="*/ 874 w 175094"/>
              <a:gd name="connsiteY53" fmla="*/ 73814 h 218669"/>
              <a:gd name="connsiteX54" fmla="*/ 469 w 175094"/>
              <a:gd name="connsiteY54" fmla="*/ 73814 h 218669"/>
              <a:gd name="connsiteX55" fmla="*/ -52 w 175094"/>
              <a:gd name="connsiteY55" fmla="*/ 72426 h 218669"/>
              <a:gd name="connsiteX56" fmla="*/ 990 w 175094"/>
              <a:gd name="connsiteY56" fmla="*/ 69186 h 218669"/>
              <a:gd name="connsiteX57" fmla="*/ 8625 w 175094"/>
              <a:gd name="connsiteY57" fmla="*/ 56981 h 218669"/>
              <a:gd name="connsiteX58" fmla="*/ 11922 w 175094"/>
              <a:gd name="connsiteY58" fmla="*/ 53106 h 218669"/>
              <a:gd name="connsiteX59" fmla="*/ 14756 w 175094"/>
              <a:gd name="connsiteY59" fmla="*/ 46974 h 218669"/>
              <a:gd name="connsiteX60" fmla="*/ 24127 w 175094"/>
              <a:gd name="connsiteY60" fmla="*/ 31761 h 218669"/>
              <a:gd name="connsiteX61" fmla="*/ 31936 w 175094"/>
              <a:gd name="connsiteY61" fmla="*/ 29216 h 218669"/>
              <a:gd name="connsiteX62" fmla="*/ 35060 w 175094"/>
              <a:gd name="connsiteY62" fmla="*/ 29216 h 218669"/>
              <a:gd name="connsiteX63" fmla="*/ 43736 w 175094"/>
              <a:gd name="connsiteY63" fmla="*/ 28464 h 218669"/>
              <a:gd name="connsiteX64" fmla="*/ 50967 w 175094"/>
              <a:gd name="connsiteY64" fmla="*/ 23431 h 218669"/>
              <a:gd name="connsiteX65" fmla="*/ 55652 w 175094"/>
              <a:gd name="connsiteY65" fmla="*/ 20308 h 218669"/>
              <a:gd name="connsiteX66" fmla="*/ 57214 w 175094"/>
              <a:gd name="connsiteY66" fmla="*/ 20713 h 218669"/>
              <a:gd name="connsiteX67" fmla="*/ 57908 w 175094"/>
              <a:gd name="connsiteY67" fmla="*/ 20713 h 218669"/>
              <a:gd name="connsiteX68" fmla="*/ 81046 w 175094"/>
              <a:gd name="connsiteY68" fmla="*/ 9144 h 218669"/>
              <a:gd name="connsiteX69" fmla="*/ 81393 w 175094"/>
              <a:gd name="connsiteY69" fmla="*/ 8392 h 218669"/>
              <a:gd name="connsiteX70" fmla="*/ 82434 w 175094"/>
              <a:gd name="connsiteY70" fmla="*/ 7351 h 218669"/>
              <a:gd name="connsiteX71" fmla="*/ 105225 w 175094"/>
              <a:gd name="connsiteY71" fmla="*/ 6368 h 218669"/>
              <a:gd name="connsiteX72" fmla="*/ 119628 w 175094"/>
              <a:gd name="connsiteY72" fmla="*/ 7929 h 218669"/>
              <a:gd name="connsiteX73" fmla="*/ 148550 w 175094"/>
              <a:gd name="connsiteY73" fmla="*/ 12615 h 218669"/>
              <a:gd name="connsiteX74" fmla="*/ 157747 w 175094"/>
              <a:gd name="connsiteY74" fmla="*/ 9722 h 218669"/>
              <a:gd name="connsiteX75" fmla="*/ 157747 w 175094"/>
              <a:gd name="connsiteY75" fmla="*/ 7756 h 218669"/>
              <a:gd name="connsiteX76" fmla="*/ 157747 w 175094"/>
              <a:gd name="connsiteY76" fmla="*/ 4979 h 218669"/>
              <a:gd name="connsiteX77" fmla="*/ 171572 w 175094"/>
              <a:gd name="connsiteY77" fmla="*/ -111 h 218669"/>
              <a:gd name="connsiteX78" fmla="*/ 172787 w 175094"/>
              <a:gd name="connsiteY78" fmla="*/ 699 h 218669"/>
              <a:gd name="connsiteX79" fmla="*/ 173192 w 175094"/>
              <a:gd name="connsiteY79" fmla="*/ 2318 h 218669"/>
              <a:gd name="connsiteX80" fmla="*/ 174985 w 175094"/>
              <a:gd name="connsiteY80" fmla="*/ 11747 h 218669"/>
              <a:gd name="connsiteX81" fmla="*/ 170011 w 175094"/>
              <a:gd name="connsiteY81" fmla="*/ 20424 h 218669"/>
              <a:gd name="connsiteX82" fmla="*/ 167118 w 175094"/>
              <a:gd name="connsiteY82" fmla="*/ 24473 h 218669"/>
              <a:gd name="connsiteX83" fmla="*/ 162375 w 175094"/>
              <a:gd name="connsiteY83" fmla="*/ 32513 h 218669"/>
              <a:gd name="connsiteX84" fmla="*/ 160466 w 175094"/>
              <a:gd name="connsiteY84" fmla="*/ 34596 h 218669"/>
              <a:gd name="connsiteX85" fmla="*/ 158962 w 175094"/>
              <a:gd name="connsiteY85" fmla="*/ 34596 h 218669"/>
              <a:gd name="connsiteX86" fmla="*/ 141146 w 175094"/>
              <a:gd name="connsiteY86" fmla="*/ 26035 h 218669"/>
              <a:gd name="connsiteX87" fmla="*/ 126627 w 175094"/>
              <a:gd name="connsiteY87" fmla="*/ 32976 h 218669"/>
              <a:gd name="connsiteX88" fmla="*/ 121363 w 175094"/>
              <a:gd name="connsiteY88" fmla="*/ 36273 h 218669"/>
              <a:gd name="connsiteX89" fmla="*/ 120206 w 175094"/>
              <a:gd name="connsiteY89" fmla="*/ 36273 h 218669"/>
              <a:gd name="connsiteX90" fmla="*/ 116794 w 175094"/>
              <a:gd name="connsiteY90" fmla="*/ 33265 h 218669"/>
              <a:gd name="connsiteX91" fmla="*/ 110604 w 175094"/>
              <a:gd name="connsiteY91" fmla="*/ 29621 h 218669"/>
              <a:gd name="connsiteX92" fmla="*/ 104415 w 175094"/>
              <a:gd name="connsiteY92" fmla="*/ 31067 h 218669"/>
              <a:gd name="connsiteX93" fmla="*/ 100886 w 175094"/>
              <a:gd name="connsiteY93" fmla="*/ 42636 h 218669"/>
              <a:gd name="connsiteX94" fmla="*/ 99209 w 175094"/>
              <a:gd name="connsiteY94" fmla="*/ 51717 h 218669"/>
              <a:gd name="connsiteX95" fmla="*/ 88103 w 175094"/>
              <a:gd name="connsiteY95" fmla="*/ 54031 h 218669"/>
              <a:gd name="connsiteX96" fmla="*/ 75955 w 175094"/>
              <a:gd name="connsiteY96" fmla="*/ 48247 h 218669"/>
              <a:gd name="connsiteX97" fmla="*/ 70171 w 175094"/>
              <a:gd name="connsiteY97" fmla="*/ 45355 h 218669"/>
              <a:gd name="connsiteX98" fmla="*/ 62883 w 175094"/>
              <a:gd name="connsiteY98" fmla="*/ 48883 h 218669"/>
              <a:gd name="connsiteX99" fmla="*/ 63982 w 175094"/>
              <a:gd name="connsiteY99" fmla="*/ 54668 h 218669"/>
              <a:gd name="connsiteX100" fmla="*/ 72948 w 175094"/>
              <a:gd name="connsiteY100" fmla="*/ 65195 h 218669"/>
              <a:gd name="connsiteX101" fmla="*/ 86425 w 175094"/>
              <a:gd name="connsiteY101" fmla="*/ 86019 h 218669"/>
              <a:gd name="connsiteX102" fmla="*/ 78790 w 175094"/>
              <a:gd name="connsiteY102" fmla="*/ 93307 h 218669"/>
              <a:gd name="connsiteX103" fmla="*/ 74741 w 175094"/>
              <a:gd name="connsiteY103" fmla="*/ 95679 h 218669"/>
              <a:gd name="connsiteX104" fmla="*/ 77170 w 175094"/>
              <a:gd name="connsiteY104" fmla="*/ 99786 h 218669"/>
              <a:gd name="connsiteX105" fmla="*/ 82145 w 175094"/>
              <a:gd name="connsiteY105" fmla="*/ 103025 h 218669"/>
              <a:gd name="connsiteX106" fmla="*/ 85326 w 175094"/>
              <a:gd name="connsiteY106" fmla="*/ 101406 h 218669"/>
              <a:gd name="connsiteX107" fmla="*/ 94177 w 175094"/>
              <a:gd name="connsiteY107" fmla="*/ 97935 h 218669"/>
              <a:gd name="connsiteX108" fmla="*/ 99267 w 175094"/>
              <a:gd name="connsiteY108" fmla="*/ 98687 h 218669"/>
              <a:gd name="connsiteX109" fmla="*/ 112282 w 175094"/>
              <a:gd name="connsiteY109" fmla="*/ 116040 h 218669"/>
              <a:gd name="connsiteX110" fmla="*/ 108059 w 175094"/>
              <a:gd name="connsiteY110" fmla="*/ 123271 h 218669"/>
              <a:gd name="connsiteX111" fmla="*/ 104068 w 175094"/>
              <a:gd name="connsiteY111" fmla="*/ 125064 h 218669"/>
              <a:gd name="connsiteX112" fmla="*/ 95449 w 175094"/>
              <a:gd name="connsiteY112" fmla="*/ 128014 h 218669"/>
              <a:gd name="connsiteX113" fmla="*/ 87524 w 175094"/>
              <a:gd name="connsiteY113" fmla="*/ 125585 h 218669"/>
              <a:gd name="connsiteX114" fmla="*/ 82261 w 175094"/>
              <a:gd name="connsiteY114" fmla="*/ 123965 h 218669"/>
              <a:gd name="connsiteX115" fmla="*/ 76476 w 175094"/>
              <a:gd name="connsiteY115" fmla="*/ 126915 h 218669"/>
              <a:gd name="connsiteX116" fmla="*/ 76476 w 175094"/>
              <a:gd name="connsiteY116" fmla="*/ 128130 h 218669"/>
              <a:gd name="connsiteX117" fmla="*/ 78385 w 175094"/>
              <a:gd name="connsiteY117" fmla="*/ 128708 h 218669"/>
              <a:gd name="connsiteX118" fmla="*/ 79773 w 175094"/>
              <a:gd name="connsiteY118" fmla="*/ 128708 h 218669"/>
              <a:gd name="connsiteX119" fmla="*/ 93656 w 175094"/>
              <a:gd name="connsiteY119" fmla="*/ 134898 h 218669"/>
              <a:gd name="connsiteX120" fmla="*/ 92152 w 175094"/>
              <a:gd name="connsiteY120" fmla="*/ 141550 h 218669"/>
              <a:gd name="connsiteX121" fmla="*/ 85558 w 175094"/>
              <a:gd name="connsiteY121" fmla="*/ 144384 h 218669"/>
              <a:gd name="connsiteX122" fmla="*/ 78096 w 175094"/>
              <a:gd name="connsiteY122" fmla="*/ 142938 h 218669"/>
              <a:gd name="connsiteX123" fmla="*/ 73295 w 175094"/>
              <a:gd name="connsiteY123" fmla="*/ 142244 h 218669"/>
              <a:gd name="connsiteX124" fmla="*/ 76013 w 175094"/>
              <a:gd name="connsiteY124" fmla="*/ 151788 h 218669"/>
              <a:gd name="connsiteX125" fmla="*/ 77749 w 175094"/>
              <a:gd name="connsiteY125" fmla="*/ 170067 h 218669"/>
              <a:gd name="connsiteX126" fmla="*/ 74972 w 175094"/>
              <a:gd name="connsiteY126" fmla="*/ 170183 h 218669"/>
              <a:gd name="connsiteX127" fmla="*/ 51430 w 175094"/>
              <a:gd name="connsiteY127" fmla="*/ 155317 h 218669"/>
              <a:gd name="connsiteX128" fmla="*/ 66006 w 175094"/>
              <a:gd name="connsiteY128" fmla="*/ 162663 h 218669"/>
              <a:gd name="connsiteX129" fmla="*/ 76013 w 175094"/>
              <a:gd name="connsiteY129" fmla="*/ 167522 h 218669"/>
              <a:gd name="connsiteX130" fmla="*/ 73179 w 175094"/>
              <a:gd name="connsiteY130" fmla="*/ 152077 h 218669"/>
              <a:gd name="connsiteX131" fmla="*/ 70692 w 175094"/>
              <a:gd name="connsiteY131" fmla="*/ 140508 h 218669"/>
              <a:gd name="connsiteX132" fmla="*/ 78038 w 175094"/>
              <a:gd name="connsiteY132" fmla="*/ 140508 h 218669"/>
              <a:gd name="connsiteX133" fmla="*/ 84864 w 175094"/>
              <a:gd name="connsiteY133" fmla="*/ 141839 h 218669"/>
              <a:gd name="connsiteX134" fmla="*/ 89780 w 175094"/>
              <a:gd name="connsiteY134" fmla="*/ 139814 h 218669"/>
              <a:gd name="connsiteX135" fmla="*/ 90937 w 175094"/>
              <a:gd name="connsiteY135" fmla="*/ 135592 h 218669"/>
              <a:gd name="connsiteX136" fmla="*/ 78211 w 175094"/>
              <a:gd name="connsiteY136" fmla="*/ 130790 h 218669"/>
              <a:gd name="connsiteX137" fmla="*/ 77691 w 175094"/>
              <a:gd name="connsiteY137" fmla="*/ 130790 h 218669"/>
              <a:gd name="connsiteX138" fmla="*/ 73815 w 175094"/>
              <a:gd name="connsiteY138" fmla="*/ 129113 h 218669"/>
              <a:gd name="connsiteX139" fmla="*/ 73815 w 175094"/>
              <a:gd name="connsiteY139" fmla="*/ 125585 h 218669"/>
              <a:gd name="connsiteX140" fmla="*/ 81740 w 175094"/>
              <a:gd name="connsiteY140" fmla="*/ 121536 h 218669"/>
              <a:gd name="connsiteX141" fmla="*/ 88161 w 175094"/>
              <a:gd name="connsiteY141" fmla="*/ 123444 h 218669"/>
              <a:gd name="connsiteX142" fmla="*/ 94929 w 175094"/>
              <a:gd name="connsiteY142" fmla="*/ 125585 h 218669"/>
              <a:gd name="connsiteX143" fmla="*/ 102448 w 175094"/>
              <a:gd name="connsiteY143" fmla="*/ 122982 h 218669"/>
              <a:gd name="connsiteX144" fmla="*/ 107134 w 175094"/>
              <a:gd name="connsiteY144" fmla="*/ 120899 h 218669"/>
              <a:gd name="connsiteX145" fmla="*/ 109505 w 175094"/>
              <a:gd name="connsiteY145" fmla="*/ 115751 h 218669"/>
              <a:gd name="connsiteX146" fmla="*/ 97936 w 175094"/>
              <a:gd name="connsiteY146" fmla="*/ 100885 h 218669"/>
              <a:gd name="connsiteX147" fmla="*/ 93425 w 175094"/>
              <a:gd name="connsiteY147" fmla="*/ 100191 h 218669"/>
              <a:gd name="connsiteX148" fmla="*/ 85905 w 175094"/>
              <a:gd name="connsiteY148" fmla="*/ 103199 h 218669"/>
              <a:gd name="connsiteX149" fmla="*/ 81393 w 175094"/>
              <a:gd name="connsiteY149" fmla="*/ 105281 h 218669"/>
              <a:gd name="connsiteX150" fmla="*/ 74799 w 175094"/>
              <a:gd name="connsiteY150" fmla="*/ 101348 h 218669"/>
              <a:gd name="connsiteX151" fmla="*/ 71791 w 175094"/>
              <a:gd name="connsiteY151" fmla="*/ 95159 h 218669"/>
              <a:gd name="connsiteX152" fmla="*/ 77575 w 175094"/>
              <a:gd name="connsiteY152" fmla="*/ 91225 h 218669"/>
              <a:gd name="connsiteX153" fmla="*/ 83707 w 175094"/>
              <a:gd name="connsiteY153" fmla="*/ 86019 h 218669"/>
              <a:gd name="connsiteX154" fmla="*/ 70807 w 175094"/>
              <a:gd name="connsiteY154" fmla="*/ 66699 h 218669"/>
              <a:gd name="connsiteX155" fmla="*/ 61668 w 175094"/>
              <a:gd name="connsiteY155" fmla="*/ 55998 h 218669"/>
              <a:gd name="connsiteX156" fmla="*/ 60395 w 175094"/>
              <a:gd name="connsiteY156" fmla="*/ 47842 h 218669"/>
              <a:gd name="connsiteX157" fmla="*/ 69708 w 175094"/>
              <a:gd name="connsiteY157" fmla="*/ 43099 h 218669"/>
              <a:gd name="connsiteX158" fmla="*/ 77691 w 175094"/>
              <a:gd name="connsiteY158" fmla="*/ 47148 h 218669"/>
              <a:gd name="connsiteX159" fmla="*/ 87871 w 175094"/>
              <a:gd name="connsiteY159" fmla="*/ 52007 h 218669"/>
              <a:gd name="connsiteX160" fmla="*/ 98110 w 175094"/>
              <a:gd name="connsiteY160" fmla="*/ 49866 h 218669"/>
              <a:gd name="connsiteX161" fmla="*/ 98457 w 175094"/>
              <a:gd name="connsiteY161" fmla="*/ 43503 h 218669"/>
              <a:gd name="connsiteX162" fmla="*/ 103374 w 175094"/>
              <a:gd name="connsiteY162" fmla="*/ 29274 h 218669"/>
              <a:gd name="connsiteX163" fmla="*/ 110373 w 175094"/>
              <a:gd name="connsiteY163" fmla="*/ 27654 h 218669"/>
              <a:gd name="connsiteX164" fmla="*/ 118355 w 175094"/>
              <a:gd name="connsiteY164" fmla="*/ 32166 h 218669"/>
              <a:gd name="connsiteX165" fmla="*/ 120785 w 175094"/>
              <a:gd name="connsiteY165" fmla="*/ 34480 h 218669"/>
              <a:gd name="connsiteX166" fmla="*/ 121132 w 175094"/>
              <a:gd name="connsiteY166" fmla="*/ 34480 h 218669"/>
              <a:gd name="connsiteX167" fmla="*/ 124834 w 175094"/>
              <a:gd name="connsiteY167" fmla="*/ 31819 h 218669"/>
              <a:gd name="connsiteX168" fmla="*/ 140915 w 175094"/>
              <a:gd name="connsiteY168" fmla="*/ 24241 h 218669"/>
              <a:gd name="connsiteX169" fmla="*/ 159251 w 175094"/>
              <a:gd name="connsiteY169" fmla="*/ 32629 h 218669"/>
              <a:gd name="connsiteX170" fmla="*/ 160524 w 175094"/>
              <a:gd name="connsiteY170" fmla="*/ 31240 h 218669"/>
              <a:gd name="connsiteX171" fmla="*/ 164631 w 175094"/>
              <a:gd name="connsiteY171" fmla="*/ 24762 h 218669"/>
              <a:gd name="connsiteX172" fmla="*/ 168275 w 175094"/>
              <a:gd name="connsiteY172" fmla="*/ 18978 h 218669"/>
              <a:gd name="connsiteX173" fmla="*/ 172498 w 175094"/>
              <a:gd name="connsiteY173" fmla="*/ 11921 h 218669"/>
              <a:gd name="connsiteX174" fmla="*/ 170820 w 175094"/>
              <a:gd name="connsiteY174" fmla="*/ 3070 h 218669"/>
              <a:gd name="connsiteX175" fmla="*/ 170820 w 175094"/>
              <a:gd name="connsiteY175" fmla="*/ 2434 h 218669"/>
              <a:gd name="connsiteX176" fmla="*/ 159656 w 175094"/>
              <a:gd name="connsiteY176" fmla="*/ 6310 h 218669"/>
              <a:gd name="connsiteX177" fmla="*/ 159656 w 175094"/>
              <a:gd name="connsiteY177" fmla="*/ 7062 h 218669"/>
              <a:gd name="connsiteX178" fmla="*/ 159251 w 175094"/>
              <a:gd name="connsiteY178" fmla="*/ 11169 h 218669"/>
              <a:gd name="connsiteX179" fmla="*/ 148145 w 175094"/>
              <a:gd name="connsiteY179" fmla="*/ 15044 h 218669"/>
              <a:gd name="connsiteX180" fmla="*/ 118529 w 175094"/>
              <a:gd name="connsiteY180" fmla="*/ 10127 h 218669"/>
              <a:gd name="connsiteX181" fmla="*/ 105109 w 175094"/>
              <a:gd name="connsiteY181" fmla="*/ 8797 h 218669"/>
              <a:gd name="connsiteX182" fmla="*/ 83244 w 175094"/>
              <a:gd name="connsiteY182" fmla="*/ 9722 h 218669"/>
              <a:gd name="connsiteX183" fmla="*/ 82781 w 175094"/>
              <a:gd name="connsiteY183" fmla="*/ 10590 h 218669"/>
              <a:gd name="connsiteX184" fmla="*/ 57619 w 175094"/>
              <a:gd name="connsiteY184" fmla="*/ 22969 h 218669"/>
              <a:gd name="connsiteX185" fmla="*/ 55884 w 175094"/>
              <a:gd name="connsiteY185" fmla="*/ 22622 h 218669"/>
              <a:gd name="connsiteX186" fmla="*/ 52355 w 175094"/>
              <a:gd name="connsiteY186" fmla="*/ 24878 h 218669"/>
              <a:gd name="connsiteX187" fmla="*/ 43968 w 175094"/>
              <a:gd name="connsiteY187" fmla="*/ 30662 h 218669"/>
              <a:gd name="connsiteX188" fmla="*/ 34770 w 175094"/>
              <a:gd name="connsiteY188" fmla="*/ 31472 h 218669"/>
              <a:gd name="connsiteX189" fmla="*/ 31647 w 175094"/>
              <a:gd name="connsiteY189" fmla="*/ 31472 h 218669"/>
              <a:gd name="connsiteX190" fmla="*/ 25862 w 175094"/>
              <a:gd name="connsiteY190" fmla="*/ 32224 h 218669"/>
              <a:gd name="connsiteX191" fmla="*/ 15913 w 175094"/>
              <a:gd name="connsiteY191" fmla="*/ 48594 h 218669"/>
              <a:gd name="connsiteX192" fmla="*/ 13657 w 175094"/>
              <a:gd name="connsiteY192" fmla="*/ 53511 h 218669"/>
              <a:gd name="connsiteX193" fmla="*/ 8625 w 175094"/>
              <a:gd name="connsiteY193" fmla="*/ 59295 h 218669"/>
              <a:gd name="connsiteX194" fmla="*/ 2840 w 175094"/>
              <a:gd name="connsiteY194" fmla="*/ 69996 h 218669"/>
              <a:gd name="connsiteX195" fmla="*/ 2089 w 175094"/>
              <a:gd name="connsiteY195" fmla="*/ 72368 h 218669"/>
              <a:gd name="connsiteX196" fmla="*/ 2089 w 175094"/>
              <a:gd name="connsiteY196" fmla="*/ 72368 h 218669"/>
              <a:gd name="connsiteX197" fmla="*/ 17417 w 175094"/>
              <a:gd name="connsiteY197" fmla="*/ 96952 h 218669"/>
              <a:gd name="connsiteX198" fmla="*/ 19152 w 175094"/>
              <a:gd name="connsiteY198" fmla="*/ 102736 h 218669"/>
              <a:gd name="connsiteX199" fmla="*/ 26788 w 175094"/>
              <a:gd name="connsiteY199" fmla="*/ 105860 h 218669"/>
              <a:gd name="connsiteX200" fmla="*/ 34770 w 175094"/>
              <a:gd name="connsiteY200" fmla="*/ 102389 h 218669"/>
              <a:gd name="connsiteX201" fmla="*/ 41654 w 175094"/>
              <a:gd name="connsiteY201" fmla="*/ 99612 h 218669"/>
              <a:gd name="connsiteX202" fmla="*/ 61437 w 175094"/>
              <a:gd name="connsiteY202" fmla="*/ 111991 h 218669"/>
              <a:gd name="connsiteX203" fmla="*/ 58024 w 175094"/>
              <a:gd name="connsiteY203" fmla="*/ 114536 h 218669"/>
              <a:gd name="connsiteX204" fmla="*/ 52239 w 175094"/>
              <a:gd name="connsiteY204" fmla="*/ 113784 h 218669"/>
              <a:gd name="connsiteX205" fmla="*/ 41885 w 175094"/>
              <a:gd name="connsiteY205" fmla="*/ 112570 h 218669"/>
              <a:gd name="connsiteX206" fmla="*/ 31762 w 175094"/>
              <a:gd name="connsiteY206" fmla="*/ 115346 h 218669"/>
              <a:gd name="connsiteX207" fmla="*/ 28986 w 175094"/>
              <a:gd name="connsiteY207" fmla="*/ 119106 h 218669"/>
              <a:gd name="connsiteX208" fmla="*/ 33151 w 175094"/>
              <a:gd name="connsiteY208" fmla="*/ 126799 h 218669"/>
              <a:gd name="connsiteX209" fmla="*/ 37836 w 175094"/>
              <a:gd name="connsiteY209" fmla="*/ 137790 h 218669"/>
              <a:gd name="connsiteX210" fmla="*/ 40555 w 175094"/>
              <a:gd name="connsiteY210" fmla="*/ 149763 h 218669"/>
              <a:gd name="connsiteX211" fmla="*/ 50446 w 175094"/>
              <a:gd name="connsiteY211" fmla="*/ 155548 h 21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75094" h="218669">
                <a:moveTo>
                  <a:pt x="130329" y="218540"/>
                </a:moveTo>
                <a:lnTo>
                  <a:pt x="128999" y="218540"/>
                </a:lnTo>
                <a:cubicBezTo>
                  <a:pt x="119454" y="217858"/>
                  <a:pt x="110084" y="215608"/>
                  <a:pt x="101291" y="211888"/>
                </a:cubicBezTo>
                <a:cubicBezTo>
                  <a:pt x="97242" y="210251"/>
                  <a:pt x="93078" y="208955"/>
                  <a:pt x="88855" y="208013"/>
                </a:cubicBezTo>
                <a:cubicBezTo>
                  <a:pt x="86252" y="207608"/>
                  <a:pt x="86194" y="205757"/>
                  <a:pt x="86252" y="205236"/>
                </a:cubicBezTo>
                <a:cubicBezTo>
                  <a:pt x="86252" y="201708"/>
                  <a:pt x="93598" y="196733"/>
                  <a:pt x="99787" y="196733"/>
                </a:cubicBezTo>
                <a:cubicBezTo>
                  <a:pt x="102217" y="196693"/>
                  <a:pt x="104588" y="197578"/>
                  <a:pt x="106382" y="199220"/>
                </a:cubicBezTo>
                <a:cubicBezTo>
                  <a:pt x="109621" y="202344"/>
                  <a:pt x="117950" y="202749"/>
                  <a:pt x="124371" y="202749"/>
                </a:cubicBezTo>
                <a:lnTo>
                  <a:pt x="132122" y="202749"/>
                </a:lnTo>
                <a:lnTo>
                  <a:pt x="138948" y="202749"/>
                </a:lnTo>
                <a:cubicBezTo>
                  <a:pt x="142477" y="202413"/>
                  <a:pt x="146063" y="202905"/>
                  <a:pt x="149360" y="204195"/>
                </a:cubicBezTo>
                <a:cubicBezTo>
                  <a:pt x="150748" y="204883"/>
                  <a:pt x="152252" y="205225"/>
                  <a:pt x="153814" y="205178"/>
                </a:cubicBezTo>
                <a:cubicBezTo>
                  <a:pt x="155781" y="205109"/>
                  <a:pt x="157690" y="204837"/>
                  <a:pt x="159598" y="204368"/>
                </a:cubicBezTo>
                <a:cubicBezTo>
                  <a:pt x="160929" y="204079"/>
                  <a:pt x="162259" y="203906"/>
                  <a:pt x="163589" y="203848"/>
                </a:cubicBezTo>
                <a:cubicBezTo>
                  <a:pt x="166077" y="203848"/>
                  <a:pt x="166655" y="205294"/>
                  <a:pt x="166713" y="206219"/>
                </a:cubicBezTo>
                <a:cubicBezTo>
                  <a:pt x="166771" y="207139"/>
                  <a:pt x="166424" y="208036"/>
                  <a:pt x="165730" y="208649"/>
                </a:cubicBezTo>
                <a:cubicBezTo>
                  <a:pt x="161854" y="212756"/>
                  <a:pt x="143865" y="218540"/>
                  <a:pt x="130329" y="218540"/>
                </a:cubicBezTo>
                <a:close/>
                <a:moveTo>
                  <a:pt x="99787" y="198989"/>
                </a:moveTo>
                <a:cubicBezTo>
                  <a:pt x="95218" y="199110"/>
                  <a:pt x="90937" y="201523"/>
                  <a:pt x="88508" y="205410"/>
                </a:cubicBezTo>
                <a:cubicBezTo>
                  <a:pt x="88508" y="205410"/>
                  <a:pt x="88508" y="205699"/>
                  <a:pt x="89260" y="205815"/>
                </a:cubicBezTo>
                <a:cubicBezTo>
                  <a:pt x="93656" y="206763"/>
                  <a:pt x="97936" y="208076"/>
                  <a:pt x="102101" y="209748"/>
                </a:cubicBezTo>
                <a:cubicBezTo>
                  <a:pt x="110662" y="213386"/>
                  <a:pt x="119802" y="215596"/>
                  <a:pt x="129056" y="216284"/>
                </a:cubicBezTo>
                <a:lnTo>
                  <a:pt x="130329" y="216284"/>
                </a:lnTo>
                <a:cubicBezTo>
                  <a:pt x="144038" y="216284"/>
                  <a:pt x="160929" y="210500"/>
                  <a:pt x="164226" y="206914"/>
                </a:cubicBezTo>
                <a:cubicBezTo>
                  <a:pt x="164631" y="206451"/>
                  <a:pt x="164631" y="206219"/>
                  <a:pt x="164631" y="206219"/>
                </a:cubicBezTo>
                <a:cubicBezTo>
                  <a:pt x="164631" y="206219"/>
                  <a:pt x="164631" y="205872"/>
                  <a:pt x="163763" y="205872"/>
                </a:cubicBezTo>
                <a:cubicBezTo>
                  <a:pt x="162549" y="205942"/>
                  <a:pt x="161391" y="206115"/>
                  <a:pt x="160235" y="206393"/>
                </a:cubicBezTo>
                <a:cubicBezTo>
                  <a:pt x="158094" y="206850"/>
                  <a:pt x="155954" y="207122"/>
                  <a:pt x="153814" y="207203"/>
                </a:cubicBezTo>
                <a:cubicBezTo>
                  <a:pt x="151790" y="207313"/>
                  <a:pt x="149822" y="206873"/>
                  <a:pt x="148030" y="205930"/>
                </a:cubicBezTo>
                <a:cubicBezTo>
                  <a:pt x="145022" y="204953"/>
                  <a:pt x="141840" y="204559"/>
                  <a:pt x="138717" y="204773"/>
                </a:cubicBezTo>
                <a:lnTo>
                  <a:pt x="131891" y="204773"/>
                </a:lnTo>
                <a:lnTo>
                  <a:pt x="124140" y="204773"/>
                </a:lnTo>
                <a:cubicBezTo>
                  <a:pt x="116620" y="204773"/>
                  <a:pt x="108406" y="204311"/>
                  <a:pt x="104588" y="200666"/>
                </a:cubicBezTo>
                <a:cubicBezTo>
                  <a:pt x="103258" y="199567"/>
                  <a:pt x="101523" y="199012"/>
                  <a:pt x="99787" y="199105"/>
                </a:cubicBezTo>
                <a:close/>
                <a:moveTo>
                  <a:pt x="74972" y="170067"/>
                </a:moveTo>
                <a:cubicBezTo>
                  <a:pt x="71039" y="169176"/>
                  <a:pt x="67453" y="167163"/>
                  <a:pt x="64618" y="164282"/>
                </a:cubicBezTo>
                <a:cubicBezTo>
                  <a:pt x="60974" y="160754"/>
                  <a:pt x="56404" y="158365"/>
                  <a:pt x="51430" y="157399"/>
                </a:cubicBezTo>
                <a:lnTo>
                  <a:pt x="50620" y="157399"/>
                </a:lnTo>
                <a:cubicBezTo>
                  <a:pt x="45934" y="157185"/>
                  <a:pt x="41654" y="154784"/>
                  <a:pt x="39051" y="150920"/>
                </a:cubicBezTo>
                <a:cubicBezTo>
                  <a:pt x="35927" y="146993"/>
                  <a:pt x="34770" y="141862"/>
                  <a:pt x="35927" y="136980"/>
                </a:cubicBezTo>
                <a:cubicBezTo>
                  <a:pt x="36795" y="134088"/>
                  <a:pt x="34365" y="131195"/>
                  <a:pt x="31705" y="128072"/>
                </a:cubicBezTo>
                <a:cubicBezTo>
                  <a:pt x="28986" y="125660"/>
                  <a:pt x="27309" y="122270"/>
                  <a:pt x="27077" y="118643"/>
                </a:cubicBezTo>
                <a:cubicBezTo>
                  <a:pt x="27482" y="116445"/>
                  <a:pt x="28813" y="114525"/>
                  <a:pt x="30721" y="113379"/>
                </a:cubicBezTo>
                <a:cubicBezTo>
                  <a:pt x="34134" y="111048"/>
                  <a:pt x="38183" y="109909"/>
                  <a:pt x="42290" y="110140"/>
                </a:cubicBezTo>
                <a:cubicBezTo>
                  <a:pt x="45876" y="110250"/>
                  <a:pt x="49521" y="110655"/>
                  <a:pt x="53049" y="111355"/>
                </a:cubicBezTo>
                <a:cubicBezTo>
                  <a:pt x="54785" y="111742"/>
                  <a:pt x="56520" y="111991"/>
                  <a:pt x="58313" y="112107"/>
                </a:cubicBezTo>
                <a:cubicBezTo>
                  <a:pt x="58718" y="112205"/>
                  <a:pt x="59065" y="112205"/>
                  <a:pt x="59470" y="112107"/>
                </a:cubicBezTo>
                <a:cubicBezTo>
                  <a:pt x="59470" y="109330"/>
                  <a:pt x="49521" y="101868"/>
                  <a:pt x="42117" y="101868"/>
                </a:cubicBezTo>
                <a:cubicBezTo>
                  <a:pt x="40208" y="101741"/>
                  <a:pt x="38299" y="102482"/>
                  <a:pt x="36968" y="103893"/>
                </a:cubicBezTo>
                <a:cubicBezTo>
                  <a:pt x="34481" y="106623"/>
                  <a:pt x="30953" y="108156"/>
                  <a:pt x="27251" y="108116"/>
                </a:cubicBezTo>
                <a:cubicBezTo>
                  <a:pt x="23722" y="108197"/>
                  <a:pt x="20367" y="106791"/>
                  <a:pt x="17938" y="104240"/>
                </a:cubicBezTo>
                <a:cubicBezTo>
                  <a:pt x="16087" y="102135"/>
                  <a:pt x="15219" y="99323"/>
                  <a:pt x="15624" y="96547"/>
                </a:cubicBezTo>
                <a:cubicBezTo>
                  <a:pt x="16492" y="86898"/>
                  <a:pt x="10881" y="77834"/>
                  <a:pt x="1857" y="74335"/>
                </a:cubicBezTo>
                <a:cubicBezTo>
                  <a:pt x="1510" y="74207"/>
                  <a:pt x="1163" y="74034"/>
                  <a:pt x="874" y="73814"/>
                </a:cubicBezTo>
                <a:lnTo>
                  <a:pt x="469" y="73814"/>
                </a:lnTo>
                <a:cubicBezTo>
                  <a:pt x="6" y="73536"/>
                  <a:pt x="-225" y="72952"/>
                  <a:pt x="-52" y="72426"/>
                </a:cubicBezTo>
                <a:lnTo>
                  <a:pt x="990" y="69186"/>
                </a:lnTo>
                <a:cubicBezTo>
                  <a:pt x="2840" y="63402"/>
                  <a:pt x="4633" y="57617"/>
                  <a:pt x="8625" y="56981"/>
                </a:cubicBezTo>
                <a:cubicBezTo>
                  <a:pt x="11286" y="56403"/>
                  <a:pt x="11517" y="55246"/>
                  <a:pt x="11922" y="53106"/>
                </a:cubicBezTo>
                <a:cubicBezTo>
                  <a:pt x="12153" y="50809"/>
                  <a:pt x="13195" y="48652"/>
                  <a:pt x="14756" y="46974"/>
                </a:cubicBezTo>
                <a:cubicBezTo>
                  <a:pt x="18863" y="42561"/>
                  <a:pt x="22045" y="37395"/>
                  <a:pt x="24127" y="31761"/>
                </a:cubicBezTo>
                <a:cubicBezTo>
                  <a:pt x="24648" y="29216"/>
                  <a:pt x="28523" y="29216"/>
                  <a:pt x="31936" y="29216"/>
                </a:cubicBezTo>
                <a:lnTo>
                  <a:pt x="35060" y="29216"/>
                </a:lnTo>
                <a:cubicBezTo>
                  <a:pt x="37952" y="29326"/>
                  <a:pt x="40902" y="29071"/>
                  <a:pt x="43736" y="28464"/>
                </a:cubicBezTo>
                <a:cubicBezTo>
                  <a:pt x="46628" y="27585"/>
                  <a:pt x="49116" y="25826"/>
                  <a:pt x="50967" y="23431"/>
                </a:cubicBezTo>
                <a:cubicBezTo>
                  <a:pt x="52529" y="21754"/>
                  <a:pt x="53859" y="20308"/>
                  <a:pt x="55652" y="20308"/>
                </a:cubicBezTo>
                <a:cubicBezTo>
                  <a:pt x="56173" y="20302"/>
                  <a:pt x="56751" y="20441"/>
                  <a:pt x="57214" y="20713"/>
                </a:cubicBezTo>
                <a:cubicBezTo>
                  <a:pt x="57445" y="20753"/>
                  <a:pt x="57677" y="20753"/>
                  <a:pt x="57908" y="20713"/>
                </a:cubicBezTo>
                <a:cubicBezTo>
                  <a:pt x="66411" y="18723"/>
                  <a:pt x="74336" y="14761"/>
                  <a:pt x="81046" y="9144"/>
                </a:cubicBezTo>
                <a:cubicBezTo>
                  <a:pt x="81220" y="8913"/>
                  <a:pt x="81335" y="8658"/>
                  <a:pt x="81393" y="8392"/>
                </a:cubicBezTo>
                <a:cubicBezTo>
                  <a:pt x="81393" y="7831"/>
                  <a:pt x="81856" y="7380"/>
                  <a:pt x="82434" y="7351"/>
                </a:cubicBezTo>
                <a:cubicBezTo>
                  <a:pt x="86367" y="7351"/>
                  <a:pt x="96490" y="6368"/>
                  <a:pt x="105225" y="6368"/>
                </a:cubicBezTo>
                <a:cubicBezTo>
                  <a:pt x="110084" y="6009"/>
                  <a:pt x="114942" y="6535"/>
                  <a:pt x="119628" y="7929"/>
                </a:cubicBezTo>
                <a:cubicBezTo>
                  <a:pt x="125817" y="10995"/>
                  <a:pt x="148087" y="12615"/>
                  <a:pt x="148550" y="12615"/>
                </a:cubicBezTo>
                <a:cubicBezTo>
                  <a:pt x="151905" y="12973"/>
                  <a:pt x="155202" y="11926"/>
                  <a:pt x="157747" y="9722"/>
                </a:cubicBezTo>
                <a:cubicBezTo>
                  <a:pt x="158094" y="9115"/>
                  <a:pt x="158094" y="8363"/>
                  <a:pt x="157747" y="7756"/>
                </a:cubicBezTo>
                <a:cubicBezTo>
                  <a:pt x="157285" y="6888"/>
                  <a:pt x="157285" y="5847"/>
                  <a:pt x="157747" y="4979"/>
                </a:cubicBezTo>
                <a:cubicBezTo>
                  <a:pt x="160003" y="1162"/>
                  <a:pt x="170415" y="5"/>
                  <a:pt x="171572" y="-111"/>
                </a:cubicBezTo>
                <a:cubicBezTo>
                  <a:pt x="172151" y="-215"/>
                  <a:pt x="172671" y="143"/>
                  <a:pt x="172787" y="699"/>
                </a:cubicBezTo>
                <a:lnTo>
                  <a:pt x="173192" y="2318"/>
                </a:lnTo>
                <a:cubicBezTo>
                  <a:pt x="174175" y="5373"/>
                  <a:pt x="174754" y="8543"/>
                  <a:pt x="174985" y="11747"/>
                </a:cubicBezTo>
                <a:cubicBezTo>
                  <a:pt x="174754" y="15241"/>
                  <a:pt x="172903" y="18434"/>
                  <a:pt x="170011" y="20424"/>
                </a:cubicBezTo>
                <a:cubicBezTo>
                  <a:pt x="168449" y="21870"/>
                  <a:pt x="167118" y="23084"/>
                  <a:pt x="167118" y="24473"/>
                </a:cubicBezTo>
                <a:cubicBezTo>
                  <a:pt x="167118" y="27539"/>
                  <a:pt x="165035" y="29736"/>
                  <a:pt x="162375" y="32513"/>
                </a:cubicBezTo>
                <a:lnTo>
                  <a:pt x="160466" y="34596"/>
                </a:lnTo>
                <a:cubicBezTo>
                  <a:pt x="160061" y="34995"/>
                  <a:pt x="159367" y="34995"/>
                  <a:pt x="158962" y="34596"/>
                </a:cubicBezTo>
                <a:cubicBezTo>
                  <a:pt x="154046" y="29956"/>
                  <a:pt x="147856" y="26960"/>
                  <a:pt x="141146" y="26035"/>
                </a:cubicBezTo>
                <a:cubicBezTo>
                  <a:pt x="135535" y="26191"/>
                  <a:pt x="130271" y="28713"/>
                  <a:pt x="126627" y="32976"/>
                </a:cubicBezTo>
                <a:cubicBezTo>
                  <a:pt x="124718" y="34827"/>
                  <a:pt x="123157" y="36273"/>
                  <a:pt x="121363" y="36273"/>
                </a:cubicBezTo>
                <a:cubicBezTo>
                  <a:pt x="120959" y="36360"/>
                  <a:pt x="120611" y="36360"/>
                  <a:pt x="120206" y="36273"/>
                </a:cubicBezTo>
                <a:cubicBezTo>
                  <a:pt x="118818" y="35614"/>
                  <a:pt x="117603" y="34572"/>
                  <a:pt x="116794" y="33265"/>
                </a:cubicBezTo>
                <a:cubicBezTo>
                  <a:pt x="115521" y="31050"/>
                  <a:pt x="113149" y="29661"/>
                  <a:pt x="110604" y="29621"/>
                </a:cubicBezTo>
                <a:cubicBezTo>
                  <a:pt x="108464" y="29708"/>
                  <a:pt x="106382" y="30194"/>
                  <a:pt x="104415" y="31067"/>
                </a:cubicBezTo>
                <a:cubicBezTo>
                  <a:pt x="98168" y="33439"/>
                  <a:pt x="99498" y="37835"/>
                  <a:pt x="100886" y="42636"/>
                </a:cubicBezTo>
                <a:cubicBezTo>
                  <a:pt x="101928" y="46164"/>
                  <a:pt x="103084" y="50156"/>
                  <a:pt x="99209" y="51717"/>
                </a:cubicBezTo>
                <a:cubicBezTo>
                  <a:pt x="95681" y="53204"/>
                  <a:pt x="91921" y="53991"/>
                  <a:pt x="88103" y="54031"/>
                </a:cubicBezTo>
                <a:cubicBezTo>
                  <a:pt x="83302" y="54534"/>
                  <a:pt x="78616" y="52302"/>
                  <a:pt x="75955" y="48247"/>
                </a:cubicBezTo>
                <a:cubicBezTo>
                  <a:pt x="74683" y="46320"/>
                  <a:pt x="72485" y="45216"/>
                  <a:pt x="70171" y="45355"/>
                </a:cubicBezTo>
                <a:cubicBezTo>
                  <a:pt x="67279" y="45181"/>
                  <a:pt x="64560" y="46517"/>
                  <a:pt x="62883" y="48883"/>
                </a:cubicBezTo>
                <a:cubicBezTo>
                  <a:pt x="62189" y="50867"/>
                  <a:pt x="62593" y="53083"/>
                  <a:pt x="63982" y="54668"/>
                </a:cubicBezTo>
                <a:cubicBezTo>
                  <a:pt x="66758" y="58352"/>
                  <a:pt x="69766" y="61869"/>
                  <a:pt x="72948" y="65195"/>
                </a:cubicBezTo>
                <a:cubicBezTo>
                  <a:pt x="79889" y="72773"/>
                  <a:pt x="86425" y="79945"/>
                  <a:pt x="86425" y="86019"/>
                </a:cubicBezTo>
                <a:cubicBezTo>
                  <a:pt x="86425" y="90589"/>
                  <a:pt x="82203" y="92093"/>
                  <a:pt x="78790" y="93307"/>
                </a:cubicBezTo>
                <a:cubicBezTo>
                  <a:pt x="76881" y="94002"/>
                  <a:pt x="74972" y="94696"/>
                  <a:pt x="74741" y="95679"/>
                </a:cubicBezTo>
                <a:cubicBezTo>
                  <a:pt x="74509" y="96662"/>
                  <a:pt x="74741" y="97299"/>
                  <a:pt x="77170" y="99786"/>
                </a:cubicBezTo>
                <a:cubicBezTo>
                  <a:pt x="79600" y="102273"/>
                  <a:pt x="80872" y="103025"/>
                  <a:pt x="82145" y="103025"/>
                </a:cubicBezTo>
                <a:cubicBezTo>
                  <a:pt x="83360" y="102834"/>
                  <a:pt x="84459" y="102267"/>
                  <a:pt x="85326" y="101406"/>
                </a:cubicBezTo>
                <a:cubicBezTo>
                  <a:pt x="87756" y="99208"/>
                  <a:pt x="90879" y="97976"/>
                  <a:pt x="94177" y="97935"/>
                </a:cubicBezTo>
                <a:cubicBezTo>
                  <a:pt x="95912" y="97947"/>
                  <a:pt x="97589" y="98201"/>
                  <a:pt x="99267" y="98687"/>
                </a:cubicBezTo>
                <a:cubicBezTo>
                  <a:pt x="107249" y="100573"/>
                  <a:pt x="112687" y="107873"/>
                  <a:pt x="112282" y="116040"/>
                </a:cubicBezTo>
                <a:cubicBezTo>
                  <a:pt x="112282" y="120032"/>
                  <a:pt x="110431" y="122866"/>
                  <a:pt x="108059" y="123271"/>
                </a:cubicBezTo>
                <a:cubicBezTo>
                  <a:pt x="106613" y="123653"/>
                  <a:pt x="105283" y="124260"/>
                  <a:pt x="104068" y="125064"/>
                </a:cubicBezTo>
                <a:cubicBezTo>
                  <a:pt x="101523" y="126840"/>
                  <a:pt x="98515" y="127858"/>
                  <a:pt x="95449" y="128014"/>
                </a:cubicBezTo>
                <a:cubicBezTo>
                  <a:pt x="92615" y="127927"/>
                  <a:pt x="89896" y="127089"/>
                  <a:pt x="87524" y="125585"/>
                </a:cubicBezTo>
                <a:cubicBezTo>
                  <a:pt x="85963" y="124578"/>
                  <a:pt x="84112" y="124017"/>
                  <a:pt x="82261" y="123965"/>
                </a:cubicBezTo>
                <a:cubicBezTo>
                  <a:pt x="79947" y="123942"/>
                  <a:pt x="77807" y="125041"/>
                  <a:pt x="76476" y="126915"/>
                </a:cubicBezTo>
                <a:cubicBezTo>
                  <a:pt x="76476" y="127436"/>
                  <a:pt x="76071" y="127898"/>
                  <a:pt x="76476" y="128130"/>
                </a:cubicBezTo>
                <a:cubicBezTo>
                  <a:pt x="76997" y="128593"/>
                  <a:pt x="77691" y="128806"/>
                  <a:pt x="78385" y="128708"/>
                </a:cubicBezTo>
                <a:lnTo>
                  <a:pt x="79773" y="128708"/>
                </a:lnTo>
                <a:cubicBezTo>
                  <a:pt x="85153" y="128240"/>
                  <a:pt x="90417" y="130577"/>
                  <a:pt x="93656" y="134898"/>
                </a:cubicBezTo>
                <a:cubicBezTo>
                  <a:pt x="94639" y="137205"/>
                  <a:pt x="94061" y="139895"/>
                  <a:pt x="92152" y="141550"/>
                </a:cubicBezTo>
                <a:cubicBezTo>
                  <a:pt x="90474" y="143441"/>
                  <a:pt x="88045" y="144482"/>
                  <a:pt x="85558" y="144384"/>
                </a:cubicBezTo>
                <a:cubicBezTo>
                  <a:pt x="83013" y="144234"/>
                  <a:pt x="80525" y="143748"/>
                  <a:pt x="78096" y="142938"/>
                </a:cubicBezTo>
                <a:cubicBezTo>
                  <a:pt x="75840" y="142302"/>
                  <a:pt x="73642" y="141781"/>
                  <a:pt x="73295" y="142244"/>
                </a:cubicBezTo>
                <a:cubicBezTo>
                  <a:pt x="73699" y="145547"/>
                  <a:pt x="74625" y="148768"/>
                  <a:pt x="76013" y="151788"/>
                </a:cubicBezTo>
                <a:cubicBezTo>
                  <a:pt x="78906" y="159771"/>
                  <a:pt x="81798" y="167984"/>
                  <a:pt x="77749" y="170067"/>
                </a:cubicBezTo>
                <a:cubicBezTo>
                  <a:pt x="76881" y="170414"/>
                  <a:pt x="75898" y="170454"/>
                  <a:pt x="74972" y="170183"/>
                </a:cubicBezTo>
                <a:close/>
                <a:moveTo>
                  <a:pt x="51430" y="155317"/>
                </a:moveTo>
                <a:cubicBezTo>
                  <a:pt x="56925" y="156230"/>
                  <a:pt x="62015" y="158793"/>
                  <a:pt x="66006" y="162663"/>
                </a:cubicBezTo>
                <a:cubicBezTo>
                  <a:pt x="70056" y="165728"/>
                  <a:pt x="73931" y="168447"/>
                  <a:pt x="76013" y="167522"/>
                </a:cubicBezTo>
                <a:cubicBezTo>
                  <a:pt x="78096" y="166596"/>
                  <a:pt x="75261" y="157746"/>
                  <a:pt x="73179" y="152077"/>
                </a:cubicBezTo>
                <a:cubicBezTo>
                  <a:pt x="71097" y="146409"/>
                  <a:pt x="69651" y="142244"/>
                  <a:pt x="70692" y="140508"/>
                </a:cubicBezTo>
                <a:cubicBezTo>
                  <a:pt x="71733" y="138773"/>
                  <a:pt x="74451" y="139178"/>
                  <a:pt x="78038" y="140508"/>
                </a:cubicBezTo>
                <a:cubicBezTo>
                  <a:pt x="80236" y="141266"/>
                  <a:pt x="82550" y="141717"/>
                  <a:pt x="84864" y="141839"/>
                </a:cubicBezTo>
                <a:cubicBezTo>
                  <a:pt x="86714" y="142001"/>
                  <a:pt x="88565" y="141249"/>
                  <a:pt x="89780" y="139814"/>
                </a:cubicBezTo>
                <a:cubicBezTo>
                  <a:pt x="90995" y="138779"/>
                  <a:pt x="91458" y="137101"/>
                  <a:pt x="90937" y="135592"/>
                </a:cubicBezTo>
                <a:cubicBezTo>
                  <a:pt x="87813" y="131901"/>
                  <a:pt x="83013" y="130085"/>
                  <a:pt x="78211" y="130790"/>
                </a:cubicBezTo>
                <a:lnTo>
                  <a:pt x="77691" y="130790"/>
                </a:lnTo>
                <a:cubicBezTo>
                  <a:pt x="76187" y="130976"/>
                  <a:pt x="74683" y="130334"/>
                  <a:pt x="73815" y="129113"/>
                </a:cubicBezTo>
                <a:cubicBezTo>
                  <a:pt x="73179" y="128020"/>
                  <a:pt x="73179" y="126678"/>
                  <a:pt x="73815" y="125585"/>
                </a:cubicBezTo>
                <a:cubicBezTo>
                  <a:pt x="75551" y="122953"/>
                  <a:pt x="78559" y="121420"/>
                  <a:pt x="81740" y="121536"/>
                </a:cubicBezTo>
                <a:cubicBezTo>
                  <a:pt x="83996" y="121564"/>
                  <a:pt x="86252" y="122230"/>
                  <a:pt x="88161" y="123444"/>
                </a:cubicBezTo>
                <a:cubicBezTo>
                  <a:pt x="90185" y="124763"/>
                  <a:pt x="92499" y="125503"/>
                  <a:pt x="94929" y="125585"/>
                </a:cubicBezTo>
                <a:cubicBezTo>
                  <a:pt x="97647" y="125405"/>
                  <a:pt x="100192" y="124509"/>
                  <a:pt x="102448" y="122982"/>
                </a:cubicBezTo>
                <a:cubicBezTo>
                  <a:pt x="103894" y="122010"/>
                  <a:pt x="105456" y="121310"/>
                  <a:pt x="107134" y="120899"/>
                </a:cubicBezTo>
                <a:cubicBezTo>
                  <a:pt x="108175" y="120899"/>
                  <a:pt x="109332" y="118875"/>
                  <a:pt x="109505" y="115751"/>
                </a:cubicBezTo>
                <a:cubicBezTo>
                  <a:pt x="109852" y="108619"/>
                  <a:pt x="104936" y="102302"/>
                  <a:pt x="97936" y="100885"/>
                </a:cubicBezTo>
                <a:cubicBezTo>
                  <a:pt x="96490" y="100446"/>
                  <a:pt x="94929" y="100214"/>
                  <a:pt x="93425" y="100191"/>
                </a:cubicBezTo>
                <a:cubicBezTo>
                  <a:pt x="90648" y="100214"/>
                  <a:pt x="87929" y="101290"/>
                  <a:pt x="85905" y="103199"/>
                </a:cubicBezTo>
                <a:cubicBezTo>
                  <a:pt x="84690" y="104367"/>
                  <a:pt x="83071" y="105102"/>
                  <a:pt x="81393" y="105281"/>
                </a:cubicBezTo>
                <a:cubicBezTo>
                  <a:pt x="78732" y="104917"/>
                  <a:pt x="76360" y="103500"/>
                  <a:pt x="74799" y="101348"/>
                </a:cubicBezTo>
                <a:cubicBezTo>
                  <a:pt x="72369" y="98803"/>
                  <a:pt x="71386" y="96836"/>
                  <a:pt x="71791" y="95159"/>
                </a:cubicBezTo>
                <a:cubicBezTo>
                  <a:pt x="72196" y="93481"/>
                  <a:pt x="74683" y="92151"/>
                  <a:pt x="77575" y="91225"/>
                </a:cubicBezTo>
                <a:cubicBezTo>
                  <a:pt x="81277" y="89895"/>
                  <a:pt x="83707" y="88796"/>
                  <a:pt x="83707" y="86019"/>
                </a:cubicBezTo>
                <a:cubicBezTo>
                  <a:pt x="83707" y="80813"/>
                  <a:pt x="77112" y="73640"/>
                  <a:pt x="70807" y="66699"/>
                </a:cubicBezTo>
                <a:cubicBezTo>
                  <a:pt x="67568" y="63321"/>
                  <a:pt x="64502" y="59752"/>
                  <a:pt x="61668" y="55998"/>
                </a:cubicBezTo>
                <a:cubicBezTo>
                  <a:pt x="59643" y="53777"/>
                  <a:pt x="59181" y="50572"/>
                  <a:pt x="60395" y="47842"/>
                </a:cubicBezTo>
                <a:cubicBezTo>
                  <a:pt x="62420" y="44707"/>
                  <a:pt x="66006" y="42896"/>
                  <a:pt x="69708" y="43099"/>
                </a:cubicBezTo>
                <a:cubicBezTo>
                  <a:pt x="72890" y="42879"/>
                  <a:pt x="75955" y="44435"/>
                  <a:pt x="77691" y="47148"/>
                </a:cubicBezTo>
                <a:cubicBezTo>
                  <a:pt x="79947" y="50497"/>
                  <a:pt x="83822" y="52359"/>
                  <a:pt x="87871" y="52007"/>
                </a:cubicBezTo>
                <a:cubicBezTo>
                  <a:pt x="91400" y="51966"/>
                  <a:pt x="94871" y="51237"/>
                  <a:pt x="98110" y="49866"/>
                </a:cubicBezTo>
                <a:cubicBezTo>
                  <a:pt x="99903" y="49114"/>
                  <a:pt x="99614" y="47437"/>
                  <a:pt x="98457" y="43503"/>
                </a:cubicBezTo>
                <a:cubicBezTo>
                  <a:pt x="97300" y="39570"/>
                  <a:pt x="95218" y="32397"/>
                  <a:pt x="103374" y="29274"/>
                </a:cubicBezTo>
                <a:cubicBezTo>
                  <a:pt x="105572" y="28314"/>
                  <a:pt x="107944" y="27764"/>
                  <a:pt x="110373" y="27654"/>
                </a:cubicBezTo>
                <a:cubicBezTo>
                  <a:pt x="113612" y="27677"/>
                  <a:pt x="116678" y="29384"/>
                  <a:pt x="118355" y="32166"/>
                </a:cubicBezTo>
                <a:cubicBezTo>
                  <a:pt x="118992" y="33121"/>
                  <a:pt x="119802" y="33919"/>
                  <a:pt x="120785" y="34480"/>
                </a:cubicBezTo>
                <a:lnTo>
                  <a:pt x="121132" y="34480"/>
                </a:lnTo>
                <a:cubicBezTo>
                  <a:pt x="122058" y="34480"/>
                  <a:pt x="123330" y="33207"/>
                  <a:pt x="124834" y="31819"/>
                </a:cubicBezTo>
                <a:cubicBezTo>
                  <a:pt x="128883" y="27145"/>
                  <a:pt x="134725" y="24398"/>
                  <a:pt x="140915" y="24241"/>
                </a:cubicBezTo>
                <a:cubicBezTo>
                  <a:pt x="147740" y="24999"/>
                  <a:pt x="154219" y="27938"/>
                  <a:pt x="159251" y="32629"/>
                </a:cubicBezTo>
                <a:lnTo>
                  <a:pt x="160524" y="31240"/>
                </a:lnTo>
                <a:cubicBezTo>
                  <a:pt x="163011" y="28638"/>
                  <a:pt x="164631" y="26960"/>
                  <a:pt x="164631" y="24762"/>
                </a:cubicBezTo>
                <a:cubicBezTo>
                  <a:pt x="164631" y="22564"/>
                  <a:pt x="166424" y="20771"/>
                  <a:pt x="168275" y="18978"/>
                </a:cubicBezTo>
                <a:cubicBezTo>
                  <a:pt x="170647" y="17364"/>
                  <a:pt x="172208" y="14784"/>
                  <a:pt x="172498" y="11921"/>
                </a:cubicBezTo>
                <a:cubicBezTo>
                  <a:pt x="172266" y="8913"/>
                  <a:pt x="171746" y="5945"/>
                  <a:pt x="170820" y="3070"/>
                </a:cubicBezTo>
                <a:lnTo>
                  <a:pt x="170820" y="2434"/>
                </a:lnTo>
                <a:cubicBezTo>
                  <a:pt x="166771" y="2538"/>
                  <a:pt x="162895" y="3892"/>
                  <a:pt x="159656" y="6310"/>
                </a:cubicBezTo>
                <a:cubicBezTo>
                  <a:pt x="159541" y="6547"/>
                  <a:pt x="159541" y="6824"/>
                  <a:pt x="159656" y="7062"/>
                </a:cubicBezTo>
                <a:cubicBezTo>
                  <a:pt x="160235" y="8404"/>
                  <a:pt x="160119" y="9965"/>
                  <a:pt x="159251" y="11169"/>
                </a:cubicBezTo>
                <a:cubicBezTo>
                  <a:pt x="156301" y="14038"/>
                  <a:pt x="152252" y="15455"/>
                  <a:pt x="148145" y="15044"/>
                </a:cubicBezTo>
                <a:cubicBezTo>
                  <a:pt x="147104" y="15044"/>
                  <a:pt x="125008" y="13425"/>
                  <a:pt x="118529" y="10127"/>
                </a:cubicBezTo>
                <a:cubicBezTo>
                  <a:pt x="114190" y="8849"/>
                  <a:pt x="109621" y="8392"/>
                  <a:pt x="105109" y="8797"/>
                </a:cubicBezTo>
                <a:cubicBezTo>
                  <a:pt x="97011" y="8797"/>
                  <a:pt x="87756" y="9433"/>
                  <a:pt x="83244" y="9722"/>
                </a:cubicBezTo>
                <a:cubicBezTo>
                  <a:pt x="83128" y="10035"/>
                  <a:pt x="82955" y="10324"/>
                  <a:pt x="82781" y="10590"/>
                </a:cubicBezTo>
                <a:cubicBezTo>
                  <a:pt x="75608" y="16803"/>
                  <a:pt x="66932" y="21066"/>
                  <a:pt x="57619" y="22969"/>
                </a:cubicBezTo>
                <a:cubicBezTo>
                  <a:pt x="57041" y="22986"/>
                  <a:pt x="56404" y="22870"/>
                  <a:pt x="55884" y="22622"/>
                </a:cubicBezTo>
                <a:cubicBezTo>
                  <a:pt x="54900" y="22101"/>
                  <a:pt x="53801" y="23316"/>
                  <a:pt x="52355" y="24878"/>
                </a:cubicBezTo>
                <a:cubicBezTo>
                  <a:pt x="50215" y="27619"/>
                  <a:pt x="47265" y="29638"/>
                  <a:pt x="43968" y="30662"/>
                </a:cubicBezTo>
                <a:cubicBezTo>
                  <a:pt x="40960" y="31322"/>
                  <a:pt x="37836" y="31593"/>
                  <a:pt x="34770" y="31472"/>
                </a:cubicBezTo>
                <a:lnTo>
                  <a:pt x="31647" y="31472"/>
                </a:lnTo>
                <a:cubicBezTo>
                  <a:pt x="26904" y="31472"/>
                  <a:pt x="25862" y="31935"/>
                  <a:pt x="25862" y="32224"/>
                </a:cubicBezTo>
                <a:cubicBezTo>
                  <a:pt x="23664" y="38286"/>
                  <a:pt x="20309" y="43851"/>
                  <a:pt x="15913" y="48594"/>
                </a:cubicBezTo>
                <a:cubicBezTo>
                  <a:pt x="14641" y="49918"/>
                  <a:pt x="13831" y="51660"/>
                  <a:pt x="13657" y="53511"/>
                </a:cubicBezTo>
                <a:cubicBezTo>
                  <a:pt x="13657" y="56432"/>
                  <a:pt x="11517" y="58913"/>
                  <a:pt x="8625" y="59295"/>
                </a:cubicBezTo>
                <a:cubicBezTo>
                  <a:pt x="5964" y="59816"/>
                  <a:pt x="4286" y="65079"/>
                  <a:pt x="2840" y="69996"/>
                </a:cubicBezTo>
                <a:cubicBezTo>
                  <a:pt x="2840" y="70806"/>
                  <a:pt x="2320" y="71616"/>
                  <a:pt x="2089" y="72368"/>
                </a:cubicBezTo>
                <a:lnTo>
                  <a:pt x="2089" y="72368"/>
                </a:lnTo>
                <a:cubicBezTo>
                  <a:pt x="12153" y="76209"/>
                  <a:pt x="18400" y="86250"/>
                  <a:pt x="17417" y="96952"/>
                </a:cubicBezTo>
                <a:cubicBezTo>
                  <a:pt x="17128" y="99040"/>
                  <a:pt x="17764" y="101151"/>
                  <a:pt x="19152" y="102736"/>
                </a:cubicBezTo>
                <a:cubicBezTo>
                  <a:pt x="21119" y="104807"/>
                  <a:pt x="23896" y="105941"/>
                  <a:pt x="26788" y="105860"/>
                </a:cubicBezTo>
                <a:cubicBezTo>
                  <a:pt x="29796" y="105900"/>
                  <a:pt x="32746" y="104639"/>
                  <a:pt x="34770" y="102389"/>
                </a:cubicBezTo>
                <a:cubicBezTo>
                  <a:pt x="36564" y="100497"/>
                  <a:pt x="39051" y="99485"/>
                  <a:pt x="41654" y="99612"/>
                </a:cubicBezTo>
                <a:cubicBezTo>
                  <a:pt x="49983" y="99612"/>
                  <a:pt x="61437" y="107537"/>
                  <a:pt x="61437" y="111991"/>
                </a:cubicBezTo>
                <a:cubicBezTo>
                  <a:pt x="61437" y="112975"/>
                  <a:pt x="60974" y="114536"/>
                  <a:pt x="58024" y="114536"/>
                </a:cubicBezTo>
                <a:cubicBezTo>
                  <a:pt x="56057" y="114438"/>
                  <a:pt x="54148" y="114189"/>
                  <a:pt x="52239" y="113784"/>
                </a:cubicBezTo>
                <a:cubicBezTo>
                  <a:pt x="48826" y="113090"/>
                  <a:pt x="45356" y="112685"/>
                  <a:pt x="41885" y="112570"/>
                </a:cubicBezTo>
                <a:cubicBezTo>
                  <a:pt x="38299" y="112379"/>
                  <a:pt x="34770" y="113356"/>
                  <a:pt x="31762" y="115346"/>
                </a:cubicBezTo>
                <a:cubicBezTo>
                  <a:pt x="30374" y="116185"/>
                  <a:pt x="29391" y="117533"/>
                  <a:pt x="28986" y="119106"/>
                </a:cubicBezTo>
                <a:cubicBezTo>
                  <a:pt x="28697" y="121478"/>
                  <a:pt x="30895" y="124023"/>
                  <a:pt x="33151" y="126799"/>
                </a:cubicBezTo>
                <a:cubicBezTo>
                  <a:pt x="35407" y="129576"/>
                  <a:pt x="38935" y="133741"/>
                  <a:pt x="37836" y="137790"/>
                </a:cubicBezTo>
                <a:cubicBezTo>
                  <a:pt x="36853" y="141989"/>
                  <a:pt x="37836" y="146403"/>
                  <a:pt x="40555" y="149763"/>
                </a:cubicBezTo>
                <a:cubicBezTo>
                  <a:pt x="42753" y="153159"/>
                  <a:pt x="46397" y="155305"/>
                  <a:pt x="50446" y="15554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2" name="Forma libre: forma 401">
            <a:extLst>
              <a:ext uri="{FF2B5EF4-FFF2-40B4-BE49-F238E27FC236}">
                <a16:creationId xmlns:a16="http://schemas.microsoft.com/office/drawing/2014/main" id="{32D4EFC2-FFA9-24AC-A0FC-6A8D92E8F945}"/>
              </a:ext>
            </a:extLst>
          </p:cNvPr>
          <p:cNvSpPr/>
          <p:nvPr/>
        </p:nvSpPr>
        <p:spPr>
          <a:xfrm>
            <a:off x="7055449" y="3447649"/>
            <a:ext cx="65352" cy="38362"/>
          </a:xfrm>
          <a:custGeom>
            <a:avLst/>
            <a:gdLst>
              <a:gd name="connsiteX0" fmla="*/ 18456 w 65352"/>
              <a:gd name="connsiteY0" fmla="*/ 38228 h 38362"/>
              <a:gd name="connsiteX1" fmla="*/ 6193 w 65352"/>
              <a:gd name="connsiteY1" fmla="*/ 35162 h 38362"/>
              <a:gd name="connsiteX2" fmla="*/ 4 w 65352"/>
              <a:gd name="connsiteY2" fmla="*/ 24114 h 38362"/>
              <a:gd name="connsiteX3" fmla="*/ 19208 w 65352"/>
              <a:gd name="connsiteY3" fmla="*/ 13644 h 38362"/>
              <a:gd name="connsiteX4" fmla="*/ 57328 w 65352"/>
              <a:gd name="connsiteY4" fmla="*/ 2075 h 38362"/>
              <a:gd name="connsiteX5" fmla="*/ 62071 w 65352"/>
              <a:gd name="connsiteY5" fmla="*/ -123 h 38362"/>
              <a:gd name="connsiteX6" fmla="*/ 65194 w 65352"/>
              <a:gd name="connsiteY6" fmla="*/ 2248 h 38362"/>
              <a:gd name="connsiteX7" fmla="*/ 58832 w 65352"/>
              <a:gd name="connsiteY7" fmla="*/ 9248 h 38362"/>
              <a:gd name="connsiteX8" fmla="*/ 45007 w 65352"/>
              <a:gd name="connsiteY8" fmla="*/ 25386 h 38362"/>
              <a:gd name="connsiteX9" fmla="*/ 43907 w 65352"/>
              <a:gd name="connsiteY9" fmla="*/ 28452 h 38362"/>
              <a:gd name="connsiteX10" fmla="*/ 18456 w 65352"/>
              <a:gd name="connsiteY10" fmla="*/ 38228 h 38362"/>
              <a:gd name="connsiteX11" fmla="*/ 62071 w 65352"/>
              <a:gd name="connsiteY11" fmla="*/ 2306 h 38362"/>
              <a:gd name="connsiteX12" fmla="*/ 58774 w 65352"/>
              <a:gd name="connsiteY12" fmla="*/ 3926 h 38362"/>
              <a:gd name="connsiteX13" fmla="*/ 19324 w 65352"/>
              <a:gd name="connsiteY13" fmla="*/ 15958 h 38362"/>
              <a:gd name="connsiteX14" fmla="*/ 1970 w 65352"/>
              <a:gd name="connsiteY14" fmla="*/ 24634 h 38362"/>
              <a:gd name="connsiteX15" fmla="*/ 7119 w 65352"/>
              <a:gd name="connsiteY15" fmla="*/ 33253 h 38362"/>
              <a:gd name="connsiteX16" fmla="*/ 18225 w 65352"/>
              <a:gd name="connsiteY16" fmla="*/ 35972 h 38362"/>
              <a:gd name="connsiteX17" fmla="*/ 41941 w 65352"/>
              <a:gd name="connsiteY17" fmla="*/ 27121 h 38362"/>
              <a:gd name="connsiteX18" fmla="*/ 42577 w 65352"/>
              <a:gd name="connsiteY18" fmla="*/ 25965 h 38362"/>
              <a:gd name="connsiteX19" fmla="*/ 57790 w 65352"/>
              <a:gd name="connsiteY19" fmla="*/ 7281 h 38362"/>
              <a:gd name="connsiteX20" fmla="*/ 62707 w 65352"/>
              <a:gd name="connsiteY20" fmla="*/ 2827 h 38362"/>
              <a:gd name="connsiteX21" fmla="*/ 62071 w 65352"/>
              <a:gd name="connsiteY21" fmla="*/ 2306 h 3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352" h="38362">
                <a:moveTo>
                  <a:pt x="18456" y="38228"/>
                </a:moveTo>
                <a:cubicBezTo>
                  <a:pt x="14175" y="38320"/>
                  <a:pt x="9953" y="37262"/>
                  <a:pt x="6193" y="35162"/>
                </a:cubicBezTo>
                <a:cubicBezTo>
                  <a:pt x="1855" y="33317"/>
                  <a:pt x="-690" y="28776"/>
                  <a:pt x="4" y="24114"/>
                </a:cubicBezTo>
                <a:cubicBezTo>
                  <a:pt x="1450" y="18329"/>
                  <a:pt x="9027" y="14107"/>
                  <a:pt x="19208" y="13644"/>
                </a:cubicBezTo>
                <a:cubicBezTo>
                  <a:pt x="32802" y="13638"/>
                  <a:pt x="46048" y="9612"/>
                  <a:pt x="57328" y="2075"/>
                </a:cubicBezTo>
                <a:cubicBezTo>
                  <a:pt x="58600" y="797"/>
                  <a:pt x="60278" y="16"/>
                  <a:pt x="62071" y="-123"/>
                </a:cubicBezTo>
                <a:cubicBezTo>
                  <a:pt x="63575" y="-216"/>
                  <a:pt x="64905" y="797"/>
                  <a:pt x="65194" y="2248"/>
                </a:cubicBezTo>
                <a:cubicBezTo>
                  <a:pt x="65541" y="4215"/>
                  <a:pt x="64095" y="7165"/>
                  <a:pt x="58832" y="9248"/>
                </a:cubicBezTo>
                <a:cubicBezTo>
                  <a:pt x="50270" y="12603"/>
                  <a:pt x="44313" y="21395"/>
                  <a:pt x="45007" y="25386"/>
                </a:cubicBezTo>
                <a:cubicBezTo>
                  <a:pt x="45065" y="26514"/>
                  <a:pt x="44659" y="27631"/>
                  <a:pt x="43907" y="28452"/>
                </a:cubicBezTo>
                <a:cubicBezTo>
                  <a:pt x="36851" y="34647"/>
                  <a:pt x="27827" y="38118"/>
                  <a:pt x="18456" y="38228"/>
                </a:cubicBezTo>
                <a:close/>
                <a:moveTo>
                  <a:pt x="62071" y="2306"/>
                </a:moveTo>
                <a:cubicBezTo>
                  <a:pt x="60798" y="2474"/>
                  <a:pt x="59641" y="3041"/>
                  <a:pt x="58774" y="3926"/>
                </a:cubicBezTo>
                <a:cubicBezTo>
                  <a:pt x="52642" y="9306"/>
                  <a:pt x="38065" y="15090"/>
                  <a:pt x="19324" y="15958"/>
                </a:cubicBezTo>
                <a:cubicBezTo>
                  <a:pt x="8854" y="16420"/>
                  <a:pt x="3186" y="20643"/>
                  <a:pt x="1970" y="24634"/>
                </a:cubicBezTo>
                <a:cubicBezTo>
                  <a:pt x="756" y="28625"/>
                  <a:pt x="3070" y="30881"/>
                  <a:pt x="7119" y="33253"/>
                </a:cubicBezTo>
                <a:cubicBezTo>
                  <a:pt x="10531" y="35133"/>
                  <a:pt x="14349" y="36070"/>
                  <a:pt x="18225" y="35972"/>
                </a:cubicBezTo>
                <a:cubicBezTo>
                  <a:pt x="26902" y="35914"/>
                  <a:pt x="35347" y="32779"/>
                  <a:pt x="41941" y="27121"/>
                </a:cubicBezTo>
                <a:cubicBezTo>
                  <a:pt x="42635" y="26312"/>
                  <a:pt x="42577" y="25965"/>
                  <a:pt x="42577" y="25965"/>
                </a:cubicBezTo>
                <a:cubicBezTo>
                  <a:pt x="41651" y="20585"/>
                  <a:pt x="48362" y="10983"/>
                  <a:pt x="57790" y="7281"/>
                </a:cubicBezTo>
                <a:cubicBezTo>
                  <a:pt x="61724" y="5777"/>
                  <a:pt x="62881" y="3753"/>
                  <a:pt x="62707" y="2827"/>
                </a:cubicBezTo>
                <a:cubicBezTo>
                  <a:pt x="62533" y="1901"/>
                  <a:pt x="62418" y="2306"/>
                  <a:pt x="62071" y="230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3" name="Forma libre: forma 402">
            <a:extLst>
              <a:ext uri="{FF2B5EF4-FFF2-40B4-BE49-F238E27FC236}">
                <a16:creationId xmlns:a16="http://schemas.microsoft.com/office/drawing/2014/main" id="{6DE890FB-F989-3209-4A88-2556A28C5E94}"/>
              </a:ext>
            </a:extLst>
          </p:cNvPr>
          <p:cNvSpPr/>
          <p:nvPr/>
        </p:nvSpPr>
        <p:spPr>
          <a:xfrm>
            <a:off x="5523299" y="2305922"/>
            <a:ext cx="291232" cy="143982"/>
          </a:xfrm>
          <a:custGeom>
            <a:avLst/>
            <a:gdLst>
              <a:gd name="connsiteX0" fmla="*/ 142271 w 291232"/>
              <a:gd name="connsiteY0" fmla="*/ 143848 h 143982"/>
              <a:gd name="connsiteX1" fmla="*/ 142271 w 291232"/>
              <a:gd name="connsiteY1" fmla="*/ 143848 h 143982"/>
              <a:gd name="connsiteX2" fmla="*/ 128678 w 291232"/>
              <a:gd name="connsiteY2" fmla="*/ 141534 h 143982"/>
              <a:gd name="connsiteX3" fmla="*/ 111845 w 291232"/>
              <a:gd name="connsiteY3" fmla="*/ 132857 h 143982"/>
              <a:gd name="connsiteX4" fmla="*/ 82923 w 291232"/>
              <a:gd name="connsiteY4" fmla="*/ 121288 h 143982"/>
              <a:gd name="connsiteX5" fmla="*/ 79452 w 291232"/>
              <a:gd name="connsiteY5" fmla="*/ 121693 h 143982"/>
              <a:gd name="connsiteX6" fmla="*/ 73668 w 291232"/>
              <a:gd name="connsiteY6" fmla="*/ 123024 h 143982"/>
              <a:gd name="connsiteX7" fmla="*/ 54521 w 291232"/>
              <a:gd name="connsiteY7" fmla="*/ 126379 h 143982"/>
              <a:gd name="connsiteX8" fmla="*/ 43415 w 291232"/>
              <a:gd name="connsiteY8" fmla="*/ 122561 h 143982"/>
              <a:gd name="connsiteX9" fmla="*/ 41333 w 291232"/>
              <a:gd name="connsiteY9" fmla="*/ 116776 h 143982"/>
              <a:gd name="connsiteX10" fmla="*/ 57934 w 291232"/>
              <a:gd name="connsiteY10" fmla="*/ 111570 h 143982"/>
              <a:gd name="connsiteX11" fmla="*/ 68693 w 291232"/>
              <a:gd name="connsiteY11" fmla="*/ 105034 h 143982"/>
              <a:gd name="connsiteX12" fmla="*/ 66784 w 291232"/>
              <a:gd name="connsiteY12" fmla="*/ 101158 h 143982"/>
              <a:gd name="connsiteX13" fmla="*/ 64008 w 291232"/>
              <a:gd name="connsiteY13" fmla="*/ 94680 h 143982"/>
              <a:gd name="connsiteX14" fmla="*/ 62562 w 291232"/>
              <a:gd name="connsiteY14" fmla="*/ 91151 h 143982"/>
              <a:gd name="connsiteX15" fmla="*/ 59612 w 291232"/>
              <a:gd name="connsiteY15" fmla="*/ 91903 h 143982"/>
              <a:gd name="connsiteX16" fmla="*/ 54984 w 291232"/>
              <a:gd name="connsiteY16" fmla="*/ 93002 h 143982"/>
              <a:gd name="connsiteX17" fmla="*/ 48448 w 291232"/>
              <a:gd name="connsiteY17" fmla="*/ 82301 h 143982"/>
              <a:gd name="connsiteX18" fmla="*/ 48448 w 291232"/>
              <a:gd name="connsiteY18" fmla="*/ 80855 h 143982"/>
              <a:gd name="connsiteX19" fmla="*/ 48448 w 291232"/>
              <a:gd name="connsiteY19" fmla="*/ 80855 h 143982"/>
              <a:gd name="connsiteX20" fmla="*/ 44514 w 291232"/>
              <a:gd name="connsiteY20" fmla="*/ 80277 h 143982"/>
              <a:gd name="connsiteX21" fmla="*/ 31152 w 291232"/>
              <a:gd name="connsiteY21" fmla="*/ 81433 h 143982"/>
              <a:gd name="connsiteX22" fmla="*/ 16344 w 291232"/>
              <a:gd name="connsiteY22" fmla="*/ 82706 h 143982"/>
              <a:gd name="connsiteX23" fmla="*/ 8998 w 291232"/>
              <a:gd name="connsiteY23" fmla="*/ 80450 h 143982"/>
              <a:gd name="connsiteX24" fmla="*/ 8998 w 291232"/>
              <a:gd name="connsiteY24" fmla="*/ 77095 h 143982"/>
              <a:gd name="connsiteX25" fmla="*/ 35838 w 291232"/>
              <a:gd name="connsiteY25" fmla="*/ 70154 h 143982"/>
              <a:gd name="connsiteX26" fmla="*/ 41101 w 291232"/>
              <a:gd name="connsiteY26" fmla="*/ 70154 h 143982"/>
              <a:gd name="connsiteX27" fmla="*/ 46192 w 291232"/>
              <a:gd name="connsiteY27" fmla="*/ 70154 h 143982"/>
              <a:gd name="connsiteX28" fmla="*/ 56662 w 291232"/>
              <a:gd name="connsiteY28" fmla="*/ 67493 h 143982"/>
              <a:gd name="connsiteX29" fmla="*/ 54463 w 291232"/>
              <a:gd name="connsiteY29" fmla="*/ 64312 h 143982"/>
              <a:gd name="connsiteX30" fmla="*/ 52612 w 291232"/>
              <a:gd name="connsiteY30" fmla="*/ 61188 h 143982"/>
              <a:gd name="connsiteX31" fmla="*/ 56893 w 291232"/>
              <a:gd name="connsiteY31" fmla="*/ 56387 h 143982"/>
              <a:gd name="connsiteX32" fmla="*/ 60711 w 291232"/>
              <a:gd name="connsiteY32" fmla="*/ 52743 h 143982"/>
              <a:gd name="connsiteX33" fmla="*/ 59612 w 291232"/>
              <a:gd name="connsiteY33" fmla="*/ 50892 h 143982"/>
              <a:gd name="connsiteX34" fmla="*/ 46770 w 291232"/>
              <a:gd name="connsiteY34" fmla="*/ 46958 h 143982"/>
              <a:gd name="connsiteX35" fmla="*/ 27739 w 291232"/>
              <a:gd name="connsiteY35" fmla="*/ 51065 h 143982"/>
              <a:gd name="connsiteX36" fmla="*/ 17038 w 291232"/>
              <a:gd name="connsiteY36" fmla="*/ 53205 h 143982"/>
              <a:gd name="connsiteX37" fmla="*/ 1420 w 291232"/>
              <a:gd name="connsiteY37" fmla="*/ 47710 h 143982"/>
              <a:gd name="connsiteX38" fmla="*/ -84 w 291232"/>
              <a:gd name="connsiteY38" fmla="*/ 43430 h 143982"/>
              <a:gd name="connsiteX39" fmla="*/ 6511 w 291232"/>
              <a:gd name="connsiteY39" fmla="*/ 33712 h 143982"/>
              <a:gd name="connsiteX40" fmla="*/ 13799 w 291232"/>
              <a:gd name="connsiteY40" fmla="*/ 24804 h 143982"/>
              <a:gd name="connsiteX41" fmla="*/ 27450 w 291232"/>
              <a:gd name="connsiteY41" fmla="*/ 14913 h 143982"/>
              <a:gd name="connsiteX42" fmla="*/ 33235 w 291232"/>
              <a:gd name="connsiteY42" fmla="*/ 17863 h 143982"/>
              <a:gd name="connsiteX43" fmla="*/ 42953 w 291232"/>
              <a:gd name="connsiteY43" fmla="*/ 22432 h 143982"/>
              <a:gd name="connsiteX44" fmla="*/ 43878 w 291232"/>
              <a:gd name="connsiteY44" fmla="*/ 22432 h 143982"/>
              <a:gd name="connsiteX45" fmla="*/ 41738 w 291232"/>
              <a:gd name="connsiteY45" fmla="*/ 20350 h 143982"/>
              <a:gd name="connsiteX46" fmla="*/ 31326 w 291232"/>
              <a:gd name="connsiteY46" fmla="*/ 5947 h 143982"/>
              <a:gd name="connsiteX47" fmla="*/ 38441 w 291232"/>
              <a:gd name="connsiteY47" fmla="*/ 2997 h 143982"/>
              <a:gd name="connsiteX48" fmla="*/ 82402 w 291232"/>
              <a:gd name="connsiteY48" fmla="*/ 28332 h 143982"/>
              <a:gd name="connsiteX49" fmla="*/ 80551 w 291232"/>
              <a:gd name="connsiteY49" fmla="*/ 32613 h 143982"/>
              <a:gd name="connsiteX50" fmla="*/ 78411 w 291232"/>
              <a:gd name="connsiteY50" fmla="*/ 42215 h 143982"/>
              <a:gd name="connsiteX51" fmla="*/ 85757 w 291232"/>
              <a:gd name="connsiteY51" fmla="*/ 53205 h 143982"/>
              <a:gd name="connsiteX52" fmla="*/ 86336 w 291232"/>
              <a:gd name="connsiteY52" fmla="*/ 52801 h 143982"/>
              <a:gd name="connsiteX53" fmla="*/ 101028 w 291232"/>
              <a:gd name="connsiteY53" fmla="*/ 43083 h 143982"/>
              <a:gd name="connsiteX54" fmla="*/ 105656 w 291232"/>
              <a:gd name="connsiteY54" fmla="*/ 44355 h 143982"/>
              <a:gd name="connsiteX55" fmla="*/ 107622 w 291232"/>
              <a:gd name="connsiteY55" fmla="*/ 45049 h 143982"/>
              <a:gd name="connsiteX56" fmla="*/ 109126 w 291232"/>
              <a:gd name="connsiteY56" fmla="*/ 44066 h 143982"/>
              <a:gd name="connsiteX57" fmla="*/ 107680 w 291232"/>
              <a:gd name="connsiteY57" fmla="*/ 33365 h 143982"/>
              <a:gd name="connsiteX58" fmla="*/ 108374 w 291232"/>
              <a:gd name="connsiteY58" fmla="*/ 21796 h 143982"/>
              <a:gd name="connsiteX59" fmla="*/ 114506 w 291232"/>
              <a:gd name="connsiteY59" fmla="*/ 17689 h 143982"/>
              <a:gd name="connsiteX60" fmla="*/ 122199 w 291232"/>
              <a:gd name="connsiteY60" fmla="*/ 23474 h 143982"/>
              <a:gd name="connsiteX61" fmla="*/ 130413 w 291232"/>
              <a:gd name="connsiteY61" fmla="*/ 33076 h 143982"/>
              <a:gd name="connsiteX62" fmla="*/ 130702 w 291232"/>
              <a:gd name="connsiteY62" fmla="*/ 33076 h 143982"/>
              <a:gd name="connsiteX63" fmla="*/ 130702 w 291232"/>
              <a:gd name="connsiteY63" fmla="*/ 29952 h 143982"/>
              <a:gd name="connsiteX64" fmla="*/ 134693 w 291232"/>
              <a:gd name="connsiteY64" fmla="*/ 20003 h 143982"/>
              <a:gd name="connsiteX65" fmla="*/ 150601 w 291232"/>
              <a:gd name="connsiteY65" fmla="*/ 16301 h 143982"/>
              <a:gd name="connsiteX66" fmla="*/ 154245 w 291232"/>
              <a:gd name="connsiteY66" fmla="*/ 18557 h 143982"/>
              <a:gd name="connsiteX67" fmla="*/ 162922 w 291232"/>
              <a:gd name="connsiteY67" fmla="*/ 23184 h 143982"/>
              <a:gd name="connsiteX68" fmla="*/ 162922 w 291232"/>
              <a:gd name="connsiteY68" fmla="*/ 22201 h 143982"/>
              <a:gd name="connsiteX69" fmla="*/ 164252 w 291232"/>
              <a:gd name="connsiteY69" fmla="*/ 18615 h 143982"/>
              <a:gd name="connsiteX70" fmla="*/ 172582 w 291232"/>
              <a:gd name="connsiteY70" fmla="*/ 15375 h 143982"/>
              <a:gd name="connsiteX71" fmla="*/ 180622 w 291232"/>
              <a:gd name="connsiteY71" fmla="*/ 19019 h 143982"/>
              <a:gd name="connsiteX72" fmla="*/ 186696 w 291232"/>
              <a:gd name="connsiteY72" fmla="*/ 22779 h 143982"/>
              <a:gd name="connsiteX73" fmla="*/ 189530 w 291232"/>
              <a:gd name="connsiteY73" fmla="*/ 19309 h 143982"/>
              <a:gd name="connsiteX74" fmla="*/ 193001 w 291232"/>
              <a:gd name="connsiteY74" fmla="*/ 16301 h 143982"/>
              <a:gd name="connsiteX75" fmla="*/ 198785 w 291232"/>
              <a:gd name="connsiteY75" fmla="*/ 17342 h 143982"/>
              <a:gd name="connsiteX76" fmla="*/ 204569 w 291232"/>
              <a:gd name="connsiteY76" fmla="*/ 18441 h 143982"/>
              <a:gd name="connsiteX77" fmla="*/ 206131 w 291232"/>
              <a:gd name="connsiteY77" fmla="*/ 17747 h 143982"/>
              <a:gd name="connsiteX78" fmla="*/ 206131 w 291232"/>
              <a:gd name="connsiteY78" fmla="*/ 11962 h 143982"/>
              <a:gd name="connsiteX79" fmla="*/ 209833 w 291232"/>
              <a:gd name="connsiteY79" fmla="*/ 394 h 143982"/>
              <a:gd name="connsiteX80" fmla="*/ 212089 w 291232"/>
              <a:gd name="connsiteY80" fmla="*/ -127 h 143982"/>
              <a:gd name="connsiteX81" fmla="*/ 224699 w 291232"/>
              <a:gd name="connsiteY81" fmla="*/ 6641 h 143982"/>
              <a:gd name="connsiteX82" fmla="*/ 236268 w 291232"/>
              <a:gd name="connsiteY82" fmla="*/ 12830 h 143982"/>
              <a:gd name="connsiteX83" fmla="*/ 237946 w 291232"/>
              <a:gd name="connsiteY83" fmla="*/ 12367 h 143982"/>
              <a:gd name="connsiteX84" fmla="*/ 251886 w 291232"/>
              <a:gd name="connsiteY84" fmla="*/ 9707 h 143982"/>
              <a:gd name="connsiteX85" fmla="*/ 255646 w 291232"/>
              <a:gd name="connsiteY85" fmla="*/ 10864 h 143982"/>
              <a:gd name="connsiteX86" fmla="*/ 256224 w 291232"/>
              <a:gd name="connsiteY86" fmla="*/ 12830 h 143982"/>
              <a:gd name="connsiteX87" fmla="*/ 258365 w 291232"/>
              <a:gd name="connsiteY87" fmla="*/ 18615 h 143982"/>
              <a:gd name="connsiteX88" fmla="*/ 261026 w 291232"/>
              <a:gd name="connsiteY88" fmla="*/ 30184 h 143982"/>
              <a:gd name="connsiteX89" fmla="*/ 262240 w 291232"/>
              <a:gd name="connsiteY89" fmla="*/ 35968 h 143982"/>
              <a:gd name="connsiteX90" fmla="*/ 274908 w 291232"/>
              <a:gd name="connsiteY90" fmla="*/ 42042 h 143982"/>
              <a:gd name="connsiteX91" fmla="*/ 287981 w 291232"/>
              <a:gd name="connsiteY91" fmla="*/ 50718 h 143982"/>
              <a:gd name="connsiteX92" fmla="*/ 290063 w 291232"/>
              <a:gd name="connsiteY92" fmla="*/ 66278 h 143982"/>
              <a:gd name="connsiteX93" fmla="*/ 267909 w 291232"/>
              <a:gd name="connsiteY93" fmla="*/ 87102 h 143982"/>
              <a:gd name="connsiteX94" fmla="*/ 263050 w 291232"/>
              <a:gd name="connsiteY94" fmla="*/ 92077 h 143982"/>
              <a:gd name="connsiteX95" fmla="*/ 246275 w 291232"/>
              <a:gd name="connsiteY95" fmla="*/ 104456 h 143982"/>
              <a:gd name="connsiteX96" fmla="*/ 211106 w 291232"/>
              <a:gd name="connsiteY96" fmla="*/ 119206 h 143982"/>
              <a:gd name="connsiteX97" fmla="*/ 194215 w 291232"/>
              <a:gd name="connsiteY97" fmla="*/ 123718 h 143982"/>
              <a:gd name="connsiteX98" fmla="*/ 177614 w 291232"/>
              <a:gd name="connsiteY98" fmla="*/ 129965 h 143982"/>
              <a:gd name="connsiteX99" fmla="*/ 142271 w 291232"/>
              <a:gd name="connsiteY99" fmla="*/ 143848 h 143982"/>
              <a:gd name="connsiteX100" fmla="*/ 83154 w 291232"/>
              <a:gd name="connsiteY100" fmla="*/ 119148 h 143982"/>
              <a:gd name="connsiteX101" fmla="*/ 112944 w 291232"/>
              <a:gd name="connsiteY101" fmla="*/ 130717 h 143982"/>
              <a:gd name="connsiteX102" fmla="*/ 129546 w 291232"/>
              <a:gd name="connsiteY102" fmla="*/ 139278 h 143982"/>
              <a:gd name="connsiteX103" fmla="*/ 142271 w 291232"/>
              <a:gd name="connsiteY103" fmla="*/ 141418 h 143982"/>
              <a:gd name="connsiteX104" fmla="*/ 175300 w 291232"/>
              <a:gd name="connsiteY104" fmla="*/ 128981 h 143982"/>
              <a:gd name="connsiteX105" fmla="*/ 193753 w 291232"/>
              <a:gd name="connsiteY105" fmla="*/ 121346 h 143982"/>
              <a:gd name="connsiteX106" fmla="*/ 209660 w 291232"/>
              <a:gd name="connsiteY106" fmla="*/ 117123 h 143982"/>
              <a:gd name="connsiteX107" fmla="*/ 246969 w 291232"/>
              <a:gd name="connsiteY107" fmla="*/ 102778 h 143982"/>
              <a:gd name="connsiteX108" fmla="*/ 261893 w 291232"/>
              <a:gd name="connsiteY108" fmla="*/ 91614 h 143982"/>
              <a:gd name="connsiteX109" fmla="*/ 269008 w 291232"/>
              <a:gd name="connsiteY109" fmla="*/ 85483 h 143982"/>
              <a:gd name="connsiteX110" fmla="*/ 288849 w 291232"/>
              <a:gd name="connsiteY110" fmla="*/ 65873 h 143982"/>
              <a:gd name="connsiteX111" fmla="*/ 286882 w 291232"/>
              <a:gd name="connsiteY111" fmla="*/ 52511 h 143982"/>
              <a:gd name="connsiteX112" fmla="*/ 275718 w 291232"/>
              <a:gd name="connsiteY112" fmla="*/ 44934 h 143982"/>
              <a:gd name="connsiteX113" fmla="*/ 261199 w 291232"/>
              <a:gd name="connsiteY113" fmla="*/ 37935 h 143982"/>
              <a:gd name="connsiteX114" fmla="*/ 259695 w 291232"/>
              <a:gd name="connsiteY114" fmla="*/ 30068 h 143982"/>
              <a:gd name="connsiteX115" fmla="*/ 257150 w 291232"/>
              <a:gd name="connsiteY115" fmla="*/ 20350 h 143982"/>
              <a:gd name="connsiteX116" fmla="*/ 254778 w 291232"/>
              <a:gd name="connsiteY116" fmla="*/ 13409 h 143982"/>
              <a:gd name="connsiteX117" fmla="*/ 252696 w 291232"/>
              <a:gd name="connsiteY117" fmla="*/ 12772 h 143982"/>
              <a:gd name="connsiteX118" fmla="*/ 239334 w 291232"/>
              <a:gd name="connsiteY118" fmla="*/ 15375 h 143982"/>
              <a:gd name="connsiteX119" fmla="*/ 237599 w 291232"/>
              <a:gd name="connsiteY119" fmla="*/ 15780 h 143982"/>
              <a:gd name="connsiteX120" fmla="*/ 224121 w 291232"/>
              <a:gd name="connsiteY120" fmla="*/ 9244 h 143982"/>
              <a:gd name="connsiteX121" fmla="*/ 211627 w 291232"/>
              <a:gd name="connsiteY121" fmla="*/ 3170 h 143982"/>
              <a:gd name="connsiteX122" fmla="*/ 209139 w 291232"/>
              <a:gd name="connsiteY122" fmla="*/ 12310 h 143982"/>
              <a:gd name="connsiteX123" fmla="*/ 209139 w 291232"/>
              <a:gd name="connsiteY123" fmla="*/ 19077 h 143982"/>
              <a:gd name="connsiteX124" fmla="*/ 205437 w 291232"/>
              <a:gd name="connsiteY124" fmla="*/ 21333 h 143982"/>
              <a:gd name="connsiteX125" fmla="*/ 199363 w 291232"/>
              <a:gd name="connsiteY125" fmla="*/ 20176 h 143982"/>
              <a:gd name="connsiteX126" fmla="*/ 194273 w 291232"/>
              <a:gd name="connsiteY126" fmla="*/ 19193 h 143982"/>
              <a:gd name="connsiteX127" fmla="*/ 193116 w 291232"/>
              <a:gd name="connsiteY127" fmla="*/ 19945 h 143982"/>
              <a:gd name="connsiteX128" fmla="*/ 188524 w 291232"/>
              <a:gd name="connsiteY128" fmla="*/ 25695 h 143982"/>
              <a:gd name="connsiteX129" fmla="*/ 187968 w 291232"/>
              <a:gd name="connsiteY129" fmla="*/ 25729 h 143982"/>
              <a:gd name="connsiteX130" fmla="*/ 180159 w 291232"/>
              <a:gd name="connsiteY130" fmla="*/ 21102 h 143982"/>
              <a:gd name="connsiteX131" fmla="*/ 173854 w 291232"/>
              <a:gd name="connsiteY131" fmla="*/ 18383 h 143982"/>
              <a:gd name="connsiteX132" fmla="*/ 167202 w 291232"/>
              <a:gd name="connsiteY132" fmla="*/ 20813 h 143982"/>
              <a:gd name="connsiteX133" fmla="*/ 166450 w 291232"/>
              <a:gd name="connsiteY133" fmla="*/ 22722 h 143982"/>
              <a:gd name="connsiteX134" fmla="*/ 165756 w 291232"/>
              <a:gd name="connsiteY134" fmla="*/ 25440 h 143982"/>
              <a:gd name="connsiteX135" fmla="*/ 164078 w 291232"/>
              <a:gd name="connsiteY135" fmla="*/ 26134 h 143982"/>
              <a:gd name="connsiteX136" fmla="*/ 154187 w 291232"/>
              <a:gd name="connsiteY136" fmla="*/ 21218 h 143982"/>
              <a:gd name="connsiteX137" fmla="*/ 150543 w 291232"/>
              <a:gd name="connsiteY137" fmla="*/ 18962 h 143982"/>
              <a:gd name="connsiteX138" fmla="*/ 137528 w 291232"/>
              <a:gd name="connsiteY138" fmla="*/ 22201 h 143982"/>
              <a:gd name="connsiteX139" fmla="*/ 134115 w 291232"/>
              <a:gd name="connsiteY139" fmla="*/ 30357 h 143982"/>
              <a:gd name="connsiteX140" fmla="*/ 133247 w 291232"/>
              <a:gd name="connsiteY140" fmla="*/ 35274 h 143982"/>
              <a:gd name="connsiteX141" fmla="*/ 131281 w 291232"/>
              <a:gd name="connsiteY141" fmla="*/ 36141 h 143982"/>
              <a:gd name="connsiteX142" fmla="*/ 121100 w 291232"/>
              <a:gd name="connsiteY142" fmla="*/ 25440 h 143982"/>
              <a:gd name="connsiteX143" fmla="*/ 115316 w 291232"/>
              <a:gd name="connsiteY143" fmla="*/ 20581 h 143982"/>
              <a:gd name="connsiteX144" fmla="*/ 111093 w 291232"/>
              <a:gd name="connsiteY144" fmla="*/ 23589 h 143982"/>
              <a:gd name="connsiteX145" fmla="*/ 110457 w 291232"/>
              <a:gd name="connsiteY145" fmla="*/ 32786 h 143982"/>
              <a:gd name="connsiteX146" fmla="*/ 111845 w 291232"/>
              <a:gd name="connsiteY146" fmla="*/ 45744 h 143982"/>
              <a:gd name="connsiteX147" fmla="*/ 105991 w 291232"/>
              <a:gd name="connsiteY147" fmla="*/ 47276 h 143982"/>
              <a:gd name="connsiteX148" fmla="*/ 105309 w 291232"/>
              <a:gd name="connsiteY148" fmla="*/ 46785 h 143982"/>
              <a:gd name="connsiteX149" fmla="*/ 101838 w 291232"/>
              <a:gd name="connsiteY149" fmla="*/ 45859 h 143982"/>
              <a:gd name="connsiteX150" fmla="*/ 89055 w 291232"/>
              <a:gd name="connsiteY150" fmla="*/ 54536 h 143982"/>
              <a:gd name="connsiteX151" fmla="*/ 86567 w 291232"/>
              <a:gd name="connsiteY151" fmla="*/ 55982 h 143982"/>
              <a:gd name="connsiteX152" fmla="*/ 77081 w 291232"/>
              <a:gd name="connsiteY152" fmla="*/ 43314 h 143982"/>
              <a:gd name="connsiteX153" fmla="*/ 80262 w 291232"/>
              <a:gd name="connsiteY153" fmla="*/ 31167 h 143982"/>
              <a:gd name="connsiteX154" fmla="*/ 81072 w 291232"/>
              <a:gd name="connsiteY154" fmla="*/ 29432 h 143982"/>
              <a:gd name="connsiteX155" fmla="*/ 39250 w 291232"/>
              <a:gd name="connsiteY155" fmla="*/ 5773 h 143982"/>
              <a:gd name="connsiteX156" fmla="*/ 34276 w 291232"/>
              <a:gd name="connsiteY156" fmla="*/ 7219 h 143982"/>
              <a:gd name="connsiteX157" fmla="*/ 43994 w 291232"/>
              <a:gd name="connsiteY157" fmla="*/ 19135 h 143982"/>
              <a:gd name="connsiteX158" fmla="*/ 46770 w 291232"/>
              <a:gd name="connsiteY158" fmla="*/ 23763 h 143982"/>
              <a:gd name="connsiteX159" fmla="*/ 43762 w 291232"/>
              <a:gd name="connsiteY159" fmla="*/ 25325 h 143982"/>
              <a:gd name="connsiteX160" fmla="*/ 32194 w 291232"/>
              <a:gd name="connsiteY160" fmla="*/ 19887 h 143982"/>
              <a:gd name="connsiteX161" fmla="*/ 27971 w 291232"/>
              <a:gd name="connsiteY161" fmla="*/ 17805 h 143982"/>
              <a:gd name="connsiteX162" fmla="*/ 16402 w 291232"/>
              <a:gd name="connsiteY162" fmla="*/ 26655 h 143982"/>
              <a:gd name="connsiteX163" fmla="*/ 8651 w 291232"/>
              <a:gd name="connsiteY163" fmla="*/ 35910 h 143982"/>
              <a:gd name="connsiteX164" fmla="*/ 2866 w 291232"/>
              <a:gd name="connsiteY164" fmla="*/ 44413 h 143982"/>
              <a:gd name="connsiteX165" fmla="*/ 3792 w 291232"/>
              <a:gd name="connsiteY165" fmla="*/ 46843 h 143982"/>
              <a:gd name="connsiteX166" fmla="*/ 17732 w 291232"/>
              <a:gd name="connsiteY166" fmla="*/ 51586 h 143982"/>
              <a:gd name="connsiteX167" fmla="*/ 27566 w 291232"/>
              <a:gd name="connsiteY167" fmla="*/ 49619 h 143982"/>
              <a:gd name="connsiteX168" fmla="*/ 47465 w 291232"/>
              <a:gd name="connsiteY168" fmla="*/ 45339 h 143982"/>
              <a:gd name="connsiteX169" fmla="*/ 61868 w 291232"/>
              <a:gd name="connsiteY169" fmla="*/ 49851 h 143982"/>
              <a:gd name="connsiteX170" fmla="*/ 63661 w 291232"/>
              <a:gd name="connsiteY170" fmla="*/ 53552 h 143982"/>
              <a:gd name="connsiteX171" fmla="*/ 58860 w 291232"/>
              <a:gd name="connsiteY171" fmla="*/ 58932 h 143982"/>
              <a:gd name="connsiteX172" fmla="*/ 55563 w 291232"/>
              <a:gd name="connsiteY172" fmla="*/ 61882 h 143982"/>
              <a:gd name="connsiteX173" fmla="*/ 56546 w 291232"/>
              <a:gd name="connsiteY173" fmla="*/ 63097 h 143982"/>
              <a:gd name="connsiteX174" fmla="*/ 59496 w 291232"/>
              <a:gd name="connsiteY174" fmla="*/ 68881 h 143982"/>
              <a:gd name="connsiteX175" fmla="*/ 46886 w 291232"/>
              <a:gd name="connsiteY175" fmla="*/ 73104 h 143982"/>
              <a:gd name="connsiteX176" fmla="*/ 41622 w 291232"/>
              <a:gd name="connsiteY176" fmla="*/ 73104 h 143982"/>
              <a:gd name="connsiteX177" fmla="*/ 36532 w 291232"/>
              <a:gd name="connsiteY177" fmla="*/ 73104 h 143982"/>
              <a:gd name="connsiteX178" fmla="*/ 11659 w 291232"/>
              <a:gd name="connsiteY178" fmla="*/ 78888 h 143982"/>
              <a:gd name="connsiteX179" fmla="*/ 11659 w 291232"/>
              <a:gd name="connsiteY179" fmla="*/ 80045 h 143982"/>
              <a:gd name="connsiteX180" fmla="*/ 17038 w 291232"/>
              <a:gd name="connsiteY180" fmla="*/ 81086 h 143982"/>
              <a:gd name="connsiteX181" fmla="*/ 31615 w 291232"/>
              <a:gd name="connsiteY181" fmla="*/ 79814 h 143982"/>
              <a:gd name="connsiteX182" fmla="*/ 45209 w 291232"/>
              <a:gd name="connsiteY182" fmla="*/ 78657 h 143982"/>
              <a:gd name="connsiteX183" fmla="*/ 51398 w 291232"/>
              <a:gd name="connsiteY183" fmla="*/ 81318 h 143982"/>
              <a:gd name="connsiteX184" fmla="*/ 51398 w 291232"/>
              <a:gd name="connsiteY184" fmla="*/ 82764 h 143982"/>
              <a:gd name="connsiteX185" fmla="*/ 55678 w 291232"/>
              <a:gd name="connsiteY185" fmla="*/ 91383 h 143982"/>
              <a:gd name="connsiteX186" fmla="*/ 59438 w 291232"/>
              <a:gd name="connsiteY186" fmla="*/ 90457 h 143982"/>
              <a:gd name="connsiteX187" fmla="*/ 63256 w 291232"/>
              <a:gd name="connsiteY187" fmla="*/ 89532 h 143982"/>
              <a:gd name="connsiteX188" fmla="*/ 66958 w 291232"/>
              <a:gd name="connsiteY188" fmla="*/ 95316 h 143982"/>
              <a:gd name="connsiteX189" fmla="*/ 68346 w 291232"/>
              <a:gd name="connsiteY189" fmla="*/ 99770 h 143982"/>
              <a:gd name="connsiteX190" fmla="*/ 71586 w 291232"/>
              <a:gd name="connsiteY190" fmla="*/ 106075 h 143982"/>
              <a:gd name="connsiteX191" fmla="*/ 58744 w 291232"/>
              <a:gd name="connsiteY191" fmla="*/ 114520 h 143982"/>
              <a:gd name="connsiteX192" fmla="*/ 44167 w 291232"/>
              <a:gd name="connsiteY192" fmla="*/ 118280 h 143982"/>
              <a:gd name="connsiteX193" fmla="*/ 45729 w 291232"/>
              <a:gd name="connsiteY193" fmla="*/ 121462 h 143982"/>
              <a:gd name="connsiteX194" fmla="*/ 55215 w 291232"/>
              <a:gd name="connsiteY194" fmla="*/ 124585 h 143982"/>
              <a:gd name="connsiteX195" fmla="*/ 73842 w 291232"/>
              <a:gd name="connsiteY195" fmla="*/ 121288 h 143982"/>
              <a:gd name="connsiteX196" fmla="*/ 79626 w 291232"/>
              <a:gd name="connsiteY196" fmla="*/ 119958 h 143982"/>
              <a:gd name="connsiteX197" fmla="*/ 83154 w 291232"/>
              <a:gd name="connsiteY197" fmla="*/ 119148 h 14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291232" h="143982">
                <a:moveTo>
                  <a:pt x="142271" y="143848"/>
                </a:moveTo>
                <a:lnTo>
                  <a:pt x="142271" y="143848"/>
                </a:lnTo>
                <a:cubicBezTo>
                  <a:pt x="137638" y="143934"/>
                  <a:pt x="133022" y="143148"/>
                  <a:pt x="128678" y="141534"/>
                </a:cubicBezTo>
                <a:cubicBezTo>
                  <a:pt x="122893" y="138989"/>
                  <a:pt x="117277" y="136091"/>
                  <a:pt x="111845" y="132857"/>
                </a:cubicBezTo>
                <a:cubicBezTo>
                  <a:pt x="101838" y="127073"/>
                  <a:pt x="91484" y="121288"/>
                  <a:pt x="82923" y="121288"/>
                </a:cubicBezTo>
                <a:cubicBezTo>
                  <a:pt x="81755" y="121271"/>
                  <a:pt x="80586" y="121410"/>
                  <a:pt x="79452" y="121693"/>
                </a:cubicBezTo>
                <a:lnTo>
                  <a:pt x="73668" y="123024"/>
                </a:lnTo>
                <a:cubicBezTo>
                  <a:pt x="67438" y="124875"/>
                  <a:pt x="61012" y="126003"/>
                  <a:pt x="54521" y="126379"/>
                </a:cubicBezTo>
                <a:cubicBezTo>
                  <a:pt x="50449" y="126691"/>
                  <a:pt x="46435" y="125308"/>
                  <a:pt x="43415" y="122561"/>
                </a:cubicBezTo>
                <a:cubicBezTo>
                  <a:pt x="41408" y="120519"/>
                  <a:pt x="40714" y="118587"/>
                  <a:pt x="41333" y="116776"/>
                </a:cubicBezTo>
                <a:cubicBezTo>
                  <a:pt x="42490" y="113826"/>
                  <a:pt x="47754" y="112149"/>
                  <a:pt x="57934" y="111570"/>
                </a:cubicBezTo>
                <a:cubicBezTo>
                  <a:pt x="65107" y="111050"/>
                  <a:pt x="68230" y="107753"/>
                  <a:pt x="68693" y="105034"/>
                </a:cubicBezTo>
                <a:cubicBezTo>
                  <a:pt x="69058" y="103455"/>
                  <a:pt x="68259" y="101829"/>
                  <a:pt x="66784" y="101158"/>
                </a:cubicBezTo>
                <a:cubicBezTo>
                  <a:pt x="64181" y="100059"/>
                  <a:pt x="64066" y="97109"/>
                  <a:pt x="64008" y="94680"/>
                </a:cubicBezTo>
                <a:cubicBezTo>
                  <a:pt x="63950" y="92250"/>
                  <a:pt x="63661" y="91151"/>
                  <a:pt x="62562" y="91151"/>
                </a:cubicBezTo>
                <a:cubicBezTo>
                  <a:pt x="61538" y="91221"/>
                  <a:pt x="60543" y="91475"/>
                  <a:pt x="59612" y="91903"/>
                </a:cubicBezTo>
                <a:cubicBezTo>
                  <a:pt x="58160" y="92574"/>
                  <a:pt x="56586" y="92944"/>
                  <a:pt x="54984" y="93002"/>
                </a:cubicBezTo>
                <a:cubicBezTo>
                  <a:pt x="49200" y="93002"/>
                  <a:pt x="48737" y="86582"/>
                  <a:pt x="48448" y="82301"/>
                </a:cubicBezTo>
                <a:lnTo>
                  <a:pt x="48448" y="80855"/>
                </a:lnTo>
                <a:lnTo>
                  <a:pt x="48448" y="80855"/>
                </a:lnTo>
                <a:cubicBezTo>
                  <a:pt x="48448" y="80855"/>
                  <a:pt x="47927" y="80277"/>
                  <a:pt x="44514" y="80277"/>
                </a:cubicBezTo>
                <a:cubicBezTo>
                  <a:pt x="41101" y="80277"/>
                  <a:pt x="36243" y="80855"/>
                  <a:pt x="31152" y="81433"/>
                </a:cubicBezTo>
                <a:cubicBezTo>
                  <a:pt x="26241" y="82122"/>
                  <a:pt x="21302" y="82550"/>
                  <a:pt x="16344" y="82706"/>
                </a:cubicBezTo>
                <a:cubicBezTo>
                  <a:pt x="12064" y="82706"/>
                  <a:pt x="9808" y="82012"/>
                  <a:pt x="8998" y="80450"/>
                </a:cubicBezTo>
                <a:cubicBezTo>
                  <a:pt x="8385" y="79415"/>
                  <a:pt x="8385" y="78131"/>
                  <a:pt x="8998" y="77095"/>
                </a:cubicBezTo>
                <a:cubicBezTo>
                  <a:pt x="11601" y="72757"/>
                  <a:pt x="24732" y="70154"/>
                  <a:pt x="35838" y="70154"/>
                </a:cubicBezTo>
                <a:cubicBezTo>
                  <a:pt x="37631" y="70154"/>
                  <a:pt x="39424" y="70154"/>
                  <a:pt x="41101" y="70154"/>
                </a:cubicBezTo>
                <a:cubicBezTo>
                  <a:pt x="42779" y="70154"/>
                  <a:pt x="44630" y="70154"/>
                  <a:pt x="46192" y="70154"/>
                </a:cubicBezTo>
                <a:cubicBezTo>
                  <a:pt x="53769" y="70154"/>
                  <a:pt x="56372" y="68476"/>
                  <a:pt x="56662" y="67493"/>
                </a:cubicBezTo>
                <a:cubicBezTo>
                  <a:pt x="56951" y="66510"/>
                  <a:pt x="56083" y="65526"/>
                  <a:pt x="54463" y="64312"/>
                </a:cubicBezTo>
                <a:cubicBezTo>
                  <a:pt x="53359" y="63652"/>
                  <a:pt x="52665" y="62472"/>
                  <a:pt x="52612" y="61188"/>
                </a:cubicBezTo>
                <a:cubicBezTo>
                  <a:pt x="52612" y="59221"/>
                  <a:pt x="54695" y="57891"/>
                  <a:pt x="56893" y="56387"/>
                </a:cubicBezTo>
                <a:cubicBezTo>
                  <a:pt x="59091" y="54883"/>
                  <a:pt x="60595" y="53900"/>
                  <a:pt x="60711" y="52743"/>
                </a:cubicBezTo>
                <a:cubicBezTo>
                  <a:pt x="60607" y="52002"/>
                  <a:pt x="60213" y="51337"/>
                  <a:pt x="59612" y="50892"/>
                </a:cubicBezTo>
                <a:cubicBezTo>
                  <a:pt x="55985" y="48005"/>
                  <a:pt x="51392" y="46600"/>
                  <a:pt x="46770" y="46958"/>
                </a:cubicBezTo>
                <a:cubicBezTo>
                  <a:pt x="40222" y="47091"/>
                  <a:pt x="33761" y="48485"/>
                  <a:pt x="27739" y="51065"/>
                </a:cubicBezTo>
                <a:cubicBezTo>
                  <a:pt x="24356" y="52506"/>
                  <a:pt x="20717" y="53234"/>
                  <a:pt x="17038" y="53205"/>
                </a:cubicBezTo>
                <a:cubicBezTo>
                  <a:pt x="11312" y="53506"/>
                  <a:pt x="5701" y="51528"/>
                  <a:pt x="1420" y="47710"/>
                </a:cubicBezTo>
                <a:cubicBezTo>
                  <a:pt x="316" y="46576"/>
                  <a:pt x="-240" y="45009"/>
                  <a:pt x="-84" y="43430"/>
                </a:cubicBezTo>
                <a:cubicBezTo>
                  <a:pt x="1056" y="39589"/>
                  <a:pt x="3358" y="36194"/>
                  <a:pt x="6511" y="33712"/>
                </a:cubicBezTo>
                <a:cubicBezTo>
                  <a:pt x="9275" y="31034"/>
                  <a:pt x="11722" y="28043"/>
                  <a:pt x="13799" y="24804"/>
                </a:cubicBezTo>
                <a:cubicBezTo>
                  <a:pt x="16442" y="19459"/>
                  <a:pt x="21550" y="15763"/>
                  <a:pt x="27450" y="14913"/>
                </a:cubicBezTo>
                <a:cubicBezTo>
                  <a:pt x="29735" y="14936"/>
                  <a:pt x="31875" y="16029"/>
                  <a:pt x="33235" y="17863"/>
                </a:cubicBezTo>
                <a:cubicBezTo>
                  <a:pt x="35780" y="20564"/>
                  <a:pt x="39250" y="22195"/>
                  <a:pt x="42953" y="22432"/>
                </a:cubicBezTo>
                <a:cubicBezTo>
                  <a:pt x="43259" y="22479"/>
                  <a:pt x="43571" y="22479"/>
                  <a:pt x="43878" y="22432"/>
                </a:cubicBezTo>
                <a:cubicBezTo>
                  <a:pt x="43248" y="21657"/>
                  <a:pt x="42530" y="20957"/>
                  <a:pt x="41738" y="20350"/>
                </a:cubicBezTo>
                <a:cubicBezTo>
                  <a:pt x="35953" y="15954"/>
                  <a:pt x="30169" y="9880"/>
                  <a:pt x="31326" y="5947"/>
                </a:cubicBezTo>
                <a:cubicBezTo>
                  <a:pt x="32020" y="3980"/>
                  <a:pt x="34334" y="2997"/>
                  <a:pt x="38441" y="2997"/>
                </a:cubicBezTo>
                <a:cubicBezTo>
                  <a:pt x="49258" y="2997"/>
                  <a:pt x="80146" y="19598"/>
                  <a:pt x="82402" y="28332"/>
                </a:cubicBezTo>
                <a:cubicBezTo>
                  <a:pt x="82923" y="30021"/>
                  <a:pt x="82136" y="31838"/>
                  <a:pt x="80551" y="32613"/>
                </a:cubicBezTo>
                <a:cubicBezTo>
                  <a:pt x="77023" y="34580"/>
                  <a:pt x="77717" y="39496"/>
                  <a:pt x="78411" y="42215"/>
                </a:cubicBezTo>
                <a:cubicBezTo>
                  <a:pt x="80031" y="48289"/>
                  <a:pt x="84196" y="53205"/>
                  <a:pt x="85757" y="53205"/>
                </a:cubicBezTo>
                <a:cubicBezTo>
                  <a:pt x="85757" y="53205"/>
                  <a:pt x="86104" y="53205"/>
                  <a:pt x="86336" y="52801"/>
                </a:cubicBezTo>
                <a:cubicBezTo>
                  <a:pt x="89465" y="47462"/>
                  <a:pt x="94891" y="43875"/>
                  <a:pt x="101028" y="43083"/>
                </a:cubicBezTo>
                <a:cubicBezTo>
                  <a:pt x="102660" y="43060"/>
                  <a:pt x="104268" y="43499"/>
                  <a:pt x="105656" y="44355"/>
                </a:cubicBezTo>
                <a:cubicBezTo>
                  <a:pt x="106240" y="44754"/>
                  <a:pt x="106917" y="44992"/>
                  <a:pt x="107622" y="45049"/>
                </a:cubicBezTo>
                <a:cubicBezTo>
                  <a:pt x="108270" y="45038"/>
                  <a:pt x="108860" y="44656"/>
                  <a:pt x="109126" y="44066"/>
                </a:cubicBezTo>
                <a:cubicBezTo>
                  <a:pt x="110306" y="40468"/>
                  <a:pt x="109774" y="36523"/>
                  <a:pt x="107680" y="33365"/>
                </a:cubicBezTo>
                <a:cubicBezTo>
                  <a:pt x="105904" y="29645"/>
                  <a:pt x="106171" y="25278"/>
                  <a:pt x="108374" y="21796"/>
                </a:cubicBezTo>
                <a:cubicBezTo>
                  <a:pt x="109531" y="19424"/>
                  <a:pt x="111874" y="17857"/>
                  <a:pt x="114506" y="17689"/>
                </a:cubicBezTo>
                <a:cubicBezTo>
                  <a:pt x="116415" y="17689"/>
                  <a:pt x="119307" y="18730"/>
                  <a:pt x="122199" y="23474"/>
                </a:cubicBezTo>
                <a:cubicBezTo>
                  <a:pt x="127579" y="32844"/>
                  <a:pt x="130124" y="33076"/>
                  <a:pt x="130413" y="33076"/>
                </a:cubicBezTo>
                <a:cubicBezTo>
                  <a:pt x="130506" y="33116"/>
                  <a:pt x="130610" y="33116"/>
                  <a:pt x="130702" y="33076"/>
                </a:cubicBezTo>
                <a:cubicBezTo>
                  <a:pt x="131067" y="32063"/>
                  <a:pt x="131067" y="30964"/>
                  <a:pt x="130702" y="29952"/>
                </a:cubicBezTo>
                <a:cubicBezTo>
                  <a:pt x="130668" y="26238"/>
                  <a:pt x="132102" y="22664"/>
                  <a:pt x="134693" y="20003"/>
                </a:cubicBezTo>
                <a:cubicBezTo>
                  <a:pt x="138315" y="14947"/>
                  <a:pt x="145123" y="13368"/>
                  <a:pt x="150601" y="16301"/>
                </a:cubicBezTo>
                <a:lnTo>
                  <a:pt x="154245" y="18557"/>
                </a:lnTo>
                <a:cubicBezTo>
                  <a:pt x="156871" y="20547"/>
                  <a:pt x="159804" y="22114"/>
                  <a:pt x="162922" y="23184"/>
                </a:cubicBezTo>
                <a:cubicBezTo>
                  <a:pt x="163008" y="22860"/>
                  <a:pt x="163008" y="22525"/>
                  <a:pt x="162922" y="22201"/>
                </a:cubicBezTo>
                <a:cubicBezTo>
                  <a:pt x="162835" y="20870"/>
                  <a:pt x="163321" y="19563"/>
                  <a:pt x="164252" y="18615"/>
                </a:cubicBezTo>
                <a:cubicBezTo>
                  <a:pt x="166485" y="16463"/>
                  <a:pt x="169481" y="15294"/>
                  <a:pt x="172582" y="15375"/>
                </a:cubicBezTo>
                <a:cubicBezTo>
                  <a:pt x="175682" y="15277"/>
                  <a:pt x="178649" y="16625"/>
                  <a:pt x="180622" y="19019"/>
                </a:cubicBezTo>
                <a:cubicBezTo>
                  <a:pt x="182010" y="21085"/>
                  <a:pt x="184226" y="22456"/>
                  <a:pt x="186696" y="22779"/>
                </a:cubicBezTo>
                <a:cubicBezTo>
                  <a:pt x="188546" y="22779"/>
                  <a:pt x="189530" y="21507"/>
                  <a:pt x="189530" y="19309"/>
                </a:cubicBezTo>
                <a:cubicBezTo>
                  <a:pt x="189530" y="18383"/>
                  <a:pt x="189877" y="16301"/>
                  <a:pt x="193001" y="16301"/>
                </a:cubicBezTo>
                <a:cubicBezTo>
                  <a:pt x="194961" y="16440"/>
                  <a:pt x="196899" y="16787"/>
                  <a:pt x="198785" y="17342"/>
                </a:cubicBezTo>
                <a:cubicBezTo>
                  <a:pt x="200665" y="17938"/>
                  <a:pt x="202603" y="18302"/>
                  <a:pt x="204569" y="18441"/>
                </a:cubicBezTo>
                <a:cubicBezTo>
                  <a:pt x="205900" y="18441"/>
                  <a:pt x="206073" y="17978"/>
                  <a:pt x="206131" y="17747"/>
                </a:cubicBezTo>
                <a:cubicBezTo>
                  <a:pt x="206507" y="15838"/>
                  <a:pt x="206507" y="13871"/>
                  <a:pt x="206131" y="11962"/>
                </a:cubicBezTo>
                <a:cubicBezTo>
                  <a:pt x="205726" y="7740"/>
                  <a:pt x="205321" y="2997"/>
                  <a:pt x="209833" y="394"/>
                </a:cubicBezTo>
                <a:cubicBezTo>
                  <a:pt x="210528" y="29"/>
                  <a:pt x="211303" y="-150"/>
                  <a:pt x="212089" y="-127"/>
                </a:cubicBezTo>
                <a:cubicBezTo>
                  <a:pt x="216821" y="961"/>
                  <a:pt x="221177" y="3297"/>
                  <a:pt x="224699" y="6641"/>
                </a:cubicBezTo>
                <a:cubicBezTo>
                  <a:pt x="229153" y="9996"/>
                  <a:pt x="233839" y="13409"/>
                  <a:pt x="236268" y="12830"/>
                </a:cubicBezTo>
                <a:lnTo>
                  <a:pt x="237946" y="12367"/>
                </a:lnTo>
                <a:cubicBezTo>
                  <a:pt x="242481" y="10985"/>
                  <a:pt x="247154" y="10088"/>
                  <a:pt x="251886" y="9707"/>
                </a:cubicBezTo>
                <a:cubicBezTo>
                  <a:pt x="253245" y="9527"/>
                  <a:pt x="254616" y="9949"/>
                  <a:pt x="255646" y="10864"/>
                </a:cubicBezTo>
                <a:cubicBezTo>
                  <a:pt x="256115" y="11407"/>
                  <a:pt x="256323" y="12124"/>
                  <a:pt x="256224" y="12830"/>
                </a:cubicBezTo>
                <a:cubicBezTo>
                  <a:pt x="256496" y="14895"/>
                  <a:pt x="257231" y="16868"/>
                  <a:pt x="258365" y="18615"/>
                </a:cubicBezTo>
                <a:cubicBezTo>
                  <a:pt x="260783" y="21952"/>
                  <a:pt x="261743" y="26129"/>
                  <a:pt x="261026" y="30184"/>
                </a:cubicBezTo>
                <a:cubicBezTo>
                  <a:pt x="260459" y="32196"/>
                  <a:pt x="260910" y="34354"/>
                  <a:pt x="262240" y="35968"/>
                </a:cubicBezTo>
                <a:cubicBezTo>
                  <a:pt x="265277" y="39872"/>
                  <a:pt x="269968" y="42117"/>
                  <a:pt x="274908" y="42042"/>
                </a:cubicBezTo>
                <a:cubicBezTo>
                  <a:pt x="280467" y="42487"/>
                  <a:pt x="285407" y="45767"/>
                  <a:pt x="287981" y="50718"/>
                </a:cubicBezTo>
                <a:cubicBezTo>
                  <a:pt x="291238" y="55230"/>
                  <a:pt x="292018" y="61072"/>
                  <a:pt x="290063" y="66278"/>
                </a:cubicBezTo>
                <a:cubicBezTo>
                  <a:pt x="286188" y="74029"/>
                  <a:pt x="275197" y="88086"/>
                  <a:pt x="267909" y="87102"/>
                </a:cubicBezTo>
                <a:cubicBezTo>
                  <a:pt x="266000" y="87102"/>
                  <a:pt x="264959" y="88780"/>
                  <a:pt x="263050" y="92077"/>
                </a:cubicBezTo>
                <a:cubicBezTo>
                  <a:pt x="260274" y="99064"/>
                  <a:pt x="253766" y="103860"/>
                  <a:pt x="246275" y="104456"/>
                </a:cubicBezTo>
                <a:cubicBezTo>
                  <a:pt x="233405" y="105994"/>
                  <a:pt x="221223" y="111102"/>
                  <a:pt x="211106" y="119206"/>
                </a:cubicBezTo>
                <a:cubicBezTo>
                  <a:pt x="205848" y="121861"/>
                  <a:pt x="200098" y="123400"/>
                  <a:pt x="194215" y="123718"/>
                </a:cubicBezTo>
                <a:cubicBezTo>
                  <a:pt x="186811" y="124759"/>
                  <a:pt x="179176" y="125800"/>
                  <a:pt x="177614" y="129965"/>
                </a:cubicBezTo>
                <a:cubicBezTo>
                  <a:pt x="174722" y="137080"/>
                  <a:pt x="157600" y="143848"/>
                  <a:pt x="142271" y="143848"/>
                </a:cubicBezTo>
                <a:close/>
                <a:moveTo>
                  <a:pt x="83154" y="119148"/>
                </a:moveTo>
                <a:cubicBezTo>
                  <a:pt x="92062" y="119148"/>
                  <a:pt x="102648" y="124932"/>
                  <a:pt x="112944" y="130717"/>
                </a:cubicBezTo>
                <a:cubicBezTo>
                  <a:pt x="118289" y="133921"/>
                  <a:pt x="123836" y="136779"/>
                  <a:pt x="129546" y="139278"/>
                </a:cubicBezTo>
                <a:cubicBezTo>
                  <a:pt x="133618" y="140782"/>
                  <a:pt x="137933" y="141505"/>
                  <a:pt x="142271" y="141418"/>
                </a:cubicBezTo>
                <a:cubicBezTo>
                  <a:pt x="157484" y="141418"/>
                  <a:pt x="173160" y="134592"/>
                  <a:pt x="175300" y="128981"/>
                </a:cubicBezTo>
                <a:cubicBezTo>
                  <a:pt x="177440" y="123371"/>
                  <a:pt x="185307" y="122503"/>
                  <a:pt x="193753" y="121346"/>
                </a:cubicBezTo>
                <a:cubicBezTo>
                  <a:pt x="199282" y="121011"/>
                  <a:pt x="204691" y="119576"/>
                  <a:pt x="209660" y="117123"/>
                </a:cubicBezTo>
                <a:cubicBezTo>
                  <a:pt x="220500" y="108927"/>
                  <a:pt x="233428" y="103952"/>
                  <a:pt x="246969" y="102778"/>
                </a:cubicBezTo>
                <a:cubicBezTo>
                  <a:pt x="253691" y="102269"/>
                  <a:pt x="259510" y="97919"/>
                  <a:pt x="261893" y="91614"/>
                </a:cubicBezTo>
                <a:cubicBezTo>
                  <a:pt x="263918" y="88086"/>
                  <a:pt x="265653" y="85020"/>
                  <a:pt x="269008" y="85483"/>
                </a:cubicBezTo>
                <a:cubicBezTo>
                  <a:pt x="274793" y="86177"/>
                  <a:pt x="284857" y="73914"/>
                  <a:pt x="288849" y="65873"/>
                </a:cubicBezTo>
                <a:cubicBezTo>
                  <a:pt x="290399" y="61361"/>
                  <a:pt x="289664" y="56381"/>
                  <a:pt x="286882" y="52511"/>
                </a:cubicBezTo>
                <a:cubicBezTo>
                  <a:pt x="284672" y="48271"/>
                  <a:pt x="280478" y="45425"/>
                  <a:pt x="275718" y="44934"/>
                </a:cubicBezTo>
                <a:cubicBezTo>
                  <a:pt x="270049" y="45003"/>
                  <a:pt x="264675" y="42412"/>
                  <a:pt x="261199" y="37935"/>
                </a:cubicBezTo>
                <a:cubicBezTo>
                  <a:pt x="259429" y="35725"/>
                  <a:pt x="258862" y="32775"/>
                  <a:pt x="259695" y="30068"/>
                </a:cubicBezTo>
                <a:cubicBezTo>
                  <a:pt x="260736" y="27233"/>
                  <a:pt x="258827" y="23589"/>
                  <a:pt x="257150" y="20350"/>
                </a:cubicBezTo>
                <a:cubicBezTo>
                  <a:pt x="255773" y="18279"/>
                  <a:pt x="254952" y="15890"/>
                  <a:pt x="254778" y="13409"/>
                </a:cubicBezTo>
                <a:cubicBezTo>
                  <a:pt x="254778" y="13119"/>
                  <a:pt x="254373" y="12772"/>
                  <a:pt x="252696" y="12772"/>
                </a:cubicBezTo>
                <a:cubicBezTo>
                  <a:pt x="248167" y="13183"/>
                  <a:pt x="243690" y="14056"/>
                  <a:pt x="239334" y="15375"/>
                </a:cubicBezTo>
                <a:lnTo>
                  <a:pt x="237599" y="15780"/>
                </a:lnTo>
                <a:cubicBezTo>
                  <a:pt x="234012" y="16648"/>
                  <a:pt x="229211" y="13119"/>
                  <a:pt x="224121" y="9244"/>
                </a:cubicBezTo>
                <a:cubicBezTo>
                  <a:pt x="219031" y="5368"/>
                  <a:pt x="214056" y="1840"/>
                  <a:pt x="211627" y="3170"/>
                </a:cubicBezTo>
                <a:cubicBezTo>
                  <a:pt x="209197" y="4501"/>
                  <a:pt x="208792" y="8492"/>
                  <a:pt x="209139" y="12310"/>
                </a:cubicBezTo>
                <a:cubicBezTo>
                  <a:pt x="209608" y="14542"/>
                  <a:pt x="209608" y="16845"/>
                  <a:pt x="209139" y="19077"/>
                </a:cubicBezTo>
                <a:cubicBezTo>
                  <a:pt x="209139" y="20118"/>
                  <a:pt x="207925" y="21333"/>
                  <a:pt x="205437" y="21333"/>
                </a:cubicBezTo>
                <a:cubicBezTo>
                  <a:pt x="203372" y="21200"/>
                  <a:pt x="201330" y="20813"/>
                  <a:pt x="199363" y="20176"/>
                </a:cubicBezTo>
                <a:cubicBezTo>
                  <a:pt x="197703" y="19685"/>
                  <a:pt x="195997" y="19355"/>
                  <a:pt x="194273" y="19193"/>
                </a:cubicBezTo>
                <a:cubicBezTo>
                  <a:pt x="193116" y="19193"/>
                  <a:pt x="193116" y="19482"/>
                  <a:pt x="193116" y="19945"/>
                </a:cubicBezTo>
                <a:cubicBezTo>
                  <a:pt x="193435" y="22803"/>
                  <a:pt x="191381" y="25377"/>
                  <a:pt x="188524" y="25695"/>
                </a:cubicBezTo>
                <a:cubicBezTo>
                  <a:pt x="188339" y="25718"/>
                  <a:pt x="188153" y="25729"/>
                  <a:pt x="187968" y="25729"/>
                </a:cubicBezTo>
                <a:cubicBezTo>
                  <a:pt x="184810" y="25423"/>
                  <a:pt x="181947" y="23728"/>
                  <a:pt x="180159" y="21102"/>
                </a:cubicBezTo>
                <a:cubicBezTo>
                  <a:pt x="178568" y="19297"/>
                  <a:pt x="176255" y="18302"/>
                  <a:pt x="173854" y="18383"/>
                </a:cubicBezTo>
                <a:cubicBezTo>
                  <a:pt x="171402" y="18279"/>
                  <a:pt x="169007" y="19153"/>
                  <a:pt x="167202" y="20813"/>
                </a:cubicBezTo>
                <a:cubicBezTo>
                  <a:pt x="166687" y="21310"/>
                  <a:pt x="166415" y="22004"/>
                  <a:pt x="166450" y="22722"/>
                </a:cubicBezTo>
                <a:cubicBezTo>
                  <a:pt x="166595" y="23682"/>
                  <a:pt x="166346" y="24665"/>
                  <a:pt x="165756" y="25440"/>
                </a:cubicBezTo>
                <a:cubicBezTo>
                  <a:pt x="165316" y="25897"/>
                  <a:pt x="164709" y="26146"/>
                  <a:pt x="164078" y="26134"/>
                </a:cubicBezTo>
                <a:cubicBezTo>
                  <a:pt x="160487" y="25180"/>
                  <a:pt x="157120" y="23508"/>
                  <a:pt x="154187" y="21218"/>
                </a:cubicBezTo>
                <a:cubicBezTo>
                  <a:pt x="153071" y="20483"/>
                  <a:pt x="151856" y="19731"/>
                  <a:pt x="150543" y="18962"/>
                </a:cubicBezTo>
                <a:cubicBezTo>
                  <a:pt x="146014" y="16573"/>
                  <a:pt x="140409" y="17967"/>
                  <a:pt x="137528" y="22201"/>
                </a:cubicBezTo>
                <a:cubicBezTo>
                  <a:pt x="135394" y="24387"/>
                  <a:pt x="134173" y="27303"/>
                  <a:pt x="134115" y="30357"/>
                </a:cubicBezTo>
                <a:cubicBezTo>
                  <a:pt x="134480" y="32046"/>
                  <a:pt x="134167" y="33810"/>
                  <a:pt x="133247" y="35274"/>
                </a:cubicBezTo>
                <a:cubicBezTo>
                  <a:pt x="132750" y="35835"/>
                  <a:pt x="132033" y="36147"/>
                  <a:pt x="131281" y="36141"/>
                </a:cubicBezTo>
                <a:cubicBezTo>
                  <a:pt x="127984" y="36141"/>
                  <a:pt x="123935" y="30357"/>
                  <a:pt x="121100" y="25440"/>
                </a:cubicBezTo>
                <a:cubicBezTo>
                  <a:pt x="119249" y="22259"/>
                  <a:pt x="117283" y="20581"/>
                  <a:pt x="115316" y="20581"/>
                </a:cubicBezTo>
                <a:cubicBezTo>
                  <a:pt x="113476" y="20772"/>
                  <a:pt x="111874" y="21917"/>
                  <a:pt x="111093" y="23589"/>
                </a:cubicBezTo>
                <a:cubicBezTo>
                  <a:pt x="109381" y="26360"/>
                  <a:pt x="109138" y="29802"/>
                  <a:pt x="110457" y="32786"/>
                </a:cubicBezTo>
                <a:cubicBezTo>
                  <a:pt x="112950" y="36639"/>
                  <a:pt x="113465" y="41452"/>
                  <a:pt x="111845" y="45744"/>
                </a:cubicBezTo>
                <a:cubicBezTo>
                  <a:pt x="110653" y="47786"/>
                  <a:pt x="108033" y="48474"/>
                  <a:pt x="105991" y="47276"/>
                </a:cubicBezTo>
                <a:cubicBezTo>
                  <a:pt x="105748" y="47138"/>
                  <a:pt x="105517" y="46970"/>
                  <a:pt x="105309" y="46785"/>
                </a:cubicBezTo>
                <a:cubicBezTo>
                  <a:pt x="104250" y="46183"/>
                  <a:pt x="103053" y="45865"/>
                  <a:pt x="101838" y="45859"/>
                </a:cubicBezTo>
                <a:cubicBezTo>
                  <a:pt x="96487" y="46681"/>
                  <a:pt x="91796" y="49868"/>
                  <a:pt x="89055" y="54536"/>
                </a:cubicBezTo>
                <a:cubicBezTo>
                  <a:pt x="88534" y="55415"/>
                  <a:pt x="87591" y="55965"/>
                  <a:pt x="86567" y="55982"/>
                </a:cubicBezTo>
                <a:cubicBezTo>
                  <a:pt x="83039" y="55982"/>
                  <a:pt x="78642" y="49272"/>
                  <a:pt x="77081" y="43314"/>
                </a:cubicBezTo>
                <a:cubicBezTo>
                  <a:pt x="75519" y="37356"/>
                  <a:pt x="76734" y="33133"/>
                  <a:pt x="80262" y="31167"/>
                </a:cubicBezTo>
                <a:cubicBezTo>
                  <a:pt x="80933" y="30878"/>
                  <a:pt x="81280" y="30131"/>
                  <a:pt x="81072" y="29432"/>
                </a:cubicBezTo>
                <a:cubicBezTo>
                  <a:pt x="79221" y="22374"/>
                  <a:pt x="49894" y="5773"/>
                  <a:pt x="39250" y="5773"/>
                </a:cubicBezTo>
                <a:cubicBezTo>
                  <a:pt x="36416" y="5773"/>
                  <a:pt x="34565" y="6294"/>
                  <a:pt x="34276" y="7219"/>
                </a:cubicBezTo>
                <a:cubicBezTo>
                  <a:pt x="33987" y="8145"/>
                  <a:pt x="36474" y="13004"/>
                  <a:pt x="43994" y="19135"/>
                </a:cubicBezTo>
                <a:cubicBezTo>
                  <a:pt x="45440" y="20292"/>
                  <a:pt x="47349" y="22085"/>
                  <a:pt x="46770" y="23763"/>
                </a:cubicBezTo>
                <a:cubicBezTo>
                  <a:pt x="46770" y="24457"/>
                  <a:pt x="45787" y="25325"/>
                  <a:pt x="43762" y="25325"/>
                </a:cubicBezTo>
                <a:cubicBezTo>
                  <a:pt x="39337" y="25128"/>
                  <a:pt x="35167" y="23173"/>
                  <a:pt x="32194" y="19887"/>
                </a:cubicBezTo>
                <a:cubicBezTo>
                  <a:pt x="31199" y="18563"/>
                  <a:pt x="29631" y="17787"/>
                  <a:pt x="27971" y="17805"/>
                </a:cubicBezTo>
                <a:cubicBezTo>
                  <a:pt x="22927" y="18748"/>
                  <a:pt x="18635" y="22033"/>
                  <a:pt x="16402" y="26655"/>
                </a:cubicBezTo>
                <a:cubicBezTo>
                  <a:pt x="14186" y="30033"/>
                  <a:pt x="11584" y="33133"/>
                  <a:pt x="8651" y="35910"/>
                </a:cubicBezTo>
                <a:cubicBezTo>
                  <a:pt x="5932" y="38120"/>
                  <a:pt x="3925" y="41076"/>
                  <a:pt x="2866" y="44413"/>
                </a:cubicBezTo>
                <a:cubicBezTo>
                  <a:pt x="2797" y="45321"/>
                  <a:pt x="3138" y="46212"/>
                  <a:pt x="3792" y="46843"/>
                </a:cubicBezTo>
                <a:cubicBezTo>
                  <a:pt x="7644" y="50174"/>
                  <a:pt x="12648" y="51875"/>
                  <a:pt x="17732" y="51586"/>
                </a:cubicBezTo>
                <a:cubicBezTo>
                  <a:pt x="21111" y="51615"/>
                  <a:pt x="24460" y="50950"/>
                  <a:pt x="27566" y="49619"/>
                </a:cubicBezTo>
                <a:cubicBezTo>
                  <a:pt x="33859" y="46924"/>
                  <a:pt x="40616" y="45472"/>
                  <a:pt x="47465" y="45339"/>
                </a:cubicBezTo>
                <a:cubicBezTo>
                  <a:pt x="52659" y="44997"/>
                  <a:pt x="57795" y="46605"/>
                  <a:pt x="61868" y="49851"/>
                </a:cubicBezTo>
                <a:cubicBezTo>
                  <a:pt x="62990" y="50753"/>
                  <a:pt x="63649" y="52112"/>
                  <a:pt x="63661" y="53552"/>
                </a:cubicBezTo>
                <a:cubicBezTo>
                  <a:pt x="63661" y="55808"/>
                  <a:pt x="61116" y="57370"/>
                  <a:pt x="58860" y="58932"/>
                </a:cubicBezTo>
                <a:cubicBezTo>
                  <a:pt x="56604" y="60494"/>
                  <a:pt x="55563" y="61072"/>
                  <a:pt x="55563" y="61882"/>
                </a:cubicBezTo>
                <a:cubicBezTo>
                  <a:pt x="55563" y="62692"/>
                  <a:pt x="55910" y="62634"/>
                  <a:pt x="56546" y="63097"/>
                </a:cubicBezTo>
                <a:cubicBezTo>
                  <a:pt x="59785" y="65526"/>
                  <a:pt x="59959" y="67551"/>
                  <a:pt x="59496" y="68881"/>
                </a:cubicBezTo>
                <a:cubicBezTo>
                  <a:pt x="58339" y="72352"/>
                  <a:pt x="51976" y="73104"/>
                  <a:pt x="46886" y="73104"/>
                </a:cubicBezTo>
                <a:cubicBezTo>
                  <a:pt x="45266" y="73104"/>
                  <a:pt x="43473" y="73104"/>
                  <a:pt x="41622" y="73104"/>
                </a:cubicBezTo>
                <a:cubicBezTo>
                  <a:pt x="39771" y="73104"/>
                  <a:pt x="38267" y="73104"/>
                  <a:pt x="36532" y="73104"/>
                </a:cubicBezTo>
                <a:cubicBezTo>
                  <a:pt x="23922" y="73104"/>
                  <a:pt x="13394" y="76170"/>
                  <a:pt x="11659" y="78888"/>
                </a:cubicBezTo>
                <a:cubicBezTo>
                  <a:pt x="11451" y="79247"/>
                  <a:pt x="11451" y="79687"/>
                  <a:pt x="11659" y="80045"/>
                </a:cubicBezTo>
                <a:cubicBezTo>
                  <a:pt x="11659" y="80045"/>
                  <a:pt x="12468" y="81086"/>
                  <a:pt x="17038" y="81086"/>
                </a:cubicBezTo>
                <a:cubicBezTo>
                  <a:pt x="21915" y="80925"/>
                  <a:pt x="26785" y="80496"/>
                  <a:pt x="31615" y="79814"/>
                </a:cubicBezTo>
                <a:cubicBezTo>
                  <a:pt x="36763" y="79235"/>
                  <a:pt x="41622" y="78657"/>
                  <a:pt x="45209" y="78657"/>
                </a:cubicBezTo>
                <a:cubicBezTo>
                  <a:pt x="47002" y="78657"/>
                  <a:pt x="50993" y="78657"/>
                  <a:pt x="51398" y="81318"/>
                </a:cubicBezTo>
                <a:lnTo>
                  <a:pt x="51398" y="82764"/>
                </a:lnTo>
                <a:cubicBezTo>
                  <a:pt x="51745" y="87681"/>
                  <a:pt x="52208" y="91383"/>
                  <a:pt x="55678" y="91383"/>
                </a:cubicBezTo>
                <a:cubicBezTo>
                  <a:pt x="56980" y="91331"/>
                  <a:pt x="58258" y="91018"/>
                  <a:pt x="59438" y="90457"/>
                </a:cubicBezTo>
                <a:cubicBezTo>
                  <a:pt x="60641" y="89908"/>
                  <a:pt x="61937" y="89590"/>
                  <a:pt x="63256" y="89532"/>
                </a:cubicBezTo>
                <a:cubicBezTo>
                  <a:pt x="66726" y="89532"/>
                  <a:pt x="66842" y="92829"/>
                  <a:pt x="66958" y="95316"/>
                </a:cubicBezTo>
                <a:cubicBezTo>
                  <a:pt x="67073" y="97804"/>
                  <a:pt x="66958" y="99250"/>
                  <a:pt x="68346" y="99770"/>
                </a:cubicBezTo>
                <a:cubicBezTo>
                  <a:pt x="70741" y="100887"/>
                  <a:pt x="72071" y="103478"/>
                  <a:pt x="71586" y="106075"/>
                </a:cubicBezTo>
                <a:cubicBezTo>
                  <a:pt x="71007" y="109604"/>
                  <a:pt x="67305" y="113942"/>
                  <a:pt x="58744" y="114520"/>
                </a:cubicBezTo>
                <a:cubicBezTo>
                  <a:pt x="46597" y="115215"/>
                  <a:pt x="44514" y="117355"/>
                  <a:pt x="44167" y="118280"/>
                </a:cubicBezTo>
                <a:cubicBezTo>
                  <a:pt x="43820" y="119206"/>
                  <a:pt x="44804" y="120536"/>
                  <a:pt x="45729" y="121462"/>
                </a:cubicBezTo>
                <a:cubicBezTo>
                  <a:pt x="48344" y="123729"/>
                  <a:pt x="51762" y="124851"/>
                  <a:pt x="55215" y="124585"/>
                </a:cubicBezTo>
                <a:cubicBezTo>
                  <a:pt x="61526" y="124180"/>
                  <a:pt x="67774" y="123076"/>
                  <a:pt x="73842" y="121288"/>
                </a:cubicBezTo>
                <a:lnTo>
                  <a:pt x="79626" y="119958"/>
                </a:lnTo>
                <a:cubicBezTo>
                  <a:pt x="80771" y="119570"/>
                  <a:pt x="81951" y="119298"/>
                  <a:pt x="83154" y="11914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4" name="Forma libre: forma 403">
            <a:extLst>
              <a:ext uri="{FF2B5EF4-FFF2-40B4-BE49-F238E27FC236}">
                <a16:creationId xmlns:a16="http://schemas.microsoft.com/office/drawing/2014/main" id="{EC00897C-B41F-CE23-E080-8D21D415ADBF}"/>
              </a:ext>
            </a:extLst>
          </p:cNvPr>
          <p:cNvSpPr/>
          <p:nvPr/>
        </p:nvSpPr>
        <p:spPr>
          <a:xfrm>
            <a:off x="5902240" y="2783776"/>
            <a:ext cx="117061" cy="138016"/>
          </a:xfrm>
          <a:custGeom>
            <a:avLst/>
            <a:gdLst>
              <a:gd name="connsiteX0" fmla="*/ 28431 w 117061"/>
              <a:gd name="connsiteY0" fmla="*/ 137887 h 138016"/>
              <a:gd name="connsiteX1" fmla="*/ 2054 w 117061"/>
              <a:gd name="connsiteY1" fmla="*/ 123311 h 138016"/>
              <a:gd name="connsiteX2" fmla="*/ 319 w 117061"/>
              <a:gd name="connsiteY2" fmla="*/ 114461 h 138016"/>
              <a:gd name="connsiteX3" fmla="*/ 9111 w 117061"/>
              <a:gd name="connsiteY3" fmla="*/ 107404 h 138016"/>
              <a:gd name="connsiteX4" fmla="*/ 18424 w 117061"/>
              <a:gd name="connsiteY4" fmla="*/ 97165 h 138016"/>
              <a:gd name="connsiteX5" fmla="*/ 25308 w 117061"/>
              <a:gd name="connsiteY5" fmla="*/ 85596 h 138016"/>
              <a:gd name="connsiteX6" fmla="*/ 29646 w 117061"/>
              <a:gd name="connsiteY6" fmla="*/ 79812 h 138016"/>
              <a:gd name="connsiteX7" fmla="*/ 26118 w 117061"/>
              <a:gd name="connsiteY7" fmla="*/ 74837 h 138016"/>
              <a:gd name="connsiteX8" fmla="*/ 17672 w 117061"/>
              <a:gd name="connsiteY8" fmla="*/ 69053 h 138016"/>
              <a:gd name="connsiteX9" fmla="*/ 10384 w 117061"/>
              <a:gd name="connsiteY9" fmla="*/ 61938 h 138016"/>
              <a:gd name="connsiteX10" fmla="*/ 13392 w 117061"/>
              <a:gd name="connsiteY10" fmla="*/ 54071 h 138016"/>
              <a:gd name="connsiteX11" fmla="*/ 10615 w 117061"/>
              <a:gd name="connsiteY11" fmla="*/ 42849 h 138016"/>
              <a:gd name="connsiteX12" fmla="*/ 7318 w 117061"/>
              <a:gd name="connsiteY12" fmla="*/ 36544 h 138016"/>
              <a:gd name="connsiteX13" fmla="*/ 10557 w 117061"/>
              <a:gd name="connsiteY13" fmla="*/ 33074 h 138016"/>
              <a:gd name="connsiteX14" fmla="*/ 16689 w 117061"/>
              <a:gd name="connsiteY14" fmla="*/ 31685 h 138016"/>
              <a:gd name="connsiteX15" fmla="*/ 25366 w 117061"/>
              <a:gd name="connsiteY15" fmla="*/ 33247 h 138016"/>
              <a:gd name="connsiteX16" fmla="*/ 33232 w 117061"/>
              <a:gd name="connsiteY16" fmla="*/ 34693 h 138016"/>
              <a:gd name="connsiteX17" fmla="*/ 39480 w 117061"/>
              <a:gd name="connsiteY17" fmla="*/ 32727 h 138016"/>
              <a:gd name="connsiteX18" fmla="*/ 52899 w 117061"/>
              <a:gd name="connsiteY18" fmla="*/ 27405 h 138016"/>
              <a:gd name="connsiteX19" fmla="*/ 61229 w 117061"/>
              <a:gd name="connsiteY19" fmla="*/ 22430 h 138016"/>
              <a:gd name="connsiteX20" fmla="*/ 56370 w 117061"/>
              <a:gd name="connsiteY20" fmla="*/ 18728 h 138016"/>
              <a:gd name="connsiteX21" fmla="*/ 48330 w 117061"/>
              <a:gd name="connsiteY21" fmla="*/ 9415 h 138016"/>
              <a:gd name="connsiteX22" fmla="*/ 62501 w 117061"/>
              <a:gd name="connsiteY22" fmla="*/ -129 h 138016"/>
              <a:gd name="connsiteX23" fmla="*/ 77310 w 117061"/>
              <a:gd name="connsiteY23" fmla="*/ 2763 h 138016"/>
              <a:gd name="connsiteX24" fmla="*/ 80260 w 117061"/>
              <a:gd name="connsiteY24" fmla="*/ 3226 h 138016"/>
              <a:gd name="connsiteX25" fmla="*/ 81127 w 117061"/>
              <a:gd name="connsiteY25" fmla="*/ 3689 h 138016"/>
              <a:gd name="connsiteX26" fmla="*/ 81127 w 117061"/>
              <a:gd name="connsiteY26" fmla="*/ 4614 h 138016"/>
              <a:gd name="connsiteX27" fmla="*/ 73260 w 117061"/>
              <a:gd name="connsiteY27" fmla="*/ 20869 h 138016"/>
              <a:gd name="connsiteX28" fmla="*/ 65452 w 117061"/>
              <a:gd name="connsiteY28" fmla="*/ 33652 h 138016"/>
              <a:gd name="connsiteX29" fmla="*/ 66724 w 117061"/>
              <a:gd name="connsiteY29" fmla="*/ 34751 h 138016"/>
              <a:gd name="connsiteX30" fmla="*/ 74186 w 117061"/>
              <a:gd name="connsiteY30" fmla="*/ 38106 h 138016"/>
              <a:gd name="connsiteX31" fmla="*/ 81012 w 117061"/>
              <a:gd name="connsiteY31" fmla="*/ 41056 h 138016"/>
              <a:gd name="connsiteX32" fmla="*/ 82458 w 117061"/>
              <a:gd name="connsiteY32" fmla="*/ 39321 h 138016"/>
              <a:gd name="connsiteX33" fmla="*/ 90787 w 117061"/>
              <a:gd name="connsiteY33" fmla="*/ 27752 h 138016"/>
              <a:gd name="connsiteX34" fmla="*/ 100332 w 117061"/>
              <a:gd name="connsiteY34" fmla="*/ 33883 h 138016"/>
              <a:gd name="connsiteX35" fmla="*/ 109182 w 117061"/>
              <a:gd name="connsiteY35" fmla="*/ 41982 h 138016"/>
              <a:gd name="connsiteX36" fmla="*/ 109587 w 117061"/>
              <a:gd name="connsiteY36" fmla="*/ 43254 h 138016"/>
              <a:gd name="connsiteX37" fmla="*/ 109992 w 117061"/>
              <a:gd name="connsiteY37" fmla="*/ 46551 h 138016"/>
              <a:gd name="connsiteX38" fmla="*/ 109471 w 117061"/>
              <a:gd name="connsiteY38" fmla="*/ 111510 h 138016"/>
              <a:gd name="connsiteX39" fmla="*/ 100910 w 117061"/>
              <a:gd name="connsiteY39" fmla="*/ 113593 h 138016"/>
              <a:gd name="connsiteX40" fmla="*/ 100910 w 117061"/>
              <a:gd name="connsiteY40" fmla="*/ 113593 h 138016"/>
              <a:gd name="connsiteX41" fmla="*/ 94721 w 117061"/>
              <a:gd name="connsiteY41" fmla="*/ 112957 h 138016"/>
              <a:gd name="connsiteX42" fmla="*/ 88936 w 117061"/>
              <a:gd name="connsiteY42" fmla="*/ 112320 h 138016"/>
              <a:gd name="connsiteX43" fmla="*/ 76211 w 117061"/>
              <a:gd name="connsiteY43" fmla="*/ 118105 h 138016"/>
              <a:gd name="connsiteX44" fmla="*/ 28431 w 117061"/>
              <a:gd name="connsiteY44" fmla="*/ 137887 h 138016"/>
              <a:gd name="connsiteX45" fmla="*/ 16862 w 117061"/>
              <a:gd name="connsiteY45" fmla="*/ 33768 h 138016"/>
              <a:gd name="connsiteX46" fmla="*/ 11714 w 117061"/>
              <a:gd name="connsiteY46" fmla="*/ 34925 h 138016"/>
              <a:gd name="connsiteX47" fmla="*/ 9690 w 117061"/>
              <a:gd name="connsiteY47" fmla="*/ 36776 h 138016"/>
              <a:gd name="connsiteX48" fmla="*/ 12466 w 117061"/>
              <a:gd name="connsiteY48" fmla="*/ 41114 h 138016"/>
              <a:gd name="connsiteX49" fmla="*/ 15358 w 117061"/>
              <a:gd name="connsiteY49" fmla="*/ 55170 h 138016"/>
              <a:gd name="connsiteX50" fmla="*/ 12813 w 117061"/>
              <a:gd name="connsiteY50" fmla="*/ 61360 h 138016"/>
              <a:gd name="connsiteX51" fmla="*/ 19060 w 117061"/>
              <a:gd name="connsiteY51" fmla="*/ 67144 h 138016"/>
              <a:gd name="connsiteX52" fmla="*/ 27679 w 117061"/>
              <a:gd name="connsiteY52" fmla="*/ 73218 h 138016"/>
              <a:gd name="connsiteX53" fmla="*/ 32075 w 117061"/>
              <a:gd name="connsiteY53" fmla="*/ 79812 h 138016"/>
              <a:gd name="connsiteX54" fmla="*/ 26985 w 117061"/>
              <a:gd name="connsiteY54" fmla="*/ 87447 h 138016"/>
              <a:gd name="connsiteX55" fmla="*/ 20854 w 117061"/>
              <a:gd name="connsiteY55" fmla="*/ 97107 h 138016"/>
              <a:gd name="connsiteX56" fmla="*/ 10268 w 117061"/>
              <a:gd name="connsiteY56" fmla="*/ 109370 h 138016"/>
              <a:gd name="connsiteX57" fmla="*/ 2575 w 117061"/>
              <a:gd name="connsiteY57" fmla="*/ 115155 h 138016"/>
              <a:gd name="connsiteX58" fmla="*/ 4136 w 117061"/>
              <a:gd name="connsiteY58" fmla="*/ 121807 h 138016"/>
              <a:gd name="connsiteX59" fmla="*/ 28605 w 117061"/>
              <a:gd name="connsiteY59" fmla="*/ 135342 h 138016"/>
              <a:gd name="connsiteX60" fmla="*/ 74880 w 117061"/>
              <a:gd name="connsiteY60" fmla="*/ 116312 h 138016"/>
              <a:gd name="connsiteX61" fmla="*/ 89110 w 117061"/>
              <a:gd name="connsiteY61" fmla="*/ 109833 h 138016"/>
              <a:gd name="connsiteX62" fmla="*/ 95241 w 117061"/>
              <a:gd name="connsiteY62" fmla="*/ 110469 h 138016"/>
              <a:gd name="connsiteX63" fmla="*/ 101026 w 117061"/>
              <a:gd name="connsiteY63" fmla="*/ 111105 h 138016"/>
              <a:gd name="connsiteX64" fmla="*/ 101026 w 117061"/>
              <a:gd name="connsiteY64" fmla="*/ 111105 h 138016"/>
              <a:gd name="connsiteX65" fmla="*/ 108546 w 117061"/>
              <a:gd name="connsiteY65" fmla="*/ 109255 h 138016"/>
              <a:gd name="connsiteX66" fmla="*/ 108083 w 117061"/>
              <a:gd name="connsiteY66" fmla="*/ 47361 h 138016"/>
              <a:gd name="connsiteX67" fmla="*/ 107331 w 117061"/>
              <a:gd name="connsiteY67" fmla="*/ 43081 h 138016"/>
              <a:gd name="connsiteX68" fmla="*/ 98712 w 117061"/>
              <a:gd name="connsiteY68" fmla="*/ 35156 h 138016"/>
              <a:gd name="connsiteX69" fmla="*/ 90903 w 117061"/>
              <a:gd name="connsiteY69" fmla="*/ 29776 h 138016"/>
              <a:gd name="connsiteX70" fmla="*/ 85118 w 117061"/>
              <a:gd name="connsiteY70" fmla="*/ 39494 h 138016"/>
              <a:gd name="connsiteX71" fmla="*/ 81417 w 117061"/>
              <a:gd name="connsiteY71" fmla="*/ 43138 h 138016"/>
              <a:gd name="connsiteX72" fmla="*/ 73492 w 117061"/>
              <a:gd name="connsiteY72" fmla="*/ 39899 h 138016"/>
              <a:gd name="connsiteX73" fmla="*/ 66666 w 117061"/>
              <a:gd name="connsiteY73" fmla="*/ 36776 h 138016"/>
              <a:gd name="connsiteX74" fmla="*/ 63658 w 117061"/>
              <a:gd name="connsiteY74" fmla="*/ 33941 h 138016"/>
              <a:gd name="connsiteX75" fmla="*/ 72393 w 117061"/>
              <a:gd name="connsiteY75" fmla="*/ 18844 h 138016"/>
              <a:gd name="connsiteX76" fmla="*/ 79045 w 117061"/>
              <a:gd name="connsiteY76" fmla="*/ 5250 h 138016"/>
              <a:gd name="connsiteX77" fmla="*/ 76615 w 117061"/>
              <a:gd name="connsiteY77" fmla="*/ 4672 h 138016"/>
              <a:gd name="connsiteX78" fmla="*/ 62675 w 117061"/>
              <a:gd name="connsiteY78" fmla="*/ 1953 h 138016"/>
              <a:gd name="connsiteX79" fmla="*/ 50759 w 117061"/>
              <a:gd name="connsiteY79" fmla="*/ 9300 h 138016"/>
              <a:gd name="connsiteX80" fmla="*/ 57295 w 117061"/>
              <a:gd name="connsiteY80" fmla="*/ 16472 h 138016"/>
              <a:gd name="connsiteX81" fmla="*/ 63658 w 117061"/>
              <a:gd name="connsiteY81" fmla="*/ 22257 h 138016"/>
              <a:gd name="connsiteX82" fmla="*/ 53651 w 117061"/>
              <a:gd name="connsiteY82" fmla="*/ 29487 h 138016"/>
              <a:gd name="connsiteX83" fmla="*/ 40983 w 117061"/>
              <a:gd name="connsiteY83" fmla="*/ 34520 h 138016"/>
              <a:gd name="connsiteX84" fmla="*/ 33406 w 117061"/>
              <a:gd name="connsiteY84" fmla="*/ 36891 h 138016"/>
              <a:gd name="connsiteX85" fmla="*/ 24903 w 117061"/>
              <a:gd name="connsiteY85" fmla="*/ 35330 h 138016"/>
              <a:gd name="connsiteX86" fmla="*/ 16689 w 117061"/>
              <a:gd name="connsiteY86" fmla="*/ 33999 h 13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17061" h="138016">
                <a:moveTo>
                  <a:pt x="28431" y="137887"/>
                </a:moveTo>
                <a:cubicBezTo>
                  <a:pt x="17909" y="137193"/>
                  <a:pt x="8244" y="131849"/>
                  <a:pt x="2054" y="123311"/>
                </a:cubicBezTo>
                <a:cubicBezTo>
                  <a:pt x="18" y="120841"/>
                  <a:pt x="-630" y="117515"/>
                  <a:pt x="319" y="114461"/>
                </a:cubicBezTo>
                <a:cubicBezTo>
                  <a:pt x="2361" y="111175"/>
                  <a:pt x="5461" y="108682"/>
                  <a:pt x="9111" y="107404"/>
                </a:cubicBezTo>
                <a:cubicBezTo>
                  <a:pt x="13912" y="105032"/>
                  <a:pt x="18424" y="102776"/>
                  <a:pt x="18424" y="97165"/>
                </a:cubicBezTo>
                <a:cubicBezTo>
                  <a:pt x="18887" y="92480"/>
                  <a:pt x="21409" y="88240"/>
                  <a:pt x="25308" y="85596"/>
                </a:cubicBezTo>
                <a:cubicBezTo>
                  <a:pt x="27679" y="83514"/>
                  <a:pt x="29704" y="81663"/>
                  <a:pt x="29646" y="79812"/>
                </a:cubicBezTo>
                <a:cubicBezTo>
                  <a:pt x="29588" y="77961"/>
                  <a:pt x="28431" y="76746"/>
                  <a:pt x="26118" y="74837"/>
                </a:cubicBezTo>
                <a:cubicBezTo>
                  <a:pt x="23404" y="72766"/>
                  <a:pt x="20587" y="70834"/>
                  <a:pt x="17672" y="69053"/>
                </a:cubicBezTo>
                <a:cubicBezTo>
                  <a:pt x="13623" y="66450"/>
                  <a:pt x="10962" y="64714"/>
                  <a:pt x="10384" y="61938"/>
                </a:cubicBezTo>
                <a:cubicBezTo>
                  <a:pt x="10291" y="59017"/>
                  <a:pt x="11373" y="56182"/>
                  <a:pt x="13392" y="54071"/>
                </a:cubicBezTo>
                <a:cubicBezTo>
                  <a:pt x="16399" y="49848"/>
                  <a:pt x="14086" y="46783"/>
                  <a:pt x="10615" y="42849"/>
                </a:cubicBezTo>
                <a:cubicBezTo>
                  <a:pt x="8706" y="40709"/>
                  <a:pt x="6855" y="38684"/>
                  <a:pt x="7318" y="36544"/>
                </a:cubicBezTo>
                <a:cubicBezTo>
                  <a:pt x="7781" y="34404"/>
                  <a:pt x="8591" y="34057"/>
                  <a:pt x="10557" y="33074"/>
                </a:cubicBezTo>
                <a:cubicBezTo>
                  <a:pt x="12460" y="32137"/>
                  <a:pt x="14566" y="31656"/>
                  <a:pt x="16689" y="31685"/>
                </a:cubicBezTo>
                <a:cubicBezTo>
                  <a:pt x="19639" y="31801"/>
                  <a:pt x="22560" y="32327"/>
                  <a:pt x="25366" y="33247"/>
                </a:cubicBezTo>
                <a:cubicBezTo>
                  <a:pt x="27911" y="34074"/>
                  <a:pt x="30560" y="34560"/>
                  <a:pt x="33232" y="34693"/>
                </a:cubicBezTo>
                <a:cubicBezTo>
                  <a:pt x="35477" y="34745"/>
                  <a:pt x="37669" y="34051"/>
                  <a:pt x="39480" y="32727"/>
                </a:cubicBezTo>
                <a:cubicBezTo>
                  <a:pt x="43604" y="30181"/>
                  <a:pt x="48150" y="28377"/>
                  <a:pt x="52899" y="27405"/>
                </a:cubicBezTo>
                <a:cubicBezTo>
                  <a:pt x="58337" y="25959"/>
                  <a:pt x="61402" y="25033"/>
                  <a:pt x="61229" y="22430"/>
                </a:cubicBezTo>
                <a:cubicBezTo>
                  <a:pt x="61055" y="19827"/>
                  <a:pt x="59320" y="19769"/>
                  <a:pt x="56370" y="18728"/>
                </a:cubicBezTo>
                <a:cubicBezTo>
                  <a:pt x="53420" y="17687"/>
                  <a:pt x="48040" y="15894"/>
                  <a:pt x="48330" y="9415"/>
                </a:cubicBezTo>
                <a:cubicBezTo>
                  <a:pt x="48619" y="2937"/>
                  <a:pt x="53709" y="-129"/>
                  <a:pt x="62501" y="-129"/>
                </a:cubicBezTo>
                <a:cubicBezTo>
                  <a:pt x="67569" y="-60"/>
                  <a:pt x="72584" y="918"/>
                  <a:pt x="77310" y="2763"/>
                </a:cubicBezTo>
                <a:cubicBezTo>
                  <a:pt x="78253" y="3110"/>
                  <a:pt x="79253" y="3266"/>
                  <a:pt x="80260" y="3226"/>
                </a:cubicBezTo>
                <a:cubicBezTo>
                  <a:pt x="80607" y="3226"/>
                  <a:pt x="80937" y="3399"/>
                  <a:pt x="81127" y="3689"/>
                </a:cubicBezTo>
                <a:cubicBezTo>
                  <a:pt x="81295" y="3972"/>
                  <a:pt x="81295" y="4325"/>
                  <a:pt x="81127" y="4614"/>
                </a:cubicBezTo>
                <a:cubicBezTo>
                  <a:pt x="80370" y="10751"/>
                  <a:pt x="77605" y="16466"/>
                  <a:pt x="73260" y="20869"/>
                </a:cubicBezTo>
                <a:cubicBezTo>
                  <a:pt x="70021" y="23182"/>
                  <a:pt x="64815" y="30528"/>
                  <a:pt x="65452" y="33652"/>
                </a:cubicBezTo>
                <a:cubicBezTo>
                  <a:pt x="65613" y="34242"/>
                  <a:pt x="66117" y="34676"/>
                  <a:pt x="66724" y="34751"/>
                </a:cubicBezTo>
                <a:cubicBezTo>
                  <a:pt x="69373" y="35474"/>
                  <a:pt x="71890" y="36602"/>
                  <a:pt x="74186" y="38106"/>
                </a:cubicBezTo>
                <a:cubicBezTo>
                  <a:pt x="76245" y="39529"/>
                  <a:pt x="78565" y="40530"/>
                  <a:pt x="81012" y="41056"/>
                </a:cubicBezTo>
                <a:cubicBezTo>
                  <a:pt x="81417" y="41056"/>
                  <a:pt x="82168" y="41056"/>
                  <a:pt x="82458" y="39321"/>
                </a:cubicBezTo>
                <a:cubicBezTo>
                  <a:pt x="83036" y="35792"/>
                  <a:pt x="85003" y="27752"/>
                  <a:pt x="90787" y="27752"/>
                </a:cubicBezTo>
                <a:cubicBezTo>
                  <a:pt x="94692" y="28348"/>
                  <a:pt x="98162" y="30580"/>
                  <a:pt x="100332" y="33883"/>
                </a:cubicBezTo>
                <a:cubicBezTo>
                  <a:pt x="102969" y="36903"/>
                  <a:pt x="105943" y="39622"/>
                  <a:pt x="109182" y="41982"/>
                </a:cubicBezTo>
                <a:cubicBezTo>
                  <a:pt x="109546" y="42294"/>
                  <a:pt x="109702" y="42786"/>
                  <a:pt x="109587" y="43254"/>
                </a:cubicBezTo>
                <a:cubicBezTo>
                  <a:pt x="109228" y="44359"/>
                  <a:pt x="109379" y="45568"/>
                  <a:pt x="109992" y="46551"/>
                </a:cubicBezTo>
                <a:cubicBezTo>
                  <a:pt x="114677" y="56038"/>
                  <a:pt x="123238" y="104396"/>
                  <a:pt x="109471" y="111510"/>
                </a:cubicBezTo>
                <a:cubicBezTo>
                  <a:pt x="106839" y="112910"/>
                  <a:pt x="103895" y="113628"/>
                  <a:pt x="100910" y="113593"/>
                </a:cubicBezTo>
                <a:lnTo>
                  <a:pt x="100910" y="113593"/>
                </a:lnTo>
                <a:cubicBezTo>
                  <a:pt x="98834" y="113535"/>
                  <a:pt x="96762" y="113321"/>
                  <a:pt x="94721" y="112957"/>
                </a:cubicBezTo>
                <a:cubicBezTo>
                  <a:pt x="92817" y="112575"/>
                  <a:pt x="90880" y="112361"/>
                  <a:pt x="88936" y="112320"/>
                </a:cubicBezTo>
                <a:cubicBezTo>
                  <a:pt x="84083" y="112419"/>
                  <a:pt x="79479" y="114513"/>
                  <a:pt x="76211" y="118105"/>
                </a:cubicBezTo>
                <a:cubicBezTo>
                  <a:pt x="62744" y="129535"/>
                  <a:pt x="46033" y="136453"/>
                  <a:pt x="28431" y="137887"/>
                </a:cubicBezTo>
                <a:close/>
                <a:moveTo>
                  <a:pt x="16862" y="33768"/>
                </a:moveTo>
                <a:cubicBezTo>
                  <a:pt x="15075" y="33727"/>
                  <a:pt x="13311" y="34121"/>
                  <a:pt x="11714" y="34925"/>
                </a:cubicBezTo>
                <a:cubicBezTo>
                  <a:pt x="10847" y="35330"/>
                  <a:pt x="9805" y="36024"/>
                  <a:pt x="9690" y="36776"/>
                </a:cubicBezTo>
                <a:cubicBezTo>
                  <a:pt x="9574" y="37528"/>
                  <a:pt x="10962" y="39494"/>
                  <a:pt x="12466" y="41114"/>
                </a:cubicBezTo>
                <a:cubicBezTo>
                  <a:pt x="15474" y="44527"/>
                  <a:pt x="19697" y="49212"/>
                  <a:pt x="15358" y="55170"/>
                </a:cubicBezTo>
                <a:cubicBezTo>
                  <a:pt x="13334" y="58004"/>
                  <a:pt x="12524" y="59971"/>
                  <a:pt x="12813" y="61360"/>
                </a:cubicBezTo>
                <a:cubicBezTo>
                  <a:pt x="13103" y="62748"/>
                  <a:pt x="15474" y="64714"/>
                  <a:pt x="19060" y="67144"/>
                </a:cubicBezTo>
                <a:cubicBezTo>
                  <a:pt x="22051" y="68995"/>
                  <a:pt x="24932" y="71025"/>
                  <a:pt x="27679" y="73218"/>
                </a:cubicBezTo>
                <a:cubicBezTo>
                  <a:pt x="30057" y="74646"/>
                  <a:pt x="31670" y="77064"/>
                  <a:pt x="32075" y="79812"/>
                </a:cubicBezTo>
                <a:cubicBezTo>
                  <a:pt x="32075" y="82820"/>
                  <a:pt x="29646" y="85076"/>
                  <a:pt x="26985" y="87447"/>
                </a:cubicBezTo>
                <a:cubicBezTo>
                  <a:pt x="24324" y="89819"/>
                  <a:pt x="20854" y="93232"/>
                  <a:pt x="20854" y="97107"/>
                </a:cubicBezTo>
                <a:cubicBezTo>
                  <a:pt x="20854" y="104106"/>
                  <a:pt x="15069" y="106941"/>
                  <a:pt x="10268" y="109370"/>
                </a:cubicBezTo>
                <a:cubicBezTo>
                  <a:pt x="7144" y="110411"/>
                  <a:pt x="4443" y="112442"/>
                  <a:pt x="2575" y="115155"/>
                </a:cubicBezTo>
                <a:cubicBezTo>
                  <a:pt x="1967" y="117491"/>
                  <a:pt x="2552" y="119979"/>
                  <a:pt x="4136" y="121807"/>
                </a:cubicBezTo>
                <a:cubicBezTo>
                  <a:pt x="9857" y="129749"/>
                  <a:pt x="18835" y="134718"/>
                  <a:pt x="28605" y="135342"/>
                </a:cubicBezTo>
                <a:cubicBezTo>
                  <a:pt x="45640" y="133983"/>
                  <a:pt x="61819" y="127331"/>
                  <a:pt x="74880" y="116312"/>
                </a:cubicBezTo>
                <a:cubicBezTo>
                  <a:pt x="78559" y="112320"/>
                  <a:pt x="83690" y="109989"/>
                  <a:pt x="89110" y="109833"/>
                </a:cubicBezTo>
                <a:cubicBezTo>
                  <a:pt x="91169" y="109891"/>
                  <a:pt x="93217" y="110105"/>
                  <a:pt x="95241" y="110469"/>
                </a:cubicBezTo>
                <a:cubicBezTo>
                  <a:pt x="97150" y="110851"/>
                  <a:pt x="99082" y="111059"/>
                  <a:pt x="101026" y="111105"/>
                </a:cubicBezTo>
                <a:lnTo>
                  <a:pt x="101026" y="111105"/>
                </a:lnTo>
                <a:cubicBezTo>
                  <a:pt x="103646" y="111123"/>
                  <a:pt x="106232" y="110487"/>
                  <a:pt x="108546" y="109255"/>
                </a:cubicBezTo>
                <a:cubicBezTo>
                  <a:pt x="120115" y="103470"/>
                  <a:pt x="113115" y="57484"/>
                  <a:pt x="108083" y="47361"/>
                </a:cubicBezTo>
                <a:cubicBezTo>
                  <a:pt x="107371" y="46054"/>
                  <a:pt x="107111" y="44550"/>
                  <a:pt x="107331" y="43081"/>
                </a:cubicBezTo>
                <a:cubicBezTo>
                  <a:pt x="104178" y="40761"/>
                  <a:pt x="101286" y="38106"/>
                  <a:pt x="98712" y="35156"/>
                </a:cubicBezTo>
                <a:cubicBezTo>
                  <a:pt x="95704" y="31627"/>
                  <a:pt x="92928" y="29776"/>
                  <a:pt x="90903" y="29776"/>
                </a:cubicBezTo>
                <a:cubicBezTo>
                  <a:pt x="86738" y="29776"/>
                  <a:pt x="85118" y="37180"/>
                  <a:pt x="85118" y="39494"/>
                </a:cubicBezTo>
                <a:cubicBezTo>
                  <a:pt x="84598" y="42676"/>
                  <a:pt x="82573" y="43138"/>
                  <a:pt x="81417" y="43138"/>
                </a:cubicBezTo>
                <a:cubicBezTo>
                  <a:pt x="78565" y="42664"/>
                  <a:pt x="75858" y="41559"/>
                  <a:pt x="73492" y="39899"/>
                </a:cubicBezTo>
                <a:cubicBezTo>
                  <a:pt x="71369" y="38557"/>
                  <a:pt x="69073" y="37504"/>
                  <a:pt x="66666" y="36776"/>
                </a:cubicBezTo>
                <a:cubicBezTo>
                  <a:pt x="65174" y="36544"/>
                  <a:pt x="63977" y="35416"/>
                  <a:pt x="63658" y="33941"/>
                </a:cubicBezTo>
                <a:cubicBezTo>
                  <a:pt x="62733" y="29487"/>
                  <a:pt x="68806" y="21389"/>
                  <a:pt x="72393" y="18844"/>
                </a:cubicBezTo>
                <a:cubicBezTo>
                  <a:pt x="75921" y="15084"/>
                  <a:pt x="78241" y="10347"/>
                  <a:pt x="79045" y="5250"/>
                </a:cubicBezTo>
                <a:cubicBezTo>
                  <a:pt x="78218" y="5152"/>
                  <a:pt x="77402" y="4961"/>
                  <a:pt x="76615" y="4672"/>
                </a:cubicBezTo>
                <a:cubicBezTo>
                  <a:pt x="72167" y="2937"/>
                  <a:pt x="67447" y="2017"/>
                  <a:pt x="62675" y="1953"/>
                </a:cubicBezTo>
                <a:cubicBezTo>
                  <a:pt x="58337" y="1953"/>
                  <a:pt x="51106" y="2879"/>
                  <a:pt x="50759" y="9300"/>
                </a:cubicBezTo>
                <a:cubicBezTo>
                  <a:pt x="50759" y="14159"/>
                  <a:pt x="53651" y="15084"/>
                  <a:pt x="57295" y="16472"/>
                </a:cubicBezTo>
                <a:cubicBezTo>
                  <a:pt x="60940" y="17860"/>
                  <a:pt x="63427" y="18555"/>
                  <a:pt x="63658" y="22257"/>
                </a:cubicBezTo>
                <a:cubicBezTo>
                  <a:pt x="63658" y="26826"/>
                  <a:pt x="59204" y="28041"/>
                  <a:pt x="53651" y="29487"/>
                </a:cubicBezTo>
                <a:cubicBezTo>
                  <a:pt x="49168" y="30413"/>
                  <a:pt x="44882" y="32113"/>
                  <a:pt x="40983" y="34520"/>
                </a:cubicBezTo>
                <a:cubicBezTo>
                  <a:pt x="38768" y="36082"/>
                  <a:pt x="36118" y="36914"/>
                  <a:pt x="33406" y="36891"/>
                </a:cubicBezTo>
                <a:cubicBezTo>
                  <a:pt x="30513" y="36735"/>
                  <a:pt x="27656" y="36209"/>
                  <a:pt x="24903" y="35330"/>
                </a:cubicBezTo>
                <a:cubicBezTo>
                  <a:pt x="22230" y="34543"/>
                  <a:pt x="19471" y="34097"/>
                  <a:pt x="16689" y="3399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5" name="Forma libre: forma 404">
            <a:extLst>
              <a:ext uri="{FF2B5EF4-FFF2-40B4-BE49-F238E27FC236}">
                <a16:creationId xmlns:a16="http://schemas.microsoft.com/office/drawing/2014/main" id="{03615A66-79A8-BF1C-BD53-8BB01E77E32C}"/>
              </a:ext>
            </a:extLst>
          </p:cNvPr>
          <p:cNvSpPr/>
          <p:nvPr/>
        </p:nvSpPr>
        <p:spPr>
          <a:xfrm>
            <a:off x="5966028" y="2560946"/>
            <a:ext cx="273527" cy="416781"/>
          </a:xfrm>
          <a:custGeom>
            <a:avLst/>
            <a:gdLst>
              <a:gd name="connsiteX0" fmla="*/ 76398 w 273527"/>
              <a:gd name="connsiteY0" fmla="*/ 416653 h 416781"/>
              <a:gd name="connsiteX1" fmla="*/ 73621 w 273527"/>
              <a:gd name="connsiteY1" fmla="*/ 415207 h 416781"/>
              <a:gd name="connsiteX2" fmla="*/ 72753 w 273527"/>
              <a:gd name="connsiteY2" fmla="*/ 410521 h 416781"/>
              <a:gd name="connsiteX3" fmla="*/ 108675 w 273527"/>
              <a:gd name="connsiteY3" fmla="*/ 370667 h 416781"/>
              <a:gd name="connsiteX4" fmla="*/ 116715 w 273527"/>
              <a:gd name="connsiteY4" fmla="*/ 368989 h 416781"/>
              <a:gd name="connsiteX5" fmla="*/ 122499 w 273527"/>
              <a:gd name="connsiteY5" fmla="*/ 369336 h 416781"/>
              <a:gd name="connsiteX6" fmla="*/ 128284 w 273527"/>
              <a:gd name="connsiteY6" fmla="*/ 369336 h 416781"/>
              <a:gd name="connsiteX7" fmla="*/ 138580 w 273527"/>
              <a:gd name="connsiteY7" fmla="*/ 366444 h 416781"/>
              <a:gd name="connsiteX8" fmla="*/ 144654 w 273527"/>
              <a:gd name="connsiteY8" fmla="*/ 359850 h 416781"/>
              <a:gd name="connsiteX9" fmla="*/ 144365 w 273527"/>
              <a:gd name="connsiteY9" fmla="*/ 359850 h 416781"/>
              <a:gd name="connsiteX10" fmla="*/ 137712 w 273527"/>
              <a:gd name="connsiteY10" fmla="*/ 361527 h 416781"/>
              <a:gd name="connsiteX11" fmla="*/ 130656 w 273527"/>
              <a:gd name="connsiteY11" fmla="*/ 362916 h 416781"/>
              <a:gd name="connsiteX12" fmla="*/ 119550 w 273527"/>
              <a:gd name="connsiteY12" fmla="*/ 360197 h 416781"/>
              <a:gd name="connsiteX13" fmla="*/ 108617 w 273527"/>
              <a:gd name="connsiteY13" fmla="*/ 357594 h 416781"/>
              <a:gd name="connsiteX14" fmla="*/ 98957 w 273527"/>
              <a:gd name="connsiteY14" fmla="*/ 353776 h 416781"/>
              <a:gd name="connsiteX15" fmla="*/ 96296 w 273527"/>
              <a:gd name="connsiteY15" fmla="*/ 352272 h 416781"/>
              <a:gd name="connsiteX16" fmla="*/ 93115 w 273527"/>
              <a:gd name="connsiteY16" fmla="*/ 353718 h 416781"/>
              <a:gd name="connsiteX17" fmla="*/ 87909 w 273527"/>
              <a:gd name="connsiteY17" fmla="*/ 355222 h 416781"/>
              <a:gd name="connsiteX18" fmla="*/ 75009 w 273527"/>
              <a:gd name="connsiteY18" fmla="*/ 347066 h 416781"/>
              <a:gd name="connsiteX19" fmla="*/ 81719 w 273527"/>
              <a:gd name="connsiteY19" fmla="*/ 340414 h 416781"/>
              <a:gd name="connsiteX20" fmla="*/ 107113 w 273527"/>
              <a:gd name="connsiteY20" fmla="*/ 323061 h 416781"/>
              <a:gd name="connsiteX21" fmla="*/ 99304 w 273527"/>
              <a:gd name="connsiteY21" fmla="*/ 318144 h 416781"/>
              <a:gd name="connsiteX22" fmla="*/ 90974 w 273527"/>
              <a:gd name="connsiteY22" fmla="*/ 312649 h 416781"/>
              <a:gd name="connsiteX23" fmla="*/ 95371 w 273527"/>
              <a:gd name="connsiteY23" fmla="*/ 304146 h 416781"/>
              <a:gd name="connsiteX24" fmla="*/ 99188 w 273527"/>
              <a:gd name="connsiteY24" fmla="*/ 295990 h 416781"/>
              <a:gd name="connsiteX25" fmla="*/ 99188 w 273527"/>
              <a:gd name="connsiteY25" fmla="*/ 291247 h 416781"/>
              <a:gd name="connsiteX26" fmla="*/ 105493 w 273527"/>
              <a:gd name="connsiteY26" fmla="*/ 288065 h 416781"/>
              <a:gd name="connsiteX27" fmla="*/ 109716 w 273527"/>
              <a:gd name="connsiteY27" fmla="*/ 290842 h 416781"/>
              <a:gd name="connsiteX28" fmla="*/ 121632 w 273527"/>
              <a:gd name="connsiteY28" fmla="*/ 293097 h 416781"/>
              <a:gd name="connsiteX29" fmla="*/ 135341 w 273527"/>
              <a:gd name="connsiteY29" fmla="*/ 289511 h 416781"/>
              <a:gd name="connsiteX30" fmla="*/ 135977 w 273527"/>
              <a:gd name="connsiteY30" fmla="*/ 279620 h 416781"/>
              <a:gd name="connsiteX31" fmla="*/ 137886 w 273527"/>
              <a:gd name="connsiteY31" fmla="*/ 264638 h 416781"/>
              <a:gd name="connsiteX32" fmla="*/ 139216 w 273527"/>
              <a:gd name="connsiteY32" fmla="*/ 260184 h 416781"/>
              <a:gd name="connsiteX33" fmla="*/ 131755 w 273527"/>
              <a:gd name="connsiteY33" fmla="*/ 256424 h 416781"/>
              <a:gd name="connsiteX34" fmla="*/ 131234 w 273527"/>
              <a:gd name="connsiteY34" fmla="*/ 256424 h 416781"/>
              <a:gd name="connsiteX35" fmla="*/ 122731 w 273527"/>
              <a:gd name="connsiteY35" fmla="*/ 248557 h 416781"/>
              <a:gd name="connsiteX36" fmla="*/ 126317 w 273527"/>
              <a:gd name="connsiteY36" fmla="*/ 237625 h 416781"/>
              <a:gd name="connsiteX37" fmla="*/ 128689 w 273527"/>
              <a:gd name="connsiteY37" fmla="*/ 229006 h 416781"/>
              <a:gd name="connsiteX38" fmla="*/ 126548 w 273527"/>
              <a:gd name="connsiteY38" fmla="*/ 227560 h 416781"/>
              <a:gd name="connsiteX39" fmla="*/ 120764 w 273527"/>
              <a:gd name="connsiteY39" fmla="*/ 231088 h 416781"/>
              <a:gd name="connsiteX40" fmla="*/ 94214 w 273527"/>
              <a:gd name="connsiteY40" fmla="*/ 239244 h 416781"/>
              <a:gd name="connsiteX41" fmla="*/ 79637 w 273527"/>
              <a:gd name="connsiteY41" fmla="*/ 234096 h 416781"/>
              <a:gd name="connsiteX42" fmla="*/ 84322 w 273527"/>
              <a:gd name="connsiteY42" fmla="*/ 223280 h 416781"/>
              <a:gd name="connsiteX43" fmla="*/ 89470 w 273527"/>
              <a:gd name="connsiteY43" fmla="*/ 207025 h 416781"/>
              <a:gd name="connsiteX44" fmla="*/ 88718 w 273527"/>
              <a:gd name="connsiteY44" fmla="*/ 193547 h 416781"/>
              <a:gd name="connsiteX45" fmla="*/ 88718 w 273527"/>
              <a:gd name="connsiteY45" fmla="*/ 188978 h 416781"/>
              <a:gd name="connsiteX46" fmla="*/ 87966 w 273527"/>
              <a:gd name="connsiteY46" fmla="*/ 188631 h 416781"/>
              <a:gd name="connsiteX47" fmla="*/ 87966 w 273527"/>
              <a:gd name="connsiteY47" fmla="*/ 188631 h 416781"/>
              <a:gd name="connsiteX48" fmla="*/ 85710 w 273527"/>
              <a:gd name="connsiteY48" fmla="*/ 193837 h 416781"/>
              <a:gd name="connsiteX49" fmla="*/ 72580 w 273527"/>
              <a:gd name="connsiteY49" fmla="*/ 210033 h 416781"/>
              <a:gd name="connsiteX50" fmla="*/ 70382 w 273527"/>
              <a:gd name="connsiteY50" fmla="*/ 210033 h 416781"/>
              <a:gd name="connsiteX51" fmla="*/ 62399 w 273527"/>
              <a:gd name="connsiteY51" fmla="*/ 197076 h 416781"/>
              <a:gd name="connsiteX52" fmla="*/ 62052 w 273527"/>
              <a:gd name="connsiteY52" fmla="*/ 192911 h 416781"/>
              <a:gd name="connsiteX53" fmla="*/ 61647 w 273527"/>
              <a:gd name="connsiteY53" fmla="*/ 192911 h 416781"/>
              <a:gd name="connsiteX54" fmla="*/ 56326 w 273527"/>
              <a:gd name="connsiteY54" fmla="*/ 196208 h 416781"/>
              <a:gd name="connsiteX55" fmla="*/ 43831 w 273527"/>
              <a:gd name="connsiteY55" fmla="*/ 202513 h 416781"/>
              <a:gd name="connsiteX56" fmla="*/ 40592 w 273527"/>
              <a:gd name="connsiteY56" fmla="*/ 198753 h 416781"/>
              <a:gd name="connsiteX57" fmla="*/ 52508 w 273527"/>
              <a:gd name="connsiteY57" fmla="*/ 189556 h 416781"/>
              <a:gd name="connsiteX58" fmla="*/ 63383 w 273527"/>
              <a:gd name="connsiteY58" fmla="*/ 182384 h 416781"/>
              <a:gd name="connsiteX59" fmla="*/ 57020 w 273527"/>
              <a:gd name="connsiteY59" fmla="*/ 177640 h 416781"/>
              <a:gd name="connsiteX60" fmla="*/ 48864 w 273527"/>
              <a:gd name="connsiteY60" fmla="*/ 167518 h 416781"/>
              <a:gd name="connsiteX61" fmla="*/ 58350 w 273527"/>
              <a:gd name="connsiteY61" fmla="*/ 153577 h 416781"/>
              <a:gd name="connsiteX62" fmla="*/ 62110 w 273527"/>
              <a:gd name="connsiteY62" fmla="*/ 149239 h 416781"/>
              <a:gd name="connsiteX63" fmla="*/ 62110 w 273527"/>
              <a:gd name="connsiteY63" fmla="*/ 149239 h 416781"/>
              <a:gd name="connsiteX64" fmla="*/ 59912 w 273527"/>
              <a:gd name="connsiteY64" fmla="*/ 148660 h 416781"/>
              <a:gd name="connsiteX65" fmla="*/ 37237 w 273527"/>
              <a:gd name="connsiteY65" fmla="*/ 136397 h 416781"/>
              <a:gd name="connsiteX66" fmla="*/ 39551 w 273527"/>
              <a:gd name="connsiteY66" fmla="*/ 130613 h 416781"/>
              <a:gd name="connsiteX67" fmla="*/ 45798 w 273527"/>
              <a:gd name="connsiteY67" fmla="*/ 128068 h 416781"/>
              <a:gd name="connsiteX68" fmla="*/ 55227 w 273527"/>
              <a:gd name="connsiteY68" fmla="*/ 134199 h 416781"/>
              <a:gd name="connsiteX69" fmla="*/ 57598 w 273527"/>
              <a:gd name="connsiteY69" fmla="*/ 136687 h 416781"/>
              <a:gd name="connsiteX70" fmla="*/ 61769 w 273527"/>
              <a:gd name="connsiteY70" fmla="*/ 136854 h 416781"/>
              <a:gd name="connsiteX71" fmla="*/ 62284 w 273527"/>
              <a:gd name="connsiteY71" fmla="*/ 136224 h 416781"/>
              <a:gd name="connsiteX72" fmla="*/ 62631 w 273527"/>
              <a:gd name="connsiteY72" fmla="*/ 130439 h 416781"/>
              <a:gd name="connsiteX73" fmla="*/ 68415 w 273527"/>
              <a:gd name="connsiteY73" fmla="*/ 120259 h 416781"/>
              <a:gd name="connsiteX74" fmla="*/ 74662 w 273527"/>
              <a:gd name="connsiteY74" fmla="*/ 111524 h 416781"/>
              <a:gd name="connsiteX75" fmla="*/ 81604 w 273527"/>
              <a:gd name="connsiteY75" fmla="*/ 91105 h 416781"/>
              <a:gd name="connsiteX76" fmla="*/ 93173 w 273527"/>
              <a:gd name="connsiteY76" fmla="*/ 87345 h 416781"/>
              <a:gd name="connsiteX77" fmla="*/ 111335 w 273527"/>
              <a:gd name="connsiteY77" fmla="*/ 89543 h 416781"/>
              <a:gd name="connsiteX78" fmla="*/ 121690 w 273527"/>
              <a:gd name="connsiteY78" fmla="*/ 87172 h 416781"/>
              <a:gd name="connsiteX79" fmla="*/ 125970 w 273527"/>
              <a:gd name="connsiteY79" fmla="*/ 80867 h 416781"/>
              <a:gd name="connsiteX80" fmla="*/ 131755 w 273527"/>
              <a:gd name="connsiteY80" fmla="*/ 74735 h 416781"/>
              <a:gd name="connsiteX81" fmla="*/ 135225 w 273527"/>
              <a:gd name="connsiteY81" fmla="*/ 76297 h 416781"/>
              <a:gd name="connsiteX82" fmla="*/ 134358 w 273527"/>
              <a:gd name="connsiteY82" fmla="*/ 87114 h 416781"/>
              <a:gd name="connsiteX83" fmla="*/ 131581 w 273527"/>
              <a:gd name="connsiteY83" fmla="*/ 92898 h 416781"/>
              <a:gd name="connsiteX84" fmla="*/ 110236 w 273527"/>
              <a:gd name="connsiteY84" fmla="*/ 116730 h 416781"/>
              <a:gd name="connsiteX85" fmla="*/ 108443 w 273527"/>
              <a:gd name="connsiteY85" fmla="*/ 119622 h 416781"/>
              <a:gd name="connsiteX86" fmla="*/ 117588 w 273527"/>
              <a:gd name="connsiteY86" fmla="*/ 124013 h 416781"/>
              <a:gd name="connsiteX87" fmla="*/ 118624 w 273527"/>
              <a:gd name="connsiteY87" fmla="*/ 123556 h 416781"/>
              <a:gd name="connsiteX88" fmla="*/ 144075 w 273527"/>
              <a:gd name="connsiteY88" fmla="*/ 120548 h 416781"/>
              <a:gd name="connsiteX89" fmla="*/ 170742 w 273527"/>
              <a:gd name="connsiteY89" fmla="*/ 127027 h 416781"/>
              <a:gd name="connsiteX90" fmla="*/ 149224 w 273527"/>
              <a:gd name="connsiteY90" fmla="*/ 175616 h 416781"/>
              <a:gd name="connsiteX91" fmla="*/ 137655 w 273527"/>
              <a:gd name="connsiteY91" fmla="*/ 190829 h 416781"/>
              <a:gd name="connsiteX92" fmla="*/ 138580 w 273527"/>
              <a:gd name="connsiteY92" fmla="*/ 191292 h 416781"/>
              <a:gd name="connsiteX93" fmla="*/ 142976 w 273527"/>
              <a:gd name="connsiteY93" fmla="*/ 190713 h 416781"/>
              <a:gd name="connsiteX94" fmla="*/ 151248 w 273527"/>
              <a:gd name="connsiteY94" fmla="*/ 189846 h 416781"/>
              <a:gd name="connsiteX95" fmla="*/ 164436 w 273527"/>
              <a:gd name="connsiteY95" fmla="*/ 195630 h 416781"/>
              <a:gd name="connsiteX96" fmla="*/ 173750 w 273527"/>
              <a:gd name="connsiteY96" fmla="*/ 201414 h 416781"/>
              <a:gd name="connsiteX97" fmla="*/ 182831 w 273527"/>
              <a:gd name="connsiteY97" fmla="*/ 210033 h 416781"/>
              <a:gd name="connsiteX98" fmla="*/ 183814 w 273527"/>
              <a:gd name="connsiteY98" fmla="*/ 214487 h 416781"/>
              <a:gd name="connsiteX99" fmla="*/ 200127 w 273527"/>
              <a:gd name="connsiteY99" fmla="*/ 242252 h 416781"/>
              <a:gd name="connsiteX100" fmla="*/ 214993 w 273527"/>
              <a:gd name="connsiteY100" fmla="*/ 255672 h 416781"/>
              <a:gd name="connsiteX101" fmla="*/ 221587 w 273527"/>
              <a:gd name="connsiteY101" fmla="*/ 276843 h 416781"/>
              <a:gd name="connsiteX102" fmla="*/ 224074 w 273527"/>
              <a:gd name="connsiteY102" fmla="*/ 285057 h 416781"/>
              <a:gd name="connsiteX103" fmla="*/ 229859 w 273527"/>
              <a:gd name="connsiteY103" fmla="*/ 290321 h 416781"/>
              <a:gd name="connsiteX104" fmla="*/ 231825 w 273527"/>
              <a:gd name="connsiteY104" fmla="*/ 291536 h 416781"/>
              <a:gd name="connsiteX105" fmla="*/ 231247 w 273527"/>
              <a:gd name="connsiteY105" fmla="*/ 296048 h 416781"/>
              <a:gd name="connsiteX106" fmla="*/ 231247 w 273527"/>
              <a:gd name="connsiteY106" fmla="*/ 305765 h 416781"/>
              <a:gd name="connsiteX107" fmla="*/ 238188 w 273527"/>
              <a:gd name="connsiteY107" fmla="*/ 311203 h 416781"/>
              <a:gd name="connsiteX108" fmla="*/ 242584 w 273527"/>
              <a:gd name="connsiteY108" fmla="*/ 307501 h 416781"/>
              <a:gd name="connsiteX109" fmla="*/ 249005 w 273527"/>
              <a:gd name="connsiteY109" fmla="*/ 304609 h 416781"/>
              <a:gd name="connsiteX110" fmla="*/ 269887 w 273527"/>
              <a:gd name="connsiteY110" fmla="*/ 313632 h 416781"/>
              <a:gd name="connsiteX111" fmla="*/ 273415 w 273527"/>
              <a:gd name="connsiteY111" fmla="*/ 322193 h 416781"/>
              <a:gd name="connsiteX112" fmla="*/ 257913 w 273527"/>
              <a:gd name="connsiteY112" fmla="*/ 343075 h 416781"/>
              <a:gd name="connsiteX113" fmla="*/ 250451 w 273527"/>
              <a:gd name="connsiteY113" fmla="*/ 349206 h 416781"/>
              <a:gd name="connsiteX114" fmla="*/ 243741 w 273527"/>
              <a:gd name="connsiteY114" fmla="*/ 362164 h 416781"/>
              <a:gd name="connsiteX115" fmla="*/ 246344 w 273527"/>
              <a:gd name="connsiteY115" fmla="*/ 363494 h 416781"/>
              <a:gd name="connsiteX116" fmla="*/ 247501 w 273527"/>
              <a:gd name="connsiteY116" fmla="*/ 363494 h 416781"/>
              <a:gd name="connsiteX117" fmla="*/ 253286 w 273527"/>
              <a:gd name="connsiteY117" fmla="*/ 363089 h 416781"/>
              <a:gd name="connsiteX118" fmla="*/ 262251 w 273527"/>
              <a:gd name="connsiteY118" fmla="*/ 366155 h 416781"/>
              <a:gd name="connsiteX119" fmla="*/ 260227 w 273527"/>
              <a:gd name="connsiteY119" fmla="*/ 371130 h 416781"/>
              <a:gd name="connsiteX120" fmla="*/ 222049 w 273527"/>
              <a:gd name="connsiteY120" fmla="*/ 387152 h 416781"/>
              <a:gd name="connsiteX121" fmla="*/ 219909 w 273527"/>
              <a:gd name="connsiteY121" fmla="*/ 387152 h 416781"/>
              <a:gd name="connsiteX122" fmla="*/ 191450 w 273527"/>
              <a:gd name="connsiteY122" fmla="*/ 392937 h 416781"/>
              <a:gd name="connsiteX123" fmla="*/ 180633 w 273527"/>
              <a:gd name="connsiteY123" fmla="*/ 390392 h 416781"/>
              <a:gd name="connsiteX124" fmla="*/ 169700 w 273527"/>
              <a:gd name="connsiteY124" fmla="*/ 387615 h 416781"/>
              <a:gd name="connsiteX125" fmla="*/ 147373 w 273527"/>
              <a:gd name="connsiteY125" fmla="*/ 393920 h 416781"/>
              <a:gd name="connsiteX126" fmla="*/ 144075 w 273527"/>
              <a:gd name="connsiteY126" fmla="*/ 393631 h 416781"/>
              <a:gd name="connsiteX127" fmla="*/ 135283 w 273527"/>
              <a:gd name="connsiteY127" fmla="*/ 395482 h 416781"/>
              <a:gd name="connsiteX128" fmla="*/ 127532 w 273527"/>
              <a:gd name="connsiteY128" fmla="*/ 396697 h 416781"/>
              <a:gd name="connsiteX129" fmla="*/ 123425 w 273527"/>
              <a:gd name="connsiteY129" fmla="*/ 401613 h 416781"/>
              <a:gd name="connsiteX130" fmla="*/ 115558 w 273527"/>
              <a:gd name="connsiteY130" fmla="*/ 408844 h 416781"/>
              <a:gd name="connsiteX131" fmla="*/ 109369 w 273527"/>
              <a:gd name="connsiteY131" fmla="*/ 406067 h 416781"/>
              <a:gd name="connsiteX132" fmla="*/ 102138 w 273527"/>
              <a:gd name="connsiteY132" fmla="*/ 403291 h 416781"/>
              <a:gd name="connsiteX133" fmla="*/ 95891 w 273527"/>
              <a:gd name="connsiteY133" fmla="*/ 404737 h 416781"/>
              <a:gd name="connsiteX134" fmla="*/ 83859 w 273527"/>
              <a:gd name="connsiteY134" fmla="*/ 413009 h 416781"/>
              <a:gd name="connsiteX135" fmla="*/ 76398 w 273527"/>
              <a:gd name="connsiteY135" fmla="*/ 416653 h 416781"/>
              <a:gd name="connsiteX136" fmla="*/ 116889 w 273527"/>
              <a:gd name="connsiteY136" fmla="*/ 371245 h 416781"/>
              <a:gd name="connsiteX137" fmla="*/ 109947 w 273527"/>
              <a:gd name="connsiteY137" fmla="*/ 372691 h 416781"/>
              <a:gd name="connsiteX138" fmla="*/ 75241 w 273527"/>
              <a:gd name="connsiteY138" fmla="*/ 410926 h 416781"/>
              <a:gd name="connsiteX139" fmla="*/ 75646 w 273527"/>
              <a:gd name="connsiteY139" fmla="*/ 413761 h 416781"/>
              <a:gd name="connsiteX140" fmla="*/ 76687 w 273527"/>
              <a:gd name="connsiteY140" fmla="*/ 414397 h 416781"/>
              <a:gd name="connsiteX141" fmla="*/ 81835 w 273527"/>
              <a:gd name="connsiteY141" fmla="*/ 410811 h 416781"/>
              <a:gd name="connsiteX142" fmla="*/ 94503 w 273527"/>
              <a:gd name="connsiteY142" fmla="*/ 402134 h 416781"/>
              <a:gd name="connsiteX143" fmla="*/ 101618 w 273527"/>
              <a:gd name="connsiteY143" fmla="*/ 400514 h 416781"/>
              <a:gd name="connsiteX144" fmla="*/ 110121 w 273527"/>
              <a:gd name="connsiteY144" fmla="*/ 403638 h 416781"/>
              <a:gd name="connsiteX145" fmla="*/ 115327 w 273527"/>
              <a:gd name="connsiteY145" fmla="*/ 406067 h 416781"/>
              <a:gd name="connsiteX146" fmla="*/ 121111 w 273527"/>
              <a:gd name="connsiteY146" fmla="*/ 400283 h 416781"/>
              <a:gd name="connsiteX147" fmla="*/ 127821 w 273527"/>
              <a:gd name="connsiteY147" fmla="*/ 394151 h 416781"/>
              <a:gd name="connsiteX148" fmla="*/ 134300 w 273527"/>
              <a:gd name="connsiteY148" fmla="*/ 393052 h 416781"/>
              <a:gd name="connsiteX149" fmla="*/ 143844 w 273527"/>
              <a:gd name="connsiteY149" fmla="*/ 391028 h 416781"/>
              <a:gd name="connsiteX150" fmla="*/ 147546 w 273527"/>
              <a:gd name="connsiteY150" fmla="*/ 391317 h 416781"/>
              <a:gd name="connsiteX151" fmla="*/ 168023 w 273527"/>
              <a:gd name="connsiteY151" fmla="*/ 385533 h 416781"/>
              <a:gd name="connsiteX152" fmla="*/ 171320 w 273527"/>
              <a:gd name="connsiteY152" fmla="*/ 384434 h 416781"/>
              <a:gd name="connsiteX153" fmla="*/ 181385 w 273527"/>
              <a:gd name="connsiteY153" fmla="*/ 388020 h 416781"/>
              <a:gd name="connsiteX154" fmla="*/ 189946 w 273527"/>
              <a:gd name="connsiteY154" fmla="*/ 390681 h 416781"/>
              <a:gd name="connsiteX155" fmla="*/ 219678 w 273527"/>
              <a:gd name="connsiteY155" fmla="*/ 384897 h 416781"/>
              <a:gd name="connsiteX156" fmla="*/ 221818 w 273527"/>
              <a:gd name="connsiteY156" fmla="*/ 384897 h 416781"/>
              <a:gd name="connsiteX157" fmla="*/ 258433 w 273527"/>
              <a:gd name="connsiteY157" fmla="*/ 369452 h 416781"/>
              <a:gd name="connsiteX158" fmla="*/ 259937 w 273527"/>
              <a:gd name="connsiteY158" fmla="*/ 366965 h 416781"/>
              <a:gd name="connsiteX159" fmla="*/ 253054 w 273527"/>
              <a:gd name="connsiteY159" fmla="*/ 365345 h 416781"/>
              <a:gd name="connsiteX160" fmla="*/ 247674 w 273527"/>
              <a:gd name="connsiteY160" fmla="*/ 365750 h 416781"/>
              <a:gd name="connsiteX161" fmla="*/ 241485 w 273527"/>
              <a:gd name="connsiteY161" fmla="*/ 363089 h 416781"/>
              <a:gd name="connsiteX162" fmla="*/ 248716 w 273527"/>
              <a:gd name="connsiteY162" fmla="*/ 347645 h 416781"/>
              <a:gd name="connsiteX163" fmla="*/ 256351 w 273527"/>
              <a:gd name="connsiteY163" fmla="*/ 341397 h 416781"/>
              <a:gd name="connsiteX164" fmla="*/ 270986 w 273527"/>
              <a:gd name="connsiteY164" fmla="*/ 322135 h 416781"/>
              <a:gd name="connsiteX165" fmla="*/ 268036 w 273527"/>
              <a:gd name="connsiteY165" fmla="*/ 315252 h 416781"/>
              <a:gd name="connsiteX166" fmla="*/ 248831 w 273527"/>
              <a:gd name="connsiteY166" fmla="*/ 306980 h 416781"/>
              <a:gd name="connsiteX167" fmla="*/ 244493 w 273527"/>
              <a:gd name="connsiteY167" fmla="*/ 308542 h 416781"/>
              <a:gd name="connsiteX168" fmla="*/ 238015 w 273527"/>
              <a:gd name="connsiteY168" fmla="*/ 313574 h 416781"/>
              <a:gd name="connsiteX169" fmla="*/ 229164 w 273527"/>
              <a:gd name="connsiteY169" fmla="*/ 307096 h 416781"/>
              <a:gd name="connsiteX170" fmla="*/ 229164 w 273527"/>
              <a:gd name="connsiteY170" fmla="*/ 295527 h 416781"/>
              <a:gd name="connsiteX171" fmla="*/ 229859 w 273527"/>
              <a:gd name="connsiteY171" fmla="*/ 292924 h 416781"/>
              <a:gd name="connsiteX172" fmla="*/ 229859 w 273527"/>
              <a:gd name="connsiteY172" fmla="*/ 292924 h 416781"/>
              <a:gd name="connsiteX173" fmla="*/ 229454 w 273527"/>
              <a:gd name="connsiteY173" fmla="*/ 292924 h 416781"/>
              <a:gd name="connsiteX174" fmla="*/ 222397 w 273527"/>
              <a:gd name="connsiteY174" fmla="*/ 286619 h 416781"/>
              <a:gd name="connsiteX175" fmla="*/ 219736 w 273527"/>
              <a:gd name="connsiteY175" fmla="*/ 276554 h 416781"/>
              <a:gd name="connsiteX176" fmla="*/ 213315 w 273527"/>
              <a:gd name="connsiteY176" fmla="*/ 257176 h 416781"/>
              <a:gd name="connsiteX177" fmla="*/ 199953 w 273527"/>
              <a:gd name="connsiteY177" fmla="*/ 244855 h 416781"/>
              <a:gd name="connsiteX178" fmla="*/ 181848 w 273527"/>
              <a:gd name="connsiteY178" fmla="*/ 215297 h 416781"/>
              <a:gd name="connsiteX179" fmla="*/ 180922 w 273527"/>
              <a:gd name="connsiteY179" fmla="*/ 210901 h 416781"/>
              <a:gd name="connsiteX180" fmla="*/ 173403 w 273527"/>
              <a:gd name="connsiteY180" fmla="*/ 204017 h 416781"/>
              <a:gd name="connsiteX181" fmla="*/ 162990 w 273527"/>
              <a:gd name="connsiteY181" fmla="*/ 197597 h 416781"/>
              <a:gd name="connsiteX182" fmla="*/ 151421 w 273527"/>
              <a:gd name="connsiteY182" fmla="*/ 192564 h 416781"/>
              <a:gd name="connsiteX183" fmla="*/ 143555 w 273527"/>
              <a:gd name="connsiteY183" fmla="*/ 193432 h 416781"/>
              <a:gd name="connsiteX184" fmla="*/ 139159 w 273527"/>
              <a:gd name="connsiteY184" fmla="*/ 194010 h 416781"/>
              <a:gd name="connsiteX185" fmla="*/ 138580 w 273527"/>
              <a:gd name="connsiteY185" fmla="*/ 194010 h 416781"/>
              <a:gd name="connsiteX186" fmla="*/ 135514 w 273527"/>
              <a:gd name="connsiteY186" fmla="*/ 191986 h 416781"/>
              <a:gd name="connsiteX187" fmla="*/ 147951 w 273527"/>
              <a:gd name="connsiteY187" fmla="*/ 174170 h 416781"/>
              <a:gd name="connsiteX188" fmla="*/ 168486 w 273527"/>
              <a:gd name="connsiteY188" fmla="*/ 127489 h 416781"/>
              <a:gd name="connsiteX189" fmla="*/ 144075 w 273527"/>
              <a:gd name="connsiteY189" fmla="*/ 123267 h 416781"/>
              <a:gd name="connsiteX190" fmla="*/ 119607 w 273527"/>
              <a:gd name="connsiteY190" fmla="*/ 126043 h 416781"/>
              <a:gd name="connsiteX191" fmla="*/ 115269 w 273527"/>
              <a:gd name="connsiteY191" fmla="*/ 127142 h 416781"/>
              <a:gd name="connsiteX192" fmla="*/ 106245 w 273527"/>
              <a:gd name="connsiteY192" fmla="*/ 120548 h 416781"/>
              <a:gd name="connsiteX193" fmla="*/ 109427 w 273527"/>
              <a:gd name="connsiteY193" fmla="*/ 115111 h 416781"/>
              <a:gd name="connsiteX194" fmla="*/ 129325 w 273527"/>
              <a:gd name="connsiteY194" fmla="*/ 93708 h 416781"/>
              <a:gd name="connsiteX195" fmla="*/ 132507 w 273527"/>
              <a:gd name="connsiteY195" fmla="*/ 86015 h 416781"/>
              <a:gd name="connsiteX196" fmla="*/ 133721 w 273527"/>
              <a:gd name="connsiteY196" fmla="*/ 78206 h 416781"/>
              <a:gd name="connsiteX197" fmla="*/ 131755 w 273527"/>
              <a:gd name="connsiteY197" fmla="*/ 77223 h 416781"/>
              <a:gd name="connsiteX198" fmla="*/ 127937 w 273527"/>
              <a:gd name="connsiteY198" fmla="*/ 82139 h 416781"/>
              <a:gd name="connsiteX199" fmla="*/ 123020 w 273527"/>
              <a:gd name="connsiteY199" fmla="*/ 89196 h 416781"/>
              <a:gd name="connsiteX200" fmla="*/ 111451 w 273527"/>
              <a:gd name="connsiteY200" fmla="*/ 92031 h 416781"/>
              <a:gd name="connsiteX201" fmla="*/ 92826 w 273527"/>
              <a:gd name="connsiteY201" fmla="*/ 89775 h 416781"/>
              <a:gd name="connsiteX202" fmla="*/ 83570 w 273527"/>
              <a:gd name="connsiteY202" fmla="*/ 92898 h 416781"/>
              <a:gd name="connsiteX203" fmla="*/ 77208 w 273527"/>
              <a:gd name="connsiteY203" fmla="*/ 111640 h 416781"/>
              <a:gd name="connsiteX204" fmla="*/ 70150 w 273527"/>
              <a:gd name="connsiteY204" fmla="*/ 122168 h 416781"/>
              <a:gd name="connsiteX205" fmla="*/ 65002 w 273527"/>
              <a:gd name="connsiteY205" fmla="*/ 129861 h 416781"/>
              <a:gd name="connsiteX206" fmla="*/ 64424 w 273527"/>
              <a:gd name="connsiteY206" fmla="*/ 137901 h 416781"/>
              <a:gd name="connsiteX207" fmla="*/ 57124 w 273527"/>
              <a:gd name="connsiteY207" fmla="*/ 139365 h 416781"/>
              <a:gd name="connsiteX208" fmla="*/ 56383 w 273527"/>
              <a:gd name="connsiteY208" fmla="*/ 138769 h 416781"/>
              <a:gd name="connsiteX209" fmla="*/ 53838 w 273527"/>
              <a:gd name="connsiteY209" fmla="*/ 136108 h 416781"/>
              <a:gd name="connsiteX210" fmla="*/ 46087 w 273527"/>
              <a:gd name="connsiteY210" fmla="*/ 130729 h 416781"/>
              <a:gd name="connsiteX211" fmla="*/ 41286 w 273527"/>
              <a:gd name="connsiteY211" fmla="*/ 132811 h 416781"/>
              <a:gd name="connsiteX212" fmla="*/ 39724 w 273527"/>
              <a:gd name="connsiteY212" fmla="*/ 136340 h 416781"/>
              <a:gd name="connsiteX213" fmla="*/ 60433 w 273527"/>
              <a:gd name="connsiteY213" fmla="*/ 146925 h 416781"/>
              <a:gd name="connsiteX214" fmla="*/ 64540 w 273527"/>
              <a:gd name="connsiteY214" fmla="*/ 149065 h 416781"/>
              <a:gd name="connsiteX215" fmla="*/ 60201 w 273527"/>
              <a:gd name="connsiteY215" fmla="*/ 155717 h 416781"/>
              <a:gd name="connsiteX216" fmla="*/ 51351 w 273527"/>
              <a:gd name="connsiteY216" fmla="*/ 168443 h 416781"/>
              <a:gd name="connsiteX217" fmla="*/ 58003 w 273527"/>
              <a:gd name="connsiteY217" fmla="*/ 176021 h 416781"/>
              <a:gd name="connsiteX218" fmla="*/ 65928 w 273527"/>
              <a:gd name="connsiteY218" fmla="*/ 182673 h 416781"/>
              <a:gd name="connsiteX219" fmla="*/ 53781 w 273527"/>
              <a:gd name="connsiteY219" fmla="*/ 192622 h 416781"/>
              <a:gd name="connsiteX220" fmla="*/ 43311 w 273527"/>
              <a:gd name="connsiteY220" fmla="*/ 199737 h 416781"/>
              <a:gd name="connsiteX221" fmla="*/ 44294 w 273527"/>
              <a:gd name="connsiteY221" fmla="*/ 201241 h 416781"/>
              <a:gd name="connsiteX222" fmla="*/ 55863 w 273527"/>
              <a:gd name="connsiteY222" fmla="*/ 195456 h 416781"/>
              <a:gd name="connsiteX223" fmla="*/ 61300 w 273527"/>
              <a:gd name="connsiteY223" fmla="*/ 192043 h 416781"/>
              <a:gd name="connsiteX224" fmla="*/ 62862 w 273527"/>
              <a:gd name="connsiteY224" fmla="*/ 191581 h 416781"/>
              <a:gd name="connsiteX225" fmla="*/ 65407 w 273527"/>
              <a:gd name="connsiteY225" fmla="*/ 198001 h 416781"/>
              <a:gd name="connsiteX226" fmla="*/ 72985 w 273527"/>
              <a:gd name="connsiteY226" fmla="*/ 208529 h 416781"/>
              <a:gd name="connsiteX227" fmla="*/ 84553 w 273527"/>
              <a:gd name="connsiteY227" fmla="*/ 194010 h 416781"/>
              <a:gd name="connsiteX228" fmla="*/ 88892 w 273527"/>
              <a:gd name="connsiteY228" fmla="*/ 187069 h 416781"/>
              <a:gd name="connsiteX229" fmla="*/ 89355 w 273527"/>
              <a:gd name="connsiteY229" fmla="*/ 187069 h 416781"/>
              <a:gd name="connsiteX230" fmla="*/ 91611 w 273527"/>
              <a:gd name="connsiteY230" fmla="*/ 188342 h 416781"/>
              <a:gd name="connsiteX231" fmla="*/ 91611 w 273527"/>
              <a:gd name="connsiteY231" fmla="*/ 194647 h 416781"/>
              <a:gd name="connsiteX232" fmla="*/ 92189 w 273527"/>
              <a:gd name="connsiteY232" fmla="*/ 206620 h 416781"/>
              <a:gd name="connsiteX233" fmla="*/ 86925 w 273527"/>
              <a:gd name="connsiteY233" fmla="*/ 225130 h 416781"/>
              <a:gd name="connsiteX234" fmla="*/ 82587 w 273527"/>
              <a:gd name="connsiteY234" fmla="*/ 234443 h 416781"/>
              <a:gd name="connsiteX235" fmla="*/ 94908 w 273527"/>
              <a:gd name="connsiteY235" fmla="*/ 237625 h 416781"/>
              <a:gd name="connsiteX236" fmla="*/ 119839 w 273527"/>
              <a:gd name="connsiteY236" fmla="*/ 230163 h 416781"/>
              <a:gd name="connsiteX237" fmla="*/ 127300 w 273527"/>
              <a:gd name="connsiteY237" fmla="*/ 225940 h 416781"/>
              <a:gd name="connsiteX238" fmla="*/ 131465 w 273527"/>
              <a:gd name="connsiteY238" fmla="*/ 228717 h 416781"/>
              <a:gd name="connsiteX239" fmla="*/ 128747 w 273527"/>
              <a:gd name="connsiteY239" fmla="*/ 239765 h 416781"/>
              <a:gd name="connsiteX240" fmla="*/ 125681 w 273527"/>
              <a:gd name="connsiteY240" fmla="*/ 248615 h 416781"/>
              <a:gd name="connsiteX241" fmla="*/ 132738 w 273527"/>
              <a:gd name="connsiteY241" fmla="*/ 254978 h 416781"/>
              <a:gd name="connsiteX242" fmla="*/ 133259 w 273527"/>
              <a:gd name="connsiteY242" fmla="*/ 254978 h 416781"/>
              <a:gd name="connsiteX243" fmla="*/ 142051 w 273527"/>
              <a:gd name="connsiteY243" fmla="*/ 260068 h 416781"/>
              <a:gd name="connsiteX244" fmla="*/ 140605 w 273527"/>
              <a:gd name="connsiteY244" fmla="*/ 266489 h 416781"/>
              <a:gd name="connsiteX245" fmla="*/ 138985 w 273527"/>
              <a:gd name="connsiteY245" fmla="*/ 280256 h 416781"/>
              <a:gd name="connsiteX246" fmla="*/ 138233 w 273527"/>
              <a:gd name="connsiteY246" fmla="*/ 290900 h 416781"/>
              <a:gd name="connsiteX247" fmla="*/ 122384 w 273527"/>
              <a:gd name="connsiteY247" fmla="*/ 296048 h 416781"/>
              <a:gd name="connsiteX248" fmla="*/ 108212 w 273527"/>
              <a:gd name="connsiteY248" fmla="*/ 291998 h 416781"/>
              <a:gd name="connsiteX249" fmla="*/ 106245 w 273527"/>
              <a:gd name="connsiteY249" fmla="*/ 291015 h 416781"/>
              <a:gd name="connsiteX250" fmla="*/ 101849 w 273527"/>
              <a:gd name="connsiteY250" fmla="*/ 293097 h 416781"/>
              <a:gd name="connsiteX251" fmla="*/ 101849 w 273527"/>
              <a:gd name="connsiteY251" fmla="*/ 295701 h 416781"/>
              <a:gd name="connsiteX252" fmla="*/ 97742 w 273527"/>
              <a:gd name="connsiteY252" fmla="*/ 306344 h 416781"/>
              <a:gd name="connsiteX253" fmla="*/ 93867 w 273527"/>
              <a:gd name="connsiteY253" fmla="*/ 312996 h 416781"/>
              <a:gd name="connsiteX254" fmla="*/ 100634 w 273527"/>
              <a:gd name="connsiteY254" fmla="*/ 316698 h 416781"/>
              <a:gd name="connsiteX255" fmla="*/ 110063 w 273527"/>
              <a:gd name="connsiteY255" fmla="*/ 323639 h 416781"/>
              <a:gd name="connsiteX256" fmla="*/ 82992 w 273527"/>
              <a:gd name="connsiteY256" fmla="*/ 343306 h 416781"/>
              <a:gd name="connsiteX257" fmla="*/ 77960 w 273527"/>
              <a:gd name="connsiteY257" fmla="*/ 347471 h 416781"/>
              <a:gd name="connsiteX258" fmla="*/ 88603 w 273527"/>
              <a:gd name="connsiteY258" fmla="*/ 353718 h 416781"/>
              <a:gd name="connsiteX259" fmla="*/ 92536 w 273527"/>
              <a:gd name="connsiteY259" fmla="*/ 352619 h 416781"/>
              <a:gd name="connsiteX260" fmla="*/ 96990 w 273527"/>
              <a:gd name="connsiteY260" fmla="*/ 350768 h 416781"/>
              <a:gd name="connsiteX261" fmla="*/ 101097 w 273527"/>
              <a:gd name="connsiteY261" fmla="*/ 352851 h 416781"/>
              <a:gd name="connsiteX262" fmla="*/ 109311 w 273527"/>
              <a:gd name="connsiteY262" fmla="*/ 356032 h 416781"/>
              <a:gd name="connsiteX263" fmla="*/ 120880 w 273527"/>
              <a:gd name="connsiteY263" fmla="*/ 358867 h 416781"/>
              <a:gd name="connsiteX264" fmla="*/ 131176 w 273527"/>
              <a:gd name="connsiteY264" fmla="*/ 361412 h 416781"/>
              <a:gd name="connsiteX265" fmla="*/ 137423 w 273527"/>
              <a:gd name="connsiteY265" fmla="*/ 360197 h 416781"/>
              <a:gd name="connsiteX266" fmla="*/ 144885 w 273527"/>
              <a:gd name="connsiteY266" fmla="*/ 358346 h 416781"/>
              <a:gd name="connsiteX267" fmla="*/ 147778 w 273527"/>
              <a:gd name="connsiteY267" fmla="*/ 359908 h 416781"/>
              <a:gd name="connsiteX268" fmla="*/ 140952 w 273527"/>
              <a:gd name="connsiteY268" fmla="*/ 368989 h 416781"/>
              <a:gd name="connsiteX269" fmla="*/ 129383 w 273527"/>
              <a:gd name="connsiteY269" fmla="*/ 372344 h 416781"/>
              <a:gd name="connsiteX270" fmla="*/ 123194 w 273527"/>
              <a:gd name="connsiteY270" fmla="*/ 372055 h 416781"/>
              <a:gd name="connsiteX271" fmla="*/ 116715 w 273527"/>
              <a:gd name="connsiteY271" fmla="*/ 371245 h 416781"/>
              <a:gd name="connsiteX272" fmla="*/ 44930 w 273527"/>
              <a:gd name="connsiteY272" fmla="*/ 266778 h 416781"/>
              <a:gd name="connsiteX273" fmla="*/ 44236 w 273527"/>
              <a:gd name="connsiteY273" fmla="*/ 266778 h 416781"/>
              <a:gd name="connsiteX274" fmla="*/ 35039 w 273527"/>
              <a:gd name="connsiteY274" fmla="*/ 258391 h 416781"/>
              <a:gd name="connsiteX275" fmla="*/ 27230 w 273527"/>
              <a:gd name="connsiteY275" fmla="*/ 253011 h 416781"/>
              <a:gd name="connsiteX276" fmla="*/ 21446 w 273527"/>
              <a:gd name="connsiteY276" fmla="*/ 262729 h 416781"/>
              <a:gd name="connsiteX277" fmla="*/ 17743 w 273527"/>
              <a:gd name="connsiteY277" fmla="*/ 266373 h 416781"/>
              <a:gd name="connsiteX278" fmla="*/ 9819 w 273527"/>
              <a:gd name="connsiteY278" fmla="*/ 263134 h 416781"/>
              <a:gd name="connsiteX279" fmla="*/ 2993 w 273527"/>
              <a:gd name="connsiteY279" fmla="*/ 260011 h 416781"/>
              <a:gd name="connsiteX280" fmla="*/ -15 w 273527"/>
              <a:gd name="connsiteY280" fmla="*/ 257176 h 416781"/>
              <a:gd name="connsiteX281" fmla="*/ 8720 w 273527"/>
              <a:gd name="connsiteY281" fmla="*/ 242079 h 416781"/>
              <a:gd name="connsiteX282" fmla="*/ 15661 w 273527"/>
              <a:gd name="connsiteY282" fmla="*/ 227213 h 416781"/>
              <a:gd name="connsiteX283" fmla="*/ 16760 w 273527"/>
              <a:gd name="connsiteY283" fmla="*/ 226287 h 416781"/>
              <a:gd name="connsiteX284" fmla="*/ 16760 w 273527"/>
              <a:gd name="connsiteY284" fmla="*/ 226287 h 416781"/>
              <a:gd name="connsiteX285" fmla="*/ 29197 w 273527"/>
              <a:gd name="connsiteY285" fmla="*/ 222123 h 416781"/>
              <a:gd name="connsiteX286" fmla="*/ 43021 w 273527"/>
              <a:gd name="connsiteY286" fmla="*/ 217611 h 416781"/>
              <a:gd name="connsiteX287" fmla="*/ 51698 w 273527"/>
              <a:gd name="connsiteY287" fmla="*/ 221197 h 416781"/>
              <a:gd name="connsiteX288" fmla="*/ 69977 w 273527"/>
              <a:gd name="connsiteY288" fmla="*/ 246591 h 416781"/>
              <a:gd name="connsiteX289" fmla="*/ 67027 w 273527"/>
              <a:gd name="connsiteY289" fmla="*/ 253532 h 416781"/>
              <a:gd name="connsiteX290" fmla="*/ 54995 w 273527"/>
              <a:gd name="connsiteY290" fmla="*/ 260473 h 416781"/>
              <a:gd name="connsiteX291" fmla="*/ 46261 w 273527"/>
              <a:gd name="connsiteY291" fmla="*/ 266258 h 416781"/>
              <a:gd name="connsiteX292" fmla="*/ 45509 w 273527"/>
              <a:gd name="connsiteY292" fmla="*/ 267010 h 416781"/>
              <a:gd name="connsiteX293" fmla="*/ 27230 w 273527"/>
              <a:gd name="connsiteY293" fmla="*/ 250524 h 416781"/>
              <a:gd name="connsiteX294" fmla="*/ 36774 w 273527"/>
              <a:gd name="connsiteY294" fmla="*/ 256656 h 416781"/>
              <a:gd name="connsiteX295" fmla="*/ 44525 w 273527"/>
              <a:gd name="connsiteY295" fmla="*/ 263886 h 416781"/>
              <a:gd name="connsiteX296" fmla="*/ 53896 w 273527"/>
              <a:gd name="connsiteY296" fmla="*/ 258102 h 416781"/>
              <a:gd name="connsiteX297" fmla="*/ 65176 w 273527"/>
              <a:gd name="connsiteY297" fmla="*/ 251623 h 416781"/>
              <a:gd name="connsiteX298" fmla="*/ 67490 w 273527"/>
              <a:gd name="connsiteY298" fmla="*/ 246359 h 416781"/>
              <a:gd name="connsiteX299" fmla="*/ 50136 w 273527"/>
              <a:gd name="connsiteY299" fmla="*/ 222585 h 416781"/>
              <a:gd name="connsiteX300" fmla="*/ 43021 w 273527"/>
              <a:gd name="connsiteY300" fmla="*/ 219577 h 416781"/>
              <a:gd name="connsiteX301" fmla="*/ 30180 w 273527"/>
              <a:gd name="connsiteY301" fmla="*/ 223916 h 416781"/>
              <a:gd name="connsiteX302" fmla="*/ 17628 w 273527"/>
              <a:gd name="connsiteY302" fmla="*/ 228254 h 416781"/>
              <a:gd name="connsiteX303" fmla="*/ 9935 w 273527"/>
              <a:gd name="connsiteY303" fmla="*/ 243641 h 416781"/>
              <a:gd name="connsiteX304" fmla="*/ 2125 w 273527"/>
              <a:gd name="connsiteY304" fmla="*/ 256424 h 416781"/>
              <a:gd name="connsiteX305" fmla="*/ 3398 w 273527"/>
              <a:gd name="connsiteY305" fmla="*/ 257523 h 416781"/>
              <a:gd name="connsiteX306" fmla="*/ 10860 w 273527"/>
              <a:gd name="connsiteY306" fmla="*/ 260878 h 416781"/>
              <a:gd name="connsiteX307" fmla="*/ 17686 w 273527"/>
              <a:gd name="connsiteY307" fmla="*/ 263828 h 416781"/>
              <a:gd name="connsiteX308" fmla="*/ 19132 w 273527"/>
              <a:gd name="connsiteY308" fmla="*/ 262093 h 416781"/>
              <a:gd name="connsiteX309" fmla="*/ 27230 w 273527"/>
              <a:gd name="connsiteY309" fmla="*/ 250582 h 416781"/>
              <a:gd name="connsiteX310" fmla="*/ 28734 w 273527"/>
              <a:gd name="connsiteY310" fmla="*/ 120317 h 416781"/>
              <a:gd name="connsiteX311" fmla="*/ 28734 w 273527"/>
              <a:gd name="connsiteY311" fmla="*/ 120317 h 416781"/>
              <a:gd name="connsiteX312" fmla="*/ 26536 w 273527"/>
              <a:gd name="connsiteY312" fmla="*/ 119449 h 416781"/>
              <a:gd name="connsiteX313" fmla="*/ 25900 w 273527"/>
              <a:gd name="connsiteY313" fmla="*/ 117309 h 416781"/>
              <a:gd name="connsiteX314" fmla="*/ 45451 w 273527"/>
              <a:gd name="connsiteY314" fmla="*/ 93245 h 416781"/>
              <a:gd name="connsiteX315" fmla="*/ 46608 w 273527"/>
              <a:gd name="connsiteY315" fmla="*/ 94287 h 416781"/>
              <a:gd name="connsiteX316" fmla="*/ 46608 w 273527"/>
              <a:gd name="connsiteY316" fmla="*/ 94345 h 416781"/>
              <a:gd name="connsiteX317" fmla="*/ 45451 w 273527"/>
              <a:gd name="connsiteY317" fmla="*/ 95502 h 416781"/>
              <a:gd name="connsiteX318" fmla="*/ 28098 w 273527"/>
              <a:gd name="connsiteY318" fmla="*/ 117367 h 416781"/>
              <a:gd name="connsiteX319" fmla="*/ 28098 w 273527"/>
              <a:gd name="connsiteY319" fmla="*/ 117945 h 416781"/>
              <a:gd name="connsiteX320" fmla="*/ 28560 w 273527"/>
              <a:gd name="connsiteY320" fmla="*/ 117945 h 416781"/>
              <a:gd name="connsiteX321" fmla="*/ 29659 w 273527"/>
              <a:gd name="connsiteY321" fmla="*/ 119044 h 416781"/>
              <a:gd name="connsiteX322" fmla="*/ 29659 w 273527"/>
              <a:gd name="connsiteY322" fmla="*/ 119102 h 416781"/>
              <a:gd name="connsiteX323" fmla="*/ 28878 w 273527"/>
              <a:gd name="connsiteY323" fmla="*/ 120351 h 416781"/>
              <a:gd name="connsiteX324" fmla="*/ 28676 w 273527"/>
              <a:gd name="connsiteY324" fmla="*/ 120374 h 416781"/>
              <a:gd name="connsiteX325" fmla="*/ 184914 w 273527"/>
              <a:gd name="connsiteY325" fmla="*/ 32914 h 416781"/>
              <a:gd name="connsiteX326" fmla="*/ 184914 w 273527"/>
              <a:gd name="connsiteY326" fmla="*/ 32914 h 416781"/>
              <a:gd name="connsiteX327" fmla="*/ 181732 w 273527"/>
              <a:gd name="connsiteY327" fmla="*/ 26204 h 416781"/>
              <a:gd name="connsiteX328" fmla="*/ 189483 w 273527"/>
              <a:gd name="connsiteY328" fmla="*/ 174 h 416781"/>
              <a:gd name="connsiteX329" fmla="*/ 195245 w 273527"/>
              <a:gd name="connsiteY329" fmla="*/ 2719 h 416781"/>
              <a:gd name="connsiteX330" fmla="*/ 195268 w 273527"/>
              <a:gd name="connsiteY330" fmla="*/ 2777 h 416781"/>
              <a:gd name="connsiteX331" fmla="*/ 186128 w 273527"/>
              <a:gd name="connsiteY331" fmla="*/ 32393 h 416781"/>
              <a:gd name="connsiteX332" fmla="*/ 184856 w 273527"/>
              <a:gd name="connsiteY332" fmla="*/ 32972 h 416781"/>
              <a:gd name="connsiteX333" fmla="*/ 191218 w 273527"/>
              <a:gd name="connsiteY333" fmla="*/ 2199 h 416781"/>
              <a:gd name="connsiteX334" fmla="*/ 190062 w 273527"/>
              <a:gd name="connsiteY334" fmla="*/ 2199 h 416781"/>
              <a:gd name="connsiteX335" fmla="*/ 184682 w 273527"/>
              <a:gd name="connsiteY335" fmla="*/ 9950 h 416781"/>
              <a:gd name="connsiteX336" fmla="*/ 184682 w 273527"/>
              <a:gd name="connsiteY336" fmla="*/ 30137 h 416781"/>
              <a:gd name="connsiteX337" fmla="*/ 192896 w 273527"/>
              <a:gd name="connsiteY337" fmla="*/ 3471 h 416781"/>
              <a:gd name="connsiteX338" fmla="*/ 191045 w 273527"/>
              <a:gd name="connsiteY338" fmla="*/ 2256 h 4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273527" h="416781">
                <a:moveTo>
                  <a:pt x="76398" y="416653"/>
                </a:moveTo>
                <a:cubicBezTo>
                  <a:pt x="75299" y="416630"/>
                  <a:pt x="74269" y="416098"/>
                  <a:pt x="73621" y="415207"/>
                </a:cubicBezTo>
                <a:cubicBezTo>
                  <a:pt x="72609" y="413871"/>
                  <a:pt x="72291" y="412135"/>
                  <a:pt x="72753" y="410521"/>
                </a:cubicBezTo>
                <a:cubicBezTo>
                  <a:pt x="75009" y="398953"/>
                  <a:pt x="101676" y="374542"/>
                  <a:pt x="108675" y="370667"/>
                </a:cubicBezTo>
                <a:cubicBezTo>
                  <a:pt x="111174" y="369452"/>
                  <a:pt x="113938" y="368874"/>
                  <a:pt x="116715" y="368989"/>
                </a:cubicBezTo>
                <a:cubicBezTo>
                  <a:pt x="118624" y="368989"/>
                  <a:pt x="120591" y="368989"/>
                  <a:pt x="122499" y="369336"/>
                </a:cubicBezTo>
                <a:cubicBezTo>
                  <a:pt x="124408" y="369683"/>
                  <a:pt x="126491" y="369336"/>
                  <a:pt x="128284" y="369336"/>
                </a:cubicBezTo>
                <a:cubicBezTo>
                  <a:pt x="131946" y="369597"/>
                  <a:pt x="135589" y="368579"/>
                  <a:pt x="138580" y="366444"/>
                </a:cubicBezTo>
                <a:cubicBezTo>
                  <a:pt x="143786" y="362453"/>
                  <a:pt x="144770" y="360313"/>
                  <a:pt x="144654" y="359850"/>
                </a:cubicBezTo>
                <a:lnTo>
                  <a:pt x="144365" y="359850"/>
                </a:lnTo>
                <a:cubicBezTo>
                  <a:pt x="142068" y="360035"/>
                  <a:pt x="139824" y="360602"/>
                  <a:pt x="137712" y="361527"/>
                </a:cubicBezTo>
                <a:cubicBezTo>
                  <a:pt x="135468" y="362424"/>
                  <a:pt x="133073" y="362892"/>
                  <a:pt x="130656" y="362916"/>
                </a:cubicBezTo>
                <a:cubicBezTo>
                  <a:pt x="126815" y="362725"/>
                  <a:pt x="123043" y="361805"/>
                  <a:pt x="119550" y="360197"/>
                </a:cubicBezTo>
                <a:cubicBezTo>
                  <a:pt x="116096" y="358664"/>
                  <a:pt x="112388" y="357779"/>
                  <a:pt x="108617" y="357594"/>
                </a:cubicBezTo>
                <a:cubicBezTo>
                  <a:pt x="105002" y="357733"/>
                  <a:pt x="101502" y="356345"/>
                  <a:pt x="98957" y="353776"/>
                </a:cubicBezTo>
                <a:cubicBezTo>
                  <a:pt x="97800" y="352793"/>
                  <a:pt x="97164" y="352272"/>
                  <a:pt x="96296" y="352272"/>
                </a:cubicBezTo>
                <a:cubicBezTo>
                  <a:pt x="95122" y="352446"/>
                  <a:pt x="94017" y="352949"/>
                  <a:pt x="93115" y="353718"/>
                </a:cubicBezTo>
                <a:cubicBezTo>
                  <a:pt x="91582" y="354765"/>
                  <a:pt x="89760" y="355292"/>
                  <a:pt x="87909" y="355222"/>
                </a:cubicBezTo>
                <a:cubicBezTo>
                  <a:pt x="82587" y="355222"/>
                  <a:pt x="75646" y="351578"/>
                  <a:pt x="75009" y="347066"/>
                </a:cubicBezTo>
                <a:cubicBezTo>
                  <a:pt x="75009" y="345389"/>
                  <a:pt x="75009" y="342265"/>
                  <a:pt x="81719" y="340414"/>
                </a:cubicBezTo>
                <a:cubicBezTo>
                  <a:pt x="96527" y="336134"/>
                  <a:pt x="107460" y="328845"/>
                  <a:pt x="107113" y="323061"/>
                </a:cubicBezTo>
                <a:cubicBezTo>
                  <a:pt x="107113" y="320400"/>
                  <a:pt x="103064" y="319243"/>
                  <a:pt x="99304" y="318144"/>
                </a:cubicBezTo>
                <a:cubicBezTo>
                  <a:pt x="95544" y="317045"/>
                  <a:pt x="91437" y="315830"/>
                  <a:pt x="90974" y="312649"/>
                </a:cubicBezTo>
                <a:cubicBezTo>
                  <a:pt x="90512" y="309467"/>
                  <a:pt x="92999" y="306864"/>
                  <a:pt x="95371" y="304146"/>
                </a:cubicBezTo>
                <a:cubicBezTo>
                  <a:pt x="97742" y="301427"/>
                  <a:pt x="100345" y="298361"/>
                  <a:pt x="99188" y="295990"/>
                </a:cubicBezTo>
                <a:cubicBezTo>
                  <a:pt x="98315" y="294526"/>
                  <a:pt x="98315" y="292710"/>
                  <a:pt x="99188" y="291247"/>
                </a:cubicBezTo>
                <a:cubicBezTo>
                  <a:pt x="100646" y="289222"/>
                  <a:pt x="103000" y="288030"/>
                  <a:pt x="105493" y="288065"/>
                </a:cubicBezTo>
                <a:cubicBezTo>
                  <a:pt x="107396" y="287822"/>
                  <a:pt x="109190" y="289002"/>
                  <a:pt x="109716" y="290842"/>
                </a:cubicBezTo>
                <a:cubicBezTo>
                  <a:pt x="109716" y="291651"/>
                  <a:pt x="114286" y="293097"/>
                  <a:pt x="121632" y="293097"/>
                </a:cubicBezTo>
                <a:cubicBezTo>
                  <a:pt x="128978" y="293097"/>
                  <a:pt x="134647" y="291594"/>
                  <a:pt x="135341" y="289511"/>
                </a:cubicBezTo>
                <a:cubicBezTo>
                  <a:pt x="136093" y="286272"/>
                  <a:pt x="136307" y="282928"/>
                  <a:pt x="135977" y="279620"/>
                </a:cubicBezTo>
                <a:cubicBezTo>
                  <a:pt x="135370" y="274547"/>
                  <a:pt x="136029" y="269399"/>
                  <a:pt x="137886" y="264638"/>
                </a:cubicBezTo>
                <a:cubicBezTo>
                  <a:pt x="139101" y="262498"/>
                  <a:pt x="139563" y="261052"/>
                  <a:pt x="139216" y="260184"/>
                </a:cubicBezTo>
                <a:cubicBezTo>
                  <a:pt x="138869" y="259316"/>
                  <a:pt x="135919" y="257813"/>
                  <a:pt x="131755" y="256424"/>
                </a:cubicBezTo>
                <a:lnTo>
                  <a:pt x="131234" y="256424"/>
                </a:lnTo>
                <a:cubicBezTo>
                  <a:pt x="127254" y="255400"/>
                  <a:pt x="124061" y="252445"/>
                  <a:pt x="122731" y="248557"/>
                </a:cubicBezTo>
                <a:cubicBezTo>
                  <a:pt x="121904" y="244537"/>
                  <a:pt x="123263" y="240372"/>
                  <a:pt x="126317" y="237625"/>
                </a:cubicBezTo>
                <a:cubicBezTo>
                  <a:pt x="128620" y="235398"/>
                  <a:pt x="129528" y="232095"/>
                  <a:pt x="128689" y="229006"/>
                </a:cubicBezTo>
                <a:cubicBezTo>
                  <a:pt x="128365" y="228109"/>
                  <a:pt x="127497" y="227525"/>
                  <a:pt x="126548" y="227560"/>
                </a:cubicBezTo>
                <a:cubicBezTo>
                  <a:pt x="125623" y="227560"/>
                  <a:pt x="123656" y="228023"/>
                  <a:pt x="120764" y="231088"/>
                </a:cubicBezTo>
                <a:cubicBezTo>
                  <a:pt x="114980" y="237162"/>
                  <a:pt x="102832" y="239244"/>
                  <a:pt x="94214" y="239244"/>
                </a:cubicBezTo>
                <a:cubicBezTo>
                  <a:pt x="90974" y="239244"/>
                  <a:pt x="80273" y="238897"/>
                  <a:pt x="79637" y="234096"/>
                </a:cubicBezTo>
                <a:cubicBezTo>
                  <a:pt x="80111" y="230111"/>
                  <a:pt x="81742" y="226351"/>
                  <a:pt x="84322" y="223280"/>
                </a:cubicBezTo>
                <a:cubicBezTo>
                  <a:pt x="87793" y="217495"/>
                  <a:pt x="91784" y="211711"/>
                  <a:pt x="89470" y="207025"/>
                </a:cubicBezTo>
                <a:cubicBezTo>
                  <a:pt x="87631" y="202762"/>
                  <a:pt x="87365" y="197990"/>
                  <a:pt x="88718" y="193547"/>
                </a:cubicBezTo>
                <a:cubicBezTo>
                  <a:pt x="89129" y="192049"/>
                  <a:pt x="89129" y="190476"/>
                  <a:pt x="88718" y="188978"/>
                </a:cubicBezTo>
                <a:cubicBezTo>
                  <a:pt x="88718" y="188978"/>
                  <a:pt x="88718" y="188978"/>
                  <a:pt x="87966" y="188631"/>
                </a:cubicBezTo>
                <a:lnTo>
                  <a:pt x="87966" y="188631"/>
                </a:lnTo>
                <a:cubicBezTo>
                  <a:pt x="86925" y="188631"/>
                  <a:pt x="86289" y="191407"/>
                  <a:pt x="85710" y="193837"/>
                </a:cubicBezTo>
                <a:cubicBezTo>
                  <a:pt x="84380" y="199621"/>
                  <a:pt x="82298" y="208414"/>
                  <a:pt x="72580" y="210033"/>
                </a:cubicBezTo>
                <a:cubicBezTo>
                  <a:pt x="71851" y="210108"/>
                  <a:pt x="71111" y="210108"/>
                  <a:pt x="70382" y="210033"/>
                </a:cubicBezTo>
                <a:cubicBezTo>
                  <a:pt x="62457" y="210033"/>
                  <a:pt x="62399" y="201935"/>
                  <a:pt x="62399" y="197076"/>
                </a:cubicBezTo>
                <a:cubicBezTo>
                  <a:pt x="62469" y="195676"/>
                  <a:pt x="62353" y="194276"/>
                  <a:pt x="62052" y="192911"/>
                </a:cubicBezTo>
                <a:lnTo>
                  <a:pt x="61647" y="192911"/>
                </a:lnTo>
                <a:cubicBezTo>
                  <a:pt x="60201" y="193663"/>
                  <a:pt x="58350" y="194878"/>
                  <a:pt x="56326" y="196208"/>
                </a:cubicBezTo>
                <a:cubicBezTo>
                  <a:pt x="52687" y="199222"/>
                  <a:pt x="48418" y="201380"/>
                  <a:pt x="43831" y="202513"/>
                </a:cubicBezTo>
                <a:cubicBezTo>
                  <a:pt x="42848" y="202513"/>
                  <a:pt x="40592" y="202166"/>
                  <a:pt x="40592" y="198753"/>
                </a:cubicBezTo>
                <a:cubicBezTo>
                  <a:pt x="40592" y="194242"/>
                  <a:pt x="46376" y="191870"/>
                  <a:pt x="52508" y="189556"/>
                </a:cubicBezTo>
                <a:cubicBezTo>
                  <a:pt x="58639" y="187242"/>
                  <a:pt x="63383" y="185796"/>
                  <a:pt x="63383" y="182384"/>
                </a:cubicBezTo>
                <a:cubicBezTo>
                  <a:pt x="63383" y="178971"/>
                  <a:pt x="60780" y="178797"/>
                  <a:pt x="57020" y="177640"/>
                </a:cubicBezTo>
                <a:cubicBezTo>
                  <a:pt x="53260" y="176484"/>
                  <a:pt x="47533" y="174748"/>
                  <a:pt x="48864" y="167518"/>
                </a:cubicBezTo>
                <a:cubicBezTo>
                  <a:pt x="50535" y="162017"/>
                  <a:pt x="53850" y="157152"/>
                  <a:pt x="58350" y="153577"/>
                </a:cubicBezTo>
                <a:cubicBezTo>
                  <a:pt x="59970" y="152015"/>
                  <a:pt x="62110" y="149933"/>
                  <a:pt x="62110" y="149239"/>
                </a:cubicBezTo>
                <a:lnTo>
                  <a:pt x="62110" y="149239"/>
                </a:lnTo>
                <a:cubicBezTo>
                  <a:pt x="61427" y="148892"/>
                  <a:pt x="60675" y="148695"/>
                  <a:pt x="59912" y="148660"/>
                </a:cubicBezTo>
                <a:cubicBezTo>
                  <a:pt x="51814" y="147735"/>
                  <a:pt x="39030" y="142471"/>
                  <a:pt x="37237" y="136397"/>
                </a:cubicBezTo>
                <a:cubicBezTo>
                  <a:pt x="36717" y="134176"/>
                  <a:pt x="37642" y="131862"/>
                  <a:pt x="39551" y="130613"/>
                </a:cubicBezTo>
                <a:cubicBezTo>
                  <a:pt x="41280" y="129074"/>
                  <a:pt x="43484" y="128178"/>
                  <a:pt x="45798" y="128068"/>
                </a:cubicBezTo>
                <a:cubicBezTo>
                  <a:pt x="49679" y="128652"/>
                  <a:pt x="53115" y="130891"/>
                  <a:pt x="55227" y="134199"/>
                </a:cubicBezTo>
                <a:cubicBezTo>
                  <a:pt x="55961" y="135084"/>
                  <a:pt x="56754" y="135911"/>
                  <a:pt x="57598" y="136687"/>
                </a:cubicBezTo>
                <a:cubicBezTo>
                  <a:pt x="58703" y="137884"/>
                  <a:pt x="60571" y="137959"/>
                  <a:pt x="61769" y="136854"/>
                </a:cubicBezTo>
                <a:cubicBezTo>
                  <a:pt x="61965" y="136669"/>
                  <a:pt x="62139" y="136455"/>
                  <a:pt x="62284" y="136224"/>
                </a:cubicBezTo>
                <a:cubicBezTo>
                  <a:pt x="63284" y="134454"/>
                  <a:pt x="63412" y="132319"/>
                  <a:pt x="62631" y="130439"/>
                </a:cubicBezTo>
                <a:cubicBezTo>
                  <a:pt x="61127" y="126448"/>
                  <a:pt x="64829" y="123267"/>
                  <a:pt x="68415" y="120259"/>
                </a:cubicBezTo>
                <a:cubicBezTo>
                  <a:pt x="72001" y="117251"/>
                  <a:pt x="74836" y="114764"/>
                  <a:pt x="74662" y="111524"/>
                </a:cubicBezTo>
                <a:cubicBezTo>
                  <a:pt x="74518" y="104114"/>
                  <a:pt x="76976" y="96890"/>
                  <a:pt x="81604" y="91105"/>
                </a:cubicBezTo>
                <a:cubicBezTo>
                  <a:pt x="84502" y="87860"/>
                  <a:pt x="88921" y="86426"/>
                  <a:pt x="93173" y="87345"/>
                </a:cubicBezTo>
                <a:cubicBezTo>
                  <a:pt x="99148" y="88641"/>
                  <a:pt x="105227" y="89376"/>
                  <a:pt x="111335" y="89543"/>
                </a:cubicBezTo>
                <a:cubicBezTo>
                  <a:pt x="114951" y="89885"/>
                  <a:pt x="118584" y="89052"/>
                  <a:pt x="121690" y="87172"/>
                </a:cubicBezTo>
                <a:cubicBezTo>
                  <a:pt x="123564" y="85413"/>
                  <a:pt x="125027" y="83261"/>
                  <a:pt x="125970" y="80867"/>
                </a:cubicBezTo>
                <a:cubicBezTo>
                  <a:pt x="127590" y="77743"/>
                  <a:pt x="129094" y="74735"/>
                  <a:pt x="131755" y="74735"/>
                </a:cubicBezTo>
                <a:cubicBezTo>
                  <a:pt x="133056" y="74851"/>
                  <a:pt x="134276" y="75401"/>
                  <a:pt x="135225" y="76297"/>
                </a:cubicBezTo>
                <a:cubicBezTo>
                  <a:pt x="139563" y="80057"/>
                  <a:pt x="136671" y="83990"/>
                  <a:pt x="134358" y="87114"/>
                </a:cubicBezTo>
                <a:cubicBezTo>
                  <a:pt x="132854" y="89139"/>
                  <a:pt x="131292" y="91279"/>
                  <a:pt x="131581" y="92898"/>
                </a:cubicBezTo>
                <a:cubicBezTo>
                  <a:pt x="132507" y="99551"/>
                  <a:pt x="117004" y="113954"/>
                  <a:pt x="110236" y="116730"/>
                </a:cubicBezTo>
                <a:cubicBezTo>
                  <a:pt x="108952" y="117043"/>
                  <a:pt x="108154" y="118333"/>
                  <a:pt x="108443" y="119622"/>
                </a:cubicBezTo>
                <a:cubicBezTo>
                  <a:pt x="109757" y="123359"/>
                  <a:pt x="113846" y="125326"/>
                  <a:pt x="117588" y="124013"/>
                </a:cubicBezTo>
                <a:cubicBezTo>
                  <a:pt x="117941" y="123891"/>
                  <a:pt x="118288" y="123735"/>
                  <a:pt x="118624" y="123556"/>
                </a:cubicBezTo>
                <a:cubicBezTo>
                  <a:pt x="126890" y="121179"/>
                  <a:pt x="135486" y="120166"/>
                  <a:pt x="144075" y="120548"/>
                </a:cubicBezTo>
                <a:cubicBezTo>
                  <a:pt x="154025" y="120548"/>
                  <a:pt x="170742" y="121358"/>
                  <a:pt x="170742" y="127027"/>
                </a:cubicBezTo>
                <a:cubicBezTo>
                  <a:pt x="170742" y="134084"/>
                  <a:pt x="159520" y="168732"/>
                  <a:pt x="149224" y="175616"/>
                </a:cubicBezTo>
                <a:cubicBezTo>
                  <a:pt x="141935" y="180475"/>
                  <a:pt x="136960" y="188399"/>
                  <a:pt x="137655" y="190829"/>
                </a:cubicBezTo>
                <a:cubicBezTo>
                  <a:pt x="137655" y="190829"/>
                  <a:pt x="137655" y="191292"/>
                  <a:pt x="138580" y="191292"/>
                </a:cubicBezTo>
                <a:cubicBezTo>
                  <a:pt x="140055" y="191211"/>
                  <a:pt x="141530" y="191014"/>
                  <a:pt x="142976" y="190713"/>
                </a:cubicBezTo>
                <a:cubicBezTo>
                  <a:pt x="145707" y="190198"/>
                  <a:pt x="148472" y="189909"/>
                  <a:pt x="151248" y="189846"/>
                </a:cubicBezTo>
                <a:cubicBezTo>
                  <a:pt x="156327" y="189493"/>
                  <a:pt x="161255" y="191650"/>
                  <a:pt x="164436" y="195630"/>
                </a:cubicBezTo>
                <a:cubicBezTo>
                  <a:pt x="166739" y="198626"/>
                  <a:pt x="170048" y="200680"/>
                  <a:pt x="173750" y="201414"/>
                </a:cubicBezTo>
                <a:cubicBezTo>
                  <a:pt x="178331" y="201999"/>
                  <a:pt x="182010" y="205487"/>
                  <a:pt x="182831" y="210033"/>
                </a:cubicBezTo>
                <a:cubicBezTo>
                  <a:pt x="183178" y="211364"/>
                  <a:pt x="183467" y="212867"/>
                  <a:pt x="183814" y="214487"/>
                </a:cubicBezTo>
                <a:cubicBezTo>
                  <a:pt x="185955" y="225073"/>
                  <a:pt x="188905" y="239649"/>
                  <a:pt x="200127" y="242252"/>
                </a:cubicBezTo>
                <a:cubicBezTo>
                  <a:pt x="206651" y="244595"/>
                  <a:pt x="211996" y="249419"/>
                  <a:pt x="214993" y="255672"/>
                </a:cubicBezTo>
                <a:cubicBezTo>
                  <a:pt x="219053" y="262006"/>
                  <a:pt x="221332" y="269324"/>
                  <a:pt x="221587" y="276843"/>
                </a:cubicBezTo>
                <a:cubicBezTo>
                  <a:pt x="221488" y="279782"/>
                  <a:pt x="222362" y="282668"/>
                  <a:pt x="224074" y="285057"/>
                </a:cubicBezTo>
                <a:cubicBezTo>
                  <a:pt x="225289" y="287463"/>
                  <a:pt x="227348" y="289338"/>
                  <a:pt x="229859" y="290321"/>
                </a:cubicBezTo>
                <a:cubicBezTo>
                  <a:pt x="230668" y="290390"/>
                  <a:pt x="231403" y="290842"/>
                  <a:pt x="231825" y="291536"/>
                </a:cubicBezTo>
                <a:cubicBezTo>
                  <a:pt x="232519" y="292750"/>
                  <a:pt x="231825" y="294197"/>
                  <a:pt x="231247" y="296048"/>
                </a:cubicBezTo>
                <a:cubicBezTo>
                  <a:pt x="229644" y="299090"/>
                  <a:pt x="229644" y="302723"/>
                  <a:pt x="231247" y="305765"/>
                </a:cubicBezTo>
                <a:cubicBezTo>
                  <a:pt x="233387" y="309236"/>
                  <a:pt x="235932" y="311203"/>
                  <a:pt x="238188" y="311203"/>
                </a:cubicBezTo>
                <a:cubicBezTo>
                  <a:pt x="240271" y="310977"/>
                  <a:pt x="242006" y="309514"/>
                  <a:pt x="242584" y="307501"/>
                </a:cubicBezTo>
                <a:cubicBezTo>
                  <a:pt x="243163" y="306170"/>
                  <a:pt x="244782" y="304609"/>
                  <a:pt x="249005" y="304609"/>
                </a:cubicBezTo>
                <a:cubicBezTo>
                  <a:pt x="256820" y="305031"/>
                  <a:pt x="264224" y="308230"/>
                  <a:pt x="269887" y="313632"/>
                </a:cubicBezTo>
                <a:cubicBezTo>
                  <a:pt x="272206" y="315871"/>
                  <a:pt x="273485" y="318971"/>
                  <a:pt x="273415" y="322193"/>
                </a:cubicBezTo>
                <a:cubicBezTo>
                  <a:pt x="272837" y="331564"/>
                  <a:pt x="265201" y="337406"/>
                  <a:pt x="257913" y="343075"/>
                </a:cubicBezTo>
                <a:cubicBezTo>
                  <a:pt x="255316" y="344978"/>
                  <a:pt x="252823" y="347026"/>
                  <a:pt x="250451" y="349206"/>
                </a:cubicBezTo>
                <a:cubicBezTo>
                  <a:pt x="244667" y="354528"/>
                  <a:pt x="242816" y="359850"/>
                  <a:pt x="243741" y="362164"/>
                </a:cubicBezTo>
                <a:cubicBezTo>
                  <a:pt x="243741" y="362511"/>
                  <a:pt x="244262" y="363494"/>
                  <a:pt x="246344" y="363494"/>
                </a:cubicBezTo>
                <a:lnTo>
                  <a:pt x="247501" y="363494"/>
                </a:lnTo>
                <a:cubicBezTo>
                  <a:pt x="249416" y="363216"/>
                  <a:pt x="251348" y="363078"/>
                  <a:pt x="253286" y="363089"/>
                </a:cubicBezTo>
                <a:cubicBezTo>
                  <a:pt x="256814" y="363089"/>
                  <a:pt x="261268" y="363610"/>
                  <a:pt x="262251" y="366155"/>
                </a:cubicBezTo>
                <a:cubicBezTo>
                  <a:pt x="262830" y="367601"/>
                  <a:pt x="262251" y="369278"/>
                  <a:pt x="260227" y="371130"/>
                </a:cubicBezTo>
                <a:cubicBezTo>
                  <a:pt x="254442" y="376914"/>
                  <a:pt x="231883" y="387152"/>
                  <a:pt x="222049" y="387152"/>
                </a:cubicBezTo>
                <a:lnTo>
                  <a:pt x="219909" y="387152"/>
                </a:lnTo>
                <a:cubicBezTo>
                  <a:pt x="210145" y="387291"/>
                  <a:pt x="200497" y="389258"/>
                  <a:pt x="191450" y="392937"/>
                </a:cubicBezTo>
                <a:cubicBezTo>
                  <a:pt x="189194" y="394441"/>
                  <a:pt x="185087" y="392590"/>
                  <a:pt x="180633" y="390392"/>
                </a:cubicBezTo>
                <a:cubicBezTo>
                  <a:pt x="176179" y="388193"/>
                  <a:pt x="171609" y="386053"/>
                  <a:pt x="169700" y="387615"/>
                </a:cubicBezTo>
                <a:cubicBezTo>
                  <a:pt x="163627" y="393047"/>
                  <a:pt x="155390" y="395372"/>
                  <a:pt x="147373" y="393920"/>
                </a:cubicBezTo>
                <a:cubicBezTo>
                  <a:pt x="146285" y="393735"/>
                  <a:pt x="145180" y="393643"/>
                  <a:pt x="144075" y="393631"/>
                </a:cubicBezTo>
                <a:cubicBezTo>
                  <a:pt x="141056" y="393729"/>
                  <a:pt x="138083" y="394354"/>
                  <a:pt x="135283" y="395482"/>
                </a:cubicBezTo>
                <a:cubicBezTo>
                  <a:pt x="132871" y="396621"/>
                  <a:pt x="130181" y="397044"/>
                  <a:pt x="127532" y="396697"/>
                </a:cubicBezTo>
                <a:cubicBezTo>
                  <a:pt x="125854" y="396407"/>
                  <a:pt x="124640" y="399010"/>
                  <a:pt x="123425" y="401613"/>
                </a:cubicBezTo>
                <a:cubicBezTo>
                  <a:pt x="121690" y="405258"/>
                  <a:pt x="119665" y="409365"/>
                  <a:pt x="115558" y="408844"/>
                </a:cubicBezTo>
                <a:cubicBezTo>
                  <a:pt x="113302" y="408422"/>
                  <a:pt x="111185" y="407473"/>
                  <a:pt x="109369" y="406067"/>
                </a:cubicBezTo>
                <a:cubicBezTo>
                  <a:pt x="107333" y="404373"/>
                  <a:pt x="104788" y="403395"/>
                  <a:pt x="102138" y="403291"/>
                </a:cubicBezTo>
                <a:cubicBezTo>
                  <a:pt x="99981" y="403360"/>
                  <a:pt x="97858" y="403852"/>
                  <a:pt x="95891" y="404737"/>
                </a:cubicBezTo>
                <a:cubicBezTo>
                  <a:pt x="91431" y="406779"/>
                  <a:pt x="87365" y="409579"/>
                  <a:pt x="83859" y="413009"/>
                </a:cubicBezTo>
                <a:cubicBezTo>
                  <a:pt x="80331" y="414918"/>
                  <a:pt x="78364" y="416653"/>
                  <a:pt x="76398" y="416653"/>
                </a:cubicBezTo>
                <a:close/>
                <a:moveTo>
                  <a:pt x="116889" y="371245"/>
                </a:moveTo>
                <a:cubicBezTo>
                  <a:pt x="114488" y="371112"/>
                  <a:pt x="112093" y="371610"/>
                  <a:pt x="109947" y="372691"/>
                </a:cubicBezTo>
                <a:cubicBezTo>
                  <a:pt x="103295" y="376335"/>
                  <a:pt x="77265" y="400109"/>
                  <a:pt x="75241" y="410926"/>
                </a:cubicBezTo>
                <a:cubicBezTo>
                  <a:pt x="74946" y="411887"/>
                  <a:pt x="75096" y="412922"/>
                  <a:pt x="75646" y="413761"/>
                </a:cubicBezTo>
                <a:cubicBezTo>
                  <a:pt x="76108" y="414339"/>
                  <a:pt x="76456" y="414397"/>
                  <a:pt x="76687" y="414397"/>
                </a:cubicBezTo>
                <a:cubicBezTo>
                  <a:pt x="77844" y="414397"/>
                  <a:pt x="79695" y="412720"/>
                  <a:pt x="81835" y="410811"/>
                </a:cubicBezTo>
                <a:cubicBezTo>
                  <a:pt x="85520" y="407201"/>
                  <a:pt x="89806" y="404269"/>
                  <a:pt x="94503" y="402134"/>
                </a:cubicBezTo>
                <a:cubicBezTo>
                  <a:pt x="96747" y="401128"/>
                  <a:pt x="99165" y="400578"/>
                  <a:pt x="101618" y="400514"/>
                </a:cubicBezTo>
                <a:cubicBezTo>
                  <a:pt x="104712" y="400624"/>
                  <a:pt x="107691" y="401718"/>
                  <a:pt x="110121" y="403638"/>
                </a:cubicBezTo>
                <a:cubicBezTo>
                  <a:pt x="111625" y="404870"/>
                  <a:pt x="113412" y="405709"/>
                  <a:pt x="115327" y="406067"/>
                </a:cubicBezTo>
                <a:cubicBezTo>
                  <a:pt x="117988" y="406415"/>
                  <a:pt x="119376" y="403233"/>
                  <a:pt x="121111" y="400283"/>
                </a:cubicBezTo>
                <a:cubicBezTo>
                  <a:pt x="122847" y="397333"/>
                  <a:pt x="124524" y="393400"/>
                  <a:pt x="127821" y="394151"/>
                </a:cubicBezTo>
                <a:cubicBezTo>
                  <a:pt x="130042" y="394366"/>
                  <a:pt x="132275" y="393990"/>
                  <a:pt x="134300" y="393052"/>
                </a:cubicBezTo>
                <a:cubicBezTo>
                  <a:pt x="137325" y="391786"/>
                  <a:pt x="140564" y="391097"/>
                  <a:pt x="143844" y="391028"/>
                </a:cubicBezTo>
                <a:cubicBezTo>
                  <a:pt x="145082" y="391039"/>
                  <a:pt x="146320" y="391138"/>
                  <a:pt x="147546" y="391317"/>
                </a:cubicBezTo>
                <a:cubicBezTo>
                  <a:pt x="154898" y="392630"/>
                  <a:pt x="162447" y="390496"/>
                  <a:pt x="168023" y="385533"/>
                </a:cubicBezTo>
                <a:cubicBezTo>
                  <a:pt x="168960" y="384792"/>
                  <a:pt x="170128" y="384405"/>
                  <a:pt x="171320" y="384434"/>
                </a:cubicBezTo>
                <a:cubicBezTo>
                  <a:pt x="174895" y="384897"/>
                  <a:pt x="178325" y="386123"/>
                  <a:pt x="181385" y="388020"/>
                </a:cubicBezTo>
                <a:cubicBezTo>
                  <a:pt x="184914" y="389755"/>
                  <a:pt x="188731" y="391549"/>
                  <a:pt x="189946" y="390681"/>
                </a:cubicBezTo>
                <a:cubicBezTo>
                  <a:pt x="199404" y="386898"/>
                  <a:pt x="209491" y="384937"/>
                  <a:pt x="219678" y="384897"/>
                </a:cubicBezTo>
                <a:lnTo>
                  <a:pt x="221818" y="384897"/>
                </a:lnTo>
                <a:cubicBezTo>
                  <a:pt x="230842" y="384897"/>
                  <a:pt x="252938" y="374542"/>
                  <a:pt x="258433" y="369452"/>
                </a:cubicBezTo>
                <a:cubicBezTo>
                  <a:pt x="259764" y="368237"/>
                  <a:pt x="260111" y="367370"/>
                  <a:pt x="259937" y="366965"/>
                </a:cubicBezTo>
                <a:cubicBezTo>
                  <a:pt x="259764" y="366560"/>
                  <a:pt x="257335" y="365345"/>
                  <a:pt x="253054" y="365345"/>
                </a:cubicBezTo>
                <a:cubicBezTo>
                  <a:pt x="251255" y="365339"/>
                  <a:pt x="249456" y="365472"/>
                  <a:pt x="247674" y="365750"/>
                </a:cubicBezTo>
                <a:cubicBezTo>
                  <a:pt x="243510" y="366328"/>
                  <a:pt x="241890" y="364304"/>
                  <a:pt x="241485" y="363089"/>
                </a:cubicBezTo>
                <a:cubicBezTo>
                  <a:pt x="239981" y="359445"/>
                  <a:pt x="242989" y="353140"/>
                  <a:pt x="248716" y="347645"/>
                </a:cubicBezTo>
                <a:cubicBezTo>
                  <a:pt x="251145" y="345424"/>
                  <a:pt x="253696" y="343341"/>
                  <a:pt x="256351" y="341397"/>
                </a:cubicBezTo>
                <a:cubicBezTo>
                  <a:pt x="263292" y="336076"/>
                  <a:pt x="270465" y="330523"/>
                  <a:pt x="270986" y="322135"/>
                </a:cubicBezTo>
                <a:cubicBezTo>
                  <a:pt x="271044" y="319521"/>
                  <a:pt x="269968" y="317010"/>
                  <a:pt x="268036" y="315252"/>
                </a:cubicBezTo>
                <a:cubicBezTo>
                  <a:pt x="262824" y="310295"/>
                  <a:pt x="256016" y="307362"/>
                  <a:pt x="248831" y="306980"/>
                </a:cubicBezTo>
                <a:cubicBezTo>
                  <a:pt x="246517" y="306980"/>
                  <a:pt x="244898" y="307559"/>
                  <a:pt x="244493" y="308542"/>
                </a:cubicBezTo>
                <a:cubicBezTo>
                  <a:pt x="243585" y="311399"/>
                  <a:pt x="241011" y="313401"/>
                  <a:pt x="238015" y="313574"/>
                </a:cubicBezTo>
                <a:cubicBezTo>
                  <a:pt x="234162" y="313037"/>
                  <a:pt x="230836" y="310607"/>
                  <a:pt x="229164" y="307096"/>
                </a:cubicBezTo>
                <a:cubicBezTo>
                  <a:pt x="227261" y="303475"/>
                  <a:pt x="227261" y="299148"/>
                  <a:pt x="229164" y="295527"/>
                </a:cubicBezTo>
                <a:cubicBezTo>
                  <a:pt x="229523" y="294700"/>
                  <a:pt x="229755" y="293821"/>
                  <a:pt x="229859" y="292924"/>
                </a:cubicBezTo>
                <a:lnTo>
                  <a:pt x="229859" y="292924"/>
                </a:lnTo>
                <a:lnTo>
                  <a:pt x="229454" y="292924"/>
                </a:lnTo>
                <a:cubicBezTo>
                  <a:pt x="226214" y="292346"/>
                  <a:pt x="223669" y="288296"/>
                  <a:pt x="222397" y="286619"/>
                </a:cubicBezTo>
                <a:cubicBezTo>
                  <a:pt x="220332" y="283692"/>
                  <a:pt x="219383" y="280117"/>
                  <a:pt x="219736" y="276554"/>
                </a:cubicBezTo>
                <a:cubicBezTo>
                  <a:pt x="219169" y="269676"/>
                  <a:pt x="216965" y="263030"/>
                  <a:pt x="213315" y="257176"/>
                </a:cubicBezTo>
                <a:cubicBezTo>
                  <a:pt x="210590" y="251519"/>
                  <a:pt x="205813" y="247117"/>
                  <a:pt x="199953" y="244855"/>
                </a:cubicBezTo>
                <a:cubicBezTo>
                  <a:pt x="187285" y="241905"/>
                  <a:pt x="184162" y="226519"/>
                  <a:pt x="181848" y="215297"/>
                </a:cubicBezTo>
                <a:cubicBezTo>
                  <a:pt x="181848" y="213735"/>
                  <a:pt x="181269" y="212231"/>
                  <a:pt x="180922" y="210901"/>
                </a:cubicBezTo>
                <a:cubicBezTo>
                  <a:pt x="179765" y="205868"/>
                  <a:pt x="177104" y="205116"/>
                  <a:pt x="173403" y="204017"/>
                </a:cubicBezTo>
                <a:cubicBezTo>
                  <a:pt x="169284" y="203167"/>
                  <a:pt x="165599" y="200894"/>
                  <a:pt x="162990" y="197597"/>
                </a:cubicBezTo>
                <a:cubicBezTo>
                  <a:pt x="160202" y="194114"/>
                  <a:pt x="155870" y="192234"/>
                  <a:pt x="151421" y="192564"/>
                </a:cubicBezTo>
                <a:cubicBezTo>
                  <a:pt x="148778" y="192634"/>
                  <a:pt x="146146" y="192923"/>
                  <a:pt x="143555" y="193432"/>
                </a:cubicBezTo>
                <a:lnTo>
                  <a:pt x="139159" y="194010"/>
                </a:lnTo>
                <a:lnTo>
                  <a:pt x="138580" y="194010"/>
                </a:lnTo>
                <a:cubicBezTo>
                  <a:pt x="137209" y="194132"/>
                  <a:pt x="135943" y="193293"/>
                  <a:pt x="135514" y="191986"/>
                </a:cubicBezTo>
                <a:cubicBezTo>
                  <a:pt x="134300" y="187937"/>
                  <a:pt x="140489" y="179144"/>
                  <a:pt x="147951" y="174170"/>
                </a:cubicBezTo>
                <a:cubicBezTo>
                  <a:pt x="157264" y="167980"/>
                  <a:pt x="168486" y="133679"/>
                  <a:pt x="168486" y="127489"/>
                </a:cubicBezTo>
                <a:cubicBezTo>
                  <a:pt x="168486" y="125696"/>
                  <a:pt x="160908" y="123267"/>
                  <a:pt x="144075" y="123267"/>
                </a:cubicBezTo>
                <a:cubicBezTo>
                  <a:pt x="135821" y="122879"/>
                  <a:pt x="127561" y="123816"/>
                  <a:pt x="119607" y="126043"/>
                </a:cubicBezTo>
                <a:cubicBezTo>
                  <a:pt x="118265" y="126743"/>
                  <a:pt x="116779" y="127119"/>
                  <a:pt x="115269" y="127142"/>
                </a:cubicBezTo>
                <a:cubicBezTo>
                  <a:pt x="111127" y="127194"/>
                  <a:pt x="107454" y="124505"/>
                  <a:pt x="106245" y="120548"/>
                </a:cubicBezTo>
                <a:cubicBezTo>
                  <a:pt x="105719" y="118182"/>
                  <a:pt x="107107" y="115811"/>
                  <a:pt x="109427" y="115111"/>
                </a:cubicBezTo>
                <a:cubicBezTo>
                  <a:pt x="116310" y="112276"/>
                  <a:pt x="129961" y="98336"/>
                  <a:pt x="129325" y="93708"/>
                </a:cubicBezTo>
                <a:cubicBezTo>
                  <a:pt x="129360" y="90833"/>
                  <a:pt x="130500" y="88074"/>
                  <a:pt x="132507" y="86015"/>
                </a:cubicBezTo>
                <a:cubicBezTo>
                  <a:pt x="135052" y="82602"/>
                  <a:pt x="136382" y="80231"/>
                  <a:pt x="133721" y="78206"/>
                </a:cubicBezTo>
                <a:cubicBezTo>
                  <a:pt x="133189" y="77674"/>
                  <a:pt x="132501" y="77327"/>
                  <a:pt x="131755" y="77223"/>
                </a:cubicBezTo>
                <a:cubicBezTo>
                  <a:pt x="130424" y="77223"/>
                  <a:pt x="129152" y="79710"/>
                  <a:pt x="127937" y="82139"/>
                </a:cubicBezTo>
                <a:cubicBezTo>
                  <a:pt x="126815" y="84812"/>
                  <a:pt x="125143" y="87218"/>
                  <a:pt x="123020" y="89196"/>
                </a:cubicBezTo>
                <a:cubicBezTo>
                  <a:pt x="119561" y="91348"/>
                  <a:pt x="115512" y="92337"/>
                  <a:pt x="111451" y="92031"/>
                </a:cubicBezTo>
                <a:cubicBezTo>
                  <a:pt x="105187" y="91875"/>
                  <a:pt x="98945" y="91117"/>
                  <a:pt x="92826" y="89775"/>
                </a:cubicBezTo>
                <a:cubicBezTo>
                  <a:pt x="89401" y="89063"/>
                  <a:pt x="85861" y="90261"/>
                  <a:pt x="83570" y="92898"/>
                </a:cubicBezTo>
                <a:cubicBezTo>
                  <a:pt x="79313" y="98203"/>
                  <a:pt x="77057" y="104837"/>
                  <a:pt x="77208" y="111640"/>
                </a:cubicBezTo>
                <a:cubicBezTo>
                  <a:pt x="77208" y="115978"/>
                  <a:pt x="73563" y="119275"/>
                  <a:pt x="70150" y="122168"/>
                </a:cubicBezTo>
                <a:cubicBezTo>
                  <a:pt x="66738" y="125060"/>
                  <a:pt x="64366" y="127547"/>
                  <a:pt x="65002" y="129861"/>
                </a:cubicBezTo>
                <a:cubicBezTo>
                  <a:pt x="66124" y="132476"/>
                  <a:pt x="65904" y="135472"/>
                  <a:pt x="64424" y="137901"/>
                </a:cubicBezTo>
                <a:cubicBezTo>
                  <a:pt x="62816" y="140319"/>
                  <a:pt x="59547" y="140979"/>
                  <a:pt x="57124" y="139365"/>
                </a:cubicBezTo>
                <a:cubicBezTo>
                  <a:pt x="56858" y="139191"/>
                  <a:pt x="56615" y="138989"/>
                  <a:pt x="56383" y="138769"/>
                </a:cubicBezTo>
                <a:cubicBezTo>
                  <a:pt x="55481" y="137936"/>
                  <a:pt x="54631" y="137051"/>
                  <a:pt x="53838" y="136108"/>
                </a:cubicBezTo>
                <a:cubicBezTo>
                  <a:pt x="51583" y="133563"/>
                  <a:pt x="49095" y="130729"/>
                  <a:pt x="46087" y="130729"/>
                </a:cubicBezTo>
                <a:cubicBezTo>
                  <a:pt x="44294" y="130844"/>
                  <a:pt x="42599" y="131579"/>
                  <a:pt x="41286" y="132811"/>
                </a:cubicBezTo>
                <a:cubicBezTo>
                  <a:pt x="39204" y="134431"/>
                  <a:pt x="39609" y="135877"/>
                  <a:pt x="39724" y="136340"/>
                </a:cubicBezTo>
                <a:cubicBezTo>
                  <a:pt x="40997" y="140851"/>
                  <a:pt x="52392" y="145999"/>
                  <a:pt x="60433" y="146925"/>
                </a:cubicBezTo>
                <a:cubicBezTo>
                  <a:pt x="62110" y="146925"/>
                  <a:pt x="64019" y="147561"/>
                  <a:pt x="64540" y="149065"/>
                </a:cubicBezTo>
                <a:cubicBezTo>
                  <a:pt x="65060" y="150569"/>
                  <a:pt x="63209" y="152825"/>
                  <a:pt x="60201" y="155717"/>
                </a:cubicBezTo>
                <a:cubicBezTo>
                  <a:pt x="56071" y="159003"/>
                  <a:pt x="53000" y="163428"/>
                  <a:pt x="51351" y="168443"/>
                </a:cubicBezTo>
                <a:cubicBezTo>
                  <a:pt x="50483" y="173476"/>
                  <a:pt x="53318" y="174575"/>
                  <a:pt x="58003" y="176021"/>
                </a:cubicBezTo>
                <a:cubicBezTo>
                  <a:pt x="61474" y="177120"/>
                  <a:pt x="65465" y="178334"/>
                  <a:pt x="65928" y="182673"/>
                </a:cubicBezTo>
                <a:cubicBezTo>
                  <a:pt x="66391" y="187011"/>
                  <a:pt x="60143" y="190193"/>
                  <a:pt x="53781" y="192622"/>
                </a:cubicBezTo>
                <a:cubicBezTo>
                  <a:pt x="48632" y="194647"/>
                  <a:pt x="43311" y="196729"/>
                  <a:pt x="43311" y="199737"/>
                </a:cubicBezTo>
                <a:cubicBezTo>
                  <a:pt x="43311" y="201241"/>
                  <a:pt x="43831" y="201241"/>
                  <a:pt x="44294" y="201241"/>
                </a:cubicBezTo>
                <a:cubicBezTo>
                  <a:pt x="48488" y="200084"/>
                  <a:pt x="52421" y="198117"/>
                  <a:pt x="55863" y="195456"/>
                </a:cubicBezTo>
                <a:cubicBezTo>
                  <a:pt x="57887" y="194126"/>
                  <a:pt x="59796" y="192853"/>
                  <a:pt x="61300" y="192043"/>
                </a:cubicBezTo>
                <a:cubicBezTo>
                  <a:pt x="61780" y="191772"/>
                  <a:pt x="62313" y="191616"/>
                  <a:pt x="62862" y="191581"/>
                </a:cubicBezTo>
                <a:cubicBezTo>
                  <a:pt x="65349" y="191581"/>
                  <a:pt x="65349" y="194704"/>
                  <a:pt x="65407" y="198001"/>
                </a:cubicBezTo>
                <a:cubicBezTo>
                  <a:pt x="65407" y="204711"/>
                  <a:pt x="66044" y="209570"/>
                  <a:pt x="72985" y="208529"/>
                </a:cubicBezTo>
                <a:cubicBezTo>
                  <a:pt x="81199" y="207141"/>
                  <a:pt x="82876" y="199852"/>
                  <a:pt x="84553" y="194010"/>
                </a:cubicBezTo>
                <a:cubicBezTo>
                  <a:pt x="85421" y="190308"/>
                  <a:pt x="86231" y="187069"/>
                  <a:pt x="88892" y="187069"/>
                </a:cubicBezTo>
                <a:lnTo>
                  <a:pt x="89355" y="187069"/>
                </a:lnTo>
                <a:cubicBezTo>
                  <a:pt x="90263" y="187115"/>
                  <a:pt x="91102" y="187584"/>
                  <a:pt x="91611" y="188342"/>
                </a:cubicBezTo>
                <a:cubicBezTo>
                  <a:pt x="92652" y="189788"/>
                  <a:pt x="92247" y="191928"/>
                  <a:pt x="91611" y="194647"/>
                </a:cubicBezTo>
                <a:cubicBezTo>
                  <a:pt x="90373" y="198580"/>
                  <a:pt x="90581" y="202826"/>
                  <a:pt x="92189" y="206620"/>
                </a:cubicBezTo>
                <a:cubicBezTo>
                  <a:pt x="95081" y="212405"/>
                  <a:pt x="90743" y="219057"/>
                  <a:pt x="86925" y="225130"/>
                </a:cubicBezTo>
                <a:cubicBezTo>
                  <a:pt x="84669" y="228717"/>
                  <a:pt x="82298" y="232419"/>
                  <a:pt x="82587" y="234443"/>
                </a:cubicBezTo>
                <a:cubicBezTo>
                  <a:pt x="82876" y="236468"/>
                  <a:pt x="86694" y="237625"/>
                  <a:pt x="94908" y="237625"/>
                </a:cubicBezTo>
                <a:cubicBezTo>
                  <a:pt x="103122" y="237625"/>
                  <a:pt x="114864" y="235311"/>
                  <a:pt x="119839" y="230163"/>
                </a:cubicBezTo>
                <a:cubicBezTo>
                  <a:pt x="121695" y="227849"/>
                  <a:pt x="124362" y="226339"/>
                  <a:pt x="127300" y="225940"/>
                </a:cubicBezTo>
                <a:cubicBezTo>
                  <a:pt x="129129" y="225923"/>
                  <a:pt x="130777" y="227028"/>
                  <a:pt x="131465" y="228717"/>
                </a:cubicBezTo>
                <a:cubicBezTo>
                  <a:pt x="132726" y="232616"/>
                  <a:pt x="131674" y="236896"/>
                  <a:pt x="128747" y="239765"/>
                </a:cubicBezTo>
                <a:cubicBezTo>
                  <a:pt x="126306" y="242015"/>
                  <a:pt x="125155" y="245335"/>
                  <a:pt x="125681" y="248615"/>
                </a:cubicBezTo>
                <a:cubicBezTo>
                  <a:pt x="126832" y="251779"/>
                  <a:pt x="129476" y="254163"/>
                  <a:pt x="132738" y="254978"/>
                </a:cubicBezTo>
                <a:lnTo>
                  <a:pt x="133259" y="254978"/>
                </a:lnTo>
                <a:cubicBezTo>
                  <a:pt x="138175" y="256656"/>
                  <a:pt x="141183" y="257697"/>
                  <a:pt x="142051" y="260068"/>
                </a:cubicBezTo>
                <a:cubicBezTo>
                  <a:pt x="142919" y="262440"/>
                  <a:pt x="142051" y="263597"/>
                  <a:pt x="140605" y="266489"/>
                </a:cubicBezTo>
                <a:cubicBezTo>
                  <a:pt x="138968" y="270880"/>
                  <a:pt x="138413" y="275605"/>
                  <a:pt x="138985" y="280256"/>
                </a:cubicBezTo>
                <a:cubicBezTo>
                  <a:pt x="139332" y="283819"/>
                  <a:pt x="139078" y="287417"/>
                  <a:pt x="138233" y="290900"/>
                </a:cubicBezTo>
                <a:cubicBezTo>
                  <a:pt x="136671" y="295701"/>
                  <a:pt x="125681" y="296048"/>
                  <a:pt x="122384" y="296048"/>
                </a:cubicBezTo>
                <a:cubicBezTo>
                  <a:pt x="120128" y="296048"/>
                  <a:pt x="108964" y="296048"/>
                  <a:pt x="108212" y="291998"/>
                </a:cubicBezTo>
                <a:cubicBezTo>
                  <a:pt x="108212" y="291073"/>
                  <a:pt x="106766" y="291015"/>
                  <a:pt x="106245" y="291015"/>
                </a:cubicBezTo>
                <a:cubicBezTo>
                  <a:pt x="104533" y="290980"/>
                  <a:pt x="102908" y="291750"/>
                  <a:pt x="101849" y="293097"/>
                </a:cubicBezTo>
                <a:cubicBezTo>
                  <a:pt x="101386" y="293902"/>
                  <a:pt x="101386" y="294896"/>
                  <a:pt x="101849" y="295701"/>
                </a:cubicBezTo>
                <a:cubicBezTo>
                  <a:pt x="103758" y="299460"/>
                  <a:pt x="100576" y="303105"/>
                  <a:pt x="97742" y="306344"/>
                </a:cubicBezTo>
                <a:cubicBezTo>
                  <a:pt x="95718" y="308658"/>
                  <a:pt x="93577" y="311087"/>
                  <a:pt x="93867" y="312996"/>
                </a:cubicBezTo>
                <a:cubicBezTo>
                  <a:pt x="94156" y="314905"/>
                  <a:pt x="97453" y="315715"/>
                  <a:pt x="100634" y="316698"/>
                </a:cubicBezTo>
                <a:cubicBezTo>
                  <a:pt x="104915" y="317971"/>
                  <a:pt x="109774" y="319417"/>
                  <a:pt x="110063" y="323639"/>
                </a:cubicBezTo>
                <a:cubicBezTo>
                  <a:pt x="110468" y="330523"/>
                  <a:pt x="99362" y="338621"/>
                  <a:pt x="82992" y="343306"/>
                </a:cubicBezTo>
                <a:cubicBezTo>
                  <a:pt x="80967" y="343885"/>
                  <a:pt x="77612" y="345215"/>
                  <a:pt x="77960" y="347471"/>
                </a:cubicBezTo>
                <a:cubicBezTo>
                  <a:pt x="78307" y="349727"/>
                  <a:pt x="83744" y="353718"/>
                  <a:pt x="88603" y="353718"/>
                </a:cubicBezTo>
                <a:cubicBezTo>
                  <a:pt x="89997" y="353788"/>
                  <a:pt x="91379" y="353400"/>
                  <a:pt x="92536" y="352619"/>
                </a:cubicBezTo>
                <a:cubicBezTo>
                  <a:pt x="93785" y="351549"/>
                  <a:pt x="95347" y="350901"/>
                  <a:pt x="96990" y="350768"/>
                </a:cubicBezTo>
                <a:cubicBezTo>
                  <a:pt x="98587" y="350867"/>
                  <a:pt x="100073" y="351619"/>
                  <a:pt x="101097" y="352851"/>
                </a:cubicBezTo>
                <a:cubicBezTo>
                  <a:pt x="103266" y="355014"/>
                  <a:pt x="106251" y="356171"/>
                  <a:pt x="109311" y="356032"/>
                </a:cubicBezTo>
                <a:cubicBezTo>
                  <a:pt x="113314" y="356235"/>
                  <a:pt x="117236" y="357195"/>
                  <a:pt x="120880" y="358867"/>
                </a:cubicBezTo>
                <a:cubicBezTo>
                  <a:pt x="124125" y="360341"/>
                  <a:pt x="127619" y="361203"/>
                  <a:pt x="131176" y="361412"/>
                </a:cubicBezTo>
                <a:cubicBezTo>
                  <a:pt x="133317" y="361394"/>
                  <a:pt x="135433" y="360984"/>
                  <a:pt x="137423" y="360197"/>
                </a:cubicBezTo>
                <a:cubicBezTo>
                  <a:pt x="139783" y="359156"/>
                  <a:pt x="142311" y="358525"/>
                  <a:pt x="144885" y="358346"/>
                </a:cubicBezTo>
                <a:cubicBezTo>
                  <a:pt x="146852" y="358346"/>
                  <a:pt x="147546" y="359156"/>
                  <a:pt x="147778" y="359908"/>
                </a:cubicBezTo>
                <a:cubicBezTo>
                  <a:pt x="148472" y="361932"/>
                  <a:pt x="146158" y="364940"/>
                  <a:pt x="140952" y="368989"/>
                </a:cubicBezTo>
                <a:cubicBezTo>
                  <a:pt x="137574" y="371355"/>
                  <a:pt x="133502" y="372535"/>
                  <a:pt x="129383" y="372344"/>
                </a:cubicBezTo>
                <a:cubicBezTo>
                  <a:pt x="127300" y="372344"/>
                  <a:pt x="125218" y="372344"/>
                  <a:pt x="123194" y="372055"/>
                </a:cubicBezTo>
                <a:cubicBezTo>
                  <a:pt x="121169" y="371766"/>
                  <a:pt x="118508" y="371245"/>
                  <a:pt x="116715" y="371245"/>
                </a:cubicBezTo>
                <a:close/>
                <a:moveTo>
                  <a:pt x="44930" y="266778"/>
                </a:moveTo>
                <a:cubicBezTo>
                  <a:pt x="44705" y="266854"/>
                  <a:pt x="44462" y="266854"/>
                  <a:pt x="44236" y="266778"/>
                </a:cubicBezTo>
                <a:cubicBezTo>
                  <a:pt x="40852" y="264349"/>
                  <a:pt x="37769" y="261538"/>
                  <a:pt x="35039" y="258391"/>
                </a:cubicBezTo>
                <a:cubicBezTo>
                  <a:pt x="32031" y="254862"/>
                  <a:pt x="29254" y="253011"/>
                  <a:pt x="27230" y="253011"/>
                </a:cubicBezTo>
                <a:cubicBezTo>
                  <a:pt x="23933" y="253011"/>
                  <a:pt x="21908" y="258044"/>
                  <a:pt x="21446" y="262729"/>
                </a:cubicBezTo>
                <a:cubicBezTo>
                  <a:pt x="20925" y="265911"/>
                  <a:pt x="18900" y="266373"/>
                  <a:pt x="17743" y="266373"/>
                </a:cubicBezTo>
                <a:cubicBezTo>
                  <a:pt x="14892" y="265899"/>
                  <a:pt x="12185" y="264794"/>
                  <a:pt x="9819" y="263134"/>
                </a:cubicBezTo>
                <a:cubicBezTo>
                  <a:pt x="7696" y="261792"/>
                  <a:pt x="5400" y="260739"/>
                  <a:pt x="2993" y="260011"/>
                </a:cubicBezTo>
                <a:cubicBezTo>
                  <a:pt x="1501" y="259779"/>
                  <a:pt x="303" y="258651"/>
                  <a:pt x="-15" y="257176"/>
                </a:cubicBezTo>
                <a:cubicBezTo>
                  <a:pt x="-940" y="252722"/>
                  <a:pt x="5133" y="244624"/>
                  <a:pt x="8720" y="242079"/>
                </a:cubicBezTo>
                <a:cubicBezTo>
                  <a:pt x="12485" y="237943"/>
                  <a:pt x="14909" y="232760"/>
                  <a:pt x="15661" y="227213"/>
                </a:cubicBezTo>
                <a:cubicBezTo>
                  <a:pt x="15771" y="226686"/>
                  <a:pt x="16222" y="226305"/>
                  <a:pt x="16760" y="226287"/>
                </a:cubicBezTo>
                <a:lnTo>
                  <a:pt x="16760" y="226287"/>
                </a:lnTo>
                <a:cubicBezTo>
                  <a:pt x="21156" y="225813"/>
                  <a:pt x="25402" y="224390"/>
                  <a:pt x="29197" y="222123"/>
                </a:cubicBezTo>
                <a:cubicBezTo>
                  <a:pt x="33425" y="219641"/>
                  <a:pt x="38145" y="218102"/>
                  <a:pt x="43021" y="217611"/>
                </a:cubicBezTo>
                <a:cubicBezTo>
                  <a:pt x="46272" y="217617"/>
                  <a:pt x="49390" y="218901"/>
                  <a:pt x="51698" y="221197"/>
                </a:cubicBezTo>
                <a:cubicBezTo>
                  <a:pt x="60664" y="229874"/>
                  <a:pt x="69919" y="238550"/>
                  <a:pt x="69977" y="246591"/>
                </a:cubicBezTo>
                <a:cubicBezTo>
                  <a:pt x="69965" y="249205"/>
                  <a:pt x="68907" y="251710"/>
                  <a:pt x="67027" y="253532"/>
                </a:cubicBezTo>
                <a:cubicBezTo>
                  <a:pt x="63492" y="256586"/>
                  <a:pt x="59409" y="258940"/>
                  <a:pt x="54995" y="260473"/>
                </a:cubicBezTo>
                <a:cubicBezTo>
                  <a:pt x="50657" y="262267"/>
                  <a:pt x="46955" y="263771"/>
                  <a:pt x="46261" y="266258"/>
                </a:cubicBezTo>
                <a:cubicBezTo>
                  <a:pt x="46139" y="266611"/>
                  <a:pt x="45862" y="266888"/>
                  <a:pt x="45509" y="267010"/>
                </a:cubicBezTo>
                <a:close/>
                <a:moveTo>
                  <a:pt x="27230" y="250524"/>
                </a:moveTo>
                <a:cubicBezTo>
                  <a:pt x="31134" y="251120"/>
                  <a:pt x="34605" y="253353"/>
                  <a:pt x="36774" y="256656"/>
                </a:cubicBezTo>
                <a:cubicBezTo>
                  <a:pt x="39082" y="259345"/>
                  <a:pt x="41679" y="261775"/>
                  <a:pt x="44525" y="263886"/>
                </a:cubicBezTo>
                <a:cubicBezTo>
                  <a:pt x="47042" y="261110"/>
                  <a:pt x="50292" y="259108"/>
                  <a:pt x="53896" y="258102"/>
                </a:cubicBezTo>
                <a:cubicBezTo>
                  <a:pt x="58038" y="256685"/>
                  <a:pt x="61867" y="254486"/>
                  <a:pt x="65176" y="251623"/>
                </a:cubicBezTo>
                <a:cubicBezTo>
                  <a:pt x="66639" y="250264"/>
                  <a:pt x="67478" y="248361"/>
                  <a:pt x="67490" y="246359"/>
                </a:cubicBezTo>
                <a:cubicBezTo>
                  <a:pt x="67490" y="239476"/>
                  <a:pt x="58119" y="230510"/>
                  <a:pt x="50136" y="222585"/>
                </a:cubicBezTo>
                <a:cubicBezTo>
                  <a:pt x="48274" y="220653"/>
                  <a:pt x="45705" y="219566"/>
                  <a:pt x="43021" y="219577"/>
                </a:cubicBezTo>
                <a:cubicBezTo>
                  <a:pt x="38481" y="220087"/>
                  <a:pt x="34102" y="221567"/>
                  <a:pt x="30180" y="223916"/>
                </a:cubicBezTo>
                <a:cubicBezTo>
                  <a:pt x="26310" y="226143"/>
                  <a:pt x="22047" y="227612"/>
                  <a:pt x="17628" y="228254"/>
                </a:cubicBezTo>
                <a:cubicBezTo>
                  <a:pt x="16795" y="234079"/>
                  <a:pt x="14094" y="239476"/>
                  <a:pt x="9935" y="243641"/>
                </a:cubicBezTo>
                <a:cubicBezTo>
                  <a:pt x="6695" y="245954"/>
                  <a:pt x="1489" y="253301"/>
                  <a:pt x="2125" y="256424"/>
                </a:cubicBezTo>
                <a:cubicBezTo>
                  <a:pt x="2287" y="257014"/>
                  <a:pt x="2791" y="257448"/>
                  <a:pt x="3398" y="257523"/>
                </a:cubicBezTo>
                <a:cubicBezTo>
                  <a:pt x="6047" y="258246"/>
                  <a:pt x="8564" y="259374"/>
                  <a:pt x="10860" y="260878"/>
                </a:cubicBezTo>
                <a:cubicBezTo>
                  <a:pt x="12919" y="262301"/>
                  <a:pt x="15239" y="263302"/>
                  <a:pt x="17686" y="263828"/>
                </a:cubicBezTo>
                <a:cubicBezTo>
                  <a:pt x="18090" y="263828"/>
                  <a:pt x="18842" y="263828"/>
                  <a:pt x="19132" y="262093"/>
                </a:cubicBezTo>
                <a:cubicBezTo>
                  <a:pt x="19479" y="258680"/>
                  <a:pt x="21446" y="250582"/>
                  <a:pt x="27230" y="250582"/>
                </a:cubicBezTo>
                <a:close/>
                <a:moveTo>
                  <a:pt x="28734" y="120317"/>
                </a:moveTo>
                <a:lnTo>
                  <a:pt x="28734" y="120317"/>
                </a:lnTo>
                <a:cubicBezTo>
                  <a:pt x="27912" y="120351"/>
                  <a:pt x="27114" y="120039"/>
                  <a:pt x="26536" y="119449"/>
                </a:cubicBezTo>
                <a:cubicBezTo>
                  <a:pt x="26085" y="118830"/>
                  <a:pt x="25859" y="118072"/>
                  <a:pt x="25900" y="117309"/>
                </a:cubicBezTo>
                <a:cubicBezTo>
                  <a:pt x="25900" y="110772"/>
                  <a:pt x="39088" y="93245"/>
                  <a:pt x="45451" y="93245"/>
                </a:cubicBezTo>
                <a:cubicBezTo>
                  <a:pt x="46058" y="93211"/>
                  <a:pt x="46573" y="93679"/>
                  <a:pt x="46608" y="94287"/>
                </a:cubicBezTo>
                <a:cubicBezTo>
                  <a:pt x="46608" y="94304"/>
                  <a:pt x="46608" y="94327"/>
                  <a:pt x="46608" y="94345"/>
                </a:cubicBezTo>
                <a:cubicBezTo>
                  <a:pt x="46608" y="94981"/>
                  <a:pt x="46087" y="95502"/>
                  <a:pt x="45451" y="95502"/>
                </a:cubicBezTo>
                <a:cubicBezTo>
                  <a:pt x="40534" y="95502"/>
                  <a:pt x="28098" y="112161"/>
                  <a:pt x="28098" y="117367"/>
                </a:cubicBezTo>
                <a:cubicBezTo>
                  <a:pt x="28034" y="117552"/>
                  <a:pt x="28034" y="117760"/>
                  <a:pt x="28098" y="117945"/>
                </a:cubicBezTo>
                <a:cubicBezTo>
                  <a:pt x="28098" y="117945"/>
                  <a:pt x="28098" y="117945"/>
                  <a:pt x="28560" y="117945"/>
                </a:cubicBezTo>
                <a:cubicBezTo>
                  <a:pt x="29168" y="117945"/>
                  <a:pt x="29659" y="118437"/>
                  <a:pt x="29659" y="119044"/>
                </a:cubicBezTo>
                <a:cubicBezTo>
                  <a:pt x="29659" y="119061"/>
                  <a:pt x="29659" y="119085"/>
                  <a:pt x="29659" y="119102"/>
                </a:cubicBezTo>
                <a:cubicBezTo>
                  <a:pt x="29787" y="119663"/>
                  <a:pt x="29440" y="120218"/>
                  <a:pt x="28878" y="120351"/>
                </a:cubicBezTo>
                <a:cubicBezTo>
                  <a:pt x="28809" y="120363"/>
                  <a:pt x="28746" y="120374"/>
                  <a:pt x="28676" y="120374"/>
                </a:cubicBezTo>
                <a:close/>
                <a:moveTo>
                  <a:pt x="184914" y="32914"/>
                </a:moveTo>
                <a:lnTo>
                  <a:pt x="184914" y="32914"/>
                </a:lnTo>
                <a:cubicBezTo>
                  <a:pt x="184277" y="32914"/>
                  <a:pt x="182600" y="32914"/>
                  <a:pt x="181732" y="26204"/>
                </a:cubicBezTo>
                <a:cubicBezTo>
                  <a:pt x="180575" y="17296"/>
                  <a:pt x="181732" y="2314"/>
                  <a:pt x="189483" y="174"/>
                </a:cubicBezTo>
                <a:cubicBezTo>
                  <a:pt x="191780" y="-717"/>
                  <a:pt x="194359" y="423"/>
                  <a:pt x="195245" y="2719"/>
                </a:cubicBezTo>
                <a:cubicBezTo>
                  <a:pt x="195250" y="2737"/>
                  <a:pt x="195262" y="2760"/>
                  <a:pt x="195268" y="2777"/>
                </a:cubicBezTo>
                <a:cubicBezTo>
                  <a:pt x="197928" y="9140"/>
                  <a:pt x="191855" y="26609"/>
                  <a:pt x="186128" y="32393"/>
                </a:cubicBezTo>
                <a:cubicBezTo>
                  <a:pt x="185793" y="32740"/>
                  <a:pt x="185336" y="32949"/>
                  <a:pt x="184856" y="32972"/>
                </a:cubicBezTo>
                <a:close/>
                <a:moveTo>
                  <a:pt x="191218" y="2199"/>
                </a:moveTo>
                <a:lnTo>
                  <a:pt x="190062" y="2199"/>
                </a:lnTo>
                <a:cubicBezTo>
                  <a:pt x="186996" y="3008"/>
                  <a:pt x="185434" y="6884"/>
                  <a:pt x="184682" y="9950"/>
                </a:cubicBezTo>
                <a:cubicBezTo>
                  <a:pt x="183011" y="16573"/>
                  <a:pt x="183011" y="23514"/>
                  <a:pt x="184682" y="30137"/>
                </a:cubicBezTo>
                <a:cubicBezTo>
                  <a:pt x="189657" y="24353"/>
                  <a:pt x="195094" y="8793"/>
                  <a:pt x="192896" y="3471"/>
                </a:cubicBezTo>
                <a:cubicBezTo>
                  <a:pt x="192589" y="2725"/>
                  <a:pt x="191855" y="2245"/>
                  <a:pt x="191045" y="225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6" name="Forma libre: forma 405">
            <a:extLst>
              <a:ext uri="{FF2B5EF4-FFF2-40B4-BE49-F238E27FC236}">
                <a16:creationId xmlns:a16="http://schemas.microsoft.com/office/drawing/2014/main" id="{9D09B394-1878-DD1E-97B6-DD8B066CBDEE}"/>
              </a:ext>
            </a:extLst>
          </p:cNvPr>
          <p:cNvSpPr/>
          <p:nvPr/>
        </p:nvSpPr>
        <p:spPr>
          <a:xfrm>
            <a:off x="5966028" y="2560946"/>
            <a:ext cx="273527" cy="416781"/>
          </a:xfrm>
          <a:custGeom>
            <a:avLst/>
            <a:gdLst>
              <a:gd name="connsiteX0" fmla="*/ 76398 w 273527"/>
              <a:gd name="connsiteY0" fmla="*/ 416653 h 416781"/>
              <a:gd name="connsiteX1" fmla="*/ 73621 w 273527"/>
              <a:gd name="connsiteY1" fmla="*/ 415207 h 416781"/>
              <a:gd name="connsiteX2" fmla="*/ 72753 w 273527"/>
              <a:gd name="connsiteY2" fmla="*/ 410521 h 416781"/>
              <a:gd name="connsiteX3" fmla="*/ 108675 w 273527"/>
              <a:gd name="connsiteY3" fmla="*/ 370667 h 416781"/>
              <a:gd name="connsiteX4" fmla="*/ 116715 w 273527"/>
              <a:gd name="connsiteY4" fmla="*/ 368989 h 416781"/>
              <a:gd name="connsiteX5" fmla="*/ 122499 w 273527"/>
              <a:gd name="connsiteY5" fmla="*/ 369336 h 416781"/>
              <a:gd name="connsiteX6" fmla="*/ 128284 w 273527"/>
              <a:gd name="connsiteY6" fmla="*/ 369336 h 416781"/>
              <a:gd name="connsiteX7" fmla="*/ 138580 w 273527"/>
              <a:gd name="connsiteY7" fmla="*/ 366444 h 416781"/>
              <a:gd name="connsiteX8" fmla="*/ 144654 w 273527"/>
              <a:gd name="connsiteY8" fmla="*/ 359850 h 416781"/>
              <a:gd name="connsiteX9" fmla="*/ 144365 w 273527"/>
              <a:gd name="connsiteY9" fmla="*/ 359850 h 416781"/>
              <a:gd name="connsiteX10" fmla="*/ 137712 w 273527"/>
              <a:gd name="connsiteY10" fmla="*/ 361527 h 416781"/>
              <a:gd name="connsiteX11" fmla="*/ 130656 w 273527"/>
              <a:gd name="connsiteY11" fmla="*/ 362916 h 416781"/>
              <a:gd name="connsiteX12" fmla="*/ 119550 w 273527"/>
              <a:gd name="connsiteY12" fmla="*/ 360197 h 416781"/>
              <a:gd name="connsiteX13" fmla="*/ 108617 w 273527"/>
              <a:gd name="connsiteY13" fmla="*/ 357594 h 416781"/>
              <a:gd name="connsiteX14" fmla="*/ 98957 w 273527"/>
              <a:gd name="connsiteY14" fmla="*/ 353776 h 416781"/>
              <a:gd name="connsiteX15" fmla="*/ 96296 w 273527"/>
              <a:gd name="connsiteY15" fmla="*/ 352272 h 416781"/>
              <a:gd name="connsiteX16" fmla="*/ 93115 w 273527"/>
              <a:gd name="connsiteY16" fmla="*/ 353718 h 416781"/>
              <a:gd name="connsiteX17" fmla="*/ 87909 w 273527"/>
              <a:gd name="connsiteY17" fmla="*/ 355222 h 416781"/>
              <a:gd name="connsiteX18" fmla="*/ 75009 w 273527"/>
              <a:gd name="connsiteY18" fmla="*/ 347066 h 416781"/>
              <a:gd name="connsiteX19" fmla="*/ 81719 w 273527"/>
              <a:gd name="connsiteY19" fmla="*/ 340414 h 416781"/>
              <a:gd name="connsiteX20" fmla="*/ 107113 w 273527"/>
              <a:gd name="connsiteY20" fmla="*/ 323061 h 416781"/>
              <a:gd name="connsiteX21" fmla="*/ 99304 w 273527"/>
              <a:gd name="connsiteY21" fmla="*/ 318144 h 416781"/>
              <a:gd name="connsiteX22" fmla="*/ 90974 w 273527"/>
              <a:gd name="connsiteY22" fmla="*/ 312649 h 416781"/>
              <a:gd name="connsiteX23" fmla="*/ 95371 w 273527"/>
              <a:gd name="connsiteY23" fmla="*/ 304146 h 416781"/>
              <a:gd name="connsiteX24" fmla="*/ 99188 w 273527"/>
              <a:gd name="connsiteY24" fmla="*/ 295990 h 416781"/>
              <a:gd name="connsiteX25" fmla="*/ 99188 w 273527"/>
              <a:gd name="connsiteY25" fmla="*/ 291247 h 416781"/>
              <a:gd name="connsiteX26" fmla="*/ 105493 w 273527"/>
              <a:gd name="connsiteY26" fmla="*/ 288065 h 416781"/>
              <a:gd name="connsiteX27" fmla="*/ 109716 w 273527"/>
              <a:gd name="connsiteY27" fmla="*/ 290842 h 416781"/>
              <a:gd name="connsiteX28" fmla="*/ 121632 w 273527"/>
              <a:gd name="connsiteY28" fmla="*/ 293097 h 416781"/>
              <a:gd name="connsiteX29" fmla="*/ 135341 w 273527"/>
              <a:gd name="connsiteY29" fmla="*/ 289511 h 416781"/>
              <a:gd name="connsiteX30" fmla="*/ 135977 w 273527"/>
              <a:gd name="connsiteY30" fmla="*/ 279620 h 416781"/>
              <a:gd name="connsiteX31" fmla="*/ 137886 w 273527"/>
              <a:gd name="connsiteY31" fmla="*/ 264638 h 416781"/>
              <a:gd name="connsiteX32" fmla="*/ 139216 w 273527"/>
              <a:gd name="connsiteY32" fmla="*/ 260184 h 416781"/>
              <a:gd name="connsiteX33" fmla="*/ 131755 w 273527"/>
              <a:gd name="connsiteY33" fmla="*/ 256424 h 416781"/>
              <a:gd name="connsiteX34" fmla="*/ 131234 w 273527"/>
              <a:gd name="connsiteY34" fmla="*/ 256424 h 416781"/>
              <a:gd name="connsiteX35" fmla="*/ 122731 w 273527"/>
              <a:gd name="connsiteY35" fmla="*/ 248557 h 416781"/>
              <a:gd name="connsiteX36" fmla="*/ 126317 w 273527"/>
              <a:gd name="connsiteY36" fmla="*/ 237625 h 416781"/>
              <a:gd name="connsiteX37" fmla="*/ 128689 w 273527"/>
              <a:gd name="connsiteY37" fmla="*/ 229006 h 416781"/>
              <a:gd name="connsiteX38" fmla="*/ 126548 w 273527"/>
              <a:gd name="connsiteY38" fmla="*/ 227560 h 416781"/>
              <a:gd name="connsiteX39" fmla="*/ 120764 w 273527"/>
              <a:gd name="connsiteY39" fmla="*/ 231088 h 416781"/>
              <a:gd name="connsiteX40" fmla="*/ 94214 w 273527"/>
              <a:gd name="connsiteY40" fmla="*/ 239244 h 416781"/>
              <a:gd name="connsiteX41" fmla="*/ 79637 w 273527"/>
              <a:gd name="connsiteY41" fmla="*/ 234096 h 416781"/>
              <a:gd name="connsiteX42" fmla="*/ 84322 w 273527"/>
              <a:gd name="connsiteY42" fmla="*/ 223280 h 416781"/>
              <a:gd name="connsiteX43" fmla="*/ 89470 w 273527"/>
              <a:gd name="connsiteY43" fmla="*/ 207025 h 416781"/>
              <a:gd name="connsiteX44" fmla="*/ 88718 w 273527"/>
              <a:gd name="connsiteY44" fmla="*/ 193547 h 416781"/>
              <a:gd name="connsiteX45" fmla="*/ 88718 w 273527"/>
              <a:gd name="connsiteY45" fmla="*/ 188978 h 416781"/>
              <a:gd name="connsiteX46" fmla="*/ 87966 w 273527"/>
              <a:gd name="connsiteY46" fmla="*/ 188631 h 416781"/>
              <a:gd name="connsiteX47" fmla="*/ 87966 w 273527"/>
              <a:gd name="connsiteY47" fmla="*/ 188631 h 416781"/>
              <a:gd name="connsiteX48" fmla="*/ 85710 w 273527"/>
              <a:gd name="connsiteY48" fmla="*/ 193837 h 416781"/>
              <a:gd name="connsiteX49" fmla="*/ 72580 w 273527"/>
              <a:gd name="connsiteY49" fmla="*/ 210033 h 416781"/>
              <a:gd name="connsiteX50" fmla="*/ 70382 w 273527"/>
              <a:gd name="connsiteY50" fmla="*/ 210033 h 416781"/>
              <a:gd name="connsiteX51" fmla="*/ 62399 w 273527"/>
              <a:gd name="connsiteY51" fmla="*/ 197076 h 416781"/>
              <a:gd name="connsiteX52" fmla="*/ 62052 w 273527"/>
              <a:gd name="connsiteY52" fmla="*/ 192911 h 416781"/>
              <a:gd name="connsiteX53" fmla="*/ 61647 w 273527"/>
              <a:gd name="connsiteY53" fmla="*/ 192911 h 416781"/>
              <a:gd name="connsiteX54" fmla="*/ 56326 w 273527"/>
              <a:gd name="connsiteY54" fmla="*/ 196208 h 416781"/>
              <a:gd name="connsiteX55" fmla="*/ 43831 w 273527"/>
              <a:gd name="connsiteY55" fmla="*/ 202513 h 416781"/>
              <a:gd name="connsiteX56" fmla="*/ 40592 w 273527"/>
              <a:gd name="connsiteY56" fmla="*/ 198753 h 416781"/>
              <a:gd name="connsiteX57" fmla="*/ 52508 w 273527"/>
              <a:gd name="connsiteY57" fmla="*/ 189556 h 416781"/>
              <a:gd name="connsiteX58" fmla="*/ 63383 w 273527"/>
              <a:gd name="connsiteY58" fmla="*/ 182384 h 416781"/>
              <a:gd name="connsiteX59" fmla="*/ 57020 w 273527"/>
              <a:gd name="connsiteY59" fmla="*/ 177640 h 416781"/>
              <a:gd name="connsiteX60" fmla="*/ 48864 w 273527"/>
              <a:gd name="connsiteY60" fmla="*/ 167518 h 416781"/>
              <a:gd name="connsiteX61" fmla="*/ 58350 w 273527"/>
              <a:gd name="connsiteY61" fmla="*/ 153577 h 416781"/>
              <a:gd name="connsiteX62" fmla="*/ 62110 w 273527"/>
              <a:gd name="connsiteY62" fmla="*/ 149239 h 416781"/>
              <a:gd name="connsiteX63" fmla="*/ 62110 w 273527"/>
              <a:gd name="connsiteY63" fmla="*/ 149239 h 416781"/>
              <a:gd name="connsiteX64" fmla="*/ 59912 w 273527"/>
              <a:gd name="connsiteY64" fmla="*/ 148660 h 416781"/>
              <a:gd name="connsiteX65" fmla="*/ 37237 w 273527"/>
              <a:gd name="connsiteY65" fmla="*/ 136397 h 416781"/>
              <a:gd name="connsiteX66" fmla="*/ 39551 w 273527"/>
              <a:gd name="connsiteY66" fmla="*/ 130613 h 416781"/>
              <a:gd name="connsiteX67" fmla="*/ 45798 w 273527"/>
              <a:gd name="connsiteY67" fmla="*/ 128068 h 416781"/>
              <a:gd name="connsiteX68" fmla="*/ 55227 w 273527"/>
              <a:gd name="connsiteY68" fmla="*/ 134199 h 416781"/>
              <a:gd name="connsiteX69" fmla="*/ 57598 w 273527"/>
              <a:gd name="connsiteY69" fmla="*/ 136687 h 416781"/>
              <a:gd name="connsiteX70" fmla="*/ 61769 w 273527"/>
              <a:gd name="connsiteY70" fmla="*/ 136854 h 416781"/>
              <a:gd name="connsiteX71" fmla="*/ 62284 w 273527"/>
              <a:gd name="connsiteY71" fmla="*/ 136224 h 416781"/>
              <a:gd name="connsiteX72" fmla="*/ 62631 w 273527"/>
              <a:gd name="connsiteY72" fmla="*/ 130439 h 416781"/>
              <a:gd name="connsiteX73" fmla="*/ 68415 w 273527"/>
              <a:gd name="connsiteY73" fmla="*/ 120259 h 416781"/>
              <a:gd name="connsiteX74" fmla="*/ 74662 w 273527"/>
              <a:gd name="connsiteY74" fmla="*/ 111524 h 416781"/>
              <a:gd name="connsiteX75" fmla="*/ 81604 w 273527"/>
              <a:gd name="connsiteY75" fmla="*/ 91105 h 416781"/>
              <a:gd name="connsiteX76" fmla="*/ 93173 w 273527"/>
              <a:gd name="connsiteY76" fmla="*/ 87345 h 416781"/>
              <a:gd name="connsiteX77" fmla="*/ 111335 w 273527"/>
              <a:gd name="connsiteY77" fmla="*/ 89543 h 416781"/>
              <a:gd name="connsiteX78" fmla="*/ 121690 w 273527"/>
              <a:gd name="connsiteY78" fmla="*/ 87172 h 416781"/>
              <a:gd name="connsiteX79" fmla="*/ 125970 w 273527"/>
              <a:gd name="connsiteY79" fmla="*/ 80867 h 416781"/>
              <a:gd name="connsiteX80" fmla="*/ 131755 w 273527"/>
              <a:gd name="connsiteY80" fmla="*/ 74735 h 416781"/>
              <a:gd name="connsiteX81" fmla="*/ 135225 w 273527"/>
              <a:gd name="connsiteY81" fmla="*/ 76297 h 416781"/>
              <a:gd name="connsiteX82" fmla="*/ 134358 w 273527"/>
              <a:gd name="connsiteY82" fmla="*/ 87114 h 416781"/>
              <a:gd name="connsiteX83" fmla="*/ 131581 w 273527"/>
              <a:gd name="connsiteY83" fmla="*/ 92898 h 416781"/>
              <a:gd name="connsiteX84" fmla="*/ 110236 w 273527"/>
              <a:gd name="connsiteY84" fmla="*/ 116730 h 416781"/>
              <a:gd name="connsiteX85" fmla="*/ 108443 w 273527"/>
              <a:gd name="connsiteY85" fmla="*/ 119622 h 416781"/>
              <a:gd name="connsiteX86" fmla="*/ 117588 w 273527"/>
              <a:gd name="connsiteY86" fmla="*/ 124013 h 416781"/>
              <a:gd name="connsiteX87" fmla="*/ 118624 w 273527"/>
              <a:gd name="connsiteY87" fmla="*/ 123556 h 416781"/>
              <a:gd name="connsiteX88" fmla="*/ 144075 w 273527"/>
              <a:gd name="connsiteY88" fmla="*/ 120548 h 416781"/>
              <a:gd name="connsiteX89" fmla="*/ 170742 w 273527"/>
              <a:gd name="connsiteY89" fmla="*/ 127027 h 416781"/>
              <a:gd name="connsiteX90" fmla="*/ 149224 w 273527"/>
              <a:gd name="connsiteY90" fmla="*/ 175616 h 416781"/>
              <a:gd name="connsiteX91" fmla="*/ 137655 w 273527"/>
              <a:gd name="connsiteY91" fmla="*/ 190829 h 416781"/>
              <a:gd name="connsiteX92" fmla="*/ 138580 w 273527"/>
              <a:gd name="connsiteY92" fmla="*/ 191292 h 416781"/>
              <a:gd name="connsiteX93" fmla="*/ 142976 w 273527"/>
              <a:gd name="connsiteY93" fmla="*/ 190713 h 416781"/>
              <a:gd name="connsiteX94" fmla="*/ 151248 w 273527"/>
              <a:gd name="connsiteY94" fmla="*/ 189846 h 416781"/>
              <a:gd name="connsiteX95" fmla="*/ 164436 w 273527"/>
              <a:gd name="connsiteY95" fmla="*/ 195630 h 416781"/>
              <a:gd name="connsiteX96" fmla="*/ 173750 w 273527"/>
              <a:gd name="connsiteY96" fmla="*/ 201414 h 416781"/>
              <a:gd name="connsiteX97" fmla="*/ 182831 w 273527"/>
              <a:gd name="connsiteY97" fmla="*/ 210033 h 416781"/>
              <a:gd name="connsiteX98" fmla="*/ 183814 w 273527"/>
              <a:gd name="connsiteY98" fmla="*/ 214487 h 416781"/>
              <a:gd name="connsiteX99" fmla="*/ 200127 w 273527"/>
              <a:gd name="connsiteY99" fmla="*/ 242252 h 416781"/>
              <a:gd name="connsiteX100" fmla="*/ 214993 w 273527"/>
              <a:gd name="connsiteY100" fmla="*/ 255672 h 416781"/>
              <a:gd name="connsiteX101" fmla="*/ 221587 w 273527"/>
              <a:gd name="connsiteY101" fmla="*/ 276843 h 416781"/>
              <a:gd name="connsiteX102" fmla="*/ 224074 w 273527"/>
              <a:gd name="connsiteY102" fmla="*/ 285057 h 416781"/>
              <a:gd name="connsiteX103" fmla="*/ 229859 w 273527"/>
              <a:gd name="connsiteY103" fmla="*/ 290321 h 416781"/>
              <a:gd name="connsiteX104" fmla="*/ 231825 w 273527"/>
              <a:gd name="connsiteY104" fmla="*/ 291536 h 416781"/>
              <a:gd name="connsiteX105" fmla="*/ 231247 w 273527"/>
              <a:gd name="connsiteY105" fmla="*/ 296048 h 416781"/>
              <a:gd name="connsiteX106" fmla="*/ 231247 w 273527"/>
              <a:gd name="connsiteY106" fmla="*/ 305765 h 416781"/>
              <a:gd name="connsiteX107" fmla="*/ 238188 w 273527"/>
              <a:gd name="connsiteY107" fmla="*/ 311203 h 416781"/>
              <a:gd name="connsiteX108" fmla="*/ 242584 w 273527"/>
              <a:gd name="connsiteY108" fmla="*/ 307501 h 416781"/>
              <a:gd name="connsiteX109" fmla="*/ 249005 w 273527"/>
              <a:gd name="connsiteY109" fmla="*/ 304609 h 416781"/>
              <a:gd name="connsiteX110" fmla="*/ 269887 w 273527"/>
              <a:gd name="connsiteY110" fmla="*/ 313632 h 416781"/>
              <a:gd name="connsiteX111" fmla="*/ 273415 w 273527"/>
              <a:gd name="connsiteY111" fmla="*/ 322193 h 416781"/>
              <a:gd name="connsiteX112" fmla="*/ 257913 w 273527"/>
              <a:gd name="connsiteY112" fmla="*/ 343075 h 416781"/>
              <a:gd name="connsiteX113" fmla="*/ 250451 w 273527"/>
              <a:gd name="connsiteY113" fmla="*/ 349206 h 416781"/>
              <a:gd name="connsiteX114" fmla="*/ 243741 w 273527"/>
              <a:gd name="connsiteY114" fmla="*/ 362164 h 416781"/>
              <a:gd name="connsiteX115" fmla="*/ 246344 w 273527"/>
              <a:gd name="connsiteY115" fmla="*/ 363494 h 416781"/>
              <a:gd name="connsiteX116" fmla="*/ 247501 w 273527"/>
              <a:gd name="connsiteY116" fmla="*/ 363494 h 416781"/>
              <a:gd name="connsiteX117" fmla="*/ 253286 w 273527"/>
              <a:gd name="connsiteY117" fmla="*/ 363089 h 416781"/>
              <a:gd name="connsiteX118" fmla="*/ 262251 w 273527"/>
              <a:gd name="connsiteY118" fmla="*/ 366155 h 416781"/>
              <a:gd name="connsiteX119" fmla="*/ 260227 w 273527"/>
              <a:gd name="connsiteY119" fmla="*/ 371130 h 416781"/>
              <a:gd name="connsiteX120" fmla="*/ 222049 w 273527"/>
              <a:gd name="connsiteY120" fmla="*/ 387152 h 416781"/>
              <a:gd name="connsiteX121" fmla="*/ 219909 w 273527"/>
              <a:gd name="connsiteY121" fmla="*/ 387152 h 416781"/>
              <a:gd name="connsiteX122" fmla="*/ 191450 w 273527"/>
              <a:gd name="connsiteY122" fmla="*/ 392937 h 416781"/>
              <a:gd name="connsiteX123" fmla="*/ 180633 w 273527"/>
              <a:gd name="connsiteY123" fmla="*/ 390392 h 416781"/>
              <a:gd name="connsiteX124" fmla="*/ 169700 w 273527"/>
              <a:gd name="connsiteY124" fmla="*/ 387615 h 416781"/>
              <a:gd name="connsiteX125" fmla="*/ 147373 w 273527"/>
              <a:gd name="connsiteY125" fmla="*/ 393920 h 416781"/>
              <a:gd name="connsiteX126" fmla="*/ 144075 w 273527"/>
              <a:gd name="connsiteY126" fmla="*/ 393631 h 416781"/>
              <a:gd name="connsiteX127" fmla="*/ 135283 w 273527"/>
              <a:gd name="connsiteY127" fmla="*/ 395482 h 416781"/>
              <a:gd name="connsiteX128" fmla="*/ 127532 w 273527"/>
              <a:gd name="connsiteY128" fmla="*/ 396697 h 416781"/>
              <a:gd name="connsiteX129" fmla="*/ 123425 w 273527"/>
              <a:gd name="connsiteY129" fmla="*/ 401613 h 416781"/>
              <a:gd name="connsiteX130" fmla="*/ 115558 w 273527"/>
              <a:gd name="connsiteY130" fmla="*/ 408844 h 416781"/>
              <a:gd name="connsiteX131" fmla="*/ 109369 w 273527"/>
              <a:gd name="connsiteY131" fmla="*/ 406067 h 416781"/>
              <a:gd name="connsiteX132" fmla="*/ 102138 w 273527"/>
              <a:gd name="connsiteY132" fmla="*/ 403291 h 416781"/>
              <a:gd name="connsiteX133" fmla="*/ 95891 w 273527"/>
              <a:gd name="connsiteY133" fmla="*/ 404737 h 416781"/>
              <a:gd name="connsiteX134" fmla="*/ 83859 w 273527"/>
              <a:gd name="connsiteY134" fmla="*/ 413009 h 416781"/>
              <a:gd name="connsiteX135" fmla="*/ 76398 w 273527"/>
              <a:gd name="connsiteY135" fmla="*/ 416653 h 416781"/>
              <a:gd name="connsiteX136" fmla="*/ 116889 w 273527"/>
              <a:gd name="connsiteY136" fmla="*/ 371245 h 416781"/>
              <a:gd name="connsiteX137" fmla="*/ 109947 w 273527"/>
              <a:gd name="connsiteY137" fmla="*/ 372691 h 416781"/>
              <a:gd name="connsiteX138" fmla="*/ 75241 w 273527"/>
              <a:gd name="connsiteY138" fmla="*/ 410926 h 416781"/>
              <a:gd name="connsiteX139" fmla="*/ 75646 w 273527"/>
              <a:gd name="connsiteY139" fmla="*/ 413761 h 416781"/>
              <a:gd name="connsiteX140" fmla="*/ 76687 w 273527"/>
              <a:gd name="connsiteY140" fmla="*/ 414397 h 416781"/>
              <a:gd name="connsiteX141" fmla="*/ 81835 w 273527"/>
              <a:gd name="connsiteY141" fmla="*/ 410811 h 416781"/>
              <a:gd name="connsiteX142" fmla="*/ 94503 w 273527"/>
              <a:gd name="connsiteY142" fmla="*/ 402134 h 416781"/>
              <a:gd name="connsiteX143" fmla="*/ 101618 w 273527"/>
              <a:gd name="connsiteY143" fmla="*/ 400514 h 416781"/>
              <a:gd name="connsiteX144" fmla="*/ 110121 w 273527"/>
              <a:gd name="connsiteY144" fmla="*/ 403638 h 416781"/>
              <a:gd name="connsiteX145" fmla="*/ 115327 w 273527"/>
              <a:gd name="connsiteY145" fmla="*/ 406067 h 416781"/>
              <a:gd name="connsiteX146" fmla="*/ 121111 w 273527"/>
              <a:gd name="connsiteY146" fmla="*/ 400283 h 416781"/>
              <a:gd name="connsiteX147" fmla="*/ 127821 w 273527"/>
              <a:gd name="connsiteY147" fmla="*/ 394151 h 416781"/>
              <a:gd name="connsiteX148" fmla="*/ 134300 w 273527"/>
              <a:gd name="connsiteY148" fmla="*/ 393052 h 416781"/>
              <a:gd name="connsiteX149" fmla="*/ 143844 w 273527"/>
              <a:gd name="connsiteY149" fmla="*/ 391028 h 416781"/>
              <a:gd name="connsiteX150" fmla="*/ 147546 w 273527"/>
              <a:gd name="connsiteY150" fmla="*/ 391317 h 416781"/>
              <a:gd name="connsiteX151" fmla="*/ 168023 w 273527"/>
              <a:gd name="connsiteY151" fmla="*/ 385533 h 416781"/>
              <a:gd name="connsiteX152" fmla="*/ 171320 w 273527"/>
              <a:gd name="connsiteY152" fmla="*/ 384434 h 416781"/>
              <a:gd name="connsiteX153" fmla="*/ 181385 w 273527"/>
              <a:gd name="connsiteY153" fmla="*/ 388020 h 416781"/>
              <a:gd name="connsiteX154" fmla="*/ 189946 w 273527"/>
              <a:gd name="connsiteY154" fmla="*/ 390681 h 416781"/>
              <a:gd name="connsiteX155" fmla="*/ 219678 w 273527"/>
              <a:gd name="connsiteY155" fmla="*/ 384897 h 416781"/>
              <a:gd name="connsiteX156" fmla="*/ 221818 w 273527"/>
              <a:gd name="connsiteY156" fmla="*/ 384897 h 416781"/>
              <a:gd name="connsiteX157" fmla="*/ 258433 w 273527"/>
              <a:gd name="connsiteY157" fmla="*/ 369452 h 416781"/>
              <a:gd name="connsiteX158" fmla="*/ 259937 w 273527"/>
              <a:gd name="connsiteY158" fmla="*/ 366965 h 416781"/>
              <a:gd name="connsiteX159" fmla="*/ 253054 w 273527"/>
              <a:gd name="connsiteY159" fmla="*/ 365345 h 416781"/>
              <a:gd name="connsiteX160" fmla="*/ 247674 w 273527"/>
              <a:gd name="connsiteY160" fmla="*/ 365750 h 416781"/>
              <a:gd name="connsiteX161" fmla="*/ 241485 w 273527"/>
              <a:gd name="connsiteY161" fmla="*/ 363089 h 416781"/>
              <a:gd name="connsiteX162" fmla="*/ 248716 w 273527"/>
              <a:gd name="connsiteY162" fmla="*/ 347645 h 416781"/>
              <a:gd name="connsiteX163" fmla="*/ 256351 w 273527"/>
              <a:gd name="connsiteY163" fmla="*/ 341397 h 416781"/>
              <a:gd name="connsiteX164" fmla="*/ 270986 w 273527"/>
              <a:gd name="connsiteY164" fmla="*/ 322135 h 416781"/>
              <a:gd name="connsiteX165" fmla="*/ 268036 w 273527"/>
              <a:gd name="connsiteY165" fmla="*/ 315252 h 416781"/>
              <a:gd name="connsiteX166" fmla="*/ 248831 w 273527"/>
              <a:gd name="connsiteY166" fmla="*/ 306980 h 416781"/>
              <a:gd name="connsiteX167" fmla="*/ 244493 w 273527"/>
              <a:gd name="connsiteY167" fmla="*/ 308542 h 416781"/>
              <a:gd name="connsiteX168" fmla="*/ 238015 w 273527"/>
              <a:gd name="connsiteY168" fmla="*/ 313574 h 416781"/>
              <a:gd name="connsiteX169" fmla="*/ 229164 w 273527"/>
              <a:gd name="connsiteY169" fmla="*/ 307096 h 416781"/>
              <a:gd name="connsiteX170" fmla="*/ 229164 w 273527"/>
              <a:gd name="connsiteY170" fmla="*/ 295527 h 416781"/>
              <a:gd name="connsiteX171" fmla="*/ 229859 w 273527"/>
              <a:gd name="connsiteY171" fmla="*/ 292924 h 416781"/>
              <a:gd name="connsiteX172" fmla="*/ 229859 w 273527"/>
              <a:gd name="connsiteY172" fmla="*/ 292924 h 416781"/>
              <a:gd name="connsiteX173" fmla="*/ 229454 w 273527"/>
              <a:gd name="connsiteY173" fmla="*/ 292924 h 416781"/>
              <a:gd name="connsiteX174" fmla="*/ 222397 w 273527"/>
              <a:gd name="connsiteY174" fmla="*/ 286619 h 416781"/>
              <a:gd name="connsiteX175" fmla="*/ 219736 w 273527"/>
              <a:gd name="connsiteY175" fmla="*/ 276554 h 416781"/>
              <a:gd name="connsiteX176" fmla="*/ 213315 w 273527"/>
              <a:gd name="connsiteY176" fmla="*/ 257176 h 416781"/>
              <a:gd name="connsiteX177" fmla="*/ 199953 w 273527"/>
              <a:gd name="connsiteY177" fmla="*/ 244855 h 416781"/>
              <a:gd name="connsiteX178" fmla="*/ 181848 w 273527"/>
              <a:gd name="connsiteY178" fmla="*/ 215297 h 416781"/>
              <a:gd name="connsiteX179" fmla="*/ 180922 w 273527"/>
              <a:gd name="connsiteY179" fmla="*/ 210901 h 416781"/>
              <a:gd name="connsiteX180" fmla="*/ 173403 w 273527"/>
              <a:gd name="connsiteY180" fmla="*/ 204017 h 416781"/>
              <a:gd name="connsiteX181" fmla="*/ 162990 w 273527"/>
              <a:gd name="connsiteY181" fmla="*/ 197597 h 416781"/>
              <a:gd name="connsiteX182" fmla="*/ 151421 w 273527"/>
              <a:gd name="connsiteY182" fmla="*/ 192564 h 416781"/>
              <a:gd name="connsiteX183" fmla="*/ 143555 w 273527"/>
              <a:gd name="connsiteY183" fmla="*/ 193432 h 416781"/>
              <a:gd name="connsiteX184" fmla="*/ 139159 w 273527"/>
              <a:gd name="connsiteY184" fmla="*/ 194010 h 416781"/>
              <a:gd name="connsiteX185" fmla="*/ 138580 w 273527"/>
              <a:gd name="connsiteY185" fmla="*/ 194010 h 416781"/>
              <a:gd name="connsiteX186" fmla="*/ 135514 w 273527"/>
              <a:gd name="connsiteY186" fmla="*/ 191986 h 416781"/>
              <a:gd name="connsiteX187" fmla="*/ 147951 w 273527"/>
              <a:gd name="connsiteY187" fmla="*/ 174170 h 416781"/>
              <a:gd name="connsiteX188" fmla="*/ 168486 w 273527"/>
              <a:gd name="connsiteY188" fmla="*/ 127489 h 416781"/>
              <a:gd name="connsiteX189" fmla="*/ 144075 w 273527"/>
              <a:gd name="connsiteY189" fmla="*/ 123267 h 416781"/>
              <a:gd name="connsiteX190" fmla="*/ 119607 w 273527"/>
              <a:gd name="connsiteY190" fmla="*/ 126043 h 416781"/>
              <a:gd name="connsiteX191" fmla="*/ 115269 w 273527"/>
              <a:gd name="connsiteY191" fmla="*/ 127142 h 416781"/>
              <a:gd name="connsiteX192" fmla="*/ 106245 w 273527"/>
              <a:gd name="connsiteY192" fmla="*/ 120548 h 416781"/>
              <a:gd name="connsiteX193" fmla="*/ 109427 w 273527"/>
              <a:gd name="connsiteY193" fmla="*/ 115111 h 416781"/>
              <a:gd name="connsiteX194" fmla="*/ 129325 w 273527"/>
              <a:gd name="connsiteY194" fmla="*/ 93708 h 416781"/>
              <a:gd name="connsiteX195" fmla="*/ 132507 w 273527"/>
              <a:gd name="connsiteY195" fmla="*/ 86015 h 416781"/>
              <a:gd name="connsiteX196" fmla="*/ 133721 w 273527"/>
              <a:gd name="connsiteY196" fmla="*/ 78206 h 416781"/>
              <a:gd name="connsiteX197" fmla="*/ 131755 w 273527"/>
              <a:gd name="connsiteY197" fmla="*/ 77223 h 416781"/>
              <a:gd name="connsiteX198" fmla="*/ 127937 w 273527"/>
              <a:gd name="connsiteY198" fmla="*/ 82139 h 416781"/>
              <a:gd name="connsiteX199" fmla="*/ 123020 w 273527"/>
              <a:gd name="connsiteY199" fmla="*/ 89196 h 416781"/>
              <a:gd name="connsiteX200" fmla="*/ 111451 w 273527"/>
              <a:gd name="connsiteY200" fmla="*/ 92031 h 416781"/>
              <a:gd name="connsiteX201" fmla="*/ 92826 w 273527"/>
              <a:gd name="connsiteY201" fmla="*/ 89775 h 416781"/>
              <a:gd name="connsiteX202" fmla="*/ 83570 w 273527"/>
              <a:gd name="connsiteY202" fmla="*/ 92898 h 416781"/>
              <a:gd name="connsiteX203" fmla="*/ 77208 w 273527"/>
              <a:gd name="connsiteY203" fmla="*/ 111640 h 416781"/>
              <a:gd name="connsiteX204" fmla="*/ 70150 w 273527"/>
              <a:gd name="connsiteY204" fmla="*/ 122168 h 416781"/>
              <a:gd name="connsiteX205" fmla="*/ 65002 w 273527"/>
              <a:gd name="connsiteY205" fmla="*/ 129861 h 416781"/>
              <a:gd name="connsiteX206" fmla="*/ 64424 w 273527"/>
              <a:gd name="connsiteY206" fmla="*/ 137901 h 416781"/>
              <a:gd name="connsiteX207" fmla="*/ 57124 w 273527"/>
              <a:gd name="connsiteY207" fmla="*/ 139365 h 416781"/>
              <a:gd name="connsiteX208" fmla="*/ 56383 w 273527"/>
              <a:gd name="connsiteY208" fmla="*/ 138769 h 416781"/>
              <a:gd name="connsiteX209" fmla="*/ 53838 w 273527"/>
              <a:gd name="connsiteY209" fmla="*/ 136108 h 416781"/>
              <a:gd name="connsiteX210" fmla="*/ 46087 w 273527"/>
              <a:gd name="connsiteY210" fmla="*/ 130729 h 416781"/>
              <a:gd name="connsiteX211" fmla="*/ 41286 w 273527"/>
              <a:gd name="connsiteY211" fmla="*/ 132811 h 416781"/>
              <a:gd name="connsiteX212" fmla="*/ 39724 w 273527"/>
              <a:gd name="connsiteY212" fmla="*/ 136340 h 416781"/>
              <a:gd name="connsiteX213" fmla="*/ 60433 w 273527"/>
              <a:gd name="connsiteY213" fmla="*/ 146925 h 416781"/>
              <a:gd name="connsiteX214" fmla="*/ 64540 w 273527"/>
              <a:gd name="connsiteY214" fmla="*/ 149065 h 416781"/>
              <a:gd name="connsiteX215" fmla="*/ 60201 w 273527"/>
              <a:gd name="connsiteY215" fmla="*/ 155717 h 416781"/>
              <a:gd name="connsiteX216" fmla="*/ 51351 w 273527"/>
              <a:gd name="connsiteY216" fmla="*/ 168443 h 416781"/>
              <a:gd name="connsiteX217" fmla="*/ 58003 w 273527"/>
              <a:gd name="connsiteY217" fmla="*/ 176021 h 416781"/>
              <a:gd name="connsiteX218" fmla="*/ 65928 w 273527"/>
              <a:gd name="connsiteY218" fmla="*/ 182673 h 416781"/>
              <a:gd name="connsiteX219" fmla="*/ 53781 w 273527"/>
              <a:gd name="connsiteY219" fmla="*/ 192622 h 416781"/>
              <a:gd name="connsiteX220" fmla="*/ 43311 w 273527"/>
              <a:gd name="connsiteY220" fmla="*/ 199737 h 416781"/>
              <a:gd name="connsiteX221" fmla="*/ 44294 w 273527"/>
              <a:gd name="connsiteY221" fmla="*/ 201241 h 416781"/>
              <a:gd name="connsiteX222" fmla="*/ 55863 w 273527"/>
              <a:gd name="connsiteY222" fmla="*/ 195456 h 416781"/>
              <a:gd name="connsiteX223" fmla="*/ 61300 w 273527"/>
              <a:gd name="connsiteY223" fmla="*/ 192043 h 416781"/>
              <a:gd name="connsiteX224" fmla="*/ 62862 w 273527"/>
              <a:gd name="connsiteY224" fmla="*/ 191581 h 416781"/>
              <a:gd name="connsiteX225" fmla="*/ 65407 w 273527"/>
              <a:gd name="connsiteY225" fmla="*/ 198001 h 416781"/>
              <a:gd name="connsiteX226" fmla="*/ 72985 w 273527"/>
              <a:gd name="connsiteY226" fmla="*/ 208529 h 416781"/>
              <a:gd name="connsiteX227" fmla="*/ 84553 w 273527"/>
              <a:gd name="connsiteY227" fmla="*/ 194010 h 416781"/>
              <a:gd name="connsiteX228" fmla="*/ 88892 w 273527"/>
              <a:gd name="connsiteY228" fmla="*/ 187069 h 416781"/>
              <a:gd name="connsiteX229" fmla="*/ 89355 w 273527"/>
              <a:gd name="connsiteY229" fmla="*/ 187069 h 416781"/>
              <a:gd name="connsiteX230" fmla="*/ 91611 w 273527"/>
              <a:gd name="connsiteY230" fmla="*/ 188342 h 416781"/>
              <a:gd name="connsiteX231" fmla="*/ 91611 w 273527"/>
              <a:gd name="connsiteY231" fmla="*/ 194647 h 416781"/>
              <a:gd name="connsiteX232" fmla="*/ 92189 w 273527"/>
              <a:gd name="connsiteY232" fmla="*/ 206620 h 416781"/>
              <a:gd name="connsiteX233" fmla="*/ 86925 w 273527"/>
              <a:gd name="connsiteY233" fmla="*/ 225130 h 416781"/>
              <a:gd name="connsiteX234" fmla="*/ 82587 w 273527"/>
              <a:gd name="connsiteY234" fmla="*/ 234443 h 416781"/>
              <a:gd name="connsiteX235" fmla="*/ 94908 w 273527"/>
              <a:gd name="connsiteY235" fmla="*/ 237625 h 416781"/>
              <a:gd name="connsiteX236" fmla="*/ 119839 w 273527"/>
              <a:gd name="connsiteY236" fmla="*/ 230163 h 416781"/>
              <a:gd name="connsiteX237" fmla="*/ 127300 w 273527"/>
              <a:gd name="connsiteY237" fmla="*/ 225940 h 416781"/>
              <a:gd name="connsiteX238" fmla="*/ 131465 w 273527"/>
              <a:gd name="connsiteY238" fmla="*/ 228717 h 416781"/>
              <a:gd name="connsiteX239" fmla="*/ 128747 w 273527"/>
              <a:gd name="connsiteY239" fmla="*/ 239765 h 416781"/>
              <a:gd name="connsiteX240" fmla="*/ 125681 w 273527"/>
              <a:gd name="connsiteY240" fmla="*/ 248615 h 416781"/>
              <a:gd name="connsiteX241" fmla="*/ 132738 w 273527"/>
              <a:gd name="connsiteY241" fmla="*/ 254978 h 416781"/>
              <a:gd name="connsiteX242" fmla="*/ 133259 w 273527"/>
              <a:gd name="connsiteY242" fmla="*/ 254978 h 416781"/>
              <a:gd name="connsiteX243" fmla="*/ 142051 w 273527"/>
              <a:gd name="connsiteY243" fmla="*/ 260068 h 416781"/>
              <a:gd name="connsiteX244" fmla="*/ 140605 w 273527"/>
              <a:gd name="connsiteY244" fmla="*/ 266489 h 416781"/>
              <a:gd name="connsiteX245" fmla="*/ 138985 w 273527"/>
              <a:gd name="connsiteY245" fmla="*/ 280256 h 416781"/>
              <a:gd name="connsiteX246" fmla="*/ 138233 w 273527"/>
              <a:gd name="connsiteY246" fmla="*/ 290900 h 416781"/>
              <a:gd name="connsiteX247" fmla="*/ 122384 w 273527"/>
              <a:gd name="connsiteY247" fmla="*/ 296048 h 416781"/>
              <a:gd name="connsiteX248" fmla="*/ 108212 w 273527"/>
              <a:gd name="connsiteY248" fmla="*/ 291998 h 416781"/>
              <a:gd name="connsiteX249" fmla="*/ 106245 w 273527"/>
              <a:gd name="connsiteY249" fmla="*/ 291015 h 416781"/>
              <a:gd name="connsiteX250" fmla="*/ 101849 w 273527"/>
              <a:gd name="connsiteY250" fmla="*/ 293097 h 416781"/>
              <a:gd name="connsiteX251" fmla="*/ 101849 w 273527"/>
              <a:gd name="connsiteY251" fmla="*/ 295701 h 416781"/>
              <a:gd name="connsiteX252" fmla="*/ 97742 w 273527"/>
              <a:gd name="connsiteY252" fmla="*/ 306344 h 416781"/>
              <a:gd name="connsiteX253" fmla="*/ 93867 w 273527"/>
              <a:gd name="connsiteY253" fmla="*/ 312996 h 416781"/>
              <a:gd name="connsiteX254" fmla="*/ 100634 w 273527"/>
              <a:gd name="connsiteY254" fmla="*/ 316698 h 416781"/>
              <a:gd name="connsiteX255" fmla="*/ 110063 w 273527"/>
              <a:gd name="connsiteY255" fmla="*/ 323639 h 416781"/>
              <a:gd name="connsiteX256" fmla="*/ 82992 w 273527"/>
              <a:gd name="connsiteY256" fmla="*/ 343306 h 416781"/>
              <a:gd name="connsiteX257" fmla="*/ 77960 w 273527"/>
              <a:gd name="connsiteY257" fmla="*/ 347471 h 416781"/>
              <a:gd name="connsiteX258" fmla="*/ 88603 w 273527"/>
              <a:gd name="connsiteY258" fmla="*/ 353718 h 416781"/>
              <a:gd name="connsiteX259" fmla="*/ 92536 w 273527"/>
              <a:gd name="connsiteY259" fmla="*/ 352619 h 416781"/>
              <a:gd name="connsiteX260" fmla="*/ 96990 w 273527"/>
              <a:gd name="connsiteY260" fmla="*/ 350768 h 416781"/>
              <a:gd name="connsiteX261" fmla="*/ 101097 w 273527"/>
              <a:gd name="connsiteY261" fmla="*/ 352851 h 416781"/>
              <a:gd name="connsiteX262" fmla="*/ 109311 w 273527"/>
              <a:gd name="connsiteY262" fmla="*/ 356032 h 416781"/>
              <a:gd name="connsiteX263" fmla="*/ 120880 w 273527"/>
              <a:gd name="connsiteY263" fmla="*/ 358867 h 416781"/>
              <a:gd name="connsiteX264" fmla="*/ 131176 w 273527"/>
              <a:gd name="connsiteY264" fmla="*/ 361412 h 416781"/>
              <a:gd name="connsiteX265" fmla="*/ 137423 w 273527"/>
              <a:gd name="connsiteY265" fmla="*/ 360197 h 416781"/>
              <a:gd name="connsiteX266" fmla="*/ 144885 w 273527"/>
              <a:gd name="connsiteY266" fmla="*/ 358346 h 416781"/>
              <a:gd name="connsiteX267" fmla="*/ 147778 w 273527"/>
              <a:gd name="connsiteY267" fmla="*/ 359908 h 416781"/>
              <a:gd name="connsiteX268" fmla="*/ 140952 w 273527"/>
              <a:gd name="connsiteY268" fmla="*/ 368989 h 416781"/>
              <a:gd name="connsiteX269" fmla="*/ 129383 w 273527"/>
              <a:gd name="connsiteY269" fmla="*/ 372344 h 416781"/>
              <a:gd name="connsiteX270" fmla="*/ 123194 w 273527"/>
              <a:gd name="connsiteY270" fmla="*/ 372055 h 416781"/>
              <a:gd name="connsiteX271" fmla="*/ 116715 w 273527"/>
              <a:gd name="connsiteY271" fmla="*/ 371245 h 416781"/>
              <a:gd name="connsiteX272" fmla="*/ 44930 w 273527"/>
              <a:gd name="connsiteY272" fmla="*/ 266778 h 416781"/>
              <a:gd name="connsiteX273" fmla="*/ 44236 w 273527"/>
              <a:gd name="connsiteY273" fmla="*/ 266778 h 416781"/>
              <a:gd name="connsiteX274" fmla="*/ 35039 w 273527"/>
              <a:gd name="connsiteY274" fmla="*/ 258391 h 416781"/>
              <a:gd name="connsiteX275" fmla="*/ 27230 w 273527"/>
              <a:gd name="connsiteY275" fmla="*/ 253011 h 416781"/>
              <a:gd name="connsiteX276" fmla="*/ 21446 w 273527"/>
              <a:gd name="connsiteY276" fmla="*/ 262729 h 416781"/>
              <a:gd name="connsiteX277" fmla="*/ 17743 w 273527"/>
              <a:gd name="connsiteY277" fmla="*/ 266373 h 416781"/>
              <a:gd name="connsiteX278" fmla="*/ 9819 w 273527"/>
              <a:gd name="connsiteY278" fmla="*/ 263134 h 416781"/>
              <a:gd name="connsiteX279" fmla="*/ 2993 w 273527"/>
              <a:gd name="connsiteY279" fmla="*/ 260011 h 416781"/>
              <a:gd name="connsiteX280" fmla="*/ -15 w 273527"/>
              <a:gd name="connsiteY280" fmla="*/ 257176 h 416781"/>
              <a:gd name="connsiteX281" fmla="*/ 8720 w 273527"/>
              <a:gd name="connsiteY281" fmla="*/ 242079 h 416781"/>
              <a:gd name="connsiteX282" fmla="*/ 15661 w 273527"/>
              <a:gd name="connsiteY282" fmla="*/ 227213 h 416781"/>
              <a:gd name="connsiteX283" fmla="*/ 16760 w 273527"/>
              <a:gd name="connsiteY283" fmla="*/ 226287 h 416781"/>
              <a:gd name="connsiteX284" fmla="*/ 16760 w 273527"/>
              <a:gd name="connsiteY284" fmla="*/ 226287 h 416781"/>
              <a:gd name="connsiteX285" fmla="*/ 29197 w 273527"/>
              <a:gd name="connsiteY285" fmla="*/ 222123 h 416781"/>
              <a:gd name="connsiteX286" fmla="*/ 43021 w 273527"/>
              <a:gd name="connsiteY286" fmla="*/ 217611 h 416781"/>
              <a:gd name="connsiteX287" fmla="*/ 51698 w 273527"/>
              <a:gd name="connsiteY287" fmla="*/ 221197 h 416781"/>
              <a:gd name="connsiteX288" fmla="*/ 69977 w 273527"/>
              <a:gd name="connsiteY288" fmla="*/ 246591 h 416781"/>
              <a:gd name="connsiteX289" fmla="*/ 67027 w 273527"/>
              <a:gd name="connsiteY289" fmla="*/ 253532 h 416781"/>
              <a:gd name="connsiteX290" fmla="*/ 54995 w 273527"/>
              <a:gd name="connsiteY290" fmla="*/ 260473 h 416781"/>
              <a:gd name="connsiteX291" fmla="*/ 46261 w 273527"/>
              <a:gd name="connsiteY291" fmla="*/ 266258 h 416781"/>
              <a:gd name="connsiteX292" fmla="*/ 45509 w 273527"/>
              <a:gd name="connsiteY292" fmla="*/ 267010 h 416781"/>
              <a:gd name="connsiteX293" fmla="*/ 27230 w 273527"/>
              <a:gd name="connsiteY293" fmla="*/ 250524 h 416781"/>
              <a:gd name="connsiteX294" fmla="*/ 36774 w 273527"/>
              <a:gd name="connsiteY294" fmla="*/ 256656 h 416781"/>
              <a:gd name="connsiteX295" fmla="*/ 44525 w 273527"/>
              <a:gd name="connsiteY295" fmla="*/ 263886 h 416781"/>
              <a:gd name="connsiteX296" fmla="*/ 53896 w 273527"/>
              <a:gd name="connsiteY296" fmla="*/ 258102 h 416781"/>
              <a:gd name="connsiteX297" fmla="*/ 65176 w 273527"/>
              <a:gd name="connsiteY297" fmla="*/ 251623 h 416781"/>
              <a:gd name="connsiteX298" fmla="*/ 67490 w 273527"/>
              <a:gd name="connsiteY298" fmla="*/ 246359 h 416781"/>
              <a:gd name="connsiteX299" fmla="*/ 50136 w 273527"/>
              <a:gd name="connsiteY299" fmla="*/ 222585 h 416781"/>
              <a:gd name="connsiteX300" fmla="*/ 43021 w 273527"/>
              <a:gd name="connsiteY300" fmla="*/ 219577 h 416781"/>
              <a:gd name="connsiteX301" fmla="*/ 30180 w 273527"/>
              <a:gd name="connsiteY301" fmla="*/ 223916 h 416781"/>
              <a:gd name="connsiteX302" fmla="*/ 17628 w 273527"/>
              <a:gd name="connsiteY302" fmla="*/ 228254 h 416781"/>
              <a:gd name="connsiteX303" fmla="*/ 9935 w 273527"/>
              <a:gd name="connsiteY303" fmla="*/ 243641 h 416781"/>
              <a:gd name="connsiteX304" fmla="*/ 2125 w 273527"/>
              <a:gd name="connsiteY304" fmla="*/ 256424 h 416781"/>
              <a:gd name="connsiteX305" fmla="*/ 3398 w 273527"/>
              <a:gd name="connsiteY305" fmla="*/ 257523 h 416781"/>
              <a:gd name="connsiteX306" fmla="*/ 10860 w 273527"/>
              <a:gd name="connsiteY306" fmla="*/ 260878 h 416781"/>
              <a:gd name="connsiteX307" fmla="*/ 17686 w 273527"/>
              <a:gd name="connsiteY307" fmla="*/ 263828 h 416781"/>
              <a:gd name="connsiteX308" fmla="*/ 19132 w 273527"/>
              <a:gd name="connsiteY308" fmla="*/ 262093 h 416781"/>
              <a:gd name="connsiteX309" fmla="*/ 27230 w 273527"/>
              <a:gd name="connsiteY309" fmla="*/ 250582 h 416781"/>
              <a:gd name="connsiteX310" fmla="*/ 28734 w 273527"/>
              <a:gd name="connsiteY310" fmla="*/ 120317 h 416781"/>
              <a:gd name="connsiteX311" fmla="*/ 28734 w 273527"/>
              <a:gd name="connsiteY311" fmla="*/ 120317 h 416781"/>
              <a:gd name="connsiteX312" fmla="*/ 26536 w 273527"/>
              <a:gd name="connsiteY312" fmla="*/ 119449 h 416781"/>
              <a:gd name="connsiteX313" fmla="*/ 25900 w 273527"/>
              <a:gd name="connsiteY313" fmla="*/ 117309 h 416781"/>
              <a:gd name="connsiteX314" fmla="*/ 45451 w 273527"/>
              <a:gd name="connsiteY314" fmla="*/ 93245 h 416781"/>
              <a:gd name="connsiteX315" fmla="*/ 46608 w 273527"/>
              <a:gd name="connsiteY315" fmla="*/ 94287 h 416781"/>
              <a:gd name="connsiteX316" fmla="*/ 46608 w 273527"/>
              <a:gd name="connsiteY316" fmla="*/ 94345 h 416781"/>
              <a:gd name="connsiteX317" fmla="*/ 45451 w 273527"/>
              <a:gd name="connsiteY317" fmla="*/ 95502 h 416781"/>
              <a:gd name="connsiteX318" fmla="*/ 28098 w 273527"/>
              <a:gd name="connsiteY318" fmla="*/ 117367 h 416781"/>
              <a:gd name="connsiteX319" fmla="*/ 28098 w 273527"/>
              <a:gd name="connsiteY319" fmla="*/ 117945 h 416781"/>
              <a:gd name="connsiteX320" fmla="*/ 28560 w 273527"/>
              <a:gd name="connsiteY320" fmla="*/ 117945 h 416781"/>
              <a:gd name="connsiteX321" fmla="*/ 29659 w 273527"/>
              <a:gd name="connsiteY321" fmla="*/ 119044 h 416781"/>
              <a:gd name="connsiteX322" fmla="*/ 29659 w 273527"/>
              <a:gd name="connsiteY322" fmla="*/ 119102 h 416781"/>
              <a:gd name="connsiteX323" fmla="*/ 28878 w 273527"/>
              <a:gd name="connsiteY323" fmla="*/ 120351 h 416781"/>
              <a:gd name="connsiteX324" fmla="*/ 28676 w 273527"/>
              <a:gd name="connsiteY324" fmla="*/ 120374 h 416781"/>
              <a:gd name="connsiteX325" fmla="*/ 184914 w 273527"/>
              <a:gd name="connsiteY325" fmla="*/ 32914 h 416781"/>
              <a:gd name="connsiteX326" fmla="*/ 184914 w 273527"/>
              <a:gd name="connsiteY326" fmla="*/ 32914 h 416781"/>
              <a:gd name="connsiteX327" fmla="*/ 181732 w 273527"/>
              <a:gd name="connsiteY327" fmla="*/ 26204 h 416781"/>
              <a:gd name="connsiteX328" fmla="*/ 189483 w 273527"/>
              <a:gd name="connsiteY328" fmla="*/ 174 h 416781"/>
              <a:gd name="connsiteX329" fmla="*/ 195245 w 273527"/>
              <a:gd name="connsiteY329" fmla="*/ 2719 h 416781"/>
              <a:gd name="connsiteX330" fmla="*/ 195268 w 273527"/>
              <a:gd name="connsiteY330" fmla="*/ 2777 h 416781"/>
              <a:gd name="connsiteX331" fmla="*/ 186128 w 273527"/>
              <a:gd name="connsiteY331" fmla="*/ 32393 h 416781"/>
              <a:gd name="connsiteX332" fmla="*/ 184856 w 273527"/>
              <a:gd name="connsiteY332" fmla="*/ 32972 h 416781"/>
              <a:gd name="connsiteX333" fmla="*/ 191218 w 273527"/>
              <a:gd name="connsiteY333" fmla="*/ 2199 h 416781"/>
              <a:gd name="connsiteX334" fmla="*/ 190062 w 273527"/>
              <a:gd name="connsiteY334" fmla="*/ 2199 h 416781"/>
              <a:gd name="connsiteX335" fmla="*/ 184682 w 273527"/>
              <a:gd name="connsiteY335" fmla="*/ 9950 h 416781"/>
              <a:gd name="connsiteX336" fmla="*/ 184682 w 273527"/>
              <a:gd name="connsiteY336" fmla="*/ 30137 h 416781"/>
              <a:gd name="connsiteX337" fmla="*/ 192896 w 273527"/>
              <a:gd name="connsiteY337" fmla="*/ 3471 h 416781"/>
              <a:gd name="connsiteX338" fmla="*/ 191045 w 273527"/>
              <a:gd name="connsiteY338" fmla="*/ 2256 h 41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273527" h="416781">
                <a:moveTo>
                  <a:pt x="76398" y="416653"/>
                </a:moveTo>
                <a:cubicBezTo>
                  <a:pt x="75299" y="416630"/>
                  <a:pt x="74269" y="416098"/>
                  <a:pt x="73621" y="415207"/>
                </a:cubicBezTo>
                <a:cubicBezTo>
                  <a:pt x="72609" y="413871"/>
                  <a:pt x="72291" y="412135"/>
                  <a:pt x="72753" y="410521"/>
                </a:cubicBezTo>
                <a:cubicBezTo>
                  <a:pt x="75009" y="398953"/>
                  <a:pt x="101676" y="374542"/>
                  <a:pt x="108675" y="370667"/>
                </a:cubicBezTo>
                <a:cubicBezTo>
                  <a:pt x="111174" y="369452"/>
                  <a:pt x="113938" y="368874"/>
                  <a:pt x="116715" y="368989"/>
                </a:cubicBezTo>
                <a:cubicBezTo>
                  <a:pt x="118624" y="368989"/>
                  <a:pt x="120591" y="368989"/>
                  <a:pt x="122499" y="369336"/>
                </a:cubicBezTo>
                <a:cubicBezTo>
                  <a:pt x="124408" y="369683"/>
                  <a:pt x="126491" y="369336"/>
                  <a:pt x="128284" y="369336"/>
                </a:cubicBezTo>
                <a:cubicBezTo>
                  <a:pt x="131946" y="369597"/>
                  <a:pt x="135589" y="368579"/>
                  <a:pt x="138580" y="366444"/>
                </a:cubicBezTo>
                <a:cubicBezTo>
                  <a:pt x="143786" y="362453"/>
                  <a:pt x="144770" y="360313"/>
                  <a:pt x="144654" y="359850"/>
                </a:cubicBezTo>
                <a:lnTo>
                  <a:pt x="144365" y="359850"/>
                </a:lnTo>
                <a:cubicBezTo>
                  <a:pt x="142068" y="360035"/>
                  <a:pt x="139824" y="360602"/>
                  <a:pt x="137712" y="361527"/>
                </a:cubicBezTo>
                <a:cubicBezTo>
                  <a:pt x="135468" y="362424"/>
                  <a:pt x="133073" y="362892"/>
                  <a:pt x="130656" y="362916"/>
                </a:cubicBezTo>
                <a:cubicBezTo>
                  <a:pt x="126815" y="362725"/>
                  <a:pt x="123043" y="361805"/>
                  <a:pt x="119550" y="360197"/>
                </a:cubicBezTo>
                <a:cubicBezTo>
                  <a:pt x="116096" y="358664"/>
                  <a:pt x="112388" y="357779"/>
                  <a:pt x="108617" y="357594"/>
                </a:cubicBezTo>
                <a:cubicBezTo>
                  <a:pt x="105002" y="357733"/>
                  <a:pt x="101502" y="356345"/>
                  <a:pt x="98957" y="353776"/>
                </a:cubicBezTo>
                <a:cubicBezTo>
                  <a:pt x="97800" y="352793"/>
                  <a:pt x="97164" y="352272"/>
                  <a:pt x="96296" y="352272"/>
                </a:cubicBezTo>
                <a:cubicBezTo>
                  <a:pt x="95122" y="352446"/>
                  <a:pt x="94017" y="352949"/>
                  <a:pt x="93115" y="353718"/>
                </a:cubicBezTo>
                <a:cubicBezTo>
                  <a:pt x="91582" y="354765"/>
                  <a:pt x="89760" y="355292"/>
                  <a:pt x="87909" y="355222"/>
                </a:cubicBezTo>
                <a:cubicBezTo>
                  <a:pt x="82587" y="355222"/>
                  <a:pt x="75646" y="351578"/>
                  <a:pt x="75009" y="347066"/>
                </a:cubicBezTo>
                <a:cubicBezTo>
                  <a:pt x="75009" y="345389"/>
                  <a:pt x="75009" y="342265"/>
                  <a:pt x="81719" y="340414"/>
                </a:cubicBezTo>
                <a:cubicBezTo>
                  <a:pt x="96527" y="336134"/>
                  <a:pt x="107460" y="328845"/>
                  <a:pt x="107113" y="323061"/>
                </a:cubicBezTo>
                <a:cubicBezTo>
                  <a:pt x="107113" y="320400"/>
                  <a:pt x="103064" y="319243"/>
                  <a:pt x="99304" y="318144"/>
                </a:cubicBezTo>
                <a:cubicBezTo>
                  <a:pt x="95544" y="317045"/>
                  <a:pt x="91437" y="315830"/>
                  <a:pt x="90974" y="312649"/>
                </a:cubicBezTo>
                <a:cubicBezTo>
                  <a:pt x="90512" y="309467"/>
                  <a:pt x="92999" y="306864"/>
                  <a:pt x="95371" y="304146"/>
                </a:cubicBezTo>
                <a:cubicBezTo>
                  <a:pt x="97742" y="301427"/>
                  <a:pt x="100345" y="298361"/>
                  <a:pt x="99188" y="295990"/>
                </a:cubicBezTo>
                <a:cubicBezTo>
                  <a:pt x="98315" y="294526"/>
                  <a:pt x="98315" y="292710"/>
                  <a:pt x="99188" y="291247"/>
                </a:cubicBezTo>
                <a:cubicBezTo>
                  <a:pt x="100646" y="289222"/>
                  <a:pt x="103000" y="288030"/>
                  <a:pt x="105493" y="288065"/>
                </a:cubicBezTo>
                <a:cubicBezTo>
                  <a:pt x="107396" y="287822"/>
                  <a:pt x="109190" y="289002"/>
                  <a:pt x="109716" y="290842"/>
                </a:cubicBezTo>
                <a:cubicBezTo>
                  <a:pt x="109716" y="291651"/>
                  <a:pt x="114286" y="293097"/>
                  <a:pt x="121632" y="293097"/>
                </a:cubicBezTo>
                <a:cubicBezTo>
                  <a:pt x="128978" y="293097"/>
                  <a:pt x="134647" y="291594"/>
                  <a:pt x="135341" y="289511"/>
                </a:cubicBezTo>
                <a:cubicBezTo>
                  <a:pt x="136093" y="286272"/>
                  <a:pt x="136307" y="282928"/>
                  <a:pt x="135977" y="279620"/>
                </a:cubicBezTo>
                <a:cubicBezTo>
                  <a:pt x="135370" y="274547"/>
                  <a:pt x="136029" y="269399"/>
                  <a:pt x="137886" y="264638"/>
                </a:cubicBezTo>
                <a:cubicBezTo>
                  <a:pt x="139101" y="262498"/>
                  <a:pt x="139563" y="261052"/>
                  <a:pt x="139216" y="260184"/>
                </a:cubicBezTo>
                <a:cubicBezTo>
                  <a:pt x="138869" y="259316"/>
                  <a:pt x="135919" y="257813"/>
                  <a:pt x="131755" y="256424"/>
                </a:cubicBezTo>
                <a:lnTo>
                  <a:pt x="131234" y="256424"/>
                </a:lnTo>
                <a:cubicBezTo>
                  <a:pt x="127254" y="255400"/>
                  <a:pt x="124061" y="252445"/>
                  <a:pt x="122731" y="248557"/>
                </a:cubicBezTo>
                <a:cubicBezTo>
                  <a:pt x="121904" y="244537"/>
                  <a:pt x="123263" y="240372"/>
                  <a:pt x="126317" y="237625"/>
                </a:cubicBezTo>
                <a:cubicBezTo>
                  <a:pt x="128620" y="235398"/>
                  <a:pt x="129528" y="232095"/>
                  <a:pt x="128689" y="229006"/>
                </a:cubicBezTo>
                <a:cubicBezTo>
                  <a:pt x="128365" y="228109"/>
                  <a:pt x="127497" y="227525"/>
                  <a:pt x="126548" y="227560"/>
                </a:cubicBezTo>
                <a:cubicBezTo>
                  <a:pt x="125623" y="227560"/>
                  <a:pt x="123656" y="228023"/>
                  <a:pt x="120764" y="231088"/>
                </a:cubicBezTo>
                <a:cubicBezTo>
                  <a:pt x="114980" y="237162"/>
                  <a:pt x="102832" y="239244"/>
                  <a:pt x="94214" y="239244"/>
                </a:cubicBezTo>
                <a:cubicBezTo>
                  <a:pt x="90974" y="239244"/>
                  <a:pt x="80273" y="238897"/>
                  <a:pt x="79637" y="234096"/>
                </a:cubicBezTo>
                <a:cubicBezTo>
                  <a:pt x="80111" y="230111"/>
                  <a:pt x="81742" y="226351"/>
                  <a:pt x="84322" y="223280"/>
                </a:cubicBezTo>
                <a:cubicBezTo>
                  <a:pt x="87793" y="217495"/>
                  <a:pt x="91784" y="211711"/>
                  <a:pt x="89470" y="207025"/>
                </a:cubicBezTo>
                <a:cubicBezTo>
                  <a:pt x="87631" y="202762"/>
                  <a:pt x="87365" y="197990"/>
                  <a:pt x="88718" y="193547"/>
                </a:cubicBezTo>
                <a:cubicBezTo>
                  <a:pt x="89129" y="192049"/>
                  <a:pt x="89129" y="190476"/>
                  <a:pt x="88718" y="188978"/>
                </a:cubicBezTo>
                <a:cubicBezTo>
                  <a:pt x="88718" y="188978"/>
                  <a:pt x="88718" y="188978"/>
                  <a:pt x="87966" y="188631"/>
                </a:cubicBezTo>
                <a:lnTo>
                  <a:pt x="87966" y="188631"/>
                </a:lnTo>
                <a:cubicBezTo>
                  <a:pt x="86925" y="188631"/>
                  <a:pt x="86289" y="191407"/>
                  <a:pt x="85710" y="193837"/>
                </a:cubicBezTo>
                <a:cubicBezTo>
                  <a:pt x="84380" y="199621"/>
                  <a:pt x="82298" y="208414"/>
                  <a:pt x="72580" y="210033"/>
                </a:cubicBezTo>
                <a:cubicBezTo>
                  <a:pt x="71851" y="210108"/>
                  <a:pt x="71111" y="210108"/>
                  <a:pt x="70382" y="210033"/>
                </a:cubicBezTo>
                <a:cubicBezTo>
                  <a:pt x="62457" y="210033"/>
                  <a:pt x="62399" y="201935"/>
                  <a:pt x="62399" y="197076"/>
                </a:cubicBezTo>
                <a:cubicBezTo>
                  <a:pt x="62469" y="195676"/>
                  <a:pt x="62353" y="194276"/>
                  <a:pt x="62052" y="192911"/>
                </a:cubicBezTo>
                <a:lnTo>
                  <a:pt x="61647" y="192911"/>
                </a:lnTo>
                <a:cubicBezTo>
                  <a:pt x="60201" y="193663"/>
                  <a:pt x="58350" y="194878"/>
                  <a:pt x="56326" y="196208"/>
                </a:cubicBezTo>
                <a:cubicBezTo>
                  <a:pt x="52687" y="199222"/>
                  <a:pt x="48418" y="201380"/>
                  <a:pt x="43831" y="202513"/>
                </a:cubicBezTo>
                <a:cubicBezTo>
                  <a:pt x="42848" y="202513"/>
                  <a:pt x="40592" y="202166"/>
                  <a:pt x="40592" y="198753"/>
                </a:cubicBezTo>
                <a:cubicBezTo>
                  <a:pt x="40592" y="194242"/>
                  <a:pt x="46376" y="191870"/>
                  <a:pt x="52508" y="189556"/>
                </a:cubicBezTo>
                <a:cubicBezTo>
                  <a:pt x="58639" y="187242"/>
                  <a:pt x="63383" y="185796"/>
                  <a:pt x="63383" y="182384"/>
                </a:cubicBezTo>
                <a:cubicBezTo>
                  <a:pt x="63383" y="178971"/>
                  <a:pt x="60780" y="178797"/>
                  <a:pt x="57020" y="177640"/>
                </a:cubicBezTo>
                <a:cubicBezTo>
                  <a:pt x="53260" y="176484"/>
                  <a:pt x="47533" y="174748"/>
                  <a:pt x="48864" y="167518"/>
                </a:cubicBezTo>
                <a:cubicBezTo>
                  <a:pt x="50535" y="162017"/>
                  <a:pt x="53850" y="157152"/>
                  <a:pt x="58350" y="153577"/>
                </a:cubicBezTo>
                <a:cubicBezTo>
                  <a:pt x="59970" y="152015"/>
                  <a:pt x="62110" y="149933"/>
                  <a:pt x="62110" y="149239"/>
                </a:cubicBezTo>
                <a:lnTo>
                  <a:pt x="62110" y="149239"/>
                </a:lnTo>
                <a:cubicBezTo>
                  <a:pt x="61427" y="148892"/>
                  <a:pt x="60675" y="148695"/>
                  <a:pt x="59912" y="148660"/>
                </a:cubicBezTo>
                <a:cubicBezTo>
                  <a:pt x="51814" y="147735"/>
                  <a:pt x="39030" y="142471"/>
                  <a:pt x="37237" y="136397"/>
                </a:cubicBezTo>
                <a:cubicBezTo>
                  <a:pt x="36717" y="134176"/>
                  <a:pt x="37642" y="131862"/>
                  <a:pt x="39551" y="130613"/>
                </a:cubicBezTo>
                <a:cubicBezTo>
                  <a:pt x="41280" y="129074"/>
                  <a:pt x="43484" y="128178"/>
                  <a:pt x="45798" y="128068"/>
                </a:cubicBezTo>
                <a:cubicBezTo>
                  <a:pt x="49679" y="128652"/>
                  <a:pt x="53115" y="130891"/>
                  <a:pt x="55227" y="134199"/>
                </a:cubicBezTo>
                <a:cubicBezTo>
                  <a:pt x="55961" y="135084"/>
                  <a:pt x="56754" y="135911"/>
                  <a:pt x="57598" y="136687"/>
                </a:cubicBezTo>
                <a:cubicBezTo>
                  <a:pt x="58703" y="137884"/>
                  <a:pt x="60571" y="137959"/>
                  <a:pt x="61769" y="136854"/>
                </a:cubicBezTo>
                <a:cubicBezTo>
                  <a:pt x="61965" y="136669"/>
                  <a:pt x="62139" y="136455"/>
                  <a:pt x="62284" y="136224"/>
                </a:cubicBezTo>
                <a:cubicBezTo>
                  <a:pt x="63284" y="134454"/>
                  <a:pt x="63412" y="132319"/>
                  <a:pt x="62631" y="130439"/>
                </a:cubicBezTo>
                <a:cubicBezTo>
                  <a:pt x="61127" y="126448"/>
                  <a:pt x="64829" y="123267"/>
                  <a:pt x="68415" y="120259"/>
                </a:cubicBezTo>
                <a:cubicBezTo>
                  <a:pt x="72001" y="117251"/>
                  <a:pt x="74836" y="114764"/>
                  <a:pt x="74662" y="111524"/>
                </a:cubicBezTo>
                <a:cubicBezTo>
                  <a:pt x="74518" y="104114"/>
                  <a:pt x="76976" y="96890"/>
                  <a:pt x="81604" y="91105"/>
                </a:cubicBezTo>
                <a:cubicBezTo>
                  <a:pt x="84502" y="87860"/>
                  <a:pt x="88921" y="86426"/>
                  <a:pt x="93173" y="87345"/>
                </a:cubicBezTo>
                <a:cubicBezTo>
                  <a:pt x="99148" y="88641"/>
                  <a:pt x="105227" y="89376"/>
                  <a:pt x="111335" y="89543"/>
                </a:cubicBezTo>
                <a:cubicBezTo>
                  <a:pt x="114951" y="89885"/>
                  <a:pt x="118584" y="89052"/>
                  <a:pt x="121690" y="87172"/>
                </a:cubicBezTo>
                <a:cubicBezTo>
                  <a:pt x="123564" y="85413"/>
                  <a:pt x="125027" y="83261"/>
                  <a:pt x="125970" y="80867"/>
                </a:cubicBezTo>
                <a:cubicBezTo>
                  <a:pt x="127590" y="77743"/>
                  <a:pt x="129094" y="74735"/>
                  <a:pt x="131755" y="74735"/>
                </a:cubicBezTo>
                <a:cubicBezTo>
                  <a:pt x="133056" y="74851"/>
                  <a:pt x="134276" y="75401"/>
                  <a:pt x="135225" y="76297"/>
                </a:cubicBezTo>
                <a:cubicBezTo>
                  <a:pt x="139563" y="80057"/>
                  <a:pt x="136671" y="83990"/>
                  <a:pt x="134358" y="87114"/>
                </a:cubicBezTo>
                <a:cubicBezTo>
                  <a:pt x="132854" y="89139"/>
                  <a:pt x="131292" y="91279"/>
                  <a:pt x="131581" y="92898"/>
                </a:cubicBezTo>
                <a:cubicBezTo>
                  <a:pt x="132507" y="99551"/>
                  <a:pt x="117004" y="113954"/>
                  <a:pt x="110236" y="116730"/>
                </a:cubicBezTo>
                <a:cubicBezTo>
                  <a:pt x="108952" y="117043"/>
                  <a:pt x="108154" y="118333"/>
                  <a:pt x="108443" y="119622"/>
                </a:cubicBezTo>
                <a:cubicBezTo>
                  <a:pt x="109757" y="123359"/>
                  <a:pt x="113846" y="125326"/>
                  <a:pt x="117588" y="124013"/>
                </a:cubicBezTo>
                <a:cubicBezTo>
                  <a:pt x="117941" y="123891"/>
                  <a:pt x="118288" y="123735"/>
                  <a:pt x="118624" y="123556"/>
                </a:cubicBezTo>
                <a:cubicBezTo>
                  <a:pt x="126890" y="121179"/>
                  <a:pt x="135486" y="120166"/>
                  <a:pt x="144075" y="120548"/>
                </a:cubicBezTo>
                <a:cubicBezTo>
                  <a:pt x="154025" y="120548"/>
                  <a:pt x="170742" y="121358"/>
                  <a:pt x="170742" y="127027"/>
                </a:cubicBezTo>
                <a:cubicBezTo>
                  <a:pt x="170742" y="134084"/>
                  <a:pt x="159520" y="168732"/>
                  <a:pt x="149224" y="175616"/>
                </a:cubicBezTo>
                <a:cubicBezTo>
                  <a:pt x="141935" y="180475"/>
                  <a:pt x="136960" y="188399"/>
                  <a:pt x="137655" y="190829"/>
                </a:cubicBezTo>
                <a:cubicBezTo>
                  <a:pt x="137655" y="190829"/>
                  <a:pt x="137655" y="191292"/>
                  <a:pt x="138580" y="191292"/>
                </a:cubicBezTo>
                <a:cubicBezTo>
                  <a:pt x="140055" y="191211"/>
                  <a:pt x="141530" y="191014"/>
                  <a:pt x="142976" y="190713"/>
                </a:cubicBezTo>
                <a:cubicBezTo>
                  <a:pt x="145707" y="190198"/>
                  <a:pt x="148472" y="189909"/>
                  <a:pt x="151248" y="189846"/>
                </a:cubicBezTo>
                <a:cubicBezTo>
                  <a:pt x="156327" y="189493"/>
                  <a:pt x="161255" y="191650"/>
                  <a:pt x="164436" y="195630"/>
                </a:cubicBezTo>
                <a:cubicBezTo>
                  <a:pt x="166739" y="198626"/>
                  <a:pt x="170048" y="200680"/>
                  <a:pt x="173750" y="201414"/>
                </a:cubicBezTo>
                <a:cubicBezTo>
                  <a:pt x="178331" y="201999"/>
                  <a:pt x="182010" y="205487"/>
                  <a:pt x="182831" y="210033"/>
                </a:cubicBezTo>
                <a:cubicBezTo>
                  <a:pt x="183178" y="211364"/>
                  <a:pt x="183467" y="212867"/>
                  <a:pt x="183814" y="214487"/>
                </a:cubicBezTo>
                <a:cubicBezTo>
                  <a:pt x="185955" y="225073"/>
                  <a:pt x="188905" y="239649"/>
                  <a:pt x="200127" y="242252"/>
                </a:cubicBezTo>
                <a:cubicBezTo>
                  <a:pt x="206651" y="244595"/>
                  <a:pt x="211996" y="249419"/>
                  <a:pt x="214993" y="255672"/>
                </a:cubicBezTo>
                <a:cubicBezTo>
                  <a:pt x="219053" y="262006"/>
                  <a:pt x="221332" y="269324"/>
                  <a:pt x="221587" y="276843"/>
                </a:cubicBezTo>
                <a:cubicBezTo>
                  <a:pt x="221488" y="279782"/>
                  <a:pt x="222362" y="282668"/>
                  <a:pt x="224074" y="285057"/>
                </a:cubicBezTo>
                <a:cubicBezTo>
                  <a:pt x="225289" y="287463"/>
                  <a:pt x="227348" y="289338"/>
                  <a:pt x="229859" y="290321"/>
                </a:cubicBezTo>
                <a:cubicBezTo>
                  <a:pt x="230668" y="290390"/>
                  <a:pt x="231403" y="290842"/>
                  <a:pt x="231825" y="291536"/>
                </a:cubicBezTo>
                <a:cubicBezTo>
                  <a:pt x="232519" y="292750"/>
                  <a:pt x="231825" y="294197"/>
                  <a:pt x="231247" y="296048"/>
                </a:cubicBezTo>
                <a:cubicBezTo>
                  <a:pt x="229644" y="299090"/>
                  <a:pt x="229644" y="302723"/>
                  <a:pt x="231247" y="305765"/>
                </a:cubicBezTo>
                <a:cubicBezTo>
                  <a:pt x="233387" y="309236"/>
                  <a:pt x="235932" y="311203"/>
                  <a:pt x="238188" y="311203"/>
                </a:cubicBezTo>
                <a:cubicBezTo>
                  <a:pt x="240271" y="310977"/>
                  <a:pt x="242006" y="309514"/>
                  <a:pt x="242584" y="307501"/>
                </a:cubicBezTo>
                <a:cubicBezTo>
                  <a:pt x="243163" y="306170"/>
                  <a:pt x="244782" y="304609"/>
                  <a:pt x="249005" y="304609"/>
                </a:cubicBezTo>
                <a:cubicBezTo>
                  <a:pt x="256820" y="305031"/>
                  <a:pt x="264224" y="308230"/>
                  <a:pt x="269887" y="313632"/>
                </a:cubicBezTo>
                <a:cubicBezTo>
                  <a:pt x="272206" y="315871"/>
                  <a:pt x="273485" y="318971"/>
                  <a:pt x="273415" y="322193"/>
                </a:cubicBezTo>
                <a:cubicBezTo>
                  <a:pt x="272837" y="331564"/>
                  <a:pt x="265201" y="337406"/>
                  <a:pt x="257913" y="343075"/>
                </a:cubicBezTo>
                <a:cubicBezTo>
                  <a:pt x="255316" y="344978"/>
                  <a:pt x="252823" y="347026"/>
                  <a:pt x="250451" y="349206"/>
                </a:cubicBezTo>
                <a:cubicBezTo>
                  <a:pt x="244667" y="354528"/>
                  <a:pt x="242816" y="359850"/>
                  <a:pt x="243741" y="362164"/>
                </a:cubicBezTo>
                <a:cubicBezTo>
                  <a:pt x="243741" y="362511"/>
                  <a:pt x="244262" y="363494"/>
                  <a:pt x="246344" y="363494"/>
                </a:cubicBezTo>
                <a:lnTo>
                  <a:pt x="247501" y="363494"/>
                </a:lnTo>
                <a:cubicBezTo>
                  <a:pt x="249416" y="363216"/>
                  <a:pt x="251348" y="363078"/>
                  <a:pt x="253286" y="363089"/>
                </a:cubicBezTo>
                <a:cubicBezTo>
                  <a:pt x="256814" y="363089"/>
                  <a:pt x="261268" y="363610"/>
                  <a:pt x="262251" y="366155"/>
                </a:cubicBezTo>
                <a:cubicBezTo>
                  <a:pt x="262830" y="367601"/>
                  <a:pt x="262251" y="369278"/>
                  <a:pt x="260227" y="371130"/>
                </a:cubicBezTo>
                <a:cubicBezTo>
                  <a:pt x="254442" y="376914"/>
                  <a:pt x="231883" y="387152"/>
                  <a:pt x="222049" y="387152"/>
                </a:cubicBezTo>
                <a:lnTo>
                  <a:pt x="219909" y="387152"/>
                </a:lnTo>
                <a:cubicBezTo>
                  <a:pt x="210145" y="387291"/>
                  <a:pt x="200497" y="389258"/>
                  <a:pt x="191450" y="392937"/>
                </a:cubicBezTo>
                <a:cubicBezTo>
                  <a:pt x="189194" y="394441"/>
                  <a:pt x="185087" y="392590"/>
                  <a:pt x="180633" y="390392"/>
                </a:cubicBezTo>
                <a:cubicBezTo>
                  <a:pt x="176179" y="388193"/>
                  <a:pt x="171609" y="386053"/>
                  <a:pt x="169700" y="387615"/>
                </a:cubicBezTo>
                <a:cubicBezTo>
                  <a:pt x="163627" y="393047"/>
                  <a:pt x="155390" y="395372"/>
                  <a:pt x="147373" y="393920"/>
                </a:cubicBezTo>
                <a:cubicBezTo>
                  <a:pt x="146285" y="393735"/>
                  <a:pt x="145180" y="393643"/>
                  <a:pt x="144075" y="393631"/>
                </a:cubicBezTo>
                <a:cubicBezTo>
                  <a:pt x="141056" y="393729"/>
                  <a:pt x="138083" y="394354"/>
                  <a:pt x="135283" y="395482"/>
                </a:cubicBezTo>
                <a:cubicBezTo>
                  <a:pt x="132871" y="396621"/>
                  <a:pt x="130181" y="397044"/>
                  <a:pt x="127532" y="396697"/>
                </a:cubicBezTo>
                <a:cubicBezTo>
                  <a:pt x="125854" y="396407"/>
                  <a:pt x="124640" y="399010"/>
                  <a:pt x="123425" y="401613"/>
                </a:cubicBezTo>
                <a:cubicBezTo>
                  <a:pt x="121690" y="405258"/>
                  <a:pt x="119665" y="409365"/>
                  <a:pt x="115558" y="408844"/>
                </a:cubicBezTo>
                <a:cubicBezTo>
                  <a:pt x="113302" y="408422"/>
                  <a:pt x="111185" y="407473"/>
                  <a:pt x="109369" y="406067"/>
                </a:cubicBezTo>
                <a:cubicBezTo>
                  <a:pt x="107333" y="404373"/>
                  <a:pt x="104788" y="403395"/>
                  <a:pt x="102138" y="403291"/>
                </a:cubicBezTo>
                <a:cubicBezTo>
                  <a:pt x="99981" y="403360"/>
                  <a:pt x="97858" y="403852"/>
                  <a:pt x="95891" y="404737"/>
                </a:cubicBezTo>
                <a:cubicBezTo>
                  <a:pt x="91431" y="406779"/>
                  <a:pt x="87365" y="409579"/>
                  <a:pt x="83859" y="413009"/>
                </a:cubicBezTo>
                <a:cubicBezTo>
                  <a:pt x="80331" y="414918"/>
                  <a:pt x="78364" y="416653"/>
                  <a:pt x="76398" y="416653"/>
                </a:cubicBezTo>
                <a:close/>
                <a:moveTo>
                  <a:pt x="116889" y="371245"/>
                </a:moveTo>
                <a:cubicBezTo>
                  <a:pt x="114488" y="371112"/>
                  <a:pt x="112093" y="371610"/>
                  <a:pt x="109947" y="372691"/>
                </a:cubicBezTo>
                <a:cubicBezTo>
                  <a:pt x="103295" y="376335"/>
                  <a:pt x="77265" y="400109"/>
                  <a:pt x="75241" y="410926"/>
                </a:cubicBezTo>
                <a:cubicBezTo>
                  <a:pt x="74946" y="411887"/>
                  <a:pt x="75096" y="412922"/>
                  <a:pt x="75646" y="413761"/>
                </a:cubicBezTo>
                <a:cubicBezTo>
                  <a:pt x="76108" y="414339"/>
                  <a:pt x="76456" y="414397"/>
                  <a:pt x="76687" y="414397"/>
                </a:cubicBezTo>
                <a:cubicBezTo>
                  <a:pt x="77844" y="414397"/>
                  <a:pt x="79695" y="412720"/>
                  <a:pt x="81835" y="410811"/>
                </a:cubicBezTo>
                <a:cubicBezTo>
                  <a:pt x="85520" y="407201"/>
                  <a:pt x="89806" y="404269"/>
                  <a:pt x="94503" y="402134"/>
                </a:cubicBezTo>
                <a:cubicBezTo>
                  <a:pt x="96747" y="401128"/>
                  <a:pt x="99165" y="400578"/>
                  <a:pt x="101618" y="400514"/>
                </a:cubicBezTo>
                <a:cubicBezTo>
                  <a:pt x="104712" y="400624"/>
                  <a:pt x="107691" y="401718"/>
                  <a:pt x="110121" y="403638"/>
                </a:cubicBezTo>
                <a:cubicBezTo>
                  <a:pt x="111625" y="404870"/>
                  <a:pt x="113412" y="405709"/>
                  <a:pt x="115327" y="406067"/>
                </a:cubicBezTo>
                <a:cubicBezTo>
                  <a:pt x="117988" y="406415"/>
                  <a:pt x="119376" y="403233"/>
                  <a:pt x="121111" y="400283"/>
                </a:cubicBezTo>
                <a:cubicBezTo>
                  <a:pt x="122847" y="397333"/>
                  <a:pt x="124524" y="393400"/>
                  <a:pt x="127821" y="394151"/>
                </a:cubicBezTo>
                <a:cubicBezTo>
                  <a:pt x="130042" y="394366"/>
                  <a:pt x="132275" y="393990"/>
                  <a:pt x="134300" y="393052"/>
                </a:cubicBezTo>
                <a:cubicBezTo>
                  <a:pt x="137325" y="391786"/>
                  <a:pt x="140564" y="391097"/>
                  <a:pt x="143844" y="391028"/>
                </a:cubicBezTo>
                <a:cubicBezTo>
                  <a:pt x="145082" y="391039"/>
                  <a:pt x="146320" y="391138"/>
                  <a:pt x="147546" y="391317"/>
                </a:cubicBezTo>
                <a:cubicBezTo>
                  <a:pt x="154898" y="392630"/>
                  <a:pt x="162447" y="390496"/>
                  <a:pt x="168023" y="385533"/>
                </a:cubicBezTo>
                <a:cubicBezTo>
                  <a:pt x="168960" y="384792"/>
                  <a:pt x="170128" y="384405"/>
                  <a:pt x="171320" y="384434"/>
                </a:cubicBezTo>
                <a:cubicBezTo>
                  <a:pt x="174895" y="384897"/>
                  <a:pt x="178325" y="386123"/>
                  <a:pt x="181385" y="388020"/>
                </a:cubicBezTo>
                <a:cubicBezTo>
                  <a:pt x="184914" y="389755"/>
                  <a:pt x="188731" y="391549"/>
                  <a:pt x="189946" y="390681"/>
                </a:cubicBezTo>
                <a:cubicBezTo>
                  <a:pt x="199404" y="386898"/>
                  <a:pt x="209491" y="384937"/>
                  <a:pt x="219678" y="384897"/>
                </a:cubicBezTo>
                <a:lnTo>
                  <a:pt x="221818" y="384897"/>
                </a:lnTo>
                <a:cubicBezTo>
                  <a:pt x="230842" y="384897"/>
                  <a:pt x="252938" y="374542"/>
                  <a:pt x="258433" y="369452"/>
                </a:cubicBezTo>
                <a:cubicBezTo>
                  <a:pt x="259764" y="368237"/>
                  <a:pt x="260111" y="367370"/>
                  <a:pt x="259937" y="366965"/>
                </a:cubicBezTo>
                <a:cubicBezTo>
                  <a:pt x="259764" y="366560"/>
                  <a:pt x="257335" y="365345"/>
                  <a:pt x="253054" y="365345"/>
                </a:cubicBezTo>
                <a:cubicBezTo>
                  <a:pt x="251255" y="365339"/>
                  <a:pt x="249456" y="365472"/>
                  <a:pt x="247674" y="365750"/>
                </a:cubicBezTo>
                <a:cubicBezTo>
                  <a:pt x="243510" y="366328"/>
                  <a:pt x="241890" y="364304"/>
                  <a:pt x="241485" y="363089"/>
                </a:cubicBezTo>
                <a:cubicBezTo>
                  <a:pt x="239981" y="359445"/>
                  <a:pt x="242989" y="353140"/>
                  <a:pt x="248716" y="347645"/>
                </a:cubicBezTo>
                <a:cubicBezTo>
                  <a:pt x="251145" y="345424"/>
                  <a:pt x="253696" y="343341"/>
                  <a:pt x="256351" y="341397"/>
                </a:cubicBezTo>
                <a:cubicBezTo>
                  <a:pt x="263292" y="336076"/>
                  <a:pt x="270465" y="330523"/>
                  <a:pt x="270986" y="322135"/>
                </a:cubicBezTo>
                <a:cubicBezTo>
                  <a:pt x="271044" y="319521"/>
                  <a:pt x="269968" y="317010"/>
                  <a:pt x="268036" y="315252"/>
                </a:cubicBezTo>
                <a:cubicBezTo>
                  <a:pt x="262824" y="310295"/>
                  <a:pt x="256016" y="307362"/>
                  <a:pt x="248831" y="306980"/>
                </a:cubicBezTo>
                <a:cubicBezTo>
                  <a:pt x="246517" y="306980"/>
                  <a:pt x="244898" y="307559"/>
                  <a:pt x="244493" y="308542"/>
                </a:cubicBezTo>
                <a:cubicBezTo>
                  <a:pt x="243585" y="311399"/>
                  <a:pt x="241011" y="313401"/>
                  <a:pt x="238015" y="313574"/>
                </a:cubicBezTo>
                <a:cubicBezTo>
                  <a:pt x="234162" y="313037"/>
                  <a:pt x="230836" y="310607"/>
                  <a:pt x="229164" y="307096"/>
                </a:cubicBezTo>
                <a:cubicBezTo>
                  <a:pt x="227261" y="303475"/>
                  <a:pt x="227261" y="299148"/>
                  <a:pt x="229164" y="295527"/>
                </a:cubicBezTo>
                <a:cubicBezTo>
                  <a:pt x="229523" y="294700"/>
                  <a:pt x="229755" y="293821"/>
                  <a:pt x="229859" y="292924"/>
                </a:cubicBezTo>
                <a:lnTo>
                  <a:pt x="229859" y="292924"/>
                </a:lnTo>
                <a:lnTo>
                  <a:pt x="229454" y="292924"/>
                </a:lnTo>
                <a:cubicBezTo>
                  <a:pt x="226214" y="292346"/>
                  <a:pt x="223669" y="288296"/>
                  <a:pt x="222397" y="286619"/>
                </a:cubicBezTo>
                <a:cubicBezTo>
                  <a:pt x="220332" y="283692"/>
                  <a:pt x="219383" y="280117"/>
                  <a:pt x="219736" y="276554"/>
                </a:cubicBezTo>
                <a:cubicBezTo>
                  <a:pt x="219169" y="269676"/>
                  <a:pt x="216965" y="263030"/>
                  <a:pt x="213315" y="257176"/>
                </a:cubicBezTo>
                <a:cubicBezTo>
                  <a:pt x="210590" y="251519"/>
                  <a:pt x="205813" y="247117"/>
                  <a:pt x="199953" y="244855"/>
                </a:cubicBezTo>
                <a:cubicBezTo>
                  <a:pt x="187285" y="241905"/>
                  <a:pt x="184162" y="226519"/>
                  <a:pt x="181848" y="215297"/>
                </a:cubicBezTo>
                <a:cubicBezTo>
                  <a:pt x="181848" y="213735"/>
                  <a:pt x="181269" y="212231"/>
                  <a:pt x="180922" y="210901"/>
                </a:cubicBezTo>
                <a:cubicBezTo>
                  <a:pt x="179765" y="205868"/>
                  <a:pt x="177104" y="205116"/>
                  <a:pt x="173403" y="204017"/>
                </a:cubicBezTo>
                <a:cubicBezTo>
                  <a:pt x="169284" y="203167"/>
                  <a:pt x="165599" y="200894"/>
                  <a:pt x="162990" y="197597"/>
                </a:cubicBezTo>
                <a:cubicBezTo>
                  <a:pt x="160202" y="194114"/>
                  <a:pt x="155870" y="192234"/>
                  <a:pt x="151421" y="192564"/>
                </a:cubicBezTo>
                <a:cubicBezTo>
                  <a:pt x="148778" y="192634"/>
                  <a:pt x="146146" y="192923"/>
                  <a:pt x="143555" y="193432"/>
                </a:cubicBezTo>
                <a:lnTo>
                  <a:pt x="139159" y="194010"/>
                </a:lnTo>
                <a:lnTo>
                  <a:pt x="138580" y="194010"/>
                </a:lnTo>
                <a:cubicBezTo>
                  <a:pt x="137209" y="194132"/>
                  <a:pt x="135943" y="193293"/>
                  <a:pt x="135514" y="191986"/>
                </a:cubicBezTo>
                <a:cubicBezTo>
                  <a:pt x="134300" y="187937"/>
                  <a:pt x="140489" y="179144"/>
                  <a:pt x="147951" y="174170"/>
                </a:cubicBezTo>
                <a:cubicBezTo>
                  <a:pt x="157264" y="167980"/>
                  <a:pt x="168486" y="133679"/>
                  <a:pt x="168486" y="127489"/>
                </a:cubicBezTo>
                <a:cubicBezTo>
                  <a:pt x="168486" y="125696"/>
                  <a:pt x="160908" y="123267"/>
                  <a:pt x="144075" y="123267"/>
                </a:cubicBezTo>
                <a:cubicBezTo>
                  <a:pt x="135821" y="122879"/>
                  <a:pt x="127561" y="123816"/>
                  <a:pt x="119607" y="126043"/>
                </a:cubicBezTo>
                <a:cubicBezTo>
                  <a:pt x="118265" y="126743"/>
                  <a:pt x="116779" y="127119"/>
                  <a:pt x="115269" y="127142"/>
                </a:cubicBezTo>
                <a:cubicBezTo>
                  <a:pt x="111127" y="127194"/>
                  <a:pt x="107454" y="124505"/>
                  <a:pt x="106245" y="120548"/>
                </a:cubicBezTo>
                <a:cubicBezTo>
                  <a:pt x="105719" y="118182"/>
                  <a:pt x="107107" y="115811"/>
                  <a:pt x="109427" y="115111"/>
                </a:cubicBezTo>
                <a:cubicBezTo>
                  <a:pt x="116310" y="112276"/>
                  <a:pt x="129961" y="98336"/>
                  <a:pt x="129325" y="93708"/>
                </a:cubicBezTo>
                <a:cubicBezTo>
                  <a:pt x="129360" y="90833"/>
                  <a:pt x="130500" y="88074"/>
                  <a:pt x="132507" y="86015"/>
                </a:cubicBezTo>
                <a:cubicBezTo>
                  <a:pt x="135052" y="82602"/>
                  <a:pt x="136382" y="80231"/>
                  <a:pt x="133721" y="78206"/>
                </a:cubicBezTo>
                <a:cubicBezTo>
                  <a:pt x="133189" y="77674"/>
                  <a:pt x="132501" y="77327"/>
                  <a:pt x="131755" y="77223"/>
                </a:cubicBezTo>
                <a:cubicBezTo>
                  <a:pt x="130424" y="77223"/>
                  <a:pt x="129152" y="79710"/>
                  <a:pt x="127937" y="82139"/>
                </a:cubicBezTo>
                <a:cubicBezTo>
                  <a:pt x="126815" y="84812"/>
                  <a:pt x="125143" y="87218"/>
                  <a:pt x="123020" y="89196"/>
                </a:cubicBezTo>
                <a:cubicBezTo>
                  <a:pt x="119561" y="91348"/>
                  <a:pt x="115512" y="92337"/>
                  <a:pt x="111451" y="92031"/>
                </a:cubicBezTo>
                <a:cubicBezTo>
                  <a:pt x="105187" y="91875"/>
                  <a:pt x="98945" y="91117"/>
                  <a:pt x="92826" y="89775"/>
                </a:cubicBezTo>
                <a:cubicBezTo>
                  <a:pt x="89401" y="89063"/>
                  <a:pt x="85861" y="90261"/>
                  <a:pt x="83570" y="92898"/>
                </a:cubicBezTo>
                <a:cubicBezTo>
                  <a:pt x="79313" y="98203"/>
                  <a:pt x="77057" y="104837"/>
                  <a:pt x="77208" y="111640"/>
                </a:cubicBezTo>
                <a:cubicBezTo>
                  <a:pt x="77208" y="115978"/>
                  <a:pt x="73563" y="119275"/>
                  <a:pt x="70150" y="122168"/>
                </a:cubicBezTo>
                <a:cubicBezTo>
                  <a:pt x="66738" y="125060"/>
                  <a:pt x="64366" y="127547"/>
                  <a:pt x="65002" y="129861"/>
                </a:cubicBezTo>
                <a:cubicBezTo>
                  <a:pt x="66124" y="132476"/>
                  <a:pt x="65904" y="135472"/>
                  <a:pt x="64424" y="137901"/>
                </a:cubicBezTo>
                <a:cubicBezTo>
                  <a:pt x="62816" y="140319"/>
                  <a:pt x="59547" y="140979"/>
                  <a:pt x="57124" y="139365"/>
                </a:cubicBezTo>
                <a:cubicBezTo>
                  <a:pt x="56858" y="139191"/>
                  <a:pt x="56615" y="138989"/>
                  <a:pt x="56383" y="138769"/>
                </a:cubicBezTo>
                <a:cubicBezTo>
                  <a:pt x="55481" y="137936"/>
                  <a:pt x="54631" y="137051"/>
                  <a:pt x="53838" y="136108"/>
                </a:cubicBezTo>
                <a:cubicBezTo>
                  <a:pt x="51583" y="133563"/>
                  <a:pt x="49095" y="130729"/>
                  <a:pt x="46087" y="130729"/>
                </a:cubicBezTo>
                <a:cubicBezTo>
                  <a:pt x="44294" y="130844"/>
                  <a:pt x="42599" y="131579"/>
                  <a:pt x="41286" y="132811"/>
                </a:cubicBezTo>
                <a:cubicBezTo>
                  <a:pt x="39204" y="134431"/>
                  <a:pt x="39609" y="135877"/>
                  <a:pt x="39724" y="136340"/>
                </a:cubicBezTo>
                <a:cubicBezTo>
                  <a:pt x="40997" y="140851"/>
                  <a:pt x="52392" y="145999"/>
                  <a:pt x="60433" y="146925"/>
                </a:cubicBezTo>
                <a:cubicBezTo>
                  <a:pt x="62110" y="146925"/>
                  <a:pt x="64019" y="147561"/>
                  <a:pt x="64540" y="149065"/>
                </a:cubicBezTo>
                <a:cubicBezTo>
                  <a:pt x="65060" y="150569"/>
                  <a:pt x="63209" y="152825"/>
                  <a:pt x="60201" y="155717"/>
                </a:cubicBezTo>
                <a:cubicBezTo>
                  <a:pt x="56071" y="159003"/>
                  <a:pt x="53000" y="163428"/>
                  <a:pt x="51351" y="168443"/>
                </a:cubicBezTo>
                <a:cubicBezTo>
                  <a:pt x="50483" y="173476"/>
                  <a:pt x="53318" y="174575"/>
                  <a:pt x="58003" y="176021"/>
                </a:cubicBezTo>
                <a:cubicBezTo>
                  <a:pt x="61474" y="177120"/>
                  <a:pt x="65465" y="178334"/>
                  <a:pt x="65928" y="182673"/>
                </a:cubicBezTo>
                <a:cubicBezTo>
                  <a:pt x="66391" y="187011"/>
                  <a:pt x="60143" y="190193"/>
                  <a:pt x="53781" y="192622"/>
                </a:cubicBezTo>
                <a:cubicBezTo>
                  <a:pt x="48632" y="194647"/>
                  <a:pt x="43311" y="196729"/>
                  <a:pt x="43311" y="199737"/>
                </a:cubicBezTo>
                <a:cubicBezTo>
                  <a:pt x="43311" y="201241"/>
                  <a:pt x="43831" y="201241"/>
                  <a:pt x="44294" y="201241"/>
                </a:cubicBezTo>
                <a:cubicBezTo>
                  <a:pt x="48488" y="200084"/>
                  <a:pt x="52421" y="198117"/>
                  <a:pt x="55863" y="195456"/>
                </a:cubicBezTo>
                <a:cubicBezTo>
                  <a:pt x="57887" y="194126"/>
                  <a:pt x="59796" y="192853"/>
                  <a:pt x="61300" y="192043"/>
                </a:cubicBezTo>
                <a:cubicBezTo>
                  <a:pt x="61780" y="191772"/>
                  <a:pt x="62313" y="191616"/>
                  <a:pt x="62862" y="191581"/>
                </a:cubicBezTo>
                <a:cubicBezTo>
                  <a:pt x="65349" y="191581"/>
                  <a:pt x="65349" y="194704"/>
                  <a:pt x="65407" y="198001"/>
                </a:cubicBezTo>
                <a:cubicBezTo>
                  <a:pt x="65407" y="204711"/>
                  <a:pt x="66044" y="209570"/>
                  <a:pt x="72985" y="208529"/>
                </a:cubicBezTo>
                <a:cubicBezTo>
                  <a:pt x="81199" y="207141"/>
                  <a:pt x="82876" y="199852"/>
                  <a:pt x="84553" y="194010"/>
                </a:cubicBezTo>
                <a:cubicBezTo>
                  <a:pt x="85421" y="190308"/>
                  <a:pt x="86231" y="187069"/>
                  <a:pt x="88892" y="187069"/>
                </a:cubicBezTo>
                <a:lnTo>
                  <a:pt x="89355" y="187069"/>
                </a:lnTo>
                <a:cubicBezTo>
                  <a:pt x="90263" y="187115"/>
                  <a:pt x="91102" y="187584"/>
                  <a:pt x="91611" y="188342"/>
                </a:cubicBezTo>
                <a:cubicBezTo>
                  <a:pt x="92652" y="189788"/>
                  <a:pt x="92247" y="191928"/>
                  <a:pt x="91611" y="194647"/>
                </a:cubicBezTo>
                <a:cubicBezTo>
                  <a:pt x="90373" y="198580"/>
                  <a:pt x="90581" y="202826"/>
                  <a:pt x="92189" y="206620"/>
                </a:cubicBezTo>
                <a:cubicBezTo>
                  <a:pt x="95081" y="212405"/>
                  <a:pt x="90743" y="219057"/>
                  <a:pt x="86925" y="225130"/>
                </a:cubicBezTo>
                <a:cubicBezTo>
                  <a:pt x="84669" y="228717"/>
                  <a:pt x="82298" y="232419"/>
                  <a:pt x="82587" y="234443"/>
                </a:cubicBezTo>
                <a:cubicBezTo>
                  <a:pt x="82876" y="236468"/>
                  <a:pt x="86694" y="237625"/>
                  <a:pt x="94908" y="237625"/>
                </a:cubicBezTo>
                <a:cubicBezTo>
                  <a:pt x="103122" y="237625"/>
                  <a:pt x="114864" y="235311"/>
                  <a:pt x="119839" y="230163"/>
                </a:cubicBezTo>
                <a:cubicBezTo>
                  <a:pt x="121695" y="227849"/>
                  <a:pt x="124362" y="226339"/>
                  <a:pt x="127300" y="225940"/>
                </a:cubicBezTo>
                <a:cubicBezTo>
                  <a:pt x="129129" y="225923"/>
                  <a:pt x="130777" y="227028"/>
                  <a:pt x="131465" y="228717"/>
                </a:cubicBezTo>
                <a:cubicBezTo>
                  <a:pt x="132726" y="232616"/>
                  <a:pt x="131674" y="236896"/>
                  <a:pt x="128747" y="239765"/>
                </a:cubicBezTo>
                <a:cubicBezTo>
                  <a:pt x="126306" y="242015"/>
                  <a:pt x="125155" y="245335"/>
                  <a:pt x="125681" y="248615"/>
                </a:cubicBezTo>
                <a:cubicBezTo>
                  <a:pt x="126832" y="251779"/>
                  <a:pt x="129476" y="254163"/>
                  <a:pt x="132738" y="254978"/>
                </a:cubicBezTo>
                <a:lnTo>
                  <a:pt x="133259" y="254978"/>
                </a:lnTo>
                <a:cubicBezTo>
                  <a:pt x="138175" y="256656"/>
                  <a:pt x="141183" y="257697"/>
                  <a:pt x="142051" y="260068"/>
                </a:cubicBezTo>
                <a:cubicBezTo>
                  <a:pt x="142919" y="262440"/>
                  <a:pt x="142051" y="263597"/>
                  <a:pt x="140605" y="266489"/>
                </a:cubicBezTo>
                <a:cubicBezTo>
                  <a:pt x="138968" y="270880"/>
                  <a:pt x="138413" y="275605"/>
                  <a:pt x="138985" y="280256"/>
                </a:cubicBezTo>
                <a:cubicBezTo>
                  <a:pt x="139332" y="283819"/>
                  <a:pt x="139078" y="287417"/>
                  <a:pt x="138233" y="290900"/>
                </a:cubicBezTo>
                <a:cubicBezTo>
                  <a:pt x="136671" y="295701"/>
                  <a:pt x="125681" y="296048"/>
                  <a:pt x="122384" y="296048"/>
                </a:cubicBezTo>
                <a:cubicBezTo>
                  <a:pt x="120128" y="296048"/>
                  <a:pt x="108964" y="296048"/>
                  <a:pt x="108212" y="291998"/>
                </a:cubicBezTo>
                <a:cubicBezTo>
                  <a:pt x="108212" y="291073"/>
                  <a:pt x="106766" y="291015"/>
                  <a:pt x="106245" y="291015"/>
                </a:cubicBezTo>
                <a:cubicBezTo>
                  <a:pt x="104533" y="290980"/>
                  <a:pt x="102908" y="291750"/>
                  <a:pt x="101849" y="293097"/>
                </a:cubicBezTo>
                <a:cubicBezTo>
                  <a:pt x="101386" y="293902"/>
                  <a:pt x="101386" y="294896"/>
                  <a:pt x="101849" y="295701"/>
                </a:cubicBezTo>
                <a:cubicBezTo>
                  <a:pt x="103758" y="299460"/>
                  <a:pt x="100576" y="303105"/>
                  <a:pt x="97742" y="306344"/>
                </a:cubicBezTo>
                <a:cubicBezTo>
                  <a:pt x="95718" y="308658"/>
                  <a:pt x="93577" y="311087"/>
                  <a:pt x="93867" y="312996"/>
                </a:cubicBezTo>
                <a:cubicBezTo>
                  <a:pt x="94156" y="314905"/>
                  <a:pt x="97453" y="315715"/>
                  <a:pt x="100634" y="316698"/>
                </a:cubicBezTo>
                <a:cubicBezTo>
                  <a:pt x="104915" y="317971"/>
                  <a:pt x="109774" y="319417"/>
                  <a:pt x="110063" y="323639"/>
                </a:cubicBezTo>
                <a:cubicBezTo>
                  <a:pt x="110468" y="330523"/>
                  <a:pt x="99362" y="338621"/>
                  <a:pt x="82992" y="343306"/>
                </a:cubicBezTo>
                <a:cubicBezTo>
                  <a:pt x="80967" y="343885"/>
                  <a:pt x="77612" y="345215"/>
                  <a:pt x="77960" y="347471"/>
                </a:cubicBezTo>
                <a:cubicBezTo>
                  <a:pt x="78307" y="349727"/>
                  <a:pt x="83744" y="353718"/>
                  <a:pt x="88603" y="353718"/>
                </a:cubicBezTo>
                <a:cubicBezTo>
                  <a:pt x="89997" y="353788"/>
                  <a:pt x="91379" y="353400"/>
                  <a:pt x="92536" y="352619"/>
                </a:cubicBezTo>
                <a:cubicBezTo>
                  <a:pt x="93785" y="351549"/>
                  <a:pt x="95347" y="350901"/>
                  <a:pt x="96990" y="350768"/>
                </a:cubicBezTo>
                <a:cubicBezTo>
                  <a:pt x="98587" y="350867"/>
                  <a:pt x="100073" y="351619"/>
                  <a:pt x="101097" y="352851"/>
                </a:cubicBezTo>
                <a:cubicBezTo>
                  <a:pt x="103266" y="355014"/>
                  <a:pt x="106251" y="356171"/>
                  <a:pt x="109311" y="356032"/>
                </a:cubicBezTo>
                <a:cubicBezTo>
                  <a:pt x="113314" y="356235"/>
                  <a:pt x="117236" y="357195"/>
                  <a:pt x="120880" y="358867"/>
                </a:cubicBezTo>
                <a:cubicBezTo>
                  <a:pt x="124125" y="360341"/>
                  <a:pt x="127619" y="361203"/>
                  <a:pt x="131176" y="361412"/>
                </a:cubicBezTo>
                <a:cubicBezTo>
                  <a:pt x="133317" y="361394"/>
                  <a:pt x="135433" y="360984"/>
                  <a:pt x="137423" y="360197"/>
                </a:cubicBezTo>
                <a:cubicBezTo>
                  <a:pt x="139783" y="359156"/>
                  <a:pt x="142311" y="358525"/>
                  <a:pt x="144885" y="358346"/>
                </a:cubicBezTo>
                <a:cubicBezTo>
                  <a:pt x="146852" y="358346"/>
                  <a:pt x="147546" y="359156"/>
                  <a:pt x="147778" y="359908"/>
                </a:cubicBezTo>
                <a:cubicBezTo>
                  <a:pt x="148472" y="361932"/>
                  <a:pt x="146158" y="364940"/>
                  <a:pt x="140952" y="368989"/>
                </a:cubicBezTo>
                <a:cubicBezTo>
                  <a:pt x="137574" y="371355"/>
                  <a:pt x="133502" y="372535"/>
                  <a:pt x="129383" y="372344"/>
                </a:cubicBezTo>
                <a:cubicBezTo>
                  <a:pt x="127300" y="372344"/>
                  <a:pt x="125218" y="372344"/>
                  <a:pt x="123194" y="372055"/>
                </a:cubicBezTo>
                <a:cubicBezTo>
                  <a:pt x="121169" y="371766"/>
                  <a:pt x="118508" y="371245"/>
                  <a:pt x="116715" y="371245"/>
                </a:cubicBezTo>
                <a:close/>
                <a:moveTo>
                  <a:pt x="44930" y="266778"/>
                </a:moveTo>
                <a:cubicBezTo>
                  <a:pt x="44705" y="266854"/>
                  <a:pt x="44462" y="266854"/>
                  <a:pt x="44236" y="266778"/>
                </a:cubicBezTo>
                <a:cubicBezTo>
                  <a:pt x="40852" y="264349"/>
                  <a:pt x="37769" y="261538"/>
                  <a:pt x="35039" y="258391"/>
                </a:cubicBezTo>
                <a:cubicBezTo>
                  <a:pt x="32031" y="254862"/>
                  <a:pt x="29254" y="253011"/>
                  <a:pt x="27230" y="253011"/>
                </a:cubicBezTo>
                <a:cubicBezTo>
                  <a:pt x="23933" y="253011"/>
                  <a:pt x="21908" y="258044"/>
                  <a:pt x="21446" y="262729"/>
                </a:cubicBezTo>
                <a:cubicBezTo>
                  <a:pt x="20925" y="265911"/>
                  <a:pt x="18900" y="266373"/>
                  <a:pt x="17743" y="266373"/>
                </a:cubicBezTo>
                <a:cubicBezTo>
                  <a:pt x="14892" y="265899"/>
                  <a:pt x="12185" y="264794"/>
                  <a:pt x="9819" y="263134"/>
                </a:cubicBezTo>
                <a:cubicBezTo>
                  <a:pt x="7696" y="261792"/>
                  <a:pt x="5400" y="260739"/>
                  <a:pt x="2993" y="260011"/>
                </a:cubicBezTo>
                <a:cubicBezTo>
                  <a:pt x="1501" y="259779"/>
                  <a:pt x="303" y="258651"/>
                  <a:pt x="-15" y="257176"/>
                </a:cubicBezTo>
                <a:cubicBezTo>
                  <a:pt x="-940" y="252722"/>
                  <a:pt x="5133" y="244624"/>
                  <a:pt x="8720" y="242079"/>
                </a:cubicBezTo>
                <a:cubicBezTo>
                  <a:pt x="12485" y="237943"/>
                  <a:pt x="14909" y="232760"/>
                  <a:pt x="15661" y="227213"/>
                </a:cubicBezTo>
                <a:cubicBezTo>
                  <a:pt x="15771" y="226686"/>
                  <a:pt x="16222" y="226305"/>
                  <a:pt x="16760" y="226287"/>
                </a:cubicBezTo>
                <a:lnTo>
                  <a:pt x="16760" y="226287"/>
                </a:lnTo>
                <a:cubicBezTo>
                  <a:pt x="21156" y="225813"/>
                  <a:pt x="25402" y="224390"/>
                  <a:pt x="29197" y="222123"/>
                </a:cubicBezTo>
                <a:cubicBezTo>
                  <a:pt x="33425" y="219641"/>
                  <a:pt x="38145" y="218102"/>
                  <a:pt x="43021" y="217611"/>
                </a:cubicBezTo>
                <a:cubicBezTo>
                  <a:pt x="46272" y="217617"/>
                  <a:pt x="49390" y="218901"/>
                  <a:pt x="51698" y="221197"/>
                </a:cubicBezTo>
                <a:cubicBezTo>
                  <a:pt x="60664" y="229874"/>
                  <a:pt x="69919" y="238550"/>
                  <a:pt x="69977" y="246591"/>
                </a:cubicBezTo>
                <a:cubicBezTo>
                  <a:pt x="69965" y="249205"/>
                  <a:pt x="68907" y="251710"/>
                  <a:pt x="67027" y="253532"/>
                </a:cubicBezTo>
                <a:cubicBezTo>
                  <a:pt x="63492" y="256586"/>
                  <a:pt x="59409" y="258940"/>
                  <a:pt x="54995" y="260473"/>
                </a:cubicBezTo>
                <a:cubicBezTo>
                  <a:pt x="50657" y="262267"/>
                  <a:pt x="46955" y="263771"/>
                  <a:pt x="46261" y="266258"/>
                </a:cubicBezTo>
                <a:cubicBezTo>
                  <a:pt x="46139" y="266611"/>
                  <a:pt x="45862" y="266888"/>
                  <a:pt x="45509" y="267010"/>
                </a:cubicBezTo>
                <a:close/>
                <a:moveTo>
                  <a:pt x="27230" y="250524"/>
                </a:moveTo>
                <a:cubicBezTo>
                  <a:pt x="31134" y="251120"/>
                  <a:pt x="34605" y="253353"/>
                  <a:pt x="36774" y="256656"/>
                </a:cubicBezTo>
                <a:cubicBezTo>
                  <a:pt x="39082" y="259345"/>
                  <a:pt x="41679" y="261775"/>
                  <a:pt x="44525" y="263886"/>
                </a:cubicBezTo>
                <a:cubicBezTo>
                  <a:pt x="47042" y="261110"/>
                  <a:pt x="50292" y="259108"/>
                  <a:pt x="53896" y="258102"/>
                </a:cubicBezTo>
                <a:cubicBezTo>
                  <a:pt x="58038" y="256685"/>
                  <a:pt x="61867" y="254486"/>
                  <a:pt x="65176" y="251623"/>
                </a:cubicBezTo>
                <a:cubicBezTo>
                  <a:pt x="66639" y="250264"/>
                  <a:pt x="67478" y="248361"/>
                  <a:pt x="67490" y="246359"/>
                </a:cubicBezTo>
                <a:cubicBezTo>
                  <a:pt x="67490" y="239476"/>
                  <a:pt x="58119" y="230510"/>
                  <a:pt x="50136" y="222585"/>
                </a:cubicBezTo>
                <a:cubicBezTo>
                  <a:pt x="48274" y="220653"/>
                  <a:pt x="45705" y="219566"/>
                  <a:pt x="43021" y="219577"/>
                </a:cubicBezTo>
                <a:cubicBezTo>
                  <a:pt x="38481" y="220087"/>
                  <a:pt x="34102" y="221567"/>
                  <a:pt x="30180" y="223916"/>
                </a:cubicBezTo>
                <a:cubicBezTo>
                  <a:pt x="26310" y="226143"/>
                  <a:pt x="22047" y="227612"/>
                  <a:pt x="17628" y="228254"/>
                </a:cubicBezTo>
                <a:cubicBezTo>
                  <a:pt x="16795" y="234079"/>
                  <a:pt x="14094" y="239476"/>
                  <a:pt x="9935" y="243641"/>
                </a:cubicBezTo>
                <a:cubicBezTo>
                  <a:pt x="6695" y="245954"/>
                  <a:pt x="1489" y="253301"/>
                  <a:pt x="2125" y="256424"/>
                </a:cubicBezTo>
                <a:cubicBezTo>
                  <a:pt x="2287" y="257014"/>
                  <a:pt x="2791" y="257448"/>
                  <a:pt x="3398" y="257523"/>
                </a:cubicBezTo>
                <a:cubicBezTo>
                  <a:pt x="6047" y="258246"/>
                  <a:pt x="8564" y="259374"/>
                  <a:pt x="10860" y="260878"/>
                </a:cubicBezTo>
                <a:cubicBezTo>
                  <a:pt x="12919" y="262301"/>
                  <a:pt x="15239" y="263302"/>
                  <a:pt x="17686" y="263828"/>
                </a:cubicBezTo>
                <a:cubicBezTo>
                  <a:pt x="18090" y="263828"/>
                  <a:pt x="18842" y="263828"/>
                  <a:pt x="19132" y="262093"/>
                </a:cubicBezTo>
                <a:cubicBezTo>
                  <a:pt x="19479" y="258680"/>
                  <a:pt x="21446" y="250582"/>
                  <a:pt x="27230" y="250582"/>
                </a:cubicBezTo>
                <a:close/>
                <a:moveTo>
                  <a:pt x="28734" y="120317"/>
                </a:moveTo>
                <a:lnTo>
                  <a:pt x="28734" y="120317"/>
                </a:lnTo>
                <a:cubicBezTo>
                  <a:pt x="27912" y="120351"/>
                  <a:pt x="27114" y="120039"/>
                  <a:pt x="26536" y="119449"/>
                </a:cubicBezTo>
                <a:cubicBezTo>
                  <a:pt x="26085" y="118830"/>
                  <a:pt x="25859" y="118072"/>
                  <a:pt x="25900" y="117309"/>
                </a:cubicBezTo>
                <a:cubicBezTo>
                  <a:pt x="25900" y="110772"/>
                  <a:pt x="39088" y="93245"/>
                  <a:pt x="45451" y="93245"/>
                </a:cubicBezTo>
                <a:cubicBezTo>
                  <a:pt x="46058" y="93211"/>
                  <a:pt x="46573" y="93679"/>
                  <a:pt x="46608" y="94287"/>
                </a:cubicBezTo>
                <a:cubicBezTo>
                  <a:pt x="46608" y="94304"/>
                  <a:pt x="46608" y="94327"/>
                  <a:pt x="46608" y="94345"/>
                </a:cubicBezTo>
                <a:cubicBezTo>
                  <a:pt x="46608" y="94981"/>
                  <a:pt x="46087" y="95502"/>
                  <a:pt x="45451" y="95502"/>
                </a:cubicBezTo>
                <a:cubicBezTo>
                  <a:pt x="40534" y="95502"/>
                  <a:pt x="28098" y="112161"/>
                  <a:pt x="28098" y="117367"/>
                </a:cubicBezTo>
                <a:cubicBezTo>
                  <a:pt x="28034" y="117552"/>
                  <a:pt x="28034" y="117760"/>
                  <a:pt x="28098" y="117945"/>
                </a:cubicBezTo>
                <a:cubicBezTo>
                  <a:pt x="28098" y="117945"/>
                  <a:pt x="28098" y="117945"/>
                  <a:pt x="28560" y="117945"/>
                </a:cubicBezTo>
                <a:cubicBezTo>
                  <a:pt x="29168" y="117945"/>
                  <a:pt x="29659" y="118437"/>
                  <a:pt x="29659" y="119044"/>
                </a:cubicBezTo>
                <a:cubicBezTo>
                  <a:pt x="29659" y="119061"/>
                  <a:pt x="29659" y="119085"/>
                  <a:pt x="29659" y="119102"/>
                </a:cubicBezTo>
                <a:cubicBezTo>
                  <a:pt x="29787" y="119663"/>
                  <a:pt x="29440" y="120218"/>
                  <a:pt x="28878" y="120351"/>
                </a:cubicBezTo>
                <a:cubicBezTo>
                  <a:pt x="28809" y="120363"/>
                  <a:pt x="28746" y="120374"/>
                  <a:pt x="28676" y="120374"/>
                </a:cubicBezTo>
                <a:close/>
                <a:moveTo>
                  <a:pt x="184914" y="32914"/>
                </a:moveTo>
                <a:lnTo>
                  <a:pt x="184914" y="32914"/>
                </a:lnTo>
                <a:cubicBezTo>
                  <a:pt x="184277" y="32914"/>
                  <a:pt x="182600" y="32914"/>
                  <a:pt x="181732" y="26204"/>
                </a:cubicBezTo>
                <a:cubicBezTo>
                  <a:pt x="180575" y="17296"/>
                  <a:pt x="181732" y="2314"/>
                  <a:pt x="189483" y="174"/>
                </a:cubicBezTo>
                <a:cubicBezTo>
                  <a:pt x="191780" y="-717"/>
                  <a:pt x="194359" y="423"/>
                  <a:pt x="195245" y="2719"/>
                </a:cubicBezTo>
                <a:cubicBezTo>
                  <a:pt x="195250" y="2737"/>
                  <a:pt x="195262" y="2760"/>
                  <a:pt x="195268" y="2777"/>
                </a:cubicBezTo>
                <a:cubicBezTo>
                  <a:pt x="197928" y="9140"/>
                  <a:pt x="191855" y="26609"/>
                  <a:pt x="186128" y="32393"/>
                </a:cubicBezTo>
                <a:cubicBezTo>
                  <a:pt x="185793" y="32740"/>
                  <a:pt x="185336" y="32949"/>
                  <a:pt x="184856" y="32972"/>
                </a:cubicBezTo>
                <a:close/>
                <a:moveTo>
                  <a:pt x="191218" y="2199"/>
                </a:moveTo>
                <a:lnTo>
                  <a:pt x="190062" y="2199"/>
                </a:lnTo>
                <a:cubicBezTo>
                  <a:pt x="186996" y="3008"/>
                  <a:pt x="185434" y="6884"/>
                  <a:pt x="184682" y="9950"/>
                </a:cubicBezTo>
                <a:cubicBezTo>
                  <a:pt x="183011" y="16573"/>
                  <a:pt x="183011" y="23514"/>
                  <a:pt x="184682" y="30137"/>
                </a:cubicBezTo>
                <a:cubicBezTo>
                  <a:pt x="189657" y="24353"/>
                  <a:pt x="195094" y="8793"/>
                  <a:pt x="192896" y="3471"/>
                </a:cubicBezTo>
                <a:cubicBezTo>
                  <a:pt x="192589" y="2725"/>
                  <a:pt x="191855" y="2245"/>
                  <a:pt x="191045" y="225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7" name="Forma libre: forma 406">
            <a:extLst>
              <a:ext uri="{FF2B5EF4-FFF2-40B4-BE49-F238E27FC236}">
                <a16:creationId xmlns:a16="http://schemas.microsoft.com/office/drawing/2014/main" id="{53A5CE8A-7835-E461-AE40-CC7BBDEF66FE}"/>
              </a:ext>
            </a:extLst>
          </p:cNvPr>
          <p:cNvSpPr/>
          <p:nvPr/>
        </p:nvSpPr>
        <p:spPr>
          <a:xfrm>
            <a:off x="6408245" y="2682569"/>
            <a:ext cx="128357" cy="123014"/>
          </a:xfrm>
          <a:custGeom>
            <a:avLst/>
            <a:gdLst>
              <a:gd name="connsiteX0" fmla="*/ 101273 w 128357"/>
              <a:gd name="connsiteY0" fmla="*/ 122885 h 123014"/>
              <a:gd name="connsiteX1" fmla="*/ 101273 w 128357"/>
              <a:gd name="connsiteY1" fmla="*/ 122885 h 123014"/>
              <a:gd name="connsiteX2" fmla="*/ 99885 w 128357"/>
              <a:gd name="connsiteY2" fmla="*/ 122885 h 123014"/>
              <a:gd name="connsiteX3" fmla="*/ 88316 w 128357"/>
              <a:gd name="connsiteY3" fmla="*/ 111316 h 123014"/>
              <a:gd name="connsiteX4" fmla="*/ 93233 w 128357"/>
              <a:gd name="connsiteY4" fmla="*/ 108424 h 123014"/>
              <a:gd name="connsiteX5" fmla="*/ 95720 w 128357"/>
              <a:gd name="connsiteY5" fmla="*/ 108713 h 123014"/>
              <a:gd name="connsiteX6" fmla="*/ 101505 w 128357"/>
              <a:gd name="connsiteY6" fmla="*/ 105879 h 123014"/>
              <a:gd name="connsiteX7" fmla="*/ 99885 w 128357"/>
              <a:gd name="connsiteY7" fmla="*/ 103218 h 123014"/>
              <a:gd name="connsiteX8" fmla="*/ 86523 w 128357"/>
              <a:gd name="connsiteY8" fmla="*/ 87079 h 123014"/>
              <a:gd name="connsiteX9" fmla="*/ 89068 w 128357"/>
              <a:gd name="connsiteY9" fmla="*/ 76552 h 123014"/>
              <a:gd name="connsiteX10" fmla="*/ 98439 w 128357"/>
              <a:gd name="connsiteY10" fmla="*/ 70768 h 123014"/>
              <a:gd name="connsiteX11" fmla="*/ 102315 w 128357"/>
              <a:gd name="connsiteY11" fmla="*/ 71288 h 123014"/>
              <a:gd name="connsiteX12" fmla="*/ 104628 w 128357"/>
              <a:gd name="connsiteY12" fmla="*/ 71635 h 123014"/>
              <a:gd name="connsiteX13" fmla="*/ 106653 w 128357"/>
              <a:gd name="connsiteY13" fmla="*/ 69090 h 123014"/>
              <a:gd name="connsiteX14" fmla="*/ 109140 w 128357"/>
              <a:gd name="connsiteY14" fmla="*/ 65504 h 123014"/>
              <a:gd name="connsiteX15" fmla="*/ 113247 w 128357"/>
              <a:gd name="connsiteY15" fmla="*/ 70016 h 123014"/>
              <a:gd name="connsiteX16" fmla="*/ 116776 w 128357"/>
              <a:gd name="connsiteY16" fmla="*/ 74643 h 123014"/>
              <a:gd name="connsiteX17" fmla="*/ 120420 w 128357"/>
              <a:gd name="connsiteY17" fmla="*/ 71404 h 123014"/>
              <a:gd name="connsiteX18" fmla="*/ 125279 w 128357"/>
              <a:gd name="connsiteY18" fmla="*/ 67817 h 123014"/>
              <a:gd name="connsiteX19" fmla="*/ 126956 w 128357"/>
              <a:gd name="connsiteY19" fmla="*/ 68338 h 123014"/>
              <a:gd name="connsiteX20" fmla="*/ 124353 w 128357"/>
              <a:gd name="connsiteY20" fmla="*/ 85691 h 123014"/>
              <a:gd name="connsiteX21" fmla="*/ 120941 w 128357"/>
              <a:gd name="connsiteY21" fmla="*/ 98533 h 123014"/>
              <a:gd name="connsiteX22" fmla="*/ 114288 w 128357"/>
              <a:gd name="connsiteY22" fmla="*/ 114324 h 123014"/>
              <a:gd name="connsiteX23" fmla="*/ 101273 w 128357"/>
              <a:gd name="connsiteY23" fmla="*/ 122885 h 123014"/>
              <a:gd name="connsiteX24" fmla="*/ 91845 w 128357"/>
              <a:gd name="connsiteY24" fmla="*/ 110449 h 123014"/>
              <a:gd name="connsiteX25" fmla="*/ 90572 w 128357"/>
              <a:gd name="connsiteY25" fmla="*/ 111432 h 123014"/>
              <a:gd name="connsiteX26" fmla="*/ 100521 w 128357"/>
              <a:gd name="connsiteY26" fmla="*/ 120456 h 123014"/>
              <a:gd name="connsiteX27" fmla="*/ 101505 w 128357"/>
              <a:gd name="connsiteY27" fmla="*/ 120456 h 123014"/>
              <a:gd name="connsiteX28" fmla="*/ 101505 w 128357"/>
              <a:gd name="connsiteY28" fmla="*/ 120456 h 123014"/>
              <a:gd name="connsiteX29" fmla="*/ 112726 w 128357"/>
              <a:gd name="connsiteY29" fmla="*/ 112936 h 123014"/>
              <a:gd name="connsiteX30" fmla="*/ 119032 w 128357"/>
              <a:gd name="connsiteY30" fmla="*/ 99111 h 123014"/>
              <a:gd name="connsiteX31" fmla="*/ 122502 w 128357"/>
              <a:gd name="connsiteY31" fmla="*/ 84997 h 123014"/>
              <a:gd name="connsiteX32" fmla="*/ 125973 w 128357"/>
              <a:gd name="connsiteY32" fmla="*/ 70305 h 123014"/>
              <a:gd name="connsiteX33" fmla="*/ 125510 w 128357"/>
              <a:gd name="connsiteY33" fmla="*/ 70305 h 123014"/>
              <a:gd name="connsiteX34" fmla="*/ 122444 w 128357"/>
              <a:gd name="connsiteY34" fmla="*/ 73081 h 123014"/>
              <a:gd name="connsiteX35" fmla="*/ 117528 w 128357"/>
              <a:gd name="connsiteY35" fmla="*/ 77073 h 123014"/>
              <a:gd name="connsiteX36" fmla="*/ 117007 w 128357"/>
              <a:gd name="connsiteY36" fmla="*/ 77073 h 123014"/>
              <a:gd name="connsiteX37" fmla="*/ 111570 w 128357"/>
              <a:gd name="connsiteY37" fmla="*/ 71288 h 123014"/>
              <a:gd name="connsiteX38" fmla="*/ 109487 w 128357"/>
              <a:gd name="connsiteY38" fmla="*/ 68107 h 123014"/>
              <a:gd name="connsiteX39" fmla="*/ 109140 w 128357"/>
              <a:gd name="connsiteY39" fmla="*/ 69611 h 123014"/>
              <a:gd name="connsiteX40" fmla="*/ 104860 w 128357"/>
              <a:gd name="connsiteY40" fmla="*/ 74007 h 123014"/>
              <a:gd name="connsiteX41" fmla="*/ 102083 w 128357"/>
              <a:gd name="connsiteY41" fmla="*/ 73602 h 123014"/>
              <a:gd name="connsiteX42" fmla="*/ 98670 w 128357"/>
              <a:gd name="connsiteY42" fmla="*/ 73139 h 123014"/>
              <a:gd name="connsiteX43" fmla="*/ 91151 w 128357"/>
              <a:gd name="connsiteY43" fmla="*/ 77709 h 123014"/>
              <a:gd name="connsiteX44" fmla="*/ 88953 w 128357"/>
              <a:gd name="connsiteY44" fmla="*/ 86559 h 123014"/>
              <a:gd name="connsiteX45" fmla="*/ 101331 w 128357"/>
              <a:gd name="connsiteY45" fmla="*/ 101194 h 123014"/>
              <a:gd name="connsiteX46" fmla="*/ 103934 w 128357"/>
              <a:gd name="connsiteY46" fmla="*/ 106399 h 123014"/>
              <a:gd name="connsiteX47" fmla="*/ 92828 w 128357"/>
              <a:gd name="connsiteY47" fmla="*/ 110507 h 123014"/>
              <a:gd name="connsiteX48" fmla="*/ 46206 w 128357"/>
              <a:gd name="connsiteY48" fmla="*/ 116580 h 123014"/>
              <a:gd name="connsiteX49" fmla="*/ 42619 w 128357"/>
              <a:gd name="connsiteY49" fmla="*/ 116175 h 123014"/>
              <a:gd name="connsiteX50" fmla="*/ 18035 w 128357"/>
              <a:gd name="connsiteY50" fmla="*/ 113804 h 123014"/>
              <a:gd name="connsiteX51" fmla="*/ 17168 w 128357"/>
              <a:gd name="connsiteY51" fmla="*/ 113283 h 123014"/>
              <a:gd name="connsiteX52" fmla="*/ 12830 w 128357"/>
              <a:gd name="connsiteY52" fmla="*/ 100210 h 123014"/>
              <a:gd name="connsiteX53" fmla="*/ 8491 w 128357"/>
              <a:gd name="connsiteY53" fmla="*/ 88641 h 123014"/>
              <a:gd name="connsiteX54" fmla="*/ 2302 w 128357"/>
              <a:gd name="connsiteY54" fmla="*/ 77073 h 123014"/>
              <a:gd name="connsiteX55" fmla="*/ 1955 w 128357"/>
              <a:gd name="connsiteY55" fmla="*/ 75221 h 123014"/>
              <a:gd name="connsiteX56" fmla="*/ 2475 w 128357"/>
              <a:gd name="connsiteY56" fmla="*/ 45142 h 123014"/>
              <a:gd name="connsiteX57" fmla="*/ 5888 w 128357"/>
              <a:gd name="connsiteY57" fmla="*/ 37333 h 123014"/>
              <a:gd name="connsiteX58" fmla="*/ 17457 w 128357"/>
              <a:gd name="connsiteY58" fmla="*/ 24839 h 123014"/>
              <a:gd name="connsiteX59" fmla="*/ 27001 w 128357"/>
              <a:gd name="connsiteY59" fmla="*/ 31028 h 123014"/>
              <a:gd name="connsiteX60" fmla="*/ 30761 w 128357"/>
              <a:gd name="connsiteY60" fmla="*/ 34036 h 123014"/>
              <a:gd name="connsiteX61" fmla="*/ 32323 w 128357"/>
              <a:gd name="connsiteY61" fmla="*/ 33226 h 123014"/>
              <a:gd name="connsiteX62" fmla="*/ 31744 w 128357"/>
              <a:gd name="connsiteY62" fmla="*/ 26806 h 123014"/>
              <a:gd name="connsiteX63" fmla="*/ 31224 w 128357"/>
              <a:gd name="connsiteY63" fmla="*/ 21021 h 123014"/>
              <a:gd name="connsiteX64" fmla="*/ 37008 w 128357"/>
              <a:gd name="connsiteY64" fmla="*/ 19922 h 123014"/>
              <a:gd name="connsiteX65" fmla="*/ 46958 w 128357"/>
              <a:gd name="connsiteY65" fmla="*/ 13328 h 123014"/>
              <a:gd name="connsiteX66" fmla="*/ 63154 w 128357"/>
              <a:gd name="connsiteY66" fmla="*/ -92 h 123014"/>
              <a:gd name="connsiteX67" fmla="*/ 68938 w 128357"/>
              <a:gd name="connsiteY67" fmla="*/ 1759 h 123014"/>
              <a:gd name="connsiteX68" fmla="*/ 71426 w 128357"/>
              <a:gd name="connsiteY68" fmla="*/ 11708 h 123014"/>
              <a:gd name="connsiteX69" fmla="*/ 66046 w 128357"/>
              <a:gd name="connsiteY69" fmla="*/ 26864 h 123014"/>
              <a:gd name="connsiteX70" fmla="*/ 63559 w 128357"/>
              <a:gd name="connsiteY70" fmla="*/ 36871 h 123014"/>
              <a:gd name="connsiteX71" fmla="*/ 66625 w 128357"/>
              <a:gd name="connsiteY71" fmla="*/ 43928 h 123014"/>
              <a:gd name="connsiteX72" fmla="*/ 80103 w 128357"/>
              <a:gd name="connsiteY72" fmla="*/ 58273 h 123014"/>
              <a:gd name="connsiteX73" fmla="*/ 71252 w 128357"/>
              <a:gd name="connsiteY73" fmla="*/ 63016 h 123014"/>
              <a:gd name="connsiteX74" fmla="*/ 62749 w 128357"/>
              <a:gd name="connsiteY74" fmla="*/ 67528 h 123014"/>
              <a:gd name="connsiteX75" fmla="*/ 58179 w 128357"/>
              <a:gd name="connsiteY75" fmla="*/ 75453 h 123014"/>
              <a:gd name="connsiteX76" fmla="*/ 54940 w 128357"/>
              <a:gd name="connsiteY76" fmla="*/ 83493 h 123014"/>
              <a:gd name="connsiteX77" fmla="*/ 65989 w 128357"/>
              <a:gd name="connsiteY77" fmla="*/ 84766 h 123014"/>
              <a:gd name="connsiteX78" fmla="*/ 73103 w 128357"/>
              <a:gd name="connsiteY78" fmla="*/ 86327 h 123014"/>
              <a:gd name="connsiteX79" fmla="*/ 77326 w 128357"/>
              <a:gd name="connsiteY79" fmla="*/ 102929 h 123014"/>
              <a:gd name="connsiteX80" fmla="*/ 68418 w 128357"/>
              <a:gd name="connsiteY80" fmla="*/ 108135 h 123014"/>
              <a:gd name="connsiteX81" fmla="*/ 56097 w 128357"/>
              <a:gd name="connsiteY81" fmla="*/ 103970 h 123014"/>
              <a:gd name="connsiteX82" fmla="*/ 45858 w 128357"/>
              <a:gd name="connsiteY82" fmla="*/ 98533 h 123014"/>
              <a:gd name="connsiteX83" fmla="*/ 43834 w 128357"/>
              <a:gd name="connsiteY83" fmla="*/ 100442 h 123014"/>
              <a:gd name="connsiteX84" fmla="*/ 48809 w 128357"/>
              <a:gd name="connsiteY84" fmla="*/ 107672 h 123014"/>
              <a:gd name="connsiteX85" fmla="*/ 54593 w 128357"/>
              <a:gd name="connsiteY85" fmla="*/ 114382 h 123014"/>
              <a:gd name="connsiteX86" fmla="*/ 54593 w 128357"/>
              <a:gd name="connsiteY86" fmla="*/ 115481 h 123014"/>
              <a:gd name="connsiteX87" fmla="*/ 53726 w 128357"/>
              <a:gd name="connsiteY87" fmla="*/ 116117 h 123014"/>
              <a:gd name="connsiteX88" fmla="*/ 46206 w 128357"/>
              <a:gd name="connsiteY88" fmla="*/ 116638 h 123014"/>
              <a:gd name="connsiteX89" fmla="*/ 18672 w 128357"/>
              <a:gd name="connsiteY89" fmla="*/ 111548 h 123014"/>
              <a:gd name="connsiteX90" fmla="*/ 43313 w 128357"/>
              <a:gd name="connsiteY90" fmla="*/ 114035 h 123014"/>
              <a:gd name="connsiteX91" fmla="*/ 46206 w 128357"/>
              <a:gd name="connsiteY91" fmla="*/ 114324 h 123014"/>
              <a:gd name="connsiteX92" fmla="*/ 51122 w 128357"/>
              <a:gd name="connsiteY92" fmla="*/ 113977 h 123014"/>
              <a:gd name="connsiteX93" fmla="*/ 46668 w 128357"/>
              <a:gd name="connsiteY93" fmla="*/ 109176 h 123014"/>
              <a:gd name="connsiteX94" fmla="*/ 40884 w 128357"/>
              <a:gd name="connsiteY94" fmla="*/ 100037 h 123014"/>
              <a:gd name="connsiteX95" fmla="*/ 45095 w 128357"/>
              <a:gd name="connsiteY95" fmla="*/ 96155 h 123014"/>
              <a:gd name="connsiteX96" fmla="*/ 45164 w 128357"/>
              <a:gd name="connsiteY96" fmla="*/ 96161 h 123014"/>
              <a:gd name="connsiteX97" fmla="*/ 56733 w 128357"/>
              <a:gd name="connsiteY97" fmla="*/ 101946 h 123014"/>
              <a:gd name="connsiteX98" fmla="*/ 67550 w 128357"/>
              <a:gd name="connsiteY98" fmla="*/ 105590 h 123014"/>
              <a:gd name="connsiteX99" fmla="*/ 74260 w 128357"/>
              <a:gd name="connsiteY99" fmla="*/ 102177 h 123014"/>
              <a:gd name="connsiteX100" fmla="*/ 70500 w 128357"/>
              <a:gd name="connsiteY100" fmla="*/ 87484 h 123014"/>
              <a:gd name="connsiteX101" fmla="*/ 66220 w 128357"/>
              <a:gd name="connsiteY101" fmla="*/ 86443 h 123014"/>
              <a:gd name="connsiteX102" fmla="*/ 52222 w 128357"/>
              <a:gd name="connsiteY102" fmla="*/ 84477 h 123014"/>
              <a:gd name="connsiteX103" fmla="*/ 55461 w 128357"/>
              <a:gd name="connsiteY103" fmla="*/ 73891 h 123014"/>
              <a:gd name="connsiteX104" fmla="*/ 59741 w 128357"/>
              <a:gd name="connsiteY104" fmla="*/ 66545 h 123014"/>
              <a:gd name="connsiteX105" fmla="*/ 69922 w 128357"/>
              <a:gd name="connsiteY105" fmla="*/ 60760 h 123014"/>
              <a:gd name="connsiteX106" fmla="*/ 77095 w 128357"/>
              <a:gd name="connsiteY106" fmla="*/ 57405 h 123014"/>
              <a:gd name="connsiteX107" fmla="*/ 64774 w 128357"/>
              <a:gd name="connsiteY107" fmla="*/ 45836 h 123014"/>
              <a:gd name="connsiteX108" fmla="*/ 60435 w 128357"/>
              <a:gd name="connsiteY108" fmla="*/ 37044 h 123014"/>
              <a:gd name="connsiteX109" fmla="*/ 63732 w 128357"/>
              <a:gd name="connsiteY109" fmla="*/ 25013 h 123014"/>
              <a:gd name="connsiteX110" fmla="*/ 68302 w 128357"/>
              <a:gd name="connsiteY110" fmla="*/ 11535 h 123014"/>
              <a:gd name="connsiteX111" fmla="*/ 66451 w 128357"/>
              <a:gd name="connsiteY111" fmla="*/ 3263 h 123014"/>
              <a:gd name="connsiteX112" fmla="*/ 62518 w 128357"/>
              <a:gd name="connsiteY112" fmla="*/ 2048 h 123014"/>
              <a:gd name="connsiteX113" fmla="*/ 48577 w 128357"/>
              <a:gd name="connsiteY113" fmla="*/ 13617 h 123014"/>
              <a:gd name="connsiteX114" fmla="*/ 36372 w 128357"/>
              <a:gd name="connsiteY114" fmla="*/ 22294 h 123014"/>
              <a:gd name="connsiteX115" fmla="*/ 31976 w 128357"/>
              <a:gd name="connsiteY115" fmla="*/ 22872 h 123014"/>
              <a:gd name="connsiteX116" fmla="*/ 33017 w 128357"/>
              <a:gd name="connsiteY116" fmla="*/ 25649 h 123014"/>
              <a:gd name="connsiteX117" fmla="*/ 33017 w 128357"/>
              <a:gd name="connsiteY117" fmla="*/ 34962 h 123014"/>
              <a:gd name="connsiteX118" fmla="*/ 29893 w 128357"/>
              <a:gd name="connsiteY118" fmla="*/ 36408 h 123014"/>
              <a:gd name="connsiteX119" fmla="*/ 24398 w 128357"/>
              <a:gd name="connsiteY119" fmla="*/ 32590 h 123014"/>
              <a:gd name="connsiteX120" fmla="*/ 16358 w 128357"/>
              <a:gd name="connsiteY120" fmla="*/ 27153 h 123014"/>
              <a:gd name="connsiteX121" fmla="*/ 15779 w 128357"/>
              <a:gd name="connsiteY121" fmla="*/ 27153 h 123014"/>
              <a:gd name="connsiteX122" fmla="*/ 7334 w 128357"/>
              <a:gd name="connsiteY122" fmla="*/ 38201 h 123014"/>
              <a:gd name="connsiteX123" fmla="*/ 3690 w 128357"/>
              <a:gd name="connsiteY123" fmla="*/ 46473 h 123014"/>
              <a:gd name="connsiteX124" fmla="*/ 3690 w 128357"/>
              <a:gd name="connsiteY124" fmla="*/ 74874 h 123014"/>
              <a:gd name="connsiteX125" fmla="*/ 3690 w 128357"/>
              <a:gd name="connsiteY125" fmla="*/ 76725 h 123014"/>
              <a:gd name="connsiteX126" fmla="*/ 9475 w 128357"/>
              <a:gd name="connsiteY126" fmla="*/ 87484 h 123014"/>
              <a:gd name="connsiteX127" fmla="*/ 14160 w 128357"/>
              <a:gd name="connsiteY127" fmla="*/ 101136 h 123014"/>
              <a:gd name="connsiteX128" fmla="*/ 18672 w 128357"/>
              <a:gd name="connsiteY128" fmla="*/ 111606 h 12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28357" h="123014">
                <a:moveTo>
                  <a:pt x="101273" y="122885"/>
                </a:moveTo>
                <a:lnTo>
                  <a:pt x="101273" y="122885"/>
                </a:lnTo>
                <a:lnTo>
                  <a:pt x="99885" y="122885"/>
                </a:lnTo>
                <a:cubicBezTo>
                  <a:pt x="93852" y="122099"/>
                  <a:pt x="89103" y="117349"/>
                  <a:pt x="88316" y="111316"/>
                </a:cubicBezTo>
                <a:cubicBezTo>
                  <a:pt x="88316" y="109003"/>
                  <a:pt x="90399" y="107788"/>
                  <a:pt x="93233" y="108424"/>
                </a:cubicBezTo>
                <a:cubicBezTo>
                  <a:pt x="94048" y="108609"/>
                  <a:pt x="94882" y="108708"/>
                  <a:pt x="95720" y="108713"/>
                </a:cubicBezTo>
                <a:cubicBezTo>
                  <a:pt x="98959" y="108713"/>
                  <a:pt x="101505" y="107267"/>
                  <a:pt x="101505" y="105879"/>
                </a:cubicBezTo>
                <a:cubicBezTo>
                  <a:pt x="101505" y="104491"/>
                  <a:pt x="100811" y="103797"/>
                  <a:pt x="99885" y="103218"/>
                </a:cubicBezTo>
                <a:cubicBezTo>
                  <a:pt x="93569" y="99695"/>
                  <a:pt x="88802" y="93940"/>
                  <a:pt x="86523" y="87079"/>
                </a:cubicBezTo>
                <a:cubicBezTo>
                  <a:pt x="85846" y="83366"/>
                  <a:pt x="86772" y="79543"/>
                  <a:pt x="89068" y="76552"/>
                </a:cubicBezTo>
                <a:cubicBezTo>
                  <a:pt x="90966" y="73116"/>
                  <a:pt x="94517" y="70924"/>
                  <a:pt x="98439" y="70768"/>
                </a:cubicBezTo>
                <a:cubicBezTo>
                  <a:pt x="99746" y="70814"/>
                  <a:pt x="101042" y="70987"/>
                  <a:pt x="102315" y="71288"/>
                </a:cubicBezTo>
                <a:cubicBezTo>
                  <a:pt x="103072" y="71473"/>
                  <a:pt x="103847" y="71589"/>
                  <a:pt x="104628" y="71635"/>
                </a:cubicBezTo>
                <a:cubicBezTo>
                  <a:pt x="105323" y="71635"/>
                  <a:pt x="106190" y="71635"/>
                  <a:pt x="106653" y="69090"/>
                </a:cubicBezTo>
                <a:cubicBezTo>
                  <a:pt x="106653" y="67991"/>
                  <a:pt x="107347" y="65504"/>
                  <a:pt x="109140" y="65504"/>
                </a:cubicBezTo>
                <a:cubicBezTo>
                  <a:pt x="110933" y="65504"/>
                  <a:pt x="111743" y="67412"/>
                  <a:pt x="113247" y="70016"/>
                </a:cubicBezTo>
                <a:cubicBezTo>
                  <a:pt x="114115" y="71519"/>
                  <a:pt x="115908" y="74643"/>
                  <a:pt x="116776" y="74643"/>
                </a:cubicBezTo>
                <a:cubicBezTo>
                  <a:pt x="117643" y="74643"/>
                  <a:pt x="119321" y="72792"/>
                  <a:pt x="120420" y="71404"/>
                </a:cubicBezTo>
                <a:cubicBezTo>
                  <a:pt x="121519" y="70016"/>
                  <a:pt x="123370" y="67817"/>
                  <a:pt x="125279" y="67817"/>
                </a:cubicBezTo>
                <a:cubicBezTo>
                  <a:pt x="125874" y="67817"/>
                  <a:pt x="126459" y="68002"/>
                  <a:pt x="126956" y="68338"/>
                </a:cubicBezTo>
                <a:cubicBezTo>
                  <a:pt x="129675" y="70073"/>
                  <a:pt x="127766" y="76031"/>
                  <a:pt x="124353" y="85691"/>
                </a:cubicBezTo>
                <a:cubicBezTo>
                  <a:pt x="122548" y="89764"/>
                  <a:pt x="121397" y="94102"/>
                  <a:pt x="120941" y="98533"/>
                </a:cubicBezTo>
                <a:cubicBezTo>
                  <a:pt x="120570" y="104398"/>
                  <a:pt x="118228" y="109963"/>
                  <a:pt x="114288" y="114324"/>
                </a:cubicBezTo>
                <a:cubicBezTo>
                  <a:pt x="111333" y="118865"/>
                  <a:pt x="106612" y="121971"/>
                  <a:pt x="101273" y="122885"/>
                </a:cubicBezTo>
                <a:close/>
                <a:moveTo>
                  <a:pt x="91845" y="110449"/>
                </a:moveTo>
                <a:cubicBezTo>
                  <a:pt x="90861" y="110449"/>
                  <a:pt x="90630" y="110854"/>
                  <a:pt x="90572" y="111432"/>
                </a:cubicBezTo>
                <a:cubicBezTo>
                  <a:pt x="91625" y="116256"/>
                  <a:pt x="95622" y="119877"/>
                  <a:pt x="100521" y="120456"/>
                </a:cubicBezTo>
                <a:lnTo>
                  <a:pt x="101505" y="120456"/>
                </a:lnTo>
                <a:lnTo>
                  <a:pt x="101505" y="120456"/>
                </a:lnTo>
                <a:cubicBezTo>
                  <a:pt x="106126" y="119611"/>
                  <a:pt x="110187" y="116887"/>
                  <a:pt x="112726" y="112936"/>
                </a:cubicBezTo>
                <a:cubicBezTo>
                  <a:pt x="116203" y="109089"/>
                  <a:pt x="118407" y="104259"/>
                  <a:pt x="119032" y="99111"/>
                </a:cubicBezTo>
                <a:cubicBezTo>
                  <a:pt x="119130" y="94206"/>
                  <a:pt x="120316" y="89388"/>
                  <a:pt x="122502" y="84997"/>
                </a:cubicBezTo>
                <a:cubicBezTo>
                  <a:pt x="124064" y="80485"/>
                  <a:pt x="127361" y="71172"/>
                  <a:pt x="125973" y="70305"/>
                </a:cubicBezTo>
                <a:cubicBezTo>
                  <a:pt x="125823" y="70258"/>
                  <a:pt x="125661" y="70258"/>
                  <a:pt x="125510" y="70305"/>
                </a:cubicBezTo>
                <a:cubicBezTo>
                  <a:pt x="124642" y="70305"/>
                  <a:pt x="123486" y="71751"/>
                  <a:pt x="122444" y="73081"/>
                </a:cubicBezTo>
                <a:cubicBezTo>
                  <a:pt x="121276" y="74903"/>
                  <a:pt x="119552" y="76303"/>
                  <a:pt x="117528" y="77073"/>
                </a:cubicBezTo>
                <a:lnTo>
                  <a:pt x="117007" y="77073"/>
                </a:lnTo>
                <a:cubicBezTo>
                  <a:pt x="114867" y="77073"/>
                  <a:pt x="113247" y="74296"/>
                  <a:pt x="111570" y="71288"/>
                </a:cubicBezTo>
                <a:cubicBezTo>
                  <a:pt x="110980" y="70166"/>
                  <a:pt x="110280" y="69101"/>
                  <a:pt x="109487" y="68107"/>
                </a:cubicBezTo>
                <a:cubicBezTo>
                  <a:pt x="109331" y="68598"/>
                  <a:pt x="109215" y="69101"/>
                  <a:pt x="109140" y="69611"/>
                </a:cubicBezTo>
                <a:cubicBezTo>
                  <a:pt x="108793" y="71462"/>
                  <a:pt x="107983" y="74007"/>
                  <a:pt x="104860" y="74007"/>
                </a:cubicBezTo>
                <a:cubicBezTo>
                  <a:pt x="103923" y="73949"/>
                  <a:pt x="102997" y="73816"/>
                  <a:pt x="102083" y="73602"/>
                </a:cubicBezTo>
                <a:cubicBezTo>
                  <a:pt x="100967" y="73330"/>
                  <a:pt x="99822" y="73174"/>
                  <a:pt x="98670" y="73139"/>
                </a:cubicBezTo>
                <a:cubicBezTo>
                  <a:pt x="95535" y="73243"/>
                  <a:pt x="92684" y="74979"/>
                  <a:pt x="91151" y="77709"/>
                </a:cubicBezTo>
                <a:cubicBezTo>
                  <a:pt x="89236" y="80231"/>
                  <a:pt x="88443" y="83430"/>
                  <a:pt x="88953" y="86559"/>
                </a:cubicBezTo>
                <a:cubicBezTo>
                  <a:pt x="91168" y="92777"/>
                  <a:pt x="95570" y="97977"/>
                  <a:pt x="101331" y="101194"/>
                </a:cubicBezTo>
                <a:cubicBezTo>
                  <a:pt x="103321" y="102096"/>
                  <a:pt x="104403" y="104265"/>
                  <a:pt x="103934" y="106399"/>
                </a:cubicBezTo>
                <a:cubicBezTo>
                  <a:pt x="103009" y="109581"/>
                  <a:pt x="97745" y="111548"/>
                  <a:pt x="92828" y="110507"/>
                </a:cubicBezTo>
                <a:close/>
                <a:moveTo>
                  <a:pt x="46206" y="116580"/>
                </a:moveTo>
                <a:cubicBezTo>
                  <a:pt x="44997" y="116632"/>
                  <a:pt x="43788" y="116499"/>
                  <a:pt x="42619" y="116175"/>
                </a:cubicBezTo>
                <a:cubicBezTo>
                  <a:pt x="34539" y="114457"/>
                  <a:pt x="26296" y="113665"/>
                  <a:pt x="18035" y="113804"/>
                </a:cubicBezTo>
                <a:cubicBezTo>
                  <a:pt x="17671" y="113815"/>
                  <a:pt x="17330" y="113613"/>
                  <a:pt x="17168" y="113283"/>
                </a:cubicBezTo>
                <a:cubicBezTo>
                  <a:pt x="14044" y="108771"/>
                  <a:pt x="11383" y="104375"/>
                  <a:pt x="12830" y="100210"/>
                </a:cubicBezTo>
                <a:cubicBezTo>
                  <a:pt x="14276" y="96045"/>
                  <a:pt x="11557" y="92748"/>
                  <a:pt x="8491" y="88641"/>
                </a:cubicBezTo>
                <a:cubicBezTo>
                  <a:pt x="5530" y="85338"/>
                  <a:pt x="3407" y="81370"/>
                  <a:pt x="2302" y="77073"/>
                </a:cubicBezTo>
                <a:lnTo>
                  <a:pt x="1955" y="75221"/>
                </a:lnTo>
                <a:cubicBezTo>
                  <a:pt x="335" y="65388"/>
                  <a:pt x="-1979" y="52084"/>
                  <a:pt x="2475" y="45142"/>
                </a:cubicBezTo>
                <a:cubicBezTo>
                  <a:pt x="3869" y="42661"/>
                  <a:pt x="5015" y="40046"/>
                  <a:pt x="5888" y="37333"/>
                </a:cubicBezTo>
                <a:cubicBezTo>
                  <a:pt x="8202" y="30913"/>
                  <a:pt x="10689" y="24318"/>
                  <a:pt x="17457" y="24839"/>
                </a:cubicBezTo>
                <a:cubicBezTo>
                  <a:pt x="21327" y="25574"/>
                  <a:pt x="24751" y="27795"/>
                  <a:pt x="27001" y="31028"/>
                </a:cubicBezTo>
                <a:cubicBezTo>
                  <a:pt x="28390" y="32590"/>
                  <a:pt x="29662" y="34036"/>
                  <a:pt x="30761" y="34036"/>
                </a:cubicBezTo>
                <a:cubicBezTo>
                  <a:pt x="31368" y="33990"/>
                  <a:pt x="31935" y="33695"/>
                  <a:pt x="32323" y="33226"/>
                </a:cubicBezTo>
                <a:cubicBezTo>
                  <a:pt x="34463" y="31260"/>
                  <a:pt x="33538" y="29525"/>
                  <a:pt x="31744" y="26806"/>
                </a:cubicBezTo>
                <a:cubicBezTo>
                  <a:pt x="30588" y="25070"/>
                  <a:pt x="28968" y="22699"/>
                  <a:pt x="31224" y="21021"/>
                </a:cubicBezTo>
                <a:cubicBezTo>
                  <a:pt x="33006" y="20102"/>
                  <a:pt x="35013" y="19720"/>
                  <a:pt x="37008" y="19922"/>
                </a:cubicBezTo>
                <a:cubicBezTo>
                  <a:pt x="41520" y="19922"/>
                  <a:pt x="46263" y="19922"/>
                  <a:pt x="46958" y="13328"/>
                </a:cubicBezTo>
                <a:cubicBezTo>
                  <a:pt x="48369" y="5508"/>
                  <a:pt x="55206" y="-161"/>
                  <a:pt x="63154" y="-92"/>
                </a:cubicBezTo>
                <a:cubicBezTo>
                  <a:pt x="65254" y="-300"/>
                  <a:pt x="67348" y="371"/>
                  <a:pt x="68938" y="1759"/>
                </a:cubicBezTo>
                <a:cubicBezTo>
                  <a:pt x="70946" y="4663"/>
                  <a:pt x="71830" y="8197"/>
                  <a:pt x="71426" y="11708"/>
                </a:cubicBezTo>
                <a:cubicBezTo>
                  <a:pt x="71472" y="17238"/>
                  <a:pt x="69569" y="22600"/>
                  <a:pt x="66046" y="26864"/>
                </a:cubicBezTo>
                <a:cubicBezTo>
                  <a:pt x="63692" y="29623"/>
                  <a:pt x="62772" y="33331"/>
                  <a:pt x="63559" y="36871"/>
                </a:cubicBezTo>
                <a:cubicBezTo>
                  <a:pt x="63570" y="39543"/>
                  <a:pt x="64681" y="42094"/>
                  <a:pt x="66625" y="43928"/>
                </a:cubicBezTo>
                <a:cubicBezTo>
                  <a:pt x="70558" y="45952"/>
                  <a:pt x="82532" y="51968"/>
                  <a:pt x="80103" y="58273"/>
                </a:cubicBezTo>
                <a:cubicBezTo>
                  <a:pt x="78888" y="61281"/>
                  <a:pt x="75012" y="62149"/>
                  <a:pt x="71252" y="63016"/>
                </a:cubicBezTo>
                <a:cubicBezTo>
                  <a:pt x="67492" y="63884"/>
                  <a:pt x="63617" y="64694"/>
                  <a:pt x="62749" y="67528"/>
                </a:cubicBezTo>
                <a:cubicBezTo>
                  <a:pt x="61633" y="70386"/>
                  <a:pt x="60094" y="73058"/>
                  <a:pt x="58179" y="75453"/>
                </a:cubicBezTo>
                <a:cubicBezTo>
                  <a:pt x="55866" y="78692"/>
                  <a:pt x="53726" y="81700"/>
                  <a:pt x="54940" y="83493"/>
                </a:cubicBezTo>
                <a:cubicBezTo>
                  <a:pt x="57890" y="87774"/>
                  <a:pt x="59568" y="88121"/>
                  <a:pt x="65989" y="84766"/>
                </a:cubicBezTo>
                <a:cubicBezTo>
                  <a:pt x="68406" y="83354"/>
                  <a:pt x="71501" y="84037"/>
                  <a:pt x="73103" y="86327"/>
                </a:cubicBezTo>
                <a:cubicBezTo>
                  <a:pt x="76250" y="91267"/>
                  <a:pt x="77731" y="97087"/>
                  <a:pt x="77326" y="102929"/>
                </a:cubicBezTo>
                <a:cubicBezTo>
                  <a:pt x="76690" y="106168"/>
                  <a:pt x="73334" y="108135"/>
                  <a:pt x="68418" y="108135"/>
                </a:cubicBezTo>
                <a:cubicBezTo>
                  <a:pt x="63964" y="108141"/>
                  <a:pt x="59637" y="106677"/>
                  <a:pt x="56097" y="103970"/>
                </a:cubicBezTo>
                <a:cubicBezTo>
                  <a:pt x="53292" y="101188"/>
                  <a:pt x="49734" y="99296"/>
                  <a:pt x="45858" y="98533"/>
                </a:cubicBezTo>
                <a:cubicBezTo>
                  <a:pt x="44586" y="98533"/>
                  <a:pt x="44007" y="99111"/>
                  <a:pt x="43834" y="100442"/>
                </a:cubicBezTo>
                <a:cubicBezTo>
                  <a:pt x="43660" y="101772"/>
                  <a:pt x="46090" y="104953"/>
                  <a:pt x="48809" y="107672"/>
                </a:cubicBezTo>
                <a:cubicBezTo>
                  <a:pt x="50984" y="109685"/>
                  <a:pt x="52921" y="111935"/>
                  <a:pt x="54593" y="114382"/>
                </a:cubicBezTo>
                <a:cubicBezTo>
                  <a:pt x="54767" y="114729"/>
                  <a:pt x="54767" y="115134"/>
                  <a:pt x="54593" y="115481"/>
                </a:cubicBezTo>
                <a:cubicBezTo>
                  <a:pt x="54420" y="115817"/>
                  <a:pt x="54096" y="116054"/>
                  <a:pt x="53726" y="116117"/>
                </a:cubicBezTo>
                <a:cubicBezTo>
                  <a:pt x="51232" y="116476"/>
                  <a:pt x="48722" y="116649"/>
                  <a:pt x="46206" y="116638"/>
                </a:cubicBezTo>
                <a:close/>
                <a:moveTo>
                  <a:pt x="18672" y="111548"/>
                </a:moveTo>
                <a:cubicBezTo>
                  <a:pt x="26955" y="111403"/>
                  <a:pt x="35227" y="112236"/>
                  <a:pt x="43313" y="114035"/>
                </a:cubicBezTo>
                <a:cubicBezTo>
                  <a:pt x="44262" y="114255"/>
                  <a:pt x="45234" y="114353"/>
                  <a:pt x="46206" y="114324"/>
                </a:cubicBezTo>
                <a:cubicBezTo>
                  <a:pt x="47848" y="114307"/>
                  <a:pt x="49491" y="114185"/>
                  <a:pt x="51122" y="113977"/>
                </a:cubicBezTo>
                <a:cubicBezTo>
                  <a:pt x="49746" y="112282"/>
                  <a:pt x="48259" y="110674"/>
                  <a:pt x="46668" y="109176"/>
                </a:cubicBezTo>
                <a:cubicBezTo>
                  <a:pt x="43429" y="105879"/>
                  <a:pt x="40884" y="103102"/>
                  <a:pt x="40884" y="100037"/>
                </a:cubicBezTo>
                <a:cubicBezTo>
                  <a:pt x="40976" y="97804"/>
                  <a:pt x="42862" y="96069"/>
                  <a:pt x="45095" y="96155"/>
                </a:cubicBezTo>
                <a:cubicBezTo>
                  <a:pt x="45118" y="96161"/>
                  <a:pt x="45141" y="96161"/>
                  <a:pt x="45164" y="96161"/>
                </a:cubicBezTo>
                <a:cubicBezTo>
                  <a:pt x="49509" y="96896"/>
                  <a:pt x="53540" y="98909"/>
                  <a:pt x="56733" y="101946"/>
                </a:cubicBezTo>
                <a:cubicBezTo>
                  <a:pt x="59839" y="104317"/>
                  <a:pt x="63640" y="105596"/>
                  <a:pt x="67550" y="105590"/>
                </a:cubicBezTo>
                <a:cubicBezTo>
                  <a:pt x="68996" y="105590"/>
                  <a:pt x="73334" y="105300"/>
                  <a:pt x="74260" y="102177"/>
                </a:cubicBezTo>
                <a:cubicBezTo>
                  <a:pt x="74555" y="97011"/>
                  <a:pt x="73242" y="91875"/>
                  <a:pt x="70500" y="87484"/>
                </a:cubicBezTo>
                <a:cubicBezTo>
                  <a:pt x="69604" y="86021"/>
                  <a:pt x="67689" y="85553"/>
                  <a:pt x="66220" y="86443"/>
                </a:cubicBezTo>
                <a:cubicBezTo>
                  <a:pt x="57659" y="90955"/>
                  <a:pt x="54651" y="88410"/>
                  <a:pt x="52222" y="84477"/>
                </a:cubicBezTo>
                <a:cubicBezTo>
                  <a:pt x="49792" y="80543"/>
                  <a:pt x="52684" y="77767"/>
                  <a:pt x="55461" y="73891"/>
                </a:cubicBezTo>
                <a:cubicBezTo>
                  <a:pt x="57248" y="71670"/>
                  <a:pt x="58688" y="69194"/>
                  <a:pt x="59741" y="66545"/>
                </a:cubicBezTo>
                <a:cubicBezTo>
                  <a:pt x="61014" y="62496"/>
                  <a:pt x="65526" y="61455"/>
                  <a:pt x="69922" y="60760"/>
                </a:cubicBezTo>
                <a:cubicBezTo>
                  <a:pt x="73219" y="60008"/>
                  <a:pt x="76400" y="59314"/>
                  <a:pt x="77095" y="57405"/>
                </a:cubicBezTo>
                <a:cubicBezTo>
                  <a:pt x="77789" y="55497"/>
                  <a:pt x="76400" y="51621"/>
                  <a:pt x="64774" y="45836"/>
                </a:cubicBezTo>
                <a:cubicBezTo>
                  <a:pt x="62095" y="43696"/>
                  <a:pt x="60505" y="40474"/>
                  <a:pt x="60435" y="37044"/>
                </a:cubicBezTo>
                <a:cubicBezTo>
                  <a:pt x="59608" y="32741"/>
                  <a:pt x="60823" y="28292"/>
                  <a:pt x="63732" y="25013"/>
                </a:cubicBezTo>
                <a:cubicBezTo>
                  <a:pt x="66717" y="21154"/>
                  <a:pt x="68325" y="16411"/>
                  <a:pt x="68302" y="11535"/>
                </a:cubicBezTo>
                <a:cubicBezTo>
                  <a:pt x="68719" y="8643"/>
                  <a:pt x="68059" y="5698"/>
                  <a:pt x="66451" y="3263"/>
                </a:cubicBezTo>
                <a:cubicBezTo>
                  <a:pt x="65358" y="2349"/>
                  <a:pt x="63941" y="1910"/>
                  <a:pt x="62518" y="2048"/>
                </a:cubicBezTo>
                <a:cubicBezTo>
                  <a:pt x="55692" y="2043"/>
                  <a:pt x="49832" y="6907"/>
                  <a:pt x="48577" y="13617"/>
                </a:cubicBezTo>
                <a:cubicBezTo>
                  <a:pt x="47652" y="22063"/>
                  <a:pt x="40884" y="22178"/>
                  <a:pt x="36372" y="22294"/>
                </a:cubicBezTo>
                <a:cubicBezTo>
                  <a:pt x="34880" y="22149"/>
                  <a:pt x="33382" y="22352"/>
                  <a:pt x="31976" y="22872"/>
                </a:cubicBezTo>
                <a:cubicBezTo>
                  <a:pt x="31571" y="23220"/>
                  <a:pt x="31687" y="23624"/>
                  <a:pt x="33017" y="25649"/>
                </a:cubicBezTo>
                <a:cubicBezTo>
                  <a:pt x="34347" y="27673"/>
                  <a:pt x="37008" y="31433"/>
                  <a:pt x="33017" y="34962"/>
                </a:cubicBezTo>
                <a:cubicBezTo>
                  <a:pt x="32190" y="35812"/>
                  <a:pt x="31079" y="36327"/>
                  <a:pt x="29893" y="36408"/>
                </a:cubicBezTo>
                <a:cubicBezTo>
                  <a:pt x="27753" y="36408"/>
                  <a:pt x="26192" y="34615"/>
                  <a:pt x="24398" y="32590"/>
                </a:cubicBezTo>
                <a:cubicBezTo>
                  <a:pt x="22536" y="29791"/>
                  <a:pt x="19649" y="27835"/>
                  <a:pt x="16358" y="27153"/>
                </a:cubicBezTo>
                <a:lnTo>
                  <a:pt x="15779" y="27153"/>
                </a:lnTo>
                <a:cubicBezTo>
                  <a:pt x="11326" y="27153"/>
                  <a:pt x="9417" y="32474"/>
                  <a:pt x="7334" y="38201"/>
                </a:cubicBezTo>
                <a:cubicBezTo>
                  <a:pt x="6415" y="41076"/>
                  <a:pt x="5194" y="43853"/>
                  <a:pt x="3690" y="46473"/>
                </a:cubicBezTo>
                <a:cubicBezTo>
                  <a:pt x="-243" y="52257"/>
                  <a:pt x="1955" y="65446"/>
                  <a:pt x="3690" y="74874"/>
                </a:cubicBezTo>
                <a:lnTo>
                  <a:pt x="3690" y="76725"/>
                </a:lnTo>
                <a:cubicBezTo>
                  <a:pt x="4737" y="80722"/>
                  <a:pt x="6721" y="84407"/>
                  <a:pt x="9475" y="87484"/>
                </a:cubicBezTo>
                <a:cubicBezTo>
                  <a:pt x="12772" y="91881"/>
                  <a:pt x="15953" y="96045"/>
                  <a:pt x="14160" y="101136"/>
                </a:cubicBezTo>
                <a:cubicBezTo>
                  <a:pt x="13871" y="104028"/>
                  <a:pt x="16069" y="107730"/>
                  <a:pt x="18672" y="11160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8" name="Forma libre: forma 407">
            <a:extLst>
              <a:ext uri="{FF2B5EF4-FFF2-40B4-BE49-F238E27FC236}">
                <a16:creationId xmlns:a16="http://schemas.microsoft.com/office/drawing/2014/main" id="{0436D7BA-FC18-863E-CA52-06DB64B41453}"/>
              </a:ext>
            </a:extLst>
          </p:cNvPr>
          <p:cNvSpPr/>
          <p:nvPr/>
        </p:nvSpPr>
        <p:spPr>
          <a:xfrm>
            <a:off x="6496033" y="2185435"/>
            <a:ext cx="342382" cy="591461"/>
          </a:xfrm>
          <a:custGeom>
            <a:avLst/>
            <a:gdLst>
              <a:gd name="connsiteX0" fmla="*/ 53977 w 342382"/>
              <a:gd name="connsiteY0" fmla="*/ 591329 h 591461"/>
              <a:gd name="connsiteX1" fmla="*/ 49060 w 342382"/>
              <a:gd name="connsiteY1" fmla="*/ 588205 h 591461"/>
              <a:gd name="connsiteX2" fmla="*/ 48193 w 342382"/>
              <a:gd name="connsiteY2" fmla="*/ 572067 h 591461"/>
              <a:gd name="connsiteX3" fmla="*/ 48540 w 342382"/>
              <a:gd name="connsiteY3" fmla="*/ 564720 h 591461"/>
              <a:gd name="connsiteX4" fmla="*/ 45069 w 342382"/>
              <a:gd name="connsiteY4" fmla="*/ 561366 h 591461"/>
              <a:gd name="connsiteX5" fmla="*/ 40245 w 342382"/>
              <a:gd name="connsiteY5" fmla="*/ 553481 h 591461"/>
              <a:gd name="connsiteX6" fmla="*/ 40962 w 342382"/>
              <a:gd name="connsiteY6" fmla="*/ 551706 h 591461"/>
              <a:gd name="connsiteX7" fmla="*/ 35582 w 342382"/>
              <a:gd name="connsiteY7" fmla="*/ 532386 h 591461"/>
              <a:gd name="connsiteX8" fmla="*/ 27716 w 342382"/>
              <a:gd name="connsiteY8" fmla="*/ 519544 h 591461"/>
              <a:gd name="connsiteX9" fmla="*/ 21931 w 342382"/>
              <a:gd name="connsiteY9" fmla="*/ 507570 h 591461"/>
              <a:gd name="connsiteX10" fmla="*/ 17361 w 342382"/>
              <a:gd name="connsiteY10" fmla="*/ 492415 h 591461"/>
              <a:gd name="connsiteX11" fmla="*/ 12445 w 342382"/>
              <a:gd name="connsiteY11" fmla="*/ 479458 h 591461"/>
              <a:gd name="connsiteX12" fmla="*/ -50 w 342382"/>
              <a:gd name="connsiteY12" fmla="*/ 451114 h 591461"/>
              <a:gd name="connsiteX13" fmla="*/ -50 w 342382"/>
              <a:gd name="connsiteY13" fmla="*/ 448569 h 591461"/>
              <a:gd name="connsiteX14" fmla="*/ 934 w 342382"/>
              <a:gd name="connsiteY14" fmla="*/ 447470 h 591461"/>
              <a:gd name="connsiteX15" fmla="*/ 10247 w 342382"/>
              <a:gd name="connsiteY15" fmla="*/ 448916 h 591461"/>
              <a:gd name="connsiteX16" fmla="*/ 11057 w 342382"/>
              <a:gd name="connsiteY16" fmla="*/ 449263 h 591461"/>
              <a:gd name="connsiteX17" fmla="*/ 14932 w 342382"/>
              <a:gd name="connsiteY17" fmla="*/ 431621 h 591461"/>
              <a:gd name="connsiteX18" fmla="*/ 16783 w 342382"/>
              <a:gd name="connsiteY18" fmla="*/ 423002 h 591461"/>
              <a:gd name="connsiteX19" fmla="*/ 18865 w 342382"/>
              <a:gd name="connsiteY19" fmla="*/ 409813 h 591461"/>
              <a:gd name="connsiteX20" fmla="*/ 19444 w 342382"/>
              <a:gd name="connsiteY20" fmla="*/ 406863 h 591461"/>
              <a:gd name="connsiteX21" fmla="*/ 28352 w 342382"/>
              <a:gd name="connsiteY21" fmla="*/ 404723 h 591461"/>
              <a:gd name="connsiteX22" fmla="*/ 37144 w 342382"/>
              <a:gd name="connsiteY22" fmla="*/ 402583 h 591461"/>
              <a:gd name="connsiteX23" fmla="*/ 36334 w 342382"/>
              <a:gd name="connsiteY23" fmla="*/ 378173 h 591461"/>
              <a:gd name="connsiteX24" fmla="*/ 31302 w 342382"/>
              <a:gd name="connsiteY24" fmla="*/ 366604 h 591461"/>
              <a:gd name="connsiteX25" fmla="*/ 35525 w 342382"/>
              <a:gd name="connsiteY25" fmla="*/ 362960 h 591461"/>
              <a:gd name="connsiteX26" fmla="*/ 42466 w 342382"/>
              <a:gd name="connsiteY26" fmla="*/ 359952 h 591461"/>
              <a:gd name="connsiteX27" fmla="*/ 44780 w 342382"/>
              <a:gd name="connsiteY27" fmla="*/ 350003 h 591461"/>
              <a:gd name="connsiteX28" fmla="*/ 36277 w 342382"/>
              <a:gd name="connsiteY28" fmla="*/ 341094 h 591461"/>
              <a:gd name="connsiteX29" fmla="*/ 26617 w 342382"/>
              <a:gd name="connsiteY29" fmla="*/ 330509 h 591461"/>
              <a:gd name="connsiteX30" fmla="*/ 28525 w 342382"/>
              <a:gd name="connsiteY30" fmla="*/ 319923 h 591461"/>
              <a:gd name="connsiteX31" fmla="*/ 28005 w 342382"/>
              <a:gd name="connsiteY31" fmla="*/ 304942 h 591461"/>
              <a:gd name="connsiteX32" fmla="*/ 27253 w 342382"/>
              <a:gd name="connsiteY32" fmla="*/ 285448 h 591461"/>
              <a:gd name="connsiteX33" fmla="*/ 28005 w 342382"/>
              <a:gd name="connsiteY33" fmla="*/ 277582 h 591461"/>
              <a:gd name="connsiteX34" fmla="*/ 30666 w 342382"/>
              <a:gd name="connsiteY34" fmla="*/ 249353 h 591461"/>
              <a:gd name="connsiteX35" fmla="*/ 57332 w 342382"/>
              <a:gd name="connsiteY35" fmla="*/ 230496 h 591461"/>
              <a:gd name="connsiteX36" fmla="*/ 59183 w 342382"/>
              <a:gd name="connsiteY36" fmla="*/ 230496 h 591461"/>
              <a:gd name="connsiteX37" fmla="*/ 62596 w 342382"/>
              <a:gd name="connsiteY37" fmla="*/ 231537 h 591461"/>
              <a:gd name="connsiteX38" fmla="*/ 70289 w 342382"/>
              <a:gd name="connsiteY38" fmla="*/ 233330 h 591461"/>
              <a:gd name="connsiteX39" fmla="*/ 76073 w 342382"/>
              <a:gd name="connsiteY39" fmla="*/ 229686 h 591461"/>
              <a:gd name="connsiteX40" fmla="*/ 78445 w 342382"/>
              <a:gd name="connsiteY40" fmla="*/ 217423 h 591461"/>
              <a:gd name="connsiteX41" fmla="*/ 76768 w 342382"/>
              <a:gd name="connsiteY41" fmla="*/ 215746 h 591461"/>
              <a:gd name="connsiteX42" fmla="*/ 76073 w 342382"/>
              <a:gd name="connsiteY42" fmla="*/ 215746 h 591461"/>
              <a:gd name="connsiteX43" fmla="*/ 66992 w 342382"/>
              <a:gd name="connsiteY43" fmla="*/ 209210 h 591461"/>
              <a:gd name="connsiteX44" fmla="*/ 69710 w 342382"/>
              <a:gd name="connsiteY44" fmla="*/ 199896 h 591461"/>
              <a:gd name="connsiteX45" fmla="*/ 87642 w 342382"/>
              <a:gd name="connsiteY45" fmla="*/ 165479 h 591461"/>
              <a:gd name="connsiteX46" fmla="*/ 87642 w 342382"/>
              <a:gd name="connsiteY46" fmla="*/ 152406 h 591461"/>
              <a:gd name="connsiteX47" fmla="*/ 89378 w 342382"/>
              <a:gd name="connsiteY47" fmla="*/ 140143 h 591461"/>
              <a:gd name="connsiteX48" fmla="*/ 98401 w 342382"/>
              <a:gd name="connsiteY48" fmla="*/ 137714 h 591461"/>
              <a:gd name="connsiteX49" fmla="*/ 110317 w 342382"/>
              <a:gd name="connsiteY49" fmla="*/ 134822 h 591461"/>
              <a:gd name="connsiteX50" fmla="*/ 113788 w 342382"/>
              <a:gd name="connsiteY50" fmla="*/ 126203 h 591461"/>
              <a:gd name="connsiteX51" fmla="*/ 115350 w 342382"/>
              <a:gd name="connsiteY51" fmla="*/ 119377 h 591461"/>
              <a:gd name="connsiteX52" fmla="*/ 120787 w 342382"/>
              <a:gd name="connsiteY52" fmla="*/ 110990 h 591461"/>
              <a:gd name="connsiteX53" fmla="*/ 129175 w 342382"/>
              <a:gd name="connsiteY53" fmla="*/ 98553 h 591461"/>
              <a:gd name="connsiteX54" fmla="*/ 135422 w 342382"/>
              <a:gd name="connsiteY54" fmla="*/ 85828 h 591461"/>
              <a:gd name="connsiteX55" fmla="*/ 138082 w 342382"/>
              <a:gd name="connsiteY55" fmla="*/ 75936 h 591461"/>
              <a:gd name="connsiteX56" fmla="*/ 142999 w 342382"/>
              <a:gd name="connsiteY56" fmla="*/ 65698 h 591461"/>
              <a:gd name="connsiteX57" fmla="*/ 164864 w 342382"/>
              <a:gd name="connsiteY57" fmla="*/ 48981 h 591461"/>
              <a:gd name="connsiteX58" fmla="*/ 184532 w 342382"/>
              <a:gd name="connsiteY58" fmla="*/ 42329 h 591461"/>
              <a:gd name="connsiteX59" fmla="*/ 184011 w 342382"/>
              <a:gd name="connsiteY59" fmla="*/ 36197 h 591461"/>
              <a:gd name="connsiteX60" fmla="*/ 184994 w 342382"/>
              <a:gd name="connsiteY60" fmla="*/ 22199 h 591461"/>
              <a:gd name="connsiteX61" fmla="*/ 192572 w 342382"/>
              <a:gd name="connsiteY61" fmla="*/ 21852 h 591461"/>
              <a:gd name="connsiteX62" fmla="*/ 203620 w 342382"/>
              <a:gd name="connsiteY62" fmla="*/ 23934 h 591461"/>
              <a:gd name="connsiteX63" fmla="*/ 207148 w 342382"/>
              <a:gd name="connsiteY63" fmla="*/ 23934 h 591461"/>
              <a:gd name="connsiteX64" fmla="*/ 210388 w 342382"/>
              <a:gd name="connsiteY64" fmla="*/ 23934 h 591461"/>
              <a:gd name="connsiteX65" fmla="*/ 221378 w 342382"/>
              <a:gd name="connsiteY65" fmla="*/ 27347 h 591461"/>
              <a:gd name="connsiteX66" fmla="*/ 230518 w 342382"/>
              <a:gd name="connsiteY66" fmla="*/ 31049 h 591461"/>
              <a:gd name="connsiteX67" fmla="*/ 237690 w 342382"/>
              <a:gd name="connsiteY67" fmla="*/ 23009 h 591461"/>
              <a:gd name="connsiteX68" fmla="*/ 249548 w 342382"/>
              <a:gd name="connsiteY68" fmla="*/ -129 h 591461"/>
              <a:gd name="connsiteX69" fmla="*/ 254986 w 342382"/>
              <a:gd name="connsiteY69" fmla="*/ 1433 h 591461"/>
              <a:gd name="connsiteX70" fmla="*/ 268695 w 342382"/>
              <a:gd name="connsiteY70" fmla="*/ 11787 h 591461"/>
              <a:gd name="connsiteX71" fmla="*/ 287321 w 342382"/>
              <a:gd name="connsiteY71" fmla="*/ 24802 h 591461"/>
              <a:gd name="connsiteX72" fmla="*/ 297848 w 342382"/>
              <a:gd name="connsiteY72" fmla="*/ 29198 h 591461"/>
              <a:gd name="connsiteX73" fmla="*/ 326770 w 342382"/>
              <a:gd name="connsiteY73" fmla="*/ 49328 h 591461"/>
              <a:gd name="connsiteX74" fmla="*/ 325903 w 342382"/>
              <a:gd name="connsiteY74" fmla="*/ 54476 h 591461"/>
              <a:gd name="connsiteX75" fmla="*/ 327465 w 342382"/>
              <a:gd name="connsiteY75" fmla="*/ 74143 h 591461"/>
              <a:gd name="connsiteX76" fmla="*/ 330820 w 342382"/>
              <a:gd name="connsiteY76" fmla="*/ 86753 h 591461"/>
              <a:gd name="connsiteX77" fmla="*/ 333886 w 342382"/>
              <a:gd name="connsiteY77" fmla="*/ 98785 h 591461"/>
              <a:gd name="connsiteX78" fmla="*/ 338686 w 342382"/>
              <a:gd name="connsiteY78" fmla="*/ 116138 h 591461"/>
              <a:gd name="connsiteX79" fmla="*/ 332092 w 342382"/>
              <a:gd name="connsiteY79" fmla="*/ 124063 h 591461"/>
              <a:gd name="connsiteX80" fmla="*/ 330820 w 342382"/>
              <a:gd name="connsiteY80" fmla="*/ 124468 h 591461"/>
              <a:gd name="connsiteX81" fmla="*/ 338108 w 342382"/>
              <a:gd name="connsiteY81" fmla="*/ 136037 h 591461"/>
              <a:gd name="connsiteX82" fmla="*/ 342273 w 342382"/>
              <a:gd name="connsiteY82" fmla="*/ 150208 h 591461"/>
              <a:gd name="connsiteX83" fmla="*/ 341868 w 342382"/>
              <a:gd name="connsiteY83" fmla="*/ 151192 h 591461"/>
              <a:gd name="connsiteX84" fmla="*/ 340884 w 342382"/>
              <a:gd name="connsiteY84" fmla="*/ 151192 h 591461"/>
              <a:gd name="connsiteX85" fmla="*/ 326539 w 342382"/>
              <a:gd name="connsiteY85" fmla="*/ 150555 h 591461"/>
              <a:gd name="connsiteX86" fmla="*/ 310806 w 342382"/>
              <a:gd name="connsiteY86" fmla="*/ 150555 h 591461"/>
              <a:gd name="connsiteX87" fmla="*/ 305657 w 342382"/>
              <a:gd name="connsiteY87" fmla="*/ 150151 h 591461"/>
              <a:gd name="connsiteX88" fmla="*/ 298485 w 342382"/>
              <a:gd name="connsiteY88" fmla="*/ 152927 h 591461"/>
              <a:gd name="connsiteX89" fmla="*/ 296171 w 342382"/>
              <a:gd name="connsiteY89" fmla="*/ 155414 h 591461"/>
              <a:gd name="connsiteX90" fmla="*/ 280322 w 342382"/>
              <a:gd name="connsiteY90" fmla="*/ 167330 h 591461"/>
              <a:gd name="connsiteX91" fmla="*/ 277024 w 342382"/>
              <a:gd name="connsiteY91" fmla="*/ 174329 h 591461"/>
              <a:gd name="connsiteX92" fmla="*/ 270083 w 342382"/>
              <a:gd name="connsiteY92" fmla="*/ 189369 h 591461"/>
              <a:gd name="connsiteX93" fmla="*/ 270083 w 342382"/>
              <a:gd name="connsiteY93" fmla="*/ 203136 h 591461"/>
              <a:gd name="connsiteX94" fmla="*/ 273207 w 342382"/>
              <a:gd name="connsiteY94" fmla="*/ 215225 h 591461"/>
              <a:gd name="connsiteX95" fmla="*/ 230691 w 342382"/>
              <a:gd name="connsiteY95" fmla="*/ 247271 h 591461"/>
              <a:gd name="connsiteX96" fmla="*/ 216809 w 342382"/>
              <a:gd name="connsiteY96" fmla="*/ 255485 h 591461"/>
              <a:gd name="connsiteX97" fmla="*/ 204777 w 342382"/>
              <a:gd name="connsiteY97" fmla="*/ 262253 h 591461"/>
              <a:gd name="connsiteX98" fmla="*/ 195580 w 342382"/>
              <a:gd name="connsiteY98" fmla="*/ 273070 h 591461"/>
              <a:gd name="connsiteX99" fmla="*/ 185631 w 342382"/>
              <a:gd name="connsiteY99" fmla="*/ 283713 h 591461"/>
              <a:gd name="connsiteX100" fmla="*/ 178747 w 342382"/>
              <a:gd name="connsiteY100" fmla="*/ 289497 h 591461"/>
              <a:gd name="connsiteX101" fmla="*/ 172963 w 342382"/>
              <a:gd name="connsiteY101" fmla="*/ 295918 h 591461"/>
              <a:gd name="connsiteX102" fmla="*/ 166484 w 342382"/>
              <a:gd name="connsiteY102" fmla="*/ 314602 h 591461"/>
              <a:gd name="connsiteX103" fmla="*/ 166484 w 342382"/>
              <a:gd name="connsiteY103" fmla="*/ 315874 h 591461"/>
              <a:gd name="connsiteX104" fmla="*/ 161278 w 342382"/>
              <a:gd name="connsiteY104" fmla="*/ 328600 h 591461"/>
              <a:gd name="connsiteX105" fmla="*/ 156361 w 342382"/>
              <a:gd name="connsiteY105" fmla="*/ 342309 h 591461"/>
              <a:gd name="connsiteX106" fmla="*/ 159543 w 342382"/>
              <a:gd name="connsiteY106" fmla="*/ 373545 h 591461"/>
              <a:gd name="connsiteX107" fmla="*/ 159543 w 342382"/>
              <a:gd name="connsiteY107" fmla="*/ 373834 h 591461"/>
              <a:gd name="connsiteX108" fmla="*/ 166021 w 342382"/>
              <a:gd name="connsiteY108" fmla="*/ 374933 h 591461"/>
              <a:gd name="connsiteX109" fmla="*/ 178516 w 342382"/>
              <a:gd name="connsiteY109" fmla="*/ 377536 h 591461"/>
              <a:gd name="connsiteX110" fmla="*/ 204835 w 342382"/>
              <a:gd name="connsiteY110" fmla="*/ 407153 h 591461"/>
              <a:gd name="connsiteX111" fmla="*/ 196563 w 342382"/>
              <a:gd name="connsiteY111" fmla="*/ 418143 h 591461"/>
              <a:gd name="connsiteX112" fmla="*/ 188639 w 342382"/>
              <a:gd name="connsiteY112" fmla="*/ 428960 h 591461"/>
              <a:gd name="connsiteX113" fmla="*/ 187597 w 342382"/>
              <a:gd name="connsiteY113" fmla="*/ 435323 h 591461"/>
              <a:gd name="connsiteX114" fmla="*/ 163129 w 342382"/>
              <a:gd name="connsiteY114" fmla="*/ 453486 h 591461"/>
              <a:gd name="connsiteX115" fmla="*/ 148668 w 342382"/>
              <a:gd name="connsiteY115" fmla="*/ 469162 h 591461"/>
              <a:gd name="connsiteX116" fmla="*/ 147800 w 342382"/>
              <a:gd name="connsiteY116" fmla="*/ 480384 h 591461"/>
              <a:gd name="connsiteX117" fmla="*/ 144156 w 342382"/>
              <a:gd name="connsiteY117" fmla="*/ 508149 h 591461"/>
              <a:gd name="connsiteX118" fmla="*/ 139760 w 342382"/>
              <a:gd name="connsiteY118" fmla="*/ 528452 h 591461"/>
              <a:gd name="connsiteX119" fmla="*/ 142652 w 342382"/>
              <a:gd name="connsiteY119" fmla="*/ 525907 h 591461"/>
              <a:gd name="connsiteX120" fmla="*/ 153758 w 342382"/>
              <a:gd name="connsiteY120" fmla="*/ 516652 h 591461"/>
              <a:gd name="connsiteX121" fmla="*/ 155378 w 342382"/>
              <a:gd name="connsiteY121" fmla="*/ 517462 h 591461"/>
              <a:gd name="connsiteX122" fmla="*/ 154279 w 342382"/>
              <a:gd name="connsiteY122" fmla="*/ 525444 h 591461"/>
              <a:gd name="connsiteX123" fmla="*/ 138429 w 342382"/>
              <a:gd name="connsiteY123" fmla="*/ 552226 h 591461"/>
              <a:gd name="connsiteX124" fmla="*/ 137215 w 342382"/>
              <a:gd name="connsiteY124" fmla="*/ 551821 h 591461"/>
              <a:gd name="connsiteX125" fmla="*/ 134149 w 342382"/>
              <a:gd name="connsiteY125" fmla="*/ 548235 h 591461"/>
              <a:gd name="connsiteX126" fmla="*/ 130331 w 342382"/>
              <a:gd name="connsiteY126" fmla="*/ 544186 h 591461"/>
              <a:gd name="connsiteX127" fmla="*/ 129290 w 342382"/>
              <a:gd name="connsiteY127" fmla="*/ 547078 h 591461"/>
              <a:gd name="connsiteX128" fmla="*/ 111937 w 342382"/>
              <a:gd name="connsiteY128" fmla="*/ 560382 h 591461"/>
              <a:gd name="connsiteX129" fmla="*/ 100368 w 342382"/>
              <a:gd name="connsiteY129" fmla="*/ 558068 h 591461"/>
              <a:gd name="connsiteX130" fmla="*/ 90592 w 342382"/>
              <a:gd name="connsiteY130" fmla="*/ 561770 h 591461"/>
              <a:gd name="connsiteX131" fmla="*/ 85965 w 342382"/>
              <a:gd name="connsiteY131" fmla="*/ 565588 h 591461"/>
              <a:gd name="connsiteX132" fmla="*/ 82205 w 342382"/>
              <a:gd name="connsiteY132" fmla="*/ 570331 h 591461"/>
              <a:gd name="connsiteX133" fmla="*/ 82205 w 342382"/>
              <a:gd name="connsiteY133" fmla="*/ 574496 h 591461"/>
              <a:gd name="connsiteX134" fmla="*/ 80065 w 342382"/>
              <a:gd name="connsiteY134" fmla="*/ 584561 h 591461"/>
              <a:gd name="connsiteX135" fmla="*/ 70983 w 342382"/>
              <a:gd name="connsiteY135" fmla="*/ 587569 h 591461"/>
              <a:gd name="connsiteX136" fmla="*/ 59761 w 342382"/>
              <a:gd name="connsiteY136" fmla="*/ 590230 h 591461"/>
              <a:gd name="connsiteX137" fmla="*/ 53977 w 342382"/>
              <a:gd name="connsiteY137" fmla="*/ 591329 h 591461"/>
              <a:gd name="connsiteX138" fmla="*/ 1917 w 342382"/>
              <a:gd name="connsiteY138" fmla="*/ 449610 h 591461"/>
              <a:gd name="connsiteX139" fmla="*/ 1917 w 342382"/>
              <a:gd name="connsiteY139" fmla="*/ 451404 h 591461"/>
              <a:gd name="connsiteX140" fmla="*/ 13486 w 342382"/>
              <a:gd name="connsiteY140" fmla="*/ 477954 h 591461"/>
              <a:gd name="connsiteX141" fmla="*/ 19270 w 342382"/>
              <a:gd name="connsiteY141" fmla="*/ 492531 h 591461"/>
              <a:gd name="connsiteX142" fmla="*/ 23435 w 342382"/>
              <a:gd name="connsiteY142" fmla="*/ 506471 h 591461"/>
              <a:gd name="connsiteX143" fmla="*/ 29740 w 342382"/>
              <a:gd name="connsiteY143" fmla="*/ 519081 h 591461"/>
              <a:gd name="connsiteX144" fmla="*/ 36971 w 342382"/>
              <a:gd name="connsiteY144" fmla="*/ 530650 h 591461"/>
              <a:gd name="connsiteX145" fmla="*/ 42755 w 342382"/>
              <a:gd name="connsiteY145" fmla="*/ 552458 h 591461"/>
              <a:gd name="connsiteX146" fmla="*/ 45763 w 342382"/>
              <a:gd name="connsiteY146" fmla="*/ 559283 h 591461"/>
              <a:gd name="connsiteX147" fmla="*/ 50506 w 342382"/>
              <a:gd name="connsiteY147" fmla="*/ 564547 h 591461"/>
              <a:gd name="connsiteX148" fmla="*/ 50159 w 342382"/>
              <a:gd name="connsiteY148" fmla="*/ 572240 h 591461"/>
              <a:gd name="connsiteX149" fmla="*/ 50796 w 342382"/>
              <a:gd name="connsiteY149" fmla="*/ 587106 h 591461"/>
              <a:gd name="connsiteX150" fmla="*/ 53688 w 342382"/>
              <a:gd name="connsiteY150" fmla="*/ 588957 h 591461"/>
              <a:gd name="connsiteX151" fmla="*/ 58662 w 342382"/>
              <a:gd name="connsiteY151" fmla="*/ 588032 h 591461"/>
              <a:gd name="connsiteX152" fmla="*/ 71157 w 342382"/>
              <a:gd name="connsiteY152" fmla="*/ 586065 h 591461"/>
              <a:gd name="connsiteX153" fmla="*/ 78619 w 342382"/>
              <a:gd name="connsiteY153" fmla="*/ 583751 h 591461"/>
              <a:gd name="connsiteX154" fmla="*/ 80181 w 342382"/>
              <a:gd name="connsiteY154" fmla="*/ 575364 h 591461"/>
              <a:gd name="connsiteX155" fmla="*/ 80181 w 342382"/>
              <a:gd name="connsiteY155" fmla="*/ 570968 h 591461"/>
              <a:gd name="connsiteX156" fmla="*/ 85502 w 342382"/>
              <a:gd name="connsiteY156" fmla="*/ 564200 h 591461"/>
              <a:gd name="connsiteX157" fmla="*/ 88684 w 342382"/>
              <a:gd name="connsiteY157" fmla="*/ 561828 h 591461"/>
              <a:gd name="connsiteX158" fmla="*/ 100599 w 342382"/>
              <a:gd name="connsiteY158" fmla="*/ 556564 h 591461"/>
              <a:gd name="connsiteX159" fmla="*/ 112804 w 342382"/>
              <a:gd name="connsiteY159" fmla="*/ 559052 h 591461"/>
              <a:gd name="connsiteX160" fmla="*/ 117432 w 342382"/>
              <a:gd name="connsiteY160" fmla="*/ 560209 h 591461"/>
              <a:gd name="connsiteX161" fmla="*/ 127034 w 342382"/>
              <a:gd name="connsiteY161" fmla="*/ 547425 h 591461"/>
              <a:gd name="connsiteX162" fmla="*/ 130274 w 342382"/>
              <a:gd name="connsiteY162" fmla="*/ 542682 h 591461"/>
              <a:gd name="connsiteX163" fmla="*/ 136058 w 342382"/>
              <a:gd name="connsiteY163" fmla="*/ 547657 h 591461"/>
              <a:gd name="connsiteX164" fmla="*/ 138661 w 342382"/>
              <a:gd name="connsiteY164" fmla="*/ 550722 h 591461"/>
              <a:gd name="connsiteX165" fmla="*/ 152254 w 342382"/>
              <a:gd name="connsiteY165" fmla="*/ 525386 h 591461"/>
              <a:gd name="connsiteX166" fmla="*/ 153700 w 342382"/>
              <a:gd name="connsiteY166" fmla="*/ 519602 h 591461"/>
              <a:gd name="connsiteX167" fmla="*/ 144503 w 342382"/>
              <a:gd name="connsiteY167" fmla="*/ 528047 h 591461"/>
              <a:gd name="connsiteX168" fmla="*/ 139760 w 342382"/>
              <a:gd name="connsiteY168" fmla="*/ 531344 h 591461"/>
              <a:gd name="connsiteX169" fmla="*/ 139760 w 342382"/>
              <a:gd name="connsiteY169" fmla="*/ 531344 h 591461"/>
              <a:gd name="connsiteX170" fmla="*/ 137967 w 342382"/>
              <a:gd name="connsiteY170" fmla="*/ 530303 h 591461"/>
              <a:gd name="connsiteX171" fmla="*/ 142189 w 342382"/>
              <a:gd name="connsiteY171" fmla="*/ 507917 h 591461"/>
              <a:gd name="connsiteX172" fmla="*/ 145602 w 342382"/>
              <a:gd name="connsiteY172" fmla="*/ 480904 h 591461"/>
              <a:gd name="connsiteX173" fmla="*/ 146586 w 342382"/>
              <a:gd name="connsiteY173" fmla="*/ 469335 h 591461"/>
              <a:gd name="connsiteX174" fmla="*/ 162782 w 342382"/>
              <a:gd name="connsiteY174" fmla="*/ 451982 h 591461"/>
              <a:gd name="connsiteX175" fmla="*/ 185920 w 342382"/>
              <a:gd name="connsiteY175" fmla="*/ 434976 h 591461"/>
              <a:gd name="connsiteX176" fmla="*/ 186903 w 342382"/>
              <a:gd name="connsiteY176" fmla="*/ 430522 h 591461"/>
              <a:gd name="connsiteX177" fmla="*/ 195348 w 342382"/>
              <a:gd name="connsiteY177" fmla="*/ 417160 h 591461"/>
              <a:gd name="connsiteX178" fmla="*/ 202926 w 342382"/>
              <a:gd name="connsiteY178" fmla="*/ 407847 h 591461"/>
              <a:gd name="connsiteX179" fmla="*/ 177648 w 342382"/>
              <a:gd name="connsiteY179" fmla="*/ 380139 h 591461"/>
              <a:gd name="connsiteX180" fmla="*/ 166079 w 342382"/>
              <a:gd name="connsiteY180" fmla="*/ 377826 h 591461"/>
              <a:gd name="connsiteX181" fmla="*/ 157981 w 342382"/>
              <a:gd name="connsiteY181" fmla="*/ 375859 h 591461"/>
              <a:gd name="connsiteX182" fmla="*/ 157634 w 342382"/>
              <a:gd name="connsiteY182" fmla="*/ 373661 h 591461"/>
              <a:gd name="connsiteX183" fmla="*/ 154395 w 342382"/>
              <a:gd name="connsiteY183" fmla="*/ 343408 h 591461"/>
              <a:gd name="connsiteX184" fmla="*/ 159543 w 342382"/>
              <a:gd name="connsiteY184" fmla="*/ 328137 h 591461"/>
              <a:gd name="connsiteX185" fmla="*/ 164459 w 342382"/>
              <a:gd name="connsiteY185" fmla="*/ 316569 h 591461"/>
              <a:gd name="connsiteX186" fmla="*/ 164459 w 342382"/>
              <a:gd name="connsiteY186" fmla="*/ 315296 h 591461"/>
              <a:gd name="connsiteX187" fmla="*/ 172442 w 342382"/>
              <a:gd name="connsiteY187" fmla="*/ 294472 h 591461"/>
              <a:gd name="connsiteX188" fmla="*/ 177070 w 342382"/>
              <a:gd name="connsiteY188" fmla="*/ 289382 h 591461"/>
              <a:gd name="connsiteX189" fmla="*/ 185515 w 342382"/>
              <a:gd name="connsiteY189" fmla="*/ 281978 h 591461"/>
              <a:gd name="connsiteX190" fmla="*/ 193960 w 342382"/>
              <a:gd name="connsiteY190" fmla="*/ 272549 h 591461"/>
              <a:gd name="connsiteX191" fmla="*/ 204372 w 342382"/>
              <a:gd name="connsiteY191" fmla="*/ 260517 h 591461"/>
              <a:gd name="connsiteX192" fmla="*/ 215941 w 342382"/>
              <a:gd name="connsiteY192" fmla="*/ 254039 h 591461"/>
              <a:gd name="connsiteX193" fmla="*/ 230171 w 342382"/>
              <a:gd name="connsiteY193" fmla="*/ 245651 h 591461"/>
              <a:gd name="connsiteX194" fmla="*/ 271645 w 342382"/>
              <a:gd name="connsiteY194" fmla="*/ 214647 h 591461"/>
              <a:gd name="connsiteX195" fmla="*/ 268637 w 342382"/>
              <a:gd name="connsiteY195" fmla="*/ 204755 h 591461"/>
              <a:gd name="connsiteX196" fmla="*/ 269100 w 342382"/>
              <a:gd name="connsiteY196" fmla="*/ 187981 h 591461"/>
              <a:gd name="connsiteX197" fmla="*/ 275173 w 342382"/>
              <a:gd name="connsiteY197" fmla="*/ 174676 h 591461"/>
              <a:gd name="connsiteX198" fmla="*/ 279917 w 342382"/>
              <a:gd name="connsiteY198" fmla="*/ 165653 h 591461"/>
              <a:gd name="connsiteX199" fmla="*/ 294899 w 342382"/>
              <a:gd name="connsiteY199" fmla="*/ 154084 h 591461"/>
              <a:gd name="connsiteX200" fmla="*/ 297270 w 342382"/>
              <a:gd name="connsiteY200" fmla="*/ 151539 h 591461"/>
              <a:gd name="connsiteX201" fmla="*/ 306062 w 342382"/>
              <a:gd name="connsiteY201" fmla="*/ 148068 h 591461"/>
              <a:gd name="connsiteX202" fmla="*/ 311442 w 342382"/>
              <a:gd name="connsiteY202" fmla="*/ 148473 h 591461"/>
              <a:gd name="connsiteX203" fmla="*/ 326597 w 342382"/>
              <a:gd name="connsiteY203" fmla="*/ 148473 h 591461"/>
              <a:gd name="connsiteX204" fmla="*/ 340248 w 342382"/>
              <a:gd name="connsiteY204" fmla="*/ 148820 h 591461"/>
              <a:gd name="connsiteX205" fmla="*/ 336893 w 342382"/>
              <a:gd name="connsiteY205" fmla="*/ 137540 h 591461"/>
              <a:gd name="connsiteX206" fmla="*/ 329142 w 342382"/>
              <a:gd name="connsiteY206" fmla="*/ 123253 h 591461"/>
              <a:gd name="connsiteX207" fmla="*/ 332497 w 342382"/>
              <a:gd name="connsiteY207" fmla="*/ 121402 h 591461"/>
              <a:gd name="connsiteX208" fmla="*/ 336893 w 342382"/>
              <a:gd name="connsiteY208" fmla="*/ 115270 h 591461"/>
              <a:gd name="connsiteX209" fmla="*/ 333249 w 342382"/>
              <a:gd name="connsiteY209" fmla="*/ 100231 h 591461"/>
              <a:gd name="connsiteX210" fmla="*/ 328969 w 342382"/>
              <a:gd name="connsiteY210" fmla="*/ 86117 h 591461"/>
              <a:gd name="connsiteX211" fmla="*/ 326713 w 342382"/>
              <a:gd name="connsiteY211" fmla="*/ 75474 h 591461"/>
              <a:gd name="connsiteX212" fmla="*/ 324052 w 342382"/>
              <a:gd name="connsiteY212" fmla="*/ 53493 h 591461"/>
              <a:gd name="connsiteX213" fmla="*/ 324920 w 342382"/>
              <a:gd name="connsiteY213" fmla="*/ 48402 h 591461"/>
              <a:gd name="connsiteX214" fmla="*/ 297270 w 342382"/>
              <a:gd name="connsiteY214" fmla="*/ 30702 h 591461"/>
              <a:gd name="connsiteX215" fmla="*/ 286626 w 342382"/>
              <a:gd name="connsiteY215" fmla="*/ 26248 h 591461"/>
              <a:gd name="connsiteX216" fmla="*/ 267422 w 342382"/>
              <a:gd name="connsiteY216" fmla="*/ 12886 h 591461"/>
              <a:gd name="connsiteX217" fmla="*/ 254118 w 342382"/>
              <a:gd name="connsiteY217" fmla="*/ 2879 h 591461"/>
              <a:gd name="connsiteX218" fmla="*/ 249780 w 342382"/>
              <a:gd name="connsiteY218" fmla="*/ 1549 h 591461"/>
              <a:gd name="connsiteX219" fmla="*/ 240178 w 342382"/>
              <a:gd name="connsiteY219" fmla="*/ 22604 h 591461"/>
              <a:gd name="connsiteX220" fmla="*/ 232022 w 342382"/>
              <a:gd name="connsiteY220" fmla="*/ 32842 h 591461"/>
              <a:gd name="connsiteX221" fmla="*/ 230749 w 342382"/>
              <a:gd name="connsiteY221" fmla="*/ 32900 h 591461"/>
              <a:gd name="connsiteX222" fmla="*/ 220163 w 342382"/>
              <a:gd name="connsiteY222" fmla="*/ 28678 h 591461"/>
              <a:gd name="connsiteX223" fmla="*/ 207438 w 342382"/>
              <a:gd name="connsiteY223" fmla="*/ 25901 h 591461"/>
              <a:gd name="connsiteX224" fmla="*/ 203851 w 342382"/>
              <a:gd name="connsiteY224" fmla="*/ 25901 h 591461"/>
              <a:gd name="connsiteX225" fmla="*/ 191878 w 342382"/>
              <a:gd name="connsiteY225" fmla="*/ 23587 h 591461"/>
              <a:gd name="connsiteX226" fmla="*/ 186903 w 342382"/>
              <a:gd name="connsiteY226" fmla="*/ 23587 h 591461"/>
              <a:gd name="connsiteX227" fmla="*/ 186440 w 342382"/>
              <a:gd name="connsiteY227" fmla="*/ 35792 h 591461"/>
              <a:gd name="connsiteX228" fmla="*/ 187019 w 342382"/>
              <a:gd name="connsiteY228" fmla="*/ 42213 h 591461"/>
              <a:gd name="connsiteX229" fmla="*/ 165096 w 342382"/>
              <a:gd name="connsiteY229" fmla="*/ 51121 h 591461"/>
              <a:gd name="connsiteX230" fmla="*/ 145487 w 342382"/>
              <a:gd name="connsiteY230" fmla="*/ 65582 h 591461"/>
              <a:gd name="connsiteX231" fmla="*/ 140107 w 342382"/>
              <a:gd name="connsiteY231" fmla="*/ 77151 h 591461"/>
              <a:gd name="connsiteX232" fmla="*/ 137446 w 342382"/>
              <a:gd name="connsiteY232" fmla="*/ 84324 h 591461"/>
              <a:gd name="connsiteX233" fmla="*/ 130736 w 342382"/>
              <a:gd name="connsiteY233" fmla="*/ 100173 h 591461"/>
              <a:gd name="connsiteX234" fmla="*/ 122407 w 342382"/>
              <a:gd name="connsiteY234" fmla="*/ 111742 h 591461"/>
              <a:gd name="connsiteX235" fmla="*/ 116622 w 342382"/>
              <a:gd name="connsiteY235" fmla="*/ 120534 h 591461"/>
              <a:gd name="connsiteX236" fmla="*/ 115755 w 342382"/>
              <a:gd name="connsiteY236" fmla="*/ 125624 h 591461"/>
              <a:gd name="connsiteX237" fmla="*/ 111300 w 342382"/>
              <a:gd name="connsiteY237" fmla="*/ 136268 h 591461"/>
              <a:gd name="connsiteX238" fmla="*/ 98170 w 342382"/>
              <a:gd name="connsiteY238" fmla="*/ 139565 h 591461"/>
              <a:gd name="connsiteX239" fmla="*/ 90708 w 342382"/>
              <a:gd name="connsiteY239" fmla="*/ 141300 h 591461"/>
              <a:gd name="connsiteX240" fmla="*/ 89551 w 342382"/>
              <a:gd name="connsiteY240" fmla="*/ 151828 h 591461"/>
              <a:gd name="connsiteX241" fmla="*/ 89551 w 342382"/>
              <a:gd name="connsiteY241" fmla="*/ 165306 h 591461"/>
              <a:gd name="connsiteX242" fmla="*/ 71157 w 342382"/>
              <a:gd name="connsiteY242" fmla="*/ 200880 h 591461"/>
              <a:gd name="connsiteX243" fmla="*/ 68785 w 342382"/>
              <a:gd name="connsiteY243" fmla="*/ 208110 h 591461"/>
              <a:gd name="connsiteX244" fmla="*/ 76421 w 342382"/>
              <a:gd name="connsiteY244" fmla="*/ 213201 h 591461"/>
              <a:gd name="connsiteX245" fmla="*/ 77115 w 342382"/>
              <a:gd name="connsiteY245" fmla="*/ 213201 h 591461"/>
              <a:gd name="connsiteX246" fmla="*/ 80181 w 342382"/>
              <a:gd name="connsiteY246" fmla="*/ 216151 h 591461"/>
              <a:gd name="connsiteX247" fmla="*/ 77751 w 342382"/>
              <a:gd name="connsiteY247" fmla="*/ 230323 h 591461"/>
              <a:gd name="connsiteX248" fmla="*/ 70000 w 342382"/>
              <a:gd name="connsiteY248" fmla="*/ 235182 h 591461"/>
              <a:gd name="connsiteX249" fmla="*/ 61555 w 342382"/>
              <a:gd name="connsiteY249" fmla="*/ 233273 h 591461"/>
              <a:gd name="connsiteX250" fmla="*/ 58315 w 342382"/>
              <a:gd name="connsiteY250" fmla="*/ 232289 h 591461"/>
              <a:gd name="connsiteX251" fmla="*/ 32343 w 342382"/>
              <a:gd name="connsiteY251" fmla="*/ 249643 h 591461"/>
              <a:gd name="connsiteX252" fmla="*/ 29798 w 342382"/>
              <a:gd name="connsiteY252" fmla="*/ 275904 h 591461"/>
              <a:gd name="connsiteX253" fmla="*/ 29104 w 342382"/>
              <a:gd name="connsiteY253" fmla="*/ 285217 h 591461"/>
              <a:gd name="connsiteX254" fmla="*/ 29740 w 342382"/>
              <a:gd name="connsiteY254" fmla="*/ 303091 h 591461"/>
              <a:gd name="connsiteX255" fmla="*/ 30318 w 342382"/>
              <a:gd name="connsiteY255" fmla="*/ 319923 h 591461"/>
              <a:gd name="connsiteX256" fmla="*/ 28583 w 342382"/>
              <a:gd name="connsiteY256" fmla="*/ 329352 h 591461"/>
              <a:gd name="connsiteX257" fmla="*/ 37087 w 342382"/>
              <a:gd name="connsiteY257" fmla="*/ 338260 h 591461"/>
              <a:gd name="connsiteX258" fmla="*/ 46746 w 342382"/>
              <a:gd name="connsiteY258" fmla="*/ 348846 h 591461"/>
              <a:gd name="connsiteX259" fmla="*/ 43854 w 342382"/>
              <a:gd name="connsiteY259" fmla="*/ 360414 h 591461"/>
              <a:gd name="connsiteX260" fmla="*/ 35235 w 342382"/>
              <a:gd name="connsiteY260" fmla="*/ 364174 h 591461"/>
              <a:gd name="connsiteX261" fmla="*/ 33211 w 342382"/>
              <a:gd name="connsiteY261" fmla="*/ 366083 h 591461"/>
              <a:gd name="connsiteX262" fmla="*/ 37087 w 342382"/>
              <a:gd name="connsiteY262" fmla="*/ 375049 h 591461"/>
              <a:gd name="connsiteX263" fmla="*/ 38822 w 342382"/>
              <a:gd name="connsiteY263" fmla="*/ 402525 h 591461"/>
              <a:gd name="connsiteX264" fmla="*/ 28178 w 342382"/>
              <a:gd name="connsiteY264" fmla="*/ 405880 h 591461"/>
              <a:gd name="connsiteX265" fmla="*/ 20948 w 342382"/>
              <a:gd name="connsiteY265" fmla="*/ 407153 h 591461"/>
              <a:gd name="connsiteX266" fmla="*/ 20948 w 342382"/>
              <a:gd name="connsiteY266" fmla="*/ 408252 h 591461"/>
              <a:gd name="connsiteX267" fmla="*/ 18865 w 342382"/>
              <a:gd name="connsiteY267" fmla="*/ 422539 h 591461"/>
              <a:gd name="connsiteX268" fmla="*/ 17072 w 342382"/>
              <a:gd name="connsiteY268" fmla="*/ 430522 h 591461"/>
              <a:gd name="connsiteX269" fmla="*/ 10941 w 342382"/>
              <a:gd name="connsiteY269" fmla="*/ 450420 h 591461"/>
              <a:gd name="connsiteX270" fmla="*/ 8801 w 342382"/>
              <a:gd name="connsiteY270" fmla="*/ 449610 h 591461"/>
              <a:gd name="connsiteX271" fmla="*/ 1917 w 342382"/>
              <a:gd name="connsiteY271" fmla="*/ 449610 h 591461"/>
              <a:gd name="connsiteX272" fmla="*/ 183085 w 342382"/>
              <a:gd name="connsiteY272" fmla="*/ 529320 h 591461"/>
              <a:gd name="connsiteX273" fmla="*/ 181986 w 342382"/>
              <a:gd name="connsiteY273" fmla="*/ 528221 h 591461"/>
              <a:gd name="connsiteX274" fmla="*/ 183085 w 342382"/>
              <a:gd name="connsiteY274" fmla="*/ 527064 h 591461"/>
              <a:gd name="connsiteX275" fmla="*/ 204198 w 342382"/>
              <a:gd name="connsiteY275" fmla="*/ 496175 h 591461"/>
              <a:gd name="connsiteX276" fmla="*/ 203562 w 342382"/>
              <a:gd name="connsiteY276" fmla="*/ 494151 h 591461"/>
              <a:gd name="connsiteX277" fmla="*/ 201306 w 342382"/>
              <a:gd name="connsiteY277" fmla="*/ 493456 h 591461"/>
              <a:gd name="connsiteX278" fmla="*/ 200150 w 342382"/>
              <a:gd name="connsiteY278" fmla="*/ 492415 h 591461"/>
              <a:gd name="connsiteX279" fmla="*/ 200150 w 342382"/>
              <a:gd name="connsiteY279" fmla="*/ 492357 h 591461"/>
              <a:gd name="connsiteX280" fmla="*/ 201306 w 342382"/>
              <a:gd name="connsiteY280" fmla="*/ 491200 h 591461"/>
              <a:gd name="connsiteX281" fmla="*/ 205182 w 342382"/>
              <a:gd name="connsiteY281" fmla="*/ 492589 h 591461"/>
              <a:gd name="connsiteX282" fmla="*/ 206454 w 342382"/>
              <a:gd name="connsiteY282" fmla="*/ 496175 h 591461"/>
              <a:gd name="connsiteX283" fmla="*/ 183143 w 342382"/>
              <a:gd name="connsiteY283" fmla="*/ 529320 h 591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342382" h="591461">
                <a:moveTo>
                  <a:pt x="53977" y="591329"/>
                </a:moveTo>
                <a:cubicBezTo>
                  <a:pt x="51848" y="591404"/>
                  <a:pt x="49893" y="590160"/>
                  <a:pt x="49060" y="588205"/>
                </a:cubicBezTo>
                <a:cubicBezTo>
                  <a:pt x="47487" y="582970"/>
                  <a:pt x="47186" y="577440"/>
                  <a:pt x="48193" y="572067"/>
                </a:cubicBezTo>
                <a:cubicBezTo>
                  <a:pt x="48459" y="569626"/>
                  <a:pt x="48574" y="567173"/>
                  <a:pt x="48540" y="564720"/>
                </a:cubicBezTo>
                <a:cubicBezTo>
                  <a:pt x="48540" y="563101"/>
                  <a:pt x="47151" y="562407"/>
                  <a:pt x="45069" y="561366"/>
                </a:cubicBezTo>
                <a:cubicBezTo>
                  <a:pt x="41558" y="560521"/>
                  <a:pt x="39400" y="556987"/>
                  <a:pt x="40245" y="553481"/>
                </a:cubicBezTo>
                <a:cubicBezTo>
                  <a:pt x="40395" y="552857"/>
                  <a:pt x="40638" y="552261"/>
                  <a:pt x="40962" y="551706"/>
                </a:cubicBezTo>
                <a:cubicBezTo>
                  <a:pt x="44490" y="542624"/>
                  <a:pt x="43565" y="539211"/>
                  <a:pt x="35582" y="532386"/>
                </a:cubicBezTo>
                <a:cubicBezTo>
                  <a:pt x="31771" y="528961"/>
                  <a:pt x="29034" y="524496"/>
                  <a:pt x="27716" y="519544"/>
                </a:cubicBezTo>
                <a:cubicBezTo>
                  <a:pt x="26507" y="515246"/>
                  <a:pt x="24546" y="511191"/>
                  <a:pt x="21931" y="507570"/>
                </a:cubicBezTo>
                <a:cubicBezTo>
                  <a:pt x="18894" y="503105"/>
                  <a:pt x="17304" y="497818"/>
                  <a:pt x="17361" y="492415"/>
                </a:cubicBezTo>
                <a:cubicBezTo>
                  <a:pt x="17778" y="487574"/>
                  <a:pt x="15973" y="482801"/>
                  <a:pt x="12445" y="479458"/>
                </a:cubicBezTo>
                <a:cubicBezTo>
                  <a:pt x="3953" y="472575"/>
                  <a:pt x="-698" y="462024"/>
                  <a:pt x="-50" y="451114"/>
                </a:cubicBezTo>
                <a:lnTo>
                  <a:pt x="-50" y="448569"/>
                </a:lnTo>
                <a:cubicBezTo>
                  <a:pt x="-55" y="448002"/>
                  <a:pt x="372" y="447528"/>
                  <a:pt x="934" y="447470"/>
                </a:cubicBezTo>
                <a:cubicBezTo>
                  <a:pt x="4110" y="446747"/>
                  <a:pt x="7441" y="447268"/>
                  <a:pt x="10247" y="448916"/>
                </a:cubicBezTo>
                <a:cubicBezTo>
                  <a:pt x="10478" y="449107"/>
                  <a:pt x="10761" y="449229"/>
                  <a:pt x="11057" y="449263"/>
                </a:cubicBezTo>
                <a:cubicBezTo>
                  <a:pt x="13139" y="449263"/>
                  <a:pt x="14932" y="439603"/>
                  <a:pt x="14932" y="431621"/>
                </a:cubicBezTo>
                <a:cubicBezTo>
                  <a:pt x="15210" y="428682"/>
                  <a:pt x="15829" y="425790"/>
                  <a:pt x="16783" y="423002"/>
                </a:cubicBezTo>
                <a:cubicBezTo>
                  <a:pt x="18391" y="418797"/>
                  <a:pt x="19103" y="414308"/>
                  <a:pt x="18865" y="409813"/>
                </a:cubicBezTo>
                <a:cubicBezTo>
                  <a:pt x="18623" y="408795"/>
                  <a:pt x="18836" y="407720"/>
                  <a:pt x="19444" y="406863"/>
                </a:cubicBezTo>
                <a:cubicBezTo>
                  <a:pt x="20948" y="404955"/>
                  <a:pt x="24534" y="404839"/>
                  <a:pt x="28352" y="404723"/>
                </a:cubicBezTo>
                <a:cubicBezTo>
                  <a:pt x="32170" y="404608"/>
                  <a:pt x="36219" y="404434"/>
                  <a:pt x="37144" y="402583"/>
                </a:cubicBezTo>
                <a:cubicBezTo>
                  <a:pt x="39574" y="397724"/>
                  <a:pt x="40615" y="380313"/>
                  <a:pt x="36334" y="378173"/>
                </a:cubicBezTo>
                <a:cubicBezTo>
                  <a:pt x="32441" y="375714"/>
                  <a:pt x="30446" y="371127"/>
                  <a:pt x="31302" y="366604"/>
                </a:cubicBezTo>
                <a:cubicBezTo>
                  <a:pt x="31614" y="364516"/>
                  <a:pt x="33407" y="362965"/>
                  <a:pt x="35525" y="362960"/>
                </a:cubicBezTo>
                <a:cubicBezTo>
                  <a:pt x="38162" y="363000"/>
                  <a:pt x="40690" y="361901"/>
                  <a:pt x="42466" y="359952"/>
                </a:cubicBezTo>
                <a:cubicBezTo>
                  <a:pt x="44623" y="357117"/>
                  <a:pt x="45468" y="353496"/>
                  <a:pt x="44780" y="350003"/>
                </a:cubicBezTo>
                <a:cubicBezTo>
                  <a:pt x="44201" y="345375"/>
                  <a:pt x="40384" y="343293"/>
                  <a:pt x="36277" y="341094"/>
                </a:cubicBezTo>
                <a:cubicBezTo>
                  <a:pt x="32170" y="338896"/>
                  <a:pt x="27369" y="336293"/>
                  <a:pt x="26617" y="330509"/>
                </a:cubicBezTo>
                <a:cubicBezTo>
                  <a:pt x="26235" y="326871"/>
                  <a:pt x="26894" y="323197"/>
                  <a:pt x="28525" y="319923"/>
                </a:cubicBezTo>
                <a:cubicBezTo>
                  <a:pt x="31030" y="315192"/>
                  <a:pt x="30834" y="309488"/>
                  <a:pt x="28005" y="304942"/>
                </a:cubicBezTo>
                <a:cubicBezTo>
                  <a:pt x="25009" y="298845"/>
                  <a:pt x="24731" y="291759"/>
                  <a:pt x="27253" y="285448"/>
                </a:cubicBezTo>
                <a:cubicBezTo>
                  <a:pt x="28352" y="282978"/>
                  <a:pt x="28618" y="280213"/>
                  <a:pt x="28005" y="277582"/>
                </a:cubicBezTo>
                <a:cubicBezTo>
                  <a:pt x="23672" y="268390"/>
                  <a:pt x="24690" y="257573"/>
                  <a:pt x="30666" y="249353"/>
                </a:cubicBezTo>
                <a:cubicBezTo>
                  <a:pt x="36277" y="239387"/>
                  <a:pt x="46064" y="232463"/>
                  <a:pt x="57332" y="230496"/>
                </a:cubicBezTo>
                <a:cubicBezTo>
                  <a:pt x="57945" y="230404"/>
                  <a:pt x="58570" y="230404"/>
                  <a:pt x="59183" y="230496"/>
                </a:cubicBezTo>
                <a:cubicBezTo>
                  <a:pt x="60166" y="230496"/>
                  <a:pt x="61323" y="231133"/>
                  <a:pt x="62596" y="231537"/>
                </a:cubicBezTo>
                <a:cubicBezTo>
                  <a:pt x="65054" y="232515"/>
                  <a:pt x="67651" y="233122"/>
                  <a:pt x="70289" y="233330"/>
                </a:cubicBezTo>
                <a:cubicBezTo>
                  <a:pt x="72805" y="233510"/>
                  <a:pt x="75148" y="232035"/>
                  <a:pt x="76073" y="229686"/>
                </a:cubicBezTo>
                <a:cubicBezTo>
                  <a:pt x="78393" y="226048"/>
                  <a:pt x="79238" y="221663"/>
                  <a:pt x="78445" y="217423"/>
                </a:cubicBezTo>
                <a:cubicBezTo>
                  <a:pt x="78179" y="216631"/>
                  <a:pt x="77560" y="216012"/>
                  <a:pt x="76768" y="215746"/>
                </a:cubicBezTo>
                <a:lnTo>
                  <a:pt x="76073" y="215746"/>
                </a:lnTo>
                <a:cubicBezTo>
                  <a:pt x="73181" y="214820"/>
                  <a:pt x="68264" y="213259"/>
                  <a:pt x="66992" y="209210"/>
                </a:cubicBezTo>
                <a:cubicBezTo>
                  <a:pt x="66321" y="205849"/>
                  <a:pt x="67333" y="202366"/>
                  <a:pt x="69710" y="199896"/>
                </a:cubicBezTo>
                <a:cubicBezTo>
                  <a:pt x="78330" y="188328"/>
                  <a:pt x="86427" y="176354"/>
                  <a:pt x="87642" y="165479"/>
                </a:cubicBezTo>
                <a:cubicBezTo>
                  <a:pt x="88082" y="161135"/>
                  <a:pt x="88082" y="156751"/>
                  <a:pt x="87642" y="152406"/>
                </a:cubicBezTo>
                <a:cubicBezTo>
                  <a:pt x="87179" y="147027"/>
                  <a:pt x="86775" y="142746"/>
                  <a:pt x="89378" y="140143"/>
                </a:cubicBezTo>
                <a:cubicBezTo>
                  <a:pt x="91981" y="138240"/>
                  <a:pt x="95197" y="137373"/>
                  <a:pt x="98401" y="137714"/>
                </a:cubicBezTo>
                <a:cubicBezTo>
                  <a:pt x="102566" y="137882"/>
                  <a:pt x="106696" y="136881"/>
                  <a:pt x="110317" y="134822"/>
                </a:cubicBezTo>
                <a:cubicBezTo>
                  <a:pt x="113244" y="133023"/>
                  <a:pt x="114650" y="129529"/>
                  <a:pt x="113788" y="126203"/>
                </a:cubicBezTo>
                <a:cubicBezTo>
                  <a:pt x="113163" y="123808"/>
                  <a:pt x="113747" y="121263"/>
                  <a:pt x="115350" y="119377"/>
                </a:cubicBezTo>
                <a:cubicBezTo>
                  <a:pt x="117467" y="116792"/>
                  <a:pt x="119295" y="113980"/>
                  <a:pt x="120787" y="110990"/>
                </a:cubicBezTo>
                <a:cubicBezTo>
                  <a:pt x="122823" y="106380"/>
                  <a:pt x="125663" y="102169"/>
                  <a:pt x="129175" y="98553"/>
                </a:cubicBezTo>
                <a:cubicBezTo>
                  <a:pt x="136058" y="93347"/>
                  <a:pt x="138025" y="89298"/>
                  <a:pt x="135422" y="85828"/>
                </a:cubicBezTo>
                <a:cubicBezTo>
                  <a:pt x="132819" y="82357"/>
                  <a:pt x="135422" y="79118"/>
                  <a:pt x="138082" y="75936"/>
                </a:cubicBezTo>
                <a:cubicBezTo>
                  <a:pt x="140824" y="73171"/>
                  <a:pt x="142554" y="69568"/>
                  <a:pt x="142999" y="65698"/>
                </a:cubicBezTo>
                <a:cubicBezTo>
                  <a:pt x="142999" y="55980"/>
                  <a:pt x="156072" y="48981"/>
                  <a:pt x="164864" y="48981"/>
                </a:cubicBezTo>
                <a:cubicBezTo>
                  <a:pt x="172211" y="48981"/>
                  <a:pt x="184532" y="48981"/>
                  <a:pt x="184532" y="42329"/>
                </a:cubicBezTo>
                <a:cubicBezTo>
                  <a:pt x="184532" y="40651"/>
                  <a:pt x="184242" y="38511"/>
                  <a:pt x="184011" y="36197"/>
                </a:cubicBezTo>
                <a:cubicBezTo>
                  <a:pt x="183317" y="30413"/>
                  <a:pt x="182623" y="24628"/>
                  <a:pt x="184994" y="22199"/>
                </a:cubicBezTo>
                <a:cubicBezTo>
                  <a:pt x="187366" y="19769"/>
                  <a:pt x="189043" y="20290"/>
                  <a:pt x="192572" y="21852"/>
                </a:cubicBezTo>
                <a:cubicBezTo>
                  <a:pt x="196060" y="23344"/>
                  <a:pt x="199831" y="24056"/>
                  <a:pt x="203620" y="23934"/>
                </a:cubicBezTo>
                <a:lnTo>
                  <a:pt x="207148" y="23934"/>
                </a:lnTo>
                <a:lnTo>
                  <a:pt x="210388" y="23934"/>
                </a:lnTo>
                <a:cubicBezTo>
                  <a:pt x="214350" y="23657"/>
                  <a:pt x="218272" y="24871"/>
                  <a:pt x="221378" y="27347"/>
                </a:cubicBezTo>
                <a:cubicBezTo>
                  <a:pt x="223923" y="29591"/>
                  <a:pt x="227163" y="30893"/>
                  <a:pt x="230518" y="31049"/>
                </a:cubicBezTo>
                <a:cubicBezTo>
                  <a:pt x="235029" y="31049"/>
                  <a:pt x="237690" y="28041"/>
                  <a:pt x="237690" y="23009"/>
                </a:cubicBezTo>
                <a:cubicBezTo>
                  <a:pt x="237690" y="14968"/>
                  <a:pt x="240178" y="-129"/>
                  <a:pt x="249548" y="-129"/>
                </a:cubicBezTo>
                <a:cubicBezTo>
                  <a:pt x="251457" y="-65"/>
                  <a:pt x="253308" y="473"/>
                  <a:pt x="254986" y="1433"/>
                </a:cubicBezTo>
                <a:cubicBezTo>
                  <a:pt x="259902" y="4377"/>
                  <a:pt x="264530" y="7848"/>
                  <a:pt x="268695" y="11787"/>
                </a:cubicBezTo>
                <a:cubicBezTo>
                  <a:pt x="274190" y="17039"/>
                  <a:pt x="280495" y="21424"/>
                  <a:pt x="287321" y="24802"/>
                </a:cubicBezTo>
                <a:cubicBezTo>
                  <a:pt x="290387" y="26190"/>
                  <a:pt x="294031" y="27636"/>
                  <a:pt x="297848" y="29198"/>
                </a:cubicBezTo>
                <a:cubicBezTo>
                  <a:pt x="312714" y="34983"/>
                  <a:pt x="328043" y="41345"/>
                  <a:pt x="326770" y="49328"/>
                </a:cubicBezTo>
                <a:cubicBezTo>
                  <a:pt x="326770" y="50947"/>
                  <a:pt x="326192" y="52683"/>
                  <a:pt x="325903" y="54476"/>
                </a:cubicBezTo>
                <a:cubicBezTo>
                  <a:pt x="324457" y="62401"/>
                  <a:pt x="322837" y="71309"/>
                  <a:pt x="327465" y="74143"/>
                </a:cubicBezTo>
                <a:cubicBezTo>
                  <a:pt x="331109" y="76341"/>
                  <a:pt x="330993" y="81663"/>
                  <a:pt x="330820" y="86753"/>
                </a:cubicBezTo>
                <a:cubicBezTo>
                  <a:pt x="330646" y="91843"/>
                  <a:pt x="330473" y="97049"/>
                  <a:pt x="333886" y="98785"/>
                </a:cubicBezTo>
                <a:cubicBezTo>
                  <a:pt x="339091" y="101388"/>
                  <a:pt x="340248" y="109775"/>
                  <a:pt x="338686" y="116138"/>
                </a:cubicBezTo>
                <a:cubicBezTo>
                  <a:pt x="337530" y="121055"/>
                  <a:pt x="335042" y="124063"/>
                  <a:pt x="332092" y="124063"/>
                </a:cubicBezTo>
                <a:cubicBezTo>
                  <a:pt x="331572" y="124063"/>
                  <a:pt x="330935" y="124063"/>
                  <a:pt x="330820" y="124468"/>
                </a:cubicBezTo>
                <a:cubicBezTo>
                  <a:pt x="330068" y="126261"/>
                  <a:pt x="334290" y="132566"/>
                  <a:pt x="338108" y="136037"/>
                </a:cubicBezTo>
                <a:cubicBezTo>
                  <a:pt x="340769" y="140300"/>
                  <a:pt x="342215" y="145193"/>
                  <a:pt x="342273" y="150208"/>
                </a:cubicBezTo>
                <a:cubicBezTo>
                  <a:pt x="342273" y="150578"/>
                  <a:pt x="342157" y="150943"/>
                  <a:pt x="341868" y="151192"/>
                </a:cubicBezTo>
                <a:cubicBezTo>
                  <a:pt x="341579" y="151354"/>
                  <a:pt x="341174" y="151354"/>
                  <a:pt x="340884" y="151192"/>
                </a:cubicBezTo>
                <a:cubicBezTo>
                  <a:pt x="336199" y="149983"/>
                  <a:pt x="331340" y="149763"/>
                  <a:pt x="326539" y="150555"/>
                </a:cubicBezTo>
                <a:cubicBezTo>
                  <a:pt x="321333" y="151221"/>
                  <a:pt x="316011" y="151221"/>
                  <a:pt x="310806" y="150555"/>
                </a:cubicBezTo>
                <a:cubicBezTo>
                  <a:pt x="309070" y="150324"/>
                  <a:pt x="307393" y="150185"/>
                  <a:pt x="305657" y="150151"/>
                </a:cubicBezTo>
                <a:cubicBezTo>
                  <a:pt x="302997" y="149936"/>
                  <a:pt x="300336" y="150954"/>
                  <a:pt x="298485" y="152927"/>
                </a:cubicBezTo>
                <a:lnTo>
                  <a:pt x="296171" y="155414"/>
                </a:lnTo>
                <a:cubicBezTo>
                  <a:pt x="292064" y="160742"/>
                  <a:pt x="286569" y="164855"/>
                  <a:pt x="280322" y="167330"/>
                </a:cubicBezTo>
                <a:cubicBezTo>
                  <a:pt x="277256" y="168487"/>
                  <a:pt x="277082" y="170396"/>
                  <a:pt x="277024" y="174329"/>
                </a:cubicBezTo>
                <a:cubicBezTo>
                  <a:pt x="277545" y="180212"/>
                  <a:pt x="274884" y="185927"/>
                  <a:pt x="270083" y="189369"/>
                </a:cubicBezTo>
                <a:cubicBezTo>
                  <a:pt x="264299" y="193823"/>
                  <a:pt x="266960" y="198161"/>
                  <a:pt x="270083" y="203136"/>
                </a:cubicBezTo>
                <a:cubicBezTo>
                  <a:pt x="272570" y="207011"/>
                  <a:pt x="275173" y="211061"/>
                  <a:pt x="273207" y="215225"/>
                </a:cubicBezTo>
                <a:cubicBezTo>
                  <a:pt x="268926" y="224133"/>
                  <a:pt x="244805" y="240387"/>
                  <a:pt x="230691" y="247271"/>
                </a:cubicBezTo>
                <a:cubicBezTo>
                  <a:pt x="225832" y="249585"/>
                  <a:pt x="221182" y="252338"/>
                  <a:pt x="216809" y="255485"/>
                </a:cubicBezTo>
                <a:cubicBezTo>
                  <a:pt x="213083" y="258215"/>
                  <a:pt x="209046" y="260488"/>
                  <a:pt x="204777" y="262253"/>
                </a:cubicBezTo>
                <a:cubicBezTo>
                  <a:pt x="200415" y="264520"/>
                  <a:pt x="197113" y="268402"/>
                  <a:pt x="195580" y="273070"/>
                </a:cubicBezTo>
                <a:cubicBezTo>
                  <a:pt x="193439" y="277639"/>
                  <a:pt x="191183" y="282325"/>
                  <a:pt x="185631" y="283713"/>
                </a:cubicBezTo>
                <a:cubicBezTo>
                  <a:pt x="182385" y="284089"/>
                  <a:pt x="179678" y="286362"/>
                  <a:pt x="178747" y="289497"/>
                </a:cubicBezTo>
                <a:cubicBezTo>
                  <a:pt x="177972" y="292447"/>
                  <a:pt x="175814" y="294842"/>
                  <a:pt x="172963" y="295918"/>
                </a:cubicBezTo>
                <a:cubicBezTo>
                  <a:pt x="166426" y="298348"/>
                  <a:pt x="166426" y="306619"/>
                  <a:pt x="166484" y="314602"/>
                </a:cubicBezTo>
                <a:lnTo>
                  <a:pt x="166484" y="315874"/>
                </a:lnTo>
                <a:cubicBezTo>
                  <a:pt x="165883" y="320496"/>
                  <a:pt x="164089" y="324881"/>
                  <a:pt x="161278" y="328600"/>
                </a:cubicBezTo>
                <a:cubicBezTo>
                  <a:pt x="158114" y="332470"/>
                  <a:pt x="156379" y="337311"/>
                  <a:pt x="156361" y="342309"/>
                </a:cubicBezTo>
                <a:cubicBezTo>
                  <a:pt x="157750" y="350060"/>
                  <a:pt x="160931" y="368628"/>
                  <a:pt x="159543" y="373545"/>
                </a:cubicBezTo>
                <a:lnTo>
                  <a:pt x="159543" y="373834"/>
                </a:lnTo>
                <a:cubicBezTo>
                  <a:pt x="160064" y="374586"/>
                  <a:pt x="163476" y="374760"/>
                  <a:pt x="166021" y="374933"/>
                </a:cubicBezTo>
                <a:cubicBezTo>
                  <a:pt x="170331" y="374806"/>
                  <a:pt x="174611" y="375703"/>
                  <a:pt x="178516" y="377536"/>
                </a:cubicBezTo>
                <a:cubicBezTo>
                  <a:pt x="184300" y="381354"/>
                  <a:pt x="204835" y="400211"/>
                  <a:pt x="204835" y="407153"/>
                </a:cubicBezTo>
                <a:cubicBezTo>
                  <a:pt x="204835" y="410450"/>
                  <a:pt x="200786" y="414152"/>
                  <a:pt x="196563" y="418143"/>
                </a:cubicBezTo>
                <a:cubicBezTo>
                  <a:pt x="192340" y="422134"/>
                  <a:pt x="187597" y="426415"/>
                  <a:pt x="188639" y="428960"/>
                </a:cubicBezTo>
                <a:cubicBezTo>
                  <a:pt x="189246" y="431129"/>
                  <a:pt x="188870" y="433460"/>
                  <a:pt x="187597" y="435323"/>
                </a:cubicBezTo>
                <a:cubicBezTo>
                  <a:pt x="181940" y="444167"/>
                  <a:pt x="173235" y="450634"/>
                  <a:pt x="163129" y="453486"/>
                </a:cubicBezTo>
                <a:cubicBezTo>
                  <a:pt x="155285" y="454782"/>
                  <a:pt x="149328" y="461243"/>
                  <a:pt x="148668" y="469162"/>
                </a:cubicBezTo>
                <a:cubicBezTo>
                  <a:pt x="148165" y="472881"/>
                  <a:pt x="147875" y="476629"/>
                  <a:pt x="147800" y="480384"/>
                </a:cubicBezTo>
                <a:cubicBezTo>
                  <a:pt x="147783" y="489754"/>
                  <a:pt x="146557" y="499090"/>
                  <a:pt x="144156" y="508149"/>
                </a:cubicBezTo>
                <a:cubicBezTo>
                  <a:pt x="140975" y="515611"/>
                  <a:pt x="138372" y="527180"/>
                  <a:pt x="139760" y="528452"/>
                </a:cubicBezTo>
                <a:cubicBezTo>
                  <a:pt x="139760" y="528452"/>
                  <a:pt x="140570" y="528452"/>
                  <a:pt x="142652" y="525907"/>
                </a:cubicBezTo>
                <a:cubicBezTo>
                  <a:pt x="149941" y="517693"/>
                  <a:pt x="152428" y="516652"/>
                  <a:pt x="153758" y="516652"/>
                </a:cubicBezTo>
                <a:cubicBezTo>
                  <a:pt x="154401" y="516623"/>
                  <a:pt x="155013" y="516930"/>
                  <a:pt x="155378" y="517462"/>
                </a:cubicBezTo>
                <a:cubicBezTo>
                  <a:pt x="156014" y="518329"/>
                  <a:pt x="156303" y="519949"/>
                  <a:pt x="154279" y="525444"/>
                </a:cubicBezTo>
                <a:cubicBezTo>
                  <a:pt x="152254" y="530939"/>
                  <a:pt x="143346" y="552226"/>
                  <a:pt x="138429" y="552226"/>
                </a:cubicBezTo>
                <a:cubicBezTo>
                  <a:pt x="137996" y="552215"/>
                  <a:pt x="137568" y="552076"/>
                  <a:pt x="137215" y="551821"/>
                </a:cubicBezTo>
                <a:cubicBezTo>
                  <a:pt x="136035" y="550769"/>
                  <a:pt x="135005" y="549565"/>
                  <a:pt x="134149" y="548235"/>
                </a:cubicBezTo>
                <a:cubicBezTo>
                  <a:pt x="133050" y="546847"/>
                  <a:pt x="131141" y="544186"/>
                  <a:pt x="130331" y="544186"/>
                </a:cubicBezTo>
                <a:cubicBezTo>
                  <a:pt x="129522" y="544186"/>
                  <a:pt x="129753" y="544475"/>
                  <a:pt x="129290" y="547078"/>
                </a:cubicBezTo>
                <a:cubicBezTo>
                  <a:pt x="127266" y="559167"/>
                  <a:pt x="120787" y="564431"/>
                  <a:pt x="111937" y="560382"/>
                </a:cubicBezTo>
                <a:cubicBezTo>
                  <a:pt x="108281" y="558832"/>
                  <a:pt x="104342" y="558045"/>
                  <a:pt x="100368" y="558068"/>
                </a:cubicBezTo>
                <a:cubicBezTo>
                  <a:pt x="95278" y="558068"/>
                  <a:pt x="91344" y="559572"/>
                  <a:pt x="90592" y="561770"/>
                </a:cubicBezTo>
                <a:cubicBezTo>
                  <a:pt x="89881" y="563807"/>
                  <a:pt x="88099" y="565276"/>
                  <a:pt x="85965" y="565588"/>
                </a:cubicBezTo>
                <a:cubicBezTo>
                  <a:pt x="83634" y="565889"/>
                  <a:pt x="81968" y="567995"/>
                  <a:pt x="82205" y="570331"/>
                </a:cubicBezTo>
                <a:cubicBezTo>
                  <a:pt x="82118" y="571720"/>
                  <a:pt x="82118" y="573108"/>
                  <a:pt x="82205" y="574496"/>
                </a:cubicBezTo>
                <a:cubicBezTo>
                  <a:pt x="82876" y="578001"/>
                  <a:pt x="82106" y="581634"/>
                  <a:pt x="80065" y="584561"/>
                </a:cubicBezTo>
                <a:cubicBezTo>
                  <a:pt x="77560" y="586736"/>
                  <a:pt x="74292" y="587818"/>
                  <a:pt x="70983" y="587569"/>
                </a:cubicBezTo>
                <a:cubicBezTo>
                  <a:pt x="67160" y="588067"/>
                  <a:pt x="63400" y="588963"/>
                  <a:pt x="59761" y="590230"/>
                </a:cubicBezTo>
                <a:cubicBezTo>
                  <a:pt x="57887" y="590837"/>
                  <a:pt x="55944" y="591207"/>
                  <a:pt x="53977" y="591329"/>
                </a:cubicBezTo>
                <a:close/>
                <a:moveTo>
                  <a:pt x="1917" y="449610"/>
                </a:moveTo>
                <a:lnTo>
                  <a:pt x="1917" y="451404"/>
                </a:lnTo>
                <a:cubicBezTo>
                  <a:pt x="1281" y="461601"/>
                  <a:pt x="5584" y="471481"/>
                  <a:pt x="13486" y="477954"/>
                </a:cubicBezTo>
                <a:cubicBezTo>
                  <a:pt x="17529" y="481685"/>
                  <a:pt x="19658" y="487047"/>
                  <a:pt x="19270" y="492531"/>
                </a:cubicBezTo>
                <a:cubicBezTo>
                  <a:pt x="19190" y="497494"/>
                  <a:pt x="20641" y="502364"/>
                  <a:pt x="23435" y="506471"/>
                </a:cubicBezTo>
                <a:cubicBezTo>
                  <a:pt x="26258" y="510272"/>
                  <a:pt x="28393" y="514541"/>
                  <a:pt x="29740" y="519081"/>
                </a:cubicBezTo>
                <a:cubicBezTo>
                  <a:pt x="30990" y="523553"/>
                  <a:pt x="33500" y="527567"/>
                  <a:pt x="36971" y="530650"/>
                </a:cubicBezTo>
                <a:cubicBezTo>
                  <a:pt x="45589" y="538054"/>
                  <a:pt x="46804" y="542508"/>
                  <a:pt x="42755" y="552458"/>
                </a:cubicBezTo>
                <a:cubicBezTo>
                  <a:pt x="41020" y="556969"/>
                  <a:pt x="42755" y="557895"/>
                  <a:pt x="45763" y="559283"/>
                </a:cubicBezTo>
                <a:cubicBezTo>
                  <a:pt x="48771" y="560672"/>
                  <a:pt x="50275" y="561539"/>
                  <a:pt x="50506" y="564547"/>
                </a:cubicBezTo>
                <a:cubicBezTo>
                  <a:pt x="50576" y="567115"/>
                  <a:pt x="50460" y="569689"/>
                  <a:pt x="50159" y="572240"/>
                </a:cubicBezTo>
                <a:cubicBezTo>
                  <a:pt x="49216" y="577180"/>
                  <a:pt x="49436" y="582265"/>
                  <a:pt x="50796" y="587106"/>
                </a:cubicBezTo>
                <a:cubicBezTo>
                  <a:pt x="51235" y="588304"/>
                  <a:pt x="52415" y="589061"/>
                  <a:pt x="53688" y="588957"/>
                </a:cubicBezTo>
                <a:cubicBezTo>
                  <a:pt x="55377" y="588824"/>
                  <a:pt x="57043" y="588518"/>
                  <a:pt x="58662" y="588032"/>
                </a:cubicBezTo>
                <a:cubicBezTo>
                  <a:pt x="62746" y="586933"/>
                  <a:pt x="66934" y="586273"/>
                  <a:pt x="71157" y="586065"/>
                </a:cubicBezTo>
                <a:cubicBezTo>
                  <a:pt x="73852" y="586296"/>
                  <a:pt x="76530" y="585469"/>
                  <a:pt x="78619" y="583751"/>
                </a:cubicBezTo>
                <a:cubicBezTo>
                  <a:pt x="80186" y="581258"/>
                  <a:pt x="80747" y="578256"/>
                  <a:pt x="80181" y="575364"/>
                </a:cubicBezTo>
                <a:cubicBezTo>
                  <a:pt x="80094" y="573900"/>
                  <a:pt x="80094" y="572431"/>
                  <a:pt x="80181" y="570968"/>
                </a:cubicBezTo>
                <a:cubicBezTo>
                  <a:pt x="79984" y="567688"/>
                  <a:pt x="82269" y="564778"/>
                  <a:pt x="85502" y="564200"/>
                </a:cubicBezTo>
                <a:cubicBezTo>
                  <a:pt x="87237" y="563679"/>
                  <a:pt x="88221" y="563274"/>
                  <a:pt x="88684" y="561828"/>
                </a:cubicBezTo>
                <a:cubicBezTo>
                  <a:pt x="89783" y="558589"/>
                  <a:pt x="94468" y="556564"/>
                  <a:pt x="100599" y="556564"/>
                </a:cubicBezTo>
                <a:cubicBezTo>
                  <a:pt x="104787" y="556599"/>
                  <a:pt x="108935" y="557444"/>
                  <a:pt x="112804" y="559052"/>
                </a:cubicBezTo>
                <a:cubicBezTo>
                  <a:pt x="114251" y="559757"/>
                  <a:pt x="115824" y="560151"/>
                  <a:pt x="117432" y="560209"/>
                </a:cubicBezTo>
                <a:cubicBezTo>
                  <a:pt x="123911" y="560209"/>
                  <a:pt x="126224" y="552168"/>
                  <a:pt x="127034" y="547425"/>
                </a:cubicBezTo>
                <a:cubicBezTo>
                  <a:pt x="127034" y="546153"/>
                  <a:pt x="127786" y="542682"/>
                  <a:pt x="130274" y="542682"/>
                </a:cubicBezTo>
                <a:cubicBezTo>
                  <a:pt x="132761" y="542682"/>
                  <a:pt x="133976" y="545111"/>
                  <a:pt x="136058" y="547657"/>
                </a:cubicBezTo>
                <a:cubicBezTo>
                  <a:pt x="136787" y="548790"/>
                  <a:pt x="137660" y="549820"/>
                  <a:pt x="138661" y="550722"/>
                </a:cubicBezTo>
                <a:cubicBezTo>
                  <a:pt x="140512" y="550722"/>
                  <a:pt x="147569" y="538170"/>
                  <a:pt x="152254" y="525386"/>
                </a:cubicBezTo>
                <a:cubicBezTo>
                  <a:pt x="153139" y="523582"/>
                  <a:pt x="153631" y="521609"/>
                  <a:pt x="153700" y="519602"/>
                </a:cubicBezTo>
                <a:cubicBezTo>
                  <a:pt x="153006" y="519602"/>
                  <a:pt x="150750" y="520990"/>
                  <a:pt x="144503" y="528047"/>
                </a:cubicBezTo>
                <a:cubicBezTo>
                  <a:pt x="142479" y="530303"/>
                  <a:pt x="141033" y="531344"/>
                  <a:pt x="139760" y="531344"/>
                </a:cubicBezTo>
                <a:lnTo>
                  <a:pt x="139760" y="531344"/>
                </a:lnTo>
                <a:cubicBezTo>
                  <a:pt x="139025" y="531327"/>
                  <a:pt x="138343" y="530934"/>
                  <a:pt x="137967" y="530303"/>
                </a:cubicBezTo>
                <a:cubicBezTo>
                  <a:pt x="135711" y="526890"/>
                  <a:pt x="140049" y="512950"/>
                  <a:pt x="142189" y="507917"/>
                </a:cubicBezTo>
                <a:cubicBezTo>
                  <a:pt x="144451" y="499090"/>
                  <a:pt x="145602" y="490015"/>
                  <a:pt x="145602" y="480904"/>
                </a:cubicBezTo>
                <a:cubicBezTo>
                  <a:pt x="145695" y="477029"/>
                  <a:pt x="146025" y="473170"/>
                  <a:pt x="146586" y="469335"/>
                </a:cubicBezTo>
                <a:cubicBezTo>
                  <a:pt x="147511" y="460583"/>
                  <a:pt x="154117" y="453509"/>
                  <a:pt x="162782" y="451982"/>
                </a:cubicBezTo>
                <a:cubicBezTo>
                  <a:pt x="172286" y="449275"/>
                  <a:pt x="180500" y="443242"/>
                  <a:pt x="185920" y="434976"/>
                </a:cubicBezTo>
                <a:cubicBezTo>
                  <a:pt x="186845" y="433686"/>
                  <a:pt x="187198" y="432078"/>
                  <a:pt x="186903" y="430522"/>
                </a:cubicBezTo>
                <a:cubicBezTo>
                  <a:pt x="185284" y="426473"/>
                  <a:pt x="190142" y="421961"/>
                  <a:pt x="195348" y="417160"/>
                </a:cubicBezTo>
                <a:cubicBezTo>
                  <a:pt x="198877" y="413863"/>
                  <a:pt x="202926" y="410161"/>
                  <a:pt x="202926" y="407847"/>
                </a:cubicBezTo>
                <a:cubicBezTo>
                  <a:pt x="202926" y="402583"/>
                  <a:pt x="184589" y="384709"/>
                  <a:pt x="177648" y="380139"/>
                </a:cubicBezTo>
                <a:cubicBezTo>
                  <a:pt x="174015" y="378514"/>
                  <a:pt x="170059" y="377721"/>
                  <a:pt x="166079" y="377826"/>
                </a:cubicBezTo>
                <a:cubicBezTo>
                  <a:pt x="162030" y="377826"/>
                  <a:pt x="159080" y="377421"/>
                  <a:pt x="157981" y="375859"/>
                </a:cubicBezTo>
                <a:cubicBezTo>
                  <a:pt x="157507" y="375228"/>
                  <a:pt x="157379" y="374407"/>
                  <a:pt x="157634" y="373661"/>
                </a:cubicBezTo>
                <a:cubicBezTo>
                  <a:pt x="157732" y="363486"/>
                  <a:pt x="156645" y="353334"/>
                  <a:pt x="154395" y="343408"/>
                </a:cubicBezTo>
                <a:cubicBezTo>
                  <a:pt x="154227" y="337867"/>
                  <a:pt x="156055" y="332447"/>
                  <a:pt x="159543" y="328137"/>
                </a:cubicBezTo>
                <a:cubicBezTo>
                  <a:pt x="162146" y="324765"/>
                  <a:pt x="163840" y="320785"/>
                  <a:pt x="164459" y="316569"/>
                </a:cubicBezTo>
                <a:lnTo>
                  <a:pt x="164459" y="315296"/>
                </a:lnTo>
                <a:cubicBezTo>
                  <a:pt x="164459" y="306966"/>
                  <a:pt x="164459" y="297480"/>
                  <a:pt x="172442" y="294472"/>
                </a:cubicBezTo>
                <a:cubicBezTo>
                  <a:pt x="174750" y="293674"/>
                  <a:pt x="176497" y="291753"/>
                  <a:pt x="177070" y="289382"/>
                </a:cubicBezTo>
                <a:cubicBezTo>
                  <a:pt x="178174" y="285460"/>
                  <a:pt x="181483" y="282556"/>
                  <a:pt x="185515" y="281978"/>
                </a:cubicBezTo>
                <a:cubicBezTo>
                  <a:pt x="190027" y="280879"/>
                  <a:pt x="191878" y="277003"/>
                  <a:pt x="193960" y="272549"/>
                </a:cubicBezTo>
                <a:cubicBezTo>
                  <a:pt x="195719" y="267326"/>
                  <a:pt x="199455" y="263005"/>
                  <a:pt x="204372" y="260517"/>
                </a:cubicBezTo>
                <a:cubicBezTo>
                  <a:pt x="208502" y="258880"/>
                  <a:pt x="212389" y="256705"/>
                  <a:pt x="215941" y="254039"/>
                </a:cubicBezTo>
                <a:cubicBezTo>
                  <a:pt x="220424" y="250823"/>
                  <a:pt x="225196" y="248012"/>
                  <a:pt x="230171" y="245651"/>
                </a:cubicBezTo>
                <a:cubicBezTo>
                  <a:pt x="244111" y="238826"/>
                  <a:pt x="267712" y="222803"/>
                  <a:pt x="271645" y="214647"/>
                </a:cubicBezTo>
                <a:cubicBezTo>
                  <a:pt x="273091" y="211639"/>
                  <a:pt x="270951" y="208284"/>
                  <a:pt x="268637" y="204755"/>
                </a:cubicBezTo>
                <a:cubicBezTo>
                  <a:pt x="265514" y="199839"/>
                  <a:pt x="261580" y="193707"/>
                  <a:pt x="269100" y="187981"/>
                </a:cubicBezTo>
                <a:cubicBezTo>
                  <a:pt x="273380" y="184973"/>
                  <a:pt x="275694" y="179882"/>
                  <a:pt x="275173" y="174676"/>
                </a:cubicBezTo>
                <a:cubicBezTo>
                  <a:pt x="275173" y="171090"/>
                  <a:pt x="275173" y="167388"/>
                  <a:pt x="279917" y="165653"/>
                </a:cubicBezTo>
                <a:cubicBezTo>
                  <a:pt x="285875" y="163189"/>
                  <a:pt x="291023" y="159197"/>
                  <a:pt x="294899" y="154084"/>
                </a:cubicBezTo>
                <a:lnTo>
                  <a:pt x="297270" y="151539"/>
                </a:lnTo>
                <a:cubicBezTo>
                  <a:pt x="299526" y="149104"/>
                  <a:pt x="302765" y="147825"/>
                  <a:pt x="306062" y="148068"/>
                </a:cubicBezTo>
                <a:cubicBezTo>
                  <a:pt x="307856" y="148097"/>
                  <a:pt x="309649" y="148230"/>
                  <a:pt x="311442" y="148473"/>
                </a:cubicBezTo>
                <a:cubicBezTo>
                  <a:pt x="316474" y="149109"/>
                  <a:pt x="321565" y="149109"/>
                  <a:pt x="326597" y="148473"/>
                </a:cubicBezTo>
                <a:cubicBezTo>
                  <a:pt x="331109" y="147721"/>
                  <a:pt x="335737" y="147842"/>
                  <a:pt x="340248" y="148820"/>
                </a:cubicBezTo>
                <a:cubicBezTo>
                  <a:pt x="340075" y="144846"/>
                  <a:pt x="338918" y="140971"/>
                  <a:pt x="336893" y="137540"/>
                </a:cubicBezTo>
                <a:cubicBezTo>
                  <a:pt x="334869" y="135574"/>
                  <a:pt x="327522" y="127186"/>
                  <a:pt x="329142" y="123253"/>
                </a:cubicBezTo>
                <a:cubicBezTo>
                  <a:pt x="329721" y="121957"/>
                  <a:pt x="331109" y="121199"/>
                  <a:pt x="332497" y="121402"/>
                </a:cubicBezTo>
                <a:cubicBezTo>
                  <a:pt x="334290" y="121402"/>
                  <a:pt x="336026" y="119030"/>
                  <a:pt x="336893" y="115270"/>
                </a:cubicBezTo>
                <a:cubicBezTo>
                  <a:pt x="338282" y="109486"/>
                  <a:pt x="337298" y="102255"/>
                  <a:pt x="333249" y="100231"/>
                </a:cubicBezTo>
                <a:cubicBezTo>
                  <a:pt x="329200" y="98206"/>
                  <a:pt x="328795" y="91612"/>
                  <a:pt x="328969" y="86117"/>
                </a:cubicBezTo>
                <a:cubicBezTo>
                  <a:pt x="329142" y="80622"/>
                  <a:pt x="329258" y="77035"/>
                  <a:pt x="326713" y="75474"/>
                </a:cubicBezTo>
                <a:cubicBezTo>
                  <a:pt x="320928" y="71887"/>
                  <a:pt x="322490" y="62112"/>
                  <a:pt x="324052" y="53493"/>
                </a:cubicBezTo>
                <a:cubicBezTo>
                  <a:pt x="324399" y="51757"/>
                  <a:pt x="324688" y="50022"/>
                  <a:pt x="324920" y="48402"/>
                </a:cubicBezTo>
                <a:cubicBezTo>
                  <a:pt x="325787" y="42213"/>
                  <a:pt x="309938" y="35792"/>
                  <a:pt x="297270" y="30702"/>
                </a:cubicBezTo>
                <a:cubicBezTo>
                  <a:pt x="293395" y="29140"/>
                  <a:pt x="289750" y="27694"/>
                  <a:pt x="286626" y="26248"/>
                </a:cubicBezTo>
                <a:cubicBezTo>
                  <a:pt x="279570" y="22835"/>
                  <a:pt x="273091" y="18323"/>
                  <a:pt x="267422" y="12886"/>
                </a:cubicBezTo>
                <a:cubicBezTo>
                  <a:pt x="263373" y="9068"/>
                  <a:pt x="258919" y="5713"/>
                  <a:pt x="254118" y="2879"/>
                </a:cubicBezTo>
                <a:cubicBezTo>
                  <a:pt x="252788" y="2075"/>
                  <a:pt x="251342" y="1618"/>
                  <a:pt x="249780" y="1549"/>
                </a:cubicBezTo>
                <a:cubicBezTo>
                  <a:pt x="242781" y="1549"/>
                  <a:pt x="240178" y="14506"/>
                  <a:pt x="240178" y="22604"/>
                </a:cubicBezTo>
                <a:cubicBezTo>
                  <a:pt x="240756" y="27682"/>
                  <a:pt x="237112" y="32269"/>
                  <a:pt x="232022" y="32842"/>
                </a:cubicBezTo>
                <a:cubicBezTo>
                  <a:pt x="231617" y="32894"/>
                  <a:pt x="231154" y="32912"/>
                  <a:pt x="230749" y="32900"/>
                </a:cubicBezTo>
                <a:cubicBezTo>
                  <a:pt x="226816" y="32750"/>
                  <a:pt x="223114" y="31263"/>
                  <a:pt x="220163" y="28678"/>
                </a:cubicBezTo>
                <a:cubicBezTo>
                  <a:pt x="216467" y="26080"/>
                  <a:pt x="211880" y="25080"/>
                  <a:pt x="207438" y="25901"/>
                </a:cubicBezTo>
                <a:lnTo>
                  <a:pt x="203851" y="25901"/>
                </a:lnTo>
                <a:cubicBezTo>
                  <a:pt x="199739" y="25988"/>
                  <a:pt x="195661" y="25201"/>
                  <a:pt x="191878" y="23587"/>
                </a:cubicBezTo>
                <a:cubicBezTo>
                  <a:pt x="189448" y="22546"/>
                  <a:pt x="187771" y="22430"/>
                  <a:pt x="186903" y="23587"/>
                </a:cubicBezTo>
                <a:cubicBezTo>
                  <a:pt x="185226" y="25496"/>
                  <a:pt x="185920" y="31223"/>
                  <a:pt x="186440" y="35792"/>
                </a:cubicBezTo>
                <a:cubicBezTo>
                  <a:pt x="186753" y="37921"/>
                  <a:pt x="186944" y="40061"/>
                  <a:pt x="187019" y="42213"/>
                </a:cubicBezTo>
                <a:cubicBezTo>
                  <a:pt x="187019" y="51121"/>
                  <a:pt x="173310" y="51121"/>
                  <a:pt x="165096" y="51121"/>
                </a:cubicBezTo>
                <a:cubicBezTo>
                  <a:pt x="156882" y="51121"/>
                  <a:pt x="145487" y="57600"/>
                  <a:pt x="145487" y="65582"/>
                </a:cubicBezTo>
                <a:cubicBezTo>
                  <a:pt x="145041" y="69932"/>
                  <a:pt x="143150" y="74010"/>
                  <a:pt x="140107" y="77151"/>
                </a:cubicBezTo>
                <a:cubicBezTo>
                  <a:pt x="137446" y="80448"/>
                  <a:pt x="136058" y="82415"/>
                  <a:pt x="137446" y="84324"/>
                </a:cubicBezTo>
                <a:cubicBezTo>
                  <a:pt x="142652" y="91207"/>
                  <a:pt x="133687" y="97975"/>
                  <a:pt x="130736" y="100173"/>
                </a:cubicBezTo>
                <a:cubicBezTo>
                  <a:pt x="127347" y="103551"/>
                  <a:pt x="124535" y="107456"/>
                  <a:pt x="122407" y="111742"/>
                </a:cubicBezTo>
                <a:cubicBezTo>
                  <a:pt x="120816" y="114883"/>
                  <a:pt x="118872" y="117827"/>
                  <a:pt x="116622" y="120534"/>
                </a:cubicBezTo>
                <a:cubicBezTo>
                  <a:pt x="115465" y="121749"/>
                  <a:pt x="115523" y="123253"/>
                  <a:pt x="115755" y="125624"/>
                </a:cubicBezTo>
                <a:cubicBezTo>
                  <a:pt x="116727" y="129760"/>
                  <a:pt x="114927" y="134058"/>
                  <a:pt x="111300" y="136268"/>
                </a:cubicBezTo>
                <a:cubicBezTo>
                  <a:pt x="107327" y="138593"/>
                  <a:pt x="102769" y="139738"/>
                  <a:pt x="98170" y="139565"/>
                </a:cubicBezTo>
                <a:cubicBezTo>
                  <a:pt x="95555" y="139281"/>
                  <a:pt x="92923" y="139889"/>
                  <a:pt x="90708" y="141300"/>
                </a:cubicBezTo>
                <a:cubicBezTo>
                  <a:pt x="88857" y="143209"/>
                  <a:pt x="89146" y="147085"/>
                  <a:pt x="89551" y="151828"/>
                </a:cubicBezTo>
                <a:cubicBezTo>
                  <a:pt x="90025" y="156311"/>
                  <a:pt x="90025" y="160823"/>
                  <a:pt x="89551" y="165306"/>
                </a:cubicBezTo>
                <a:cubicBezTo>
                  <a:pt x="88279" y="176875"/>
                  <a:pt x="79949" y="189138"/>
                  <a:pt x="71157" y="200880"/>
                </a:cubicBezTo>
                <a:cubicBezTo>
                  <a:pt x="69277" y="202789"/>
                  <a:pt x="68403" y="205461"/>
                  <a:pt x="68785" y="208110"/>
                </a:cubicBezTo>
                <a:cubicBezTo>
                  <a:pt x="69710" y="211061"/>
                  <a:pt x="73933" y="212391"/>
                  <a:pt x="76421" y="213201"/>
                </a:cubicBezTo>
                <a:lnTo>
                  <a:pt x="77115" y="213201"/>
                </a:lnTo>
                <a:cubicBezTo>
                  <a:pt x="78526" y="213675"/>
                  <a:pt x="79654" y="214757"/>
                  <a:pt x="80181" y="216151"/>
                </a:cubicBezTo>
                <a:cubicBezTo>
                  <a:pt x="81291" y="221010"/>
                  <a:pt x="80417" y="226112"/>
                  <a:pt x="77751" y="230323"/>
                </a:cubicBezTo>
                <a:cubicBezTo>
                  <a:pt x="76415" y="233388"/>
                  <a:pt x="73337" y="235315"/>
                  <a:pt x="70000" y="235182"/>
                </a:cubicBezTo>
                <a:cubicBezTo>
                  <a:pt x="67102" y="234979"/>
                  <a:pt x="64256" y="234337"/>
                  <a:pt x="61555" y="233273"/>
                </a:cubicBezTo>
                <a:cubicBezTo>
                  <a:pt x="60490" y="232891"/>
                  <a:pt x="59409" y="232561"/>
                  <a:pt x="58315" y="232289"/>
                </a:cubicBezTo>
                <a:cubicBezTo>
                  <a:pt x="53514" y="231017"/>
                  <a:pt x="39747" y="237495"/>
                  <a:pt x="32343" y="249643"/>
                </a:cubicBezTo>
                <a:cubicBezTo>
                  <a:pt x="26646" y="257232"/>
                  <a:pt x="25662" y="267366"/>
                  <a:pt x="29798" y="275904"/>
                </a:cubicBezTo>
                <a:cubicBezTo>
                  <a:pt x="30625" y="278999"/>
                  <a:pt x="30382" y="282278"/>
                  <a:pt x="29104" y="285217"/>
                </a:cubicBezTo>
                <a:cubicBezTo>
                  <a:pt x="26778" y="290996"/>
                  <a:pt x="27010" y="297491"/>
                  <a:pt x="29740" y="303091"/>
                </a:cubicBezTo>
                <a:cubicBezTo>
                  <a:pt x="32823" y="308227"/>
                  <a:pt x="33043" y="314590"/>
                  <a:pt x="30318" y="319923"/>
                </a:cubicBezTo>
                <a:cubicBezTo>
                  <a:pt x="28838" y="322833"/>
                  <a:pt x="28236" y="326107"/>
                  <a:pt x="28583" y="329352"/>
                </a:cubicBezTo>
                <a:cubicBezTo>
                  <a:pt x="29162" y="333980"/>
                  <a:pt x="32979" y="336062"/>
                  <a:pt x="37087" y="338260"/>
                </a:cubicBezTo>
                <a:cubicBezTo>
                  <a:pt x="41193" y="340458"/>
                  <a:pt x="45994" y="343061"/>
                  <a:pt x="46746" y="348846"/>
                </a:cubicBezTo>
                <a:cubicBezTo>
                  <a:pt x="47504" y="352941"/>
                  <a:pt x="46451" y="357158"/>
                  <a:pt x="43854" y="360414"/>
                </a:cubicBezTo>
                <a:cubicBezTo>
                  <a:pt x="41644" y="362832"/>
                  <a:pt x="38509" y="364198"/>
                  <a:pt x="35235" y="364174"/>
                </a:cubicBezTo>
                <a:cubicBezTo>
                  <a:pt x="34830" y="364174"/>
                  <a:pt x="33674" y="364174"/>
                  <a:pt x="33211" y="366083"/>
                </a:cubicBezTo>
                <a:cubicBezTo>
                  <a:pt x="32603" y="369577"/>
                  <a:pt x="34125" y="373100"/>
                  <a:pt x="37087" y="375049"/>
                </a:cubicBezTo>
                <a:cubicBezTo>
                  <a:pt x="42871" y="378115"/>
                  <a:pt x="41598" y="397030"/>
                  <a:pt x="38822" y="402525"/>
                </a:cubicBezTo>
                <a:cubicBezTo>
                  <a:pt x="37318" y="405591"/>
                  <a:pt x="32632" y="405707"/>
                  <a:pt x="28178" y="405880"/>
                </a:cubicBezTo>
                <a:cubicBezTo>
                  <a:pt x="25171" y="405880"/>
                  <a:pt x="21816" y="405880"/>
                  <a:pt x="20948" y="407153"/>
                </a:cubicBezTo>
                <a:cubicBezTo>
                  <a:pt x="20792" y="407500"/>
                  <a:pt x="20792" y="407905"/>
                  <a:pt x="20948" y="408252"/>
                </a:cubicBezTo>
                <a:cubicBezTo>
                  <a:pt x="21301" y="413111"/>
                  <a:pt x="20589" y="417987"/>
                  <a:pt x="18865" y="422539"/>
                </a:cubicBezTo>
                <a:cubicBezTo>
                  <a:pt x="17957" y="425119"/>
                  <a:pt x="17356" y="427797"/>
                  <a:pt x="17072" y="430522"/>
                </a:cubicBezTo>
                <a:cubicBezTo>
                  <a:pt x="17072" y="430522"/>
                  <a:pt x="17072" y="450420"/>
                  <a:pt x="10941" y="450420"/>
                </a:cubicBezTo>
                <a:cubicBezTo>
                  <a:pt x="10160" y="450386"/>
                  <a:pt x="9408" y="450102"/>
                  <a:pt x="8801" y="449610"/>
                </a:cubicBezTo>
                <a:cubicBezTo>
                  <a:pt x="6568" y="448858"/>
                  <a:pt x="4150" y="448858"/>
                  <a:pt x="1917" y="449610"/>
                </a:cubicBezTo>
                <a:close/>
                <a:moveTo>
                  <a:pt x="183085" y="529320"/>
                </a:moveTo>
                <a:cubicBezTo>
                  <a:pt x="182478" y="529320"/>
                  <a:pt x="181986" y="528828"/>
                  <a:pt x="181986" y="528221"/>
                </a:cubicBezTo>
                <a:cubicBezTo>
                  <a:pt x="181986" y="527602"/>
                  <a:pt x="182472" y="527093"/>
                  <a:pt x="183085" y="527064"/>
                </a:cubicBezTo>
                <a:cubicBezTo>
                  <a:pt x="186383" y="527064"/>
                  <a:pt x="204198" y="505488"/>
                  <a:pt x="204198" y="496175"/>
                </a:cubicBezTo>
                <a:cubicBezTo>
                  <a:pt x="204245" y="495446"/>
                  <a:pt x="204019" y="494723"/>
                  <a:pt x="203562" y="494151"/>
                </a:cubicBezTo>
                <a:cubicBezTo>
                  <a:pt x="202932" y="493636"/>
                  <a:pt x="202122" y="493381"/>
                  <a:pt x="201306" y="493456"/>
                </a:cubicBezTo>
                <a:cubicBezTo>
                  <a:pt x="200699" y="493491"/>
                  <a:pt x="200184" y="493023"/>
                  <a:pt x="200150" y="492415"/>
                </a:cubicBezTo>
                <a:cubicBezTo>
                  <a:pt x="200150" y="492398"/>
                  <a:pt x="200150" y="492375"/>
                  <a:pt x="200150" y="492357"/>
                </a:cubicBezTo>
                <a:cubicBezTo>
                  <a:pt x="200150" y="491721"/>
                  <a:pt x="200670" y="491200"/>
                  <a:pt x="201306" y="491200"/>
                </a:cubicBezTo>
                <a:cubicBezTo>
                  <a:pt x="202735" y="491114"/>
                  <a:pt x="204135" y="491611"/>
                  <a:pt x="205182" y="492589"/>
                </a:cubicBezTo>
                <a:cubicBezTo>
                  <a:pt x="206055" y="493572"/>
                  <a:pt x="206512" y="494862"/>
                  <a:pt x="206454" y="496175"/>
                </a:cubicBezTo>
                <a:cubicBezTo>
                  <a:pt x="206512" y="505662"/>
                  <a:pt x="188639" y="529320"/>
                  <a:pt x="183143" y="52932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09" name="Forma libre: forma 408">
            <a:extLst>
              <a:ext uri="{FF2B5EF4-FFF2-40B4-BE49-F238E27FC236}">
                <a16:creationId xmlns:a16="http://schemas.microsoft.com/office/drawing/2014/main" id="{3B6EFCC0-62FE-E2E7-3416-E1853561881D}"/>
              </a:ext>
            </a:extLst>
          </p:cNvPr>
          <p:cNvSpPr/>
          <p:nvPr/>
        </p:nvSpPr>
        <p:spPr>
          <a:xfrm>
            <a:off x="6778781" y="2604052"/>
            <a:ext cx="167051" cy="84405"/>
          </a:xfrm>
          <a:custGeom>
            <a:avLst/>
            <a:gdLst>
              <a:gd name="connsiteX0" fmla="*/ 148373 w 167051"/>
              <a:gd name="connsiteY0" fmla="*/ 84268 h 84405"/>
              <a:gd name="connsiteX1" fmla="*/ 148373 w 167051"/>
              <a:gd name="connsiteY1" fmla="*/ 84268 h 84405"/>
              <a:gd name="connsiteX2" fmla="*/ 126103 w 167051"/>
              <a:gd name="connsiteY2" fmla="*/ 82243 h 84405"/>
              <a:gd name="connsiteX3" fmla="*/ 122864 w 167051"/>
              <a:gd name="connsiteY3" fmla="*/ 82243 h 84405"/>
              <a:gd name="connsiteX4" fmla="*/ 121649 w 167051"/>
              <a:gd name="connsiteY4" fmla="*/ 82243 h 84405"/>
              <a:gd name="connsiteX5" fmla="*/ 95735 w 167051"/>
              <a:gd name="connsiteY5" fmla="*/ 66857 h 84405"/>
              <a:gd name="connsiteX6" fmla="*/ 94347 w 167051"/>
              <a:gd name="connsiteY6" fmla="*/ 65758 h 84405"/>
              <a:gd name="connsiteX7" fmla="*/ 87694 w 167051"/>
              <a:gd name="connsiteY7" fmla="*/ 65122 h 84405"/>
              <a:gd name="connsiteX8" fmla="*/ 65714 w 167051"/>
              <a:gd name="connsiteY8" fmla="*/ 66394 h 84405"/>
              <a:gd name="connsiteX9" fmla="*/ 64557 w 167051"/>
              <a:gd name="connsiteY9" fmla="*/ 65758 h 84405"/>
              <a:gd name="connsiteX10" fmla="*/ 64557 w 167051"/>
              <a:gd name="connsiteY10" fmla="*/ 64485 h 84405"/>
              <a:gd name="connsiteX11" fmla="*/ 64557 w 167051"/>
              <a:gd name="connsiteY11" fmla="*/ 64138 h 84405"/>
              <a:gd name="connsiteX12" fmla="*/ 67970 w 167051"/>
              <a:gd name="connsiteY12" fmla="*/ 56850 h 84405"/>
              <a:gd name="connsiteX13" fmla="*/ 60045 w 167051"/>
              <a:gd name="connsiteY13" fmla="*/ 55057 h 84405"/>
              <a:gd name="connsiteX14" fmla="*/ 42692 w 167051"/>
              <a:gd name="connsiteY14" fmla="*/ 45339 h 84405"/>
              <a:gd name="connsiteX15" fmla="*/ 40378 w 167051"/>
              <a:gd name="connsiteY15" fmla="*/ 35910 h 84405"/>
              <a:gd name="connsiteX16" fmla="*/ 37197 w 167051"/>
              <a:gd name="connsiteY16" fmla="*/ 28159 h 84405"/>
              <a:gd name="connsiteX17" fmla="*/ 34941 w 167051"/>
              <a:gd name="connsiteY17" fmla="*/ 23821 h 84405"/>
              <a:gd name="connsiteX18" fmla="*/ 43444 w 167051"/>
              <a:gd name="connsiteY18" fmla="*/ 17111 h 84405"/>
              <a:gd name="connsiteX19" fmla="*/ 53682 w 167051"/>
              <a:gd name="connsiteY19" fmla="*/ 10748 h 84405"/>
              <a:gd name="connsiteX20" fmla="*/ 88389 w 167051"/>
              <a:gd name="connsiteY20" fmla="*/ 2418 h 84405"/>
              <a:gd name="connsiteX21" fmla="*/ 104990 w 167051"/>
              <a:gd name="connsiteY21" fmla="*/ 336 h 84405"/>
              <a:gd name="connsiteX22" fmla="*/ 110774 w 167051"/>
              <a:gd name="connsiteY22" fmla="*/ -127 h 84405"/>
              <a:gd name="connsiteX23" fmla="*/ 132871 w 167051"/>
              <a:gd name="connsiteY23" fmla="*/ 3170 h 84405"/>
              <a:gd name="connsiteX24" fmla="*/ 152133 w 167051"/>
              <a:gd name="connsiteY24" fmla="*/ 6121 h 84405"/>
              <a:gd name="connsiteX25" fmla="*/ 156935 w 167051"/>
              <a:gd name="connsiteY25" fmla="*/ 5600 h 84405"/>
              <a:gd name="connsiteX26" fmla="*/ 162719 w 167051"/>
              <a:gd name="connsiteY26" fmla="*/ 3055 h 84405"/>
              <a:gd name="connsiteX27" fmla="*/ 163586 w 167051"/>
              <a:gd name="connsiteY27" fmla="*/ 2765 h 84405"/>
              <a:gd name="connsiteX28" fmla="*/ 164338 w 167051"/>
              <a:gd name="connsiteY28" fmla="*/ 3286 h 84405"/>
              <a:gd name="connsiteX29" fmla="*/ 164338 w 167051"/>
              <a:gd name="connsiteY29" fmla="*/ 15885 h 84405"/>
              <a:gd name="connsiteX30" fmla="*/ 162950 w 167051"/>
              <a:gd name="connsiteY30" fmla="*/ 16995 h 84405"/>
              <a:gd name="connsiteX31" fmla="*/ 158959 w 167051"/>
              <a:gd name="connsiteY31" fmla="*/ 22317 h 84405"/>
              <a:gd name="connsiteX32" fmla="*/ 153175 w 167051"/>
              <a:gd name="connsiteY32" fmla="*/ 30646 h 84405"/>
              <a:gd name="connsiteX33" fmla="*/ 149993 w 167051"/>
              <a:gd name="connsiteY33" fmla="*/ 35910 h 84405"/>
              <a:gd name="connsiteX34" fmla="*/ 150629 w 167051"/>
              <a:gd name="connsiteY34" fmla="*/ 43719 h 84405"/>
              <a:gd name="connsiteX35" fmla="*/ 151786 w 167051"/>
              <a:gd name="connsiteY35" fmla="*/ 51413 h 84405"/>
              <a:gd name="connsiteX36" fmla="*/ 156761 w 167051"/>
              <a:gd name="connsiteY36" fmla="*/ 64080 h 84405"/>
              <a:gd name="connsiteX37" fmla="*/ 157687 w 167051"/>
              <a:gd name="connsiteY37" fmla="*/ 65411 h 84405"/>
              <a:gd name="connsiteX38" fmla="*/ 158959 w 167051"/>
              <a:gd name="connsiteY38" fmla="*/ 70038 h 84405"/>
              <a:gd name="connsiteX39" fmla="*/ 153927 w 167051"/>
              <a:gd name="connsiteY39" fmla="*/ 74030 h 84405"/>
              <a:gd name="connsiteX40" fmla="*/ 150167 w 167051"/>
              <a:gd name="connsiteY40" fmla="*/ 75996 h 84405"/>
              <a:gd name="connsiteX41" fmla="*/ 149530 w 167051"/>
              <a:gd name="connsiteY41" fmla="*/ 82301 h 84405"/>
              <a:gd name="connsiteX42" fmla="*/ 149530 w 167051"/>
              <a:gd name="connsiteY42" fmla="*/ 83400 h 84405"/>
              <a:gd name="connsiteX43" fmla="*/ 148373 w 167051"/>
              <a:gd name="connsiteY43" fmla="*/ 84268 h 84405"/>
              <a:gd name="connsiteX44" fmla="*/ 125929 w 167051"/>
              <a:gd name="connsiteY44" fmla="*/ 79930 h 84405"/>
              <a:gd name="connsiteX45" fmla="*/ 146754 w 167051"/>
              <a:gd name="connsiteY45" fmla="*/ 81781 h 84405"/>
              <a:gd name="connsiteX46" fmla="*/ 148605 w 167051"/>
              <a:gd name="connsiteY46" fmla="*/ 74666 h 84405"/>
              <a:gd name="connsiteX47" fmla="*/ 152885 w 167051"/>
              <a:gd name="connsiteY47" fmla="*/ 72352 h 84405"/>
              <a:gd name="connsiteX48" fmla="*/ 156645 w 167051"/>
              <a:gd name="connsiteY48" fmla="*/ 69807 h 84405"/>
              <a:gd name="connsiteX49" fmla="*/ 155719 w 167051"/>
              <a:gd name="connsiteY49" fmla="*/ 67088 h 84405"/>
              <a:gd name="connsiteX50" fmla="*/ 154794 w 167051"/>
              <a:gd name="connsiteY50" fmla="*/ 65816 h 84405"/>
              <a:gd name="connsiteX51" fmla="*/ 149415 w 167051"/>
              <a:gd name="connsiteY51" fmla="*/ 51991 h 84405"/>
              <a:gd name="connsiteX52" fmla="*/ 148315 w 167051"/>
              <a:gd name="connsiteY52" fmla="*/ 44587 h 84405"/>
              <a:gd name="connsiteX53" fmla="*/ 147621 w 167051"/>
              <a:gd name="connsiteY53" fmla="*/ 36026 h 84405"/>
              <a:gd name="connsiteX54" fmla="*/ 151439 w 167051"/>
              <a:gd name="connsiteY54" fmla="*/ 29489 h 84405"/>
              <a:gd name="connsiteX55" fmla="*/ 156819 w 167051"/>
              <a:gd name="connsiteY55" fmla="*/ 21796 h 84405"/>
              <a:gd name="connsiteX56" fmla="*/ 161273 w 167051"/>
              <a:gd name="connsiteY56" fmla="*/ 16012 h 84405"/>
              <a:gd name="connsiteX57" fmla="*/ 163124 w 167051"/>
              <a:gd name="connsiteY57" fmla="*/ 6121 h 84405"/>
              <a:gd name="connsiteX58" fmla="*/ 157744 w 167051"/>
              <a:gd name="connsiteY58" fmla="*/ 8318 h 84405"/>
              <a:gd name="connsiteX59" fmla="*/ 152365 w 167051"/>
              <a:gd name="connsiteY59" fmla="*/ 8955 h 84405"/>
              <a:gd name="connsiteX60" fmla="*/ 132640 w 167051"/>
              <a:gd name="connsiteY60" fmla="*/ 5947 h 84405"/>
              <a:gd name="connsiteX61" fmla="*/ 111006 w 167051"/>
              <a:gd name="connsiteY61" fmla="*/ 2708 h 84405"/>
              <a:gd name="connsiteX62" fmla="*/ 105916 w 167051"/>
              <a:gd name="connsiteY62" fmla="*/ 3113 h 84405"/>
              <a:gd name="connsiteX63" fmla="*/ 89141 w 167051"/>
              <a:gd name="connsiteY63" fmla="*/ 5253 h 84405"/>
              <a:gd name="connsiteX64" fmla="*/ 55649 w 167051"/>
              <a:gd name="connsiteY64" fmla="*/ 12888 h 84405"/>
              <a:gd name="connsiteX65" fmla="*/ 44774 w 167051"/>
              <a:gd name="connsiteY65" fmla="*/ 19772 h 84405"/>
              <a:gd name="connsiteX66" fmla="*/ 37486 w 167051"/>
              <a:gd name="connsiteY66" fmla="*/ 24688 h 84405"/>
              <a:gd name="connsiteX67" fmla="*/ 38990 w 167051"/>
              <a:gd name="connsiteY67" fmla="*/ 27002 h 84405"/>
              <a:gd name="connsiteX68" fmla="*/ 42923 w 167051"/>
              <a:gd name="connsiteY68" fmla="*/ 36720 h 84405"/>
              <a:gd name="connsiteX69" fmla="*/ 44832 w 167051"/>
              <a:gd name="connsiteY69" fmla="*/ 44587 h 84405"/>
              <a:gd name="connsiteX70" fmla="*/ 59872 w 167051"/>
              <a:gd name="connsiteY70" fmla="*/ 53437 h 84405"/>
              <a:gd name="connsiteX71" fmla="*/ 70342 w 167051"/>
              <a:gd name="connsiteY71" fmla="*/ 56503 h 84405"/>
              <a:gd name="connsiteX72" fmla="*/ 68086 w 167051"/>
              <a:gd name="connsiteY72" fmla="*/ 64485 h 84405"/>
              <a:gd name="connsiteX73" fmla="*/ 87521 w 167051"/>
              <a:gd name="connsiteY73" fmla="*/ 63444 h 84405"/>
              <a:gd name="connsiteX74" fmla="*/ 95504 w 167051"/>
              <a:gd name="connsiteY74" fmla="*/ 64543 h 84405"/>
              <a:gd name="connsiteX75" fmla="*/ 96950 w 167051"/>
              <a:gd name="connsiteY75" fmla="*/ 65642 h 84405"/>
              <a:gd name="connsiteX76" fmla="*/ 121476 w 167051"/>
              <a:gd name="connsiteY76" fmla="*/ 80566 h 84405"/>
              <a:gd name="connsiteX77" fmla="*/ 121939 w 167051"/>
              <a:gd name="connsiteY77" fmla="*/ 80566 h 84405"/>
              <a:gd name="connsiteX78" fmla="*/ 125929 w 167051"/>
              <a:gd name="connsiteY78" fmla="*/ 79930 h 84405"/>
              <a:gd name="connsiteX79" fmla="*/ 3878 w 167051"/>
              <a:gd name="connsiteY79" fmla="*/ 66799 h 84405"/>
              <a:gd name="connsiteX80" fmla="*/ -55 w 167051"/>
              <a:gd name="connsiteY80" fmla="*/ 62229 h 84405"/>
              <a:gd name="connsiteX81" fmla="*/ 14522 w 167051"/>
              <a:gd name="connsiteY81" fmla="*/ 40711 h 84405"/>
              <a:gd name="connsiteX82" fmla="*/ 34362 w 167051"/>
              <a:gd name="connsiteY82" fmla="*/ 43083 h 84405"/>
              <a:gd name="connsiteX83" fmla="*/ 33032 w 167051"/>
              <a:gd name="connsiteY83" fmla="*/ 47884 h 84405"/>
              <a:gd name="connsiteX84" fmla="*/ 4110 w 167051"/>
              <a:gd name="connsiteY84" fmla="*/ 66799 h 84405"/>
              <a:gd name="connsiteX85" fmla="*/ 24760 w 167051"/>
              <a:gd name="connsiteY85" fmla="*/ 41463 h 84405"/>
              <a:gd name="connsiteX86" fmla="*/ 15158 w 167051"/>
              <a:gd name="connsiteY86" fmla="*/ 42909 h 84405"/>
              <a:gd name="connsiteX87" fmla="*/ 2201 w 167051"/>
              <a:gd name="connsiteY87" fmla="*/ 61940 h 84405"/>
              <a:gd name="connsiteX88" fmla="*/ 3878 w 167051"/>
              <a:gd name="connsiteY88" fmla="*/ 64601 h 84405"/>
              <a:gd name="connsiteX89" fmla="*/ 3878 w 167051"/>
              <a:gd name="connsiteY89" fmla="*/ 64601 h 84405"/>
              <a:gd name="connsiteX90" fmla="*/ 31354 w 167051"/>
              <a:gd name="connsiteY90" fmla="*/ 46322 h 84405"/>
              <a:gd name="connsiteX91" fmla="*/ 32222 w 167051"/>
              <a:gd name="connsiteY91" fmla="*/ 44008 h 84405"/>
              <a:gd name="connsiteX92" fmla="*/ 24760 w 167051"/>
              <a:gd name="connsiteY92" fmla="*/ 41463 h 84405"/>
              <a:gd name="connsiteX93" fmla="*/ 17703 w 167051"/>
              <a:gd name="connsiteY93" fmla="*/ 36084 h 84405"/>
              <a:gd name="connsiteX94" fmla="*/ 17703 w 167051"/>
              <a:gd name="connsiteY94" fmla="*/ 36084 h 84405"/>
              <a:gd name="connsiteX95" fmla="*/ 8853 w 167051"/>
              <a:gd name="connsiteY95" fmla="*/ 32960 h 84405"/>
              <a:gd name="connsiteX96" fmla="*/ 7754 w 167051"/>
              <a:gd name="connsiteY96" fmla="*/ 29663 h 84405"/>
              <a:gd name="connsiteX97" fmla="*/ 20480 w 167051"/>
              <a:gd name="connsiteY97" fmla="*/ 25498 h 84405"/>
              <a:gd name="connsiteX98" fmla="*/ 28057 w 167051"/>
              <a:gd name="connsiteY98" fmla="*/ 27870 h 84405"/>
              <a:gd name="connsiteX99" fmla="*/ 28057 w 167051"/>
              <a:gd name="connsiteY99" fmla="*/ 30646 h 84405"/>
              <a:gd name="connsiteX100" fmla="*/ 17703 w 167051"/>
              <a:gd name="connsiteY100" fmla="*/ 36084 h 84405"/>
              <a:gd name="connsiteX101" fmla="*/ 20480 w 167051"/>
              <a:gd name="connsiteY101" fmla="*/ 27812 h 84405"/>
              <a:gd name="connsiteX102" fmla="*/ 9894 w 167051"/>
              <a:gd name="connsiteY102" fmla="*/ 30473 h 84405"/>
              <a:gd name="connsiteX103" fmla="*/ 10357 w 167051"/>
              <a:gd name="connsiteY103" fmla="*/ 31283 h 84405"/>
              <a:gd name="connsiteX104" fmla="*/ 17703 w 167051"/>
              <a:gd name="connsiteY104" fmla="*/ 33828 h 84405"/>
              <a:gd name="connsiteX105" fmla="*/ 25975 w 167051"/>
              <a:gd name="connsiteY105" fmla="*/ 29605 h 84405"/>
              <a:gd name="connsiteX106" fmla="*/ 25975 w 167051"/>
              <a:gd name="connsiteY106" fmla="*/ 29027 h 84405"/>
              <a:gd name="connsiteX107" fmla="*/ 20480 w 167051"/>
              <a:gd name="connsiteY107" fmla="*/ 27812 h 8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67051" h="84405">
                <a:moveTo>
                  <a:pt x="148373" y="84268"/>
                </a:moveTo>
                <a:lnTo>
                  <a:pt x="148373" y="84268"/>
                </a:lnTo>
                <a:cubicBezTo>
                  <a:pt x="140970" y="83198"/>
                  <a:pt x="133565" y="82527"/>
                  <a:pt x="126103" y="82243"/>
                </a:cubicBezTo>
                <a:cubicBezTo>
                  <a:pt x="125004" y="82111"/>
                  <a:pt x="123963" y="82111"/>
                  <a:pt x="122864" y="82243"/>
                </a:cubicBezTo>
                <a:cubicBezTo>
                  <a:pt x="122459" y="82330"/>
                  <a:pt x="122054" y="82330"/>
                  <a:pt x="121649" y="82243"/>
                </a:cubicBezTo>
                <a:cubicBezTo>
                  <a:pt x="116617" y="82243"/>
                  <a:pt x="105164" y="74030"/>
                  <a:pt x="95735" y="66857"/>
                </a:cubicBezTo>
                <a:lnTo>
                  <a:pt x="94347" y="65758"/>
                </a:lnTo>
                <a:cubicBezTo>
                  <a:pt x="92207" y="65087"/>
                  <a:pt x="89951" y="64873"/>
                  <a:pt x="87694" y="65122"/>
                </a:cubicBezTo>
                <a:cubicBezTo>
                  <a:pt x="81332" y="65122"/>
                  <a:pt x="72193" y="65816"/>
                  <a:pt x="65714" y="66394"/>
                </a:cubicBezTo>
                <a:cubicBezTo>
                  <a:pt x="65251" y="66464"/>
                  <a:pt x="64730" y="66203"/>
                  <a:pt x="64557" y="65758"/>
                </a:cubicBezTo>
                <a:cubicBezTo>
                  <a:pt x="64326" y="65370"/>
                  <a:pt x="64326" y="64873"/>
                  <a:pt x="64557" y="64485"/>
                </a:cubicBezTo>
                <a:lnTo>
                  <a:pt x="64557" y="64138"/>
                </a:lnTo>
                <a:cubicBezTo>
                  <a:pt x="67449" y="61130"/>
                  <a:pt x="68664" y="58354"/>
                  <a:pt x="67970" y="56850"/>
                </a:cubicBezTo>
                <a:cubicBezTo>
                  <a:pt x="67276" y="55346"/>
                  <a:pt x="63863" y="54247"/>
                  <a:pt x="60045" y="55057"/>
                </a:cubicBezTo>
                <a:cubicBezTo>
                  <a:pt x="51600" y="56792"/>
                  <a:pt x="48476" y="53090"/>
                  <a:pt x="42692" y="45339"/>
                </a:cubicBezTo>
                <a:cubicBezTo>
                  <a:pt x="40552" y="42690"/>
                  <a:pt x="39742" y="39242"/>
                  <a:pt x="40378" y="35910"/>
                </a:cubicBezTo>
                <a:cubicBezTo>
                  <a:pt x="41072" y="32914"/>
                  <a:pt x="39800" y="29813"/>
                  <a:pt x="37197" y="28159"/>
                </a:cubicBezTo>
                <a:cubicBezTo>
                  <a:pt x="35693" y="27234"/>
                  <a:pt x="34825" y="25568"/>
                  <a:pt x="34941" y="23821"/>
                </a:cubicBezTo>
                <a:cubicBezTo>
                  <a:pt x="35230" y="21044"/>
                  <a:pt x="38874" y="19309"/>
                  <a:pt x="43444" y="17111"/>
                </a:cubicBezTo>
                <a:cubicBezTo>
                  <a:pt x="47204" y="15601"/>
                  <a:pt x="50674" y="13449"/>
                  <a:pt x="53682" y="10748"/>
                </a:cubicBezTo>
                <a:cubicBezTo>
                  <a:pt x="58715" y="5426"/>
                  <a:pt x="73870" y="3922"/>
                  <a:pt x="88389" y="2418"/>
                </a:cubicBezTo>
                <a:cubicBezTo>
                  <a:pt x="94636" y="1782"/>
                  <a:pt x="100536" y="1204"/>
                  <a:pt x="104990" y="336"/>
                </a:cubicBezTo>
                <a:cubicBezTo>
                  <a:pt x="106899" y="6"/>
                  <a:pt x="108808" y="-150"/>
                  <a:pt x="110774" y="-127"/>
                </a:cubicBezTo>
                <a:cubicBezTo>
                  <a:pt x="118236" y="243"/>
                  <a:pt x="125641" y="1348"/>
                  <a:pt x="132871" y="3170"/>
                </a:cubicBezTo>
                <a:cubicBezTo>
                  <a:pt x="139176" y="4761"/>
                  <a:pt x="145655" y="5750"/>
                  <a:pt x="152133" y="6121"/>
                </a:cubicBezTo>
                <a:cubicBezTo>
                  <a:pt x="153753" y="6149"/>
                  <a:pt x="155373" y="5976"/>
                  <a:pt x="156935" y="5600"/>
                </a:cubicBezTo>
                <a:cubicBezTo>
                  <a:pt x="159017" y="5178"/>
                  <a:pt x="160983" y="4310"/>
                  <a:pt x="162719" y="3055"/>
                </a:cubicBezTo>
                <a:cubicBezTo>
                  <a:pt x="162950" y="2846"/>
                  <a:pt x="163297" y="2748"/>
                  <a:pt x="163586" y="2765"/>
                </a:cubicBezTo>
                <a:cubicBezTo>
                  <a:pt x="163876" y="2829"/>
                  <a:pt x="164165" y="3014"/>
                  <a:pt x="164338" y="3286"/>
                </a:cubicBezTo>
                <a:cubicBezTo>
                  <a:pt x="167809" y="6774"/>
                  <a:pt x="167809" y="12414"/>
                  <a:pt x="164338" y="15885"/>
                </a:cubicBezTo>
                <a:cubicBezTo>
                  <a:pt x="163876" y="16301"/>
                  <a:pt x="163413" y="16671"/>
                  <a:pt x="162950" y="16995"/>
                </a:cubicBezTo>
                <a:cubicBezTo>
                  <a:pt x="161330" y="18528"/>
                  <a:pt x="160000" y="20333"/>
                  <a:pt x="158959" y="22317"/>
                </a:cubicBezTo>
                <a:cubicBezTo>
                  <a:pt x="157513" y="25388"/>
                  <a:pt x="155546" y="28205"/>
                  <a:pt x="153175" y="30646"/>
                </a:cubicBezTo>
                <a:cubicBezTo>
                  <a:pt x="151555" y="31983"/>
                  <a:pt x="150398" y="33839"/>
                  <a:pt x="149993" y="35910"/>
                </a:cubicBezTo>
                <a:cubicBezTo>
                  <a:pt x="149761" y="38531"/>
                  <a:pt x="149993" y="41168"/>
                  <a:pt x="150629" y="43719"/>
                </a:cubicBezTo>
                <a:cubicBezTo>
                  <a:pt x="151207" y="46253"/>
                  <a:pt x="151555" y="48827"/>
                  <a:pt x="151786" y="51413"/>
                </a:cubicBezTo>
                <a:cubicBezTo>
                  <a:pt x="151844" y="56098"/>
                  <a:pt x="153637" y="60604"/>
                  <a:pt x="156761" y="64080"/>
                </a:cubicBezTo>
                <a:lnTo>
                  <a:pt x="157687" y="65411"/>
                </a:lnTo>
                <a:cubicBezTo>
                  <a:pt x="158785" y="66695"/>
                  <a:pt x="159248" y="68384"/>
                  <a:pt x="158959" y="70038"/>
                </a:cubicBezTo>
                <a:cubicBezTo>
                  <a:pt x="158381" y="72063"/>
                  <a:pt x="156125" y="73046"/>
                  <a:pt x="153927" y="74030"/>
                </a:cubicBezTo>
                <a:cubicBezTo>
                  <a:pt x="152596" y="74510"/>
                  <a:pt x="151323" y="75169"/>
                  <a:pt x="150167" y="75996"/>
                </a:cubicBezTo>
                <a:cubicBezTo>
                  <a:pt x="148200" y="77732"/>
                  <a:pt x="148952" y="80682"/>
                  <a:pt x="149530" y="82301"/>
                </a:cubicBezTo>
                <a:cubicBezTo>
                  <a:pt x="149761" y="82631"/>
                  <a:pt x="149761" y="83071"/>
                  <a:pt x="149530" y="83400"/>
                </a:cubicBezTo>
                <a:cubicBezTo>
                  <a:pt x="149415" y="83956"/>
                  <a:pt x="148952" y="84337"/>
                  <a:pt x="148373" y="84268"/>
                </a:cubicBezTo>
                <a:close/>
                <a:moveTo>
                  <a:pt x="125929" y="79930"/>
                </a:moveTo>
                <a:cubicBezTo>
                  <a:pt x="132871" y="80178"/>
                  <a:pt x="139870" y="80792"/>
                  <a:pt x="146754" y="81781"/>
                </a:cubicBezTo>
                <a:cubicBezTo>
                  <a:pt x="146002" y="79247"/>
                  <a:pt x="146696" y="76505"/>
                  <a:pt x="148605" y="74666"/>
                </a:cubicBezTo>
                <a:cubicBezTo>
                  <a:pt x="149935" y="73706"/>
                  <a:pt x="151381" y="72925"/>
                  <a:pt x="152885" y="72352"/>
                </a:cubicBezTo>
                <a:cubicBezTo>
                  <a:pt x="154621" y="71600"/>
                  <a:pt x="156356" y="70848"/>
                  <a:pt x="156645" y="69807"/>
                </a:cubicBezTo>
                <a:cubicBezTo>
                  <a:pt x="156935" y="68766"/>
                  <a:pt x="156645" y="68303"/>
                  <a:pt x="155719" y="67088"/>
                </a:cubicBezTo>
                <a:lnTo>
                  <a:pt x="154794" y="65816"/>
                </a:lnTo>
                <a:cubicBezTo>
                  <a:pt x="151439" y="61992"/>
                  <a:pt x="149530" y="57093"/>
                  <a:pt x="149415" y="51991"/>
                </a:cubicBezTo>
                <a:cubicBezTo>
                  <a:pt x="149183" y="49504"/>
                  <a:pt x="148836" y="47028"/>
                  <a:pt x="148315" y="44587"/>
                </a:cubicBezTo>
                <a:cubicBezTo>
                  <a:pt x="147621" y="41793"/>
                  <a:pt x="147390" y="38901"/>
                  <a:pt x="147621" y="36026"/>
                </a:cubicBezTo>
                <a:cubicBezTo>
                  <a:pt x="148142" y="33481"/>
                  <a:pt x="149473" y="31178"/>
                  <a:pt x="151439" y="29489"/>
                </a:cubicBezTo>
                <a:cubicBezTo>
                  <a:pt x="153637" y="27228"/>
                  <a:pt x="155431" y="24631"/>
                  <a:pt x="156819" y="21796"/>
                </a:cubicBezTo>
                <a:cubicBezTo>
                  <a:pt x="157975" y="19639"/>
                  <a:pt x="159479" y="17684"/>
                  <a:pt x="161273" y="16012"/>
                </a:cubicBezTo>
                <a:cubicBezTo>
                  <a:pt x="164280" y="12946"/>
                  <a:pt x="166132" y="11037"/>
                  <a:pt x="163124" y="6121"/>
                </a:cubicBezTo>
                <a:cubicBezTo>
                  <a:pt x="161446" y="7127"/>
                  <a:pt x="159653" y="7867"/>
                  <a:pt x="157744" y="8318"/>
                </a:cubicBezTo>
                <a:cubicBezTo>
                  <a:pt x="156009" y="8793"/>
                  <a:pt x="154158" y="9007"/>
                  <a:pt x="152365" y="8955"/>
                </a:cubicBezTo>
                <a:cubicBezTo>
                  <a:pt x="145712" y="8602"/>
                  <a:pt x="139118" y="7595"/>
                  <a:pt x="132640" y="5947"/>
                </a:cubicBezTo>
                <a:cubicBezTo>
                  <a:pt x="125525" y="4188"/>
                  <a:pt x="118294" y="3101"/>
                  <a:pt x="111006" y="2708"/>
                </a:cubicBezTo>
                <a:cubicBezTo>
                  <a:pt x="109328" y="2713"/>
                  <a:pt x="107593" y="2846"/>
                  <a:pt x="105916" y="3113"/>
                </a:cubicBezTo>
                <a:cubicBezTo>
                  <a:pt x="101404" y="4038"/>
                  <a:pt x="95446" y="4617"/>
                  <a:pt x="89141" y="5253"/>
                </a:cubicBezTo>
                <a:cubicBezTo>
                  <a:pt x="75547" y="6641"/>
                  <a:pt x="60219" y="8203"/>
                  <a:pt x="55649" y="12888"/>
                </a:cubicBezTo>
                <a:cubicBezTo>
                  <a:pt x="52468" y="15792"/>
                  <a:pt x="48765" y="18123"/>
                  <a:pt x="44774" y="19772"/>
                </a:cubicBezTo>
                <a:cubicBezTo>
                  <a:pt x="41304" y="21391"/>
                  <a:pt x="37659" y="23127"/>
                  <a:pt x="37486" y="24688"/>
                </a:cubicBezTo>
                <a:cubicBezTo>
                  <a:pt x="37312" y="26250"/>
                  <a:pt x="38238" y="26366"/>
                  <a:pt x="38990" y="27002"/>
                </a:cubicBezTo>
                <a:cubicBezTo>
                  <a:pt x="42171" y="29102"/>
                  <a:pt x="43791" y="32977"/>
                  <a:pt x="42923" y="36720"/>
                </a:cubicBezTo>
                <a:cubicBezTo>
                  <a:pt x="42403" y="39497"/>
                  <a:pt x="43097" y="42372"/>
                  <a:pt x="44832" y="44587"/>
                </a:cubicBezTo>
                <a:cubicBezTo>
                  <a:pt x="50616" y="52569"/>
                  <a:pt x="52930" y="54883"/>
                  <a:pt x="59872" y="53437"/>
                </a:cubicBezTo>
                <a:cubicBezTo>
                  <a:pt x="64846" y="52338"/>
                  <a:pt x="69127" y="53437"/>
                  <a:pt x="70342" y="56503"/>
                </a:cubicBezTo>
                <a:cubicBezTo>
                  <a:pt x="71036" y="58065"/>
                  <a:pt x="71094" y="60668"/>
                  <a:pt x="68086" y="64485"/>
                </a:cubicBezTo>
                <a:cubicBezTo>
                  <a:pt x="74275" y="63965"/>
                  <a:pt x="81910" y="63444"/>
                  <a:pt x="87521" y="63444"/>
                </a:cubicBezTo>
                <a:cubicBezTo>
                  <a:pt x="93132" y="63444"/>
                  <a:pt x="94809" y="63965"/>
                  <a:pt x="95504" y="64543"/>
                </a:cubicBezTo>
                <a:lnTo>
                  <a:pt x="96950" y="65642"/>
                </a:lnTo>
                <a:cubicBezTo>
                  <a:pt x="109965" y="75591"/>
                  <a:pt x="118236" y="80566"/>
                  <a:pt x="121476" y="80566"/>
                </a:cubicBezTo>
                <a:lnTo>
                  <a:pt x="121939" y="80566"/>
                </a:lnTo>
                <a:cubicBezTo>
                  <a:pt x="123211" y="80178"/>
                  <a:pt x="124599" y="79964"/>
                  <a:pt x="125929" y="79930"/>
                </a:cubicBezTo>
                <a:close/>
                <a:moveTo>
                  <a:pt x="3878" y="66799"/>
                </a:moveTo>
                <a:cubicBezTo>
                  <a:pt x="1796" y="66799"/>
                  <a:pt x="350" y="65122"/>
                  <a:pt x="-55" y="62229"/>
                </a:cubicBezTo>
                <a:cubicBezTo>
                  <a:pt x="-749" y="52558"/>
                  <a:pt x="5267" y="43673"/>
                  <a:pt x="14522" y="40711"/>
                </a:cubicBezTo>
                <a:cubicBezTo>
                  <a:pt x="24355" y="38051"/>
                  <a:pt x="32743" y="39150"/>
                  <a:pt x="34362" y="43083"/>
                </a:cubicBezTo>
                <a:cubicBezTo>
                  <a:pt x="34998" y="44801"/>
                  <a:pt x="34478" y="46744"/>
                  <a:pt x="33032" y="47884"/>
                </a:cubicBezTo>
                <a:cubicBezTo>
                  <a:pt x="29156" y="51702"/>
                  <a:pt x="12092" y="66336"/>
                  <a:pt x="4110" y="66799"/>
                </a:cubicBezTo>
                <a:close/>
                <a:moveTo>
                  <a:pt x="24760" y="41463"/>
                </a:moveTo>
                <a:cubicBezTo>
                  <a:pt x="21521" y="41510"/>
                  <a:pt x="18282" y="41996"/>
                  <a:pt x="15158" y="42909"/>
                </a:cubicBezTo>
                <a:cubicBezTo>
                  <a:pt x="7060" y="45611"/>
                  <a:pt x="1738" y="53402"/>
                  <a:pt x="2201" y="61940"/>
                </a:cubicBezTo>
                <a:cubicBezTo>
                  <a:pt x="2201" y="62576"/>
                  <a:pt x="2664" y="64601"/>
                  <a:pt x="3878" y="64601"/>
                </a:cubicBezTo>
                <a:lnTo>
                  <a:pt x="3878" y="64601"/>
                </a:lnTo>
                <a:cubicBezTo>
                  <a:pt x="10357" y="64254"/>
                  <a:pt x="26091" y="51586"/>
                  <a:pt x="31354" y="46322"/>
                </a:cubicBezTo>
                <a:cubicBezTo>
                  <a:pt x="32106" y="45802"/>
                  <a:pt x="32453" y="44882"/>
                  <a:pt x="32222" y="44008"/>
                </a:cubicBezTo>
                <a:cubicBezTo>
                  <a:pt x="31817" y="42736"/>
                  <a:pt x="29272" y="41463"/>
                  <a:pt x="24760" y="41463"/>
                </a:cubicBezTo>
                <a:close/>
                <a:moveTo>
                  <a:pt x="17703" y="36084"/>
                </a:moveTo>
                <a:lnTo>
                  <a:pt x="17703" y="36084"/>
                </a:lnTo>
                <a:cubicBezTo>
                  <a:pt x="14464" y="36153"/>
                  <a:pt x="11340" y="35043"/>
                  <a:pt x="8853" y="32960"/>
                </a:cubicBezTo>
                <a:cubicBezTo>
                  <a:pt x="7812" y="32214"/>
                  <a:pt x="7349" y="30884"/>
                  <a:pt x="7754" y="29663"/>
                </a:cubicBezTo>
                <a:cubicBezTo>
                  <a:pt x="8969" y="26655"/>
                  <a:pt x="16199" y="25498"/>
                  <a:pt x="20480" y="25498"/>
                </a:cubicBezTo>
                <a:cubicBezTo>
                  <a:pt x="23314" y="25498"/>
                  <a:pt x="26900" y="25903"/>
                  <a:pt x="28057" y="27870"/>
                </a:cubicBezTo>
                <a:cubicBezTo>
                  <a:pt x="28578" y="28726"/>
                  <a:pt x="28578" y="29784"/>
                  <a:pt x="28057" y="30646"/>
                </a:cubicBezTo>
                <a:cubicBezTo>
                  <a:pt x="25917" y="34279"/>
                  <a:pt x="21926" y="36385"/>
                  <a:pt x="17703" y="36084"/>
                </a:cubicBezTo>
                <a:close/>
                <a:moveTo>
                  <a:pt x="20480" y="27812"/>
                </a:moveTo>
                <a:cubicBezTo>
                  <a:pt x="15158" y="27812"/>
                  <a:pt x="10357" y="29258"/>
                  <a:pt x="9894" y="30473"/>
                </a:cubicBezTo>
                <a:cubicBezTo>
                  <a:pt x="9894" y="30473"/>
                  <a:pt x="10241" y="31167"/>
                  <a:pt x="10357" y="31283"/>
                </a:cubicBezTo>
                <a:cubicBezTo>
                  <a:pt x="12439" y="32995"/>
                  <a:pt x="15042" y="33903"/>
                  <a:pt x="17703" y="33828"/>
                </a:cubicBezTo>
                <a:cubicBezTo>
                  <a:pt x="21058" y="34071"/>
                  <a:pt x="24239" y="32440"/>
                  <a:pt x="25975" y="29605"/>
                </a:cubicBezTo>
                <a:cubicBezTo>
                  <a:pt x="25975" y="29200"/>
                  <a:pt x="25975" y="29027"/>
                  <a:pt x="25975" y="29027"/>
                </a:cubicBezTo>
                <a:cubicBezTo>
                  <a:pt x="25975" y="29027"/>
                  <a:pt x="24355" y="27812"/>
                  <a:pt x="20480" y="2781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0" name="Forma libre: forma 409">
            <a:extLst>
              <a:ext uri="{FF2B5EF4-FFF2-40B4-BE49-F238E27FC236}">
                <a16:creationId xmlns:a16="http://schemas.microsoft.com/office/drawing/2014/main" id="{BD7E91C5-EF66-ECBF-613A-71B28876CCEB}"/>
              </a:ext>
            </a:extLst>
          </p:cNvPr>
          <p:cNvSpPr/>
          <p:nvPr/>
        </p:nvSpPr>
        <p:spPr>
          <a:xfrm>
            <a:off x="7092351" y="4343668"/>
            <a:ext cx="221644" cy="269376"/>
          </a:xfrm>
          <a:custGeom>
            <a:avLst/>
            <a:gdLst>
              <a:gd name="connsiteX0" fmla="*/ 148666 w 221644"/>
              <a:gd name="connsiteY0" fmla="*/ 268553 h 269376"/>
              <a:gd name="connsiteX1" fmla="*/ 148030 w 221644"/>
              <a:gd name="connsiteY1" fmla="*/ 268553 h 269376"/>
              <a:gd name="connsiteX2" fmla="*/ 102159 w 221644"/>
              <a:gd name="connsiteY2" fmla="*/ 235929 h 269376"/>
              <a:gd name="connsiteX3" fmla="*/ 101696 w 221644"/>
              <a:gd name="connsiteY3" fmla="*/ 234946 h 269376"/>
              <a:gd name="connsiteX4" fmla="*/ 103027 w 221644"/>
              <a:gd name="connsiteY4" fmla="*/ 218865 h 269376"/>
              <a:gd name="connsiteX5" fmla="*/ 527 w 221644"/>
              <a:gd name="connsiteY5" fmla="*/ 164433 h 269376"/>
              <a:gd name="connsiteX6" fmla="*/ -110 w 221644"/>
              <a:gd name="connsiteY6" fmla="*/ 163392 h 269376"/>
              <a:gd name="connsiteX7" fmla="*/ -110 w 221644"/>
              <a:gd name="connsiteY7" fmla="*/ 160673 h 269376"/>
              <a:gd name="connsiteX8" fmla="*/ 12616 w 221644"/>
              <a:gd name="connsiteY8" fmla="*/ 147138 h 269376"/>
              <a:gd name="connsiteX9" fmla="*/ 19268 w 221644"/>
              <a:gd name="connsiteY9" fmla="*/ 142916 h 269376"/>
              <a:gd name="connsiteX10" fmla="*/ 1915 w 221644"/>
              <a:gd name="connsiteY10" fmla="*/ 134239 h 269376"/>
              <a:gd name="connsiteX11" fmla="*/ 1163 w 221644"/>
              <a:gd name="connsiteY11" fmla="*/ 133660 h 269376"/>
              <a:gd name="connsiteX12" fmla="*/ 1163 w 221644"/>
              <a:gd name="connsiteY12" fmla="*/ 132735 h 269376"/>
              <a:gd name="connsiteX13" fmla="*/ 9551 w 221644"/>
              <a:gd name="connsiteY13" fmla="*/ 115382 h 269376"/>
              <a:gd name="connsiteX14" fmla="*/ 27424 w 221644"/>
              <a:gd name="connsiteY14" fmla="*/ 83914 h 269376"/>
              <a:gd name="connsiteX15" fmla="*/ 28813 w 221644"/>
              <a:gd name="connsiteY15" fmla="*/ 62165 h 269376"/>
              <a:gd name="connsiteX16" fmla="*/ 17996 w 221644"/>
              <a:gd name="connsiteY16" fmla="*/ 52736 h 269376"/>
              <a:gd name="connsiteX17" fmla="*/ 17591 w 221644"/>
              <a:gd name="connsiteY17" fmla="*/ 52042 h 269376"/>
              <a:gd name="connsiteX18" fmla="*/ 14872 w 221644"/>
              <a:gd name="connsiteY18" fmla="*/ 32896 h 269376"/>
              <a:gd name="connsiteX19" fmla="*/ 2725 w 221644"/>
              <a:gd name="connsiteY19" fmla="*/ 21847 h 269376"/>
              <a:gd name="connsiteX20" fmla="*/ 2378 w 221644"/>
              <a:gd name="connsiteY20" fmla="*/ 20980 h 269376"/>
              <a:gd name="connsiteX21" fmla="*/ 2783 w 221644"/>
              <a:gd name="connsiteY21" fmla="*/ 20112 h 269376"/>
              <a:gd name="connsiteX22" fmla="*/ 5849 w 221644"/>
              <a:gd name="connsiteY22" fmla="*/ 16294 h 269376"/>
              <a:gd name="connsiteX23" fmla="*/ 28581 w 221644"/>
              <a:gd name="connsiteY23" fmla="*/ 850 h 269376"/>
              <a:gd name="connsiteX24" fmla="*/ 36911 w 221644"/>
              <a:gd name="connsiteY24" fmla="*/ -76 h 269376"/>
              <a:gd name="connsiteX25" fmla="*/ 46050 w 221644"/>
              <a:gd name="connsiteY25" fmla="*/ 3106 h 269376"/>
              <a:gd name="connsiteX26" fmla="*/ 55479 w 221644"/>
              <a:gd name="connsiteY26" fmla="*/ 8138 h 269376"/>
              <a:gd name="connsiteX27" fmla="*/ 61263 w 221644"/>
              <a:gd name="connsiteY27" fmla="*/ 10683 h 269376"/>
              <a:gd name="connsiteX28" fmla="*/ 70518 w 221644"/>
              <a:gd name="connsiteY28" fmla="*/ 11898 h 269376"/>
              <a:gd name="connsiteX29" fmla="*/ 89375 w 221644"/>
              <a:gd name="connsiteY29" fmla="*/ 16294 h 269376"/>
              <a:gd name="connsiteX30" fmla="*/ 120033 w 221644"/>
              <a:gd name="connsiteY30" fmla="*/ 34168 h 269376"/>
              <a:gd name="connsiteX31" fmla="*/ 152194 w 221644"/>
              <a:gd name="connsiteY31" fmla="*/ 39952 h 269376"/>
              <a:gd name="connsiteX32" fmla="*/ 157979 w 221644"/>
              <a:gd name="connsiteY32" fmla="*/ 35383 h 269376"/>
              <a:gd name="connsiteX33" fmla="*/ 169259 w 221644"/>
              <a:gd name="connsiteY33" fmla="*/ 25318 h 269376"/>
              <a:gd name="connsiteX34" fmla="*/ 189273 w 221644"/>
              <a:gd name="connsiteY34" fmla="*/ 18492 h 269376"/>
              <a:gd name="connsiteX35" fmla="*/ 194479 w 221644"/>
              <a:gd name="connsiteY35" fmla="*/ 21038 h 269376"/>
              <a:gd name="connsiteX36" fmla="*/ 203387 w 221644"/>
              <a:gd name="connsiteY36" fmla="*/ 26822 h 269376"/>
              <a:gd name="connsiteX37" fmla="*/ 206279 w 221644"/>
              <a:gd name="connsiteY37" fmla="*/ 26185 h 269376"/>
              <a:gd name="connsiteX38" fmla="*/ 220161 w 221644"/>
              <a:gd name="connsiteY38" fmla="*/ 22252 h 269376"/>
              <a:gd name="connsiteX39" fmla="*/ 221319 w 221644"/>
              <a:gd name="connsiteY39" fmla="*/ 22715 h 269376"/>
              <a:gd name="connsiteX40" fmla="*/ 221319 w 221644"/>
              <a:gd name="connsiteY40" fmla="*/ 23987 h 269376"/>
              <a:gd name="connsiteX41" fmla="*/ 208304 w 221644"/>
              <a:gd name="connsiteY41" fmla="*/ 43076 h 269376"/>
              <a:gd name="connsiteX42" fmla="*/ 195925 w 221644"/>
              <a:gd name="connsiteY42" fmla="*/ 62338 h 269376"/>
              <a:gd name="connsiteX43" fmla="*/ 197313 w 221644"/>
              <a:gd name="connsiteY43" fmla="*/ 159517 h 269376"/>
              <a:gd name="connsiteX44" fmla="*/ 210675 w 221644"/>
              <a:gd name="connsiteY44" fmla="*/ 180746 h 269376"/>
              <a:gd name="connsiteX45" fmla="*/ 210675 w 221644"/>
              <a:gd name="connsiteY45" fmla="*/ 182018 h 269376"/>
              <a:gd name="connsiteX46" fmla="*/ 208362 w 221644"/>
              <a:gd name="connsiteY46" fmla="*/ 185315 h 269376"/>
              <a:gd name="connsiteX47" fmla="*/ 198933 w 221644"/>
              <a:gd name="connsiteY47" fmla="*/ 193066 h 269376"/>
              <a:gd name="connsiteX48" fmla="*/ 197776 w 221644"/>
              <a:gd name="connsiteY48" fmla="*/ 193066 h 269376"/>
              <a:gd name="connsiteX49" fmla="*/ 193379 w 221644"/>
              <a:gd name="connsiteY49" fmla="*/ 195149 h 269376"/>
              <a:gd name="connsiteX50" fmla="*/ 185744 w 221644"/>
              <a:gd name="connsiteY50" fmla="*/ 200933 h 269376"/>
              <a:gd name="connsiteX51" fmla="*/ 176084 w 221644"/>
              <a:gd name="connsiteY51" fmla="*/ 209321 h 269376"/>
              <a:gd name="connsiteX52" fmla="*/ 149418 w 221644"/>
              <a:gd name="connsiteY52" fmla="*/ 268553 h 269376"/>
              <a:gd name="connsiteX53" fmla="*/ 148724 w 221644"/>
              <a:gd name="connsiteY53" fmla="*/ 269247 h 269376"/>
              <a:gd name="connsiteX54" fmla="*/ 104010 w 221644"/>
              <a:gd name="connsiteY54" fmla="*/ 234309 h 269376"/>
              <a:gd name="connsiteX55" fmla="*/ 148145 w 221644"/>
              <a:gd name="connsiteY55" fmla="*/ 265719 h 269376"/>
              <a:gd name="connsiteX56" fmla="*/ 174465 w 221644"/>
              <a:gd name="connsiteY56" fmla="*/ 207354 h 269376"/>
              <a:gd name="connsiteX57" fmla="*/ 184992 w 221644"/>
              <a:gd name="connsiteY57" fmla="*/ 198272 h 269376"/>
              <a:gd name="connsiteX58" fmla="*/ 191933 w 221644"/>
              <a:gd name="connsiteY58" fmla="*/ 193124 h 269376"/>
              <a:gd name="connsiteX59" fmla="*/ 198239 w 221644"/>
              <a:gd name="connsiteY59" fmla="*/ 190232 h 269376"/>
              <a:gd name="connsiteX60" fmla="*/ 199222 w 221644"/>
              <a:gd name="connsiteY60" fmla="*/ 190232 h 269376"/>
              <a:gd name="connsiteX61" fmla="*/ 206742 w 221644"/>
              <a:gd name="connsiteY61" fmla="*/ 183522 h 269376"/>
              <a:gd name="connsiteX62" fmla="*/ 208708 w 221644"/>
              <a:gd name="connsiteY62" fmla="*/ 180688 h 269376"/>
              <a:gd name="connsiteX63" fmla="*/ 195577 w 221644"/>
              <a:gd name="connsiteY63" fmla="*/ 159921 h 269376"/>
              <a:gd name="connsiteX64" fmla="*/ 195577 w 221644"/>
              <a:gd name="connsiteY64" fmla="*/ 159285 h 269376"/>
              <a:gd name="connsiteX65" fmla="*/ 194189 w 221644"/>
              <a:gd name="connsiteY65" fmla="*/ 61413 h 269376"/>
              <a:gd name="connsiteX66" fmla="*/ 194189 w 221644"/>
              <a:gd name="connsiteY66" fmla="*/ 60835 h 269376"/>
              <a:gd name="connsiteX67" fmla="*/ 206742 w 221644"/>
              <a:gd name="connsiteY67" fmla="*/ 41283 h 269376"/>
              <a:gd name="connsiteX68" fmla="*/ 218311 w 221644"/>
              <a:gd name="connsiteY68" fmla="*/ 24508 h 269376"/>
              <a:gd name="connsiteX69" fmla="*/ 207783 w 221644"/>
              <a:gd name="connsiteY69" fmla="*/ 27632 h 269376"/>
              <a:gd name="connsiteX70" fmla="*/ 203849 w 221644"/>
              <a:gd name="connsiteY70" fmla="*/ 28499 h 269376"/>
              <a:gd name="connsiteX71" fmla="*/ 192859 w 221644"/>
              <a:gd name="connsiteY71" fmla="*/ 21558 h 269376"/>
              <a:gd name="connsiteX72" fmla="*/ 189736 w 221644"/>
              <a:gd name="connsiteY72" fmla="*/ 20401 h 269376"/>
              <a:gd name="connsiteX73" fmla="*/ 170821 w 221644"/>
              <a:gd name="connsiteY73" fmla="*/ 26937 h 269376"/>
              <a:gd name="connsiteX74" fmla="*/ 160119 w 221644"/>
              <a:gd name="connsiteY74" fmla="*/ 36540 h 269376"/>
              <a:gd name="connsiteX75" fmla="*/ 153178 w 221644"/>
              <a:gd name="connsiteY75" fmla="*/ 41977 h 269376"/>
              <a:gd name="connsiteX76" fmla="*/ 151500 w 221644"/>
              <a:gd name="connsiteY76" fmla="*/ 41456 h 269376"/>
              <a:gd name="connsiteX77" fmla="*/ 120554 w 221644"/>
              <a:gd name="connsiteY77" fmla="*/ 36193 h 269376"/>
              <a:gd name="connsiteX78" fmla="*/ 88335 w 221644"/>
              <a:gd name="connsiteY78" fmla="*/ 17740 h 269376"/>
              <a:gd name="connsiteX79" fmla="*/ 70981 w 221644"/>
              <a:gd name="connsiteY79" fmla="*/ 13923 h 269376"/>
              <a:gd name="connsiteX80" fmla="*/ 60743 w 221644"/>
              <a:gd name="connsiteY80" fmla="*/ 12419 h 269376"/>
              <a:gd name="connsiteX81" fmla="*/ 54958 w 221644"/>
              <a:gd name="connsiteY81" fmla="*/ 9989 h 269376"/>
              <a:gd name="connsiteX82" fmla="*/ 44604 w 221644"/>
              <a:gd name="connsiteY82" fmla="*/ 4205 h 269376"/>
              <a:gd name="connsiteX83" fmla="*/ 29275 w 221644"/>
              <a:gd name="connsiteY83" fmla="*/ 2701 h 269376"/>
              <a:gd name="connsiteX84" fmla="*/ 8336 w 221644"/>
              <a:gd name="connsiteY84" fmla="*/ 16468 h 269376"/>
              <a:gd name="connsiteX85" fmla="*/ 5443 w 221644"/>
              <a:gd name="connsiteY85" fmla="*/ 20691 h 269376"/>
              <a:gd name="connsiteX86" fmla="*/ 17012 w 221644"/>
              <a:gd name="connsiteY86" fmla="*/ 31102 h 269376"/>
              <a:gd name="connsiteX87" fmla="*/ 17360 w 221644"/>
              <a:gd name="connsiteY87" fmla="*/ 31797 h 269376"/>
              <a:gd name="connsiteX88" fmla="*/ 20078 w 221644"/>
              <a:gd name="connsiteY88" fmla="*/ 50943 h 269376"/>
              <a:gd name="connsiteX89" fmla="*/ 30953 w 221644"/>
              <a:gd name="connsiteY89" fmla="*/ 60430 h 269376"/>
              <a:gd name="connsiteX90" fmla="*/ 31358 w 221644"/>
              <a:gd name="connsiteY90" fmla="*/ 61297 h 269376"/>
              <a:gd name="connsiteX91" fmla="*/ 29969 w 221644"/>
              <a:gd name="connsiteY91" fmla="*/ 83799 h 269376"/>
              <a:gd name="connsiteX92" fmla="*/ 11459 w 221644"/>
              <a:gd name="connsiteY92" fmla="*/ 116654 h 269376"/>
              <a:gd name="connsiteX93" fmla="*/ 4055 w 221644"/>
              <a:gd name="connsiteY93" fmla="*/ 132041 h 269376"/>
              <a:gd name="connsiteX94" fmla="*/ 21408 w 221644"/>
              <a:gd name="connsiteY94" fmla="*/ 142973 h 269376"/>
              <a:gd name="connsiteX95" fmla="*/ 13311 w 221644"/>
              <a:gd name="connsiteY95" fmla="*/ 148758 h 269376"/>
              <a:gd name="connsiteX96" fmla="*/ 2031 w 221644"/>
              <a:gd name="connsiteY96" fmla="*/ 160326 h 269376"/>
              <a:gd name="connsiteX97" fmla="*/ 2031 w 221644"/>
              <a:gd name="connsiteY97" fmla="*/ 162467 h 269376"/>
              <a:gd name="connsiteX98" fmla="*/ 104588 w 221644"/>
              <a:gd name="connsiteY98" fmla="*/ 216898 h 269376"/>
              <a:gd name="connsiteX99" fmla="*/ 105167 w 221644"/>
              <a:gd name="connsiteY99" fmla="*/ 217939 h 26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21644" h="269376">
                <a:moveTo>
                  <a:pt x="148666" y="268553"/>
                </a:moveTo>
                <a:cubicBezTo>
                  <a:pt x="148435" y="268605"/>
                  <a:pt x="148261" y="268605"/>
                  <a:pt x="148030" y="268553"/>
                </a:cubicBezTo>
                <a:cubicBezTo>
                  <a:pt x="125644" y="253109"/>
                  <a:pt x="102390" y="236103"/>
                  <a:pt x="102159" y="235929"/>
                </a:cubicBezTo>
                <a:cubicBezTo>
                  <a:pt x="101870" y="235680"/>
                  <a:pt x="101696" y="235322"/>
                  <a:pt x="101696" y="234946"/>
                </a:cubicBezTo>
                <a:lnTo>
                  <a:pt x="103027" y="218865"/>
                </a:lnTo>
                <a:lnTo>
                  <a:pt x="527" y="164433"/>
                </a:lnTo>
                <a:cubicBezTo>
                  <a:pt x="122" y="164248"/>
                  <a:pt x="-110" y="163838"/>
                  <a:pt x="-110" y="163392"/>
                </a:cubicBezTo>
                <a:cubicBezTo>
                  <a:pt x="-110" y="162409"/>
                  <a:pt x="-110" y="161541"/>
                  <a:pt x="-110" y="160673"/>
                </a:cubicBezTo>
                <a:cubicBezTo>
                  <a:pt x="-110" y="151592"/>
                  <a:pt x="7237" y="149105"/>
                  <a:pt x="12616" y="147138"/>
                </a:cubicBezTo>
                <a:cubicBezTo>
                  <a:pt x="15971" y="145981"/>
                  <a:pt x="18921" y="144940"/>
                  <a:pt x="19268" y="142916"/>
                </a:cubicBezTo>
                <a:cubicBezTo>
                  <a:pt x="19616" y="140891"/>
                  <a:pt x="14294" y="137131"/>
                  <a:pt x="1915" y="134239"/>
                </a:cubicBezTo>
                <a:cubicBezTo>
                  <a:pt x="1568" y="134158"/>
                  <a:pt x="1337" y="133949"/>
                  <a:pt x="1163" y="133660"/>
                </a:cubicBezTo>
                <a:cubicBezTo>
                  <a:pt x="1047" y="133365"/>
                  <a:pt x="1047" y="133030"/>
                  <a:pt x="1163" y="132735"/>
                </a:cubicBezTo>
                <a:cubicBezTo>
                  <a:pt x="3014" y="126546"/>
                  <a:pt x="5849" y="120692"/>
                  <a:pt x="9551" y="115382"/>
                </a:cubicBezTo>
                <a:cubicBezTo>
                  <a:pt x="15682" y="109250"/>
                  <a:pt x="25978" y="95194"/>
                  <a:pt x="27424" y="83914"/>
                </a:cubicBezTo>
                <a:cubicBezTo>
                  <a:pt x="28234" y="76695"/>
                  <a:pt x="28697" y="69436"/>
                  <a:pt x="28813" y="62165"/>
                </a:cubicBezTo>
                <a:lnTo>
                  <a:pt x="17996" y="52736"/>
                </a:lnTo>
                <a:cubicBezTo>
                  <a:pt x="17764" y="52562"/>
                  <a:pt x="17649" y="52314"/>
                  <a:pt x="17591" y="52042"/>
                </a:cubicBezTo>
                <a:lnTo>
                  <a:pt x="14872" y="32896"/>
                </a:lnTo>
                <a:lnTo>
                  <a:pt x="2725" y="21847"/>
                </a:lnTo>
                <a:cubicBezTo>
                  <a:pt x="2493" y="21622"/>
                  <a:pt x="2378" y="21303"/>
                  <a:pt x="2378" y="20980"/>
                </a:cubicBezTo>
                <a:cubicBezTo>
                  <a:pt x="2378" y="20644"/>
                  <a:pt x="2493" y="20320"/>
                  <a:pt x="2783" y="20112"/>
                </a:cubicBezTo>
                <a:cubicBezTo>
                  <a:pt x="4171" y="19163"/>
                  <a:pt x="5212" y="17839"/>
                  <a:pt x="5849" y="16294"/>
                </a:cubicBezTo>
                <a:cubicBezTo>
                  <a:pt x="7237" y="10510"/>
                  <a:pt x="22450" y="2065"/>
                  <a:pt x="28581" y="850"/>
                </a:cubicBezTo>
                <a:cubicBezTo>
                  <a:pt x="31300" y="271"/>
                  <a:pt x="34135" y="-35"/>
                  <a:pt x="36911" y="-76"/>
                </a:cubicBezTo>
                <a:cubicBezTo>
                  <a:pt x="40266" y="-399"/>
                  <a:pt x="43621" y="763"/>
                  <a:pt x="46050" y="3106"/>
                </a:cubicBezTo>
                <a:cubicBezTo>
                  <a:pt x="48827" y="5425"/>
                  <a:pt x="52008" y="7138"/>
                  <a:pt x="55479" y="8138"/>
                </a:cubicBezTo>
                <a:cubicBezTo>
                  <a:pt x="57445" y="8827"/>
                  <a:pt x="59412" y="9683"/>
                  <a:pt x="61263" y="10683"/>
                </a:cubicBezTo>
                <a:cubicBezTo>
                  <a:pt x="64271" y="11580"/>
                  <a:pt x="67395" y="11991"/>
                  <a:pt x="70518" y="11898"/>
                </a:cubicBezTo>
                <a:cubicBezTo>
                  <a:pt x="77518" y="12303"/>
                  <a:pt x="85384" y="12708"/>
                  <a:pt x="89375" y="16294"/>
                </a:cubicBezTo>
                <a:cubicBezTo>
                  <a:pt x="95565" y="22079"/>
                  <a:pt x="114595" y="34168"/>
                  <a:pt x="120033" y="34168"/>
                </a:cubicBezTo>
                <a:cubicBezTo>
                  <a:pt x="125470" y="34168"/>
                  <a:pt x="148145" y="37118"/>
                  <a:pt x="152194" y="39952"/>
                </a:cubicBezTo>
                <a:cubicBezTo>
                  <a:pt x="153409" y="40762"/>
                  <a:pt x="155550" y="38101"/>
                  <a:pt x="157979" y="35383"/>
                </a:cubicBezTo>
                <a:cubicBezTo>
                  <a:pt x="161160" y="31432"/>
                  <a:pt x="164978" y="28031"/>
                  <a:pt x="169259" y="25318"/>
                </a:cubicBezTo>
                <a:cubicBezTo>
                  <a:pt x="175332" y="21581"/>
                  <a:pt x="182158" y="19250"/>
                  <a:pt x="189273" y="18492"/>
                </a:cubicBezTo>
                <a:cubicBezTo>
                  <a:pt x="192685" y="18492"/>
                  <a:pt x="194016" y="19881"/>
                  <a:pt x="194479" y="21038"/>
                </a:cubicBezTo>
                <a:cubicBezTo>
                  <a:pt x="196156" y="24450"/>
                  <a:pt x="199569" y="26666"/>
                  <a:pt x="203387" y="26822"/>
                </a:cubicBezTo>
                <a:cubicBezTo>
                  <a:pt x="204370" y="26822"/>
                  <a:pt x="205353" y="26608"/>
                  <a:pt x="206279" y="26185"/>
                </a:cubicBezTo>
                <a:cubicBezTo>
                  <a:pt x="210791" y="24474"/>
                  <a:pt x="215418" y="23155"/>
                  <a:pt x="220161" y="22252"/>
                </a:cubicBezTo>
                <a:cubicBezTo>
                  <a:pt x="220624" y="22131"/>
                  <a:pt x="221087" y="22322"/>
                  <a:pt x="221319" y="22715"/>
                </a:cubicBezTo>
                <a:cubicBezTo>
                  <a:pt x="221607" y="23091"/>
                  <a:pt x="221607" y="23612"/>
                  <a:pt x="221319" y="23987"/>
                </a:cubicBezTo>
                <a:lnTo>
                  <a:pt x="208304" y="43076"/>
                </a:lnTo>
                <a:lnTo>
                  <a:pt x="195925" y="62338"/>
                </a:lnTo>
                <a:lnTo>
                  <a:pt x="197313" y="159517"/>
                </a:lnTo>
                <a:lnTo>
                  <a:pt x="210675" y="180746"/>
                </a:lnTo>
                <a:cubicBezTo>
                  <a:pt x="210906" y="181133"/>
                  <a:pt x="210906" y="181631"/>
                  <a:pt x="210675" y="182018"/>
                </a:cubicBezTo>
                <a:cubicBezTo>
                  <a:pt x="209808" y="183175"/>
                  <a:pt x="208998" y="184274"/>
                  <a:pt x="208362" y="185315"/>
                </a:cubicBezTo>
                <a:cubicBezTo>
                  <a:pt x="204312" y="191736"/>
                  <a:pt x="201651" y="193066"/>
                  <a:pt x="198933" y="193066"/>
                </a:cubicBezTo>
                <a:lnTo>
                  <a:pt x="197776" y="193066"/>
                </a:lnTo>
                <a:cubicBezTo>
                  <a:pt x="196619" y="193066"/>
                  <a:pt x="195462" y="192546"/>
                  <a:pt x="193379" y="195149"/>
                </a:cubicBezTo>
                <a:cubicBezTo>
                  <a:pt x="191297" y="197630"/>
                  <a:pt x="188694" y="199603"/>
                  <a:pt x="185744" y="200933"/>
                </a:cubicBezTo>
                <a:cubicBezTo>
                  <a:pt x="181753" y="202709"/>
                  <a:pt x="178398" y="205630"/>
                  <a:pt x="176084" y="209321"/>
                </a:cubicBezTo>
                <a:cubicBezTo>
                  <a:pt x="166077" y="228548"/>
                  <a:pt x="157169" y="248325"/>
                  <a:pt x="149418" y="268553"/>
                </a:cubicBezTo>
                <a:cubicBezTo>
                  <a:pt x="149302" y="268889"/>
                  <a:pt x="149071" y="269149"/>
                  <a:pt x="148724" y="269247"/>
                </a:cubicBezTo>
                <a:close/>
                <a:moveTo>
                  <a:pt x="104010" y="234309"/>
                </a:moveTo>
                <a:cubicBezTo>
                  <a:pt x="107481" y="236855"/>
                  <a:pt x="127958" y="251663"/>
                  <a:pt x="148145" y="265719"/>
                </a:cubicBezTo>
                <a:cubicBezTo>
                  <a:pt x="155838" y="245791"/>
                  <a:pt x="164631" y="226304"/>
                  <a:pt x="174465" y="207354"/>
                </a:cubicBezTo>
                <a:cubicBezTo>
                  <a:pt x="177010" y="203363"/>
                  <a:pt x="180654" y="200205"/>
                  <a:pt x="184992" y="198272"/>
                </a:cubicBezTo>
                <a:cubicBezTo>
                  <a:pt x="187653" y="197081"/>
                  <a:pt x="190025" y="195322"/>
                  <a:pt x="191933" y="193124"/>
                </a:cubicBezTo>
                <a:cubicBezTo>
                  <a:pt x="193264" y="190973"/>
                  <a:pt x="195751" y="189833"/>
                  <a:pt x="198239" y="190232"/>
                </a:cubicBezTo>
                <a:lnTo>
                  <a:pt x="199222" y="190232"/>
                </a:lnTo>
                <a:cubicBezTo>
                  <a:pt x="200379" y="190232"/>
                  <a:pt x="202577" y="190232"/>
                  <a:pt x="206742" y="183522"/>
                </a:cubicBezTo>
                <a:cubicBezTo>
                  <a:pt x="207320" y="182597"/>
                  <a:pt x="207956" y="181671"/>
                  <a:pt x="208708" y="180688"/>
                </a:cubicBezTo>
                <a:lnTo>
                  <a:pt x="195577" y="159921"/>
                </a:lnTo>
                <a:cubicBezTo>
                  <a:pt x="195520" y="159714"/>
                  <a:pt x="195520" y="159494"/>
                  <a:pt x="195577" y="159285"/>
                </a:cubicBezTo>
                <a:lnTo>
                  <a:pt x="194189" y="61413"/>
                </a:lnTo>
                <a:cubicBezTo>
                  <a:pt x="194074" y="61233"/>
                  <a:pt x="194074" y="61013"/>
                  <a:pt x="194189" y="60835"/>
                </a:cubicBezTo>
                <a:lnTo>
                  <a:pt x="206742" y="41283"/>
                </a:lnTo>
                <a:lnTo>
                  <a:pt x="218311" y="24508"/>
                </a:lnTo>
                <a:cubicBezTo>
                  <a:pt x="214724" y="25220"/>
                  <a:pt x="211196" y="26261"/>
                  <a:pt x="207783" y="27632"/>
                </a:cubicBezTo>
                <a:cubicBezTo>
                  <a:pt x="206568" y="28210"/>
                  <a:pt x="205238" y="28511"/>
                  <a:pt x="203849" y="28499"/>
                </a:cubicBezTo>
                <a:cubicBezTo>
                  <a:pt x="199222" y="28361"/>
                  <a:pt x="194999" y="25700"/>
                  <a:pt x="192859" y="21558"/>
                </a:cubicBezTo>
                <a:cubicBezTo>
                  <a:pt x="192454" y="20633"/>
                  <a:pt x="190950" y="20401"/>
                  <a:pt x="189736" y="20401"/>
                </a:cubicBezTo>
                <a:cubicBezTo>
                  <a:pt x="183026" y="21211"/>
                  <a:pt x="176605" y="23438"/>
                  <a:pt x="170821" y="26937"/>
                </a:cubicBezTo>
                <a:cubicBezTo>
                  <a:pt x="166771" y="29541"/>
                  <a:pt x="163127" y="32780"/>
                  <a:pt x="160119" y="36540"/>
                </a:cubicBezTo>
                <a:cubicBezTo>
                  <a:pt x="157342" y="39721"/>
                  <a:pt x="155318" y="41977"/>
                  <a:pt x="153178" y="41977"/>
                </a:cubicBezTo>
                <a:cubicBezTo>
                  <a:pt x="152600" y="41977"/>
                  <a:pt x="152021" y="41792"/>
                  <a:pt x="151500" y="41456"/>
                </a:cubicBezTo>
                <a:cubicBezTo>
                  <a:pt x="141435" y="38414"/>
                  <a:pt x="131024" y="36650"/>
                  <a:pt x="120554" y="36193"/>
                </a:cubicBezTo>
                <a:cubicBezTo>
                  <a:pt x="114017" y="36193"/>
                  <a:pt x="94119" y="22946"/>
                  <a:pt x="88335" y="17740"/>
                </a:cubicBezTo>
                <a:cubicBezTo>
                  <a:pt x="84979" y="14675"/>
                  <a:pt x="77170" y="14270"/>
                  <a:pt x="70981" y="13923"/>
                </a:cubicBezTo>
                <a:cubicBezTo>
                  <a:pt x="67511" y="14067"/>
                  <a:pt x="64040" y="13558"/>
                  <a:pt x="60743" y="12419"/>
                </a:cubicBezTo>
                <a:cubicBezTo>
                  <a:pt x="58891" y="11441"/>
                  <a:pt x="56925" y="10631"/>
                  <a:pt x="54958" y="9989"/>
                </a:cubicBezTo>
                <a:cubicBezTo>
                  <a:pt x="51083" y="8890"/>
                  <a:pt x="47554" y="6912"/>
                  <a:pt x="44604" y="4205"/>
                </a:cubicBezTo>
                <a:cubicBezTo>
                  <a:pt x="42464" y="1660"/>
                  <a:pt x="37489" y="1139"/>
                  <a:pt x="29275" y="2701"/>
                </a:cubicBezTo>
                <a:cubicBezTo>
                  <a:pt x="23491" y="3916"/>
                  <a:pt x="9435" y="12187"/>
                  <a:pt x="8336" y="16468"/>
                </a:cubicBezTo>
                <a:cubicBezTo>
                  <a:pt x="7815" y="18128"/>
                  <a:pt x="6774" y="19597"/>
                  <a:pt x="5443" y="20691"/>
                </a:cubicBezTo>
                <a:lnTo>
                  <a:pt x="17012" y="31102"/>
                </a:lnTo>
                <a:cubicBezTo>
                  <a:pt x="17186" y="31299"/>
                  <a:pt x="17302" y="31542"/>
                  <a:pt x="17360" y="31797"/>
                </a:cubicBezTo>
                <a:lnTo>
                  <a:pt x="20078" y="50943"/>
                </a:lnTo>
                <a:lnTo>
                  <a:pt x="30953" y="60430"/>
                </a:lnTo>
                <a:cubicBezTo>
                  <a:pt x="31184" y="60649"/>
                  <a:pt x="31358" y="60967"/>
                  <a:pt x="31358" y="61297"/>
                </a:cubicBezTo>
                <a:cubicBezTo>
                  <a:pt x="31300" y="68817"/>
                  <a:pt x="30837" y="76331"/>
                  <a:pt x="29969" y="83799"/>
                </a:cubicBezTo>
                <a:cubicBezTo>
                  <a:pt x="28408" y="95772"/>
                  <a:pt x="18054" y="110002"/>
                  <a:pt x="11459" y="116654"/>
                </a:cubicBezTo>
                <a:cubicBezTo>
                  <a:pt x="8105" y="121316"/>
                  <a:pt x="5617" y="126522"/>
                  <a:pt x="4055" y="132041"/>
                </a:cubicBezTo>
                <a:cubicBezTo>
                  <a:pt x="13311" y="134528"/>
                  <a:pt x="22508" y="138577"/>
                  <a:pt x="21408" y="142973"/>
                </a:cubicBezTo>
                <a:cubicBezTo>
                  <a:pt x="20830" y="146328"/>
                  <a:pt x="17186" y="147601"/>
                  <a:pt x="13311" y="148758"/>
                </a:cubicBezTo>
                <a:cubicBezTo>
                  <a:pt x="7526" y="150667"/>
                  <a:pt x="2031" y="152633"/>
                  <a:pt x="2031" y="160326"/>
                </a:cubicBezTo>
                <a:cubicBezTo>
                  <a:pt x="2031" y="161078"/>
                  <a:pt x="2031" y="161773"/>
                  <a:pt x="2031" y="162467"/>
                </a:cubicBezTo>
                <a:lnTo>
                  <a:pt x="104588" y="216898"/>
                </a:lnTo>
                <a:cubicBezTo>
                  <a:pt x="104994" y="217078"/>
                  <a:pt x="105225" y="217500"/>
                  <a:pt x="105167" y="21793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1" name="Forma libre: forma 410">
            <a:extLst>
              <a:ext uri="{FF2B5EF4-FFF2-40B4-BE49-F238E27FC236}">
                <a16:creationId xmlns:a16="http://schemas.microsoft.com/office/drawing/2014/main" id="{C5994400-28C7-3C1D-F689-FB6FEECD77DD}"/>
              </a:ext>
            </a:extLst>
          </p:cNvPr>
          <p:cNvSpPr/>
          <p:nvPr/>
        </p:nvSpPr>
        <p:spPr>
          <a:xfrm>
            <a:off x="6972194" y="4363830"/>
            <a:ext cx="151393" cy="155677"/>
          </a:xfrm>
          <a:custGeom>
            <a:avLst/>
            <a:gdLst>
              <a:gd name="connsiteX0" fmla="*/ 5343 w 151393"/>
              <a:gd name="connsiteY0" fmla="*/ 155493 h 155677"/>
              <a:gd name="connsiteX1" fmla="*/ 946 w 151393"/>
              <a:gd name="connsiteY1" fmla="*/ 155493 h 155677"/>
              <a:gd name="connsiteX2" fmla="*/ 21 w 151393"/>
              <a:gd name="connsiteY2" fmla="*/ 154798 h 155677"/>
              <a:gd name="connsiteX3" fmla="*/ 21 w 151393"/>
              <a:gd name="connsiteY3" fmla="*/ 153641 h 155677"/>
              <a:gd name="connsiteX4" fmla="*/ 4301 w 151393"/>
              <a:gd name="connsiteY4" fmla="*/ 134495 h 155677"/>
              <a:gd name="connsiteX5" fmla="*/ 9276 w 151393"/>
              <a:gd name="connsiteY5" fmla="*/ 110432 h 155677"/>
              <a:gd name="connsiteX6" fmla="*/ 11416 w 151393"/>
              <a:gd name="connsiteY6" fmla="*/ 102044 h 155677"/>
              <a:gd name="connsiteX7" fmla="*/ 16275 w 151393"/>
              <a:gd name="connsiteY7" fmla="*/ 90476 h 155677"/>
              <a:gd name="connsiteX8" fmla="*/ 20208 w 151393"/>
              <a:gd name="connsiteY8" fmla="*/ 83765 h 155677"/>
              <a:gd name="connsiteX9" fmla="*/ 26918 w 151393"/>
              <a:gd name="connsiteY9" fmla="*/ 75205 h 155677"/>
              <a:gd name="connsiteX10" fmla="*/ 37620 w 151393"/>
              <a:gd name="connsiteY10" fmla="*/ 68205 h 155677"/>
              <a:gd name="connsiteX11" fmla="*/ 41148 w 151393"/>
              <a:gd name="connsiteY11" fmla="*/ 62421 h 155677"/>
              <a:gd name="connsiteX12" fmla="*/ 45486 w 151393"/>
              <a:gd name="connsiteY12" fmla="*/ 54381 h 155677"/>
              <a:gd name="connsiteX13" fmla="*/ 41726 w 151393"/>
              <a:gd name="connsiteY13" fmla="*/ 49348 h 155677"/>
              <a:gd name="connsiteX14" fmla="*/ 36405 w 151393"/>
              <a:gd name="connsiteY14" fmla="*/ 41076 h 155677"/>
              <a:gd name="connsiteX15" fmla="*/ 38892 w 151393"/>
              <a:gd name="connsiteY15" fmla="*/ 17245 h 155677"/>
              <a:gd name="connsiteX16" fmla="*/ 39586 w 151393"/>
              <a:gd name="connsiteY16" fmla="*/ 16377 h 155677"/>
              <a:gd name="connsiteX17" fmla="*/ 60468 w 151393"/>
              <a:gd name="connsiteY17" fmla="*/ 10246 h 155677"/>
              <a:gd name="connsiteX18" fmla="*/ 70648 w 151393"/>
              <a:gd name="connsiteY18" fmla="*/ 14410 h 155677"/>
              <a:gd name="connsiteX19" fmla="*/ 76028 w 151393"/>
              <a:gd name="connsiteY19" fmla="*/ 17071 h 155677"/>
              <a:gd name="connsiteX20" fmla="*/ 76607 w 151393"/>
              <a:gd name="connsiteY20" fmla="*/ 17071 h 155677"/>
              <a:gd name="connsiteX21" fmla="*/ 94365 w 151393"/>
              <a:gd name="connsiteY21" fmla="*/ 9320 h 155677"/>
              <a:gd name="connsiteX22" fmla="*/ 98009 w 151393"/>
              <a:gd name="connsiteY22" fmla="*/ 10072 h 155677"/>
              <a:gd name="connsiteX23" fmla="*/ 107033 w 151393"/>
              <a:gd name="connsiteY23" fmla="*/ 11865 h 155677"/>
              <a:gd name="connsiteX24" fmla="*/ 113338 w 151393"/>
              <a:gd name="connsiteY24" fmla="*/ 9725 h 155677"/>
              <a:gd name="connsiteX25" fmla="*/ 119874 w 151393"/>
              <a:gd name="connsiteY25" fmla="*/ 2552 h 155677"/>
              <a:gd name="connsiteX26" fmla="*/ 122998 w 151393"/>
              <a:gd name="connsiteY26" fmla="*/ 123 h 155677"/>
              <a:gd name="connsiteX27" fmla="*/ 124444 w 151393"/>
              <a:gd name="connsiteY27" fmla="*/ 123 h 155677"/>
              <a:gd name="connsiteX28" fmla="*/ 136938 w 151393"/>
              <a:gd name="connsiteY28" fmla="*/ 11692 h 155677"/>
              <a:gd name="connsiteX29" fmla="*/ 137285 w 151393"/>
              <a:gd name="connsiteY29" fmla="*/ 12386 h 155677"/>
              <a:gd name="connsiteX30" fmla="*/ 140004 w 151393"/>
              <a:gd name="connsiteY30" fmla="*/ 31532 h 155677"/>
              <a:gd name="connsiteX31" fmla="*/ 150878 w 151393"/>
              <a:gd name="connsiteY31" fmla="*/ 41019 h 155677"/>
              <a:gd name="connsiteX32" fmla="*/ 151284 w 151393"/>
              <a:gd name="connsiteY32" fmla="*/ 41886 h 155677"/>
              <a:gd name="connsiteX33" fmla="*/ 149895 w 151393"/>
              <a:gd name="connsiteY33" fmla="*/ 64388 h 155677"/>
              <a:gd name="connsiteX34" fmla="*/ 131385 w 151393"/>
              <a:gd name="connsiteY34" fmla="*/ 97243 h 155677"/>
              <a:gd name="connsiteX35" fmla="*/ 123518 w 151393"/>
              <a:gd name="connsiteY35" fmla="*/ 113787 h 155677"/>
              <a:gd name="connsiteX36" fmla="*/ 122246 w 151393"/>
              <a:gd name="connsiteY36" fmla="*/ 114492 h 155677"/>
              <a:gd name="connsiteX37" fmla="*/ 122188 w 151393"/>
              <a:gd name="connsiteY37" fmla="*/ 114481 h 155677"/>
              <a:gd name="connsiteX38" fmla="*/ 100670 w 151393"/>
              <a:gd name="connsiteY38" fmla="*/ 111762 h 155677"/>
              <a:gd name="connsiteX39" fmla="*/ 86325 w 151393"/>
              <a:gd name="connsiteY39" fmla="*/ 113555 h 155677"/>
              <a:gd name="connsiteX40" fmla="*/ 66368 w 151393"/>
              <a:gd name="connsiteY40" fmla="*/ 142478 h 155677"/>
              <a:gd name="connsiteX41" fmla="*/ 65385 w 151393"/>
              <a:gd name="connsiteY41" fmla="*/ 143230 h 155677"/>
              <a:gd name="connsiteX42" fmla="*/ 42594 w 151393"/>
              <a:gd name="connsiteY42" fmla="*/ 145081 h 155677"/>
              <a:gd name="connsiteX43" fmla="*/ 15060 w 151393"/>
              <a:gd name="connsiteY43" fmla="*/ 153352 h 155677"/>
              <a:gd name="connsiteX44" fmla="*/ 14540 w 151393"/>
              <a:gd name="connsiteY44" fmla="*/ 153352 h 155677"/>
              <a:gd name="connsiteX45" fmla="*/ 5343 w 151393"/>
              <a:gd name="connsiteY45" fmla="*/ 155493 h 155677"/>
              <a:gd name="connsiteX46" fmla="*/ 3087 w 151393"/>
              <a:gd name="connsiteY46" fmla="*/ 153179 h 155677"/>
              <a:gd name="connsiteX47" fmla="*/ 5343 w 151393"/>
              <a:gd name="connsiteY47" fmla="*/ 153179 h 155677"/>
              <a:gd name="connsiteX48" fmla="*/ 13672 w 151393"/>
              <a:gd name="connsiteY48" fmla="*/ 150980 h 155677"/>
              <a:gd name="connsiteX49" fmla="*/ 14192 w 151393"/>
              <a:gd name="connsiteY49" fmla="*/ 150980 h 155677"/>
              <a:gd name="connsiteX50" fmla="*/ 42363 w 151393"/>
              <a:gd name="connsiteY50" fmla="*/ 142535 h 155677"/>
              <a:gd name="connsiteX51" fmla="*/ 64633 w 151393"/>
              <a:gd name="connsiteY51" fmla="*/ 140684 h 155677"/>
              <a:gd name="connsiteX52" fmla="*/ 85861 w 151393"/>
              <a:gd name="connsiteY52" fmla="*/ 111068 h 155677"/>
              <a:gd name="connsiteX53" fmla="*/ 100844 w 151393"/>
              <a:gd name="connsiteY53" fmla="*/ 109159 h 155677"/>
              <a:gd name="connsiteX54" fmla="*/ 121899 w 151393"/>
              <a:gd name="connsiteY54" fmla="*/ 111704 h 155677"/>
              <a:gd name="connsiteX55" fmla="*/ 129939 w 151393"/>
              <a:gd name="connsiteY55" fmla="*/ 95277 h 155677"/>
              <a:gd name="connsiteX56" fmla="*/ 147813 w 151393"/>
              <a:gd name="connsiteY56" fmla="*/ 63809 h 155677"/>
              <a:gd name="connsiteX57" fmla="*/ 149201 w 151393"/>
              <a:gd name="connsiteY57" fmla="*/ 42060 h 155677"/>
              <a:gd name="connsiteX58" fmla="*/ 138385 w 151393"/>
              <a:gd name="connsiteY58" fmla="*/ 32631 h 155677"/>
              <a:gd name="connsiteX59" fmla="*/ 137979 w 151393"/>
              <a:gd name="connsiteY59" fmla="*/ 31937 h 155677"/>
              <a:gd name="connsiteX60" fmla="*/ 135261 w 151393"/>
              <a:gd name="connsiteY60" fmla="*/ 12791 h 155677"/>
              <a:gd name="connsiteX61" fmla="*/ 123692 w 151393"/>
              <a:gd name="connsiteY61" fmla="*/ 2378 h 155677"/>
              <a:gd name="connsiteX62" fmla="*/ 121262 w 151393"/>
              <a:gd name="connsiteY62" fmla="*/ 4230 h 155677"/>
              <a:gd name="connsiteX63" fmla="*/ 115478 w 151393"/>
              <a:gd name="connsiteY63" fmla="*/ 10014 h 155677"/>
              <a:gd name="connsiteX64" fmla="*/ 106917 w 151393"/>
              <a:gd name="connsiteY64" fmla="*/ 14121 h 155677"/>
              <a:gd name="connsiteX65" fmla="*/ 96910 w 151393"/>
              <a:gd name="connsiteY65" fmla="*/ 12097 h 155677"/>
              <a:gd name="connsiteX66" fmla="*/ 94249 w 151393"/>
              <a:gd name="connsiteY66" fmla="*/ 11576 h 155677"/>
              <a:gd name="connsiteX67" fmla="*/ 78342 w 151393"/>
              <a:gd name="connsiteY67" fmla="*/ 18344 h 155677"/>
              <a:gd name="connsiteX68" fmla="*/ 75912 w 151393"/>
              <a:gd name="connsiteY68" fmla="*/ 19616 h 155677"/>
              <a:gd name="connsiteX69" fmla="*/ 69318 w 151393"/>
              <a:gd name="connsiteY69" fmla="*/ 16550 h 155677"/>
              <a:gd name="connsiteX70" fmla="*/ 60584 w 151393"/>
              <a:gd name="connsiteY70" fmla="*/ 12791 h 155677"/>
              <a:gd name="connsiteX71" fmla="*/ 40917 w 151393"/>
              <a:gd name="connsiteY71" fmla="*/ 18575 h 155677"/>
              <a:gd name="connsiteX72" fmla="*/ 38545 w 151393"/>
              <a:gd name="connsiteY72" fmla="*/ 41366 h 155677"/>
              <a:gd name="connsiteX73" fmla="*/ 43057 w 151393"/>
              <a:gd name="connsiteY73" fmla="*/ 47902 h 155677"/>
              <a:gd name="connsiteX74" fmla="*/ 47626 w 151393"/>
              <a:gd name="connsiteY74" fmla="*/ 54670 h 155677"/>
              <a:gd name="connsiteX75" fmla="*/ 42768 w 151393"/>
              <a:gd name="connsiteY75" fmla="*/ 64156 h 155677"/>
              <a:gd name="connsiteX76" fmla="*/ 39760 w 151393"/>
              <a:gd name="connsiteY76" fmla="*/ 68842 h 155677"/>
              <a:gd name="connsiteX77" fmla="*/ 27497 w 151393"/>
              <a:gd name="connsiteY77" fmla="*/ 77576 h 155677"/>
              <a:gd name="connsiteX78" fmla="*/ 22175 w 151393"/>
              <a:gd name="connsiteY78" fmla="*/ 84807 h 155677"/>
              <a:gd name="connsiteX79" fmla="*/ 17490 w 151393"/>
              <a:gd name="connsiteY79" fmla="*/ 92558 h 155677"/>
              <a:gd name="connsiteX80" fmla="*/ 13556 w 151393"/>
              <a:gd name="connsiteY80" fmla="*/ 102565 h 155677"/>
              <a:gd name="connsiteX81" fmla="*/ 11185 w 151393"/>
              <a:gd name="connsiteY81" fmla="*/ 111473 h 155677"/>
              <a:gd name="connsiteX82" fmla="*/ 6441 w 151393"/>
              <a:gd name="connsiteY82" fmla="*/ 134611 h 155677"/>
              <a:gd name="connsiteX83" fmla="*/ 3087 w 151393"/>
              <a:gd name="connsiteY83" fmla="*/ 152947 h 15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1393" h="155677">
                <a:moveTo>
                  <a:pt x="5343" y="155493"/>
                </a:moveTo>
                <a:cubicBezTo>
                  <a:pt x="3897" y="155568"/>
                  <a:pt x="2393" y="155568"/>
                  <a:pt x="946" y="155493"/>
                </a:cubicBezTo>
                <a:cubicBezTo>
                  <a:pt x="541" y="155441"/>
                  <a:pt x="194" y="155180"/>
                  <a:pt x="21" y="154798"/>
                </a:cubicBezTo>
                <a:cubicBezTo>
                  <a:pt x="-153" y="154440"/>
                  <a:pt x="-153" y="154000"/>
                  <a:pt x="21" y="153641"/>
                </a:cubicBezTo>
                <a:cubicBezTo>
                  <a:pt x="3260" y="147805"/>
                  <a:pt x="4764" y="141159"/>
                  <a:pt x="4301" y="134495"/>
                </a:cubicBezTo>
                <a:cubicBezTo>
                  <a:pt x="4359" y="126223"/>
                  <a:pt x="6037" y="118038"/>
                  <a:pt x="9276" y="110432"/>
                </a:cubicBezTo>
                <a:cubicBezTo>
                  <a:pt x="10375" y="107742"/>
                  <a:pt x="11069" y="104919"/>
                  <a:pt x="11416" y="102044"/>
                </a:cubicBezTo>
                <a:cubicBezTo>
                  <a:pt x="11532" y="97718"/>
                  <a:pt x="13267" y="93593"/>
                  <a:pt x="16275" y="90476"/>
                </a:cubicBezTo>
                <a:cubicBezTo>
                  <a:pt x="18184" y="88642"/>
                  <a:pt x="19514" y="86322"/>
                  <a:pt x="20208" y="83765"/>
                </a:cubicBezTo>
                <a:cubicBezTo>
                  <a:pt x="21597" y="80121"/>
                  <a:pt x="23043" y="76362"/>
                  <a:pt x="26918" y="75205"/>
                </a:cubicBezTo>
                <a:cubicBezTo>
                  <a:pt x="33629" y="73180"/>
                  <a:pt x="37215" y="70808"/>
                  <a:pt x="37620" y="68205"/>
                </a:cubicBezTo>
                <a:cubicBezTo>
                  <a:pt x="38314" y="66013"/>
                  <a:pt x="39528" y="64023"/>
                  <a:pt x="41148" y="62421"/>
                </a:cubicBezTo>
                <a:cubicBezTo>
                  <a:pt x="43404" y="60263"/>
                  <a:pt x="44908" y="57452"/>
                  <a:pt x="45486" y="54381"/>
                </a:cubicBezTo>
                <a:cubicBezTo>
                  <a:pt x="45486" y="52356"/>
                  <a:pt x="43751" y="50968"/>
                  <a:pt x="41726" y="49348"/>
                </a:cubicBezTo>
                <a:cubicBezTo>
                  <a:pt x="38719" y="47630"/>
                  <a:pt x="36694" y="44541"/>
                  <a:pt x="36405" y="41076"/>
                </a:cubicBezTo>
                <a:cubicBezTo>
                  <a:pt x="36405" y="34367"/>
                  <a:pt x="38776" y="17939"/>
                  <a:pt x="38892" y="17245"/>
                </a:cubicBezTo>
                <a:cubicBezTo>
                  <a:pt x="38950" y="16840"/>
                  <a:pt x="39181" y="16492"/>
                  <a:pt x="39586" y="16377"/>
                </a:cubicBezTo>
                <a:cubicBezTo>
                  <a:pt x="46354" y="13751"/>
                  <a:pt x="53353" y="11703"/>
                  <a:pt x="60468" y="10246"/>
                </a:cubicBezTo>
                <a:cubicBezTo>
                  <a:pt x="64170" y="10593"/>
                  <a:pt x="67756" y="12044"/>
                  <a:pt x="70648" y="14410"/>
                </a:cubicBezTo>
                <a:cubicBezTo>
                  <a:pt x="72268" y="15648"/>
                  <a:pt x="74062" y="16556"/>
                  <a:pt x="76028" y="17071"/>
                </a:cubicBezTo>
                <a:cubicBezTo>
                  <a:pt x="76202" y="17175"/>
                  <a:pt x="76433" y="17175"/>
                  <a:pt x="76607" y="17071"/>
                </a:cubicBezTo>
                <a:cubicBezTo>
                  <a:pt x="81408" y="12449"/>
                  <a:pt x="87713" y="9702"/>
                  <a:pt x="94365" y="9320"/>
                </a:cubicBezTo>
                <a:cubicBezTo>
                  <a:pt x="95638" y="9291"/>
                  <a:pt x="96852" y="9551"/>
                  <a:pt x="98009" y="10072"/>
                </a:cubicBezTo>
                <a:cubicBezTo>
                  <a:pt x="100844" y="11269"/>
                  <a:pt x="103909" y="11877"/>
                  <a:pt x="107033" y="11865"/>
                </a:cubicBezTo>
                <a:cubicBezTo>
                  <a:pt x="110619" y="11865"/>
                  <a:pt x="113165" y="10998"/>
                  <a:pt x="113338" y="9725"/>
                </a:cubicBezTo>
                <a:cubicBezTo>
                  <a:pt x="113685" y="7122"/>
                  <a:pt x="116693" y="4866"/>
                  <a:pt x="119874" y="2552"/>
                </a:cubicBezTo>
                <a:lnTo>
                  <a:pt x="122998" y="123"/>
                </a:lnTo>
                <a:cubicBezTo>
                  <a:pt x="123402" y="-213"/>
                  <a:pt x="124039" y="-213"/>
                  <a:pt x="124444" y="123"/>
                </a:cubicBezTo>
                <a:lnTo>
                  <a:pt x="136938" y="11692"/>
                </a:lnTo>
                <a:cubicBezTo>
                  <a:pt x="137111" y="11888"/>
                  <a:pt x="137227" y="12131"/>
                  <a:pt x="137285" y="12386"/>
                </a:cubicBezTo>
                <a:lnTo>
                  <a:pt x="140004" y="31532"/>
                </a:lnTo>
                <a:lnTo>
                  <a:pt x="150878" y="41019"/>
                </a:lnTo>
                <a:cubicBezTo>
                  <a:pt x="151110" y="41238"/>
                  <a:pt x="151284" y="41556"/>
                  <a:pt x="151284" y="41886"/>
                </a:cubicBezTo>
                <a:cubicBezTo>
                  <a:pt x="151226" y="49406"/>
                  <a:pt x="150763" y="56920"/>
                  <a:pt x="149895" y="64388"/>
                </a:cubicBezTo>
                <a:cubicBezTo>
                  <a:pt x="148334" y="76362"/>
                  <a:pt x="137979" y="90591"/>
                  <a:pt x="131385" y="97243"/>
                </a:cubicBezTo>
                <a:cubicBezTo>
                  <a:pt x="127856" y="102282"/>
                  <a:pt x="125196" y="107869"/>
                  <a:pt x="123518" y="113787"/>
                </a:cubicBezTo>
                <a:cubicBezTo>
                  <a:pt x="123345" y="114336"/>
                  <a:pt x="122766" y="114654"/>
                  <a:pt x="122246" y="114492"/>
                </a:cubicBezTo>
                <a:cubicBezTo>
                  <a:pt x="122188" y="114487"/>
                  <a:pt x="122188" y="114487"/>
                  <a:pt x="122188" y="114481"/>
                </a:cubicBezTo>
                <a:cubicBezTo>
                  <a:pt x="115131" y="112740"/>
                  <a:pt x="107900" y="111826"/>
                  <a:pt x="100670" y="111762"/>
                </a:cubicBezTo>
                <a:cubicBezTo>
                  <a:pt x="95811" y="111699"/>
                  <a:pt x="91010" y="112300"/>
                  <a:pt x="86325" y="113555"/>
                </a:cubicBezTo>
                <a:cubicBezTo>
                  <a:pt x="79499" y="115522"/>
                  <a:pt x="72037" y="126339"/>
                  <a:pt x="66368" y="142478"/>
                </a:cubicBezTo>
                <a:cubicBezTo>
                  <a:pt x="66252" y="142905"/>
                  <a:pt x="65848" y="143206"/>
                  <a:pt x="65385" y="143230"/>
                </a:cubicBezTo>
                <a:lnTo>
                  <a:pt x="42594" y="145081"/>
                </a:lnTo>
                <a:cubicBezTo>
                  <a:pt x="33281" y="147365"/>
                  <a:pt x="24084" y="150125"/>
                  <a:pt x="15060" y="153352"/>
                </a:cubicBezTo>
                <a:lnTo>
                  <a:pt x="14540" y="153352"/>
                </a:lnTo>
                <a:cubicBezTo>
                  <a:pt x="11705" y="154879"/>
                  <a:pt x="8524" y="155620"/>
                  <a:pt x="5343" y="155493"/>
                </a:cubicBezTo>
                <a:close/>
                <a:moveTo>
                  <a:pt x="3087" y="153179"/>
                </a:moveTo>
                <a:lnTo>
                  <a:pt x="5343" y="153179"/>
                </a:lnTo>
                <a:cubicBezTo>
                  <a:pt x="8293" y="153248"/>
                  <a:pt x="11185" y="152484"/>
                  <a:pt x="13672" y="150980"/>
                </a:cubicBezTo>
                <a:lnTo>
                  <a:pt x="14192" y="150980"/>
                </a:lnTo>
                <a:cubicBezTo>
                  <a:pt x="23390" y="147637"/>
                  <a:pt x="32819" y="144814"/>
                  <a:pt x="42363" y="142535"/>
                </a:cubicBezTo>
                <a:lnTo>
                  <a:pt x="64633" y="140684"/>
                </a:lnTo>
                <a:cubicBezTo>
                  <a:pt x="67698" y="132297"/>
                  <a:pt x="75334" y="114134"/>
                  <a:pt x="85861" y="111068"/>
                </a:cubicBezTo>
                <a:cubicBezTo>
                  <a:pt x="90721" y="109720"/>
                  <a:pt x="95811" y="109078"/>
                  <a:pt x="100844" y="109159"/>
                </a:cubicBezTo>
                <a:cubicBezTo>
                  <a:pt x="107958" y="109223"/>
                  <a:pt x="115015" y="110079"/>
                  <a:pt x="121899" y="111704"/>
                </a:cubicBezTo>
                <a:cubicBezTo>
                  <a:pt x="123692" y="105839"/>
                  <a:pt x="126410" y="100292"/>
                  <a:pt x="129939" y="95277"/>
                </a:cubicBezTo>
                <a:cubicBezTo>
                  <a:pt x="136071" y="89145"/>
                  <a:pt x="146367" y="75089"/>
                  <a:pt x="147813" y="63809"/>
                </a:cubicBezTo>
                <a:cubicBezTo>
                  <a:pt x="148623" y="56590"/>
                  <a:pt x="149086" y="49331"/>
                  <a:pt x="149201" y="42060"/>
                </a:cubicBezTo>
                <a:lnTo>
                  <a:pt x="138385" y="32631"/>
                </a:lnTo>
                <a:cubicBezTo>
                  <a:pt x="138153" y="32458"/>
                  <a:pt x="138037" y="32209"/>
                  <a:pt x="137979" y="31937"/>
                </a:cubicBezTo>
                <a:lnTo>
                  <a:pt x="135261" y="12791"/>
                </a:lnTo>
                <a:lnTo>
                  <a:pt x="123692" y="2378"/>
                </a:lnTo>
                <a:cubicBezTo>
                  <a:pt x="122940" y="3015"/>
                  <a:pt x="122072" y="3651"/>
                  <a:pt x="121262" y="4230"/>
                </a:cubicBezTo>
                <a:cubicBezTo>
                  <a:pt x="118602" y="6196"/>
                  <a:pt x="115883" y="8221"/>
                  <a:pt x="115478" y="10014"/>
                </a:cubicBezTo>
                <a:cubicBezTo>
                  <a:pt x="115073" y="12617"/>
                  <a:pt x="112007" y="14121"/>
                  <a:pt x="106917" y="14121"/>
                </a:cubicBezTo>
                <a:cubicBezTo>
                  <a:pt x="103504" y="14162"/>
                  <a:pt x="100092" y="13468"/>
                  <a:pt x="96910" y="12097"/>
                </a:cubicBezTo>
                <a:cubicBezTo>
                  <a:pt x="96100" y="11715"/>
                  <a:pt x="95174" y="11535"/>
                  <a:pt x="94249" y="11576"/>
                </a:cubicBezTo>
                <a:cubicBezTo>
                  <a:pt x="88349" y="11964"/>
                  <a:pt x="82738" y="14347"/>
                  <a:pt x="78342" y="18344"/>
                </a:cubicBezTo>
                <a:cubicBezTo>
                  <a:pt x="77821" y="19177"/>
                  <a:pt x="76896" y="19663"/>
                  <a:pt x="75912" y="19616"/>
                </a:cubicBezTo>
                <a:cubicBezTo>
                  <a:pt x="73483" y="19165"/>
                  <a:pt x="71227" y="18112"/>
                  <a:pt x="69318" y="16550"/>
                </a:cubicBezTo>
                <a:cubicBezTo>
                  <a:pt x="66831" y="14526"/>
                  <a:pt x="63765" y="13224"/>
                  <a:pt x="60584" y="12791"/>
                </a:cubicBezTo>
                <a:cubicBezTo>
                  <a:pt x="53874" y="14162"/>
                  <a:pt x="47280" y="16094"/>
                  <a:pt x="40917" y="18575"/>
                </a:cubicBezTo>
                <a:cubicBezTo>
                  <a:pt x="40454" y="21757"/>
                  <a:pt x="38545" y="35581"/>
                  <a:pt x="38545" y="41366"/>
                </a:cubicBezTo>
                <a:cubicBezTo>
                  <a:pt x="38545" y="44316"/>
                  <a:pt x="40743" y="46051"/>
                  <a:pt x="43057" y="47902"/>
                </a:cubicBezTo>
                <a:cubicBezTo>
                  <a:pt x="45370" y="49753"/>
                  <a:pt x="47626" y="51546"/>
                  <a:pt x="47626" y="54670"/>
                </a:cubicBezTo>
                <a:cubicBezTo>
                  <a:pt x="47164" y="58297"/>
                  <a:pt x="45428" y="61640"/>
                  <a:pt x="42768" y="64156"/>
                </a:cubicBezTo>
                <a:cubicBezTo>
                  <a:pt x="41437" y="65475"/>
                  <a:pt x="40396" y="67072"/>
                  <a:pt x="39760" y="68842"/>
                </a:cubicBezTo>
                <a:cubicBezTo>
                  <a:pt x="39181" y="72428"/>
                  <a:pt x="35248" y="75205"/>
                  <a:pt x="27497" y="77576"/>
                </a:cubicBezTo>
                <a:cubicBezTo>
                  <a:pt x="24605" y="78444"/>
                  <a:pt x="23448" y="81510"/>
                  <a:pt x="22175" y="84807"/>
                </a:cubicBezTo>
                <a:cubicBezTo>
                  <a:pt x="21366" y="87774"/>
                  <a:pt x="19746" y="90458"/>
                  <a:pt x="17490" y="92558"/>
                </a:cubicBezTo>
                <a:cubicBezTo>
                  <a:pt x="15002" y="95317"/>
                  <a:pt x="13614" y="98869"/>
                  <a:pt x="13556" y="102565"/>
                </a:cubicBezTo>
                <a:cubicBezTo>
                  <a:pt x="13152" y="105625"/>
                  <a:pt x="12342" y="108615"/>
                  <a:pt x="11185" y="111473"/>
                </a:cubicBezTo>
                <a:cubicBezTo>
                  <a:pt x="8061" y="118790"/>
                  <a:pt x="6441" y="126657"/>
                  <a:pt x="6441" y="134611"/>
                </a:cubicBezTo>
                <a:cubicBezTo>
                  <a:pt x="6731" y="140898"/>
                  <a:pt x="5574" y="147175"/>
                  <a:pt x="3087" y="15294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2" name="Forma libre: forma 411">
            <a:extLst>
              <a:ext uri="{FF2B5EF4-FFF2-40B4-BE49-F238E27FC236}">
                <a16:creationId xmlns:a16="http://schemas.microsoft.com/office/drawing/2014/main" id="{8D2855C8-093A-AF49-912E-AFB2E47E291A}"/>
              </a:ext>
            </a:extLst>
          </p:cNvPr>
          <p:cNvSpPr/>
          <p:nvPr/>
        </p:nvSpPr>
        <p:spPr>
          <a:xfrm>
            <a:off x="7707921" y="3131678"/>
            <a:ext cx="476890" cy="285088"/>
          </a:xfrm>
          <a:custGeom>
            <a:avLst/>
            <a:gdLst>
              <a:gd name="connsiteX0" fmla="*/ 333661 w 476890"/>
              <a:gd name="connsiteY0" fmla="*/ 284497 h 285088"/>
              <a:gd name="connsiteX1" fmla="*/ 333024 w 476890"/>
              <a:gd name="connsiteY1" fmla="*/ 284497 h 285088"/>
              <a:gd name="connsiteX2" fmla="*/ 332504 w 476890"/>
              <a:gd name="connsiteY2" fmla="*/ 284150 h 285088"/>
              <a:gd name="connsiteX3" fmla="*/ 322728 w 476890"/>
              <a:gd name="connsiteY3" fmla="*/ 279580 h 285088"/>
              <a:gd name="connsiteX4" fmla="*/ 313241 w 476890"/>
              <a:gd name="connsiteY4" fmla="*/ 275531 h 285088"/>
              <a:gd name="connsiteX5" fmla="*/ 300458 w 476890"/>
              <a:gd name="connsiteY5" fmla="*/ 271945 h 285088"/>
              <a:gd name="connsiteX6" fmla="*/ 297913 w 476890"/>
              <a:gd name="connsiteY6" fmla="*/ 272523 h 285088"/>
              <a:gd name="connsiteX7" fmla="*/ 297045 w 476890"/>
              <a:gd name="connsiteY7" fmla="*/ 272523 h 285088"/>
              <a:gd name="connsiteX8" fmla="*/ 296582 w 476890"/>
              <a:gd name="connsiteY8" fmla="*/ 271713 h 285088"/>
              <a:gd name="connsiteX9" fmla="*/ 294616 w 476890"/>
              <a:gd name="connsiteY9" fmla="*/ 254360 h 285088"/>
              <a:gd name="connsiteX10" fmla="*/ 271478 w 476890"/>
              <a:gd name="connsiteY10" fmla="*/ 246667 h 285088"/>
              <a:gd name="connsiteX11" fmla="*/ 270842 w 476890"/>
              <a:gd name="connsiteY11" fmla="*/ 246667 h 285088"/>
              <a:gd name="connsiteX12" fmla="*/ 257943 w 476890"/>
              <a:gd name="connsiteY12" fmla="*/ 238568 h 285088"/>
              <a:gd name="connsiteX13" fmla="*/ 242672 w 476890"/>
              <a:gd name="connsiteY13" fmla="*/ 227983 h 285088"/>
              <a:gd name="connsiteX14" fmla="*/ 210568 w 476890"/>
              <a:gd name="connsiteY14" fmla="*/ 209010 h 285088"/>
              <a:gd name="connsiteX15" fmla="*/ 196107 w 476890"/>
              <a:gd name="connsiteY15" fmla="*/ 198482 h 285088"/>
              <a:gd name="connsiteX16" fmla="*/ 183034 w 476890"/>
              <a:gd name="connsiteY16" fmla="*/ 188649 h 285088"/>
              <a:gd name="connsiteX17" fmla="*/ 183034 w 476890"/>
              <a:gd name="connsiteY17" fmla="*/ 188070 h 285088"/>
              <a:gd name="connsiteX18" fmla="*/ 171465 w 476890"/>
              <a:gd name="connsiteY18" fmla="*/ 166263 h 285088"/>
              <a:gd name="connsiteX19" fmla="*/ 166375 w 476890"/>
              <a:gd name="connsiteY19" fmla="*/ 156372 h 285088"/>
              <a:gd name="connsiteX20" fmla="*/ 160590 w 476890"/>
              <a:gd name="connsiteY20" fmla="*/ 148910 h 285088"/>
              <a:gd name="connsiteX21" fmla="*/ 151162 w 476890"/>
              <a:gd name="connsiteY21" fmla="*/ 148505 h 285088"/>
              <a:gd name="connsiteX22" fmla="*/ 119232 w 476890"/>
              <a:gd name="connsiteY22" fmla="*/ 142720 h 285088"/>
              <a:gd name="connsiteX23" fmla="*/ 110440 w 476890"/>
              <a:gd name="connsiteY23" fmla="*/ 114724 h 285088"/>
              <a:gd name="connsiteX24" fmla="*/ 107316 w 476890"/>
              <a:gd name="connsiteY24" fmla="*/ 114087 h 285088"/>
              <a:gd name="connsiteX25" fmla="*/ 88922 w 476890"/>
              <a:gd name="connsiteY25" fmla="*/ 107204 h 285088"/>
              <a:gd name="connsiteX26" fmla="*/ 74171 w 476890"/>
              <a:gd name="connsiteY26" fmla="*/ 100957 h 285088"/>
              <a:gd name="connsiteX27" fmla="*/ 71337 w 476890"/>
              <a:gd name="connsiteY27" fmla="*/ 101940 h 285088"/>
              <a:gd name="connsiteX28" fmla="*/ 59074 w 476890"/>
              <a:gd name="connsiteY28" fmla="*/ 108129 h 285088"/>
              <a:gd name="connsiteX29" fmla="*/ 58264 w 476890"/>
              <a:gd name="connsiteY29" fmla="*/ 110501 h 285088"/>
              <a:gd name="connsiteX30" fmla="*/ 49240 w 476890"/>
              <a:gd name="connsiteY30" fmla="*/ 118599 h 285088"/>
              <a:gd name="connsiteX31" fmla="*/ 48431 w 476890"/>
              <a:gd name="connsiteY31" fmla="*/ 118599 h 285088"/>
              <a:gd name="connsiteX32" fmla="*/ 31077 w 476890"/>
              <a:gd name="connsiteY32" fmla="*/ 132077 h 285088"/>
              <a:gd name="connsiteX33" fmla="*/ 31077 w 476890"/>
              <a:gd name="connsiteY33" fmla="*/ 133234 h 285088"/>
              <a:gd name="connsiteX34" fmla="*/ 28474 w 476890"/>
              <a:gd name="connsiteY34" fmla="*/ 143877 h 285088"/>
              <a:gd name="connsiteX35" fmla="*/ 20145 w 476890"/>
              <a:gd name="connsiteY35" fmla="*/ 146133 h 285088"/>
              <a:gd name="connsiteX36" fmla="*/ 536 w 476890"/>
              <a:gd name="connsiteY36" fmla="*/ 141448 h 285088"/>
              <a:gd name="connsiteX37" fmla="*/ 15 w 476890"/>
              <a:gd name="connsiteY37" fmla="*/ 139892 h 285088"/>
              <a:gd name="connsiteX38" fmla="*/ 188 w 476890"/>
              <a:gd name="connsiteY38" fmla="*/ 139655 h 285088"/>
              <a:gd name="connsiteX39" fmla="*/ 3428 w 476890"/>
              <a:gd name="connsiteY39" fmla="*/ 19396 h 285088"/>
              <a:gd name="connsiteX40" fmla="*/ 4296 w 476890"/>
              <a:gd name="connsiteY40" fmla="*/ 18297 h 285088"/>
              <a:gd name="connsiteX41" fmla="*/ 73361 w 476890"/>
              <a:gd name="connsiteY41" fmla="*/ -97 h 285088"/>
              <a:gd name="connsiteX42" fmla="*/ 74519 w 476890"/>
              <a:gd name="connsiteY42" fmla="*/ 250 h 285088"/>
              <a:gd name="connsiteX43" fmla="*/ 74519 w 476890"/>
              <a:gd name="connsiteY43" fmla="*/ 1407 h 285088"/>
              <a:gd name="connsiteX44" fmla="*/ 74865 w 476890"/>
              <a:gd name="connsiteY44" fmla="*/ 40857 h 285088"/>
              <a:gd name="connsiteX45" fmla="*/ 77063 w 476890"/>
              <a:gd name="connsiteY45" fmla="*/ 42187 h 285088"/>
              <a:gd name="connsiteX46" fmla="*/ 80939 w 476890"/>
              <a:gd name="connsiteY46" fmla="*/ 24487 h 285088"/>
              <a:gd name="connsiteX47" fmla="*/ 88748 w 476890"/>
              <a:gd name="connsiteY47" fmla="*/ 2506 h 285088"/>
              <a:gd name="connsiteX48" fmla="*/ 95053 w 476890"/>
              <a:gd name="connsiteY48" fmla="*/ 5861 h 285088"/>
              <a:gd name="connsiteX49" fmla="*/ 92971 w 476890"/>
              <a:gd name="connsiteY49" fmla="*/ 42823 h 285088"/>
              <a:gd name="connsiteX50" fmla="*/ 92971 w 476890"/>
              <a:gd name="connsiteY50" fmla="*/ 53177 h 285088"/>
              <a:gd name="connsiteX51" fmla="*/ 101069 w 476890"/>
              <a:gd name="connsiteY51" fmla="*/ 56417 h 285088"/>
              <a:gd name="connsiteX52" fmla="*/ 124207 w 476890"/>
              <a:gd name="connsiteY52" fmla="*/ 47219 h 285088"/>
              <a:gd name="connsiteX53" fmla="*/ 131842 w 476890"/>
              <a:gd name="connsiteY53" fmla="*/ 35998 h 285088"/>
              <a:gd name="connsiteX54" fmla="*/ 132594 w 476890"/>
              <a:gd name="connsiteY54" fmla="*/ 35246 h 285088"/>
              <a:gd name="connsiteX55" fmla="*/ 133635 w 476890"/>
              <a:gd name="connsiteY55" fmla="*/ 35246 h 285088"/>
              <a:gd name="connsiteX56" fmla="*/ 165970 w 476890"/>
              <a:gd name="connsiteY56" fmla="*/ 70646 h 285088"/>
              <a:gd name="connsiteX57" fmla="*/ 170193 w 476890"/>
              <a:gd name="connsiteY57" fmla="*/ 71977 h 285088"/>
              <a:gd name="connsiteX58" fmla="*/ 185695 w 476890"/>
              <a:gd name="connsiteY58" fmla="*/ 69547 h 285088"/>
              <a:gd name="connsiteX59" fmla="*/ 200908 w 476890"/>
              <a:gd name="connsiteY59" fmla="*/ 67812 h 285088"/>
              <a:gd name="connsiteX60" fmla="*/ 255513 w 476890"/>
              <a:gd name="connsiteY60" fmla="*/ 69837 h 285088"/>
              <a:gd name="connsiteX61" fmla="*/ 267082 w 476890"/>
              <a:gd name="connsiteY61" fmla="*/ 77819 h 285088"/>
              <a:gd name="connsiteX62" fmla="*/ 277494 w 476890"/>
              <a:gd name="connsiteY62" fmla="*/ 86033 h 285088"/>
              <a:gd name="connsiteX63" fmla="*/ 284551 w 476890"/>
              <a:gd name="connsiteY63" fmla="*/ 104659 h 285088"/>
              <a:gd name="connsiteX64" fmla="*/ 284551 w 476890"/>
              <a:gd name="connsiteY64" fmla="*/ 112931 h 285088"/>
              <a:gd name="connsiteX65" fmla="*/ 292244 w 476890"/>
              <a:gd name="connsiteY65" fmla="*/ 127276 h 285088"/>
              <a:gd name="connsiteX66" fmla="*/ 299648 w 476890"/>
              <a:gd name="connsiteY66" fmla="*/ 140985 h 285088"/>
              <a:gd name="connsiteX67" fmla="*/ 312143 w 476890"/>
              <a:gd name="connsiteY67" fmla="*/ 145728 h 285088"/>
              <a:gd name="connsiteX68" fmla="*/ 312953 w 476890"/>
              <a:gd name="connsiteY68" fmla="*/ 145728 h 285088"/>
              <a:gd name="connsiteX69" fmla="*/ 322554 w 476890"/>
              <a:gd name="connsiteY69" fmla="*/ 146480 h 285088"/>
              <a:gd name="connsiteX70" fmla="*/ 346039 w 476890"/>
              <a:gd name="connsiteY70" fmla="*/ 161462 h 285088"/>
              <a:gd name="connsiteX71" fmla="*/ 348700 w 476890"/>
              <a:gd name="connsiteY71" fmla="*/ 164643 h 285088"/>
              <a:gd name="connsiteX72" fmla="*/ 348700 w 476890"/>
              <a:gd name="connsiteY72" fmla="*/ 164643 h 285088"/>
              <a:gd name="connsiteX73" fmla="*/ 356740 w 476890"/>
              <a:gd name="connsiteY73" fmla="*/ 157066 h 285088"/>
              <a:gd name="connsiteX74" fmla="*/ 385663 w 476890"/>
              <a:gd name="connsiteY74" fmla="*/ 134680 h 285088"/>
              <a:gd name="connsiteX75" fmla="*/ 396885 w 476890"/>
              <a:gd name="connsiteY75" fmla="*/ 132135 h 285088"/>
              <a:gd name="connsiteX76" fmla="*/ 411635 w 476890"/>
              <a:gd name="connsiteY76" fmla="*/ 141101 h 285088"/>
              <a:gd name="connsiteX77" fmla="*/ 412850 w 476890"/>
              <a:gd name="connsiteY77" fmla="*/ 142547 h 285088"/>
              <a:gd name="connsiteX78" fmla="*/ 422857 w 476890"/>
              <a:gd name="connsiteY78" fmla="*/ 146480 h 285088"/>
              <a:gd name="connsiteX79" fmla="*/ 432458 w 476890"/>
              <a:gd name="connsiteY79" fmla="*/ 141853 h 285088"/>
              <a:gd name="connsiteX80" fmla="*/ 436682 w 476890"/>
              <a:gd name="connsiteY80" fmla="*/ 139308 h 285088"/>
              <a:gd name="connsiteX81" fmla="*/ 471966 w 476890"/>
              <a:gd name="connsiteY81" fmla="*/ 158570 h 285088"/>
              <a:gd name="connsiteX82" fmla="*/ 476709 w 476890"/>
              <a:gd name="connsiteY82" fmla="*/ 165106 h 285088"/>
              <a:gd name="connsiteX83" fmla="*/ 471446 w 476890"/>
              <a:gd name="connsiteY83" fmla="*/ 167767 h 285088"/>
              <a:gd name="connsiteX84" fmla="*/ 460398 w 476890"/>
              <a:gd name="connsiteY84" fmla="*/ 173956 h 285088"/>
              <a:gd name="connsiteX85" fmla="*/ 450391 w 476890"/>
              <a:gd name="connsiteY85" fmla="*/ 179741 h 285088"/>
              <a:gd name="connsiteX86" fmla="*/ 450391 w 476890"/>
              <a:gd name="connsiteY86" fmla="*/ 179741 h 285088"/>
              <a:gd name="connsiteX87" fmla="*/ 442639 w 476890"/>
              <a:gd name="connsiteY87" fmla="*/ 178815 h 285088"/>
              <a:gd name="connsiteX88" fmla="*/ 434310 w 476890"/>
              <a:gd name="connsiteY88" fmla="*/ 178815 h 285088"/>
              <a:gd name="connsiteX89" fmla="*/ 402033 w 476890"/>
              <a:gd name="connsiteY89" fmla="*/ 184600 h 285088"/>
              <a:gd name="connsiteX90" fmla="*/ 401049 w 476890"/>
              <a:gd name="connsiteY90" fmla="*/ 184021 h 285088"/>
              <a:gd name="connsiteX91" fmla="*/ 401049 w 476890"/>
              <a:gd name="connsiteY91" fmla="*/ 182864 h 285088"/>
              <a:gd name="connsiteX92" fmla="*/ 410710 w 476890"/>
              <a:gd name="connsiteY92" fmla="*/ 161635 h 285088"/>
              <a:gd name="connsiteX93" fmla="*/ 393761 w 476890"/>
              <a:gd name="connsiteY93" fmla="*/ 166032 h 285088"/>
              <a:gd name="connsiteX94" fmla="*/ 386241 w 476890"/>
              <a:gd name="connsiteY94" fmla="*/ 167998 h 285088"/>
              <a:gd name="connsiteX95" fmla="*/ 382018 w 476890"/>
              <a:gd name="connsiteY95" fmla="*/ 167998 h 285088"/>
              <a:gd name="connsiteX96" fmla="*/ 378374 w 476890"/>
              <a:gd name="connsiteY96" fmla="*/ 167998 h 285088"/>
              <a:gd name="connsiteX97" fmla="*/ 373168 w 476890"/>
              <a:gd name="connsiteY97" fmla="*/ 170659 h 285088"/>
              <a:gd name="connsiteX98" fmla="*/ 359170 w 476890"/>
              <a:gd name="connsiteY98" fmla="*/ 185988 h 285088"/>
              <a:gd name="connsiteX99" fmla="*/ 355815 w 476890"/>
              <a:gd name="connsiteY99" fmla="*/ 191772 h 285088"/>
              <a:gd name="connsiteX100" fmla="*/ 350782 w 476890"/>
              <a:gd name="connsiteY100" fmla="*/ 201432 h 285088"/>
              <a:gd name="connsiteX101" fmla="*/ 340371 w 476890"/>
              <a:gd name="connsiteY101" fmla="*/ 203920 h 285088"/>
              <a:gd name="connsiteX102" fmla="*/ 325562 w 476890"/>
              <a:gd name="connsiteY102" fmla="*/ 210340 h 285088"/>
              <a:gd name="connsiteX103" fmla="*/ 332966 w 476890"/>
              <a:gd name="connsiteY103" fmla="*/ 218670 h 285088"/>
              <a:gd name="connsiteX104" fmla="*/ 342569 w 476890"/>
              <a:gd name="connsiteY104" fmla="*/ 231280 h 285088"/>
              <a:gd name="connsiteX105" fmla="*/ 345403 w 476890"/>
              <a:gd name="connsiteY105" fmla="*/ 242213 h 285088"/>
              <a:gd name="connsiteX106" fmla="*/ 345403 w 476890"/>
              <a:gd name="connsiteY106" fmla="*/ 256211 h 285088"/>
              <a:gd name="connsiteX107" fmla="*/ 334528 w 476890"/>
              <a:gd name="connsiteY107" fmla="*/ 283456 h 285088"/>
              <a:gd name="connsiteX108" fmla="*/ 334528 w 476890"/>
              <a:gd name="connsiteY108" fmla="*/ 283860 h 285088"/>
              <a:gd name="connsiteX109" fmla="*/ 333429 w 476890"/>
              <a:gd name="connsiteY109" fmla="*/ 284960 h 285088"/>
              <a:gd name="connsiteX110" fmla="*/ 303698 w 476890"/>
              <a:gd name="connsiteY110" fmla="*/ 268994 h 285088"/>
              <a:gd name="connsiteX111" fmla="*/ 314514 w 476890"/>
              <a:gd name="connsiteY111" fmla="*/ 273449 h 285088"/>
              <a:gd name="connsiteX112" fmla="*/ 322728 w 476890"/>
              <a:gd name="connsiteY112" fmla="*/ 277151 h 285088"/>
              <a:gd name="connsiteX113" fmla="*/ 332504 w 476890"/>
              <a:gd name="connsiteY113" fmla="*/ 281258 h 285088"/>
              <a:gd name="connsiteX114" fmla="*/ 344073 w 476890"/>
              <a:gd name="connsiteY114" fmla="*/ 253955 h 285088"/>
              <a:gd name="connsiteX115" fmla="*/ 343437 w 476890"/>
              <a:gd name="connsiteY115" fmla="*/ 242733 h 285088"/>
              <a:gd name="connsiteX116" fmla="*/ 340429 w 476890"/>
              <a:gd name="connsiteY116" fmla="*/ 230412 h 285088"/>
              <a:gd name="connsiteX117" fmla="*/ 331810 w 476890"/>
              <a:gd name="connsiteY117" fmla="*/ 220058 h 285088"/>
              <a:gd name="connsiteX118" fmla="*/ 323480 w 476890"/>
              <a:gd name="connsiteY118" fmla="*/ 209415 h 285088"/>
              <a:gd name="connsiteX119" fmla="*/ 340139 w 476890"/>
              <a:gd name="connsiteY119" fmla="*/ 201259 h 285088"/>
              <a:gd name="connsiteX120" fmla="*/ 349973 w 476890"/>
              <a:gd name="connsiteY120" fmla="*/ 198887 h 285088"/>
              <a:gd name="connsiteX121" fmla="*/ 353732 w 476890"/>
              <a:gd name="connsiteY121" fmla="*/ 191078 h 285088"/>
              <a:gd name="connsiteX122" fmla="*/ 359517 w 476890"/>
              <a:gd name="connsiteY122" fmla="*/ 183443 h 285088"/>
              <a:gd name="connsiteX123" fmla="*/ 371086 w 476890"/>
              <a:gd name="connsiteY123" fmla="*/ 169676 h 285088"/>
              <a:gd name="connsiteX124" fmla="*/ 378432 w 476890"/>
              <a:gd name="connsiteY124" fmla="*/ 165453 h 285088"/>
              <a:gd name="connsiteX125" fmla="*/ 382250 w 476890"/>
              <a:gd name="connsiteY125" fmla="*/ 165453 h 285088"/>
              <a:gd name="connsiteX126" fmla="*/ 386299 w 476890"/>
              <a:gd name="connsiteY126" fmla="*/ 165453 h 285088"/>
              <a:gd name="connsiteX127" fmla="*/ 392488 w 476890"/>
              <a:gd name="connsiteY127" fmla="*/ 163834 h 285088"/>
              <a:gd name="connsiteX128" fmla="*/ 407586 w 476890"/>
              <a:gd name="connsiteY128" fmla="*/ 157702 h 285088"/>
              <a:gd name="connsiteX129" fmla="*/ 412734 w 476890"/>
              <a:gd name="connsiteY129" fmla="*/ 160132 h 285088"/>
              <a:gd name="connsiteX130" fmla="*/ 404173 w 476890"/>
              <a:gd name="connsiteY130" fmla="*/ 181939 h 285088"/>
              <a:gd name="connsiteX131" fmla="*/ 433095 w 476890"/>
              <a:gd name="connsiteY131" fmla="*/ 176733 h 285088"/>
              <a:gd name="connsiteX132" fmla="*/ 443391 w 476890"/>
              <a:gd name="connsiteY132" fmla="*/ 176097 h 285088"/>
              <a:gd name="connsiteX133" fmla="*/ 450737 w 476890"/>
              <a:gd name="connsiteY133" fmla="*/ 177022 h 285088"/>
              <a:gd name="connsiteX134" fmla="*/ 450737 w 476890"/>
              <a:gd name="connsiteY134" fmla="*/ 177022 h 285088"/>
              <a:gd name="connsiteX135" fmla="*/ 458720 w 476890"/>
              <a:gd name="connsiteY135" fmla="*/ 172684 h 285088"/>
              <a:gd name="connsiteX136" fmla="*/ 471388 w 476890"/>
              <a:gd name="connsiteY136" fmla="*/ 165280 h 285088"/>
              <a:gd name="connsiteX137" fmla="*/ 474859 w 476890"/>
              <a:gd name="connsiteY137" fmla="*/ 164239 h 285088"/>
              <a:gd name="connsiteX138" fmla="*/ 470867 w 476890"/>
              <a:gd name="connsiteY138" fmla="*/ 160016 h 285088"/>
              <a:gd name="connsiteX139" fmla="*/ 437028 w 476890"/>
              <a:gd name="connsiteY139" fmla="*/ 141332 h 285088"/>
              <a:gd name="connsiteX140" fmla="*/ 434946 w 476890"/>
              <a:gd name="connsiteY140" fmla="*/ 142258 h 285088"/>
              <a:gd name="connsiteX141" fmla="*/ 423377 w 476890"/>
              <a:gd name="connsiteY141" fmla="*/ 148447 h 285088"/>
              <a:gd name="connsiteX142" fmla="*/ 411808 w 476890"/>
              <a:gd name="connsiteY142" fmla="*/ 143704 h 285088"/>
              <a:gd name="connsiteX143" fmla="*/ 410594 w 476890"/>
              <a:gd name="connsiteY143" fmla="*/ 142200 h 285088"/>
              <a:gd name="connsiteX144" fmla="*/ 397579 w 476890"/>
              <a:gd name="connsiteY144" fmla="*/ 134102 h 285088"/>
              <a:gd name="connsiteX145" fmla="*/ 387167 w 476890"/>
              <a:gd name="connsiteY145" fmla="*/ 136473 h 285088"/>
              <a:gd name="connsiteX146" fmla="*/ 359806 w 476890"/>
              <a:gd name="connsiteY146" fmla="*/ 157181 h 285088"/>
              <a:gd name="connsiteX147" fmla="*/ 349568 w 476890"/>
              <a:gd name="connsiteY147" fmla="*/ 166610 h 285088"/>
              <a:gd name="connsiteX148" fmla="*/ 344651 w 476890"/>
              <a:gd name="connsiteY148" fmla="*/ 161462 h 285088"/>
              <a:gd name="connsiteX149" fmla="*/ 322902 w 476890"/>
              <a:gd name="connsiteY149" fmla="*/ 148389 h 285088"/>
              <a:gd name="connsiteX150" fmla="*/ 313820 w 476890"/>
              <a:gd name="connsiteY150" fmla="*/ 147695 h 285088"/>
              <a:gd name="connsiteX151" fmla="*/ 313010 w 476890"/>
              <a:gd name="connsiteY151" fmla="*/ 147695 h 285088"/>
              <a:gd name="connsiteX152" fmla="*/ 298260 w 476890"/>
              <a:gd name="connsiteY152" fmla="*/ 140985 h 285088"/>
              <a:gd name="connsiteX153" fmla="*/ 291319 w 476890"/>
              <a:gd name="connsiteY153" fmla="*/ 128317 h 285088"/>
              <a:gd name="connsiteX154" fmla="*/ 283163 w 476890"/>
              <a:gd name="connsiteY154" fmla="*/ 112873 h 285088"/>
              <a:gd name="connsiteX155" fmla="*/ 283163 w 476890"/>
              <a:gd name="connsiteY155" fmla="*/ 104370 h 285088"/>
              <a:gd name="connsiteX156" fmla="*/ 277783 w 476890"/>
              <a:gd name="connsiteY156" fmla="*/ 87942 h 285088"/>
              <a:gd name="connsiteX157" fmla="*/ 266214 w 476890"/>
              <a:gd name="connsiteY157" fmla="*/ 79034 h 285088"/>
              <a:gd name="connsiteX158" fmla="*/ 256439 w 476890"/>
              <a:gd name="connsiteY158" fmla="*/ 71803 h 285088"/>
              <a:gd name="connsiteX159" fmla="*/ 201024 w 476890"/>
              <a:gd name="connsiteY159" fmla="*/ 69605 h 285088"/>
              <a:gd name="connsiteX160" fmla="*/ 199404 w 476890"/>
              <a:gd name="connsiteY160" fmla="*/ 69605 h 285088"/>
              <a:gd name="connsiteX161" fmla="*/ 187083 w 476890"/>
              <a:gd name="connsiteY161" fmla="*/ 71630 h 285088"/>
              <a:gd name="connsiteX162" fmla="*/ 171118 w 476890"/>
              <a:gd name="connsiteY162" fmla="*/ 74117 h 285088"/>
              <a:gd name="connsiteX163" fmla="*/ 171118 w 476890"/>
              <a:gd name="connsiteY163" fmla="*/ 74117 h 285088"/>
              <a:gd name="connsiteX164" fmla="*/ 164756 w 476890"/>
              <a:gd name="connsiteY164" fmla="*/ 71225 h 285088"/>
              <a:gd name="connsiteX165" fmla="*/ 134503 w 476890"/>
              <a:gd name="connsiteY165" fmla="*/ 37964 h 285088"/>
              <a:gd name="connsiteX166" fmla="*/ 126463 w 476890"/>
              <a:gd name="connsiteY166" fmla="*/ 48723 h 285088"/>
              <a:gd name="connsiteX167" fmla="*/ 101879 w 476890"/>
              <a:gd name="connsiteY167" fmla="*/ 58441 h 285088"/>
              <a:gd name="connsiteX168" fmla="*/ 91524 w 476890"/>
              <a:gd name="connsiteY168" fmla="*/ 54681 h 285088"/>
              <a:gd name="connsiteX169" fmla="*/ 91524 w 476890"/>
              <a:gd name="connsiteY169" fmla="*/ 42245 h 285088"/>
              <a:gd name="connsiteX170" fmla="*/ 93838 w 476890"/>
              <a:gd name="connsiteY170" fmla="*/ 7538 h 285088"/>
              <a:gd name="connsiteX171" fmla="*/ 89384 w 476890"/>
              <a:gd name="connsiteY171" fmla="*/ 5167 h 285088"/>
              <a:gd name="connsiteX172" fmla="*/ 83600 w 476890"/>
              <a:gd name="connsiteY172" fmla="*/ 25007 h 285088"/>
              <a:gd name="connsiteX173" fmla="*/ 78162 w 476890"/>
              <a:gd name="connsiteY173" fmla="*/ 44732 h 285088"/>
              <a:gd name="connsiteX174" fmla="*/ 73361 w 476890"/>
              <a:gd name="connsiteY174" fmla="*/ 42534 h 285088"/>
              <a:gd name="connsiteX175" fmla="*/ 72089 w 476890"/>
              <a:gd name="connsiteY175" fmla="*/ 3084 h 285088"/>
              <a:gd name="connsiteX176" fmla="*/ 5915 w 476890"/>
              <a:gd name="connsiteY176" fmla="*/ 20438 h 285088"/>
              <a:gd name="connsiteX177" fmla="*/ 2676 w 476890"/>
              <a:gd name="connsiteY177" fmla="*/ 140060 h 285088"/>
              <a:gd name="connsiteX178" fmla="*/ 20549 w 476890"/>
              <a:gd name="connsiteY178" fmla="*/ 144051 h 285088"/>
              <a:gd name="connsiteX179" fmla="*/ 27086 w 476890"/>
              <a:gd name="connsiteY179" fmla="*/ 142431 h 285088"/>
              <a:gd name="connsiteX180" fmla="*/ 29052 w 476890"/>
              <a:gd name="connsiteY180" fmla="*/ 133407 h 285088"/>
              <a:gd name="connsiteX181" fmla="*/ 29052 w 476890"/>
              <a:gd name="connsiteY181" fmla="*/ 132251 h 285088"/>
              <a:gd name="connsiteX182" fmla="*/ 49645 w 476890"/>
              <a:gd name="connsiteY182" fmla="*/ 116575 h 285088"/>
              <a:gd name="connsiteX183" fmla="*/ 56297 w 476890"/>
              <a:gd name="connsiteY183" fmla="*/ 110038 h 285088"/>
              <a:gd name="connsiteX184" fmla="*/ 59248 w 476890"/>
              <a:gd name="connsiteY184" fmla="*/ 106105 h 285088"/>
              <a:gd name="connsiteX185" fmla="*/ 69543 w 476890"/>
              <a:gd name="connsiteY185" fmla="*/ 101015 h 285088"/>
              <a:gd name="connsiteX186" fmla="*/ 74345 w 476890"/>
              <a:gd name="connsiteY186" fmla="*/ 98932 h 285088"/>
              <a:gd name="connsiteX187" fmla="*/ 90772 w 476890"/>
              <a:gd name="connsiteY187" fmla="*/ 105642 h 285088"/>
              <a:gd name="connsiteX188" fmla="*/ 108126 w 476890"/>
              <a:gd name="connsiteY188" fmla="*/ 111889 h 285088"/>
              <a:gd name="connsiteX189" fmla="*/ 111250 w 476890"/>
              <a:gd name="connsiteY189" fmla="*/ 112584 h 285088"/>
              <a:gd name="connsiteX190" fmla="*/ 121777 w 476890"/>
              <a:gd name="connsiteY190" fmla="*/ 142778 h 285088"/>
              <a:gd name="connsiteX191" fmla="*/ 151509 w 476890"/>
              <a:gd name="connsiteY191" fmla="*/ 146075 h 285088"/>
              <a:gd name="connsiteX192" fmla="*/ 161227 w 476890"/>
              <a:gd name="connsiteY192" fmla="*/ 146538 h 285088"/>
              <a:gd name="connsiteX193" fmla="*/ 168458 w 476890"/>
              <a:gd name="connsiteY193" fmla="*/ 155388 h 285088"/>
              <a:gd name="connsiteX194" fmla="*/ 173258 w 476890"/>
              <a:gd name="connsiteY194" fmla="*/ 164701 h 285088"/>
              <a:gd name="connsiteX195" fmla="*/ 185290 w 476890"/>
              <a:gd name="connsiteY195" fmla="*/ 187029 h 285088"/>
              <a:gd name="connsiteX196" fmla="*/ 185290 w 476890"/>
              <a:gd name="connsiteY196" fmla="*/ 187550 h 285088"/>
              <a:gd name="connsiteX197" fmla="*/ 197380 w 476890"/>
              <a:gd name="connsiteY197" fmla="*/ 196342 h 285088"/>
              <a:gd name="connsiteX198" fmla="*/ 212650 w 476890"/>
              <a:gd name="connsiteY198" fmla="*/ 207564 h 285088"/>
              <a:gd name="connsiteX199" fmla="*/ 243597 w 476890"/>
              <a:gd name="connsiteY199" fmla="*/ 225669 h 285088"/>
              <a:gd name="connsiteX200" fmla="*/ 259562 w 476890"/>
              <a:gd name="connsiteY200" fmla="*/ 236717 h 285088"/>
              <a:gd name="connsiteX201" fmla="*/ 271131 w 476890"/>
              <a:gd name="connsiteY201" fmla="*/ 244237 h 285088"/>
              <a:gd name="connsiteX202" fmla="*/ 272462 w 476890"/>
              <a:gd name="connsiteY202" fmla="*/ 244237 h 285088"/>
              <a:gd name="connsiteX203" fmla="*/ 296293 w 476890"/>
              <a:gd name="connsiteY203" fmla="*/ 252451 h 285088"/>
              <a:gd name="connsiteX204" fmla="*/ 296930 w 476890"/>
              <a:gd name="connsiteY204" fmla="*/ 253319 h 285088"/>
              <a:gd name="connsiteX205" fmla="*/ 298896 w 476890"/>
              <a:gd name="connsiteY205" fmla="*/ 270151 h 285088"/>
              <a:gd name="connsiteX206" fmla="*/ 299938 w 476890"/>
              <a:gd name="connsiteY206" fmla="*/ 270151 h 285088"/>
              <a:gd name="connsiteX207" fmla="*/ 303698 w 476890"/>
              <a:gd name="connsiteY207" fmla="*/ 268994 h 28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476890" h="285088">
                <a:moveTo>
                  <a:pt x="333661" y="284497"/>
                </a:moveTo>
                <a:cubicBezTo>
                  <a:pt x="333429" y="284555"/>
                  <a:pt x="333256" y="284555"/>
                  <a:pt x="333024" y="284497"/>
                </a:cubicBezTo>
                <a:lnTo>
                  <a:pt x="332504" y="284150"/>
                </a:lnTo>
                <a:cubicBezTo>
                  <a:pt x="329670" y="281859"/>
                  <a:pt x="326314" y="280291"/>
                  <a:pt x="322728" y="279580"/>
                </a:cubicBezTo>
                <a:cubicBezTo>
                  <a:pt x="319257" y="279192"/>
                  <a:pt x="315961" y="277787"/>
                  <a:pt x="313241" y="275531"/>
                </a:cubicBezTo>
                <a:cubicBezTo>
                  <a:pt x="309829" y="272297"/>
                  <a:pt x="305028" y="270955"/>
                  <a:pt x="300458" y="271945"/>
                </a:cubicBezTo>
                <a:cubicBezTo>
                  <a:pt x="299648" y="272211"/>
                  <a:pt x="298780" y="272407"/>
                  <a:pt x="297913" y="272523"/>
                </a:cubicBezTo>
                <a:cubicBezTo>
                  <a:pt x="297624" y="272633"/>
                  <a:pt x="297334" y="272633"/>
                  <a:pt x="297045" y="272523"/>
                </a:cubicBezTo>
                <a:cubicBezTo>
                  <a:pt x="296814" y="272303"/>
                  <a:pt x="296640" y="272020"/>
                  <a:pt x="296582" y="271713"/>
                </a:cubicBezTo>
                <a:lnTo>
                  <a:pt x="294616" y="254360"/>
                </a:lnTo>
                <a:cubicBezTo>
                  <a:pt x="291608" y="252914"/>
                  <a:pt x="277262" y="246146"/>
                  <a:pt x="271478" y="246667"/>
                </a:cubicBezTo>
                <a:lnTo>
                  <a:pt x="270842" y="246667"/>
                </a:lnTo>
                <a:cubicBezTo>
                  <a:pt x="267140" y="246667"/>
                  <a:pt x="262859" y="242907"/>
                  <a:pt x="257943" y="238568"/>
                </a:cubicBezTo>
                <a:cubicBezTo>
                  <a:pt x="253488" y="234195"/>
                  <a:pt x="248340" y="230615"/>
                  <a:pt x="242672" y="227983"/>
                </a:cubicBezTo>
                <a:cubicBezTo>
                  <a:pt x="230409" y="223645"/>
                  <a:pt x="215485" y="216414"/>
                  <a:pt x="210568" y="209010"/>
                </a:cubicBezTo>
                <a:cubicBezTo>
                  <a:pt x="206461" y="204637"/>
                  <a:pt x="201544" y="201068"/>
                  <a:pt x="196107" y="198482"/>
                </a:cubicBezTo>
                <a:cubicBezTo>
                  <a:pt x="189802" y="194896"/>
                  <a:pt x="184538" y="191772"/>
                  <a:pt x="183034" y="188649"/>
                </a:cubicBezTo>
                <a:lnTo>
                  <a:pt x="183034" y="188070"/>
                </a:lnTo>
                <a:cubicBezTo>
                  <a:pt x="180084" y="180354"/>
                  <a:pt x="176209" y="173031"/>
                  <a:pt x="171465" y="166263"/>
                </a:cubicBezTo>
                <a:cubicBezTo>
                  <a:pt x="169267" y="163238"/>
                  <a:pt x="167590" y="159906"/>
                  <a:pt x="166375" y="156372"/>
                </a:cubicBezTo>
                <a:cubicBezTo>
                  <a:pt x="164640" y="151976"/>
                  <a:pt x="163425" y="149257"/>
                  <a:pt x="160590" y="148910"/>
                </a:cubicBezTo>
                <a:cubicBezTo>
                  <a:pt x="159144" y="148910"/>
                  <a:pt x="155443" y="148620"/>
                  <a:pt x="151162" y="148505"/>
                </a:cubicBezTo>
                <a:cubicBezTo>
                  <a:pt x="129528" y="147868"/>
                  <a:pt x="119232" y="146885"/>
                  <a:pt x="119232" y="142720"/>
                </a:cubicBezTo>
                <a:cubicBezTo>
                  <a:pt x="119232" y="136647"/>
                  <a:pt x="116513" y="116054"/>
                  <a:pt x="110440" y="114724"/>
                </a:cubicBezTo>
                <a:lnTo>
                  <a:pt x="107316" y="114087"/>
                </a:lnTo>
                <a:cubicBezTo>
                  <a:pt x="100722" y="113324"/>
                  <a:pt x="94417" y="110958"/>
                  <a:pt x="88922" y="107204"/>
                </a:cubicBezTo>
                <a:cubicBezTo>
                  <a:pt x="84756" y="103635"/>
                  <a:pt x="79608" y="101448"/>
                  <a:pt x="74171" y="100957"/>
                </a:cubicBezTo>
                <a:cubicBezTo>
                  <a:pt x="73130" y="100957"/>
                  <a:pt x="71799" y="100957"/>
                  <a:pt x="71337" y="101940"/>
                </a:cubicBezTo>
                <a:cubicBezTo>
                  <a:pt x="68387" y="105706"/>
                  <a:pt x="63875" y="107973"/>
                  <a:pt x="59074" y="108129"/>
                </a:cubicBezTo>
                <a:cubicBezTo>
                  <a:pt x="59074" y="108129"/>
                  <a:pt x="58554" y="109576"/>
                  <a:pt x="58264" y="110501"/>
                </a:cubicBezTo>
                <a:cubicBezTo>
                  <a:pt x="57165" y="113914"/>
                  <a:pt x="55430" y="119294"/>
                  <a:pt x="49240" y="118599"/>
                </a:cubicBezTo>
                <a:lnTo>
                  <a:pt x="48431" y="118599"/>
                </a:lnTo>
                <a:cubicBezTo>
                  <a:pt x="41142" y="118599"/>
                  <a:pt x="31077" y="127218"/>
                  <a:pt x="31077" y="132077"/>
                </a:cubicBezTo>
                <a:lnTo>
                  <a:pt x="31077" y="133234"/>
                </a:lnTo>
                <a:cubicBezTo>
                  <a:pt x="31598" y="136982"/>
                  <a:pt x="30672" y="140788"/>
                  <a:pt x="28474" y="143877"/>
                </a:cubicBezTo>
                <a:cubicBezTo>
                  <a:pt x="26160" y="145832"/>
                  <a:pt x="23095" y="146660"/>
                  <a:pt x="20145" y="146133"/>
                </a:cubicBezTo>
                <a:cubicBezTo>
                  <a:pt x="13377" y="145792"/>
                  <a:pt x="6725" y="144201"/>
                  <a:pt x="536" y="141448"/>
                </a:cubicBezTo>
                <a:cubicBezTo>
                  <a:pt x="-43" y="141159"/>
                  <a:pt x="-274" y="140464"/>
                  <a:pt x="15" y="139892"/>
                </a:cubicBezTo>
                <a:cubicBezTo>
                  <a:pt x="72" y="139805"/>
                  <a:pt x="130" y="139730"/>
                  <a:pt x="188" y="139655"/>
                </a:cubicBezTo>
                <a:lnTo>
                  <a:pt x="3428" y="19396"/>
                </a:lnTo>
                <a:cubicBezTo>
                  <a:pt x="3428" y="18870"/>
                  <a:pt x="3774" y="18407"/>
                  <a:pt x="4296" y="18297"/>
                </a:cubicBezTo>
                <a:lnTo>
                  <a:pt x="73361" y="-97"/>
                </a:lnTo>
                <a:cubicBezTo>
                  <a:pt x="73767" y="-195"/>
                  <a:pt x="74229" y="-62"/>
                  <a:pt x="74519" y="250"/>
                </a:cubicBezTo>
                <a:cubicBezTo>
                  <a:pt x="74749" y="603"/>
                  <a:pt x="74749" y="1054"/>
                  <a:pt x="74519" y="1407"/>
                </a:cubicBezTo>
                <a:cubicBezTo>
                  <a:pt x="69833" y="13380"/>
                  <a:pt x="70701" y="34783"/>
                  <a:pt x="74865" y="40857"/>
                </a:cubicBezTo>
                <a:cubicBezTo>
                  <a:pt x="75617" y="41956"/>
                  <a:pt x="76311" y="42418"/>
                  <a:pt x="77063" y="42187"/>
                </a:cubicBezTo>
                <a:cubicBezTo>
                  <a:pt x="80071" y="41261"/>
                  <a:pt x="80534" y="32354"/>
                  <a:pt x="80939" y="24487"/>
                </a:cubicBezTo>
                <a:cubicBezTo>
                  <a:pt x="81460" y="13728"/>
                  <a:pt x="82038" y="2506"/>
                  <a:pt x="88748" y="2506"/>
                </a:cubicBezTo>
                <a:cubicBezTo>
                  <a:pt x="91293" y="2488"/>
                  <a:pt x="93665" y="3750"/>
                  <a:pt x="95053" y="5861"/>
                </a:cubicBezTo>
                <a:cubicBezTo>
                  <a:pt x="99970" y="12918"/>
                  <a:pt x="97713" y="29808"/>
                  <a:pt x="92971" y="42823"/>
                </a:cubicBezTo>
                <a:cubicBezTo>
                  <a:pt x="91351" y="46080"/>
                  <a:pt x="91351" y="49921"/>
                  <a:pt x="92971" y="53177"/>
                </a:cubicBezTo>
                <a:cubicBezTo>
                  <a:pt x="94937" y="55532"/>
                  <a:pt x="98003" y="56746"/>
                  <a:pt x="101069" y="56417"/>
                </a:cubicBezTo>
                <a:cubicBezTo>
                  <a:pt x="109514" y="55694"/>
                  <a:pt x="117554" y="52495"/>
                  <a:pt x="124207" y="47219"/>
                </a:cubicBezTo>
                <a:cubicBezTo>
                  <a:pt x="128025" y="44536"/>
                  <a:pt x="130743" y="40544"/>
                  <a:pt x="131842" y="35998"/>
                </a:cubicBezTo>
                <a:cubicBezTo>
                  <a:pt x="131958" y="35645"/>
                  <a:pt x="132247" y="35367"/>
                  <a:pt x="132594" y="35246"/>
                </a:cubicBezTo>
                <a:cubicBezTo>
                  <a:pt x="132941" y="35072"/>
                  <a:pt x="133288" y="35072"/>
                  <a:pt x="133635" y="35246"/>
                </a:cubicBezTo>
                <a:cubicBezTo>
                  <a:pt x="144568" y="44154"/>
                  <a:pt x="164119" y="65093"/>
                  <a:pt x="165970" y="70646"/>
                </a:cubicBezTo>
                <a:cubicBezTo>
                  <a:pt x="166375" y="71746"/>
                  <a:pt x="168458" y="71977"/>
                  <a:pt x="170193" y="71977"/>
                </a:cubicBezTo>
                <a:cubicBezTo>
                  <a:pt x="175399" y="71618"/>
                  <a:pt x="180605" y="70803"/>
                  <a:pt x="185695" y="69547"/>
                </a:cubicBezTo>
                <a:cubicBezTo>
                  <a:pt x="190612" y="67974"/>
                  <a:pt x="195760" y="67384"/>
                  <a:pt x="200908" y="67812"/>
                </a:cubicBezTo>
                <a:cubicBezTo>
                  <a:pt x="204205" y="69142"/>
                  <a:pt x="224046" y="69837"/>
                  <a:pt x="255513" y="69837"/>
                </a:cubicBezTo>
                <a:cubicBezTo>
                  <a:pt x="259909" y="69837"/>
                  <a:pt x="263322" y="73712"/>
                  <a:pt x="267082" y="77819"/>
                </a:cubicBezTo>
                <a:cubicBezTo>
                  <a:pt x="269685" y="81481"/>
                  <a:pt x="273329" y="84327"/>
                  <a:pt x="277494" y="86033"/>
                </a:cubicBezTo>
                <a:cubicBezTo>
                  <a:pt x="284667" y="87884"/>
                  <a:pt x="284609" y="96387"/>
                  <a:pt x="284551" y="104659"/>
                </a:cubicBezTo>
                <a:cubicBezTo>
                  <a:pt x="284377" y="107412"/>
                  <a:pt x="284377" y="110177"/>
                  <a:pt x="284551" y="112931"/>
                </a:cubicBezTo>
                <a:cubicBezTo>
                  <a:pt x="285939" y="118264"/>
                  <a:pt x="288542" y="123186"/>
                  <a:pt x="292244" y="127276"/>
                </a:cubicBezTo>
                <a:cubicBezTo>
                  <a:pt x="295773" y="131192"/>
                  <a:pt x="298318" y="135895"/>
                  <a:pt x="299648" y="140985"/>
                </a:cubicBezTo>
                <a:cubicBezTo>
                  <a:pt x="300226" y="145439"/>
                  <a:pt x="304970" y="145728"/>
                  <a:pt x="312143" y="145728"/>
                </a:cubicBezTo>
                <a:lnTo>
                  <a:pt x="312953" y="145728"/>
                </a:lnTo>
                <a:cubicBezTo>
                  <a:pt x="316191" y="145601"/>
                  <a:pt x="319373" y="145856"/>
                  <a:pt x="322554" y="146480"/>
                </a:cubicBezTo>
                <a:cubicBezTo>
                  <a:pt x="331462" y="148736"/>
                  <a:pt x="344825" y="152265"/>
                  <a:pt x="346039" y="161462"/>
                </a:cubicBezTo>
                <a:cubicBezTo>
                  <a:pt x="346444" y="164586"/>
                  <a:pt x="348122" y="164643"/>
                  <a:pt x="348700" y="164643"/>
                </a:cubicBezTo>
                <a:lnTo>
                  <a:pt x="348700" y="164643"/>
                </a:lnTo>
                <a:cubicBezTo>
                  <a:pt x="352634" y="163920"/>
                  <a:pt x="355757" y="160953"/>
                  <a:pt x="356740" y="157066"/>
                </a:cubicBezTo>
                <a:cubicBezTo>
                  <a:pt x="357898" y="149951"/>
                  <a:pt x="369177" y="141159"/>
                  <a:pt x="385663" y="134680"/>
                </a:cubicBezTo>
                <a:cubicBezTo>
                  <a:pt x="389191" y="133118"/>
                  <a:pt x="393009" y="132256"/>
                  <a:pt x="396885" y="132135"/>
                </a:cubicBezTo>
                <a:cubicBezTo>
                  <a:pt x="403016" y="132412"/>
                  <a:pt x="408569" y="135797"/>
                  <a:pt x="411635" y="141101"/>
                </a:cubicBezTo>
                <a:lnTo>
                  <a:pt x="412850" y="142547"/>
                </a:lnTo>
                <a:cubicBezTo>
                  <a:pt x="415452" y="145260"/>
                  <a:pt x="419097" y="146694"/>
                  <a:pt x="422857" y="146480"/>
                </a:cubicBezTo>
                <a:cubicBezTo>
                  <a:pt x="426674" y="146972"/>
                  <a:pt x="430434" y="145156"/>
                  <a:pt x="432458" y="141853"/>
                </a:cubicBezTo>
                <a:cubicBezTo>
                  <a:pt x="433095" y="140106"/>
                  <a:pt x="434830" y="139036"/>
                  <a:pt x="436682" y="139308"/>
                </a:cubicBezTo>
                <a:cubicBezTo>
                  <a:pt x="444606" y="139308"/>
                  <a:pt x="462306" y="150472"/>
                  <a:pt x="471966" y="158570"/>
                </a:cubicBezTo>
                <a:cubicBezTo>
                  <a:pt x="475842" y="161751"/>
                  <a:pt x="477115" y="163544"/>
                  <a:pt x="476709" y="165106"/>
                </a:cubicBezTo>
                <a:cubicBezTo>
                  <a:pt x="476305" y="166668"/>
                  <a:pt x="474165" y="167246"/>
                  <a:pt x="471446" y="167767"/>
                </a:cubicBezTo>
                <a:cubicBezTo>
                  <a:pt x="466992" y="167998"/>
                  <a:pt x="462942" y="170283"/>
                  <a:pt x="460398" y="173956"/>
                </a:cubicBezTo>
                <a:cubicBezTo>
                  <a:pt x="458604" y="177774"/>
                  <a:pt x="454613" y="180076"/>
                  <a:pt x="450391" y="179741"/>
                </a:cubicBezTo>
                <a:lnTo>
                  <a:pt x="450391" y="179741"/>
                </a:lnTo>
                <a:cubicBezTo>
                  <a:pt x="447787" y="179660"/>
                  <a:pt x="445185" y="179353"/>
                  <a:pt x="442639" y="178815"/>
                </a:cubicBezTo>
                <a:cubicBezTo>
                  <a:pt x="438880" y="178063"/>
                  <a:pt x="435466" y="177658"/>
                  <a:pt x="434310" y="178815"/>
                </a:cubicBezTo>
                <a:cubicBezTo>
                  <a:pt x="430550" y="182633"/>
                  <a:pt x="412502" y="184600"/>
                  <a:pt x="402033" y="184600"/>
                </a:cubicBezTo>
                <a:cubicBezTo>
                  <a:pt x="401628" y="184594"/>
                  <a:pt x="401281" y="184374"/>
                  <a:pt x="401049" y="184021"/>
                </a:cubicBezTo>
                <a:cubicBezTo>
                  <a:pt x="400818" y="183668"/>
                  <a:pt x="400818" y="183217"/>
                  <a:pt x="401049" y="182864"/>
                </a:cubicBezTo>
                <a:cubicBezTo>
                  <a:pt x="410073" y="168403"/>
                  <a:pt x="411346" y="162735"/>
                  <a:pt x="410710" y="161635"/>
                </a:cubicBezTo>
                <a:cubicBezTo>
                  <a:pt x="409032" y="158801"/>
                  <a:pt x="400124" y="161231"/>
                  <a:pt x="393761" y="166032"/>
                </a:cubicBezTo>
                <a:cubicBezTo>
                  <a:pt x="391505" y="167472"/>
                  <a:pt x="388902" y="168160"/>
                  <a:pt x="386241" y="167998"/>
                </a:cubicBezTo>
                <a:lnTo>
                  <a:pt x="382018" y="167998"/>
                </a:lnTo>
                <a:cubicBezTo>
                  <a:pt x="380746" y="167998"/>
                  <a:pt x="379531" y="167998"/>
                  <a:pt x="378374" y="167998"/>
                </a:cubicBezTo>
                <a:cubicBezTo>
                  <a:pt x="375251" y="167998"/>
                  <a:pt x="373805" y="168750"/>
                  <a:pt x="373168" y="170659"/>
                </a:cubicBezTo>
                <a:cubicBezTo>
                  <a:pt x="370507" y="178642"/>
                  <a:pt x="366979" y="185988"/>
                  <a:pt x="359170" y="185988"/>
                </a:cubicBezTo>
                <a:cubicBezTo>
                  <a:pt x="356740" y="185988"/>
                  <a:pt x="356336" y="187550"/>
                  <a:pt x="355815" y="191772"/>
                </a:cubicBezTo>
                <a:cubicBezTo>
                  <a:pt x="355294" y="195995"/>
                  <a:pt x="354948" y="199581"/>
                  <a:pt x="350782" y="201432"/>
                </a:cubicBezTo>
                <a:cubicBezTo>
                  <a:pt x="347428" y="202653"/>
                  <a:pt x="343899" y="203486"/>
                  <a:pt x="340371" y="203920"/>
                </a:cubicBezTo>
                <a:cubicBezTo>
                  <a:pt x="333834" y="205077"/>
                  <a:pt x="326430" y="206349"/>
                  <a:pt x="325562" y="210340"/>
                </a:cubicBezTo>
                <a:cubicBezTo>
                  <a:pt x="324926" y="213059"/>
                  <a:pt x="328860" y="215778"/>
                  <a:pt x="332966" y="218670"/>
                </a:cubicBezTo>
                <a:cubicBezTo>
                  <a:pt x="337073" y="221562"/>
                  <a:pt x="343495" y="225958"/>
                  <a:pt x="342569" y="231280"/>
                </a:cubicBezTo>
                <a:cubicBezTo>
                  <a:pt x="342395" y="235127"/>
                  <a:pt x="343379" y="238939"/>
                  <a:pt x="345403" y="242213"/>
                </a:cubicBezTo>
                <a:cubicBezTo>
                  <a:pt x="347717" y="247245"/>
                  <a:pt x="350146" y="252451"/>
                  <a:pt x="345403" y="256211"/>
                </a:cubicBezTo>
                <a:cubicBezTo>
                  <a:pt x="340660" y="259971"/>
                  <a:pt x="333834" y="267028"/>
                  <a:pt x="334528" y="283456"/>
                </a:cubicBezTo>
                <a:cubicBezTo>
                  <a:pt x="334586" y="283589"/>
                  <a:pt x="334586" y="283727"/>
                  <a:pt x="334528" y="283860"/>
                </a:cubicBezTo>
                <a:cubicBezTo>
                  <a:pt x="334528" y="284468"/>
                  <a:pt x="334008" y="284960"/>
                  <a:pt x="333429" y="284960"/>
                </a:cubicBezTo>
                <a:close/>
                <a:moveTo>
                  <a:pt x="303698" y="268994"/>
                </a:moveTo>
                <a:cubicBezTo>
                  <a:pt x="307689" y="269330"/>
                  <a:pt x="311449" y="270886"/>
                  <a:pt x="314514" y="273449"/>
                </a:cubicBezTo>
                <a:cubicBezTo>
                  <a:pt x="316828" y="275462"/>
                  <a:pt x="319662" y="276751"/>
                  <a:pt x="322728" y="277151"/>
                </a:cubicBezTo>
                <a:cubicBezTo>
                  <a:pt x="326314" y="277642"/>
                  <a:pt x="329670" y="279059"/>
                  <a:pt x="332504" y="281258"/>
                </a:cubicBezTo>
                <a:cubicBezTo>
                  <a:pt x="331636" y="270805"/>
                  <a:pt x="335974" y="260590"/>
                  <a:pt x="344073" y="253955"/>
                </a:cubicBezTo>
                <a:cubicBezTo>
                  <a:pt x="347312" y="251468"/>
                  <a:pt x="345924" y="248171"/>
                  <a:pt x="343437" y="242733"/>
                </a:cubicBezTo>
                <a:cubicBezTo>
                  <a:pt x="341239" y="239014"/>
                  <a:pt x="340197" y="234728"/>
                  <a:pt x="340429" y="230412"/>
                </a:cubicBezTo>
                <a:cubicBezTo>
                  <a:pt x="341123" y="226537"/>
                  <a:pt x="336379" y="223240"/>
                  <a:pt x="331810" y="220058"/>
                </a:cubicBezTo>
                <a:cubicBezTo>
                  <a:pt x="327240" y="216877"/>
                  <a:pt x="322554" y="213580"/>
                  <a:pt x="323480" y="209415"/>
                </a:cubicBezTo>
                <a:cubicBezTo>
                  <a:pt x="324695" y="203920"/>
                  <a:pt x="332504" y="202589"/>
                  <a:pt x="340139" y="201259"/>
                </a:cubicBezTo>
                <a:cubicBezTo>
                  <a:pt x="343495" y="200848"/>
                  <a:pt x="346791" y="200056"/>
                  <a:pt x="349973" y="198887"/>
                </a:cubicBezTo>
                <a:cubicBezTo>
                  <a:pt x="352980" y="197557"/>
                  <a:pt x="353328" y="194433"/>
                  <a:pt x="353732" y="191078"/>
                </a:cubicBezTo>
                <a:cubicBezTo>
                  <a:pt x="354138" y="187723"/>
                  <a:pt x="354600" y="183443"/>
                  <a:pt x="359517" y="183443"/>
                </a:cubicBezTo>
                <a:cubicBezTo>
                  <a:pt x="365301" y="183443"/>
                  <a:pt x="368599" y="177948"/>
                  <a:pt x="371086" y="169676"/>
                </a:cubicBezTo>
                <a:cubicBezTo>
                  <a:pt x="372185" y="166691"/>
                  <a:pt x="375309" y="164915"/>
                  <a:pt x="378432" y="165453"/>
                </a:cubicBezTo>
                <a:cubicBezTo>
                  <a:pt x="379647" y="165453"/>
                  <a:pt x="380920" y="165453"/>
                  <a:pt x="382250" y="165453"/>
                </a:cubicBezTo>
                <a:cubicBezTo>
                  <a:pt x="383580" y="165453"/>
                  <a:pt x="384968" y="165453"/>
                  <a:pt x="386299" y="165453"/>
                </a:cubicBezTo>
                <a:cubicBezTo>
                  <a:pt x="388497" y="165615"/>
                  <a:pt x="390637" y="165043"/>
                  <a:pt x="392488" y="163834"/>
                </a:cubicBezTo>
                <a:cubicBezTo>
                  <a:pt x="396827" y="160386"/>
                  <a:pt x="402090" y="158257"/>
                  <a:pt x="407586" y="157702"/>
                </a:cubicBezTo>
                <a:cubicBezTo>
                  <a:pt x="409610" y="157552"/>
                  <a:pt x="411577" y="158477"/>
                  <a:pt x="412734" y="160132"/>
                </a:cubicBezTo>
                <a:cubicBezTo>
                  <a:pt x="413312" y="161115"/>
                  <a:pt x="415048" y="164007"/>
                  <a:pt x="404173" y="181939"/>
                </a:cubicBezTo>
                <a:cubicBezTo>
                  <a:pt x="416320" y="181418"/>
                  <a:pt x="430203" y="179278"/>
                  <a:pt x="433095" y="176733"/>
                </a:cubicBezTo>
                <a:cubicBezTo>
                  <a:pt x="435987" y="174188"/>
                  <a:pt x="438880" y="175287"/>
                  <a:pt x="443391" y="176097"/>
                </a:cubicBezTo>
                <a:cubicBezTo>
                  <a:pt x="445821" y="176623"/>
                  <a:pt x="448250" y="176935"/>
                  <a:pt x="450737" y="177022"/>
                </a:cubicBezTo>
                <a:lnTo>
                  <a:pt x="450737" y="177022"/>
                </a:lnTo>
                <a:cubicBezTo>
                  <a:pt x="454035" y="177433"/>
                  <a:pt x="457274" y="175686"/>
                  <a:pt x="458720" y="172684"/>
                </a:cubicBezTo>
                <a:cubicBezTo>
                  <a:pt x="461496" y="168328"/>
                  <a:pt x="466240" y="165575"/>
                  <a:pt x="471388" y="165280"/>
                </a:cubicBezTo>
                <a:cubicBezTo>
                  <a:pt x="472603" y="165141"/>
                  <a:pt x="473759" y="164788"/>
                  <a:pt x="474859" y="164239"/>
                </a:cubicBezTo>
                <a:cubicBezTo>
                  <a:pt x="474859" y="164239"/>
                  <a:pt x="474859" y="163197"/>
                  <a:pt x="470867" y="160016"/>
                </a:cubicBezTo>
                <a:cubicBezTo>
                  <a:pt x="460224" y="151166"/>
                  <a:pt x="443681" y="141332"/>
                  <a:pt x="437028" y="141332"/>
                </a:cubicBezTo>
                <a:cubicBezTo>
                  <a:pt x="435293" y="141332"/>
                  <a:pt x="435062" y="141968"/>
                  <a:pt x="434946" y="142258"/>
                </a:cubicBezTo>
                <a:cubicBezTo>
                  <a:pt x="432690" y="146440"/>
                  <a:pt x="428120" y="148869"/>
                  <a:pt x="423377" y="148447"/>
                </a:cubicBezTo>
                <a:cubicBezTo>
                  <a:pt x="419039" y="148597"/>
                  <a:pt x="414816" y="146868"/>
                  <a:pt x="411808" y="143704"/>
                </a:cubicBezTo>
                <a:lnTo>
                  <a:pt x="410594" y="142200"/>
                </a:lnTo>
                <a:cubicBezTo>
                  <a:pt x="407875" y="137480"/>
                  <a:pt x="403016" y="134437"/>
                  <a:pt x="397579" y="134102"/>
                </a:cubicBezTo>
                <a:cubicBezTo>
                  <a:pt x="393992" y="134229"/>
                  <a:pt x="390464" y="135033"/>
                  <a:pt x="387167" y="136473"/>
                </a:cubicBezTo>
                <a:cubicBezTo>
                  <a:pt x="372127" y="142258"/>
                  <a:pt x="360848" y="150992"/>
                  <a:pt x="359806" y="157181"/>
                </a:cubicBezTo>
                <a:cubicBezTo>
                  <a:pt x="358707" y="162174"/>
                  <a:pt x="354600" y="165945"/>
                  <a:pt x="349568" y="166610"/>
                </a:cubicBezTo>
                <a:cubicBezTo>
                  <a:pt x="348295" y="166610"/>
                  <a:pt x="345229" y="166090"/>
                  <a:pt x="344651" y="161462"/>
                </a:cubicBezTo>
                <a:cubicBezTo>
                  <a:pt x="343668" y="153595"/>
                  <a:pt x="331174" y="150472"/>
                  <a:pt x="322902" y="148389"/>
                </a:cubicBezTo>
                <a:cubicBezTo>
                  <a:pt x="319894" y="147811"/>
                  <a:pt x="316886" y="147579"/>
                  <a:pt x="313820" y="147695"/>
                </a:cubicBezTo>
                <a:lnTo>
                  <a:pt x="313010" y="147695"/>
                </a:lnTo>
                <a:cubicBezTo>
                  <a:pt x="306532" y="147695"/>
                  <a:pt x="299128" y="147695"/>
                  <a:pt x="298260" y="140985"/>
                </a:cubicBezTo>
                <a:cubicBezTo>
                  <a:pt x="296930" y="136288"/>
                  <a:pt x="294558" y="131956"/>
                  <a:pt x="291319" y="128317"/>
                </a:cubicBezTo>
                <a:cubicBezTo>
                  <a:pt x="287385" y="123921"/>
                  <a:pt x="284551" y="118617"/>
                  <a:pt x="283163" y="112873"/>
                </a:cubicBezTo>
                <a:cubicBezTo>
                  <a:pt x="282989" y="110038"/>
                  <a:pt x="282989" y="107204"/>
                  <a:pt x="283163" y="104370"/>
                </a:cubicBezTo>
                <a:cubicBezTo>
                  <a:pt x="283163" y="96619"/>
                  <a:pt x="283163" y="89330"/>
                  <a:pt x="277783" y="87942"/>
                </a:cubicBezTo>
                <a:cubicBezTo>
                  <a:pt x="273156" y="86166"/>
                  <a:pt x="269106" y="83066"/>
                  <a:pt x="266214" y="79034"/>
                </a:cubicBezTo>
                <a:cubicBezTo>
                  <a:pt x="262917" y="75332"/>
                  <a:pt x="259793" y="71803"/>
                  <a:pt x="256439" y="71803"/>
                </a:cubicBezTo>
                <a:cubicBezTo>
                  <a:pt x="237813" y="71803"/>
                  <a:pt x="205883" y="71514"/>
                  <a:pt x="201024" y="69605"/>
                </a:cubicBezTo>
                <a:cubicBezTo>
                  <a:pt x="200503" y="69536"/>
                  <a:pt x="199925" y="69536"/>
                  <a:pt x="199404" y="69605"/>
                </a:cubicBezTo>
                <a:cubicBezTo>
                  <a:pt x="195240" y="69935"/>
                  <a:pt x="191132" y="70612"/>
                  <a:pt x="187083" y="71630"/>
                </a:cubicBezTo>
                <a:cubicBezTo>
                  <a:pt x="181819" y="72943"/>
                  <a:pt x="176497" y="73776"/>
                  <a:pt x="171118" y="74117"/>
                </a:cubicBezTo>
                <a:lnTo>
                  <a:pt x="171118" y="74117"/>
                </a:lnTo>
                <a:cubicBezTo>
                  <a:pt x="169730" y="74117"/>
                  <a:pt x="165738" y="74117"/>
                  <a:pt x="164756" y="71225"/>
                </a:cubicBezTo>
                <a:cubicBezTo>
                  <a:pt x="163252" y="66713"/>
                  <a:pt x="145725" y="47566"/>
                  <a:pt x="134503" y="37964"/>
                </a:cubicBezTo>
                <a:cubicBezTo>
                  <a:pt x="133057" y="42314"/>
                  <a:pt x="130222" y="46086"/>
                  <a:pt x="126463" y="48723"/>
                </a:cubicBezTo>
                <a:cubicBezTo>
                  <a:pt x="119405" y="54346"/>
                  <a:pt x="110844" y="57730"/>
                  <a:pt x="101879" y="58441"/>
                </a:cubicBezTo>
                <a:cubicBezTo>
                  <a:pt x="98003" y="59020"/>
                  <a:pt x="94127" y="57603"/>
                  <a:pt x="91524" y="54681"/>
                </a:cubicBezTo>
                <a:cubicBezTo>
                  <a:pt x="89442" y="50800"/>
                  <a:pt x="89442" y="46126"/>
                  <a:pt x="91524" y="42245"/>
                </a:cubicBezTo>
                <a:cubicBezTo>
                  <a:pt x="96731" y="27899"/>
                  <a:pt x="97713" y="12918"/>
                  <a:pt x="93838" y="7538"/>
                </a:cubicBezTo>
                <a:cubicBezTo>
                  <a:pt x="92855" y="6052"/>
                  <a:pt x="91177" y="5161"/>
                  <a:pt x="89384" y="5167"/>
                </a:cubicBezTo>
                <a:cubicBezTo>
                  <a:pt x="84814" y="5167"/>
                  <a:pt x="84294" y="15752"/>
                  <a:pt x="83600" y="25007"/>
                </a:cubicBezTo>
                <a:cubicBezTo>
                  <a:pt x="82906" y="34262"/>
                  <a:pt x="82674" y="43402"/>
                  <a:pt x="78162" y="44732"/>
                </a:cubicBezTo>
                <a:cubicBezTo>
                  <a:pt x="76253" y="45212"/>
                  <a:pt x="74229" y="44298"/>
                  <a:pt x="73361" y="42534"/>
                </a:cubicBezTo>
                <a:cubicBezTo>
                  <a:pt x="69023" y="36171"/>
                  <a:pt x="67577" y="16215"/>
                  <a:pt x="72089" y="3084"/>
                </a:cubicBezTo>
                <a:lnTo>
                  <a:pt x="5915" y="20438"/>
                </a:lnTo>
                <a:lnTo>
                  <a:pt x="2676" y="140060"/>
                </a:lnTo>
                <a:cubicBezTo>
                  <a:pt x="8344" y="142368"/>
                  <a:pt x="14418" y="143715"/>
                  <a:pt x="20549" y="144051"/>
                </a:cubicBezTo>
                <a:cubicBezTo>
                  <a:pt x="22863" y="144485"/>
                  <a:pt x="25235" y="143895"/>
                  <a:pt x="27086" y="142431"/>
                </a:cubicBezTo>
                <a:cubicBezTo>
                  <a:pt x="28821" y="139765"/>
                  <a:pt x="29516" y="136554"/>
                  <a:pt x="29052" y="133407"/>
                </a:cubicBezTo>
                <a:lnTo>
                  <a:pt x="29052" y="132251"/>
                </a:lnTo>
                <a:cubicBezTo>
                  <a:pt x="29052" y="126003"/>
                  <a:pt x="40621" y="115649"/>
                  <a:pt x="49645" y="116575"/>
                </a:cubicBezTo>
                <a:cubicBezTo>
                  <a:pt x="53752" y="116980"/>
                  <a:pt x="55024" y="114030"/>
                  <a:pt x="56297" y="110038"/>
                </a:cubicBezTo>
                <a:cubicBezTo>
                  <a:pt x="56992" y="107898"/>
                  <a:pt x="57570" y="106105"/>
                  <a:pt x="59248" y="106105"/>
                </a:cubicBezTo>
                <a:cubicBezTo>
                  <a:pt x="63239" y="105931"/>
                  <a:pt x="66999" y="104080"/>
                  <a:pt x="69543" y="101015"/>
                </a:cubicBezTo>
                <a:cubicBezTo>
                  <a:pt x="70643" y="99476"/>
                  <a:pt x="72493" y="98672"/>
                  <a:pt x="74345" y="98932"/>
                </a:cubicBezTo>
                <a:cubicBezTo>
                  <a:pt x="80360" y="99395"/>
                  <a:pt x="86145" y="101738"/>
                  <a:pt x="90772" y="105642"/>
                </a:cubicBezTo>
                <a:cubicBezTo>
                  <a:pt x="95979" y="109096"/>
                  <a:pt x="101937" y="111236"/>
                  <a:pt x="108126" y="111889"/>
                </a:cubicBezTo>
                <a:lnTo>
                  <a:pt x="111250" y="112584"/>
                </a:lnTo>
                <a:cubicBezTo>
                  <a:pt x="119810" y="114492"/>
                  <a:pt x="121777" y="139134"/>
                  <a:pt x="121777" y="142778"/>
                </a:cubicBezTo>
                <a:cubicBezTo>
                  <a:pt x="122876" y="145266"/>
                  <a:pt x="143642" y="145844"/>
                  <a:pt x="151509" y="146075"/>
                </a:cubicBezTo>
                <a:cubicBezTo>
                  <a:pt x="156021" y="146075"/>
                  <a:pt x="159607" y="146075"/>
                  <a:pt x="161227" y="146538"/>
                </a:cubicBezTo>
                <a:cubicBezTo>
                  <a:pt x="165160" y="147059"/>
                  <a:pt x="166664" y="150934"/>
                  <a:pt x="168458" y="155388"/>
                </a:cubicBezTo>
                <a:cubicBezTo>
                  <a:pt x="169614" y="158697"/>
                  <a:pt x="171234" y="161832"/>
                  <a:pt x="173258" y="164701"/>
                </a:cubicBezTo>
                <a:cubicBezTo>
                  <a:pt x="178175" y="171631"/>
                  <a:pt x="182225" y="179128"/>
                  <a:pt x="185290" y="187029"/>
                </a:cubicBezTo>
                <a:lnTo>
                  <a:pt x="185290" y="187550"/>
                </a:lnTo>
                <a:cubicBezTo>
                  <a:pt x="188645" y="191298"/>
                  <a:pt x="192752" y="194294"/>
                  <a:pt x="197380" y="196342"/>
                </a:cubicBezTo>
                <a:cubicBezTo>
                  <a:pt x="203106" y="199095"/>
                  <a:pt x="208312" y="202902"/>
                  <a:pt x="212650" y="207564"/>
                </a:cubicBezTo>
                <a:cubicBezTo>
                  <a:pt x="217278" y="214447"/>
                  <a:pt x="232201" y="221620"/>
                  <a:pt x="243597" y="225669"/>
                </a:cubicBezTo>
                <a:cubicBezTo>
                  <a:pt x="249555" y="228382"/>
                  <a:pt x="254935" y="232125"/>
                  <a:pt x="259562" y="236717"/>
                </a:cubicBezTo>
                <a:cubicBezTo>
                  <a:pt x="264016" y="240593"/>
                  <a:pt x="268181" y="244237"/>
                  <a:pt x="271131" y="244237"/>
                </a:cubicBezTo>
                <a:lnTo>
                  <a:pt x="272462" y="244237"/>
                </a:lnTo>
                <a:cubicBezTo>
                  <a:pt x="280791" y="245747"/>
                  <a:pt x="288831" y="248518"/>
                  <a:pt x="296293" y="252451"/>
                </a:cubicBezTo>
                <a:cubicBezTo>
                  <a:pt x="296640" y="252625"/>
                  <a:pt x="296872" y="252949"/>
                  <a:pt x="296930" y="253319"/>
                </a:cubicBezTo>
                <a:lnTo>
                  <a:pt x="298896" y="270151"/>
                </a:lnTo>
                <a:lnTo>
                  <a:pt x="299938" y="270151"/>
                </a:lnTo>
                <a:cubicBezTo>
                  <a:pt x="301152" y="269579"/>
                  <a:pt x="302367" y="269185"/>
                  <a:pt x="303698" y="26899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3" name="Forma libre: forma 412">
            <a:extLst>
              <a:ext uri="{FF2B5EF4-FFF2-40B4-BE49-F238E27FC236}">
                <a16:creationId xmlns:a16="http://schemas.microsoft.com/office/drawing/2014/main" id="{B919A1CC-4C47-09BB-7CAA-E67B9B6497F4}"/>
              </a:ext>
            </a:extLst>
          </p:cNvPr>
          <p:cNvSpPr/>
          <p:nvPr/>
        </p:nvSpPr>
        <p:spPr>
          <a:xfrm>
            <a:off x="6325074" y="1552644"/>
            <a:ext cx="704517" cy="1117121"/>
          </a:xfrm>
          <a:custGeom>
            <a:avLst/>
            <a:gdLst>
              <a:gd name="connsiteX0" fmla="*/ 72284 w 704517"/>
              <a:gd name="connsiteY0" fmla="*/ 1116992 h 1117121"/>
              <a:gd name="connsiteX1" fmla="*/ 52906 w 704517"/>
              <a:gd name="connsiteY1" fmla="*/ 1111208 h 1117121"/>
              <a:gd name="connsiteX2" fmla="*/ 45502 w 704517"/>
              <a:gd name="connsiteY2" fmla="*/ 1107969 h 1117121"/>
              <a:gd name="connsiteX3" fmla="*/ 15654 w 704517"/>
              <a:gd name="connsiteY3" fmla="*/ 1088359 h 1117121"/>
              <a:gd name="connsiteX4" fmla="*/ 16175 w 704517"/>
              <a:gd name="connsiteY4" fmla="*/ 1083558 h 1117121"/>
              <a:gd name="connsiteX5" fmla="*/ 24273 w 704517"/>
              <a:gd name="connsiteY5" fmla="*/ 1079625 h 1117121"/>
              <a:gd name="connsiteX6" fmla="*/ 27281 w 704517"/>
              <a:gd name="connsiteY6" fmla="*/ 1075749 h 1117121"/>
              <a:gd name="connsiteX7" fmla="*/ 33066 w 704517"/>
              <a:gd name="connsiteY7" fmla="*/ 1068230 h 1117121"/>
              <a:gd name="connsiteX8" fmla="*/ 34859 w 704517"/>
              <a:gd name="connsiteY8" fmla="*/ 1067304 h 1117121"/>
              <a:gd name="connsiteX9" fmla="*/ 34454 w 704517"/>
              <a:gd name="connsiteY9" fmla="*/ 1065280 h 1117121"/>
              <a:gd name="connsiteX10" fmla="*/ 27917 w 704517"/>
              <a:gd name="connsiteY10" fmla="*/ 1059958 h 1117121"/>
              <a:gd name="connsiteX11" fmla="*/ 22133 w 704517"/>
              <a:gd name="connsiteY11" fmla="*/ 1063833 h 1117121"/>
              <a:gd name="connsiteX12" fmla="*/ 10564 w 704517"/>
              <a:gd name="connsiteY12" fmla="*/ 1070312 h 1117121"/>
              <a:gd name="connsiteX13" fmla="*/ 4780 w 704517"/>
              <a:gd name="connsiteY13" fmla="*/ 1065280 h 1117121"/>
              <a:gd name="connsiteX14" fmla="*/ 7094 w 704517"/>
              <a:gd name="connsiteY14" fmla="*/ 1058627 h 1117121"/>
              <a:gd name="connsiteX15" fmla="*/ 7094 w 704517"/>
              <a:gd name="connsiteY15" fmla="*/ 1049893 h 1117121"/>
              <a:gd name="connsiteX16" fmla="*/ 6284 w 704517"/>
              <a:gd name="connsiteY16" fmla="*/ 1042836 h 1117121"/>
              <a:gd name="connsiteX17" fmla="*/ 14787 w 704517"/>
              <a:gd name="connsiteY17" fmla="*/ 1036473 h 1117121"/>
              <a:gd name="connsiteX18" fmla="*/ 17332 w 704517"/>
              <a:gd name="connsiteY18" fmla="*/ 1037514 h 1117121"/>
              <a:gd name="connsiteX19" fmla="*/ 18431 w 704517"/>
              <a:gd name="connsiteY19" fmla="*/ 1041101 h 1117121"/>
              <a:gd name="connsiteX20" fmla="*/ 19993 w 704517"/>
              <a:gd name="connsiteY20" fmla="*/ 1045612 h 1117121"/>
              <a:gd name="connsiteX21" fmla="*/ 24273 w 704517"/>
              <a:gd name="connsiteY21" fmla="*/ 1047463 h 1117121"/>
              <a:gd name="connsiteX22" fmla="*/ 26702 w 704517"/>
              <a:gd name="connsiteY22" fmla="*/ 1046538 h 1117121"/>
              <a:gd name="connsiteX23" fmla="*/ 27050 w 704517"/>
              <a:gd name="connsiteY23" fmla="*/ 1044109 h 1117121"/>
              <a:gd name="connsiteX24" fmla="*/ 28843 w 704517"/>
              <a:gd name="connsiteY24" fmla="*/ 1036647 h 1117121"/>
              <a:gd name="connsiteX25" fmla="*/ 42378 w 704517"/>
              <a:gd name="connsiteY25" fmla="*/ 1031441 h 1117121"/>
              <a:gd name="connsiteX26" fmla="*/ 42378 w 704517"/>
              <a:gd name="connsiteY26" fmla="*/ 1031441 h 1117121"/>
              <a:gd name="connsiteX27" fmla="*/ 45213 w 704517"/>
              <a:gd name="connsiteY27" fmla="*/ 1027854 h 1117121"/>
              <a:gd name="connsiteX28" fmla="*/ 41973 w 704517"/>
              <a:gd name="connsiteY28" fmla="*/ 1023053 h 1117121"/>
              <a:gd name="connsiteX29" fmla="*/ 38271 w 704517"/>
              <a:gd name="connsiteY29" fmla="*/ 1024904 h 1117121"/>
              <a:gd name="connsiteX30" fmla="*/ 21959 w 704517"/>
              <a:gd name="connsiteY30" fmla="*/ 1035432 h 1117121"/>
              <a:gd name="connsiteX31" fmla="*/ 16696 w 704517"/>
              <a:gd name="connsiteY31" fmla="*/ 1032135 h 1117121"/>
              <a:gd name="connsiteX32" fmla="*/ 15249 w 704517"/>
              <a:gd name="connsiteY32" fmla="*/ 1030515 h 1117121"/>
              <a:gd name="connsiteX33" fmla="*/ 13167 w 704517"/>
              <a:gd name="connsiteY33" fmla="*/ 1031151 h 1117121"/>
              <a:gd name="connsiteX34" fmla="*/ 9176 w 704517"/>
              <a:gd name="connsiteY34" fmla="*/ 1032135 h 1117121"/>
              <a:gd name="connsiteX35" fmla="*/ 2697 w 704517"/>
              <a:gd name="connsiteY35" fmla="*/ 1027912 h 1117121"/>
              <a:gd name="connsiteX36" fmla="*/ 3235 w 704517"/>
              <a:gd name="connsiteY36" fmla="*/ 1016719 h 1117121"/>
              <a:gd name="connsiteX37" fmla="*/ 3681 w 704517"/>
              <a:gd name="connsiteY37" fmla="*/ 1016343 h 1117121"/>
              <a:gd name="connsiteX38" fmla="*/ 4722 w 704517"/>
              <a:gd name="connsiteY38" fmla="*/ 1011311 h 1117121"/>
              <a:gd name="connsiteX39" fmla="*/ 1078 w 704517"/>
              <a:gd name="connsiteY39" fmla="*/ 1001072 h 1117121"/>
              <a:gd name="connsiteX40" fmla="*/ 5185 w 704517"/>
              <a:gd name="connsiteY40" fmla="*/ 996676 h 1117121"/>
              <a:gd name="connsiteX41" fmla="*/ 10969 w 704517"/>
              <a:gd name="connsiteY41" fmla="*/ 990892 h 1117121"/>
              <a:gd name="connsiteX42" fmla="*/ 8250 w 704517"/>
              <a:gd name="connsiteY42" fmla="*/ 989041 h 1117121"/>
              <a:gd name="connsiteX43" fmla="*/ 4838 w 704517"/>
              <a:gd name="connsiteY43" fmla="*/ 986669 h 1117121"/>
              <a:gd name="connsiteX44" fmla="*/ 8019 w 704517"/>
              <a:gd name="connsiteY44" fmla="*/ 980885 h 1117121"/>
              <a:gd name="connsiteX45" fmla="*/ 10622 w 704517"/>
              <a:gd name="connsiteY45" fmla="*/ 977530 h 1117121"/>
              <a:gd name="connsiteX46" fmla="*/ 7094 w 704517"/>
              <a:gd name="connsiteY46" fmla="*/ 974464 h 1117121"/>
              <a:gd name="connsiteX47" fmla="*/ 152 w 704517"/>
              <a:gd name="connsiteY47" fmla="*/ 963647 h 1117121"/>
              <a:gd name="connsiteX48" fmla="*/ 11142 w 704517"/>
              <a:gd name="connsiteY48" fmla="*/ 949880 h 1117121"/>
              <a:gd name="connsiteX49" fmla="*/ 14382 w 704517"/>
              <a:gd name="connsiteY49" fmla="*/ 950864 h 1117121"/>
              <a:gd name="connsiteX50" fmla="*/ 21439 w 704517"/>
              <a:gd name="connsiteY50" fmla="*/ 952946 h 1117121"/>
              <a:gd name="connsiteX51" fmla="*/ 24389 w 704517"/>
              <a:gd name="connsiteY51" fmla="*/ 952078 h 1117121"/>
              <a:gd name="connsiteX52" fmla="*/ 23058 w 704517"/>
              <a:gd name="connsiteY52" fmla="*/ 949822 h 1117121"/>
              <a:gd name="connsiteX53" fmla="*/ 21612 w 704517"/>
              <a:gd name="connsiteY53" fmla="*/ 942765 h 1117121"/>
              <a:gd name="connsiteX54" fmla="*/ 36594 w 704517"/>
              <a:gd name="connsiteY54" fmla="*/ 935361 h 1117121"/>
              <a:gd name="connsiteX55" fmla="*/ 42378 w 704517"/>
              <a:gd name="connsiteY55" fmla="*/ 931196 h 1117121"/>
              <a:gd name="connsiteX56" fmla="*/ 49320 w 704517"/>
              <a:gd name="connsiteY56" fmla="*/ 925412 h 1117121"/>
              <a:gd name="connsiteX57" fmla="*/ 51228 w 704517"/>
              <a:gd name="connsiteY57" fmla="*/ 925412 h 1117121"/>
              <a:gd name="connsiteX58" fmla="*/ 68755 w 704517"/>
              <a:gd name="connsiteY58" fmla="*/ 928015 h 1117121"/>
              <a:gd name="connsiteX59" fmla="*/ 73325 w 704517"/>
              <a:gd name="connsiteY59" fmla="*/ 927263 h 1117121"/>
              <a:gd name="connsiteX60" fmla="*/ 73325 w 704517"/>
              <a:gd name="connsiteY60" fmla="*/ 926858 h 1117121"/>
              <a:gd name="connsiteX61" fmla="*/ 65979 w 704517"/>
              <a:gd name="connsiteY61" fmla="*/ 923040 h 1117121"/>
              <a:gd name="connsiteX62" fmla="*/ 58054 w 704517"/>
              <a:gd name="connsiteY62" fmla="*/ 918297 h 1117121"/>
              <a:gd name="connsiteX63" fmla="*/ 58922 w 704517"/>
              <a:gd name="connsiteY63" fmla="*/ 914769 h 1117121"/>
              <a:gd name="connsiteX64" fmla="*/ 71590 w 704517"/>
              <a:gd name="connsiteY64" fmla="*/ 910026 h 1117121"/>
              <a:gd name="connsiteX65" fmla="*/ 85183 w 704517"/>
              <a:gd name="connsiteY65" fmla="*/ 905051 h 1117121"/>
              <a:gd name="connsiteX66" fmla="*/ 96752 w 704517"/>
              <a:gd name="connsiteY66" fmla="*/ 900481 h 1117121"/>
              <a:gd name="connsiteX67" fmla="*/ 100975 w 704517"/>
              <a:gd name="connsiteY67" fmla="*/ 899613 h 1117121"/>
              <a:gd name="connsiteX68" fmla="*/ 99818 w 704517"/>
              <a:gd name="connsiteY68" fmla="*/ 897126 h 1117121"/>
              <a:gd name="connsiteX69" fmla="*/ 95769 w 704517"/>
              <a:gd name="connsiteY69" fmla="*/ 883301 h 1117121"/>
              <a:gd name="connsiteX70" fmla="*/ 104040 w 704517"/>
              <a:gd name="connsiteY70" fmla="*/ 880004 h 1117121"/>
              <a:gd name="connsiteX71" fmla="*/ 113990 w 704517"/>
              <a:gd name="connsiteY71" fmla="*/ 888797 h 1117121"/>
              <a:gd name="connsiteX72" fmla="*/ 116766 w 704517"/>
              <a:gd name="connsiteY72" fmla="*/ 892614 h 1117121"/>
              <a:gd name="connsiteX73" fmla="*/ 118270 w 704517"/>
              <a:gd name="connsiteY73" fmla="*/ 891862 h 1117121"/>
              <a:gd name="connsiteX74" fmla="*/ 122724 w 704517"/>
              <a:gd name="connsiteY74" fmla="*/ 882665 h 1117121"/>
              <a:gd name="connsiteX75" fmla="*/ 132268 w 704517"/>
              <a:gd name="connsiteY75" fmla="*/ 871096 h 1117121"/>
              <a:gd name="connsiteX76" fmla="*/ 138573 w 704517"/>
              <a:gd name="connsiteY76" fmla="*/ 865312 h 1117121"/>
              <a:gd name="connsiteX77" fmla="*/ 148754 w 704517"/>
              <a:gd name="connsiteY77" fmla="*/ 853743 h 1117121"/>
              <a:gd name="connsiteX78" fmla="*/ 160728 w 704517"/>
              <a:gd name="connsiteY78" fmla="*/ 846917 h 1117121"/>
              <a:gd name="connsiteX79" fmla="*/ 171198 w 704517"/>
              <a:gd name="connsiteY79" fmla="*/ 841885 h 1117121"/>
              <a:gd name="connsiteX80" fmla="*/ 174552 w 704517"/>
              <a:gd name="connsiteY80" fmla="*/ 844777 h 1117121"/>
              <a:gd name="connsiteX81" fmla="*/ 178370 w 704517"/>
              <a:gd name="connsiteY81" fmla="*/ 847149 h 1117121"/>
              <a:gd name="connsiteX82" fmla="*/ 182824 w 704517"/>
              <a:gd name="connsiteY82" fmla="*/ 845008 h 1117121"/>
              <a:gd name="connsiteX83" fmla="*/ 181263 w 704517"/>
              <a:gd name="connsiteY83" fmla="*/ 842290 h 1117121"/>
              <a:gd name="connsiteX84" fmla="*/ 164661 w 704517"/>
              <a:gd name="connsiteY84" fmla="*/ 824936 h 1117121"/>
              <a:gd name="connsiteX85" fmla="*/ 166165 w 704517"/>
              <a:gd name="connsiteY85" fmla="*/ 823143 h 1117121"/>
              <a:gd name="connsiteX86" fmla="*/ 172470 w 704517"/>
              <a:gd name="connsiteY86" fmla="*/ 822218 h 1117121"/>
              <a:gd name="connsiteX87" fmla="*/ 184502 w 704517"/>
              <a:gd name="connsiteY87" fmla="*/ 817937 h 1117121"/>
              <a:gd name="connsiteX88" fmla="*/ 188956 w 704517"/>
              <a:gd name="connsiteY88" fmla="*/ 814987 h 1117121"/>
              <a:gd name="connsiteX89" fmla="*/ 194740 w 704517"/>
              <a:gd name="connsiteY89" fmla="*/ 815855 h 1117121"/>
              <a:gd name="connsiteX90" fmla="*/ 199773 w 704517"/>
              <a:gd name="connsiteY90" fmla="*/ 816723 h 1117121"/>
              <a:gd name="connsiteX91" fmla="*/ 201276 w 704517"/>
              <a:gd name="connsiteY91" fmla="*/ 815739 h 1117121"/>
              <a:gd name="connsiteX92" fmla="*/ 200004 w 704517"/>
              <a:gd name="connsiteY92" fmla="*/ 809955 h 1117121"/>
              <a:gd name="connsiteX93" fmla="*/ 201681 w 704517"/>
              <a:gd name="connsiteY93" fmla="*/ 796477 h 1117121"/>
              <a:gd name="connsiteX94" fmla="*/ 203590 w 704517"/>
              <a:gd name="connsiteY94" fmla="*/ 782768 h 1117121"/>
              <a:gd name="connsiteX95" fmla="*/ 205441 w 704517"/>
              <a:gd name="connsiteY95" fmla="*/ 771199 h 1117121"/>
              <a:gd name="connsiteX96" fmla="*/ 209953 w 704517"/>
              <a:gd name="connsiteY96" fmla="*/ 770216 h 1117121"/>
              <a:gd name="connsiteX97" fmla="*/ 214581 w 704517"/>
              <a:gd name="connsiteY97" fmla="*/ 770216 h 1117121"/>
              <a:gd name="connsiteX98" fmla="*/ 219555 w 704517"/>
              <a:gd name="connsiteY98" fmla="*/ 770505 h 1117121"/>
              <a:gd name="connsiteX99" fmla="*/ 226439 w 704517"/>
              <a:gd name="connsiteY99" fmla="*/ 767671 h 1117121"/>
              <a:gd name="connsiteX100" fmla="*/ 226439 w 704517"/>
              <a:gd name="connsiteY100" fmla="*/ 761886 h 1117121"/>
              <a:gd name="connsiteX101" fmla="*/ 231182 w 704517"/>
              <a:gd name="connsiteY101" fmla="*/ 747252 h 1117121"/>
              <a:gd name="connsiteX102" fmla="*/ 255939 w 704517"/>
              <a:gd name="connsiteY102" fmla="*/ 713644 h 1117121"/>
              <a:gd name="connsiteX103" fmla="*/ 260856 w 704517"/>
              <a:gd name="connsiteY103" fmla="*/ 708785 h 1117121"/>
              <a:gd name="connsiteX104" fmla="*/ 263459 w 704517"/>
              <a:gd name="connsiteY104" fmla="*/ 708785 h 1117121"/>
              <a:gd name="connsiteX105" fmla="*/ 266004 w 704517"/>
              <a:gd name="connsiteY105" fmla="*/ 705199 h 1117121"/>
              <a:gd name="connsiteX106" fmla="*/ 277978 w 704517"/>
              <a:gd name="connsiteY106" fmla="*/ 684201 h 1117121"/>
              <a:gd name="connsiteX107" fmla="*/ 289952 w 704517"/>
              <a:gd name="connsiteY107" fmla="*/ 673500 h 1117121"/>
              <a:gd name="connsiteX108" fmla="*/ 294579 w 704517"/>
              <a:gd name="connsiteY108" fmla="*/ 670666 h 1117121"/>
              <a:gd name="connsiteX109" fmla="*/ 303025 w 704517"/>
              <a:gd name="connsiteY109" fmla="*/ 679285 h 1117121"/>
              <a:gd name="connsiteX110" fmla="*/ 303603 w 704517"/>
              <a:gd name="connsiteY110" fmla="*/ 680499 h 1117121"/>
              <a:gd name="connsiteX111" fmla="*/ 305512 w 704517"/>
              <a:gd name="connsiteY111" fmla="*/ 680962 h 1117121"/>
              <a:gd name="connsiteX112" fmla="*/ 309966 w 704517"/>
              <a:gd name="connsiteY112" fmla="*/ 678764 h 1117121"/>
              <a:gd name="connsiteX113" fmla="*/ 308693 w 704517"/>
              <a:gd name="connsiteY113" fmla="*/ 675698 h 1117121"/>
              <a:gd name="connsiteX114" fmla="*/ 309908 w 704517"/>
              <a:gd name="connsiteY114" fmla="*/ 665633 h 1117121"/>
              <a:gd name="connsiteX115" fmla="*/ 311991 w 704517"/>
              <a:gd name="connsiteY115" fmla="*/ 662394 h 1117121"/>
              <a:gd name="connsiteX116" fmla="*/ 311181 w 704517"/>
              <a:gd name="connsiteY116" fmla="*/ 661179 h 1117121"/>
              <a:gd name="connsiteX117" fmla="*/ 295910 w 704517"/>
              <a:gd name="connsiteY117" fmla="*/ 662220 h 1117121"/>
              <a:gd name="connsiteX118" fmla="*/ 286308 w 704517"/>
              <a:gd name="connsiteY118" fmla="*/ 667658 h 1117121"/>
              <a:gd name="connsiteX119" fmla="*/ 278210 w 704517"/>
              <a:gd name="connsiteY119" fmla="*/ 664881 h 1117121"/>
              <a:gd name="connsiteX120" fmla="*/ 275954 w 704517"/>
              <a:gd name="connsiteY120" fmla="*/ 664361 h 1117121"/>
              <a:gd name="connsiteX121" fmla="*/ 252816 w 704517"/>
              <a:gd name="connsiteY121" fmla="*/ 674599 h 1117121"/>
              <a:gd name="connsiteX122" fmla="*/ 241652 w 704517"/>
              <a:gd name="connsiteY122" fmla="*/ 679285 h 1117121"/>
              <a:gd name="connsiteX123" fmla="*/ 232860 w 704517"/>
              <a:gd name="connsiteY123" fmla="*/ 684490 h 1117121"/>
              <a:gd name="connsiteX124" fmla="*/ 220655 w 704517"/>
              <a:gd name="connsiteY124" fmla="*/ 690275 h 1117121"/>
              <a:gd name="connsiteX125" fmla="*/ 217068 w 704517"/>
              <a:gd name="connsiteY125" fmla="*/ 688424 h 1117121"/>
              <a:gd name="connsiteX126" fmla="*/ 222101 w 704517"/>
              <a:gd name="connsiteY126" fmla="*/ 681888 h 1117121"/>
              <a:gd name="connsiteX127" fmla="*/ 239107 w 704517"/>
              <a:gd name="connsiteY127" fmla="*/ 673789 h 1117121"/>
              <a:gd name="connsiteX128" fmla="*/ 255245 w 704517"/>
              <a:gd name="connsiteY128" fmla="*/ 663898 h 1117121"/>
              <a:gd name="connsiteX129" fmla="*/ 263633 w 704517"/>
              <a:gd name="connsiteY129" fmla="*/ 655163 h 1117121"/>
              <a:gd name="connsiteX130" fmla="*/ 267740 w 704517"/>
              <a:gd name="connsiteY130" fmla="*/ 651519 h 1117121"/>
              <a:gd name="connsiteX131" fmla="*/ 267219 w 704517"/>
              <a:gd name="connsiteY131" fmla="*/ 650536 h 1117121"/>
              <a:gd name="connsiteX132" fmla="*/ 266004 w 704517"/>
              <a:gd name="connsiteY132" fmla="*/ 647644 h 1117121"/>
              <a:gd name="connsiteX133" fmla="*/ 271789 w 704517"/>
              <a:gd name="connsiteY133" fmla="*/ 643595 h 1117121"/>
              <a:gd name="connsiteX134" fmla="*/ 284746 w 704517"/>
              <a:gd name="connsiteY134" fmla="*/ 635612 h 1117121"/>
              <a:gd name="connsiteX135" fmla="*/ 292208 w 704517"/>
              <a:gd name="connsiteY135" fmla="*/ 626704 h 1117121"/>
              <a:gd name="connsiteX136" fmla="*/ 299149 w 704517"/>
              <a:gd name="connsiteY136" fmla="*/ 620457 h 1117121"/>
              <a:gd name="connsiteX137" fmla="*/ 302620 w 704517"/>
              <a:gd name="connsiteY137" fmla="*/ 622828 h 1117121"/>
              <a:gd name="connsiteX138" fmla="*/ 298918 w 704517"/>
              <a:gd name="connsiteY138" fmla="*/ 636190 h 1117121"/>
              <a:gd name="connsiteX139" fmla="*/ 295910 w 704517"/>
              <a:gd name="connsiteY139" fmla="*/ 645156 h 1117121"/>
              <a:gd name="connsiteX140" fmla="*/ 296893 w 704517"/>
              <a:gd name="connsiteY140" fmla="*/ 645561 h 1117121"/>
              <a:gd name="connsiteX141" fmla="*/ 301752 w 704517"/>
              <a:gd name="connsiteY141" fmla="*/ 641281 h 1117121"/>
              <a:gd name="connsiteX142" fmla="*/ 307941 w 704517"/>
              <a:gd name="connsiteY142" fmla="*/ 636364 h 1117121"/>
              <a:gd name="connsiteX143" fmla="*/ 311007 w 704517"/>
              <a:gd name="connsiteY143" fmla="*/ 638099 h 1117121"/>
              <a:gd name="connsiteX144" fmla="*/ 313263 w 704517"/>
              <a:gd name="connsiteY144" fmla="*/ 640992 h 1117121"/>
              <a:gd name="connsiteX145" fmla="*/ 320262 w 704517"/>
              <a:gd name="connsiteY145" fmla="*/ 648280 h 1117121"/>
              <a:gd name="connsiteX146" fmla="*/ 321130 w 704517"/>
              <a:gd name="connsiteY146" fmla="*/ 645908 h 1117121"/>
              <a:gd name="connsiteX147" fmla="*/ 327666 w 704517"/>
              <a:gd name="connsiteY147" fmla="*/ 638967 h 1117121"/>
              <a:gd name="connsiteX148" fmla="*/ 337153 w 704517"/>
              <a:gd name="connsiteY148" fmla="*/ 643652 h 1117121"/>
              <a:gd name="connsiteX149" fmla="*/ 339409 w 704517"/>
              <a:gd name="connsiteY149" fmla="*/ 644925 h 1117121"/>
              <a:gd name="connsiteX150" fmla="*/ 339987 w 704517"/>
              <a:gd name="connsiteY150" fmla="*/ 644404 h 1117121"/>
              <a:gd name="connsiteX151" fmla="*/ 338078 w 704517"/>
              <a:gd name="connsiteY151" fmla="*/ 637984 h 1117121"/>
              <a:gd name="connsiteX152" fmla="*/ 336979 w 704517"/>
              <a:gd name="connsiteY152" fmla="*/ 632199 h 1117121"/>
              <a:gd name="connsiteX153" fmla="*/ 334839 w 704517"/>
              <a:gd name="connsiteY153" fmla="*/ 628671 h 1117121"/>
              <a:gd name="connsiteX154" fmla="*/ 325468 w 704517"/>
              <a:gd name="connsiteY154" fmla="*/ 630695 h 1117121"/>
              <a:gd name="connsiteX155" fmla="*/ 320147 w 704517"/>
              <a:gd name="connsiteY155" fmla="*/ 632489 h 1117121"/>
              <a:gd name="connsiteX156" fmla="*/ 316734 w 704517"/>
              <a:gd name="connsiteY156" fmla="*/ 629018 h 1117121"/>
              <a:gd name="connsiteX157" fmla="*/ 324716 w 704517"/>
              <a:gd name="connsiteY157" fmla="*/ 616119 h 1117121"/>
              <a:gd name="connsiteX158" fmla="*/ 331022 w 704517"/>
              <a:gd name="connsiteY158" fmla="*/ 609698 h 1117121"/>
              <a:gd name="connsiteX159" fmla="*/ 344384 w 704517"/>
              <a:gd name="connsiteY159" fmla="*/ 603219 h 1117121"/>
              <a:gd name="connsiteX160" fmla="*/ 351614 w 704517"/>
              <a:gd name="connsiteY160" fmla="*/ 607673 h 1117121"/>
              <a:gd name="connsiteX161" fmla="*/ 358440 w 704517"/>
              <a:gd name="connsiteY161" fmla="*/ 609466 h 1117121"/>
              <a:gd name="connsiteX162" fmla="*/ 359076 w 704517"/>
              <a:gd name="connsiteY162" fmla="*/ 606748 h 1117121"/>
              <a:gd name="connsiteX163" fmla="*/ 360291 w 704517"/>
              <a:gd name="connsiteY163" fmla="*/ 600327 h 1117121"/>
              <a:gd name="connsiteX164" fmla="*/ 369314 w 704517"/>
              <a:gd name="connsiteY164" fmla="*/ 599055 h 1117121"/>
              <a:gd name="connsiteX165" fmla="*/ 373479 w 704517"/>
              <a:gd name="connsiteY165" fmla="*/ 597377 h 1117121"/>
              <a:gd name="connsiteX166" fmla="*/ 370703 w 704517"/>
              <a:gd name="connsiteY166" fmla="*/ 588411 h 1117121"/>
              <a:gd name="connsiteX167" fmla="*/ 368331 w 704517"/>
              <a:gd name="connsiteY167" fmla="*/ 582974 h 1117121"/>
              <a:gd name="connsiteX168" fmla="*/ 377528 w 704517"/>
              <a:gd name="connsiteY168" fmla="*/ 579156 h 1117121"/>
              <a:gd name="connsiteX169" fmla="*/ 379032 w 704517"/>
              <a:gd name="connsiteY169" fmla="*/ 578867 h 1117121"/>
              <a:gd name="connsiteX170" fmla="*/ 386494 w 704517"/>
              <a:gd name="connsiteY170" fmla="*/ 576380 h 1117121"/>
              <a:gd name="connsiteX171" fmla="*/ 393956 w 704517"/>
              <a:gd name="connsiteY171" fmla="*/ 574239 h 1117121"/>
              <a:gd name="connsiteX172" fmla="*/ 399278 w 704517"/>
              <a:gd name="connsiteY172" fmla="*/ 577884 h 1117121"/>
              <a:gd name="connsiteX173" fmla="*/ 398699 w 704517"/>
              <a:gd name="connsiteY173" fmla="*/ 589973 h 1117121"/>
              <a:gd name="connsiteX174" fmla="*/ 397947 w 704517"/>
              <a:gd name="connsiteY174" fmla="*/ 593906 h 1117121"/>
              <a:gd name="connsiteX175" fmla="*/ 399625 w 704517"/>
              <a:gd name="connsiteY175" fmla="*/ 593097 h 1117121"/>
              <a:gd name="connsiteX176" fmla="*/ 411946 w 704517"/>
              <a:gd name="connsiteY176" fmla="*/ 588874 h 1117121"/>
              <a:gd name="connsiteX177" fmla="*/ 416284 w 704517"/>
              <a:gd name="connsiteY177" fmla="*/ 590609 h 1117121"/>
              <a:gd name="connsiteX178" fmla="*/ 416631 w 704517"/>
              <a:gd name="connsiteY178" fmla="*/ 595642 h 1117121"/>
              <a:gd name="connsiteX179" fmla="*/ 417730 w 704517"/>
              <a:gd name="connsiteY179" fmla="*/ 601426 h 1117121"/>
              <a:gd name="connsiteX180" fmla="*/ 421895 w 704517"/>
              <a:gd name="connsiteY180" fmla="*/ 604087 h 1117121"/>
              <a:gd name="connsiteX181" fmla="*/ 423746 w 704517"/>
              <a:gd name="connsiteY181" fmla="*/ 601021 h 1117121"/>
              <a:gd name="connsiteX182" fmla="*/ 424093 w 704517"/>
              <a:gd name="connsiteY182" fmla="*/ 595237 h 1117121"/>
              <a:gd name="connsiteX183" fmla="*/ 418308 w 704517"/>
              <a:gd name="connsiteY183" fmla="*/ 584246 h 1117121"/>
              <a:gd name="connsiteX184" fmla="*/ 414433 w 704517"/>
              <a:gd name="connsiteY184" fmla="*/ 580487 h 1117121"/>
              <a:gd name="connsiteX185" fmla="*/ 424209 w 704517"/>
              <a:gd name="connsiteY185" fmla="*/ 574413 h 1117121"/>
              <a:gd name="connsiteX186" fmla="*/ 428547 w 704517"/>
              <a:gd name="connsiteY186" fmla="*/ 577774 h 1117121"/>
              <a:gd name="connsiteX187" fmla="*/ 428547 w 704517"/>
              <a:gd name="connsiteY187" fmla="*/ 577826 h 1117121"/>
              <a:gd name="connsiteX188" fmla="*/ 438959 w 704517"/>
              <a:gd name="connsiteY188" fmla="*/ 586734 h 1117121"/>
              <a:gd name="connsiteX189" fmla="*/ 440463 w 704517"/>
              <a:gd name="connsiteY189" fmla="*/ 586329 h 1117121"/>
              <a:gd name="connsiteX190" fmla="*/ 443008 w 704517"/>
              <a:gd name="connsiteY190" fmla="*/ 585288 h 1117121"/>
              <a:gd name="connsiteX191" fmla="*/ 449718 w 704517"/>
              <a:gd name="connsiteY191" fmla="*/ 587254 h 1117121"/>
              <a:gd name="connsiteX192" fmla="*/ 452726 w 704517"/>
              <a:gd name="connsiteY192" fmla="*/ 588353 h 1117121"/>
              <a:gd name="connsiteX193" fmla="*/ 445784 w 704517"/>
              <a:gd name="connsiteY193" fmla="*/ 583841 h 1117121"/>
              <a:gd name="connsiteX194" fmla="*/ 436645 w 704517"/>
              <a:gd name="connsiteY194" fmla="*/ 576148 h 1117121"/>
              <a:gd name="connsiteX195" fmla="*/ 438438 w 704517"/>
              <a:gd name="connsiteY195" fmla="*/ 573892 h 1117121"/>
              <a:gd name="connsiteX196" fmla="*/ 451222 w 704517"/>
              <a:gd name="connsiteY196" fmla="*/ 570653 h 1117121"/>
              <a:gd name="connsiteX197" fmla="*/ 460245 w 704517"/>
              <a:gd name="connsiteY197" fmla="*/ 573719 h 1117121"/>
              <a:gd name="connsiteX198" fmla="*/ 466030 w 704517"/>
              <a:gd name="connsiteY198" fmla="*/ 575570 h 1117121"/>
              <a:gd name="connsiteX199" fmla="*/ 470484 w 704517"/>
              <a:gd name="connsiteY199" fmla="*/ 573834 h 1117121"/>
              <a:gd name="connsiteX200" fmla="*/ 466666 w 704517"/>
              <a:gd name="connsiteY200" fmla="*/ 569843 h 1117121"/>
              <a:gd name="connsiteX201" fmla="*/ 457527 w 704517"/>
              <a:gd name="connsiteY201" fmla="*/ 554688 h 1117121"/>
              <a:gd name="connsiteX202" fmla="*/ 465162 w 704517"/>
              <a:gd name="connsiteY202" fmla="*/ 549598 h 1117121"/>
              <a:gd name="connsiteX203" fmla="*/ 468633 w 704517"/>
              <a:gd name="connsiteY203" fmla="*/ 549598 h 1117121"/>
              <a:gd name="connsiteX204" fmla="*/ 476211 w 704517"/>
              <a:gd name="connsiteY204" fmla="*/ 549598 h 1117121"/>
              <a:gd name="connsiteX205" fmla="*/ 486738 w 704517"/>
              <a:gd name="connsiteY205" fmla="*/ 545896 h 1117121"/>
              <a:gd name="connsiteX206" fmla="*/ 492986 w 704517"/>
              <a:gd name="connsiteY206" fmla="*/ 539417 h 1117121"/>
              <a:gd name="connsiteX207" fmla="*/ 493275 w 704517"/>
              <a:gd name="connsiteY207" fmla="*/ 539417 h 1117121"/>
              <a:gd name="connsiteX208" fmla="*/ 498596 w 704517"/>
              <a:gd name="connsiteY208" fmla="*/ 543235 h 1117121"/>
              <a:gd name="connsiteX209" fmla="*/ 495531 w 704517"/>
              <a:gd name="connsiteY209" fmla="*/ 550812 h 1117121"/>
              <a:gd name="connsiteX210" fmla="*/ 482978 w 704517"/>
              <a:gd name="connsiteY210" fmla="*/ 558737 h 1117121"/>
              <a:gd name="connsiteX211" fmla="*/ 476789 w 704517"/>
              <a:gd name="connsiteY211" fmla="*/ 562844 h 1117121"/>
              <a:gd name="connsiteX212" fmla="*/ 475863 w 704517"/>
              <a:gd name="connsiteY212" fmla="*/ 567067 h 1117121"/>
              <a:gd name="connsiteX213" fmla="*/ 476963 w 704517"/>
              <a:gd name="connsiteY213" fmla="*/ 567067 h 1117121"/>
              <a:gd name="connsiteX214" fmla="*/ 478062 w 704517"/>
              <a:gd name="connsiteY214" fmla="*/ 567067 h 1117121"/>
              <a:gd name="connsiteX215" fmla="*/ 482747 w 704517"/>
              <a:gd name="connsiteY215" fmla="*/ 576148 h 1117121"/>
              <a:gd name="connsiteX216" fmla="*/ 486565 w 704517"/>
              <a:gd name="connsiteY216" fmla="*/ 585172 h 1117121"/>
              <a:gd name="connsiteX217" fmla="*/ 487143 w 704517"/>
              <a:gd name="connsiteY217" fmla="*/ 585172 h 1117121"/>
              <a:gd name="connsiteX218" fmla="*/ 492234 w 704517"/>
              <a:gd name="connsiteY218" fmla="*/ 578636 h 1117121"/>
              <a:gd name="connsiteX219" fmla="*/ 489688 w 704517"/>
              <a:gd name="connsiteY219" fmla="*/ 571463 h 1117121"/>
              <a:gd name="connsiteX220" fmla="*/ 487432 w 704517"/>
              <a:gd name="connsiteY220" fmla="*/ 568918 h 1117121"/>
              <a:gd name="connsiteX221" fmla="*/ 489688 w 704517"/>
              <a:gd name="connsiteY221" fmla="*/ 565910 h 1117121"/>
              <a:gd name="connsiteX222" fmla="*/ 495762 w 704517"/>
              <a:gd name="connsiteY222" fmla="*/ 559431 h 1117121"/>
              <a:gd name="connsiteX223" fmla="*/ 510281 w 704517"/>
              <a:gd name="connsiteY223" fmla="*/ 549077 h 1117121"/>
              <a:gd name="connsiteX224" fmla="*/ 516702 w 704517"/>
              <a:gd name="connsiteY224" fmla="*/ 553011 h 1117121"/>
              <a:gd name="connsiteX225" fmla="*/ 521618 w 704517"/>
              <a:gd name="connsiteY225" fmla="*/ 554977 h 1117121"/>
              <a:gd name="connsiteX226" fmla="*/ 520809 w 704517"/>
              <a:gd name="connsiteY226" fmla="*/ 550118 h 1117121"/>
              <a:gd name="connsiteX227" fmla="*/ 523411 w 704517"/>
              <a:gd name="connsiteY227" fmla="*/ 541326 h 1117121"/>
              <a:gd name="connsiteX228" fmla="*/ 525494 w 704517"/>
              <a:gd name="connsiteY228" fmla="*/ 539128 h 1117121"/>
              <a:gd name="connsiteX229" fmla="*/ 525899 w 704517"/>
              <a:gd name="connsiteY229" fmla="*/ 537797 h 1117121"/>
              <a:gd name="connsiteX230" fmla="*/ 527576 w 704517"/>
              <a:gd name="connsiteY230" fmla="*/ 537161 h 1117121"/>
              <a:gd name="connsiteX231" fmla="*/ 534286 w 704517"/>
              <a:gd name="connsiteY231" fmla="*/ 538781 h 1117121"/>
              <a:gd name="connsiteX232" fmla="*/ 543599 w 704517"/>
              <a:gd name="connsiteY232" fmla="*/ 541037 h 1117121"/>
              <a:gd name="connsiteX233" fmla="*/ 545219 w 704517"/>
              <a:gd name="connsiteY233" fmla="*/ 540632 h 1117121"/>
              <a:gd name="connsiteX234" fmla="*/ 547475 w 704517"/>
              <a:gd name="connsiteY234" fmla="*/ 536930 h 1117121"/>
              <a:gd name="connsiteX235" fmla="*/ 558292 w 704517"/>
              <a:gd name="connsiteY235" fmla="*/ 527848 h 1117121"/>
              <a:gd name="connsiteX236" fmla="*/ 561184 w 704517"/>
              <a:gd name="connsiteY236" fmla="*/ 528195 h 1117121"/>
              <a:gd name="connsiteX237" fmla="*/ 570092 w 704517"/>
              <a:gd name="connsiteY237" fmla="*/ 536698 h 1117121"/>
              <a:gd name="connsiteX238" fmla="*/ 564308 w 704517"/>
              <a:gd name="connsiteY238" fmla="*/ 540921 h 1117121"/>
              <a:gd name="connsiteX239" fmla="*/ 558002 w 704517"/>
              <a:gd name="connsiteY239" fmla="*/ 548325 h 1117121"/>
              <a:gd name="connsiteX240" fmla="*/ 547069 w 704517"/>
              <a:gd name="connsiteY240" fmla="*/ 561803 h 1117121"/>
              <a:gd name="connsiteX241" fmla="*/ 538856 w 704517"/>
              <a:gd name="connsiteY241" fmla="*/ 575280 h 1117121"/>
              <a:gd name="connsiteX242" fmla="*/ 541228 w 704517"/>
              <a:gd name="connsiteY242" fmla="*/ 577126 h 1117121"/>
              <a:gd name="connsiteX243" fmla="*/ 541517 w 704517"/>
              <a:gd name="connsiteY243" fmla="*/ 577074 h 1117121"/>
              <a:gd name="connsiteX244" fmla="*/ 560316 w 704517"/>
              <a:gd name="connsiteY244" fmla="*/ 559720 h 1117121"/>
              <a:gd name="connsiteX245" fmla="*/ 567084 w 704517"/>
              <a:gd name="connsiteY245" fmla="*/ 551854 h 1117121"/>
              <a:gd name="connsiteX246" fmla="*/ 582991 w 704517"/>
              <a:gd name="connsiteY246" fmla="*/ 538087 h 1117121"/>
              <a:gd name="connsiteX247" fmla="*/ 586404 w 704517"/>
              <a:gd name="connsiteY247" fmla="*/ 543235 h 1117121"/>
              <a:gd name="connsiteX248" fmla="*/ 584842 w 704517"/>
              <a:gd name="connsiteY248" fmla="*/ 554341 h 1117121"/>
              <a:gd name="connsiteX249" fmla="*/ 583974 w 704517"/>
              <a:gd name="connsiteY249" fmla="*/ 564811 h 1117121"/>
              <a:gd name="connsiteX250" fmla="*/ 584842 w 704517"/>
              <a:gd name="connsiteY250" fmla="*/ 565158 h 1117121"/>
              <a:gd name="connsiteX251" fmla="*/ 599593 w 704517"/>
              <a:gd name="connsiteY251" fmla="*/ 550118 h 1117121"/>
              <a:gd name="connsiteX252" fmla="*/ 600229 w 704517"/>
              <a:gd name="connsiteY252" fmla="*/ 545606 h 1117121"/>
              <a:gd name="connsiteX253" fmla="*/ 599766 w 704517"/>
              <a:gd name="connsiteY253" fmla="*/ 537624 h 1117121"/>
              <a:gd name="connsiteX254" fmla="*/ 618102 w 704517"/>
              <a:gd name="connsiteY254" fmla="*/ 528427 h 1117121"/>
              <a:gd name="connsiteX255" fmla="*/ 634415 w 704517"/>
              <a:gd name="connsiteY255" fmla="*/ 539996 h 1117121"/>
              <a:gd name="connsiteX256" fmla="*/ 629555 w 704517"/>
              <a:gd name="connsiteY256" fmla="*/ 546127 h 1117121"/>
              <a:gd name="connsiteX257" fmla="*/ 627415 w 704517"/>
              <a:gd name="connsiteY257" fmla="*/ 551911 h 1117121"/>
              <a:gd name="connsiteX258" fmla="*/ 627069 w 704517"/>
              <a:gd name="connsiteY258" fmla="*/ 560877 h 1117121"/>
              <a:gd name="connsiteX259" fmla="*/ 626605 w 704517"/>
              <a:gd name="connsiteY259" fmla="*/ 563654 h 1117121"/>
              <a:gd name="connsiteX260" fmla="*/ 627994 w 704517"/>
              <a:gd name="connsiteY260" fmla="*/ 564464 h 1117121"/>
              <a:gd name="connsiteX261" fmla="*/ 631407 w 704517"/>
              <a:gd name="connsiteY261" fmla="*/ 557869 h 1117121"/>
              <a:gd name="connsiteX262" fmla="*/ 649628 w 704517"/>
              <a:gd name="connsiteY262" fmla="*/ 540516 h 1117121"/>
              <a:gd name="connsiteX263" fmla="*/ 654718 w 704517"/>
              <a:gd name="connsiteY263" fmla="*/ 542309 h 1117121"/>
              <a:gd name="connsiteX264" fmla="*/ 657668 w 704517"/>
              <a:gd name="connsiteY264" fmla="*/ 545317 h 1117121"/>
              <a:gd name="connsiteX265" fmla="*/ 668254 w 704517"/>
              <a:gd name="connsiteY265" fmla="*/ 548846 h 1117121"/>
              <a:gd name="connsiteX266" fmla="*/ 672129 w 704517"/>
              <a:gd name="connsiteY266" fmla="*/ 548499 h 1117121"/>
              <a:gd name="connsiteX267" fmla="*/ 690003 w 704517"/>
              <a:gd name="connsiteY267" fmla="*/ 556192 h 1117121"/>
              <a:gd name="connsiteX268" fmla="*/ 695209 w 704517"/>
              <a:gd name="connsiteY268" fmla="*/ 560010 h 1117121"/>
              <a:gd name="connsiteX269" fmla="*/ 704291 w 704517"/>
              <a:gd name="connsiteY269" fmla="*/ 570769 h 1117121"/>
              <a:gd name="connsiteX270" fmla="*/ 696482 w 704517"/>
              <a:gd name="connsiteY270" fmla="*/ 574991 h 1117121"/>
              <a:gd name="connsiteX271" fmla="*/ 685433 w 704517"/>
              <a:gd name="connsiteY271" fmla="*/ 578636 h 1117121"/>
              <a:gd name="connsiteX272" fmla="*/ 665940 w 704517"/>
              <a:gd name="connsiteY272" fmla="*/ 584420 h 1117121"/>
              <a:gd name="connsiteX273" fmla="*/ 655875 w 704517"/>
              <a:gd name="connsiteY273" fmla="*/ 581528 h 1117121"/>
              <a:gd name="connsiteX274" fmla="*/ 653735 w 704517"/>
              <a:gd name="connsiteY274" fmla="*/ 581933 h 1117121"/>
              <a:gd name="connsiteX275" fmla="*/ 659519 w 704517"/>
              <a:gd name="connsiteY275" fmla="*/ 585345 h 1117121"/>
              <a:gd name="connsiteX276" fmla="*/ 671608 w 704517"/>
              <a:gd name="connsiteY276" fmla="*/ 596104 h 1117121"/>
              <a:gd name="connsiteX277" fmla="*/ 672476 w 704517"/>
              <a:gd name="connsiteY277" fmla="*/ 598476 h 1117121"/>
              <a:gd name="connsiteX278" fmla="*/ 676641 w 704517"/>
              <a:gd name="connsiteY278" fmla="*/ 600038 h 1117121"/>
              <a:gd name="connsiteX279" fmla="*/ 681557 w 704517"/>
              <a:gd name="connsiteY279" fmla="*/ 596914 h 1117121"/>
              <a:gd name="connsiteX280" fmla="*/ 691160 w 704517"/>
              <a:gd name="connsiteY280" fmla="*/ 591998 h 1117121"/>
              <a:gd name="connsiteX281" fmla="*/ 703596 w 704517"/>
              <a:gd name="connsiteY281" fmla="*/ 595352 h 1117121"/>
              <a:gd name="connsiteX282" fmla="*/ 704059 w 704517"/>
              <a:gd name="connsiteY282" fmla="*/ 596509 h 1117121"/>
              <a:gd name="connsiteX283" fmla="*/ 692953 w 704517"/>
              <a:gd name="connsiteY283" fmla="*/ 607673 h 1117121"/>
              <a:gd name="connsiteX284" fmla="*/ 692953 w 704517"/>
              <a:gd name="connsiteY284" fmla="*/ 607673 h 1117121"/>
              <a:gd name="connsiteX285" fmla="*/ 688846 w 704517"/>
              <a:gd name="connsiteY285" fmla="*/ 607211 h 1117121"/>
              <a:gd name="connsiteX286" fmla="*/ 678319 w 704517"/>
              <a:gd name="connsiteY286" fmla="*/ 611954 h 1117121"/>
              <a:gd name="connsiteX287" fmla="*/ 666460 w 704517"/>
              <a:gd name="connsiteY287" fmla="*/ 617738 h 1117121"/>
              <a:gd name="connsiteX288" fmla="*/ 654891 w 704517"/>
              <a:gd name="connsiteY288" fmla="*/ 623523 h 1117121"/>
              <a:gd name="connsiteX289" fmla="*/ 653677 w 704517"/>
              <a:gd name="connsiteY289" fmla="*/ 623523 h 1117121"/>
              <a:gd name="connsiteX290" fmla="*/ 652983 w 704517"/>
              <a:gd name="connsiteY290" fmla="*/ 622481 h 1117121"/>
              <a:gd name="connsiteX291" fmla="*/ 652983 w 704517"/>
              <a:gd name="connsiteY291" fmla="*/ 617102 h 1117121"/>
              <a:gd name="connsiteX292" fmla="*/ 652983 w 704517"/>
              <a:gd name="connsiteY292" fmla="*/ 607500 h 1117121"/>
              <a:gd name="connsiteX293" fmla="*/ 640546 w 704517"/>
              <a:gd name="connsiteY293" fmla="*/ 598939 h 1117121"/>
              <a:gd name="connsiteX294" fmla="*/ 624581 w 704517"/>
              <a:gd name="connsiteY294" fmla="*/ 588411 h 1117121"/>
              <a:gd name="connsiteX295" fmla="*/ 615731 w 704517"/>
              <a:gd name="connsiteY295" fmla="*/ 583494 h 1117121"/>
              <a:gd name="connsiteX296" fmla="*/ 604162 w 704517"/>
              <a:gd name="connsiteY296" fmla="*/ 588469 h 1117121"/>
              <a:gd name="connsiteX297" fmla="*/ 591899 w 704517"/>
              <a:gd name="connsiteY297" fmla="*/ 591246 h 1117121"/>
              <a:gd name="connsiteX298" fmla="*/ 588197 w 704517"/>
              <a:gd name="connsiteY298" fmla="*/ 591246 h 1117121"/>
              <a:gd name="connsiteX299" fmla="*/ 577091 w 704517"/>
              <a:gd name="connsiteY299" fmla="*/ 594311 h 1117121"/>
              <a:gd name="connsiteX300" fmla="*/ 568588 w 704517"/>
              <a:gd name="connsiteY300" fmla="*/ 603624 h 1117121"/>
              <a:gd name="connsiteX301" fmla="*/ 560258 w 704517"/>
              <a:gd name="connsiteY301" fmla="*/ 612474 h 1117121"/>
              <a:gd name="connsiteX302" fmla="*/ 561415 w 704517"/>
              <a:gd name="connsiteY302" fmla="*/ 620630 h 1117121"/>
              <a:gd name="connsiteX303" fmla="*/ 561010 w 704517"/>
              <a:gd name="connsiteY303" fmla="*/ 634860 h 1117121"/>
              <a:gd name="connsiteX304" fmla="*/ 553837 w 704517"/>
              <a:gd name="connsiteY304" fmla="*/ 637000 h 1117121"/>
              <a:gd name="connsiteX305" fmla="*/ 551061 w 704517"/>
              <a:gd name="connsiteY305" fmla="*/ 637000 h 1117121"/>
              <a:gd name="connsiteX306" fmla="*/ 547185 w 704517"/>
              <a:gd name="connsiteY306" fmla="*/ 640876 h 1117121"/>
              <a:gd name="connsiteX307" fmla="*/ 543136 w 704517"/>
              <a:gd name="connsiteY307" fmla="*/ 652445 h 1117121"/>
              <a:gd name="connsiteX308" fmla="*/ 537815 w 704517"/>
              <a:gd name="connsiteY308" fmla="*/ 656320 h 1117121"/>
              <a:gd name="connsiteX309" fmla="*/ 532898 w 704517"/>
              <a:gd name="connsiteY309" fmla="*/ 652445 h 1117121"/>
              <a:gd name="connsiteX310" fmla="*/ 527113 w 704517"/>
              <a:gd name="connsiteY310" fmla="*/ 648916 h 1117121"/>
              <a:gd name="connsiteX311" fmla="*/ 515545 w 704517"/>
              <a:gd name="connsiteY311" fmla="*/ 647181 h 1117121"/>
              <a:gd name="connsiteX312" fmla="*/ 509760 w 704517"/>
              <a:gd name="connsiteY312" fmla="*/ 645504 h 1117121"/>
              <a:gd name="connsiteX313" fmla="*/ 507042 w 704517"/>
              <a:gd name="connsiteY313" fmla="*/ 647123 h 1117121"/>
              <a:gd name="connsiteX314" fmla="*/ 498885 w 704517"/>
              <a:gd name="connsiteY314" fmla="*/ 650825 h 1117121"/>
              <a:gd name="connsiteX315" fmla="*/ 484193 w 704517"/>
              <a:gd name="connsiteY315" fmla="*/ 648222 h 1117121"/>
              <a:gd name="connsiteX316" fmla="*/ 475979 w 704517"/>
              <a:gd name="connsiteY316" fmla="*/ 646371 h 1117121"/>
              <a:gd name="connsiteX317" fmla="*/ 458973 w 704517"/>
              <a:gd name="connsiteY317" fmla="*/ 633935 h 1117121"/>
              <a:gd name="connsiteX318" fmla="*/ 446189 w 704517"/>
              <a:gd name="connsiteY318" fmla="*/ 624332 h 1117121"/>
              <a:gd name="connsiteX319" fmla="*/ 429299 w 704517"/>
              <a:gd name="connsiteY319" fmla="*/ 636942 h 1117121"/>
              <a:gd name="connsiteX320" fmla="*/ 428547 w 704517"/>
              <a:gd name="connsiteY320" fmla="*/ 637579 h 1117121"/>
              <a:gd name="connsiteX321" fmla="*/ 427621 w 704517"/>
              <a:gd name="connsiteY321" fmla="*/ 637579 h 1117121"/>
              <a:gd name="connsiteX322" fmla="*/ 426812 w 704517"/>
              <a:gd name="connsiteY322" fmla="*/ 637058 h 1117121"/>
              <a:gd name="connsiteX323" fmla="*/ 425076 w 704517"/>
              <a:gd name="connsiteY323" fmla="*/ 636017 h 1117121"/>
              <a:gd name="connsiteX324" fmla="*/ 420738 w 704517"/>
              <a:gd name="connsiteY324" fmla="*/ 634687 h 1117121"/>
              <a:gd name="connsiteX325" fmla="*/ 411136 w 704517"/>
              <a:gd name="connsiteY325" fmla="*/ 655742 h 1117121"/>
              <a:gd name="connsiteX326" fmla="*/ 402980 w 704517"/>
              <a:gd name="connsiteY326" fmla="*/ 665980 h 1117121"/>
              <a:gd name="connsiteX327" fmla="*/ 401707 w 704517"/>
              <a:gd name="connsiteY327" fmla="*/ 666038 h 1117121"/>
              <a:gd name="connsiteX328" fmla="*/ 391121 w 704517"/>
              <a:gd name="connsiteY328" fmla="*/ 661816 h 1117121"/>
              <a:gd name="connsiteX329" fmla="*/ 378396 w 704517"/>
              <a:gd name="connsiteY329" fmla="*/ 659039 h 1117121"/>
              <a:gd name="connsiteX330" fmla="*/ 374809 w 704517"/>
              <a:gd name="connsiteY330" fmla="*/ 659039 h 1117121"/>
              <a:gd name="connsiteX331" fmla="*/ 362836 w 704517"/>
              <a:gd name="connsiteY331" fmla="*/ 656725 h 1117121"/>
              <a:gd name="connsiteX332" fmla="*/ 357861 w 704517"/>
              <a:gd name="connsiteY332" fmla="*/ 656725 h 1117121"/>
              <a:gd name="connsiteX333" fmla="*/ 357399 w 704517"/>
              <a:gd name="connsiteY333" fmla="*/ 668930 h 1117121"/>
              <a:gd name="connsiteX334" fmla="*/ 357977 w 704517"/>
              <a:gd name="connsiteY334" fmla="*/ 675351 h 1117121"/>
              <a:gd name="connsiteX335" fmla="*/ 336054 w 704517"/>
              <a:gd name="connsiteY335" fmla="*/ 684259 h 1117121"/>
              <a:gd name="connsiteX336" fmla="*/ 316445 w 704517"/>
              <a:gd name="connsiteY336" fmla="*/ 698720 h 1117121"/>
              <a:gd name="connsiteX337" fmla="*/ 311065 w 704517"/>
              <a:gd name="connsiteY337" fmla="*/ 710289 h 1117121"/>
              <a:gd name="connsiteX338" fmla="*/ 308404 w 704517"/>
              <a:gd name="connsiteY338" fmla="*/ 717462 h 1117121"/>
              <a:gd name="connsiteX339" fmla="*/ 301694 w 704517"/>
              <a:gd name="connsiteY339" fmla="*/ 733311 h 1117121"/>
              <a:gd name="connsiteX340" fmla="*/ 293365 w 704517"/>
              <a:gd name="connsiteY340" fmla="*/ 744880 h 1117121"/>
              <a:gd name="connsiteX341" fmla="*/ 287580 w 704517"/>
              <a:gd name="connsiteY341" fmla="*/ 753672 h 1117121"/>
              <a:gd name="connsiteX342" fmla="*/ 286713 w 704517"/>
              <a:gd name="connsiteY342" fmla="*/ 758763 h 1117121"/>
              <a:gd name="connsiteX343" fmla="*/ 282258 w 704517"/>
              <a:gd name="connsiteY343" fmla="*/ 769406 h 1117121"/>
              <a:gd name="connsiteX344" fmla="*/ 269128 w 704517"/>
              <a:gd name="connsiteY344" fmla="*/ 772703 h 1117121"/>
              <a:gd name="connsiteX345" fmla="*/ 261666 w 704517"/>
              <a:gd name="connsiteY345" fmla="*/ 774438 h 1117121"/>
              <a:gd name="connsiteX346" fmla="*/ 260509 w 704517"/>
              <a:gd name="connsiteY346" fmla="*/ 784966 h 1117121"/>
              <a:gd name="connsiteX347" fmla="*/ 260509 w 704517"/>
              <a:gd name="connsiteY347" fmla="*/ 798444 h 1117121"/>
              <a:gd name="connsiteX348" fmla="*/ 242115 w 704517"/>
              <a:gd name="connsiteY348" fmla="*/ 834018 h 1117121"/>
              <a:gd name="connsiteX349" fmla="*/ 239743 w 704517"/>
              <a:gd name="connsiteY349" fmla="*/ 841249 h 1117121"/>
              <a:gd name="connsiteX350" fmla="*/ 247379 w 704517"/>
              <a:gd name="connsiteY350" fmla="*/ 846339 h 1117121"/>
              <a:gd name="connsiteX351" fmla="*/ 248073 w 704517"/>
              <a:gd name="connsiteY351" fmla="*/ 846339 h 1117121"/>
              <a:gd name="connsiteX352" fmla="*/ 251139 w 704517"/>
              <a:gd name="connsiteY352" fmla="*/ 849289 h 1117121"/>
              <a:gd name="connsiteX353" fmla="*/ 248709 w 704517"/>
              <a:gd name="connsiteY353" fmla="*/ 863461 h 1117121"/>
              <a:gd name="connsiteX354" fmla="*/ 240958 w 704517"/>
              <a:gd name="connsiteY354" fmla="*/ 868320 h 1117121"/>
              <a:gd name="connsiteX355" fmla="*/ 232513 w 704517"/>
              <a:gd name="connsiteY355" fmla="*/ 866411 h 1117121"/>
              <a:gd name="connsiteX356" fmla="*/ 229273 w 704517"/>
              <a:gd name="connsiteY356" fmla="*/ 865427 h 1117121"/>
              <a:gd name="connsiteX357" fmla="*/ 203301 w 704517"/>
              <a:gd name="connsiteY357" fmla="*/ 882781 h 1117121"/>
              <a:gd name="connsiteX358" fmla="*/ 200756 w 704517"/>
              <a:gd name="connsiteY358" fmla="*/ 909042 h 1117121"/>
              <a:gd name="connsiteX359" fmla="*/ 200062 w 704517"/>
              <a:gd name="connsiteY359" fmla="*/ 918355 h 1117121"/>
              <a:gd name="connsiteX360" fmla="*/ 200698 w 704517"/>
              <a:gd name="connsiteY360" fmla="*/ 936229 h 1117121"/>
              <a:gd name="connsiteX361" fmla="*/ 201276 w 704517"/>
              <a:gd name="connsiteY361" fmla="*/ 953061 h 1117121"/>
              <a:gd name="connsiteX362" fmla="*/ 199541 w 704517"/>
              <a:gd name="connsiteY362" fmla="*/ 962490 h 1117121"/>
              <a:gd name="connsiteX363" fmla="*/ 208045 w 704517"/>
              <a:gd name="connsiteY363" fmla="*/ 971398 h 1117121"/>
              <a:gd name="connsiteX364" fmla="*/ 217704 w 704517"/>
              <a:gd name="connsiteY364" fmla="*/ 981984 h 1117121"/>
              <a:gd name="connsiteX365" fmla="*/ 214812 w 704517"/>
              <a:gd name="connsiteY365" fmla="*/ 993553 h 1117121"/>
              <a:gd name="connsiteX366" fmla="*/ 206193 w 704517"/>
              <a:gd name="connsiteY366" fmla="*/ 997313 h 1117121"/>
              <a:gd name="connsiteX367" fmla="*/ 204169 w 704517"/>
              <a:gd name="connsiteY367" fmla="*/ 999221 h 1117121"/>
              <a:gd name="connsiteX368" fmla="*/ 208045 w 704517"/>
              <a:gd name="connsiteY368" fmla="*/ 1008187 h 1117121"/>
              <a:gd name="connsiteX369" fmla="*/ 209780 w 704517"/>
              <a:gd name="connsiteY369" fmla="*/ 1035663 h 1117121"/>
              <a:gd name="connsiteX370" fmla="*/ 199136 w 704517"/>
              <a:gd name="connsiteY370" fmla="*/ 1039018 h 1117121"/>
              <a:gd name="connsiteX371" fmla="*/ 191906 w 704517"/>
              <a:gd name="connsiteY371" fmla="*/ 1040291 h 1117121"/>
              <a:gd name="connsiteX372" fmla="*/ 191906 w 704517"/>
              <a:gd name="connsiteY372" fmla="*/ 1041390 h 1117121"/>
              <a:gd name="connsiteX373" fmla="*/ 189823 w 704517"/>
              <a:gd name="connsiteY373" fmla="*/ 1055677 h 1117121"/>
              <a:gd name="connsiteX374" fmla="*/ 188030 w 704517"/>
              <a:gd name="connsiteY374" fmla="*/ 1063660 h 1117121"/>
              <a:gd name="connsiteX375" fmla="*/ 181899 w 704517"/>
              <a:gd name="connsiteY375" fmla="*/ 1083558 h 1117121"/>
              <a:gd name="connsiteX376" fmla="*/ 179759 w 704517"/>
              <a:gd name="connsiteY376" fmla="*/ 1082749 h 1117121"/>
              <a:gd name="connsiteX377" fmla="*/ 174900 w 704517"/>
              <a:gd name="connsiteY377" fmla="*/ 1081534 h 1117121"/>
              <a:gd name="connsiteX378" fmla="*/ 172065 w 704517"/>
              <a:gd name="connsiteY378" fmla="*/ 1081534 h 1117121"/>
              <a:gd name="connsiteX379" fmla="*/ 170793 w 704517"/>
              <a:gd name="connsiteY379" fmla="*/ 1080435 h 1117121"/>
              <a:gd name="connsiteX380" fmla="*/ 165008 w 704517"/>
              <a:gd name="connsiteY380" fmla="*/ 1068866 h 1117121"/>
              <a:gd name="connsiteX381" fmla="*/ 159629 w 704517"/>
              <a:gd name="connsiteY381" fmla="*/ 1060652 h 1117121"/>
              <a:gd name="connsiteX382" fmla="*/ 155406 w 704517"/>
              <a:gd name="connsiteY382" fmla="*/ 1053768 h 1117121"/>
              <a:gd name="connsiteX383" fmla="*/ 155059 w 704517"/>
              <a:gd name="connsiteY383" fmla="*/ 1053768 h 1117121"/>
              <a:gd name="connsiteX384" fmla="*/ 152861 w 704517"/>
              <a:gd name="connsiteY384" fmla="*/ 1060999 h 1117121"/>
              <a:gd name="connsiteX385" fmla="*/ 148291 w 704517"/>
              <a:gd name="connsiteY385" fmla="*/ 1073436 h 1117121"/>
              <a:gd name="connsiteX386" fmla="*/ 140772 w 704517"/>
              <a:gd name="connsiteY386" fmla="*/ 1075691 h 1117121"/>
              <a:gd name="connsiteX387" fmla="*/ 137417 w 704517"/>
              <a:gd name="connsiteY387" fmla="*/ 1075691 h 1117121"/>
              <a:gd name="connsiteX388" fmla="*/ 134466 w 704517"/>
              <a:gd name="connsiteY388" fmla="*/ 1075691 h 1117121"/>
              <a:gd name="connsiteX389" fmla="*/ 129492 w 704517"/>
              <a:gd name="connsiteY389" fmla="*/ 1077543 h 1117121"/>
              <a:gd name="connsiteX390" fmla="*/ 77895 w 704517"/>
              <a:gd name="connsiteY390" fmla="*/ 1115546 h 1117121"/>
              <a:gd name="connsiteX391" fmla="*/ 72284 w 704517"/>
              <a:gd name="connsiteY391" fmla="*/ 1116992 h 1117121"/>
              <a:gd name="connsiteX392" fmla="*/ 27686 w 704517"/>
              <a:gd name="connsiteY392" fmla="*/ 1057818 h 1117121"/>
              <a:gd name="connsiteX393" fmla="*/ 36305 w 704517"/>
              <a:gd name="connsiteY393" fmla="*/ 1064528 h 1117121"/>
              <a:gd name="connsiteX394" fmla="*/ 36652 w 704517"/>
              <a:gd name="connsiteY394" fmla="*/ 1068345 h 1117121"/>
              <a:gd name="connsiteX395" fmla="*/ 33528 w 704517"/>
              <a:gd name="connsiteY395" fmla="*/ 1070486 h 1117121"/>
              <a:gd name="connsiteX396" fmla="*/ 29537 w 704517"/>
              <a:gd name="connsiteY396" fmla="*/ 1075865 h 1117121"/>
              <a:gd name="connsiteX397" fmla="*/ 24331 w 704517"/>
              <a:gd name="connsiteY397" fmla="*/ 1081997 h 1117121"/>
              <a:gd name="connsiteX398" fmla="*/ 18026 w 704517"/>
              <a:gd name="connsiteY398" fmla="*/ 1085005 h 1117121"/>
              <a:gd name="connsiteX399" fmla="*/ 18026 w 704517"/>
              <a:gd name="connsiteY399" fmla="*/ 1087723 h 1117121"/>
              <a:gd name="connsiteX400" fmla="*/ 46312 w 704517"/>
              <a:gd name="connsiteY400" fmla="*/ 1105886 h 1117121"/>
              <a:gd name="connsiteX401" fmla="*/ 54179 w 704517"/>
              <a:gd name="connsiteY401" fmla="*/ 1109299 h 1117121"/>
              <a:gd name="connsiteX402" fmla="*/ 72515 w 704517"/>
              <a:gd name="connsiteY402" fmla="*/ 1114736 h 1117121"/>
              <a:gd name="connsiteX403" fmla="*/ 77779 w 704517"/>
              <a:gd name="connsiteY403" fmla="*/ 1114331 h 1117121"/>
              <a:gd name="connsiteX404" fmla="*/ 127872 w 704517"/>
              <a:gd name="connsiteY404" fmla="*/ 1077196 h 1117121"/>
              <a:gd name="connsiteX405" fmla="*/ 134640 w 704517"/>
              <a:gd name="connsiteY405" fmla="*/ 1074477 h 1117121"/>
              <a:gd name="connsiteX406" fmla="*/ 137764 w 704517"/>
              <a:gd name="connsiteY406" fmla="*/ 1074477 h 1117121"/>
              <a:gd name="connsiteX407" fmla="*/ 140945 w 704517"/>
              <a:gd name="connsiteY407" fmla="*/ 1074477 h 1117121"/>
              <a:gd name="connsiteX408" fmla="*/ 147076 w 704517"/>
              <a:gd name="connsiteY408" fmla="*/ 1072684 h 1117121"/>
              <a:gd name="connsiteX409" fmla="*/ 150779 w 704517"/>
              <a:gd name="connsiteY409" fmla="*/ 1061809 h 1117121"/>
              <a:gd name="connsiteX410" fmla="*/ 154134 w 704517"/>
              <a:gd name="connsiteY410" fmla="*/ 1052843 h 1117121"/>
              <a:gd name="connsiteX411" fmla="*/ 155580 w 704517"/>
              <a:gd name="connsiteY411" fmla="*/ 1052438 h 1117121"/>
              <a:gd name="connsiteX412" fmla="*/ 161885 w 704517"/>
              <a:gd name="connsiteY412" fmla="*/ 1060710 h 1117121"/>
              <a:gd name="connsiteX413" fmla="*/ 165992 w 704517"/>
              <a:gd name="connsiteY413" fmla="*/ 1067709 h 1117121"/>
              <a:gd name="connsiteX414" fmla="*/ 173106 w 704517"/>
              <a:gd name="connsiteY414" fmla="*/ 1079856 h 1117121"/>
              <a:gd name="connsiteX415" fmla="*/ 181205 w 704517"/>
              <a:gd name="connsiteY415" fmla="*/ 1081418 h 1117121"/>
              <a:gd name="connsiteX416" fmla="*/ 182015 w 704517"/>
              <a:gd name="connsiteY416" fmla="*/ 1081765 h 1117121"/>
              <a:gd name="connsiteX417" fmla="*/ 185890 w 704517"/>
              <a:gd name="connsiteY417" fmla="*/ 1064123 h 1117121"/>
              <a:gd name="connsiteX418" fmla="*/ 187741 w 704517"/>
              <a:gd name="connsiteY418" fmla="*/ 1055504 h 1117121"/>
              <a:gd name="connsiteX419" fmla="*/ 189823 w 704517"/>
              <a:gd name="connsiteY419" fmla="*/ 1042315 h 1117121"/>
              <a:gd name="connsiteX420" fmla="*/ 190402 w 704517"/>
              <a:gd name="connsiteY420" fmla="*/ 1039365 h 1117121"/>
              <a:gd name="connsiteX421" fmla="*/ 199310 w 704517"/>
              <a:gd name="connsiteY421" fmla="*/ 1037225 h 1117121"/>
              <a:gd name="connsiteX422" fmla="*/ 208102 w 704517"/>
              <a:gd name="connsiteY422" fmla="*/ 1035085 h 1117121"/>
              <a:gd name="connsiteX423" fmla="*/ 207293 w 704517"/>
              <a:gd name="connsiteY423" fmla="*/ 1010675 h 1117121"/>
              <a:gd name="connsiteX424" fmla="*/ 202260 w 704517"/>
              <a:gd name="connsiteY424" fmla="*/ 999106 h 1117121"/>
              <a:gd name="connsiteX425" fmla="*/ 206483 w 704517"/>
              <a:gd name="connsiteY425" fmla="*/ 995461 h 1117121"/>
              <a:gd name="connsiteX426" fmla="*/ 213424 w 704517"/>
              <a:gd name="connsiteY426" fmla="*/ 992454 h 1117121"/>
              <a:gd name="connsiteX427" fmla="*/ 215738 w 704517"/>
              <a:gd name="connsiteY427" fmla="*/ 982504 h 1117121"/>
              <a:gd name="connsiteX428" fmla="*/ 207235 w 704517"/>
              <a:gd name="connsiteY428" fmla="*/ 973596 h 1117121"/>
              <a:gd name="connsiteX429" fmla="*/ 197575 w 704517"/>
              <a:gd name="connsiteY429" fmla="*/ 963011 h 1117121"/>
              <a:gd name="connsiteX430" fmla="*/ 199483 w 704517"/>
              <a:gd name="connsiteY430" fmla="*/ 952425 h 1117121"/>
              <a:gd name="connsiteX431" fmla="*/ 198963 w 704517"/>
              <a:gd name="connsiteY431" fmla="*/ 937444 h 1117121"/>
              <a:gd name="connsiteX432" fmla="*/ 198211 w 704517"/>
              <a:gd name="connsiteY432" fmla="*/ 917950 h 1117121"/>
              <a:gd name="connsiteX433" fmla="*/ 198963 w 704517"/>
              <a:gd name="connsiteY433" fmla="*/ 910083 h 1117121"/>
              <a:gd name="connsiteX434" fmla="*/ 201624 w 704517"/>
              <a:gd name="connsiteY434" fmla="*/ 881855 h 1117121"/>
              <a:gd name="connsiteX435" fmla="*/ 228290 w 704517"/>
              <a:gd name="connsiteY435" fmla="*/ 862998 h 1117121"/>
              <a:gd name="connsiteX436" fmla="*/ 230141 w 704517"/>
              <a:gd name="connsiteY436" fmla="*/ 862998 h 1117121"/>
              <a:gd name="connsiteX437" fmla="*/ 233554 w 704517"/>
              <a:gd name="connsiteY437" fmla="*/ 864039 h 1117121"/>
              <a:gd name="connsiteX438" fmla="*/ 241247 w 704517"/>
              <a:gd name="connsiteY438" fmla="*/ 865832 h 1117121"/>
              <a:gd name="connsiteX439" fmla="*/ 247032 w 704517"/>
              <a:gd name="connsiteY439" fmla="*/ 862188 h 1117121"/>
              <a:gd name="connsiteX440" fmla="*/ 249403 w 704517"/>
              <a:gd name="connsiteY440" fmla="*/ 849925 h 1117121"/>
              <a:gd name="connsiteX441" fmla="*/ 247726 w 704517"/>
              <a:gd name="connsiteY441" fmla="*/ 848248 h 1117121"/>
              <a:gd name="connsiteX442" fmla="*/ 247032 w 704517"/>
              <a:gd name="connsiteY442" fmla="*/ 848248 h 1117121"/>
              <a:gd name="connsiteX443" fmla="*/ 237950 w 704517"/>
              <a:gd name="connsiteY443" fmla="*/ 841711 h 1117121"/>
              <a:gd name="connsiteX444" fmla="*/ 240668 w 704517"/>
              <a:gd name="connsiteY444" fmla="*/ 832398 h 1117121"/>
              <a:gd name="connsiteX445" fmla="*/ 258600 w 704517"/>
              <a:gd name="connsiteY445" fmla="*/ 797981 h 1117121"/>
              <a:gd name="connsiteX446" fmla="*/ 258600 w 704517"/>
              <a:gd name="connsiteY446" fmla="*/ 784908 h 1117121"/>
              <a:gd name="connsiteX447" fmla="*/ 260336 w 704517"/>
              <a:gd name="connsiteY447" fmla="*/ 772645 h 1117121"/>
              <a:gd name="connsiteX448" fmla="*/ 269359 w 704517"/>
              <a:gd name="connsiteY448" fmla="*/ 770216 h 1117121"/>
              <a:gd name="connsiteX449" fmla="*/ 281275 w 704517"/>
              <a:gd name="connsiteY449" fmla="*/ 767324 h 1117121"/>
              <a:gd name="connsiteX450" fmla="*/ 284746 w 704517"/>
              <a:gd name="connsiteY450" fmla="*/ 758705 h 1117121"/>
              <a:gd name="connsiteX451" fmla="*/ 286308 w 704517"/>
              <a:gd name="connsiteY451" fmla="*/ 751879 h 1117121"/>
              <a:gd name="connsiteX452" fmla="*/ 291745 w 704517"/>
              <a:gd name="connsiteY452" fmla="*/ 743492 h 1117121"/>
              <a:gd name="connsiteX453" fmla="*/ 300133 w 704517"/>
              <a:gd name="connsiteY453" fmla="*/ 731344 h 1117121"/>
              <a:gd name="connsiteX454" fmla="*/ 306380 w 704517"/>
              <a:gd name="connsiteY454" fmla="*/ 718619 h 1117121"/>
              <a:gd name="connsiteX455" fmla="*/ 309040 w 704517"/>
              <a:gd name="connsiteY455" fmla="*/ 708727 h 1117121"/>
              <a:gd name="connsiteX456" fmla="*/ 313957 w 704517"/>
              <a:gd name="connsiteY456" fmla="*/ 698489 h 1117121"/>
              <a:gd name="connsiteX457" fmla="*/ 335822 w 704517"/>
              <a:gd name="connsiteY457" fmla="*/ 681772 h 1117121"/>
              <a:gd name="connsiteX458" fmla="*/ 355490 w 704517"/>
              <a:gd name="connsiteY458" fmla="*/ 675120 h 1117121"/>
              <a:gd name="connsiteX459" fmla="*/ 354969 w 704517"/>
              <a:gd name="connsiteY459" fmla="*/ 668988 h 1117121"/>
              <a:gd name="connsiteX460" fmla="*/ 355952 w 704517"/>
              <a:gd name="connsiteY460" fmla="*/ 654990 h 1117121"/>
              <a:gd name="connsiteX461" fmla="*/ 363530 w 704517"/>
              <a:gd name="connsiteY461" fmla="*/ 654643 h 1117121"/>
              <a:gd name="connsiteX462" fmla="*/ 374578 w 704517"/>
              <a:gd name="connsiteY462" fmla="*/ 656725 h 1117121"/>
              <a:gd name="connsiteX463" fmla="*/ 378107 w 704517"/>
              <a:gd name="connsiteY463" fmla="*/ 656725 h 1117121"/>
              <a:gd name="connsiteX464" fmla="*/ 381346 w 704517"/>
              <a:gd name="connsiteY464" fmla="*/ 656725 h 1117121"/>
              <a:gd name="connsiteX465" fmla="*/ 392336 w 704517"/>
              <a:gd name="connsiteY465" fmla="*/ 660138 h 1117121"/>
              <a:gd name="connsiteX466" fmla="*/ 401476 w 704517"/>
              <a:gd name="connsiteY466" fmla="*/ 663840 h 1117121"/>
              <a:gd name="connsiteX467" fmla="*/ 408648 w 704517"/>
              <a:gd name="connsiteY467" fmla="*/ 655800 h 1117121"/>
              <a:gd name="connsiteX468" fmla="*/ 420506 w 704517"/>
              <a:gd name="connsiteY468" fmla="*/ 632662 h 1117121"/>
              <a:gd name="connsiteX469" fmla="*/ 425944 w 704517"/>
              <a:gd name="connsiteY469" fmla="*/ 634224 h 1117121"/>
              <a:gd name="connsiteX470" fmla="*/ 427506 w 704517"/>
              <a:gd name="connsiteY470" fmla="*/ 635207 h 1117121"/>
              <a:gd name="connsiteX471" fmla="*/ 446247 w 704517"/>
              <a:gd name="connsiteY471" fmla="*/ 622424 h 1117121"/>
              <a:gd name="connsiteX472" fmla="*/ 460419 w 704517"/>
              <a:gd name="connsiteY472" fmla="*/ 632778 h 1117121"/>
              <a:gd name="connsiteX473" fmla="*/ 476211 w 704517"/>
              <a:gd name="connsiteY473" fmla="*/ 644347 h 1117121"/>
              <a:gd name="connsiteX474" fmla="*/ 484482 w 704517"/>
              <a:gd name="connsiteY474" fmla="*/ 646198 h 1117121"/>
              <a:gd name="connsiteX475" fmla="*/ 498654 w 704517"/>
              <a:gd name="connsiteY475" fmla="*/ 648743 h 1117121"/>
              <a:gd name="connsiteX476" fmla="*/ 504844 w 704517"/>
              <a:gd name="connsiteY476" fmla="*/ 646140 h 1117121"/>
              <a:gd name="connsiteX477" fmla="*/ 509529 w 704517"/>
              <a:gd name="connsiteY477" fmla="*/ 643421 h 1117121"/>
              <a:gd name="connsiteX478" fmla="*/ 516123 w 704517"/>
              <a:gd name="connsiteY478" fmla="*/ 645272 h 1117121"/>
              <a:gd name="connsiteX479" fmla="*/ 526246 w 704517"/>
              <a:gd name="connsiteY479" fmla="*/ 646950 h 1117121"/>
              <a:gd name="connsiteX480" fmla="*/ 528155 w 704517"/>
              <a:gd name="connsiteY480" fmla="*/ 646603 h 1117121"/>
              <a:gd name="connsiteX481" fmla="*/ 534576 w 704517"/>
              <a:gd name="connsiteY481" fmla="*/ 651346 h 1117121"/>
              <a:gd name="connsiteX482" fmla="*/ 537699 w 704517"/>
              <a:gd name="connsiteY482" fmla="*/ 654238 h 1117121"/>
              <a:gd name="connsiteX483" fmla="*/ 541228 w 704517"/>
              <a:gd name="connsiteY483" fmla="*/ 651288 h 1117121"/>
              <a:gd name="connsiteX484" fmla="*/ 544814 w 704517"/>
              <a:gd name="connsiteY484" fmla="*/ 641050 h 1117121"/>
              <a:gd name="connsiteX485" fmla="*/ 550945 w 704517"/>
              <a:gd name="connsiteY485" fmla="*/ 635265 h 1117121"/>
              <a:gd name="connsiteX486" fmla="*/ 553953 w 704517"/>
              <a:gd name="connsiteY486" fmla="*/ 635265 h 1117121"/>
              <a:gd name="connsiteX487" fmla="*/ 559159 w 704517"/>
              <a:gd name="connsiteY487" fmla="*/ 633935 h 1117121"/>
              <a:gd name="connsiteX488" fmla="*/ 559159 w 704517"/>
              <a:gd name="connsiteY488" fmla="*/ 621556 h 1117121"/>
              <a:gd name="connsiteX489" fmla="*/ 558002 w 704517"/>
              <a:gd name="connsiteY489" fmla="*/ 612995 h 1117121"/>
              <a:gd name="connsiteX490" fmla="*/ 567489 w 704517"/>
              <a:gd name="connsiteY490" fmla="*/ 602178 h 1117121"/>
              <a:gd name="connsiteX491" fmla="*/ 574835 w 704517"/>
              <a:gd name="connsiteY491" fmla="*/ 594832 h 1117121"/>
              <a:gd name="connsiteX492" fmla="*/ 588197 w 704517"/>
              <a:gd name="connsiteY492" fmla="*/ 589510 h 1117121"/>
              <a:gd name="connsiteX493" fmla="*/ 591899 w 704517"/>
              <a:gd name="connsiteY493" fmla="*/ 589510 h 1117121"/>
              <a:gd name="connsiteX494" fmla="*/ 602369 w 704517"/>
              <a:gd name="connsiteY494" fmla="*/ 587659 h 1117121"/>
              <a:gd name="connsiteX495" fmla="*/ 615500 w 704517"/>
              <a:gd name="connsiteY495" fmla="*/ 581875 h 1117121"/>
              <a:gd name="connsiteX496" fmla="*/ 626317 w 704517"/>
              <a:gd name="connsiteY496" fmla="*/ 587659 h 1117121"/>
              <a:gd name="connsiteX497" fmla="*/ 641240 w 704517"/>
              <a:gd name="connsiteY497" fmla="*/ 597319 h 1117121"/>
              <a:gd name="connsiteX498" fmla="*/ 655007 w 704517"/>
              <a:gd name="connsiteY498" fmla="*/ 607500 h 1117121"/>
              <a:gd name="connsiteX499" fmla="*/ 655007 w 704517"/>
              <a:gd name="connsiteY499" fmla="*/ 617565 h 1117121"/>
              <a:gd name="connsiteX500" fmla="*/ 655007 w 704517"/>
              <a:gd name="connsiteY500" fmla="*/ 620283 h 1117121"/>
              <a:gd name="connsiteX501" fmla="*/ 666576 w 704517"/>
              <a:gd name="connsiteY501" fmla="*/ 615540 h 1117121"/>
              <a:gd name="connsiteX502" fmla="*/ 677104 w 704517"/>
              <a:gd name="connsiteY502" fmla="*/ 610276 h 1117121"/>
              <a:gd name="connsiteX503" fmla="*/ 687805 w 704517"/>
              <a:gd name="connsiteY503" fmla="*/ 604955 h 1117121"/>
              <a:gd name="connsiteX504" fmla="*/ 689425 w 704517"/>
              <a:gd name="connsiteY504" fmla="*/ 604955 h 1117121"/>
              <a:gd name="connsiteX505" fmla="*/ 693069 w 704517"/>
              <a:gd name="connsiteY505" fmla="*/ 605360 h 1117121"/>
              <a:gd name="connsiteX506" fmla="*/ 693069 w 704517"/>
              <a:gd name="connsiteY506" fmla="*/ 605360 h 1117121"/>
              <a:gd name="connsiteX507" fmla="*/ 701803 w 704517"/>
              <a:gd name="connsiteY507" fmla="*/ 596856 h 1117121"/>
              <a:gd name="connsiteX508" fmla="*/ 691276 w 704517"/>
              <a:gd name="connsiteY508" fmla="*/ 594253 h 1117121"/>
              <a:gd name="connsiteX509" fmla="*/ 683813 w 704517"/>
              <a:gd name="connsiteY509" fmla="*/ 597435 h 1117121"/>
              <a:gd name="connsiteX510" fmla="*/ 676757 w 704517"/>
              <a:gd name="connsiteY510" fmla="*/ 602294 h 1117121"/>
              <a:gd name="connsiteX511" fmla="*/ 670972 w 704517"/>
              <a:gd name="connsiteY511" fmla="*/ 599980 h 1117121"/>
              <a:gd name="connsiteX512" fmla="*/ 669468 w 704517"/>
              <a:gd name="connsiteY512" fmla="*/ 595873 h 1117121"/>
              <a:gd name="connsiteX513" fmla="*/ 658651 w 704517"/>
              <a:gd name="connsiteY513" fmla="*/ 587312 h 1117121"/>
              <a:gd name="connsiteX514" fmla="*/ 651768 w 704517"/>
              <a:gd name="connsiteY514" fmla="*/ 582569 h 1117121"/>
              <a:gd name="connsiteX515" fmla="*/ 651768 w 704517"/>
              <a:gd name="connsiteY515" fmla="*/ 580544 h 1117121"/>
              <a:gd name="connsiteX516" fmla="*/ 655701 w 704517"/>
              <a:gd name="connsiteY516" fmla="*/ 579214 h 1117121"/>
              <a:gd name="connsiteX517" fmla="*/ 666865 w 704517"/>
              <a:gd name="connsiteY517" fmla="*/ 582395 h 1117121"/>
              <a:gd name="connsiteX518" fmla="*/ 671956 w 704517"/>
              <a:gd name="connsiteY518" fmla="*/ 583957 h 1117121"/>
              <a:gd name="connsiteX519" fmla="*/ 683525 w 704517"/>
              <a:gd name="connsiteY519" fmla="*/ 576958 h 1117121"/>
              <a:gd name="connsiteX520" fmla="*/ 695961 w 704517"/>
              <a:gd name="connsiteY520" fmla="*/ 572678 h 1117121"/>
              <a:gd name="connsiteX521" fmla="*/ 701746 w 704517"/>
              <a:gd name="connsiteY521" fmla="*/ 570306 h 1117121"/>
              <a:gd name="connsiteX522" fmla="*/ 693705 w 704517"/>
              <a:gd name="connsiteY522" fmla="*/ 561861 h 1117121"/>
              <a:gd name="connsiteX523" fmla="*/ 687921 w 704517"/>
              <a:gd name="connsiteY523" fmla="*/ 557407 h 1117121"/>
              <a:gd name="connsiteX524" fmla="*/ 671898 w 704517"/>
              <a:gd name="connsiteY524" fmla="*/ 550697 h 1117121"/>
              <a:gd name="connsiteX525" fmla="*/ 668427 w 704517"/>
              <a:gd name="connsiteY525" fmla="*/ 550986 h 1117121"/>
              <a:gd name="connsiteX526" fmla="*/ 655759 w 704517"/>
              <a:gd name="connsiteY526" fmla="*/ 546821 h 1117121"/>
              <a:gd name="connsiteX527" fmla="*/ 652925 w 704517"/>
              <a:gd name="connsiteY527" fmla="*/ 543871 h 1117121"/>
              <a:gd name="connsiteX528" fmla="*/ 649396 w 704517"/>
              <a:gd name="connsiteY528" fmla="*/ 542714 h 1117121"/>
              <a:gd name="connsiteX529" fmla="*/ 633431 w 704517"/>
              <a:gd name="connsiteY529" fmla="*/ 557580 h 1117121"/>
              <a:gd name="connsiteX530" fmla="*/ 627647 w 704517"/>
              <a:gd name="connsiteY530" fmla="*/ 566430 h 1117121"/>
              <a:gd name="connsiteX531" fmla="*/ 624292 w 704517"/>
              <a:gd name="connsiteY531" fmla="*/ 564521 h 1117121"/>
              <a:gd name="connsiteX532" fmla="*/ 624755 w 704517"/>
              <a:gd name="connsiteY532" fmla="*/ 559431 h 1117121"/>
              <a:gd name="connsiteX533" fmla="*/ 624755 w 704517"/>
              <a:gd name="connsiteY533" fmla="*/ 552143 h 1117121"/>
              <a:gd name="connsiteX534" fmla="*/ 628573 w 704517"/>
              <a:gd name="connsiteY534" fmla="*/ 543524 h 1117121"/>
              <a:gd name="connsiteX535" fmla="*/ 631696 w 704517"/>
              <a:gd name="connsiteY535" fmla="*/ 539764 h 1117121"/>
              <a:gd name="connsiteX536" fmla="*/ 617466 w 704517"/>
              <a:gd name="connsiteY536" fmla="*/ 530451 h 1117121"/>
              <a:gd name="connsiteX537" fmla="*/ 601385 w 704517"/>
              <a:gd name="connsiteY537" fmla="*/ 538260 h 1117121"/>
              <a:gd name="connsiteX538" fmla="*/ 601385 w 704517"/>
              <a:gd name="connsiteY538" fmla="*/ 544045 h 1117121"/>
              <a:gd name="connsiteX539" fmla="*/ 601385 w 704517"/>
              <a:gd name="connsiteY539" fmla="*/ 550986 h 1117121"/>
              <a:gd name="connsiteX540" fmla="*/ 584553 w 704517"/>
              <a:gd name="connsiteY540" fmla="*/ 567356 h 1117121"/>
              <a:gd name="connsiteX541" fmla="*/ 581892 w 704517"/>
              <a:gd name="connsiteY541" fmla="*/ 566141 h 1117121"/>
              <a:gd name="connsiteX542" fmla="*/ 582355 w 704517"/>
              <a:gd name="connsiteY542" fmla="*/ 553820 h 1117121"/>
              <a:gd name="connsiteX543" fmla="*/ 583859 w 704517"/>
              <a:gd name="connsiteY543" fmla="*/ 543293 h 1117121"/>
              <a:gd name="connsiteX544" fmla="*/ 582702 w 704517"/>
              <a:gd name="connsiteY544" fmla="*/ 540285 h 1117121"/>
              <a:gd name="connsiteX545" fmla="*/ 568472 w 704517"/>
              <a:gd name="connsiteY545" fmla="*/ 553242 h 1117121"/>
              <a:gd name="connsiteX546" fmla="*/ 561762 w 704517"/>
              <a:gd name="connsiteY546" fmla="*/ 561109 h 1117121"/>
              <a:gd name="connsiteX547" fmla="*/ 541632 w 704517"/>
              <a:gd name="connsiteY547" fmla="*/ 579445 h 1117121"/>
              <a:gd name="connsiteX548" fmla="*/ 536426 w 704517"/>
              <a:gd name="connsiteY548" fmla="*/ 576333 h 1117121"/>
              <a:gd name="connsiteX549" fmla="*/ 536368 w 704517"/>
              <a:gd name="connsiteY549" fmla="*/ 575975 h 1117121"/>
              <a:gd name="connsiteX550" fmla="*/ 545739 w 704517"/>
              <a:gd name="connsiteY550" fmla="*/ 560010 h 1117121"/>
              <a:gd name="connsiteX551" fmla="*/ 555689 w 704517"/>
              <a:gd name="connsiteY551" fmla="*/ 547457 h 1117121"/>
              <a:gd name="connsiteX552" fmla="*/ 564018 w 704517"/>
              <a:gd name="connsiteY552" fmla="*/ 538839 h 1117121"/>
              <a:gd name="connsiteX553" fmla="*/ 567662 w 704517"/>
              <a:gd name="connsiteY553" fmla="*/ 536583 h 1117121"/>
              <a:gd name="connsiteX554" fmla="*/ 560490 w 704517"/>
              <a:gd name="connsiteY554" fmla="*/ 530798 h 1117121"/>
              <a:gd name="connsiteX555" fmla="*/ 558118 w 704517"/>
              <a:gd name="connsiteY555" fmla="*/ 530509 h 1117121"/>
              <a:gd name="connsiteX556" fmla="*/ 549268 w 704517"/>
              <a:gd name="connsiteY556" fmla="*/ 538376 h 1117121"/>
              <a:gd name="connsiteX557" fmla="*/ 546607 w 704517"/>
              <a:gd name="connsiteY557" fmla="*/ 542656 h 1117121"/>
              <a:gd name="connsiteX558" fmla="*/ 543426 w 704517"/>
              <a:gd name="connsiteY558" fmla="*/ 543698 h 1117121"/>
              <a:gd name="connsiteX559" fmla="*/ 533418 w 704517"/>
              <a:gd name="connsiteY559" fmla="*/ 541384 h 1117121"/>
              <a:gd name="connsiteX560" fmla="*/ 527634 w 704517"/>
              <a:gd name="connsiteY560" fmla="*/ 539822 h 1117121"/>
              <a:gd name="connsiteX561" fmla="*/ 524626 w 704517"/>
              <a:gd name="connsiteY561" fmla="*/ 543524 h 1117121"/>
              <a:gd name="connsiteX562" fmla="*/ 522544 w 704517"/>
              <a:gd name="connsiteY562" fmla="*/ 549308 h 1117121"/>
              <a:gd name="connsiteX563" fmla="*/ 523469 w 704517"/>
              <a:gd name="connsiteY563" fmla="*/ 556423 h 1117121"/>
              <a:gd name="connsiteX564" fmla="*/ 519999 w 704517"/>
              <a:gd name="connsiteY564" fmla="*/ 558621 h 1117121"/>
              <a:gd name="connsiteX565" fmla="*/ 514619 w 704517"/>
              <a:gd name="connsiteY565" fmla="*/ 554514 h 1117121"/>
              <a:gd name="connsiteX566" fmla="*/ 510165 w 704517"/>
              <a:gd name="connsiteY566" fmla="*/ 551738 h 1117121"/>
              <a:gd name="connsiteX567" fmla="*/ 497555 w 704517"/>
              <a:gd name="connsiteY567" fmla="*/ 560993 h 1117121"/>
              <a:gd name="connsiteX568" fmla="*/ 490961 w 704517"/>
              <a:gd name="connsiteY568" fmla="*/ 568108 h 1117121"/>
              <a:gd name="connsiteX569" fmla="*/ 489630 w 704517"/>
              <a:gd name="connsiteY569" fmla="*/ 569207 h 1117121"/>
              <a:gd name="connsiteX570" fmla="*/ 490730 w 704517"/>
              <a:gd name="connsiteY570" fmla="*/ 569901 h 1117121"/>
              <a:gd name="connsiteX571" fmla="*/ 494374 w 704517"/>
              <a:gd name="connsiteY571" fmla="*/ 579330 h 1117121"/>
              <a:gd name="connsiteX572" fmla="*/ 487606 w 704517"/>
              <a:gd name="connsiteY572" fmla="*/ 587775 h 1117121"/>
              <a:gd name="connsiteX573" fmla="*/ 486449 w 704517"/>
              <a:gd name="connsiteY573" fmla="*/ 587775 h 1117121"/>
              <a:gd name="connsiteX574" fmla="*/ 480665 w 704517"/>
              <a:gd name="connsiteY574" fmla="*/ 576900 h 1117121"/>
              <a:gd name="connsiteX575" fmla="*/ 478235 w 704517"/>
              <a:gd name="connsiteY575" fmla="*/ 569727 h 1117121"/>
              <a:gd name="connsiteX576" fmla="*/ 477888 w 704517"/>
              <a:gd name="connsiteY576" fmla="*/ 569727 h 1117121"/>
              <a:gd name="connsiteX577" fmla="*/ 474070 w 704517"/>
              <a:gd name="connsiteY577" fmla="*/ 568686 h 1117121"/>
              <a:gd name="connsiteX578" fmla="*/ 475054 w 704517"/>
              <a:gd name="connsiteY578" fmla="*/ 562265 h 1117121"/>
              <a:gd name="connsiteX579" fmla="*/ 483152 w 704517"/>
              <a:gd name="connsiteY579" fmla="*/ 557002 h 1117121"/>
              <a:gd name="connsiteX580" fmla="*/ 493911 w 704517"/>
              <a:gd name="connsiteY580" fmla="*/ 550003 h 1117121"/>
              <a:gd name="connsiteX581" fmla="*/ 496629 w 704517"/>
              <a:gd name="connsiteY581" fmla="*/ 544218 h 1117121"/>
              <a:gd name="connsiteX582" fmla="*/ 493448 w 704517"/>
              <a:gd name="connsiteY582" fmla="*/ 542078 h 1117121"/>
              <a:gd name="connsiteX583" fmla="*/ 489168 w 704517"/>
              <a:gd name="connsiteY583" fmla="*/ 546006 h 1117121"/>
              <a:gd name="connsiteX584" fmla="*/ 489168 w 704517"/>
              <a:gd name="connsiteY584" fmla="*/ 546301 h 1117121"/>
              <a:gd name="connsiteX585" fmla="*/ 476384 w 704517"/>
              <a:gd name="connsiteY585" fmla="*/ 552085 h 1117121"/>
              <a:gd name="connsiteX586" fmla="*/ 468691 w 704517"/>
              <a:gd name="connsiteY586" fmla="*/ 552085 h 1117121"/>
              <a:gd name="connsiteX587" fmla="*/ 465336 w 704517"/>
              <a:gd name="connsiteY587" fmla="*/ 552085 h 1117121"/>
              <a:gd name="connsiteX588" fmla="*/ 459898 w 704517"/>
              <a:gd name="connsiteY588" fmla="*/ 555498 h 1117121"/>
              <a:gd name="connsiteX589" fmla="*/ 467997 w 704517"/>
              <a:gd name="connsiteY589" fmla="*/ 568108 h 1117121"/>
              <a:gd name="connsiteX590" fmla="*/ 472855 w 704517"/>
              <a:gd name="connsiteY590" fmla="*/ 574644 h 1117121"/>
              <a:gd name="connsiteX591" fmla="*/ 466204 w 704517"/>
              <a:gd name="connsiteY591" fmla="*/ 578057 h 1117121"/>
              <a:gd name="connsiteX592" fmla="*/ 459031 w 704517"/>
              <a:gd name="connsiteY592" fmla="*/ 575628 h 1117121"/>
              <a:gd name="connsiteX593" fmla="*/ 451453 w 704517"/>
              <a:gd name="connsiteY593" fmla="*/ 573140 h 1117121"/>
              <a:gd name="connsiteX594" fmla="*/ 439884 w 704517"/>
              <a:gd name="connsiteY594" fmla="*/ 576206 h 1117121"/>
              <a:gd name="connsiteX595" fmla="*/ 439422 w 704517"/>
              <a:gd name="connsiteY595" fmla="*/ 576495 h 1117121"/>
              <a:gd name="connsiteX596" fmla="*/ 447404 w 704517"/>
              <a:gd name="connsiteY596" fmla="*/ 582280 h 1117121"/>
              <a:gd name="connsiteX597" fmla="*/ 455907 w 704517"/>
              <a:gd name="connsiteY597" fmla="*/ 588816 h 1117121"/>
              <a:gd name="connsiteX598" fmla="*/ 454808 w 704517"/>
              <a:gd name="connsiteY598" fmla="*/ 591095 h 1117121"/>
              <a:gd name="connsiteX599" fmla="*/ 454056 w 704517"/>
              <a:gd name="connsiteY599" fmla="*/ 591188 h 1117121"/>
              <a:gd name="connsiteX600" fmla="*/ 449429 w 704517"/>
              <a:gd name="connsiteY600" fmla="*/ 589742 h 1117121"/>
              <a:gd name="connsiteX601" fmla="*/ 443644 w 704517"/>
              <a:gd name="connsiteY601" fmla="*/ 587948 h 1117121"/>
              <a:gd name="connsiteX602" fmla="*/ 442834 w 704517"/>
              <a:gd name="connsiteY602" fmla="*/ 587948 h 1117121"/>
              <a:gd name="connsiteX603" fmla="*/ 439595 w 704517"/>
              <a:gd name="connsiteY603" fmla="*/ 589163 h 1117121"/>
              <a:gd name="connsiteX604" fmla="*/ 426291 w 704517"/>
              <a:gd name="connsiteY604" fmla="*/ 578462 h 1117121"/>
              <a:gd name="connsiteX605" fmla="*/ 424209 w 704517"/>
              <a:gd name="connsiteY605" fmla="*/ 577074 h 1117121"/>
              <a:gd name="connsiteX606" fmla="*/ 416631 w 704517"/>
              <a:gd name="connsiteY606" fmla="*/ 581123 h 1117121"/>
              <a:gd name="connsiteX607" fmla="*/ 418829 w 704517"/>
              <a:gd name="connsiteY607" fmla="*/ 582453 h 1117121"/>
              <a:gd name="connsiteX608" fmla="*/ 426522 w 704517"/>
              <a:gd name="connsiteY608" fmla="*/ 595873 h 1117121"/>
              <a:gd name="connsiteX609" fmla="*/ 426175 w 704517"/>
              <a:gd name="connsiteY609" fmla="*/ 601368 h 1117121"/>
              <a:gd name="connsiteX610" fmla="*/ 422068 w 704517"/>
              <a:gd name="connsiteY610" fmla="*/ 606690 h 1117121"/>
              <a:gd name="connsiteX611" fmla="*/ 416284 w 704517"/>
              <a:gd name="connsiteY611" fmla="*/ 603104 h 1117121"/>
              <a:gd name="connsiteX612" fmla="*/ 414838 w 704517"/>
              <a:gd name="connsiteY612" fmla="*/ 595410 h 1117121"/>
              <a:gd name="connsiteX613" fmla="*/ 414838 w 704517"/>
              <a:gd name="connsiteY613" fmla="*/ 592402 h 1117121"/>
              <a:gd name="connsiteX614" fmla="*/ 412293 w 704517"/>
              <a:gd name="connsiteY614" fmla="*/ 591535 h 1117121"/>
              <a:gd name="connsiteX615" fmla="*/ 401129 w 704517"/>
              <a:gd name="connsiteY615" fmla="*/ 595410 h 1117121"/>
              <a:gd name="connsiteX616" fmla="*/ 396501 w 704517"/>
              <a:gd name="connsiteY616" fmla="*/ 595873 h 1117121"/>
              <a:gd name="connsiteX617" fmla="*/ 396906 w 704517"/>
              <a:gd name="connsiteY617" fmla="*/ 589799 h 1117121"/>
              <a:gd name="connsiteX618" fmla="*/ 397542 w 704517"/>
              <a:gd name="connsiteY618" fmla="*/ 579214 h 1117121"/>
              <a:gd name="connsiteX619" fmla="*/ 394303 w 704517"/>
              <a:gd name="connsiteY619" fmla="*/ 576900 h 1117121"/>
              <a:gd name="connsiteX620" fmla="*/ 387709 w 704517"/>
              <a:gd name="connsiteY620" fmla="*/ 578867 h 1117121"/>
              <a:gd name="connsiteX621" fmla="*/ 379784 w 704517"/>
              <a:gd name="connsiteY621" fmla="*/ 581470 h 1117121"/>
              <a:gd name="connsiteX622" fmla="*/ 378280 w 704517"/>
              <a:gd name="connsiteY622" fmla="*/ 581759 h 1117121"/>
              <a:gd name="connsiteX623" fmla="*/ 370761 w 704517"/>
              <a:gd name="connsiteY623" fmla="*/ 584073 h 1117121"/>
              <a:gd name="connsiteX624" fmla="*/ 372727 w 704517"/>
              <a:gd name="connsiteY624" fmla="*/ 587254 h 1117121"/>
              <a:gd name="connsiteX625" fmla="*/ 375908 w 704517"/>
              <a:gd name="connsiteY625" fmla="*/ 598823 h 1117121"/>
              <a:gd name="connsiteX626" fmla="*/ 369257 w 704517"/>
              <a:gd name="connsiteY626" fmla="*/ 601831 h 1117121"/>
              <a:gd name="connsiteX627" fmla="*/ 362315 w 704517"/>
              <a:gd name="connsiteY627" fmla="*/ 602409 h 1117121"/>
              <a:gd name="connsiteX628" fmla="*/ 361679 w 704517"/>
              <a:gd name="connsiteY628" fmla="*/ 607095 h 1117121"/>
              <a:gd name="connsiteX629" fmla="*/ 360464 w 704517"/>
              <a:gd name="connsiteY629" fmla="*/ 611549 h 1117121"/>
              <a:gd name="connsiteX630" fmla="*/ 355837 w 704517"/>
              <a:gd name="connsiteY630" fmla="*/ 613458 h 1117121"/>
              <a:gd name="connsiteX631" fmla="*/ 350052 w 704517"/>
              <a:gd name="connsiteY631" fmla="*/ 608599 h 1117121"/>
              <a:gd name="connsiteX632" fmla="*/ 345020 w 704517"/>
              <a:gd name="connsiteY632" fmla="*/ 606112 h 1117121"/>
              <a:gd name="connsiteX633" fmla="*/ 333451 w 704517"/>
              <a:gd name="connsiteY633" fmla="*/ 611433 h 1117121"/>
              <a:gd name="connsiteX634" fmla="*/ 326741 w 704517"/>
              <a:gd name="connsiteY634" fmla="*/ 618432 h 1117121"/>
              <a:gd name="connsiteX635" fmla="*/ 319453 w 704517"/>
              <a:gd name="connsiteY635" fmla="*/ 629249 h 1117121"/>
              <a:gd name="connsiteX636" fmla="*/ 320667 w 704517"/>
              <a:gd name="connsiteY636" fmla="*/ 630811 h 1117121"/>
              <a:gd name="connsiteX637" fmla="*/ 325006 w 704517"/>
              <a:gd name="connsiteY637" fmla="*/ 629249 h 1117121"/>
              <a:gd name="connsiteX638" fmla="*/ 333451 w 704517"/>
              <a:gd name="connsiteY638" fmla="*/ 626704 h 1117121"/>
              <a:gd name="connsiteX639" fmla="*/ 336054 w 704517"/>
              <a:gd name="connsiteY639" fmla="*/ 627109 h 1117121"/>
              <a:gd name="connsiteX640" fmla="*/ 339640 w 704517"/>
              <a:gd name="connsiteY640" fmla="*/ 633472 h 1117121"/>
              <a:gd name="connsiteX641" fmla="*/ 340103 w 704517"/>
              <a:gd name="connsiteY641" fmla="*/ 637000 h 1117121"/>
              <a:gd name="connsiteX642" fmla="*/ 342648 w 704517"/>
              <a:gd name="connsiteY642" fmla="*/ 645908 h 1117121"/>
              <a:gd name="connsiteX643" fmla="*/ 336169 w 704517"/>
              <a:gd name="connsiteY643" fmla="*/ 645908 h 1117121"/>
              <a:gd name="connsiteX644" fmla="*/ 328187 w 704517"/>
              <a:gd name="connsiteY644" fmla="*/ 641859 h 1117121"/>
              <a:gd name="connsiteX645" fmla="*/ 323906 w 704517"/>
              <a:gd name="connsiteY645" fmla="*/ 646892 h 1117121"/>
              <a:gd name="connsiteX646" fmla="*/ 320783 w 704517"/>
              <a:gd name="connsiteY646" fmla="*/ 651172 h 1117121"/>
              <a:gd name="connsiteX647" fmla="*/ 311991 w 704517"/>
              <a:gd name="connsiteY647" fmla="*/ 642958 h 1117121"/>
              <a:gd name="connsiteX648" fmla="*/ 309792 w 704517"/>
              <a:gd name="connsiteY648" fmla="*/ 640124 h 1117121"/>
              <a:gd name="connsiteX649" fmla="*/ 308462 w 704517"/>
              <a:gd name="connsiteY649" fmla="*/ 639256 h 1117121"/>
              <a:gd name="connsiteX650" fmla="*/ 304008 w 704517"/>
              <a:gd name="connsiteY650" fmla="*/ 643305 h 1117121"/>
              <a:gd name="connsiteX651" fmla="*/ 297414 w 704517"/>
              <a:gd name="connsiteY651" fmla="*/ 648454 h 1117121"/>
              <a:gd name="connsiteX652" fmla="*/ 295042 w 704517"/>
              <a:gd name="connsiteY652" fmla="*/ 647586 h 1117121"/>
              <a:gd name="connsiteX653" fmla="*/ 297529 w 704517"/>
              <a:gd name="connsiteY653" fmla="*/ 635612 h 1117121"/>
              <a:gd name="connsiteX654" fmla="*/ 301232 w 704517"/>
              <a:gd name="connsiteY654" fmla="*/ 624737 h 1117121"/>
              <a:gd name="connsiteX655" fmla="*/ 299670 w 704517"/>
              <a:gd name="connsiteY655" fmla="*/ 623349 h 1117121"/>
              <a:gd name="connsiteX656" fmla="*/ 294522 w 704517"/>
              <a:gd name="connsiteY656" fmla="*/ 628671 h 1117121"/>
              <a:gd name="connsiteX657" fmla="*/ 286828 w 704517"/>
              <a:gd name="connsiteY657" fmla="*/ 637810 h 1117121"/>
              <a:gd name="connsiteX658" fmla="*/ 273177 w 704517"/>
              <a:gd name="connsiteY658" fmla="*/ 646313 h 1117121"/>
              <a:gd name="connsiteX659" fmla="*/ 268896 w 704517"/>
              <a:gd name="connsiteY659" fmla="*/ 648685 h 1117121"/>
              <a:gd name="connsiteX660" fmla="*/ 269475 w 704517"/>
              <a:gd name="connsiteY660" fmla="*/ 649552 h 1117121"/>
              <a:gd name="connsiteX661" fmla="*/ 270690 w 704517"/>
              <a:gd name="connsiteY661" fmla="*/ 652387 h 1117121"/>
              <a:gd name="connsiteX662" fmla="*/ 265542 w 704517"/>
              <a:gd name="connsiteY662" fmla="*/ 657651 h 1117121"/>
              <a:gd name="connsiteX663" fmla="*/ 258080 w 704517"/>
              <a:gd name="connsiteY663" fmla="*/ 665228 h 1117121"/>
              <a:gd name="connsiteX664" fmla="*/ 240726 w 704517"/>
              <a:gd name="connsiteY664" fmla="*/ 676797 h 1117121"/>
              <a:gd name="connsiteX665" fmla="*/ 224183 w 704517"/>
              <a:gd name="connsiteY665" fmla="*/ 684664 h 1117121"/>
              <a:gd name="connsiteX666" fmla="*/ 220018 w 704517"/>
              <a:gd name="connsiteY666" fmla="*/ 688655 h 1117121"/>
              <a:gd name="connsiteX667" fmla="*/ 221464 w 704517"/>
              <a:gd name="connsiteY667" fmla="*/ 688655 h 1117121"/>
              <a:gd name="connsiteX668" fmla="*/ 231992 w 704517"/>
              <a:gd name="connsiteY668" fmla="*/ 683507 h 1117121"/>
              <a:gd name="connsiteX669" fmla="*/ 241941 w 704517"/>
              <a:gd name="connsiteY669" fmla="*/ 677723 h 1117121"/>
              <a:gd name="connsiteX670" fmla="*/ 252469 w 704517"/>
              <a:gd name="connsiteY670" fmla="*/ 673327 h 1117121"/>
              <a:gd name="connsiteX671" fmla="*/ 276821 w 704517"/>
              <a:gd name="connsiteY671" fmla="*/ 662741 h 1117121"/>
              <a:gd name="connsiteX672" fmla="*/ 280350 w 704517"/>
              <a:gd name="connsiteY672" fmla="*/ 663667 h 1117121"/>
              <a:gd name="connsiteX673" fmla="*/ 287175 w 704517"/>
              <a:gd name="connsiteY673" fmla="*/ 666038 h 1117121"/>
              <a:gd name="connsiteX674" fmla="*/ 294926 w 704517"/>
              <a:gd name="connsiteY674" fmla="*/ 661526 h 1117121"/>
              <a:gd name="connsiteX675" fmla="*/ 313552 w 704517"/>
              <a:gd name="connsiteY675" fmla="*/ 660138 h 1117121"/>
              <a:gd name="connsiteX676" fmla="*/ 315114 w 704517"/>
              <a:gd name="connsiteY676" fmla="*/ 662915 h 1117121"/>
              <a:gd name="connsiteX677" fmla="*/ 312453 w 704517"/>
              <a:gd name="connsiteY677" fmla="*/ 667774 h 1117121"/>
              <a:gd name="connsiteX678" fmla="*/ 311181 w 704517"/>
              <a:gd name="connsiteY678" fmla="*/ 674715 h 1117121"/>
              <a:gd name="connsiteX679" fmla="*/ 312916 w 704517"/>
              <a:gd name="connsiteY679" fmla="*/ 680499 h 1117121"/>
              <a:gd name="connsiteX680" fmla="*/ 306380 w 704517"/>
              <a:gd name="connsiteY680" fmla="*/ 684086 h 1117121"/>
              <a:gd name="connsiteX681" fmla="*/ 303198 w 704517"/>
              <a:gd name="connsiteY681" fmla="*/ 683218 h 1117121"/>
              <a:gd name="connsiteX682" fmla="*/ 301637 w 704517"/>
              <a:gd name="connsiteY682" fmla="*/ 680152 h 1117121"/>
              <a:gd name="connsiteX683" fmla="*/ 294418 w 704517"/>
              <a:gd name="connsiteY683" fmla="*/ 673494 h 1117121"/>
              <a:gd name="connsiteX684" fmla="*/ 294348 w 704517"/>
              <a:gd name="connsiteY684" fmla="*/ 673500 h 1117121"/>
              <a:gd name="connsiteX685" fmla="*/ 291687 w 704517"/>
              <a:gd name="connsiteY685" fmla="*/ 675178 h 1117121"/>
              <a:gd name="connsiteX686" fmla="*/ 277920 w 704517"/>
              <a:gd name="connsiteY686" fmla="*/ 687036 h 1117121"/>
              <a:gd name="connsiteX687" fmla="*/ 268029 w 704517"/>
              <a:gd name="connsiteY687" fmla="*/ 705777 h 1117121"/>
              <a:gd name="connsiteX688" fmla="*/ 263228 w 704517"/>
              <a:gd name="connsiteY688" fmla="*/ 711562 h 1117121"/>
              <a:gd name="connsiteX689" fmla="*/ 261840 w 704517"/>
              <a:gd name="connsiteY689" fmla="*/ 711562 h 1117121"/>
              <a:gd name="connsiteX690" fmla="*/ 257906 w 704517"/>
              <a:gd name="connsiteY690" fmla="*/ 714338 h 1117121"/>
              <a:gd name="connsiteX691" fmla="*/ 232570 w 704517"/>
              <a:gd name="connsiteY691" fmla="*/ 749334 h 1117121"/>
              <a:gd name="connsiteX692" fmla="*/ 228348 w 704517"/>
              <a:gd name="connsiteY692" fmla="*/ 761597 h 1117121"/>
              <a:gd name="connsiteX693" fmla="*/ 228348 w 704517"/>
              <a:gd name="connsiteY693" fmla="*/ 769290 h 1117121"/>
              <a:gd name="connsiteX694" fmla="*/ 219498 w 704517"/>
              <a:gd name="connsiteY694" fmla="*/ 773282 h 1117121"/>
              <a:gd name="connsiteX695" fmla="*/ 214291 w 704517"/>
              <a:gd name="connsiteY695" fmla="*/ 772992 h 1117121"/>
              <a:gd name="connsiteX696" fmla="*/ 206598 w 704517"/>
              <a:gd name="connsiteY696" fmla="*/ 773339 h 1117121"/>
              <a:gd name="connsiteX697" fmla="*/ 205789 w 704517"/>
              <a:gd name="connsiteY697" fmla="*/ 782652 h 1117121"/>
              <a:gd name="connsiteX698" fmla="*/ 203070 w 704517"/>
              <a:gd name="connsiteY698" fmla="*/ 798270 h 1117121"/>
              <a:gd name="connsiteX699" fmla="*/ 202086 w 704517"/>
              <a:gd name="connsiteY699" fmla="*/ 809319 h 1117121"/>
              <a:gd name="connsiteX700" fmla="*/ 203475 w 704517"/>
              <a:gd name="connsiteY700" fmla="*/ 815971 h 1117121"/>
              <a:gd name="connsiteX701" fmla="*/ 199715 w 704517"/>
              <a:gd name="connsiteY701" fmla="*/ 819210 h 1117121"/>
              <a:gd name="connsiteX702" fmla="*/ 194220 w 704517"/>
              <a:gd name="connsiteY702" fmla="*/ 818342 h 1117121"/>
              <a:gd name="connsiteX703" fmla="*/ 188782 w 704517"/>
              <a:gd name="connsiteY703" fmla="*/ 817417 h 1117121"/>
              <a:gd name="connsiteX704" fmla="*/ 186526 w 704517"/>
              <a:gd name="connsiteY704" fmla="*/ 818631 h 1117121"/>
              <a:gd name="connsiteX705" fmla="*/ 172528 w 704517"/>
              <a:gd name="connsiteY705" fmla="*/ 824705 h 1117121"/>
              <a:gd name="connsiteX706" fmla="*/ 166744 w 704517"/>
              <a:gd name="connsiteY706" fmla="*/ 825515 h 1117121"/>
              <a:gd name="connsiteX707" fmla="*/ 182420 w 704517"/>
              <a:gd name="connsiteY707" fmla="*/ 840554 h 1117121"/>
              <a:gd name="connsiteX708" fmla="*/ 184733 w 704517"/>
              <a:gd name="connsiteY708" fmla="*/ 845760 h 1117121"/>
              <a:gd name="connsiteX709" fmla="*/ 178139 w 704517"/>
              <a:gd name="connsiteY709" fmla="*/ 849405 h 1117121"/>
              <a:gd name="connsiteX710" fmla="*/ 172354 w 704517"/>
              <a:gd name="connsiteY710" fmla="*/ 845298 h 1117121"/>
              <a:gd name="connsiteX711" fmla="*/ 171198 w 704517"/>
              <a:gd name="connsiteY711" fmla="*/ 844141 h 1117121"/>
              <a:gd name="connsiteX712" fmla="*/ 161942 w 704517"/>
              <a:gd name="connsiteY712" fmla="*/ 848826 h 1117121"/>
              <a:gd name="connsiteX713" fmla="*/ 149679 w 704517"/>
              <a:gd name="connsiteY713" fmla="*/ 855768 h 1117121"/>
              <a:gd name="connsiteX714" fmla="*/ 140656 w 704517"/>
              <a:gd name="connsiteY714" fmla="*/ 866006 h 1117121"/>
              <a:gd name="connsiteX715" fmla="*/ 132326 w 704517"/>
              <a:gd name="connsiteY715" fmla="*/ 873236 h 1117121"/>
              <a:gd name="connsiteX716" fmla="*/ 124922 w 704517"/>
              <a:gd name="connsiteY716" fmla="*/ 883128 h 1117121"/>
              <a:gd name="connsiteX717" fmla="*/ 119600 w 704517"/>
              <a:gd name="connsiteY717" fmla="*/ 893598 h 1117121"/>
              <a:gd name="connsiteX718" fmla="*/ 116766 w 704517"/>
              <a:gd name="connsiteY718" fmla="*/ 894755 h 1117121"/>
              <a:gd name="connsiteX719" fmla="*/ 111965 w 704517"/>
              <a:gd name="connsiteY719" fmla="*/ 889606 h 1117121"/>
              <a:gd name="connsiteX720" fmla="*/ 103925 w 704517"/>
              <a:gd name="connsiteY720" fmla="*/ 882145 h 1117121"/>
              <a:gd name="connsiteX721" fmla="*/ 97793 w 704517"/>
              <a:gd name="connsiteY721" fmla="*/ 884227 h 1117121"/>
              <a:gd name="connsiteX722" fmla="*/ 101669 w 704517"/>
              <a:gd name="connsiteY722" fmla="*/ 895796 h 1117121"/>
              <a:gd name="connsiteX723" fmla="*/ 103057 w 704517"/>
              <a:gd name="connsiteY723" fmla="*/ 900597 h 1117121"/>
              <a:gd name="connsiteX724" fmla="*/ 97273 w 704517"/>
              <a:gd name="connsiteY724" fmla="*/ 902737 h 1117121"/>
              <a:gd name="connsiteX725" fmla="*/ 86976 w 704517"/>
              <a:gd name="connsiteY725" fmla="*/ 906439 h 1117121"/>
              <a:gd name="connsiteX726" fmla="*/ 71995 w 704517"/>
              <a:gd name="connsiteY726" fmla="*/ 912223 h 1117121"/>
              <a:gd name="connsiteX727" fmla="*/ 60773 w 704517"/>
              <a:gd name="connsiteY727" fmla="*/ 916041 h 1117121"/>
              <a:gd name="connsiteX728" fmla="*/ 60252 w 704517"/>
              <a:gd name="connsiteY728" fmla="*/ 917545 h 1117121"/>
              <a:gd name="connsiteX729" fmla="*/ 66731 w 704517"/>
              <a:gd name="connsiteY729" fmla="*/ 920842 h 1117121"/>
              <a:gd name="connsiteX730" fmla="*/ 75408 w 704517"/>
              <a:gd name="connsiteY730" fmla="*/ 925817 h 1117121"/>
              <a:gd name="connsiteX731" fmla="*/ 75408 w 704517"/>
              <a:gd name="connsiteY731" fmla="*/ 928362 h 1117121"/>
              <a:gd name="connsiteX732" fmla="*/ 68929 w 704517"/>
              <a:gd name="connsiteY732" fmla="*/ 930271 h 1117121"/>
              <a:gd name="connsiteX733" fmla="*/ 50708 w 704517"/>
              <a:gd name="connsiteY733" fmla="*/ 927784 h 1117121"/>
              <a:gd name="connsiteX734" fmla="*/ 44287 w 704517"/>
              <a:gd name="connsiteY734" fmla="*/ 932122 h 1117121"/>
              <a:gd name="connsiteX735" fmla="*/ 36189 w 704517"/>
              <a:gd name="connsiteY735" fmla="*/ 937502 h 1117121"/>
              <a:gd name="connsiteX736" fmla="*/ 23752 w 704517"/>
              <a:gd name="connsiteY736" fmla="*/ 943286 h 1117121"/>
              <a:gd name="connsiteX737" fmla="*/ 24736 w 704517"/>
              <a:gd name="connsiteY737" fmla="*/ 947856 h 1117121"/>
              <a:gd name="connsiteX738" fmla="*/ 26529 w 704517"/>
              <a:gd name="connsiteY738" fmla="*/ 952599 h 1117121"/>
              <a:gd name="connsiteX739" fmla="*/ 21497 w 704517"/>
              <a:gd name="connsiteY739" fmla="*/ 954855 h 1117121"/>
              <a:gd name="connsiteX740" fmla="*/ 13225 w 704517"/>
              <a:gd name="connsiteY740" fmla="*/ 952425 h 1117121"/>
              <a:gd name="connsiteX741" fmla="*/ 11200 w 704517"/>
              <a:gd name="connsiteY741" fmla="*/ 951789 h 1117121"/>
              <a:gd name="connsiteX742" fmla="*/ 2408 w 704517"/>
              <a:gd name="connsiteY742" fmla="*/ 963936 h 1117121"/>
              <a:gd name="connsiteX743" fmla="*/ 8193 w 704517"/>
              <a:gd name="connsiteY743" fmla="*/ 972266 h 1117121"/>
              <a:gd name="connsiteX744" fmla="*/ 12646 w 704517"/>
              <a:gd name="connsiteY744" fmla="*/ 977472 h 1117121"/>
              <a:gd name="connsiteX745" fmla="*/ 9407 w 704517"/>
              <a:gd name="connsiteY745" fmla="*/ 982099 h 1117121"/>
              <a:gd name="connsiteX746" fmla="*/ 6804 w 704517"/>
              <a:gd name="connsiteY746" fmla="*/ 985570 h 1117121"/>
              <a:gd name="connsiteX747" fmla="*/ 8540 w 704517"/>
              <a:gd name="connsiteY747" fmla="*/ 986380 h 1117121"/>
              <a:gd name="connsiteX748" fmla="*/ 12993 w 704517"/>
              <a:gd name="connsiteY748" fmla="*/ 990256 h 1117121"/>
              <a:gd name="connsiteX749" fmla="*/ 5879 w 704517"/>
              <a:gd name="connsiteY749" fmla="*/ 998585 h 1117121"/>
              <a:gd name="connsiteX750" fmla="*/ 3102 w 704517"/>
              <a:gd name="connsiteY750" fmla="*/ 1001419 h 1117121"/>
              <a:gd name="connsiteX751" fmla="*/ 6342 w 704517"/>
              <a:gd name="connsiteY751" fmla="*/ 1009749 h 1117121"/>
              <a:gd name="connsiteX752" fmla="*/ 5185 w 704517"/>
              <a:gd name="connsiteY752" fmla="*/ 1017674 h 1117121"/>
              <a:gd name="connsiteX753" fmla="*/ 4375 w 704517"/>
              <a:gd name="connsiteY753" fmla="*/ 1026408 h 1117121"/>
              <a:gd name="connsiteX754" fmla="*/ 9002 w 704517"/>
              <a:gd name="connsiteY754" fmla="*/ 1029647 h 1117121"/>
              <a:gd name="connsiteX755" fmla="*/ 12126 w 704517"/>
              <a:gd name="connsiteY755" fmla="*/ 1028838 h 1117121"/>
              <a:gd name="connsiteX756" fmla="*/ 15076 w 704517"/>
              <a:gd name="connsiteY756" fmla="*/ 1028028 h 1117121"/>
              <a:gd name="connsiteX757" fmla="*/ 18604 w 704517"/>
              <a:gd name="connsiteY757" fmla="*/ 1031036 h 1117121"/>
              <a:gd name="connsiteX758" fmla="*/ 21439 w 704517"/>
              <a:gd name="connsiteY758" fmla="*/ 1033292 h 1117121"/>
              <a:gd name="connsiteX759" fmla="*/ 36189 w 704517"/>
              <a:gd name="connsiteY759" fmla="*/ 1023342 h 1117121"/>
              <a:gd name="connsiteX760" fmla="*/ 41453 w 704517"/>
              <a:gd name="connsiteY760" fmla="*/ 1020855 h 1117121"/>
              <a:gd name="connsiteX761" fmla="*/ 47237 w 704517"/>
              <a:gd name="connsiteY761" fmla="*/ 1027970 h 1117121"/>
              <a:gd name="connsiteX762" fmla="*/ 42321 w 704517"/>
              <a:gd name="connsiteY762" fmla="*/ 1033754 h 1117121"/>
              <a:gd name="connsiteX763" fmla="*/ 42321 w 704517"/>
              <a:gd name="connsiteY763" fmla="*/ 1033754 h 1117121"/>
              <a:gd name="connsiteX764" fmla="*/ 30752 w 704517"/>
              <a:gd name="connsiteY764" fmla="*/ 1038093 h 1117121"/>
              <a:gd name="connsiteX765" fmla="*/ 29479 w 704517"/>
              <a:gd name="connsiteY765" fmla="*/ 1043877 h 1117121"/>
              <a:gd name="connsiteX766" fmla="*/ 28669 w 704517"/>
              <a:gd name="connsiteY766" fmla="*/ 1048158 h 1117121"/>
              <a:gd name="connsiteX767" fmla="*/ 18547 w 704517"/>
              <a:gd name="connsiteY767" fmla="*/ 1047406 h 1117121"/>
              <a:gd name="connsiteX768" fmla="*/ 16348 w 704517"/>
              <a:gd name="connsiteY768" fmla="*/ 1041216 h 1117121"/>
              <a:gd name="connsiteX769" fmla="*/ 15886 w 704517"/>
              <a:gd name="connsiteY769" fmla="*/ 1039307 h 1117121"/>
              <a:gd name="connsiteX770" fmla="*/ 14960 w 704517"/>
              <a:gd name="connsiteY770" fmla="*/ 1038960 h 1117121"/>
              <a:gd name="connsiteX771" fmla="*/ 8540 w 704517"/>
              <a:gd name="connsiteY771" fmla="*/ 1044051 h 1117121"/>
              <a:gd name="connsiteX772" fmla="*/ 9002 w 704517"/>
              <a:gd name="connsiteY772" fmla="*/ 1048620 h 1117121"/>
              <a:gd name="connsiteX773" fmla="*/ 9291 w 704517"/>
              <a:gd name="connsiteY773" fmla="*/ 1060189 h 1117121"/>
              <a:gd name="connsiteX774" fmla="*/ 7267 w 704517"/>
              <a:gd name="connsiteY774" fmla="*/ 1065974 h 1117121"/>
              <a:gd name="connsiteX775" fmla="*/ 10969 w 704517"/>
              <a:gd name="connsiteY775" fmla="*/ 1068750 h 1117121"/>
              <a:gd name="connsiteX776" fmla="*/ 20571 w 704517"/>
              <a:gd name="connsiteY776" fmla="*/ 1063313 h 1117121"/>
              <a:gd name="connsiteX777" fmla="*/ 27686 w 704517"/>
              <a:gd name="connsiteY777" fmla="*/ 1057818 h 1117121"/>
              <a:gd name="connsiteX778" fmla="*/ 309098 w 704517"/>
              <a:gd name="connsiteY778" fmla="*/ 240188 h 1117121"/>
              <a:gd name="connsiteX779" fmla="*/ 301000 w 704517"/>
              <a:gd name="connsiteY779" fmla="*/ 236486 h 1117121"/>
              <a:gd name="connsiteX780" fmla="*/ 287580 w 704517"/>
              <a:gd name="connsiteY780" fmla="*/ 228909 h 1117121"/>
              <a:gd name="connsiteX781" fmla="*/ 278325 w 704517"/>
              <a:gd name="connsiteY781" fmla="*/ 223529 h 1117121"/>
              <a:gd name="connsiteX782" fmla="*/ 278672 w 704517"/>
              <a:gd name="connsiteY782" fmla="*/ 221852 h 1117121"/>
              <a:gd name="connsiteX783" fmla="*/ 286076 w 704517"/>
              <a:gd name="connsiteY783" fmla="*/ 217629 h 1117121"/>
              <a:gd name="connsiteX784" fmla="*/ 293249 w 704517"/>
              <a:gd name="connsiteY784" fmla="*/ 213580 h 1117121"/>
              <a:gd name="connsiteX785" fmla="*/ 292497 w 704517"/>
              <a:gd name="connsiteY785" fmla="*/ 213291 h 1117121"/>
              <a:gd name="connsiteX786" fmla="*/ 281738 w 704517"/>
              <a:gd name="connsiteY786" fmla="*/ 213291 h 1117121"/>
              <a:gd name="connsiteX787" fmla="*/ 274623 w 704517"/>
              <a:gd name="connsiteY787" fmla="*/ 213696 h 1117121"/>
              <a:gd name="connsiteX788" fmla="*/ 265252 w 704517"/>
              <a:gd name="connsiteY788" fmla="*/ 209820 h 1117121"/>
              <a:gd name="connsiteX789" fmla="*/ 254435 w 704517"/>
              <a:gd name="connsiteY789" fmla="*/ 202879 h 1117121"/>
              <a:gd name="connsiteX790" fmla="*/ 237892 w 704517"/>
              <a:gd name="connsiteY790" fmla="*/ 187377 h 1117121"/>
              <a:gd name="connsiteX791" fmla="*/ 248420 w 704517"/>
              <a:gd name="connsiteY791" fmla="*/ 181130 h 1117121"/>
              <a:gd name="connsiteX792" fmla="*/ 257154 w 704517"/>
              <a:gd name="connsiteY792" fmla="*/ 181824 h 1117121"/>
              <a:gd name="connsiteX793" fmla="*/ 262939 w 704517"/>
              <a:gd name="connsiteY793" fmla="*/ 182344 h 1117121"/>
              <a:gd name="connsiteX794" fmla="*/ 264674 w 704517"/>
              <a:gd name="connsiteY794" fmla="*/ 182344 h 1117121"/>
              <a:gd name="connsiteX795" fmla="*/ 266409 w 704517"/>
              <a:gd name="connsiteY795" fmla="*/ 177023 h 1117121"/>
              <a:gd name="connsiteX796" fmla="*/ 289547 w 704517"/>
              <a:gd name="connsiteY796" fmla="*/ 170891 h 1117121"/>
              <a:gd name="connsiteX797" fmla="*/ 316213 w 704517"/>
              <a:gd name="connsiteY797" fmla="*/ 167652 h 1117121"/>
              <a:gd name="connsiteX798" fmla="*/ 314131 w 704517"/>
              <a:gd name="connsiteY798" fmla="*/ 167073 h 1117121"/>
              <a:gd name="connsiteX799" fmla="*/ 299381 w 704517"/>
              <a:gd name="connsiteY799" fmla="*/ 165916 h 1117121"/>
              <a:gd name="connsiteX800" fmla="*/ 260104 w 704517"/>
              <a:gd name="connsiteY800" fmla="*/ 169503 h 1117121"/>
              <a:gd name="connsiteX801" fmla="*/ 245238 w 704517"/>
              <a:gd name="connsiteY801" fmla="*/ 171065 h 1117121"/>
              <a:gd name="connsiteX802" fmla="*/ 231240 w 704517"/>
              <a:gd name="connsiteY802" fmla="*/ 166379 h 1117121"/>
              <a:gd name="connsiteX803" fmla="*/ 234248 w 704517"/>
              <a:gd name="connsiteY803" fmla="*/ 157934 h 1117121"/>
              <a:gd name="connsiteX804" fmla="*/ 258138 w 704517"/>
              <a:gd name="connsiteY804" fmla="*/ 149778 h 1117121"/>
              <a:gd name="connsiteX805" fmla="*/ 277111 w 704517"/>
              <a:gd name="connsiteY805" fmla="*/ 143473 h 1117121"/>
              <a:gd name="connsiteX806" fmla="*/ 296373 w 704517"/>
              <a:gd name="connsiteY806" fmla="*/ 134970 h 1117121"/>
              <a:gd name="connsiteX807" fmla="*/ 309677 w 704517"/>
              <a:gd name="connsiteY807" fmla="*/ 128723 h 1117121"/>
              <a:gd name="connsiteX808" fmla="*/ 309272 w 704517"/>
              <a:gd name="connsiteY808" fmla="*/ 117501 h 1117121"/>
              <a:gd name="connsiteX809" fmla="*/ 307537 w 704517"/>
              <a:gd name="connsiteY809" fmla="*/ 116633 h 1117121"/>
              <a:gd name="connsiteX810" fmla="*/ 300595 w 704517"/>
              <a:gd name="connsiteY810" fmla="*/ 120740 h 1117121"/>
              <a:gd name="connsiteX811" fmla="*/ 279945 w 704517"/>
              <a:gd name="connsiteY811" fmla="*/ 129359 h 1117121"/>
              <a:gd name="connsiteX812" fmla="*/ 273871 w 704517"/>
              <a:gd name="connsiteY812" fmla="*/ 126814 h 1117121"/>
              <a:gd name="connsiteX813" fmla="*/ 275375 w 704517"/>
              <a:gd name="connsiteY813" fmla="*/ 121608 h 1117121"/>
              <a:gd name="connsiteX814" fmla="*/ 279366 w 704517"/>
              <a:gd name="connsiteY814" fmla="*/ 108419 h 1117121"/>
              <a:gd name="connsiteX815" fmla="*/ 274218 w 704517"/>
              <a:gd name="connsiteY815" fmla="*/ 107031 h 1117121"/>
              <a:gd name="connsiteX816" fmla="*/ 269128 w 704517"/>
              <a:gd name="connsiteY816" fmla="*/ 112815 h 1117121"/>
              <a:gd name="connsiteX817" fmla="*/ 260723 w 704517"/>
              <a:gd name="connsiteY817" fmla="*/ 119063 h 1117121"/>
              <a:gd name="connsiteX818" fmla="*/ 260394 w 704517"/>
              <a:gd name="connsiteY818" fmla="*/ 119005 h 1117121"/>
              <a:gd name="connsiteX819" fmla="*/ 259642 w 704517"/>
              <a:gd name="connsiteY819" fmla="*/ 119005 h 1117121"/>
              <a:gd name="connsiteX820" fmla="*/ 251890 w 704517"/>
              <a:gd name="connsiteY820" fmla="*/ 128665 h 1117121"/>
              <a:gd name="connsiteX821" fmla="*/ 245065 w 704517"/>
              <a:gd name="connsiteY821" fmla="*/ 140234 h 1117121"/>
              <a:gd name="connsiteX822" fmla="*/ 226555 w 704517"/>
              <a:gd name="connsiteY822" fmla="*/ 144167 h 1117121"/>
              <a:gd name="connsiteX823" fmla="*/ 204921 w 704517"/>
              <a:gd name="connsiteY823" fmla="*/ 137631 h 1117121"/>
              <a:gd name="connsiteX824" fmla="*/ 195492 w 704517"/>
              <a:gd name="connsiteY824" fmla="*/ 130400 h 1117121"/>
              <a:gd name="connsiteX825" fmla="*/ 177387 w 704517"/>
              <a:gd name="connsiteY825" fmla="*/ 106221 h 1117121"/>
              <a:gd name="connsiteX826" fmla="*/ 188956 w 704517"/>
              <a:gd name="connsiteY826" fmla="*/ 91008 h 1117121"/>
              <a:gd name="connsiteX827" fmla="*/ 195955 w 704517"/>
              <a:gd name="connsiteY827" fmla="*/ 82158 h 1117121"/>
              <a:gd name="connsiteX828" fmla="*/ 193815 w 704517"/>
              <a:gd name="connsiteY828" fmla="*/ 81001 h 1117121"/>
              <a:gd name="connsiteX829" fmla="*/ 182246 w 704517"/>
              <a:gd name="connsiteY829" fmla="*/ 85108 h 1117121"/>
              <a:gd name="connsiteX830" fmla="*/ 173280 w 704517"/>
              <a:gd name="connsiteY830" fmla="*/ 89157 h 1117121"/>
              <a:gd name="connsiteX831" fmla="*/ 173280 w 704517"/>
              <a:gd name="connsiteY831" fmla="*/ 89157 h 1117121"/>
              <a:gd name="connsiteX832" fmla="*/ 164603 w 704517"/>
              <a:gd name="connsiteY832" fmla="*/ 82910 h 1117121"/>
              <a:gd name="connsiteX833" fmla="*/ 159976 w 704517"/>
              <a:gd name="connsiteY833" fmla="*/ 56591 h 1117121"/>
              <a:gd name="connsiteX834" fmla="*/ 165760 w 704517"/>
              <a:gd name="connsiteY834" fmla="*/ 53988 h 1117121"/>
              <a:gd name="connsiteX835" fmla="*/ 174205 w 704517"/>
              <a:gd name="connsiteY835" fmla="*/ 49881 h 1117121"/>
              <a:gd name="connsiteX836" fmla="*/ 185774 w 704517"/>
              <a:gd name="connsiteY836" fmla="*/ 44096 h 1117121"/>
              <a:gd name="connsiteX837" fmla="*/ 187510 w 704517"/>
              <a:gd name="connsiteY837" fmla="*/ 44096 h 1117121"/>
              <a:gd name="connsiteX838" fmla="*/ 195087 w 704517"/>
              <a:gd name="connsiteY838" fmla="*/ 46757 h 1117121"/>
              <a:gd name="connsiteX839" fmla="*/ 201797 w 704517"/>
              <a:gd name="connsiteY839" fmla="*/ 48782 h 1117121"/>
              <a:gd name="connsiteX840" fmla="*/ 205962 w 704517"/>
              <a:gd name="connsiteY840" fmla="*/ 46294 h 1117121"/>
              <a:gd name="connsiteX841" fmla="*/ 213366 w 704517"/>
              <a:gd name="connsiteY841" fmla="*/ 42997 h 1117121"/>
              <a:gd name="connsiteX842" fmla="*/ 218225 w 704517"/>
              <a:gd name="connsiteY842" fmla="*/ 43402 h 1117121"/>
              <a:gd name="connsiteX843" fmla="*/ 223373 w 704517"/>
              <a:gd name="connsiteY843" fmla="*/ 43865 h 1117121"/>
              <a:gd name="connsiteX844" fmla="*/ 229157 w 704517"/>
              <a:gd name="connsiteY844" fmla="*/ 42361 h 1117121"/>
              <a:gd name="connsiteX845" fmla="*/ 237198 w 704517"/>
              <a:gd name="connsiteY845" fmla="*/ 40394 h 1117121"/>
              <a:gd name="connsiteX846" fmla="*/ 249172 w 704517"/>
              <a:gd name="connsiteY846" fmla="*/ 45485 h 1117121"/>
              <a:gd name="connsiteX847" fmla="*/ 245990 w 704517"/>
              <a:gd name="connsiteY847" fmla="*/ 49765 h 1117121"/>
              <a:gd name="connsiteX848" fmla="*/ 229794 w 704517"/>
              <a:gd name="connsiteY848" fmla="*/ 55202 h 1117121"/>
              <a:gd name="connsiteX849" fmla="*/ 224877 w 704517"/>
              <a:gd name="connsiteY849" fmla="*/ 56591 h 1117121"/>
              <a:gd name="connsiteX850" fmla="*/ 244197 w 704517"/>
              <a:gd name="connsiteY850" fmla="*/ 73597 h 1117121"/>
              <a:gd name="connsiteX851" fmla="*/ 244891 w 704517"/>
              <a:gd name="connsiteY851" fmla="*/ 75911 h 1117121"/>
              <a:gd name="connsiteX852" fmla="*/ 246280 w 704517"/>
              <a:gd name="connsiteY852" fmla="*/ 76547 h 1117121"/>
              <a:gd name="connsiteX853" fmla="*/ 248825 w 704517"/>
              <a:gd name="connsiteY853" fmla="*/ 75043 h 1117121"/>
              <a:gd name="connsiteX854" fmla="*/ 249288 w 704517"/>
              <a:gd name="connsiteY854" fmla="*/ 69259 h 1117121"/>
              <a:gd name="connsiteX855" fmla="*/ 254320 w 704517"/>
              <a:gd name="connsiteY855" fmla="*/ 55145 h 1117121"/>
              <a:gd name="connsiteX856" fmla="*/ 260104 w 704517"/>
              <a:gd name="connsiteY856" fmla="*/ 46699 h 1117121"/>
              <a:gd name="connsiteX857" fmla="*/ 265889 w 704517"/>
              <a:gd name="connsiteY857" fmla="*/ 42535 h 1117121"/>
              <a:gd name="connsiteX858" fmla="*/ 281159 w 704517"/>
              <a:gd name="connsiteY858" fmla="*/ 60929 h 1117121"/>
              <a:gd name="connsiteX859" fmla="*/ 309272 w 704517"/>
              <a:gd name="connsiteY859" fmla="*/ 94999 h 1117121"/>
              <a:gd name="connsiteX860" fmla="*/ 292786 w 704517"/>
              <a:gd name="connsiteY860" fmla="*/ 55318 h 1117121"/>
              <a:gd name="connsiteX861" fmla="*/ 288043 w 704517"/>
              <a:gd name="connsiteY861" fmla="*/ 47567 h 1117121"/>
              <a:gd name="connsiteX862" fmla="*/ 296777 w 704517"/>
              <a:gd name="connsiteY862" fmla="*/ 40568 h 1117121"/>
              <a:gd name="connsiteX863" fmla="*/ 298976 w 704517"/>
              <a:gd name="connsiteY863" fmla="*/ 34147 h 1117121"/>
              <a:gd name="connsiteX864" fmla="*/ 302678 w 704517"/>
              <a:gd name="connsiteY864" fmla="*/ 27032 h 1117121"/>
              <a:gd name="connsiteX865" fmla="*/ 304008 w 704517"/>
              <a:gd name="connsiteY865" fmla="*/ 27032 h 1117121"/>
              <a:gd name="connsiteX866" fmla="*/ 312164 w 704517"/>
              <a:gd name="connsiteY866" fmla="*/ 35940 h 1117121"/>
              <a:gd name="connsiteX867" fmla="*/ 316560 w 704517"/>
              <a:gd name="connsiteY867" fmla="*/ 41435 h 1117121"/>
              <a:gd name="connsiteX868" fmla="*/ 317197 w 704517"/>
              <a:gd name="connsiteY868" fmla="*/ 40394 h 1117121"/>
              <a:gd name="connsiteX869" fmla="*/ 324369 w 704517"/>
              <a:gd name="connsiteY869" fmla="*/ 37097 h 1117121"/>
              <a:gd name="connsiteX870" fmla="*/ 347102 w 704517"/>
              <a:gd name="connsiteY870" fmla="*/ 46584 h 1117121"/>
              <a:gd name="connsiteX871" fmla="*/ 347738 w 704517"/>
              <a:gd name="connsiteY871" fmla="*/ 50922 h 1117121"/>
              <a:gd name="connsiteX872" fmla="*/ 343342 w 704517"/>
              <a:gd name="connsiteY872" fmla="*/ 58847 h 1117121"/>
              <a:gd name="connsiteX873" fmla="*/ 339004 w 704517"/>
              <a:gd name="connsiteY873" fmla="*/ 68391 h 1117121"/>
              <a:gd name="connsiteX874" fmla="*/ 339698 w 704517"/>
              <a:gd name="connsiteY874" fmla="*/ 68796 h 1117121"/>
              <a:gd name="connsiteX875" fmla="*/ 347218 w 704517"/>
              <a:gd name="connsiteY875" fmla="*/ 64284 h 1117121"/>
              <a:gd name="connsiteX876" fmla="*/ 358787 w 704517"/>
              <a:gd name="connsiteY876" fmla="*/ 57921 h 1117121"/>
              <a:gd name="connsiteX877" fmla="*/ 362720 w 704517"/>
              <a:gd name="connsiteY877" fmla="*/ 59309 h 1117121"/>
              <a:gd name="connsiteX878" fmla="*/ 368505 w 704517"/>
              <a:gd name="connsiteY878" fmla="*/ 72267 h 1117121"/>
              <a:gd name="connsiteX879" fmla="*/ 372612 w 704517"/>
              <a:gd name="connsiteY879" fmla="*/ 80307 h 1117121"/>
              <a:gd name="connsiteX880" fmla="*/ 373768 w 704517"/>
              <a:gd name="connsiteY880" fmla="*/ 80307 h 1117121"/>
              <a:gd name="connsiteX881" fmla="*/ 384643 w 704517"/>
              <a:gd name="connsiteY881" fmla="*/ 79728 h 1117121"/>
              <a:gd name="connsiteX882" fmla="*/ 399567 w 704517"/>
              <a:gd name="connsiteY882" fmla="*/ 86381 h 1117121"/>
              <a:gd name="connsiteX883" fmla="*/ 400955 w 704517"/>
              <a:gd name="connsiteY883" fmla="*/ 90488 h 1117121"/>
              <a:gd name="connsiteX884" fmla="*/ 408070 w 704517"/>
              <a:gd name="connsiteY884" fmla="*/ 89840 h 1117121"/>
              <a:gd name="connsiteX885" fmla="*/ 408417 w 704517"/>
              <a:gd name="connsiteY885" fmla="*/ 89331 h 1117121"/>
              <a:gd name="connsiteX886" fmla="*/ 414606 w 704517"/>
              <a:gd name="connsiteY886" fmla="*/ 86901 h 1117121"/>
              <a:gd name="connsiteX887" fmla="*/ 425308 w 704517"/>
              <a:gd name="connsiteY887" fmla="*/ 91413 h 1117121"/>
              <a:gd name="connsiteX888" fmla="*/ 424266 w 704517"/>
              <a:gd name="connsiteY888" fmla="*/ 93727 h 1117121"/>
              <a:gd name="connsiteX889" fmla="*/ 429588 w 704517"/>
              <a:gd name="connsiteY889" fmla="*/ 95693 h 1117121"/>
              <a:gd name="connsiteX890" fmla="*/ 443760 w 704517"/>
              <a:gd name="connsiteY890" fmla="*/ 105238 h 1117121"/>
              <a:gd name="connsiteX891" fmla="*/ 443760 w 704517"/>
              <a:gd name="connsiteY891" fmla="*/ 108014 h 1117121"/>
              <a:gd name="connsiteX892" fmla="*/ 444512 w 704517"/>
              <a:gd name="connsiteY892" fmla="*/ 118658 h 1117121"/>
              <a:gd name="connsiteX893" fmla="*/ 448272 w 704517"/>
              <a:gd name="connsiteY893" fmla="*/ 119757 h 1117121"/>
              <a:gd name="connsiteX894" fmla="*/ 449024 w 704517"/>
              <a:gd name="connsiteY894" fmla="*/ 119757 h 1117121"/>
              <a:gd name="connsiteX895" fmla="*/ 467303 w 704517"/>
              <a:gd name="connsiteY895" fmla="*/ 131846 h 1117121"/>
              <a:gd name="connsiteX896" fmla="*/ 463948 w 704517"/>
              <a:gd name="connsiteY896" fmla="*/ 137110 h 1117121"/>
              <a:gd name="connsiteX897" fmla="*/ 462270 w 704517"/>
              <a:gd name="connsiteY897" fmla="*/ 138151 h 1117121"/>
              <a:gd name="connsiteX898" fmla="*/ 481359 w 704517"/>
              <a:gd name="connsiteY898" fmla="*/ 142952 h 1117121"/>
              <a:gd name="connsiteX899" fmla="*/ 484598 w 704517"/>
              <a:gd name="connsiteY899" fmla="*/ 142952 h 1117121"/>
              <a:gd name="connsiteX900" fmla="*/ 487548 w 704517"/>
              <a:gd name="connsiteY900" fmla="*/ 142952 h 1117121"/>
              <a:gd name="connsiteX901" fmla="*/ 495010 w 704517"/>
              <a:gd name="connsiteY901" fmla="*/ 146307 h 1117121"/>
              <a:gd name="connsiteX902" fmla="*/ 490325 w 704517"/>
              <a:gd name="connsiteY902" fmla="*/ 155967 h 1117121"/>
              <a:gd name="connsiteX903" fmla="*/ 489283 w 704517"/>
              <a:gd name="connsiteY903" fmla="*/ 158050 h 1117121"/>
              <a:gd name="connsiteX904" fmla="*/ 501488 w 704517"/>
              <a:gd name="connsiteY904" fmla="*/ 161173 h 1117121"/>
              <a:gd name="connsiteX905" fmla="*/ 511553 w 704517"/>
              <a:gd name="connsiteY905" fmla="*/ 159611 h 1117121"/>
              <a:gd name="connsiteX906" fmla="*/ 520809 w 704517"/>
              <a:gd name="connsiteY906" fmla="*/ 157645 h 1117121"/>
              <a:gd name="connsiteX907" fmla="*/ 532377 w 704517"/>
              <a:gd name="connsiteY907" fmla="*/ 165338 h 1117121"/>
              <a:gd name="connsiteX908" fmla="*/ 524453 w 704517"/>
              <a:gd name="connsiteY908" fmla="*/ 172106 h 1117121"/>
              <a:gd name="connsiteX909" fmla="*/ 508488 w 704517"/>
              <a:gd name="connsiteY909" fmla="*/ 181939 h 1117121"/>
              <a:gd name="connsiteX910" fmla="*/ 478467 w 704517"/>
              <a:gd name="connsiteY910" fmla="*/ 200681 h 1117121"/>
              <a:gd name="connsiteX911" fmla="*/ 472277 w 704517"/>
              <a:gd name="connsiteY911" fmla="*/ 198367 h 1117121"/>
              <a:gd name="connsiteX912" fmla="*/ 470310 w 704517"/>
              <a:gd name="connsiteY912" fmla="*/ 188071 h 1117121"/>
              <a:gd name="connsiteX913" fmla="*/ 470310 w 704517"/>
              <a:gd name="connsiteY913" fmla="*/ 182923 h 1117121"/>
              <a:gd name="connsiteX914" fmla="*/ 458741 w 704517"/>
              <a:gd name="connsiteY914" fmla="*/ 184716 h 1117121"/>
              <a:gd name="connsiteX915" fmla="*/ 435951 w 704517"/>
              <a:gd name="connsiteY915" fmla="*/ 189806 h 1117121"/>
              <a:gd name="connsiteX916" fmla="*/ 427679 w 704517"/>
              <a:gd name="connsiteY916" fmla="*/ 186451 h 1117121"/>
              <a:gd name="connsiteX917" fmla="*/ 431439 w 704517"/>
              <a:gd name="connsiteY917" fmla="*/ 177427 h 1117121"/>
              <a:gd name="connsiteX918" fmla="*/ 440752 w 704517"/>
              <a:gd name="connsiteY918" fmla="*/ 156661 h 1117121"/>
              <a:gd name="connsiteX919" fmla="*/ 436877 w 704517"/>
              <a:gd name="connsiteY919" fmla="*/ 153249 h 1117121"/>
              <a:gd name="connsiteX920" fmla="*/ 432017 w 704517"/>
              <a:gd name="connsiteY920" fmla="*/ 148505 h 1117121"/>
              <a:gd name="connsiteX921" fmla="*/ 427043 w 704517"/>
              <a:gd name="connsiteY921" fmla="*/ 143531 h 1117121"/>
              <a:gd name="connsiteX922" fmla="*/ 414722 w 704517"/>
              <a:gd name="connsiteY922" fmla="*/ 127045 h 1117121"/>
              <a:gd name="connsiteX923" fmla="*/ 423110 w 704517"/>
              <a:gd name="connsiteY923" fmla="*/ 120682 h 1117121"/>
              <a:gd name="connsiteX924" fmla="*/ 430687 w 704517"/>
              <a:gd name="connsiteY924" fmla="*/ 117212 h 1117121"/>
              <a:gd name="connsiteX925" fmla="*/ 425770 w 704517"/>
              <a:gd name="connsiteY925" fmla="*/ 114840 h 1117121"/>
              <a:gd name="connsiteX926" fmla="*/ 418193 w 704517"/>
              <a:gd name="connsiteY926" fmla="*/ 116807 h 1117121"/>
              <a:gd name="connsiteX927" fmla="*/ 402459 w 704517"/>
              <a:gd name="connsiteY927" fmla="*/ 120104 h 1117121"/>
              <a:gd name="connsiteX928" fmla="*/ 385800 w 704517"/>
              <a:gd name="connsiteY928" fmla="*/ 126293 h 1117121"/>
              <a:gd name="connsiteX929" fmla="*/ 376313 w 704517"/>
              <a:gd name="connsiteY929" fmla="*/ 147985 h 1117121"/>
              <a:gd name="connsiteX930" fmla="*/ 376892 w 704517"/>
              <a:gd name="connsiteY930" fmla="*/ 152323 h 1117121"/>
              <a:gd name="connsiteX931" fmla="*/ 371917 w 704517"/>
              <a:gd name="connsiteY931" fmla="*/ 154058 h 1117121"/>
              <a:gd name="connsiteX932" fmla="*/ 363703 w 704517"/>
              <a:gd name="connsiteY932" fmla="*/ 159033 h 1117121"/>
              <a:gd name="connsiteX933" fmla="*/ 363703 w 704517"/>
              <a:gd name="connsiteY933" fmla="*/ 167363 h 1117121"/>
              <a:gd name="connsiteX934" fmla="*/ 352424 w 704517"/>
              <a:gd name="connsiteY934" fmla="*/ 182865 h 1117121"/>
              <a:gd name="connsiteX935" fmla="*/ 321708 w 704517"/>
              <a:gd name="connsiteY935" fmla="*/ 230818 h 1117121"/>
              <a:gd name="connsiteX936" fmla="*/ 319510 w 704517"/>
              <a:gd name="connsiteY936" fmla="*/ 236602 h 1117121"/>
              <a:gd name="connsiteX937" fmla="*/ 309098 w 704517"/>
              <a:gd name="connsiteY937" fmla="*/ 240188 h 1117121"/>
              <a:gd name="connsiteX938" fmla="*/ 280581 w 704517"/>
              <a:gd name="connsiteY938" fmla="*/ 222835 h 1117121"/>
              <a:gd name="connsiteX939" fmla="*/ 288390 w 704517"/>
              <a:gd name="connsiteY939" fmla="*/ 226595 h 1117121"/>
              <a:gd name="connsiteX940" fmla="*/ 302967 w 704517"/>
              <a:gd name="connsiteY940" fmla="*/ 235040 h 1117121"/>
              <a:gd name="connsiteX941" fmla="*/ 309098 w 704517"/>
              <a:gd name="connsiteY941" fmla="*/ 237701 h 1117121"/>
              <a:gd name="connsiteX942" fmla="*/ 317486 w 704517"/>
              <a:gd name="connsiteY942" fmla="*/ 234462 h 1117121"/>
              <a:gd name="connsiteX943" fmla="*/ 319048 w 704517"/>
              <a:gd name="connsiteY943" fmla="*/ 230239 h 1117121"/>
              <a:gd name="connsiteX944" fmla="*/ 351267 w 704517"/>
              <a:gd name="connsiteY944" fmla="*/ 180088 h 1117121"/>
              <a:gd name="connsiteX945" fmla="*/ 361100 w 704517"/>
              <a:gd name="connsiteY945" fmla="*/ 167073 h 1117121"/>
              <a:gd name="connsiteX946" fmla="*/ 361100 w 704517"/>
              <a:gd name="connsiteY946" fmla="*/ 157876 h 1117121"/>
              <a:gd name="connsiteX947" fmla="*/ 371339 w 704517"/>
              <a:gd name="connsiteY947" fmla="*/ 151108 h 1117121"/>
              <a:gd name="connsiteX948" fmla="*/ 374520 w 704517"/>
              <a:gd name="connsiteY948" fmla="*/ 150530 h 1117121"/>
              <a:gd name="connsiteX949" fmla="*/ 373884 w 704517"/>
              <a:gd name="connsiteY949" fmla="*/ 148332 h 1117121"/>
              <a:gd name="connsiteX950" fmla="*/ 383833 w 704517"/>
              <a:gd name="connsiteY950" fmla="*/ 123979 h 1117121"/>
              <a:gd name="connsiteX951" fmla="*/ 401996 w 704517"/>
              <a:gd name="connsiteY951" fmla="*/ 117154 h 1117121"/>
              <a:gd name="connsiteX952" fmla="*/ 416804 w 704517"/>
              <a:gd name="connsiteY952" fmla="*/ 114088 h 1117121"/>
              <a:gd name="connsiteX953" fmla="*/ 425366 w 704517"/>
              <a:gd name="connsiteY953" fmla="*/ 111890 h 1117121"/>
              <a:gd name="connsiteX954" fmla="*/ 432538 w 704517"/>
              <a:gd name="connsiteY954" fmla="*/ 116460 h 1117121"/>
              <a:gd name="connsiteX955" fmla="*/ 422878 w 704517"/>
              <a:gd name="connsiteY955" fmla="*/ 122244 h 1117121"/>
              <a:gd name="connsiteX956" fmla="*/ 416573 w 704517"/>
              <a:gd name="connsiteY956" fmla="*/ 126698 h 1117121"/>
              <a:gd name="connsiteX957" fmla="*/ 427448 w 704517"/>
              <a:gd name="connsiteY957" fmla="*/ 140696 h 1117121"/>
              <a:gd name="connsiteX958" fmla="*/ 433868 w 704517"/>
              <a:gd name="connsiteY958" fmla="*/ 147811 h 1117121"/>
              <a:gd name="connsiteX959" fmla="*/ 436934 w 704517"/>
              <a:gd name="connsiteY959" fmla="*/ 150356 h 1117121"/>
              <a:gd name="connsiteX960" fmla="*/ 442719 w 704517"/>
              <a:gd name="connsiteY960" fmla="*/ 155273 h 1117121"/>
              <a:gd name="connsiteX961" fmla="*/ 432885 w 704517"/>
              <a:gd name="connsiteY961" fmla="*/ 178411 h 1117121"/>
              <a:gd name="connsiteX962" fmla="*/ 429588 w 704517"/>
              <a:gd name="connsiteY962" fmla="*/ 185005 h 1117121"/>
              <a:gd name="connsiteX963" fmla="*/ 435777 w 704517"/>
              <a:gd name="connsiteY963" fmla="*/ 186972 h 1117121"/>
              <a:gd name="connsiteX964" fmla="*/ 457758 w 704517"/>
              <a:gd name="connsiteY964" fmla="*/ 181997 h 1117121"/>
              <a:gd name="connsiteX965" fmla="*/ 471872 w 704517"/>
              <a:gd name="connsiteY965" fmla="*/ 180898 h 1117121"/>
              <a:gd name="connsiteX966" fmla="*/ 472740 w 704517"/>
              <a:gd name="connsiteY966" fmla="*/ 187782 h 1117121"/>
              <a:gd name="connsiteX967" fmla="*/ 474070 w 704517"/>
              <a:gd name="connsiteY967" fmla="*/ 196169 h 1117121"/>
              <a:gd name="connsiteX968" fmla="*/ 478640 w 704517"/>
              <a:gd name="connsiteY968" fmla="*/ 197847 h 1117121"/>
              <a:gd name="connsiteX969" fmla="*/ 506926 w 704517"/>
              <a:gd name="connsiteY969" fmla="*/ 179915 h 1117121"/>
              <a:gd name="connsiteX970" fmla="*/ 523874 w 704517"/>
              <a:gd name="connsiteY970" fmla="*/ 169387 h 1117121"/>
              <a:gd name="connsiteX971" fmla="*/ 530295 w 704517"/>
              <a:gd name="connsiteY971" fmla="*/ 164991 h 1117121"/>
              <a:gd name="connsiteX972" fmla="*/ 520866 w 704517"/>
              <a:gd name="connsiteY972" fmla="*/ 159206 h 1117121"/>
              <a:gd name="connsiteX973" fmla="*/ 512479 w 704517"/>
              <a:gd name="connsiteY973" fmla="*/ 160942 h 1117121"/>
              <a:gd name="connsiteX974" fmla="*/ 501546 w 704517"/>
              <a:gd name="connsiteY974" fmla="*/ 162735 h 1117121"/>
              <a:gd name="connsiteX975" fmla="*/ 487201 w 704517"/>
              <a:gd name="connsiteY975" fmla="*/ 158165 h 1117121"/>
              <a:gd name="connsiteX976" fmla="*/ 488821 w 704517"/>
              <a:gd name="connsiteY976" fmla="*/ 153653 h 1117121"/>
              <a:gd name="connsiteX977" fmla="*/ 492928 w 704517"/>
              <a:gd name="connsiteY977" fmla="*/ 146423 h 1117121"/>
              <a:gd name="connsiteX978" fmla="*/ 484887 w 704517"/>
              <a:gd name="connsiteY978" fmla="*/ 144688 h 1117121"/>
              <a:gd name="connsiteX979" fmla="*/ 481417 w 704517"/>
              <a:gd name="connsiteY979" fmla="*/ 144688 h 1117121"/>
              <a:gd name="connsiteX980" fmla="*/ 460130 w 704517"/>
              <a:gd name="connsiteY980" fmla="*/ 138035 h 1117121"/>
              <a:gd name="connsiteX981" fmla="*/ 463138 w 704517"/>
              <a:gd name="connsiteY981" fmla="*/ 134449 h 1117121"/>
              <a:gd name="connsiteX982" fmla="*/ 465105 w 704517"/>
              <a:gd name="connsiteY982" fmla="*/ 131788 h 1117121"/>
              <a:gd name="connsiteX983" fmla="*/ 448503 w 704517"/>
              <a:gd name="connsiteY983" fmla="*/ 121492 h 1117121"/>
              <a:gd name="connsiteX984" fmla="*/ 442719 w 704517"/>
              <a:gd name="connsiteY984" fmla="*/ 119641 h 1117121"/>
              <a:gd name="connsiteX985" fmla="*/ 441446 w 704517"/>
              <a:gd name="connsiteY985" fmla="*/ 107205 h 1117121"/>
              <a:gd name="connsiteX986" fmla="*/ 441446 w 704517"/>
              <a:gd name="connsiteY986" fmla="*/ 104544 h 1117121"/>
              <a:gd name="connsiteX987" fmla="*/ 428836 w 704517"/>
              <a:gd name="connsiteY987" fmla="*/ 97371 h 1117121"/>
              <a:gd name="connsiteX988" fmla="*/ 421432 w 704517"/>
              <a:gd name="connsiteY988" fmla="*/ 93264 h 1117121"/>
              <a:gd name="connsiteX989" fmla="*/ 422705 w 704517"/>
              <a:gd name="connsiteY989" fmla="*/ 91529 h 1117121"/>
              <a:gd name="connsiteX990" fmla="*/ 423052 w 704517"/>
              <a:gd name="connsiteY990" fmla="*/ 91239 h 1117121"/>
              <a:gd name="connsiteX991" fmla="*/ 414549 w 704517"/>
              <a:gd name="connsiteY991" fmla="*/ 88694 h 1117121"/>
              <a:gd name="connsiteX992" fmla="*/ 410152 w 704517"/>
              <a:gd name="connsiteY992" fmla="*/ 90140 h 1117121"/>
              <a:gd name="connsiteX993" fmla="*/ 403847 w 704517"/>
              <a:gd name="connsiteY993" fmla="*/ 93495 h 1117121"/>
              <a:gd name="connsiteX994" fmla="*/ 399220 w 704517"/>
              <a:gd name="connsiteY994" fmla="*/ 91529 h 1117121"/>
              <a:gd name="connsiteX995" fmla="*/ 397253 w 704517"/>
              <a:gd name="connsiteY995" fmla="*/ 85744 h 1117121"/>
              <a:gd name="connsiteX996" fmla="*/ 384585 w 704517"/>
              <a:gd name="connsiteY996" fmla="*/ 81348 h 1117121"/>
              <a:gd name="connsiteX997" fmla="*/ 373884 w 704517"/>
              <a:gd name="connsiteY997" fmla="*/ 81927 h 1117121"/>
              <a:gd name="connsiteX998" fmla="*/ 373016 w 704517"/>
              <a:gd name="connsiteY998" fmla="*/ 81927 h 1117121"/>
              <a:gd name="connsiteX999" fmla="*/ 366249 w 704517"/>
              <a:gd name="connsiteY999" fmla="*/ 72093 h 1117121"/>
              <a:gd name="connsiteX1000" fmla="*/ 361332 w 704517"/>
              <a:gd name="connsiteY1000" fmla="*/ 60524 h 1117121"/>
              <a:gd name="connsiteX1001" fmla="*/ 358787 w 704517"/>
              <a:gd name="connsiteY1001" fmla="*/ 59599 h 1117121"/>
              <a:gd name="connsiteX1002" fmla="*/ 348837 w 704517"/>
              <a:gd name="connsiteY1002" fmla="*/ 65383 h 1117121"/>
              <a:gd name="connsiteX1003" fmla="*/ 340219 w 704517"/>
              <a:gd name="connsiteY1003" fmla="*/ 70473 h 1117121"/>
              <a:gd name="connsiteX1004" fmla="*/ 339351 w 704517"/>
              <a:gd name="connsiteY1004" fmla="*/ 70473 h 1117121"/>
              <a:gd name="connsiteX1005" fmla="*/ 337095 w 704517"/>
              <a:gd name="connsiteY1005" fmla="*/ 68738 h 1117121"/>
              <a:gd name="connsiteX1006" fmla="*/ 341607 w 704517"/>
              <a:gd name="connsiteY1006" fmla="*/ 57169 h 1117121"/>
              <a:gd name="connsiteX1007" fmla="*/ 345830 w 704517"/>
              <a:gd name="connsiteY1007" fmla="*/ 49534 h 1117121"/>
              <a:gd name="connsiteX1008" fmla="*/ 345367 w 704517"/>
              <a:gd name="connsiteY1008" fmla="*/ 47278 h 1117121"/>
              <a:gd name="connsiteX1009" fmla="*/ 324543 w 704517"/>
              <a:gd name="connsiteY1009" fmla="*/ 38890 h 1117121"/>
              <a:gd name="connsiteX1010" fmla="*/ 319453 w 704517"/>
              <a:gd name="connsiteY1010" fmla="*/ 40741 h 1117121"/>
              <a:gd name="connsiteX1011" fmla="*/ 316734 w 704517"/>
              <a:gd name="connsiteY1011" fmla="*/ 43113 h 1117121"/>
              <a:gd name="connsiteX1012" fmla="*/ 310429 w 704517"/>
              <a:gd name="connsiteY1012" fmla="*/ 36634 h 1117121"/>
              <a:gd name="connsiteX1013" fmla="*/ 303546 w 704517"/>
              <a:gd name="connsiteY1013" fmla="*/ 28652 h 1117121"/>
              <a:gd name="connsiteX1014" fmla="*/ 302851 w 704517"/>
              <a:gd name="connsiteY1014" fmla="*/ 28652 h 1117121"/>
              <a:gd name="connsiteX1015" fmla="*/ 301405 w 704517"/>
              <a:gd name="connsiteY1015" fmla="*/ 33627 h 1117121"/>
              <a:gd name="connsiteX1016" fmla="*/ 297414 w 704517"/>
              <a:gd name="connsiteY1016" fmla="*/ 42130 h 1117121"/>
              <a:gd name="connsiteX1017" fmla="*/ 290473 w 704517"/>
              <a:gd name="connsiteY1017" fmla="*/ 47336 h 1117121"/>
              <a:gd name="connsiteX1018" fmla="*/ 294174 w 704517"/>
              <a:gd name="connsiteY1018" fmla="*/ 53120 h 1117121"/>
              <a:gd name="connsiteX1019" fmla="*/ 311528 w 704517"/>
              <a:gd name="connsiteY1019" fmla="*/ 95520 h 1117121"/>
              <a:gd name="connsiteX1020" fmla="*/ 309677 w 704517"/>
              <a:gd name="connsiteY1020" fmla="*/ 96908 h 1117121"/>
              <a:gd name="connsiteX1021" fmla="*/ 279077 w 704517"/>
              <a:gd name="connsiteY1021" fmla="*/ 60813 h 1117121"/>
              <a:gd name="connsiteX1022" fmla="*/ 266004 w 704517"/>
              <a:gd name="connsiteY1022" fmla="*/ 44443 h 1117121"/>
              <a:gd name="connsiteX1023" fmla="*/ 262476 w 704517"/>
              <a:gd name="connsiteY1023" fmla="*/ 47162 h 1117121"/>
              <a:gd name="connsiteX1024" fmla="*/ 256171 w 704517"/>
              <a:gd name="connsiteY1024" fmla="*/ 56244 h 1117121"/>
              <a:gd name="connsiteX1025" fmla="*/ 251601 w 704517"/>
              <a:gd name="connsiteY1025" fmla="*/ 68217 h 1117121"/>
              <a:gd name="connsiteX1026" fmla="*/ 250849 w 704517"/>
              <a:gd name="connsiteY1026" fmla="*/ 76200 h 1117121"/>
              <a:gd name="connsiteX1027" fmla="*/ 244070 w 704517"/>
              <a:gd name="connsiteY1027" fmla="*/ 77756 h 1117121"/>
              <a:gd name="connsiteX1028" fmla="*/ 243387 w 704517"/>
              <a:gd name="connsiteY1028" fmla="*/ 77241 h 1117121"/>
              <a:gd name="connsiteX1029" fmla="*/ 242115 w 704517"/>
              <a:gd name="connsiteY1029" fmla="*/ 73423 h 1117121"/>
              <a:gd name="connsiteX1030" fmla="*/ 222506 w 704517"/>
              <a:gd name="connsiteY1030" fmla="*/ 58152 h 1117121"/>
              <a:gd name="connsiteX1031" fmla="*/ 220539 w 704517"/>
              <a:gd name="connsiteY1031" fmla="*/ 56822 h 1117121"/>
              <a:gd name="connsiteX1032" fmla="*/ 229389 w 704517"/>
              <a:gd name="connsiteY1032" fmla="*/ 52831 h 1117121"/>
              <a:gd name="connsiteX1033" fmla="*/ 245180 w 704517"/>
              <a:gd name="connsiteY1033" fmla="*/ 47567 h 1117121"/>
              <a:gd name="connsiteX1034" fmla="*/ 247147 w 704517"/>
              <a:gd name="connsiteY1034" fmla="*/ 45774 h 1117121"/>
              <a:gd name="connsiteX1035" fmla="*/ 237372 w 704517"/>
              <a:gd name="connsiteY1035" fmla="*/ 42477 h 1117121"/>
              <a:gd name="connsiteX1036" fmla="*/ 230488 w 704517"/>
              <a:gd name="connsiteY1036" fmla="*/ 44096 h 1117121"/>
              <a:gd name="connsiteX1037" fmla="*/ 223258 w 704517"/>
              <a:gd name="connsiteY1037" fmla="*/ 45947 h 1117121"/>
              <a:gd name="connsiteX1038" fmla="*/ 217473 w 704517"/>
              <a:gd name="connsiteY1038" fmla="*/ 45485 h 1117121"/>
              <a:gd name="connsiteX1039" fmla="*/ 212961 w 704517"/>
              <a:gd name="connsiteY1039" fmla="*/ 45080 h 1117121"/>
              <a:gd name="connsiteX1040" fmla="*/ 207524 w 704517"/>
              <a:gd name="connsiteY1040" fmla="*/ 47393 h 1117121"/>
              <a:gd name="connsiteX1041" fmla="*/ 201739 w 704517"/>
              <a:gd name="connsiteY1041" fmla="*/ 50806 h 1117121"/>
              <a:gd name="connsiteX1042" fmla="*/ 194278 w 704517"/>
              <a:gd name="connsiteY1042" fmla="*/ 48550 h 1117121"/>
              <a:gd name="connsiteX1043" fmla="*/ 187162 w 704517"/>
              <a:gd name="connsiteY1043" fmla="*/ 46005 h 1117121"/>
              <a:gd name="connsiteX1044" fmla="*/ 185890 w 704517"/>
              <a:gd name="connsiteY1044" fmla="*/ 46005 h 1117121"/>
              <a:gd name="connsiteX1045" fmla="*/ 175883 w 704517"/>
              <a:gd name="connsiteY1045" fmla="*/ 51385 h 1117121"/>
              <a:gd name="connsiteX1046" fmla="*/ 167091 w 704517"/>
              <a:gd name="connsiteY1046" fmla="*/ 56128 h 1117121"/>
              <a:gd name="connsiteX1047" fmla="*/ 165182 w 704517"/>
              <a:gd name="connsiteY1047" fmla="*/ 55781 h 1117121"/>
              <a:gd name="connsiteX1048" fmla="*/ 162000 w 704517"/>
              <a:gd name="connsiteY1048" fmla="*/ 57401 h 1117121"/>
              <a:gd name="connsiteX1049" fmla="*/ 166570 w 704517"/>
              <a:gd name="connsiteY1049" fmla="*/ 81406 h 1117121"/>
              <a:gd name="connsiteX1050" fmla="*/ 173338 w 704517"/>
              <a:gd name="connsiteY1050" fmla="*/ 86612 h 1117121"/>
              <a:gd name="connsiteX1051" fmla="*/ 173338 w 704517"/>
              <a:gd name="connsiteY1051" fmla="*/ 86612 h 1117121"/>
              <a:gd name="connsiteX1052" fmla="*/ 181031 w 704517"/>
              <a:gd name="connsiteY1052" fmla="*/ 82968 h 1117121"/>
              <a:gd name="connsiteX1053" fmla="*/ 192079 w 704517"/>
              <a:gd name="connsiteY1053" fmla="*/ 78282 h 1117121"/>
              <a:gd name="connsiteX1054" fmla="*/ 194335 w 704517"/>
              <a:gd name="connsiteY1054" fmla="*/ 78282 h 1117121"/>
              <a:gd name="connsiteX1055" fmla="*/ 198211 w 704517"/>
              <a:gd name="connsiteY1055" fmla="*/ 81001 h 1117121"/>
              <a:gd name="connsiteX1056" fmla="*/ 190575 w 704517"/>
              <a:gd name="connsiteY1056" fmla="*/ 92107 h 1117121"/>
              <a:gd name="connsiteX1057" fmla="*/ 179412 w 704517"/>
              <a:gd name="connsiteY1057" fmla="*/ 106337 h 1117121"/>
              <a:gd name="connsiteX1058" fmla="*/ 196765 w 704517"/>
              <a:gd name="connsiteY1058" fmla="*/ 128028 h 1117121"/>
              <a:gd name="connsiteX1059" fmla="*/ 206425 w 704517"/>
              <a:gd name="connsiteY1059" fmla="*/ 135548 h 1117121"/>
              <a:gd name="connsiteX1060" fmla="*/ 226555 w 704517"/>
              <a:gd name="connsiteY1060" fmla="*/ 141333 h 1117121"/>
              <a:gd name="connsiteX1061" fmla="*/ 243908 w 704517"/>
              <a:gd name="connsiteY1061" fmla="*/ 137688 h 1117121"/>
              <a:gd name="connsiteX1062" fmla="*/ 249692 w 704517"/>
              <a:gd name="connsiteY1062" fmla="*/ 127508 h 1117121"/>
              <a:gd name="connsiteX1063" fmla="*/ 259584 w 704517"/>
              <a:gd name="connsiteY1063" fmla="*/ 116344 h 1117121"/>
              <a:gd name="connsiteX1064" fmla="*/ 260220 w 704517"/>
              <a:gd name="connsiteY1064" fmla="*/ 116344 h 1117121"/>
              <a:gd name="connsiteX1065" fmla="*/ 266641 w 704517"/>
              <a:gd name="connsiteY1065" fmla="*/ 111658 h 1117121"/>
              <a:gd name="connsiteX1066" fmla="*/ 273119 w 704517"/>
              <a:gd name="connsiteY1066" fmla="*/ 104312 h 1117121"/>
              <a:gd name="connsiteX1067" fmla="*/ 280974 w 704517"/>
              <a:gd name="connsiteY1067" fmla="*/ 106603 h 1117121"/>
              <a:gd name="connsiteX1068" fmla="*/ 281102 w 704517"/>
              <a:gd name="connsiteY1068" fmla="*/ 106857 h 1117121"/>
              <a:gd name="connsiteX1069" fmla="*/ 276764 w 704517"/>
              <a:gd name="connsiteY1069" fmla="*/ 122418 h 1117121"/>
              <a:gd name="connsiteX1070" fmla="*/ 275549 w 704517"/>
              <a:gd name="connsiteY1070" fmla="*/ 125252 h 1117121"/>
              <a:gd name="connsiteX1071" fmla="*/ 279598 w 704517"/>
              <a:gd name="connsiteY1071" fmla="*/ 126467 h 1117121"/>
              <a:gd name="connsiteX1072" fmla="*/ 298744 w 704517"/>
              <a:gd name="connsiteY1072" fmla="*/ 118426 h 1117121"/>
              <a:gd name="connsiteX1073" fmla="*/ 310718 w 704517"/>
              <a:gd name="connsiteY1073" fmla="*/ 115476 h 1117121"/>
              <a:gd name="connsiteX1074" fmla="*/ 311470 w 704517"/>
              <a:gd name="connsiteY1074" fmla="*/ 128665 h 1117121"/>
              <a:gd name="connsiteX1075" fmla="*/ 296430 w 704517"/>
              <a:gd name="connsiteY1075" fmla="*/ 136589 h 1117121"/>
              <a:gd name="connsiteX1076" fmla="*/ 278615 w 704517"/>
              <a:gd name="connsiteY1076" fmla="*/ 144167 h 1117121"/>
              <a:gd name="connsiteX1077" fmla="*/ 258022 w 704517"/>
              <a:gd name="connsiteY1077" fmla="*/ 151398 h 1117121"/>
              <a:gd name="connsiteX1078" fmla="*/ 235578 w 704517"/>
              <a:gd name="connsiteY1078" fmla="*/ 158802 h 1117121"/>
              <a:gd name="connsiteX1079" fmla="*/ 232975 w 704517"/>
              <a:gd name="connsiteY1079" fmla="*/ 164586 h 1117121"/>
              <a:gd name="connsiteX1080" fmla="*/ 244891 w 704517"/>
              <a:gd name="connsiteY1080" fmla="*/ 167941 h 1117121"/>
              <a:gd name="connsiteX1081" fmla="*/ 259294 w 704517"/>
              <a:gd name="connsiteY1081" fmla="*/ 166379 h 1117121"/>
              <a:gd name="connsiteX1082" fmla="*/ 299033 w 704517"/>
              <a:gd name="connsiteY1082" fmla="*/ 162793 h 1117121"/>
              <a:gd name="connsiteX1083" fmla="*/ 314304 w 704517"/>
              <a:gd name="connsiteY1083" fmla="*/ 163950 h 1117121"/>
              <a:gd name="connsiteX1084" fmla="*/ 318527 w 704517"/>
              <a:gd name="connsiteY1084" fmla="*/ 166958 h 1117121"/>
              <a:gd name="connsiteX1085" fmla="*/ 289200 w 704517"/>
              <a:gd name="connsiteY1085" fmla="*/ 172279 h 1117121"/>
              <a:gd name="connsiteX1086" fmla="*/ 268029 w 704517"/>
              <a:gd name="connsiteY1086" fmla="*/ 177659 h 1117121"/>
              <a:gd name="connsiteX1087" fmla="*/ 266698 w 704517"/>
              <a:gd name="connsiteY1087" fmla="*/ 181303 h 1117121"/>
              <a:gd name="connsiteX1088" fmla="*/ 266236 w 704517"/>
              <a:gd name="connsiteY1088" fmla="*/ 182980 h 1117121"/>
              <a:gd name="connsiteX1089" fmla="*/ 262823 w 704517"/>
              <a:gd name="connsiteY1089" fmla="*/ 183964 h 1117121"/>
              <a:gd name="connsiteX1090" fmla="*/ 257038 w 704517"/>
              <a:gd name="connsiteY1090" fmla="*/ 183443 h 1117121"/>
              <a:gd name="connsiteX1091" fmla="*/ 248593 w 704517"/>
              <a:gd name="connsiteY1091" fmla="*/ 182749 h 1117121"/>
              <a:gd name="connsiteX1092" fmla="*/ 240264 w 704517"/>
              <a:gd name="connsiteY1092" fmla="*/ 187030 h 1117121"/>
              <a:gd name="connsiteX1093" fmla="*/ 255534 w 704517"/>
              <a:gd name="connsiteY1093" fmla="*/ 200218 h 1117121"/>
              <a:gd name="connsiteX1094" fmla="*/ 267450 w 704517"/>
              <a:gd name="connsiteY1094" fmla="*/ 208201 h 1117121"/>
              <a:gd name="connsiteX1095" fmla="*/ 274797 w 704517"/>
              <a:gd name="connsiteY1095" fmla="*/ 210804 h 1117121"/>
              <a:gd name="connsiteX1096" fmla="*/ 281680 w 704517"/>
              <a:gd name="connsiteY1096" fmla="*/ 210399 h 1117121"/>
              <a:gd name="connsiteX1097" fmla="*/ 288448 w 704517"/>
              <a:gd name="connsiteY1097" fmla="*/ 209994 h 1117121"/>
              <a:gd name="connsiteX1098" fmla="*/ 293480 w 704517"/>
              <a:gd name="connsiteY1098" fmla="*/ 210688 h 1117121"/>
              <a:gd name="connsiteX1099" fmla="*/ 295678 w 704517"/>
              <a:gd name="connsiteY1099" fmla="*/ 212944 h 1117121"/>
              <a:gd name="connsiteX1100" fmla="*/ 287175 w 704517"/>
              <a:gd name="connsiteY1100" fmla="*/ 219133 h 1117121"/>
              <a:gd name="connsiteX1101" fmla="*/ 280581 w 704517"/>
              <a:gd name="connsiteY1101" fmla="*/ 223067 h 1117121"/>
              <a:gd name="connsiteX1102" fmla="*/ 188030 w 704517"/>
              <a:gd name="connsiteY1102" fmla="*/ 142894 h 1117121"/>
              <a:gd name="connsiteX1103" fmla="*/ 177618 w 704517"/>
              <a:gd name="connsiteY1103" fmla="*/ 136127 h 1117121"/>
              <a:gd name="connsiteX1104" fmla="*/ 168826 w 704517"/>
              <a:gd name="connsiteY1104" fmla="*/ 129532 h 1117121"/>
              <a:gd name="connsiteX1105" fmla="*/ 147886 w 704517"/>
              <a:gd name="connsiteY1105" fmla="*/ 107841 h 1117121"/>
              <a:gd name="connsiteX1106" fmla="*/ 151820 w 704517"/>
              <a:gd name="connsiteY1106" fmla="*/ 103098 h 1117121"/>
              <a:gd name="connsiteX1107" fmla="*/ 156158 w 704517"/>
              <a:gd name="connsiteY1107" fmla="*/ 102461 h 1117121"/>
              <a:gd name="connsiteX1108" fmla="*/ 165760 w 704517"/>
              <a:gd name="connsiteY1108" fmla="*/ 109923 h 1117121"/>
              <a:gd name="connsiteX1109" fmla="*/ 171140 w 704517"/>
              <a:gd name="connsiteY1109" fmla="*/ 117385 h 1117121"/>
              <a:gd name="connsiteX1110" fmla="*/ 189939 w 704517"/>
              <a:gd name="connsiteY1110" fmla="*/ 141911 h 1117121"/>
              <a:gd name="connsiteX1111" fmla="*/ 188609 w 704517"/>
              <a:gd name="connsiteY1111" fmla="*/ 142894 h 1117121"/>
              <a:gd name="connsiteX1112" fmla="*/ 156158 w 704517"/>
              <a:gd name="connsiteY1112" fmla="*/ 104659 h 1117121"/>
              <a:gd name="connsiteX1113" fmla="*/ 152456 w 704517"/>
              <a:gd name="connsiteY1113" fmla="*/ 105296 h 1117121"/>
              <a:gd name="connsiteX1114" fmla="*/ 150142 w 704517"/>
              <a:gd name="connsiteY1114" fmla="*/ 107783 h 1117121"/>
              <a:gd name="connsiteX1115" fmla="*/ 169405 w 704517"/>
              <a:gd name="connsiteY1115" fmla="*/ 127334 h 1117121"/>
              <a:gd name="connsiteX1116" fmla="*/ 179238 w 704517"/>
              <a:gd name="connsiteY1116" fmla="*/ 134565 h 1117121"/>
              <a:gd name="connsiteX1117" fmla="*/ 187567 w 704517"/>
              <a:gd name="connsiteY1117" fmla="*/ 140349 h 1117121"/>
              <a:gd name="connsiteX1118" fmla="*/ 169520 w 704517"/>
              <a:gd name="connsiteY1118" fmla="*/ 118600 h 1117121"/>
              <a:gd name="connsiteX1119" fmla="*/ 163736 w 704517"/>
              <a:gd name="connsiteY1119" fmla="*/ 110791 h 1117121"/>
              <a:gd name="connsiteX1120" fmla="*/ 156390 w 704517"/>
              <a:gd name="connsiteY1120" fmla="*/ 104891 h 1117121"/>
              <a:gd name="connsiteX1121" fmla="*/ 501488 w 704517"/>
              <a:gd name="connsiteY1121" fmla="*/ 83604 h 1117121"/>
              <a:gd name="connsiteX1122" fmla="*/ 497960 w 704517"/>
              <a:gd name="connsiteY1122" fmla="*/ 83604 h 1117121"/>
              <a:gd name="connsiteX1123" fmla="*/ 474475 w 704517"/>
              <a:gd name="connsiteY1123" fmla="*/ 74985 h 1117121"/>
              <a:gd name="connsiteX1124" fmla="*/ 467881 w 704517"/>
              <a:gd name="connsiteY1124" fmla="*/ 71919 h 1117121"/>
              <a:gd name="connsiteX1125" fmla="*/ 466551 w 704517"/>
              <a:gd name="connsiteY1125" fmla="*/ 72498 h 1117121"/>
              <a:gd name="connsiteX1126" fmla="*/ 454345 w 704517"/>
              <a:gd name="connsiteY1126" fmla="*/ 74638 h 1117121"/>
              <a:gd name="connsiteX1127" fmla="*/ 400492 w 704517"/>
              <a:gd name="connsiteY1127" fmla="*/ 63706 h 1117121"/>
              <a:gd name="connsiteX1128" fmla="*/ 400492 w 704517"/>
              <a:gd name="connsiteY1128" fmla="*/ 61681 h 1117121"/>
              <a:gd name="connsiteX1129" fmla="*/ 432827 w 704517"/>
              <a:gd name="connsiteY1129" fmla="*/ 51674 h 1117121"/>
              <a:gd name="connsiteX1130" fmla="*/ 457989 w 704517"/>
              <a:gd name="connsiteY1130" fmla="*/ 45022 h 1117121"/>
              <a:gd name="connsiteX1131" fmla="*/ 457989 w 704517"/>
              <a:gd name="connsiteY1131" fmla="*/ 45022 h 1117121"/>
              <a:gd name="connsiteX1132" fmla="*/ 452205 w 704517"/>
              <a:gd name="connsiteY1132" fmla="*/ 44212 h 1117121"/>
              <a:gd name="connsiteX1133" fmla="*/ 429067 w 704517"/>
              <a:gd name="connsiteY1133" fmla="*/ 46410 h 1117121"/>
              <a:gd name="connsiteX1134" fmla="*/ 389213 w 704517"/>
              <a:gd name="connsiteY1134" fmla="*/ 49765 h 1117121"/>
              <a:gd name="connsiteX1135" fmla="*/ 389213 w 704517"/>
              <a:gd name="connsiteY1135" fmla="*/ 49765 h 1117121"/>
              <a:gd name="connsiteX1136" fmla="*/ 358382 w 704517"/>
              <a:gd name="connsiteY1136" fmla="*/ 41783 h 1117121"/>
              <a:gd name="connsiteX1137" fmla="*/ 356589 w 704517"/>
              <a:gd name="connsiteY1137" fmla="*/ 37965 h 1117121"/>
              <a:gd name="connsiteX1138" fmla="*/ 360291 w 704517"/>
              <a:gd name="connsiteY1138" fmla="*/ 33974 h 1117121"/>
              <a:gd name="connsiteX1139" fmla="*/ 362315 w 704517"/>
              <a:gd name="connsiteY1139" fmla="*/ 32470 h 1117121"/>
              <a:gd name="connsiteX1140" fmla="*/ 361505 w 704517"/>
              <a:gd name="connsiteY1140" fmla="*/ 31602 h 1117121"/>
              <a:gd name="connsiteX1141" fmla="*/ 355085 w 704517"/>
              <a:gd name="connsiteY1141" fmla="*/ 27264 h 1117121"/>
              <a:gd name="connsiteX1142" fmla="*/ 345772 w 704517"/>
              <a:gd name="connsiteY1142" fmla="*/ 18992 h 1117121"/>
              <a:gd name="connsiteX1143" fmla="*/ 348143 w 704517"/>
              <a:gd name="connsiteY1143" fmla="*/ 17430 h 1117121"/>
              <a:gd name="connsiteX1144" fmla="*/ 351787 w 704517"/>
              <a:gd name="connsiteY1144" fmla="*/ 13497 h 1117121"/>
              <a:gd name="connsiteX1145" fmla="*/ 359770 w 704517"/>
              <a:gd name="connsiteY1145" fmla="*/ 7134 h 1117121"/>
              <a:gd name="connsiteX1146" fmla="*/ 373826 w 704517"/>
              <a:gd name="connsiteY1146" fmla="*/ 17314 h 1117121"/>
              <a:gd name="connsiteX1147" fmla="*/ 379321 w 704517"/>
              <a:gd name="connsiteY1147" fmla="*/ 22463 h 1117121"/>
              <a:gd name="connsiteX1148" fmla="*/ 378222 w 704517"/>
              <a:gd name="connsiteY1148" fmla="*/ 13902 h 1117121"/>
              <a:gd name="connsiteX1149" fmla="*/ 377470 w 704517"/>
              <a:gd name="connsiteY1149" fmla="*/ 7423 h 1117121"/>
              <a:gd name="connsiteX1150" fmla="*/ 379900 w 704517"/>
              <a:gd name="connsiteY1150" fmla="*/ 6555 h 1117121"/>
              <a:gd name="connsiteX1151" fmla="*/ 387420 w 704517"/>
              <a:gd name="connsiteY1151" fmla="*/ 9679 h 1117121"/>
              <a:gd name="connsiteX1152" fmla="*/ 396964 w 704517"/>
              <a:gd name="connsiteY1152" fmla="*/ 13323 h 1117121"/>
              <a:gd name="connsiteX1153" fmla="*/ 398757 w 704517"/>
              <a:gd name="connsiteY1153" fmla="*/ 12513 h 1117121"/>
              <a:gd name="connsiteX1154" fmla="*/ 397022 w 704517"/>
              <a:gd name="connsiteY1154" fmla="*/ 5803 h 1117121"/>
              <a:gd name="connsiteX1155" fmla="*/ 395634 w 704517"/>
              <a:gd name="connsiteY1155" fmla="*/ 1176 h 1117121"/>
              <a:gd name="connsiteX1156" fmla="*/ 397774 w 704517"/>
              <a:gd name="connsiteY1156" fmla="*/ -97 h 1117121"/>
              <a:gd name="connsiteX1157" fmla="*/ 428720 w 704517"/>
              <a:gd name="connsiteY1157" fmla="*/ 17719 h 1117121"/>
              <a:gd name="connsiteX1158" fmla="*/ 431728 w 704517"/>
              <a:gd name="connsiteY1158" fmla="*/ 20207 h 1117121"/>
              <a:gd name="connsiteX1159" fmla="*/ 439711 w 704517"/>
              <a:gd name="connsiteY1159" fmla="*/ 17835 h 1117121"/>
              <a:gd name="connsiteX1160" fmla="*/ 447288 w 704517"/>
              <a:gd name="connsiteY1160" fmla="*/ 15695 h 1117121"/>
              <a:gd name="connsiteX1161" fmla="*/ 451106 w 704517"/>
              <a:gd name="connsiteY1161" fmla="*/ 18917 h 1117121"/>
              <a:gd name="connsiteX1162" fmla="*/ 451106 w 704517"/>
              <a:gd name="connsiteY1162" fmla="*/ 19050 h 1117121"/>
              <a:gd name="connsiteX1163" fmla="*/ 469385 w 704517"/>
              <a:gd name="connsiteY1163" fmla="*/ 30619 h 1117121"/>
              <a:gd name="connsiteX1164" fmla="*/ 471178 w 704517"/>
              <a:gd name="connsiteY1164" fmla="*/ 30272 h 1117121"/>
              <a:gd name="connsiteX1165" fmla="*/ 469848 w 704517"/>
              <a:gd name="connsiteY1165" fmla="*/ 25066 h 1117121"/>
              <a:gd name="connsiteX1166" fmla="*/ 468286 w 704517"/>
              <a:gd name="connsiteY1166" fmla="*/ 9448 h 1117121"/>
              <a:gd name="connsiteX1167" fmla="*/ 476384 w 704517"/>
              <a:gd name="connsiteY1167" fmla="*/ 3663 h 1117121"/>
              <a:gd name="connsiteX1168" fmla="*/ 482168 w 704517"/>
              <a:gd name="connsiteY1168" fmla="*/ 2680 h 1117121"/>
              <a:gd name="connsiteX1169" fmla="*/ 491944 w 704517"/>
              <a:gd name="connsiteY1169" fmla="*/ 15926 h 1117121"/>
              <a:gd name="connsiteX1170" fmla="*/ 493275 w 704517"/>
              <a:gd name="connsiteY1170" fmla="*/ 21711 h 1117121"/>
              <a:gd name="connsiteX1171" fmla="*/ 496572 w 704517"/>
              <a:gd name="connsiteY1171" fmla="*/ 22983 h 1117121"/>
              <a:gd name="connsiteX1172" fmla="*/ 506637 w 704517"/>
              <a:gd name="connsiteY1172" fmla="*/ 14711 h 1117121"/>
              <a:gd name="connsiteX1173" fmla="*/ 517454 w 704517"/>
              <a:gd name="connsiteY1173" fmla="*/ 10200 h 1117121"/>
              <a:gd name="connsiteX1174" fmla="*/ 548689 w 704517"/>
              <a:gd name="connsiteY1174" fmla="*/ 18471 h 1117121"/>
              <a:gd name="connsiteX1175" fmla="*/ 564539 w 704517"/>
              <a:gd name="connsiteY1175" fmla="*/ 20322 h 1117121"/>
              <a:gd name="connsiteX1176" fmla="*/ 576513 w 704517"/>
              <a:gd name="connsiteY1176" fmla="*/ 20322 h 1117121"/>
              <a:gd name="connsiteX1177" fmla="*/ 603237 w 704517"/>
              <a:gd name="connsiteY1177" fmla="*/ 28999 h 1117121"/>
              <a:gd name="connsiteX1178" fmla="*/ 580388 w 704517"/>
              <a:gd name="connsiteY1178" fmla="*/ 50344 h 1117121"/>
              <a:gd name="connsiteX1179" fmla="*/ 565696 w 704517"/>
              <a:gd name="connsiteY1179" fmla="*/ 60235 h 1117121"/>
              <a:gd name="connsiteX1180" fmla="*/ 529485 w 704517"/>
              <a:gd name="connsiteY1180" fmla="*/ 76431 h 1117121"/>
              <a:gd name="connsiteX1181" fmla="*/ 517916 w 704517"/>
              <a:gd name="connsiteY1181" fmla="*/ 80191 h 1117121"/>
              <a:gd name="connsiteX1182" fmla="*/ 501720 w 704517"/>
              <a:gd name="connsiteY1182" fmla="*/ 83835 h 1117121"/>
              <a:gd name="connsiteX1183" fmla="*/ 467881 w 704517"/>
              <a:gd name="connsiteY1183" fmla="*/ 69606 h 1117121"/>
              <a:gd name="connsiteX1184" fmla="*/ 476037 w 704517"/>
              <a:gd name="connsiteY1184" fmla="*/ 73192 h 1117121"/>
              <a:gd name="connsiteX1185" fmla="*/ 498538 w 704517"/>
              <a:gd name="connsiteY1185" fmla="*/ 81464 h 1117121"/>
              <a:gd name="connsiteX1186" fmla="*/ 516412 w 704517"/>
              <a:gd name="connsiteY1186" fmla="*/ 77646 h 1117121"/>
              <a:gd name="connsiteX1187" fmla="*/ 529312 w 704517"/>
              <a:gd name="connsiteY1187" fmla="*/ 73597 h 1117121"/>
              <a:gd name="connsiteX1188" fmla="*/ 563324 w 704517"/>
              <a:gd name="connsiteY1188" fmla="*/ 59483 h 1117121"/>
              <a:gd name="connsiteX1189" fmla="*/ 579289 w 704517"/>
              <a:gd name="connsiteY1189" fmla="*/ 47914 h 1117121"/>
              <a:gd name="connsiteX1190" fmla="*/ 600923 w 704517"/>
              <a:gd name="connsiteY1190" fmla="*/ 29173 h 1117121"/>
              <a:gd name="connsiteX1191" fmla="*/ 570265 w 704517"/>
              <a:gd name="connsiteY1191" fmla="*/ 22231 h 1117121"/>
              <a:gd name="connsiteX1192" fmla="*/ 564481 w 704517"/>
              <a:gd name="connsiteY1192" fmla="*/ 22231 h 1117121"/>
              <a:gd name="connsiteX1193" fmla="*/ 547648 w 704517"/>
              <a:gd name="connsiteY1193" fmla="*/ 20149 h 1117121"/>
              <a:gd name="connsiteX1194" fmla="*/ 517396 w 704517"/>
              <a:gd name="connsiteY1194" fmla="*/ 12108 h 1117121"/>
              <a:gd name="connsiteX1195" fmla="*/ 508603 w 704517"/>
              <a:gd name="connsiteY1195" fmla="*/ 15406 h 1117121"/>
              <a:gd name="connsiteX1196" fmla="*/ 496514 w 704517"/>
              <a:gd name="connsiteY1196" fmla="*/ 24892 h 1117121"/>
              <a:gd name="connsiteX1197" fmla="*/ 491597 w 704517"/>
              <a:gd name="connsiteY1197" fmla="*/ 22983 h 1117121"/>
              <a:gd name="connsiteX1198" fmla="*/ 489630 w 704517"/>
              <a:gd name="connsiteY1198" fmla="*/ 15984 h 1117121"/>
              <a:gd name="connsiteX1199" fmla="*/ 482111 w 704517"/>
              <a:gd name="connsiteY1199" fmla="*/ 4762 h 1117121"/>
              <a:gd name="connsiteX1200" fmla="*/ 477020 w 704517"/>
              <a:gd name="connsiteY1200" fmla="*/ 5630 h 1117121"/>
              <a:gd name="connsiteX1201" fmla="*/ 470310 w 704517"/>
              <a:gd name="connsiteY1201" fmla="*/ 10547 h 1117121"/>
              <a:gd name="connsiteX1202" fmla="*/ 471930 w 704517"/>
              <a:gd name="connsiteY1202" fmla="*/ 24314 h 1117121"/>
              <a:gd name="connsiteX1203" fmla="*/ 472451 w 704517"/>
              <a:gd name="connsiteY1203" fmla="*/ 32180 h 1117121"/>
              <a:gd name="connsiteX1204" fmla="*/ 469385 w 704517"/>
              <a:gd name="connsiteY1204" fmla="*/ 32932 h 1117121"/>
              <a:gd name="connsiteX1205" fmla="*/ 448908 w 704517"/>
              <a:gd name="connsiteY1205" fmla="*/ 19281 h 1117121"/>
              <a:gd name="connsiteX1206" fmla="*/ 447288 w 704517"/>
              <a:gd name="connsiteY1206" fmla="*/ 17893 h 1117121"/>
              <a:gd name="connsiteX1207" fmla="*/ 440579 w 704517"/>
              <a:gd name="connsiteY1207" fmla="*/ 19917 h 1117121"/>
              <a:gd name="connsiteX1208" fmla="*/ 431728 w 704517"/>
              <a:gd name="connsiteY1208" fmla="*/ 22405 h 1117121"/>
              <a:gd name="connsiteX1209" fmla="*/ 426522 w 704517"/>
              <a:gd name="connsiteY1209" fmla="*/ 18182 h 1117121"/>
              <a:gd name="connsiteX1210" fmla="*/ 398584 w 704517"/>
              <a:gd name="connsiteY1210" fmla="*/ 2044 h 1117121"/>
              <a:gd name="connsiteX1211" fmla="*/ 398063 w 704517"/>
              <a:gd name="connsiteY1211" fmla="*/ 2044 h 1117121"/>
              <a:gd name="connsiteX1212" fmla="*/ 397600 w 704517"/>
              <a:gd name="connsiteY1212" fmla="*/ 2044 h 1117121"/>
              <a:gd name="connsiteX1213" fmla="*/ 398989 w 704517"/>
              <a:gd name="connsiteY1213" fmla="*/ 4415 h 1117121"/>
              <a:gd name="connsiteX1214" fmla="*/ 400724 w 704517"/>
              <a:gd name="connsiteY1214" fmla="*/ 13497 h 1117121"/>
              <a:gd name="connsiteX1215" fmla="*/ 396964 w 704517"/>
              <a:gd name="connsiteY1215" fmla="*/ 15348 h 1117121"/>
              <a:gd name="connsiteX1216" fmla="*/ 386378 w 704517"/>
              <a:gd name="connsiteY1216" fmla="*/ 11414 h 1117121"/>
              <a:gd name="connsiteX1217" fmla="*/ 379611 w 704517"/>
              <a:gd name="connsiteY1217" fmla="*/ 8580 h 1117121"/>
              <a:gd name="connsiteX1218" fmla="*/ 379206 w 704517"/>
              <a:gd name="connsiteY1218" fmla="*/ 8580 h 1117121"/>
              <a:gd name="connsiteX1219" fmla="*/ 380363 w 704517"/>
              <a:gd name="connsiteY1219" fmla="*/ 12976 h 1117121"/>
              <a:gd name="connsiteX1220" fmla="*/ 381404 w 704517"/>
              <a:gd name="connsiteY1220" fmla="*/ 23099 h 1117121"/>
              <a:gd name="connsiteX1221" fmla="*/ 379321 w 704517"/>
              <a:gd name="connsiteY1221" fmla="*/ 24487 h 1117121"/>
              <a:gd name="connsiteX1222" fmla="*/ 372149 w 704517"/>
              <a:gd name="connsiteY1222" fmla="*/ 18703 h 1117121"/>
              <a:gd name="connsiteX1223" fmla="*/ 359770 w 704517"/>
              <a:gd name="connsiteY1223" fmla="*/ 9274 h 1117121"/>
              <a:gd name="connsiteX1224" fmla="*/ 353986 w 704517"/>
              <a:gd name="connsiteY1224" fmla="*/ 14249 h 1117121"/>
              <a:gd name="connsiteX1225" fmla="*/ 348201 w 704517"/>
              <a:gd name="connsiteY1225" fmla="*/ 19570 h 1117121"/>
              <a:gd name="connsiteX1226" fmla="*/ 348201 w 704517"/>
              <a:gd name="connsiteY1226" fmla="*/ 19570 h 1117121"/>
              <a:gd name="connsiteX1227" fmla="*/ 356242 w 704517"/>
              <a:gd name="connsiteY1227" fmla="*/ 25355 h 1117121"/>
              <a:gd name="connsiteX1228" fmla="*/ 362893 w 704517"/>
              <a:gd name="connsiteY1228" fmla="*/ 29809 h 1117121"/>
              <a:gd name="connsiteX1229" fmla="*/ 364571 w 704517"/>
              <a:gd name="connsiteY1229" fmla="*/ 32643 h 1117121"/>
              <a:gd name="connsiteX1230" fmla="*/ 361447 w 704517"/>
              <a:gd name="connsiteY1230" fmla="*/ 35940 h 1117121"/>
              <a:gd name="connsiteX1231" fmla="*/ 358845 w 704517"/>
              <a:gd name="connsiteY1231" fmla="*/ 38196 h 1117121"/>
              <a:gd name="connsiteX1232" fmla="*/ 359944 w 704517"/>
              <a:gd name="connsiteY1232" fmla="*/ 40221 h 1117121"/>
              <a:gd name="connsiteX1233" fmla="*/ 389213 w 704517"/>
              <a:gd name="connsiteY1233" fmla="*/ 47509 h 1117121"/>
              <a:gd name="connsiteX1234" fmla="*/ 428778 w 704517"/>
              <a:gd name="connsiteY1234" fmla="*/ 44154 h 1117121"/>
              <a:gd name="connsiteX1235" fmla="*/ 452263 w 704517"/>
              <a:gd name="connsiteY1235" fmla="*/ 41956 h 1117121"/>
              <a:gd name="connsiteX1236" fmla="*/ 459089 w 704517"/>
              <a:gd name="connsiteY1236" fmla="*/ 43055 h 1117121"/>
              <a:gd name="connsiteX1237" fmla="*/ 460535 w 704517"/>
              <a:gd name="connsiteY1237" fmla="*/ 45369 h 1117121"/>
              <a:gd name="connsiteX1238" fmla="*/ 433464 w 704517"/>
              <a:gd name="connsiteY1238" fmla="*/ 53988 h 1117121"/>
              <a:gd name="connsiteX1239" fmla="*/ 402632 w 704517"/>
              <a:gd name="connsiteY1239" fmla="*/ 62838 h 1117121"/>
              <a:gd name="connsiteX1240" fmla="*/ 454692 w 704517"/>
              <a:gd name="connsiteY1240" fmla="*/ 72498 h 1117121"/>
              <a:gd name="connsiteX1241" fmla="*/ 465220 w 704517"/>
              <a:gd name="connsiteY1241" fmla="*/ 71167 h 1117121"/>
              <a:gd name="connsiteX1242" fmla="*/ 467881 w 704517"/>
              <a:gd name="connsiteY1242" fmla="*/ 69606 h 111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Lst>
            <a:rect l="l" t="t" r="r" b="b"/>
            <a:pathLst>
              <a:path w="704517" h="1117121">
                <a:moveTo>
                  <a:pt x="72284" y="1116992"/>
                </a:moveTo>
                <a:cubicBezTo>
                  <a:pt x="65429" y="1116784"/>
                  <a:pt x="58754" y="1114788"/>
                  <a:pt x="52906" y="1111208"/>
                </a:cubicBezTo>
                <a:cubicBezTo>
                  <a:pt x="50575" y="1109831"/>
                  <a:pt x="48093" y="1108744"/>
                  <a:pt x="45502" y="1107969"/>
                </a:cubicBezTo>
                <a:cubicBezTo>
                  <a:pt x="39081" y="1106349"/>
                  <a:pt x="18604" y="1096400"/>
                  <a:pt x="15654" y="1088359"/>
                </a:cubicBezTo>
                <a:cubicBezTo>
                  <a:pt x="15001" y="1086775"/>
                  <a:pt x="15198" y="1084964"/>
                  <a:pt x="16175" y="1083558"/>
                </a:cubicBezTo>
                <a:cubicBezTo>
                  <a:pt x="17962" y="1080880"/>
                  <a:pt x="21063" y="1079376"/>
                  <a:pt x="24273" y="1079625"/>
                </a:cubicBezTo>
                <a:cubicBezTo>
                  <a:pt x="26529" y="1079625"/>
                  <a:pt x="27281" y="1079625"/>
                  <a:pt x="27281" y="1075749"/>
                </a:cubicBezTo>
                <a:cubicBezTo>
                  <a:pt x="26899" y="1072099"/>
                  <a:pt x="29444" y="1068797"/>
                  <a:pt x="33066" y="1068230"/>
                </a:cubicBezTo>
                <a:cubicBezTo>
                  <a:pt x="33875" y="1067940"/>
                  <a:pt x="34685" y="1067709"/>
                  <a:pt x="34859" y="1067304"/>
                </a:cubicBezTo>
                <a:cubicBezTo>
                  <a:pt x="35032" y="1066899"/>
                  <a:pt x="34859" y="1066610"/>
                  <a:pt x="34454" y="1065280"/>
                </a:cubicBezTo>
                <a:cubicBezTo>
                  <a:pt x="33551" y="1062347"/>
                  <a:pt x="30972" y="1060247"/>
                  <a:pt x="27917" y="1059958"/>
                </a:cubicBezTo>
                <a:cubicBezTo>
                  <a:pt x="25465" y="1060207"/>
                  <a:pt x="23296" y="1061659"/>
                  <a:pt x="22133" y="1063833"/>
                </a:cubicBezTo>
                <a:cubicBezTo>
                  <a:pt x="19564" y="1067755"/>
                  <a:pt x="15249" y="1070173"/>
                  <a:pt x="10564" y="1070312"/>
                </a:cubicBezTo>
                <a:cubicBezTo>
                  <a:pt x="6920" y="1070312"/>
                  <a:pt x="4780" y="1068287"/>
                  <a:pt x="4780" y="1065280"/>
                </a:cubicBezTo>
                <a:cubicBezTo>
                  <a:pt x="4942" y="1062896"/>
                  <a:pt x="5740" y="1060594"/>
                  <a:pt x="7094" y="1058627"/>
                </a:cubicBezTo>
                <a:cubicBezTo>
                  <a:pt x="8829" y="1055504"/>
                  <a:pt x="10043" y="1053306"/>
                  <a:pt x="7094" y="1049893"/>
                </a:cubicBezTo>
                <a:cubicBezTo>
                  <a:pt x="5416" y="1047926"/>
                  <a:pt x="5092" y="1045132"/>
                  <a:pt x="6284" y="1042836"/>
                </a:cubicBezTo>
                <a:cubicBezTo>
                  <a:pt x="7920" y="1039464"/>
                  <a:pt x="11090" y="1037092"/>
                  <a:pt x="14787" y="1036473"/>
                </a:cubicBezTo>
                <a:cubicBezTo>
                  <a:pt x="15747" y="1036433"/>
                  <a:pt x="16678" y="1036814"/>
                  <a:pt x="17332" y="1037514"/>
                </a:cubicBezTo>
                <a:cubicBezTo>
                  <a:pt x="18194" y="1038498"/>
                  <a:pt x="18593" y="1039805"/>
                  <a:pt x="18431" y="1041101"/>
                </a:cubicBezTo>
                <a:cubicBezTo>
                  <a:pt x="18275" y="1042761"/>
                  <a:pt x="18847" y="1044404"/>
                  <a:pt x="19993" y="1045612"/>
                </a:cubicBezTo>
                <a:cubicBezTo>
                  <a:pt x="21121" y="1046769"/>
                  <a:pt x="22659" y="1047434"/>
                  <a:pt x="24273" y="1047463"/>
                </a:cubicBezTo>
                <a:cubicBezTo>
                  <a:pt x="25181" y="1047533"/>
                  <a:pt x="26072" y="1047192"/>
                  <a:pt x="26702" y="1046538"/>
                </a:cubicBezTo>
                <a:cubicBezTo>
                  <a:pt x="27189" y="1045826"/>
                  <a:pt x="27316" y="1044930"/>
                  <a:pt x="27050" y="1044109"/>
                </a:cubicBezTo>
                <a:cubicBezTo>
                  <a:pt x="26454" y="1041477"/>
                  <a:pt x="27119" y="1038717"/>
                  <a:pt x="28843" y="1036647"/>
                </a:cubicBezTo>
                <a:cubicBezTo>
                  <a:pt x="32296" y="1032898"/>
                  <a:pt x="37300" y="1030972"/>
                  <a:pt x="42378" y="1031441"/>
                </a:cubicBezTo>
                <a:lnTo>
                  <a:pt x="42378" y="1031441"/>
                </a:lnTo>
                <a:cubicBezTo>
                  <a:pt x="45097" y="1031441"/>
                  <a:pt x="45213" y="1028433"/>
                  <a:pt x="45213" y="1027854"/>
                </a:cubicBezTo>
                <a:cubicBezTo>
                  <a:pt x="45213" y="1025540"/>
                  <a:pt x="43940" y="1023053"/>
                  <a:pt x="41973" y="1023053"/>
                </a:cubicBezTo>
                <a:cubicBezTo>
                  <a:pt x="40556" y="1023192"/>
                  <a:pt x="39237" y="1023851"/>
                  <a:pt x="38271" y="1024904"/>
                </a:cubicBezTo>
                <a:cubicBezTo>
                  <a:pt x="30867" y="1031614"/>
                  <a:pt x="25835" y="1035432"/>
                  <a:pt x="21959" y="1035432"/>
                </a:cubicBezTo>
                <a:cubicBezTo>
                  <a:pt x="19663" y="1035634"/>
                  <a:pt x="17517" y="1034287"/>
                  <a:pt x="16696" y="1032135"/>
                </a:cubicBezTo>
                <a:cubicBezTo>
                  <a:pt x="16059" y="1030515"/>
                  <a:pt x="15481" y="1030515"/>
                  <a:pt x="15249" y="1030515"/>
                </a:cubicBezTo>
                <a:cubicBezTo>
                  <a:pt x="14521" y="1030596"/>
                  <a:pt x="13815" y="1030810"/>
                  <a:pt x="13167" y="1031151"/>
                </a:cubicBezTo>
                <a:cubicBezTo>
                  <a:pt x="11912" y="1031736"/>
                  <a:pt x="10558" y="1032071"/>
                  <a:pt x="9176" y="1032135"/>
                </a:cubicBezTo>
                <a:cubicBezTo>
                  <a:pt x="6440" y="1031915"/>
                  <a:pt x="4005" y="1030324"/>
                  <a:pt x="2697" y="1027912"/>
                </a:cubicBezTo>
                <a:cubicBezTo>
                  <a:pt x="-247" y="1024673"/>
                  <a:pt x="-4" y="1019658"/>
                  <a:pt x="3235" y="1016719"/>
                </a:cubicBezTo>
                <a:cubicBezTo>
                  <a:pt x="3380" y="1016586"/>
                  <a:pt x="3530" y="1016465"/>
                  <a:pt x="3681" y="1016343"/>
                </a:cubicBezTo>
                <a:cubicBezTo>
                  <a:pt x="5532" y="1014261"/>
                  <a:pt x="6284" y="1013277"/>
                  <a:pt x="4722" y="1011311"/>
                </a:cubicBezTo>
                <a:cubicBezTo>
                  <a:pt x="2032" y="1008621"/>
                  <a:pt x="690" y="1004861"/>
                  <a:pt x="1078" y="1001072"/>
                </a:cubicBezTo>
                <a:cubicBezTo>
                  <a:pt x="1645" y="999019"/>
                  <a:pt x="3177" y="997376"/>
                  <a:pt x="5185" y="996676"/>
                </a:cubicBezTo>
                <a:cubicBezTo>
                  <a:pt x="8250" y="995404"/>
                  <a:pt x="10969" y="992396"/>
                  <a:pt x="10969" y="990892"/>
                </a:cubicBezTo>
                <a:cubicBezTo>
                  <a:pt x="10969" y="989388"/>
                  <a:pt x="9407" y="989272"/>
                  <a:pt x="8250" y="989041"/>
                </a:cubicBezTo>
                <a:cubicBezTo>
                  <a:pt x="7094" y="988809"/>
                  <a:pt x="5358" y="988347"/>
                  <a:pt x="4838" y="986669"/>
                </a:cubicBezTo>
                <a:cubicBezTo>
                  <a:pt x="4317" y="984992"/>
                  <a:pt x="6110" y="982967"/>
                  <a:pt x="8019" y="980885"/>
                </a:cubicBezTo>
                <a:cubicBezTo>
                  <a:pt x="9928" y="978802"/>
                  <a:pt x="10506" y="978340"/>
                  <a:pt x="10622" y="977530"/>
                </a:cubicBezTo>
                <a:cubicBezTo>
                  <a:pt x="10737" y="976720"/>
                  <a:pt x="8482" y="975389"/>
                  <a:pt x="7094" y="974464"/>
                </a:cubicBezTo>
                <a:cubicBezTo>
                  <a:pt x="3565" y="971977"/>
                  <a:pt x="-1294" y="968680"/>
                  <a:pt x="152" y="963647"/>
                </a:cubicBezTo>
                <a:cubicBezTo>
                  <a:pt x="2003" y="957284"/>
                  <a:pt x="5937" y="949880"/>
                  <a:pt x="11142" y="949880"/>
                </a:cubicBezTo>
                <a:cubicBezTo>
                  <a:pt x="12294" y="949903"/>
                  <a:pt x="13416" y="950239"/>
                  <a:pt x="14382" y="950864"/>
                </a:cubicBezTo>
                <a:cubicBezTo>
                  <a:pt x="16499" y="952194"/>
                  <a:pt x="18940" y="952911"/>
                  <a:pt x="21439" y="952946"/>
                </a:cubicBezTo>
                <a:cubicBezTo>
                  <a:pt x="23348" y="952946"/>
                  <a:pt x="24215" y="952425"/>
                  <a:pt x="24389" y="952078"/>
                </a:cubicBezTo>
                <a:cubicBezTo>
                  <a:pt x="24562" y="951731"/>
                  <a:pt x="24389" y="950979"/>
                  <a:pt x="23058" y="949822"/>
                </a:cubicBezTo>
                <a:cubicBezTo>
                  <a:pt x="21132" y="948012"/>
                  <a:pt x="20554" y="945189"/>
                  <a:pt x="21612" y="942765"/>
                </a:cubicBezTo>
                <a:cubicBezTo>
                  <a:pt x="24580" y="937421"/>
                  <a:pt x="30543" y="934470"/>
                  <a:pt x="36594" y="935361"/>
                </a:cubicBezTo>
                <a:cubicBezTo>
                  <a:pt x="39602" y="935998"/>
                  <a:pt x="40643" y="934262"/>
                  <a:pt x="42378" y="931196"/>
                </a:cubicBezTo>
                <a:cubicBezTo>
                  <a:pt x="44114" y="928131"/>
                  <a:pt x="45329" y="925412"/>
                  <a:pt x="49320" y="925412"/>
                </a:cubicBezTo>
                <a:cubicBezTo>
                  <a:pt x="49956" y="925331"/>
                  <a:pt x="50592" y="925331"/>
                  <a:pt x="51228" y="925412"/>
                </a:cubicBezTo>
                <a:cubicBezTo>
                  <a:pt x="56978" y="926818"/>
                  <a:pt x="62844" y="927691"/>
                  <a:pt x="68755" y="928015"/>
                </a:cubicBezTo>
                <a:cubicBezTo>
                  <a:pt x="72805" y="928015"/>
                  <a:pt x="73325" y="927263"/>
                  <a:pt x="73325" y="927263"/>
                </a:cubicBezTo>
                <a:cubicBezTo>
                  <a:pt x="73360" y="927130"/>
                  <a:pt x="73360" y="926991"/>
                  <a:pt x="73325" y="926858"/>
                </a:cubicBezTo>
                <a:cubicBezTo>
                  <a:pt x="72515" y="925181"/>
                  <a:pt x="69045" y="924024"/>
                  <a:pt x="65979" y="923040"/>
                </a:cubicBezTo>
                <a:cubicBezTo>
                  <a:pt x="62913" y="922057"/>
                  <a:pt x="58806" y="920669"/>
                  <a:pt x="58054" y="918297"/>
                </a:cubicBezTo>
                <a:cubicBezTo>
                  <a:pt x="57730" y="917048"/>
                  <a:pt x="58054" y="915723"/>
                  <a:pt x="58922" y="914769"/>
                </a:cubicBezTo>
                <a:cubicBezTo>
                  <a:pt x="62404" y="911662"/>
                  <a:pt x="66922" y="909968"/>
                  <a:pt x="71590" y="910026"/>
                </a:cubicBezTo>
                <a:cubicBezTo>
                  <a:pt x="76570" y="910031"/>
                  <a:pt x="81383" y="908267"/>
                  <a:pt x="85183" y="905051"/>
                </a:cubicBezTo>
                <a:cubicBezTo>
                  <a:pt x="88261" y="902020"/>
                  <a:pt x="92437" y="900371"/>
                  <a:pt x="96752" y="900481"/>
                </a:cubicBezTo>
                <a:cubicBezTo>
                  <a:pt x="98372" y="900481"/>
                  <a:pt x="100743" y="900134"/>
                  <a:pt x="100975" y="899613"/>
                </a:cubicBezTo>
                <a:cubicBezTo>
                  <a:pt x="101206" y="899093"/>
                  <a:pt x="101264" y="899093"/>
                  <a:pt x="99818" y="897126"/>
                </a:cubicBezTo>
                <a:cubicBezTo>
                  <a:pt x="96868" y="892961"/>
                  <a:pt x="94033" y="887177"/>
                  <a:pt x="95769" y="883301"/>
                </a:cubicBezTo>
                <a:cubicBezTo>
                  <a:pt x="96983" y="880930"/>
                  <a:pt x="99702" y="879773"/>
                  <a:pt x="104040" y="880004"/>
                </a:cubicBezTo>
                <a:cubicBezTo>
                  <a:pt x="109825" y="880004"/>
                  <a:pt x="112312" y="885152"/>
                  <a:pt x="113990" y="888797"/>
                </a:cubicBezTo>
                <a:cubicBezTo>
                  <a:pt x="114915" y="890705"/>
                  <a:pt x="115841" y="892614"/>
                  <a:pt x="116766" y="892614"/>
                </a:cubicBezTo>
                <a:cubicBezTo>
                  <a:pt x="117327" y="892499"/>
                  <a:pt x="117842" y="892238"/>
                  <a:pt x="118270" y="891862"/>
                </a:cubicBezTo>
                <a:cubicBezTo>
                  <a:pt x="120670" y="889334"/>
                  <a:pt x="122227" y="886118"/>
                  <a:pt x="122724" y="882665"/>
                </a:cubicBezTo>
                <a:cubicBezTo>
                  <a:pt x="124170" y="877343"/>
                  <a:pt x="125790" y="871385"/>
                  <a:pt x="132268" y="871096"/>
                </a:cubicBezTo>
                <a:cubicBezTo>
                  <a:pt x="136260" y="871096"/>
                  <a:pt x="137185" y="868667"/>
                  <a:pt x="138573" y="865312"/>
                </a:cubicBezTo>
                <a:cubicBezTo>
                  <a:pt x="140095" y="860146"/>
                  <a:pt x="143820" y="855912"/>
                  <a:pt x="148754" y="853743"/>
                </a:cubicBezTo>
                <a:cubicBezTo>
                  <a:pt x="152907" y="851765"/>
                  <a:pt x="156910" y="849486"/>
                  <a:pt x="160728" y="846917"/>
                </a:cubicBezTo>
                <a:cubicBezTo>
                  <a:pt x="163805" y="844488"/>
                  <a:pt x="167380" y="842770"/>
                  <a:pt x="171198" y="841885"/>
                </a:cubicBezTo>
                <a:cubicBezTo>
                  <a:pt x="172887" y="841867"/>
                  <a:pt x="174321" y="843105"/>
                  <a:pt x="174552" y="844777"/>
                </a:cubicBezTo>
                <a:cubicBezTo>
                  <a:pt x="175073" y="846917"/>
                  <a:pt x="177387" y="847149"/>
                  <a:pt x="178370" y="847149"/>
                </a:cubicBezTo>
                <a:cubicBezTo>
                  <a:pt x="180135" y="847288"/>
                  <a:pt x="181829" y="846472"/>
                  <a:pt x="182824" y="845008"/>
                </a:cubicBezTo>
                <a:cubicBezTo>
                  <a:pt x="183172" y="844025"/>
                  <a:pt x="182015" y="842868"/>
                  <a:pt x="181263" y="842290"/>
                </a:cubicBezTo>
                <a:cubicBezTo>
                  <a:pt x="168768" y="832572"/>
                  <a:pt x="164256" y="827944"/>
                  <a:pt x="164661" y="824936"/>
                </a:cubicBezTo>
                <a:cubicBezTo>
                  <a:pt x="164788" y="824104"/>
                  <a:pt x="165367" y="823415"/>
                  <a:pt x="166165" y="823143"/>
                </a:cubicBezTo>
                <a:cubicBezTo>
                  <a:pt x="168219" y="822576"/>
                  <a:pt x="170342" y="822270"/>
                  <a:pt x="172470" y="822218"/>
                </a:cubicBezTo>
                <a:cubicBezTo>
                  <a:pt x="177503" y="821755"/>
                  <a:pt x="184039" y="821234"/>
                  <a:pt x="184502" y="817937"/>
                </a:cubicBezTo>
                <a:cubicBezTo>
                  <a:pt x="184502" y="816607"/>
                  <a:pt x="185774" y="814987"/>
                  <a:pt x="188956" y="814987"/>
                </a:cubicBezTo>
                <a:cubicBezTo>
                  <a:pt x="190905" y="815103"/>
                  <a:pt x="192843" y="815398"/>
                  <a:pt x="194740" y="815855"/>
                </a:cubicBezTo>
                <a:cubicBezTo>
                  <a:pt x="196383" y="816324"/>
                  <a:pt x="198072" y="816613"/>
                  <a:pt x="199773" y="816723"/>
                </a:cubicBezTo>
                <a:cubicBezTo>
                  <a:pt x="201276" y="816723"/>
                  <a:pt x="201276" y="816202"/>
                  <a:pt x="201276" y="815739"/>
                </a:cubicBezTo>
                <a:cubicBezTo>
                  <a:pt x="201120" y="813761"/>
                  <a:pt x="200693" y="811817"/>
                  <a:pt x="200004" y="809955"/>
                </a:cubicBezTo>
                <a:cubicBezTo>
                  <a:pt x="198616" y="805501"/>
                  <a:pt x="197054" y="800468"/>
                  <a:pt x="201681" y="796477"/>
                </a:cubicBezTo>
                <a:cubicBezTo>
                  <a:pt x="204516" y="794048"/>
                  <a:pt x="204053" y="788032"/>
                  <a:pt x="203590" y="782768"/>
                </a:cubicBezTo>
                <a:cubicBezTo>
                  <a:pt x="203128" y="777504"/>
                  <a:pt x="202838" y="773050"/>
                  <a:pt x="205441" y="771199"/>
                </a:cubicBezTo>
                <a:cubicBezTo>
                  <a:pt x="206818" y="770436"/>
                  <a:pt x="208386" y="770094"/>
                  <a:pt x="209953" y="770216"/>
                </a:cubicBezTo>
                <a:cubicBezTo>
                  <a:pt x="211498" y="770135"/>
                  <a:pt x="213042" y="770135"/>
                  <a:pt x="214581" y="770216"/>
                </a:cubicBezTo>
                <a:cubicBezTo>
                  <a:pt x="216200" y="770216"/>
                  <a:pt x="217936" y="770505"/>
                  <a:pt x="219555" y="770505"/>
                </a:cubicBezTo>
                <a:cubicBezTo>
                  <a:pt x="223258" y="770505"/>
                  <a:pt x="225340" y="769637"/>
                  <a:pt x="226439" y="767671"/>
                </a:cubicBezTo>
                <a:cubicBezTo>
                  <a:pt x="227376" y="765854"/>
                  <a:pt x="227376" y="763702"/>
                  <a:pt x="226439" y="761886"/>
                </a:cubicBezTo>
                <a:cubicBezTo>
                  <a:pt x="225224" y="758415"/>
                  <a:pt x="223778" y="754424"/>
                  <a:pt x="231182" y="747252"/>
                </a:cubicBezTo>
                <a:cubicBezTo>
                  <a:pt x="242751" y="736203"/>
                  <a:pt x="255187" y="721569"/>
                  <a:pt x="255939" y="713644"/>
                </a:cubicBezTo>
                <a:cubicBezTo>
                  <a:pt x="256344" y="709306"/>
                  <a:pt x="258947" y="708785"/>
                  <a:pt x="260856" y="708785"/>
                </a:cubicBezTo>
                <a:lnTo>
                  <a:pt x="263459" y="708785"/>
                </a:lnTo>
                <a:cubicBezTo>
                  <a:pt x="264732" y="708785"/>
                  <a:pt x="266004" y="708785"/>
                  <a:pt x="266004" y="705199"/>
                </a:cubicBezTo>
                <a:cubicBezTo>
                  <a:pt x="266004" y="695076"/>
                  <a:pt x="271789" y="684722"/>
                  <a:pt x="277978" y="684201"/>
                </a:cubicBezTo>
                <a:cubicBezTo>
                  <a:pt x="282779" y="683854"/>
                  <a:pt x="287291" y="678417"/>
                  <a:pt x="289952" y="673500"/>
                </a:cubicBezTo>
                <a:cubicBezTo>
                  <a:pt x="290831" y="671753"/>
                  <a:pt x="292624" y="670654"/>
                  <a:pt x="294579" y="670666"/>
                </a:cubicBezTo>
                <a:cubicBezTo>
                  <a:pt x="299161" y="671007"/>
                  <a:pt x="302776" y="674698"/>
                  <a:pt x="303025" y="679285"/>
                </a:cubicBezTo>
                <a:cubicBezTo>
                  <a:pt x="302984" y="679765"/>
                  <a:pt x="303204" y="680227"/>
                  <a:pt x="303603" y="680499"/>
                </a:cubicBezTo>
                <a:cubicBezTo>
                  <a:pt x="304182" y="680829"/>
                  <a:pt x="304847" y="680991"/>
                  <a:pt x="305512" y="680962"/>
                </a:cubicBezTo>
                <a:cubicBezTo>
                  <a:pt x="307282" y="681066"/>
                  <a:pt x="308971" y="680227"/>
                  <a:pt x="309966" y="678764"/>
                </a:cubicBezTo>
                <a:cubicBezTo>
                  <a:pt x="310429" y="677723"/>
                  <a:pt x="309503" y="676508"/>
                  <a:pt x="308693" y="675698"/>
                </a:cubicBezTo>
                <a:cubicBezTo>
                  <a:pt x="304529" y="671476"/>
                  <a:pt x="307768" y="667947"/>
                  <a:pt x="309908" y="665633"/>
                </a:cubicBezTo>
                <a:cubicBezTo>
                  <a:pt x="310949" y="664476"/>
                  <a:pt x="312048" y="663262"/>
                  <a:pt x="311991" y="662394"/>
                </a:cubicBezTo>
                <a:cubicBezTo>
                  <a:pt x="311933" y="661526"/>
                  <a:pt x="311991" y="661642"/>
                  <a:pt x="311181" y="661179"/>
                </a:cubicBezTo>
                <a:cubicBezTo>
                  <a:pt x="305396" y="656262"/>
                  <a:pt x="300017" y="656494"/>
                  <a:pt x="295910" y="662220"/>
                </a:cubicBezTo>
                <a:cubicBezTo>
                  <a:pt x="293833" y="665541"/>
                  <a:pt x="290224" y="667588"/>
                  <a:pt x="286308" y="667658"/>
                </a:cubicBezTo>
                <a:cubicBezTo>
                  <a:pt x="283393" y="667565"/>
                  <a:pt x="280569" y="666599"/>
                  <a:pt x="278210" y="664881"/>
                </a:cubicBezTo>
                <a:cubicBezTo>
                  <a:pt x="277527" y="664494"/>
                  <a:pt x="276740" y="664309"/>
                  <a:pt x="275954" y="664361"/>
                </a:cubicBezTo>
                <a:cubicBezTo>
                  <a:pt x="267578" y="666027"/>
                  <a:pt x="259676" y="669520"/>
                  <a:pt x="252816" y="674599"/>
                </a:cubicBezTo>
                <a:cubicBezTo>
                  <a:pt x="249426" y="676855"/>
                  <a:pt x="245637" y="678446"/>
                  <a:pt x="241652" y="679285"/>
                </a:cubicBezTo>
                <a:cubicBezTo>
                  <a:pt x="238181" y="679880"/>
                  <a:pt x="235052" y="681737"/>
                  <a:pt x="232860" y="684490"/>
                </a:cubicBezTo>
                <a:cubicBezTo>
                  <a:pt x="229701" y="687938"/>
                  <a:pt x="225323" y="690009"/>
                  <a:pt x="220655" y="690275"/>
                </a:cubicBezTo>
                <a:cubicBezTo>
                  <a:pt x="217994" y="690275"/>
                  <a:pt x="217242" y="689118"/>
                  <a:pt x="217068" y="688424"/>
                </a:cubicBezTo>
                <a:cubicBezTo>
                  <a:pt x="216490" y="686631"/>
                  <a:pt x="218167" y="684490"/>
                  <a:pt x="222101" y="681888"/>
                </a:cubicBezTo>
                <a:cubicBezTo>
                  <a:pt x="227497" y="678648"/>
                  <a:pt x="233189" y="675935"/>
                  <a:pt x="239107" y="673789"/>
                </a:cubicBezTo>
                <a:cubicBezTo>
                  <a:pt x="246742" y="670781"/>
                  <a:pt x="253973" y="668005"/>
                  <a:pt x="255245" y="663898"/>
                </a:cubicBezTo>
                <a:cubicBezTo>
                  <a:pt x="256958" y="660109"/>
                  <a:pt x="259919" y="657026"/>
                  <a:pt x="263633" y="655163"/>
                </a:cubicBezTo>
                <a:cubicBezTo>
                  <a:pt x="265484" y="653891"/>
                  <a:pt x="267624" y="652445"/>
                  <a:pt x="267740" y="651519"/>
                </a:cubicBezTo>
                <a:cubicBezTo>
                  <a:pt x="267855" y="650594"/>
                  <a:pt x="267740" y="650883"/>
                  <a:pt x="267219" y="650536"/>
                </a:cubicBezTo>
                <a:cubicBezTo>
                  <a:pt x="266363" y="649830"/>
                  <a:pt x="265906" y="648749"/>
                  <a:pt x="266004" y="647644"/>
                </a:cubicBezTo>
                <a:cubicBezTo>
                  <a:pt x="266351" y="645851"/>
                  <a:pt x="268434" y="644983"/>
                  <a:pt x="271789" y="643595"/>
                </a:cubicBezTo>
                <a:cubicBezTo>
                  <a:pt x="276590" y="641813"/>
                  <a:pt x="280992" y="639100"/>
                  <a:pt x="284746" y="635612"/>
                </a:cubicBezTo>
                <a:cubicBezTo>
                  <a:pt x="287430" y="632812"/>
                  <a:pt x="289923" y="629839"/>
                  <a:pt x="292208" y="626704"/>
                </a:cubicBezTo>
                <a:cubicBezTo>
                  <a:pt x="294984" y="622944"/>
                  <a:pt x="296893" y="620457"/>
                  <a:pt x="299149" y="620457"/>
                </a:cubicBezTo>
                <a:cubicBezTo>
                  <a:pt x="300642" y="620584"/>
                  <a:pt x="301955" y="621487"/>
                  <a:pt x="302620" y="622828"/>
                </a:cubicBezTo>
                <a:cubicBezTo>
                  <a:pt x="305049" y="626473"/>
                  <a:pt x="301926" y="631389"/>
                  <a:pt x="298918" y="636190"/>
                </a:cubicBezTo>
                <a:cubicBezTo>
                  <a:pt x="296546" y="639951"/>
                  <a:pt x="294117" y="643768"/>
                  <a:pt x="295910" y="645156"/>
                </a:cubicBezTo>
                <a:cubicBezTo>
                  <a:pt x="296176" y="645411"/>
                  <a:pt x="296529" y="645556"/>
                  <a:pt x="296893" y="645561"/>
                </a:cubicBezTo>
                <a:cubicBezTo>
                  <a:pt x="298281" y="645561"/>
                  <a:pt x="300133" y="643305"/>
                  <a:pt x="301752" y="641281"/>
                </a:cubicBezTo>
                <a:cubicBezTo>
                  <a:pt x="303372" y="639256"/>
                  <a:pt x="305628" y="636364"/>
                  <a:pt x="307941" y="636364"/>
                </a:cubicBezTo>
                <a:cubicBezTo>
                  <a:pt x="309185" y="636410"/>
                  <a:pt x="310330" y="637058"/>
                  <a:pt x="311007" y="638099"/>
                </a:cubicBezTo>
                <a:cubicBezTo>
                  <a:pt x="311759" y="638967"/>
                  <a:pt x="312511" y="639951"/>
                  <a:pt x="313263" y="640992"/>
                </a:cubicBezTo>
                <a:cubicBezTo>
                  <a:pt x="315461" y="643884"/>
                  <a:pt x="319048" y="648280"/>
                  <a:pt x="320262" y="648280"/>
                </a:cubicBezTo>
                <a:cubicBezTo>
                  <a:pt x="320262" y="648280"/>
                  <a:pt x="320899" y="647644"/>
                  <a:pt x="321130" y="645908"/>
                </a:cubicBezTo>
                <a:cubicBezTo>
                  <a:pt x="321998" y="640124"/>
                  <a:pt x="325584" y="638967"/>
                  <a:pt x="327666" y="638967"/>
                </a:cubicBezTo>
                <a:cubicBezTo>
                  <a:pt x="331287" y="639349"/>
                  <a:pt x="334648" y="641009"/>
                  <a:pt x="337153" y="643652"/>
                </a:cubicBezTo>
                <a:cubicBezTo>
                  <a:pt x="338483" y="644809"/>
                  <a:pt x="339177" y="644925"/>
                  <a:pt x="339409" y="644925"/>
                </a:cubicBezTo>
                <a:cubicBezTo>
                  <a:pt x="339640" y="644925"/>
                  <a:pt x="339814" y="644925"/>
                  <a:pt x="339987" y="644404"/>
                </a:cubicBezTo>
                <a:cubicBezTo>
                  <a:pt x="340531" y="642079"/>
                  <a:pt x="339802" y="639638"/>
                  <a:pt x="338078" y="637984"/>
                </a:cubicBezTo>
                <a:cubicBezTo>
                  <a:pt x="336453" y="636520"/>
                  <a:pt x="336002" y="634154"/>
                  <a:pt x="336979" y="632199"/>
                </a:cubicBezTo>
                <a:cubicBezTo>
                  <a:pt x="337558" y="630406"/>
                  <a:pt x="337789" y="629654"/>
                  <a:pt x="334839" y="628671"/>
                </a:cubicBezTo>
                <a:cubicBezTo>
                  <a:pt x="331577" y="628243"/>
                  <a:pt x="328262" y="628954"/>
                  <a:pt x="325468" y="630695"/>
                </a:cubicBezTo>
                <a:cubicBezTo>
                  <a:pt x="323837" y="631656"/>
                  <a:pt x="322026" y="632263"/>
                  <a:pt x="320147" y="632489"/>
                </a:cubicBezTo>
                <a:cubicBezTo>
                  <a:pt x="318816" y="632489"/>
                  <a:pt x="317197" y="631910"/>
                  <a:pt x="316734" y="629018"/>
                </a:cubicBezTo>
                <a:cubicBezTo>
                  <a:pt x="315866" y="623812"/>
                  <a:pt x="320378" y="619936"/>
                  <a:pt x="324716" y="616119"/>
                </a:cubicBezTo>
                <a:cubicBezTo>
                  <a:pt x="327077" y="614244"/>
                  <a:pt x="329193" y="612093"/>
                  <a:pt x="331022" y="609698"/>
                </a:cubicBezTo>
                <a:cubicBezTo>
                  <a:pt x="334209" y="605556"/>
                  <a:pt x="339160" y="603156"/>
                  <a:pt x="344384" y="603219"/>
                </a:cubicBezTo>
                <a:cubicBezTo>
                  <a:pt x="348548" y="603219"/>
                  <a:pt x="351267" y="604897"/>
                  <a:pt x="351614" y="607673"/>
                </a:cubicBezTo>
                <a:cubicBezTo>
                  <a:pt x="351961" y="610450"/>
                  <a:pt x="356820" y="611260"/>
                  <a:pt x="358440" y="609466"/>
                </a:cubicBezTo>
                <a:cubicBezTo>
                  <a:pt x="359059" y="608709"/>
                  <a:pt x="359296" y="607702"/>
                  <a:pt x="359076" y="606748"/>
                </a:cubicBezTo>
                <a:cubicBezTo>
                  <a:pt x="358555" y="604532"/>
                  <a:pt x="358995" y="602201"/>
                  <a:pt x="360291" y="600327"/>
                </a:cubicBezTo>
                <a:cubicBezTo>
                  <a:pt x="361852" y="598534"/>
                  <a:pt x="364455" y="598187"/>
                  <a:pt x="369314" y="599055"/>
                </a:cubicBezTo>
                <a:cubicBezTo>
                  <a:pt x="371397" y="599402"/>
                  <a:pt x="372843" y="599055"/>
                  <a:pt x="373479" y="597377"/>
                </a:cubicBezTo>
                <a:cubicBezTo>
                  <a:pt x="374277" y="594103"/>
                  <a:pt x="373207" y="590661"/>
                  <a:pt x="370703" y="588411"/>
                </a:cubicBezTo>
                <a:cubicBezTo>
                  <a:pt x="369257" y="586849"/>
                  <a:pt x="367695" y="584825"/>
                  <a:pt x="368331" y="582974"/>
                </a:cubicBezTo>
                <a:cubicBezTo>
                  <a:pt x="368967" y="581123"/>
                  <a:pt x="372207" y="580139"/>
                  <a:pt x="377528" y="579156"/>
                </a:cubicBezTo>
                <a:lnTo>
                  <a:pt x="379032" y="578867"/>
                </a:lnTo>
                <a:cubicBezTo>
                  <a:pt x="381595" y="578283"/>
                  <a:pt x="384094" y="577450"/>
                  <a:pt x="386494" y="576380"/>
                </a:cubicBezTo>
                <a:cubicBezTo>
                  <a:pt x="388831" y="575217"/>
                  <a:pt x="391359" y="574494"/>
                  <a:pt x="393956" y="574239"/>
                </a:cubicBezTo>
                <a:cubicBezTo>
                  <a:pt x="396328" y="574262"/>
                  <a:pt x="398410" y="575703"/>
                  <a:pt x="399278" y="577884"/>
                </a:cubicBezTo>
                <a:cubicBezTo>
                  <a:pt x="400377" y="581875"/>
                  <a:pt x="400203" y="586109"/>
                  <a:pt x="398699" y="589973"/>
                </a:cubicBezTo>
                <a:cubicBezTo>
                  <a:pt x="398294" y="591251"/>
                  <a:pt x="398063" y="592570"/>
                  <a:pt x="397947" y="593906"/>
                </a:cubicBezTo>
                <a:cubicBezTo>
                  <a:pt x="398526" y="593721"/>
                  <a:pt x="399104" y="593449"/>
                  <a:pt x="399625" y="593097"/>
                </a:cubicBezTo>
                <a:cubicBezTo>
                  <a:pt x="403327" y="590685"/>
                  <a:pt x="407549" y="589233"/>
                  <a:pt x="411946" y="588874"/>
                </a:cubicBezTo>
                <a:cubicBezTo>
                  <a:pt x="413565" y="588683"/>
                  <a:pt x="415243" y="589337"/>
                  <a:pt x="416284" y="590609"/>
                </a:cubicBezTo>
                <a:cubicBezTo>
                  <a:pt x="417209" y="592119"/>
                  <a:pt x="417383" y="594010"/>
                  <a:pt x="416631" y="595642"/>
                </a:cubicBezTo>
                <a:cubicBezTo>
                  <a:pt x="416052" y="597632"/>
                  <a:pt x="416457" y="599789"/>
                  <a:pt x="417730" y="601426"/>
                </a:cubicBezTo>
                <a:cubicBezTo>
                  <a:pt x="418655" y="602890"/>
                  <a:pt x="420159" y="603867"/>
                  <a:pt x="421895" y="604087"/>
                </a:cubicBezTo>
                <a:cubicBezTo>
                  <a:pt x="423399" y="604087"/>
                  <a:pt x="423746" y="602409"/>
                  <a:pt x="423746" y="601021"/>
                </a:cubicBezTo>
                <a:cubicBezTo>
                  <a:pt x="423746" y="599089"/>
                  <a:pt x="423862" y="597157"/>
                  <a:pt x="424093" y="595237"/>
                </a:cubicBezTo>
                <a:cubicBezTo>
                  <a:pt x="424671" y="589452"/>
                  <a:pt x="425018" y="585924"/>
                  <a:pt x="418308" y="584246"/>
                </a:cubicBezTo>
                <a:cubicBezTo>
                  <a:pt x="414664" y="583379"/>
                  <a:pt x="414259" y="581528"/>
                  <a:pt x="414433" y="580487"/>
                </a:cubicBezTo>
                <a:cubicBezTo>
                  <a:pt x="414780" y="577421"/>
                  <a:pt x="420217" y="574413"/>
                  <a:pt x="424209" y="574413"/>
                </a:cubicBezTo>
                <a:cubicBezTo>
                  <a:pt x="426349" y="574147"/>
                  <a:pt x="428258" y="575645"/>
                  <a:pt x="428547" y="577774"/>
                </a:cubicBezTo>
                <a:cubicBezTo>
                  <a:pt x="428547" y="577791"/>
                  <a:pt x="428547" y="577808"/>
                  <a:pt x="428547" y="577826"/>
                </a:cubicBezTo>
                <a:cubicBezTo>
                  <a:pt x="429935" y="582586"/>
                  <a:pt x="434042" y="586074"/>
                  <a:pt x="438959" y="586734"/>
                </a:cubicBezTo>
                <a:cubicBezTo>
                  <a:pt x="439711" y="586734"/>
                  <a:pt x="440231" y="586734"/>
                  <a:pt x="440463" y="586329"/>
                </a:cubicBezTo>
                <a:cubicBezTo>
                  <a:pt x="441099" y="585606"/>
                  <a:pt x="442025" y="585224"/>
                  <a:pt x="443008" y="585288"/>
                </a:cubicBezTo>
                <a:cubicBezTo>
                  <a:pt x="445322" y="585559"/>
                  <a:pt x="447635" y="586225"/>
                  <a:pt x="449718" y="587254"/>
                </a:cubicBezTo>
                <a:cubicBezTo>
                  <a:pt x="450759" y="587659"/>
                  <a:pt x="451916" y="588122"/>
                  <a:pt x="452726" y="588353"/>
                </a:cubicBezTo>
                <a:cubicBezTo>
                  <a:pt x="450586" y="586612"/>
                  <a:pt x="448272" y="585102"/>
                  <a:pt x="445784" y="583841"/>
                </a:cubicBezTo>
                <a:cubicBezTo>
                  <a:pt x="440000" y="580544"/>
                  <a:pt x="436587" y="578462"/>
                  <a:pt x="436645" y="576148"/>
                </a:cubicBezTo>
                <a:cubicBezTo>
                  <a:pt x="436761" y="575113"/>
                  <a:pt x="437455" y="574239"/>
                  <a:pt x="438438" y="573892"/>
                </a:cubicBezTo>
                <a:cubicBezTo>
                  <a:pt x="442429" y="571937"/>
                  <a:pt x="446768" y="570832"/>
                  <a:pt x="451222" y="570653"/>
                </a:cubicBezTo>
                <a:cubicBezTo>
                  <a:pt x="454519" y="570526"/>
                  <a:pt x="457700" y="571619"/>
                  <a:pt x="460245" y="573719"/>
                </a:cubicBezTo>
                <a:cubicBezTo>
                  <a:pt x="461923" y="574980"/>
                  <a:pt x="463948" y="575633"/>
                  <a:pt x="466030" y="575570"/>
                </a:cubicBezTo>
                <a:cubicBezTo>
                  <a:pt x="468517" y="575570"/>
                  <a:pt x="470252" y="574702"/>
                  <a:pt x="470484" y="573834"/>
                </a:cubicBezTo>
                <a:cubicBezTo>
                  <a:pt x="470715" y="572967"/>
                  <a:pt x="469790" y="571636"/>
                  <a:pt x="466666" y="569843"/>
                </a:cubicBezTo>
                <a:cubicBezTo>
                  <a:pt x="460650" y="567310"/>
                  <a:pt x="456948" y="561190"/>
                  <a:pt x="457527" y="554688"/>
                </a:cubicBezTo>
                <a:cubicBezTo>
                  <a:pt x="458510" y="551385"/>
                  <a:pt x="461749" y="549256"/>
                  <a:pt x="465162" y="549598"/>
                </a:cubicBezTo>
                <a:lnTo>
                  <a:pt x="468633" y="549598"/>
                </a:lnTo>
                <a:cubicBezTo>
                  <a:pt x="471178" y="549598"/>
                  <a:pt x="473781" y="549598"/>
                  <a:pt x="476211" y="549598"/>
                </a:cubicBezTo>
                <a:cubicBezTo>
                  <a:pt x="483499" y="549598"/>
                  <a:pt x="486738" y="548499"/>
                  <a:pt x="486738" y="545896"/>
                </a:cubicBezTo>
                <a:cubicBezTo>
                  <a:pt x="486680" y="542385"/>
                  <a:pt x="489457" y="539481"/>
                  <a:pt x="492986" y="539417"/>
                </a:cubicBezTo>
                <a:cubicBezTo>
                  <a:pt x="493101" y="539411"/>
                  <a:pt x="493159" y="539417"/>
                  <a:pt x="493275" y="539417"/>
                </a:cubicBezTo>
                <a:cubicBezTo>
                  <a:pt x="495704" y="539296"/>
                  <a:pt x="497902" y="540881"/>
                  <a:pt x="498596" y="543235"/>
                </a:cubicBezTo>
                <a:cubicBezTo>
                  <a:pt x="499175" y="545086"/>
                  <a:pt x="497381" y="548383"/>
                  <a:pt x="495531" y="550812"/>
                </a:cubicBezTo>
                <a:cubicBezTo>
                  <a:pt x="492638" y="555104"/>
                  <a:pt x="488069" y="557985"/>
                  <a:pt x="482978" y="558737"/>
                </a:cubicBezTo>
                <a:cubicBezTo>
                  <a:pt x="480375" y="558951"/>
                  <a:pt x="478004" y="560501"/>
                  <a:pt x="476789" y="562844"/>
                </a:cubicBezTo>
                <a:cubicBezTo>
                  <a:pt x="475921" y="564064"/>
                  <a:pt x="475574" y="565592"/>
                  <a:pt x="475863" y="567067"/>
                </a:cubicBezTo>
                <a:cubicBezTo>
                  <a:pt x="475863" y="567067"/>
                  <a:pt x="475863" y="567472"/>
                  <a:pt x="476963" y="567067"/>
                </a:cubicBezTo>
                <a:cubicBezTo>
                  <a:pt x="477310" y="567020"/>
                  <a:pt x="477715" y="567020"/>
                  <a:pt x="478062" y="567067"/>
                </a:cubicBezTo>
                <a:cubicBezTo>
                  <a:pt x="481070" y="567067"/>
                  <a:pt x="481879" y="571289"/>
                  <a:pt x="482747" y="576148"/>
                </a:cubicBezTo>
                <a:cubicBezTo>
                  <a:pt x="483441" y="580139"/>
                  <a:pt x="484366" y="585172"/>
                  <a:pt x="486565" y="585172"/>
                </a:cubicBezTo>
                <a:lnTo>
                  <a:pt x="487143" y="585172"/>
                </a:lnTo>
                <a:cubicBezTo>
                  <a:pt x="490035" y="584264"/>
                  <a:pt x="492060" y="581661"/>
                  <a:pt x="492234" y="578636"/>
                </a:cubicBezTo>
                <a:cubicBezTo>
                  <a:pt x="492812" y="575957"/>
                  <a:pt x="491829" y="573175"/>
                  <a:pt x="489688" y="571463"/>
                </a:cubicBezTo>
                <a:cubicBezTo>
                  <a:pt x="488589" y="570827"/>
                  <a:pt x="487490" y="570017"/>
                  <a:pt x="487432" y="568918"/>
                </a:cubicBezTo>
                <a:cubicBezTo>
                  <a:pt x="487374" y="567819"/>
                  <a:pt x="488358" y="566951"/>
                  <a:pt x="489688" y="565910"/>
                </a:cubicBezTo>
                <a:cubicBezTo>
                  <a:pt x="492118" y="564180"/>
                  <a:pt x="494200" y="561976"/>
                  <a:pt x="495762" y="559431"/>
                </a:cubicBezTo>
                <a:cubicBezTo>
                  <a:pt x="498712" y="553872"/>
                  <a:pt x="504092" y="550026"/>
                  <a:pt x="510281" y="549077"/>
                </a:cubicBezTo>
                <a:cubicBezTo>
                  <a:pt x="512999" y="549025"/>
                  <a:pt x="515487" y="550564"/>
                  <a:pt x="516702" y="553011"/>
                </a:cubicBezTo>
                <a:cubicBezTo>
                  <a:pt x="518263" y="555845"/>
                  <a:pt x="520693" y="556712"/>
                  <a:pt x="521618" y="554977"/>
                </a:cubicBezTo>
                <a:cubicBezTo>
                  <a:pt x="522255" y="553329"/>
                  <a:pt x="521965" y="551472"/>
                  <a:pt x="520809" y="550118"/>
                </a:cubicBezTo>
                <a:cubicBezTo>
                  <a:pt x="517743" y="545491"/>
                  <a:pt x="521271" y="542888"/>
                  <a:pt x="523411" y="541326"/>
                </a:cubicBezTo>
                <a:cubicBezTo>
                  <a:pt x="524395" y="540574"/>
                  <a:pt x="525552" y="539706"/>
                  <a:pt x="525494" y="539128"/>
                </a:cubicBezTo>
                <a:cubicBezTo>
                  <a:pt x="525436" y="538648"/>
                  <a:pt x="525552" y="538150"/>
                  <a:pt x="525899" y="537797"/>
                </a:cubicBezTo>
                <a:cubicBezTo>
                  <a:pt x="526304" y="537329"/>
                  <a:pt x="526940" y="537092"/>
                  <a:pt x="527576" y="537161"/>
                </a:cubicBezTo>
                <a:cubicBezTo>
                  <a:pt x="529890" y="537439"/>
                  <a:pt x="532146" y="537982"/>
                  <a:pt x="534286" y="538781"/>
                </a:cubicBezTo>
                <a:cubicBezTo>
                  <a:pt x="537294" y="539926"/>
                  <a:pt x="540418" y="540684"/>
                  <a:pt x="543599" y="541037"/>
                </a:cubicBezTo>
                <a:cubicBezTo>
                  <a:pt x="544177" y="541089"/>
                  <a:pt x="544756" y="540944"/>
                  <a:pt x="545219" y="540632"/>
                </a:cubicBezTo>
                <a:cubicBezTo>
                  <a:pt x="546087" y="539481"/>
                  <a:pt x="546839" y="538237"/>
                  <a:pt x="547475" y="536930"/>
                </a:cubicBezTo>
                <a:cubicBezTo>
                  <a:pt x="549441" y="533112"/>
                  <a:pt x="552160" y="527848"/>
                  <a:pt x="558292" y="527848"/>
                </a:cubicBezTo>
                <a:cubicBezTo>
                  <a:pt x="559275" y="527854"/>
                  <a:pt x="560258" y="527970"/>
                  <a:pt x="561184" y="528195"/>
                </a:cubicBezTo>
                <a:cubicBezTo>
                  <a:pt x="567778" y="529815"/>
                  <a:pt x="570439" y="533980"/>
                  <a:pt x="570092" y="536698"/>
                </a:cubicBezTo>
                <a:cubicBezTo>
                  <a:pt x="569513" y="539371"/>
                  <a:pt x="567026" y="541187"/>
                  <a:pt x="564308" y="540921"/>
                </a:cubicBezTo>
                <a:cubicBezTo>
                  <a:pt x="561762" y="540921"/>
                  <a:pt x="560258" y="543755"/>
                  <a:pt x="558002" y="548325"/>
                </a:cubicBezTo>
                <a:cubicBezTo>
                  <a:pt x="555862" y="553849"/>
                  <a:pt x="552045" y="558569"/>
                  <a:pt x="547069" y="561803"/>
                </a:cubicBezTo>
                <a:cubicBezTo>
                  <a:pt x="541806" y="564163"/>
                  <a:pt x="538567" y="569519"/>
                  <a:pt x="538856" y="575280"/>
                </a:cubicBezTo>
                <a:cubicBezTo>
                  <a:pt x="539030" y="576455"/>
                  <a:pt x="540071" y="577276"/>
                  <a:pt x="541228" y="577126"/>
                </a:cubicBezTo>
                <a:cubicBezTo>
                  <a:pt x="541343" y="577114"/>
                  <a:pt x="541459" y="577097"/>
                  <a:pt x="541517" y="577074"/>
                </a:cubicBezTo>
                <a:cubicBezTo>
                  <a:pt x="546202" y="576148"/>
                  <a:pt x="552739" y="568455"/>
                  <a:pt x="560316" y="559720"/>
                </a:cubicBezTo>
                <a:cubicBezTo>
                  <a:pt x="562456" y="557175"/>
                  <a:pt x="564712" y="554514"/>
                  <a:pt x="567084" y="551854"/>
                </a:cubicBezTo>
                <a:cubicBezTo>
                  <a:pt x="575819" y="541789"/>
                  <a:pt x="580157" y="538087"/>
                  <a:pt x="582991" y="538087"/>
                </a:cubicBezTo>
                <a:cubicBezTo>
                  <a:pt x="585826" y="538087"/>
                  <a:pt x="586230" y="539822"/>
                  <a:pt x="586404" y="543235"/>
                </a:cubicBezTo>
                <a:cubicBezTo>
                  <a:pt x="586346" y="546989"/>
                  <a:pt x="585826" y="550720"/>
                  <a:pt x="584842" y="554341"/>
                </a:cubicBezTo>
                <a:cubicBezTo>
                  <a:pt x="583917" y="558621"/>
                  <a:pt x="582875" y="563480"/>
                  <a:pt x="583974" y="564811"/>
                </a:cubicBezTo>
                <a:cubicBezTo>
                  <a:pt x="584206" y="565077"/>
                  <a:pt x="584495" y="565210"/>
                  <a:pt x="584842" y="565158"/>
                </a:cubicBezTo>
                <a:cubicBezTo>
                  <a:pt x="588486" y="565158"/>
                  <a:pt x="596411" y="556886"/>
                  <a:pt x="599593" y="550118"/>
                </a:cubicBezTo>
                <a:cubicBezTo>
                  <a:pt x="600575" y="547978"/>
                  <a:pt x="600807" y="546301"/>
                  <a:pt x="600229" y="545606"/>
                </a:cubicBezTo>
                <a:cubicBezTo>
                  <a:pt x="598493" y="543275"/>
                  <a:pt x="598320" y="540140"/>
                  <a:pt x="599766" y="537624"/>
                </a:cubicBezTo>
                <a:cubicBezTo>
                  <a:pt x="603237" y="530885"/>
                  <a:pt x="610641" y="527166"/>
                  <a:pt x="618102" y="528427"/>
                </a:cubicBezTo>
                <a:cubicBezTo>
                  <a:pt x="628167" y="529236"/>
                  <a:pt x="634010" y="534905"/>
                  <a:pt x="634415" y="539996"/>
                </a:cubicBezTo>
                <a:cubicBezTo>
                  <a:pt x="634646" y="542992"/>
                  <a:pt x="632506" y="545653"/>
                  <a:pt x="629555" y="546127"/>
                </a:cubicBezTo>
                <a:cubicBezTo>
                  <a:pt x="626259" y="546995"/>
                  <a:pt x="626490" y="548441"/>
                  <a:pt x="627415" y="551911"/>
                </a:cubicBezTo>
                <a:cubicBezTo>
                  <a:pt x="628515" y="554827"/>
                  <a:pt x="628399" y="558054"/>
                  <a:pt x="627069" y="560877"/>
                </a:cubicBezTo>
                <a:cubicBezTo>
                  <a:pt x="626432" y="561647"/>
                  <a:pt x="626259" y="562717"/>
                  <a:pt x="626605" y="563654"/>
                </a:cubicBezTo>
                <a:cubicBezTo>
                  <a:pt x="626895" y="564157"/>
                  <a:pt x="627415" y="564469"/>
                  <a:pt x="627994" y="564464"/>
                </a:cubicBezTo>
                <a:cubicBezTo>
                  <a:pt x="629671" y="564464"/>
                  <a:pt x="631407" y="562381"/>
                  <a:pt x="631407" y="557869"/>
                </a:cubicBezTo>
                <a:cubicBezTo>
                  <a:pt x="631407" y="548094"/>
                  <a:pt x="642455" y="540516"/>
                  <a:pt x="649628" y="540516"/>
                </a:cubicBezTo>
                <a:cubicBezTo>
                  <a:pt x="651479" y="540447"/>
                  <a:pt x="653330" y="541089"/>
                  <a:pt x="654718" y="542309"/>
                </a:cubicBezTo>
                <a:cubicBezTo>
                  <a:pt x="655875" y="543350"/>
                  <a:pt x="656801" y="544392"/>
                  <a:pt x="657668" y="545317"/>
                </a:cubicBezTo>
                <a:cubicBezTo>
                  <a:pt x="659982" y="548759"/>
                  <a:pt x="664320" y="550211"/>
                  <a:pt x="668254" y="548846"/>
                </a:cubicBezTo>
                <a:cubicBezTo>
                  <a:pt x="669526" y="548614"/>
                  <a:pt x="670856" y="548499"/>
                  <a:pt x="672129" y="548499"/>
                </a:cubicBezTo>
                <a:cubicBezTo>
                  <a:pt x="678897" y="548412"/>
                  <a:pt x="685433" y="551206"/>
                  <a:pt x="690003" y="556192"/>
                </a:cubicBezTo>
                <a:cubicBezTo>
                  <a:pt x="691507" y="557731"/>
                  <a:pt x="693300" y="559021"/>
                  <a:pt x="695209" y="560010"/>
                </a:cubicBezTo>
                <a:cubicBezTo>
                  <a:pt x="699894" y="562902"/>
                  <a:pt x="705274" y="566141"/>
                  <a:pt x="704291" y="570769"/>
                </a:cubicBezTo>
                <a:cubicBezTo>
                  <a:pt x="703307" y="575396"/>
                  <a:pt x="699952" y="574818"/>
                  <a:pt x="696482" y="574991"/>
                </a:cubicBezTo>
                <a:cubicBezTo>
                  <a:pt x="692490" y="574806"/>
                  <a:pt x="688557" y="576102"/>
                  <a:pt x="685433" y="578636"/>
                </a:cubicBezTo>
                <a:cubicBezTo>
                  <a:pt x="678145" y="585461"/>
                  <a:pt x="672881" y="588411"/>
                  <a:pt x="665940" y="584420"/>
                </a:cubicBezTo>
                <a:cubicBezTo>
                  <a:pt x="662874" y="582679"/>
                  <a:pt x="659403" y="581690"/>
                  <a:pt x="655875" y="581528"/>
                </a:cubicBezTo>
                <a:cubicBezTo>
                  <a:pt x="655123" y="581476"/>
                  <a:pt x="654429" y="581614"/>
                  <a:pt x="653735" y="581933"/>
                </a:cubicBezTo>
                <a:cubicBezTo>
                  <a:pt x="655527" y="583309"/>
                  <a:pt x="657437" y="584455"/>
                  <a:pt x="659519" y="585345"/>
                </a:cubicBezTo>
                <a:cubicBezTo>
                  <a:pt x="665304" y="588295"/>
                  <a:pt x="671956" y="591593"/>
                  <a:pt x="671608" y="596104"/>
                </a:cubicBezTo>
                <a:cubicBezTo>
                  <a:pt x="671550" y="596984"/>
                  <a:pt x="671840" y="597857"/>
                  <a:pt x="672476" y="598476"/>
                </a:cubicBezTo>
                <a:cubicBezTo>
                  <a:pt x="673576" y="599529"/>
                  <a:pt x="675079" y="600096"/>
                  <a:pt x="676641" y="600038"/>
                </a:cubicBezTo>
                <a:cubicBezTo>
                  <a:pt x="678781" y="600246"/>
                  <a:pt x="680806" y="598956"/>
                  <a:pt x="681557" y="596914"/>
                </a:cubicBezTo>
                <a:cubicBezTo>
                  <a:pt x="682367" y="593791"/>
                  <a:pt x="685839" y="591998"/>
                  <a:pt x="691160" y="591998"/>
                </a:cubicBezTo>
                <a:cubicBezTo>
                  <a:pt x="695498" y="592015"/>
                  <a:pt x="699836" y="593172"/>
                  <a:pt x="703596" y="595352"/>
                </a:cubicBezTo>
                <a:cubicBezTo>
                  <a:pt x="704001" y="595607"/>
                  <a:pt x="704175" y="596064"/>
                  <a:pt x="704059" y="596509"/>
                </a:cubicBezTo>
                <a:cubicBezTo>
                  <a:pt x="702729" y="603913"/>
                  <a:pt x="698969" y="607673"/>
                  <a:pt x="692953" y="607673"/>
                </a:cubicBezTo>
                <a:lnTo>
                  <a:pt x="692953" y="607673"/>
                </a:lnTo>
                <a:cubicBezTo>
                  <a:pt x="691565" y="607679"/>
                  <a:pt x="690177" y="607523"/>
                  <a:pt x="688846" y="607211"/>
                </a:cubicBezTo>
                <a:cubicBezTo>
                  <a:pt x="685607" y="606517"/>
                  <a:pt x="682079" y="609119"/>
                  <a:pt x="678319" y="611954"/>
                </a:cubicBezTo>
                <a:cubicBezTo>
                  <a:pt x="675079" y="615100"/>
                  <a:pt x="670914" y="617125"/>
                  <a:pt x="666460" y="617738"/>
                </a:cubicBezTo>
                <a:cubicBezTo>
                  <a:pt x="662007" y="618155"/>
                  <a:pt x="657899" y="620220"/>
                  <a:pt x="654891" y="623523"/>
                </a:cubicBezTo>
                <a:cubicBezTo>
                  <a:pt x="654545" y="623766"/>
                  <a:pt x="654024" y="623766"/>
                  <a:pt x="653677" y="623523"/>
                </a:cubicBezTo>
                <a:cubicBezTo>
                  <a:pt x="653214" y="623367"/>
                  <a:pt x="652983" y="622944"/>
                  <a:pt x="652983" y="622481"/>
                </a:cubicBezTo>
                <a:cubicBezTo>
                  <a:pt x="652983" y="620688"/>
                  <a:pt x="652983" y="618895"/>
                  <a:pt x="652983" y="617102"/>
                </a:cubicBezTo>
                <a:cubicBezTo>
                  <a:pt x="653272" y="613909"/>
                  <a:pt x="653272" y="610693"/>
                  <a:pt x="652983" y="607500"/>
                </a:cubicBezTo>
                <a:cubicBezTo>
                  <a:pt x="652404" y="604145"/>
                  <a:pt x="646678" y="601715"/>
                  <a:pt x="640546" y="598939"/>
                </a:cubicBezTo>
                <a:cubicBezTo>
                  <a:pt x="634299" y="597042"/>
                  <a:pt x="628803" y="593386"/>
                  <a:pt x="624581" y="588411"/>
                </a:cubicBezTo>
                <a:cubicBezTo>
                  <a:pt x="622788" y="585241"/>
                  <a:pt x="619375" y="583344"/>
                  <a:pt x="615731" y="583494"/>
                </a:cubicBezTo>
                <a:cubicBezTo>
                  <a:pt x="611335" y="583425"/>
                  <a:pt x="607112" y="585236"/>
                  <a:pt x="604162" y="588469"/>
                </a:cubicBezTo>
                <a:cubicBezTo>
                  <a:pt x="602253" y="591014"/>
                  <a:pt x="597279" y="591246"/>
                  <a:pt x="591899" y="591246"/>
                </a:cubicBezTo>
                <a:lnTo>
                  <a:pt x="588197" y="591246"/>
                </a:lnTo>
                <a:cubicBezTo>
                  <a:pt x="581371" y="591246"/>
                  <a:pt x="577091" y="591766"/>
                  <a:pt x="577091" y="594311"/>
                </a:cubicBezTo>
                <a:cubicBezTo>
                  <a:pt x="577091" y="598707"/>
                  <a:pt x="572811" y="601195"/>
                  <a:pt x="568588" y="603624"/>
                </a:cubicBezTo>
                <a:cubicBezTo>
                  <a:pt x="564366" y="606054"/>
                  <a:pt x="560258" y="608425"/>
                  <a:pt x="560258" y="612474"/>
                </a:cubicBezTo>
                <a:cubicBezTo>
                  <a:pt x="560374" y="615222"/>
                  <a:pt x="560779" y="617952"/>
                  <a:pt x="561415" y="620630"/>
                </a:cubicBezTo>
                <a:cubicBezTo>
                  <a:pt x="562456" y="626126"/>
                  <a:pt x="563556" y="631737"/>
                  <a:pt x="561010" y="634860"/>
                </a:cubicBezTo>
                <a:cubicBezTo>
                  <a:pt x="559159" y="636769"/>
                  <a:pt x="556441" y="637579"/>
                  <a:pt x="553837" y="637000"/>
                </a:cubicBezTo>
                <a:lnTo>
                  <a:pt x="551061" y="637000"/>
                </a:lnTo>
                <a:cubicBezTo>
                  <a:pt x="547475" y="637000"/>
                  <a:pt x="547417" y="637810"/>
                  <a:pt x="547185" y="640876"/>
                </a:cubicBezTo>
                <a:cubicBezTo>
                  <a:pt x="547127" y="645070"/>
                  <a:pt x="545681" y="649130"/>
                  <a:pt x="543136" y="652445"/>
                </a:cubicBezTo>
                <a:cubicBezTo>
                  <a:pt x="541170" y="655106"/>
                  <a:pt x="539492" y="656320"/>
                  <a:pt x="537815" y="656320"/>
                </a:cubicBezTo>
                <a:cubicBezTo>
                  <a:pt x="536138" y="656320"/>
                  <a:pt x="534228" y="654354"/>
                  <a:pt x="532898" y="652445"/>
                </a:cubicBezTo>
                <a:cubicBezTo>
                  <a:pt x="531568" y="650536"/>
                  <a:pt x="529601" y="648106"/>
                  <a:pt x="527113" y="648916"/>
                </a:cubicBezTo>
                <a:cubicBezTo>
                  <a:pt x="523180" y="649651"/>
                  <a:pt x="519073" y="649044"/>
                  <a:pt x="515545" y="647181"/>
                </a:cubicBezTo>
                <a:cubicBezTo>
                  <a:pt x="513694" y="646308"/>
                  <a:pt x="511785" y="645741"/>
                  <a:pt x="509760" y="645504"/>
                </a:cubicBezTo>
                <a:cubicBezTo>
                  <a:pt x="508603" y="645469"/>
                  <a:pt x="507562" y="646099"/>
                  <a:pt x="507042" y="647123"/>
                </a:cubicBezTo>
                <a:cubicBezTo>
                  <a:pt x="505191" y="649772"/>
                  <a:pt x="502067" y="651201"/>
                  <a:pt x="498885" y="650825"/>
                </a:cubicBezTo>
                <a:cubicBezTo>
                  <a:pt x="493911" y="650496"/>
                  <a:pt x="488994" y="649622"/>
                  <a:pt x="484193" y="648222"/>
                </a:cubicBezTo>
                <a:cubicBezTo>
                  <a:pt x="481532" y="647586"/>
                  <a:pt x="478756" y="646892"/>
                  <a:pt x="475979" y="646371"/>
                </a:cubicBezTo>
                <a:cubicBezTo>
                  <a:pt x="469153" y="644133"/>
                  <a:pt x="463196" y="639777"/>
                  <a:pt x="458973" y="633935"/>
                </a:cubicBezTo>
                <a:cubicBezTo>
                  <a:pt x="454750" y="629307"/>
                  <a:pt x="450817" y="624911"/>
                  <a:pt x="446189" y="624332"/>
                </a:cubicBezTo>
                <a:cubicBezTo>
                  <a:pt x="438496" y="624593"/>
                  <a:pt x="431728" y="629619"/>
                  <a:pt x="429299" y="636942"/>
                </a:cubicBezTo>
                <a:cubicBezTo>
                  <a:pt x="429183" y="637266"/>
                  <a:pt x="428894" y="637504"/>
                  <a:pt x="428547" y="637579"/>
                </a:cubicBezTo>
                <a:cubicBezTo>
                  <a:pt x="428258" y="637723"/>
                  <a:pt x="427911" y="637723"/>
                  <a:pt x="427621" y="637579"/>
                </a:cubicBezTo>
                <a:lnTo>
                  <a:pt x="426812" y="637058"/>
                </a:lnTo>
                <a:lnTo>
                  <a:pt x="425076" y="636017"/>
                </a:lnTo>
                <a:cubicBezTo>
                  <a:pt x="423746" y="635213"/>
                  <a:pt x="422300" y="634756"/>
                  <a:pt x="420738" y="634687"/>
                </a:cubicBezTo>
                <a:cubicBezTo>
                  <a:pt x="413739" y="634687"/>
                  <a:pt x="411136" y="647644"/>
                  <a:pt x="411136" y="655742"/>
                </a:cubicBezTo>
                <a:cubicBezTo>
                  <a:pt x="411714" y="660821"/>
                  <a:pt x="408070" y="665408"/>
                  <a:pt x="402980" y="665980"/>
                </a:cubicBezTo>
                <a:cubicBezTo>
                  <a:pt x="402575" y="666033"/>
                  <a:pt x="402112" y="666050"/>
                  <a:pt x="401707" y="666038"/>
                </a:cubicBezTo>
                <a:cubicBezTo>
                  <a:pt x="397774" y="665888"/>
                  <a:pt x="394072" y="664401"/>
                  <a:pt x="391121" y="661816"/>
                </a:cubicBezTo>
                <a:cubicBezTo>
                  <a:pt x="387425" y="659218"/>
                  <a:pt x="382838" y="658218"/>
                  <a:pt x="378396" y="659039"/>
                </a:cubicBezTo>
                <a:lnTo>
                  <a:pt x="374809" y="659039"/>
                </a:lnTo>
                <a:cubicBezTo>
                  <a:pt x="370697" y="659126"/>
                  <a:pt x="366619" y="658339"/>
                  <a:pt x="362836" y="656725"/>
                </a:cubicBezTo>
                <a:cubicBezTo>
                  <a:pt x="360406" y="655684"/>
                  <a:pt x="358787" y="655568"/>
                  <a:pt x="357861" y="656725"/>
                </a:cubicBezTo>
                <a:cubicBezTo>
                  <a:pt x="356184" y="658634"/>
                  <a:pt x="356878" y="664361"/>
                  <a:pt x="357399" y="668930"/>
                </a:cubicBezTo>
                <a:cubicBezTo>
                  <a:pt x="357711" y="671059"/>
                  <a:pt x="357902" y="673199"/>
                  <a:pt x="357977" y="675351"/>
                </a:cubicBezTo>
                <a:cubicBezTo>
                  <a:pt x="357977" y="684259"/>
                  <a:pt x="344268" y="684259"/>
                  <a:pt x="336054" y="684259"/>
                </a:cubicBezTo>
                <a:cubicBezTo>
                  <a:pt x="327840" y="684259"/>
                  <a:pt x="316445" y="690738"/>
                  <a:pt x="316445" y="698720"/>
                </a:cubicBezTo>
                <a:cubicBezTo>
                  <a:pt x="315999" y="703070"/>
                  <a:pt x="314108" y="707142"/>
                  <a:pt x="311065" y="710289"/>
                </a:cubicBezTo>
                <a:cubicBezTo>
                  <a:pt x="308404" y="713586"/>
                  <a:pt x="307016" y="715553"/>
                  <a:pt x="308404" y="717462"/>
                </a:cubicBezTo>
                <a:cubicBezTo>
                  <a:pt x="313610" y="724345"/>
                  <a:pt x="304645" y="731113"/>
                  <a:pt x="301694" y="733311"/>
                </a:cubicBezTo>
                <a:cubicBezTo>
                  <a:pt x="298305" y="736689"/>
                  <a:pt x="295493" y="740594"/>
                  <a:pt x="293365" y="744880"/>
                </a:cubicBezTo>
                <a:cubicBezTo>
                  <a:pt x="291774" y="748021"/>
                  <a:pt x="289830" y="750965"/>
                  <a:pt x="287580" y="753672"/>
                </a:cubicBezTo>
                <a:cubicBezTo>
                  <a:pt x="286423" y="754887"/>
                  <a:pt x="286481" y="756391"/>
                  <a:pt x="286713" y="758763"/>
                </a:cubicBezTo>
                <a:cubicBezTo>
                  <a:pt x="287685" y="762898"/>
                  <a:pt x="285885" y="767196"/>
                  <a:pt x="282258" y="769406"/>
                </a:cubicBezTo>
                <a:cubicBezTo>
                  <a:pt x="278285" y="771731"/>
                  <a:pt x="273727" y="772877"/>
                  <a:pt x="269128" y="772703"/>
                </a:cubicBezTo>
                <a:cubicBezTo>
                  <a:pt x="266513" y="772420"/>
                  <a:pt x="263881" y="773027"/>
                  <a:pt x="261666" y="774438"/>
                </a:cubicBezTo>
                <a:cubicBezTo>
                  <a:pt x="259815" y="776347"/>
                  <a:pt x="260104" y="780223"/>
                  <a:pt x="260509" y="784966"/>
                </a:cubicBezTo>
                <a:cubicBezTo>
                  <a:pt x="260983" y="789449"/>
                  <a:pt x="260983" y="793961"/>
                  <a:pt x="260509" y="798444"/>
                </a:cubicBezTo>
                <a:cubicBezTo>
                  <a:pt x="259237" y="810013"/>
                  <a:pt x="250907" y="822276"/>
                  <a:pt x="242115" y="834018"/>
                </a:cubicBezTo>
                <a:cubicBezTo>
                  <a:pt x="240235" y="835927"/>
                  <a:pt x="239361" y="838599"/>
                  <a:pt x="239743" y="841249"/>
                </a:cubicBezTo>
                <a:cubicBezTo>
                  <a:pt x="240668" y="844199"/>
                  <a:pt x="244891" y="845529"/>
                  <a:pt x="247379" y="846339"/>
                </a:cubicBezTo>
                <a:lnTo>
                  <a:pt x="248073" y="846339"/>
                </a:lnTo>
                <a:cubicBezTo>
                  <a:pt x="249484" y="846813"/>
                  <a:pt x="250612" y="847895"/>
                  <a:pt x="251139" y="849289"/>
                </a:cubicBezTo>
                <a:cubicBezTo>
                  <a:pt x="252249" y="854148"/>
                  <a:pt x="251375" y="859250"/>
                  <a:pt x="248709" y="863461"/>
                </a:cubicBezTo>
                <a:cubicBezTo>
                  <a:pt x="247373" y="866526"/>
                  <a:pt x="244295" y="868453"/>
                  <a:pt x="240958" y="868320"/>
                </a:cubicBezTo>
                <a:cubicBezTo>
                  <a:pt x="238060" y="868117"/>
                  <a:pt x="235214" y="867475"/>
                  <a:pt x="232513" y="866411"/>
                </a:cubicBezTo>
                <a:cubicBezTo>
                  <a:pt x="231448" y="866029"/>
                  <a:pt x="230367" y="865699"/>
                  <a:pt x="229273" y="865427"/>
                </a:cubicBezTo>
                <a:cubicBezTo>
                  <a:pt x="224472" y="864155"/>
                  <a:pt x="210705" y="870633"/>
                  <a:pt x="203301" y="882781"/>
                </a:cubicBezTo>
                <a:cubicBezTo>
                  <a:pt x="197604" y="890370"/>
                  <a:pt x="196620" y="900504"/>
                  <a:pt x="200756" y="909042"/>
                </a:cubicBezTo>
                <a:cubicBezTo>
                  <a:pt x="201583" y="912137"/>
                  <a:pt x="201340" y="915416"/>
                  <a:pt x="200062" y="918355"/>
                </a:cubicBezTo>
                <a:cubicBezTo>
                  <a:pt x="197736" y="924134"/>
                  <a:pt x="197968" y="930630"/>
                  <a:pt x="200698" y="936229"/>
                </a:cubicBezTo>
                <a:cubicBezTo>
                  <a:pt x="203781" y="941366"/>
                  <a:pt x="204001" y="947728"/>
                  <a:pt x="201276" y="953061"/>
                </a:cubicBezTo>
                <a:cubicBezTo>
                  <a:pt x="199796" y="955971"/>
                  <a:pt x="199194" y="959245"/>
                  <a:pt x="199541" y="962490"/>
                </a:cubicBezTo>
                <a:cubicBezTo>
                  <a:pt x="200120" y="967118"/>
                  <a:pt x="203937" y="969200"/>
                  <a:pt x="208045" y="971398"/>
                </a:cubicBezTo>
                <a:cubicBezTo>
                  <a:pt x="212151" y="973596"/>
                  <a:pt x="216952" y="976199"/>
                  <a:pt x="217704" y="981984"/>
                </a:cubicBezTo>
                <a:cubicBezTo>
                  <a:pt x="218462" y="986079"/>
                  <a:pt x="217409" y="990296"/>
                  <a:pt x="214812" y="993553"/>
                </a:cubicBezTo>
                <a:cubicBezTo>
                  <a:pt x="212602" y="995970"/>
                  <a:pt x="209467" y="997336"/>
                  <a:pt x="206193" y="997313"/>
                </a:cubicBezTo>
                <a:cubicBezTo>
                  <a:pt x="205789" y="997313"/>
                  <a:pt x="204632" y="997313"/>
                  <a:pt x="204169" y="999221"/>
                </a:cubicBezTo>
                <a:cubicBezTo>
                  <a:pt x="203561" y="1002715"/>
                  <a:pt x="205083" y="1006238"/>
                  <a:pt x="208045" y="1008187"/>
                </a:cubicBezTo>
                <a:cubicBezTo>
                  <a:pt x="213829" y="1011253"/>
                  <a:pt x="212556" y="1030168"/>
                  <a:pt x="209780" y="1035663"/>
                </a:cubicBezTo>
                <a:cubicBezTo>
                  <a:pt x="208276" y="1038729"/>
                  <a:pt x="203590" y="1038845"/>
                  <a:pt x="199136" y="1039018"/>
                </a:cubicBezTo>
                <a:cubicBezTo>
                  <a:pt x="196129" y="1039018"/>
                  <a:pt x="192774" y="1039018"/>
                  <a:pt x="191906" y="1040291"/>
                </a:cubicBezTo>
                <a:cubicBezTo>
                  <a:pt x="191750" y="1040638"/>
                  <a:pt x="191750" y="1041043"/>
                  <a:pt x="191906" y="1041390"/>
                </a:cubicBezTo>
                <a:cubicBezTo>
                  <a:pt x="192259" y="1046249"/>
                  <a:pt x="191547" y="1051125"/>
                  <a:pt x="189823" y="1055677"/>
                </a:cubicBezTo>
                <a:cubicBezTo>
                  <a:pt x="188915" y="1058257"/>
                  <a:pt x="188314" y="1060935"/>
                  <a:pt x="188030" y="1063660"/>
                </a:cubicBezTo>
                <a:cubicBezTo>
                  <a:pt x="188030" y="1063660"/>
                  <a:pt x="188030" y="1083558"/>
                  <a:pt x="181899" y="1083558"/>
                </a:cubicBezTo>
                <a:cubicBezTo>
                  <a:pt x="181118" y="1083524"/>
                  <a:pt x="180366" y="1083240"/>
                  <a:pt x="179759" y="1082749"/>
                </a:cubicBezTo>
                <a:cubicBezTo>
                  <a:pt x="178307" y="1081846"/>
                  <a:pt x="176606" y="1081418"/>
                  <a:pt x="174900" y="1081534"/>
                </a:cubicBezTo>
                <a:cubicBezTo>
                  <a:pt x="173957" y="1081476"/>
                  <a:pt x="173008" y="1081476"/>
                  <a:pt x="172065" y="1081534"/>
                </a:cubicBezTo>
                <a:cubicBezTo>
                  <a:pt x="171417" y="1081568"/>
                  <a:pt x="170856" y="1081083"/>
                  <a:pt x="170793" y="1080435"/>
                </a:cubicBezTo>
                <a:cubicBezTo>
                  <a:pt x="170793" y="1072337"/>
                  <a:pt x="167901" y="1070196"/>
                  <a:pt x="165008" y="1068866"/>
                </a:cubicBezTo>
                <a:cubicBezTo>
                  <a:pt x="162116" y="1067535"/>
                  <a:pt x="161248" y="1064412"/>
                  <a:pt x="159629" y="1060652"/>
                </a:cubicBezTo>
                <a:cubicBezTo>
                  <a:pt x="158472" y="1057933"/>
                  <a:pt x="156679" y="1053768"/>
                  <a:pt x="155406" y="1053768"/>
                </a:cubicBezTo>
                <a:lnTo>
                  <a:pt x="155059" y="1053768"/>
                </a:lnTo>
                <a:cubicBezTo>
                  <a:pt x="153497" y="1054578"/>
                  <a:pt x="153150" y="1057702"/>
                  <a:pt x="152861" y="1060999"/>
                </a:cubicBezTo>
                <a:cubicBezTo>
                  <a:pt x="153040" y="1065586"/>
                  <a:pt x="151397" y="1070057"/>
                  <a:pt x="148291" y="1073436"/>
                </a:cubicBezTo>
                <a:cubicBezTo>
                  <a:pt x="146122" y="1075044"/>
                  <a:pt x="143467" y="1075836"/>
                  <a:pt x="140772" y="1075691"/>
                </a:cubicBezTo>
                <a:cubicBezTo>
                  <a:pt x="139655" y="1075749"/>
                  <a:pt x="138533" y="1075749"/>
                  <a:pt x="137417" y="1075691"/>
                </a:cubicBezTo>
                <a:lnTo>
                  <a:pt x="134466" y="1075691"/>
                </a:lnTo>
                <a:cubicBezTo>
                  <a:pt x="132604" y="1075466"/>
                  <a:pt x="130753" y="1076154"/>
                  <a:pt x="129492" y="1077543"/>
                </a:cubicBezTo>
                <a:cubicBezTo>
                  <a:pt x="125269" y="1083327"/>
                  <a:pt x="94785" y="1113059"/>
                  <a:pt x="77895" y="1115546"/>
                </a:cubicBezTo>
                <a:cubicBezTo>
                  <a:pt x="76067" y="1116177"/>
                  <a:pt x="74187" y="1116663"/>
                  <a:pt x="72284" y="1116992"/>
                </a:cubicBezTo>
                <a:close/>
                <a:moveTo>
                  <a:pt x="27686" y="1057818"/>
                </a:moveTo>
                <a:cubicBezTo>
                  <a:pt x="31660" y="1058089"/>
                  <a:pt x="35067" y="1060745"/>
                  <a:pt x="36305" y="1064528"/>
                </a:cubicBezTo>
                <a:cubicBezTo>
                  <a:pt x="36976" y="1065690"/>
                  <a:pt x="37103" y="1067084"/>
                  <a:pt x="36652" y="1068345"/>
                </a:cubicBezTo>
                <a:cubicBezTo>
                  <a:pt x="35975" y="1069485"/>
                  <a:pt x="34835" y="1070266"/>
                  <a:pt x="33528" y="1070486"/>
                </a:cubicBezTo>
                <a:cubicBezTo>
                  <a:pt x="30943" y="1070873"/>
                  <a:pt x="29155" y="1073279"/>
                  <a:pt x="29537" y="1075865"/>
                </a:cubicBezTo>
                <a:cubicBezTo>
                  <a:pt x="29537" y="1081649"/>
                  <a:pt x="27281" y="1081997"/>
                  <a:pt x="24331" y="1081997"/>
                </a:cubicBezTo>
                <a:cubicBezTo>
                  <a:pt x="21832" y="1081725"/>
                  <a:pt x="19391" y="1082887"/>
                  <a:pt x="18026" y="1085005"/>
                </a:cubicBezTo>
                <a:cubicBezTo>
                  <a:pt x="17528" y="1085843"/>
                  <a:pt x="17528" y="1086884"/>
                  <a:pt x="18026" y="1087723"/>
                </a:cubicBezTo>
                <a:cubicBezTo>
                  <a:pt x="20513" y="1094491"/>
                  <a:pt x="39602" y="1104209"/>
                  <a:pt x="46312" y="1105886"/>
                </a:cubicBezTo>
                <a:cubicBezTo>
                  <a:pt x="49065" y="1106702"/>
                  <a:pt x="51703" y="1107847"/>
                  <a:pt x="54179" y="1109299"/>
                </a:cubicBezTo>
                <a:cubicBezTo>
                  <a:pt x="59720" y="1112666"/>
                  <a:pt x="66037" y="1114540"/>
                  <a:pt x="72515" y="1114736"/>
                </a:cubicBezTo>
                <a:cubicBezTo>
                  <a:pt x="74280" y="1114742"/>
                  <a:pt x="76038" y="1114603"/>
                  <a:pt x="77779" y="1114331"/>
                </a:cubicBezTo>
                <a:cubicBezTo>
                  <a:pt x="93455" y="1111960"/>
                  <a:pt x="124055" y="1082459"/>
                  <a:pt x="127872" y="1077196"/>
                </a:cubicBezTo>
                <a:cubicBezTo>
                  <a:pt x="129555" y="1075252"/>
                  <a:pt x="132078" y="1074240"/>
                  <a:pt x="134640" y="1074477"/>
                </a:cubicBezTo>
                <a:lnTo>
                  <a:pt x="137764" y="1074477"/>
                </a:lnTo>
                <a:cubicBezTo>
                  <a:pt x="138822" y="1074535"/>
                  <a:pt x="139886" y="1074535"/>
                  <a:pt x="140945" y="1074477"/>
                </a:cubicBezTo>
                <a:cubicBezTo>
                  <a:pt x="143137" y="1074610"/>
                  <a:pt x="145301" y="1073979"/>
                  <a:pt x="147076" y="1072684"/>
                </a:cubicBezTo>
                <a:cubicBezTo>
                  <a:pt x="149657" y="1069664"/>
                  <a:pt x="150981" y="1065777"/>
                  <a:pt x="150779" y="1061809"/>
                </a:cubicBezTo>
                <a:cubicBezTo>
                  <a:pt x="151183" y="1057933"/>
                  <a:pt x="151531" y="1054231"/>
                  <a:pt x="154134" y="1052843"/>
                </a:cubicBezTo>
                <a:cubicBezTo>
                  <a:pt x="154568" y="1052577"/>
                  <a:pt x="155071" y="1052432"/>
                  <a:pt x="155580" y="1052438"/>
                </a:cubicBezTo>
                <a:cubicBezTo>
                  <a:pt x="158356" y="1052438"/>
                  <a:pt x="160091" y="1056429"/>
                  <a:pt x="161885" y="1060710"/>
                </a:cubicBezTo>
                <a:cubicBezTo>
                  <a:pt x="163099" y="1063602"/>
                  <a:pt x="164661" y="1067130"/>
                  <a:pt x="165992" y="1067709"/>
                </a:cubicBezTo>
                <a:cubicBezTo>
                  <a:pt x="170504" y="1069444"/>
                  <a:pt x="172701" y="1073204"/>
                  <a:pt x="173106" y="1079856"/>
                </a:cubicBezTo>
                <a:cubicBezTo>
                  <a:pt x="175906" y="1079365"/>
                  <a:pt x="178787" y="1079920"/>
                  <a:pt x="181205" y="1081418"/>
                </a:cubicBezTo>
                <a:cubicBezTo>
                  <a:pt x="181436" y="1081609"/>
                  <a:pt x="181719" y="1081730"/>
                  <a:pt x="182015" y="1081765"/>
                </a:cubicBezTo>
                <a:cubicBezTo>
                  <a:pt x="184097" y="1081765"/>
                  <a:pt x="185890" y="1072105"/>
                  <a:pt x="185890" y="1064123"/>
                </a:cubicBezTo>
                <a:cubicBezTo>
                  <a:pt x="186168" y="1061184"/>
                  <a:pt x="186787" y="1058292"/>
                  <a:pt x="187741" y="1055504"/>
                </a:cubicBezTo>
                <a:cubicBezTo>
                  <a:pt x="189349" y="1051298"/>
                  <a:pt x="190061" y="1046810"/>
                  <a:pt x="189823" y="1042315"/>
                </a:cubicBezTo>
                <a:cubicBezTo>
                  <a:pt x="189581" y="1041297"/>
                  <a:pt x="189794" y="1040221"/>
                  <a:pt x="190402" y="1039365"/>
                </a:cubicBezTo>
                <a:cubicBezTo>
                  <a:pt x="191906" y="1037456"/>
                  <a:pt x="195492" y="1037341"/>
                  <a:pt x="199310" y="1037225"/>
                </a:cubicBezTo>
                <a:cubicBezTo>
                  <a:pt x="203128" y="1037109"/>
                  <a:pt x="207177" y="1036936"/>
                  <a:pt x="208102" y="1035085"/>
                </a:cubicBezTo>
                <a:cubicBezTo>
                  <a:pt x="210532" y="1030226"/>
                  <a:pt x="211573" y="1012815"/>
                  <a:pt x="207293" y="1010675"/>
                </a:cubicBezTo>
                <a:cubicBezTo>
                  <a:pt x="203399" y="1008216"/>
                  <a:pt x="201404" y="1003629"/>
                  <a:pt x="202260" y="999106"/>
                </a:cubicBezTo>
                <a:cubicBezTo>
                  <a:pt x="202572" y="997017"/>
                  <a:pt x="204365" y="995467"/>
                  <a:pt x="206483" y="995461"/>
                </a:cubicBezTo>
                <a:cubicBezTo>
                  <a:pt x="209120" y="995502"/>
                  <a:pt x="211648" y="994403"/>
                  <a:pt x="213424" y="992454"/>
                </a:cubicBezTo>
                <a:cubicBezTo>
                  <a:pt x="215582" y="989619"/>
                  <a:pt x="216426" y="985998"/>
                  <a:pt x="215738" y="982504"/>
                </a:cubicBezTo>
                <a:cubicBezTo>
                  <a:pt x="215159" y="977877"/>
                  <a:pt x="211342" y="975794"/>
                  <a:pt x="207235" y="973596"/>
                </a:cubicBezTo>
                <a:cubicBezTo>
                  <a:pt x="203128" y="971398"/>
                  <a:pt x="198327" y="968795"/>
                  <a:pt x="197575" y="963011"/>
                </a:cubicBezTo>
                <a:cubicBezTo>
                  <a:pt x="197193" y="959372"/>
                  <a:pt x="197852" y="955699"/>
                  <a:pt x="199483" y="952425"/>
                </a:cubicBezTo>
                <a:cubicBezTo>
                  <a:pt x="201988" y="947694"/>
                  <a:pt x="201792" y="941990"/>
                  <a:pt x="198963" y="937444"/>
                </a:cubicBezTo>
                <a:cubicBezTo>
                  <a:pt x="195967" y="931347"/>
                  <a:pt x="195689" y="924261"/>
                  <a:pt x="198211" y="917950"/>
                </a:cubicBezTo>
                <a:cubicBezTo>
                  <a:pt x="199310" y="915480"/>
                  <a:pt x="199576" y="912715"/>
                  <a:pt x="198963" y="910083"/>
                </a:cubicBezTo>
                <a:cubicBezTo>
                  <a:pt x="194630" y="900892"/>
                  <a:pt x="195648" y="890075"/>
                  <a:pt x="201624" y="881855"/>
                </a:cubicBezTo>
                <a:cubicBezTo>
                  <a:pt x="207235" y="871889"/>
                  <a:pt x="217022" y="864965"/>
                  <a:pt x="228290" y="862998"/>
                </a:cubicBezTo>
                <a:cubicBezTo>
                  <a:pt x="228903" y="862905"/>
                  <a:pt x="229528" y="862905"/>
                  <a:pt x="230141" y="862998"/>
                </a:cubicBezTo>
                <a:cubicBezTo>
                  <a:pt x="231124" y="862998"/>
                  <a:pt x="232281" y="863634"/>
                  <a:pt x="233554" y="864039"/>
                </a:cubicBezTo>
                <a:cubicBezTo>
                  <a:pt x="236012" y="865017"/>
                  <a:pt x="238609" y="865624"/>
                  <a:pt x="241247" y="865832"/>
                </a:cubicBezTo>
                <a:cubicBezTo>
                  <a:pt x="243763" y="866012"/>
                  <a:pt x="246106" y="864537"/>
                  <a:pt x="247032" y="862188"/>
                </a:cubicBezTo>
                <a:cubicBezTo>
                  <a:pt x="249351" y="858550"/>
                  <a:pt x="250196" y="854165"/>
                  <a:pt x="249403" y="849925"/>
                </a:cubicBezTo>
                <a:cubicBezTo>
                  <a:pt x="249137" y="849133"/>
                  <a:pt x="248518" y="848514"/>
                  <a:pt x="247726" y="848248"/>
                </a:cubicBezTo>
                <a:lnTo>
                  <a:pt x="247032" y="848248"/>
                </a:lnTo>
                <a:cubicBezTo>
                  <a:pt x="244139" y="847322"/>
                  <a:pt x="239222" y="845760"/>
                  <a:pt x="237950" y="841711"/>
                </a:cubicBezTo>
                <a:cubicBezTo>
                  <a:pt x="237279" y="838351"/>
                  <a:pt x="238291" y="834868"/>
                  <a:pt x="240668" y="832398"/>
                </a:cubicBezTo>
                <a:cubicBezTo>
                  <a:pt x="249288" y="820830"/>
                  <a:pt x="257386" y="808856"/>
                  <a:pt x="258600" y="797981"/>
                </a:cubicBezTo>
                <a:cubicBezTo>
                  <a:pt x="259040" y="793637"/>
                  <a:pt x="259040" y="789252"/>
                  <a:pt x="258600" y="784908"/>
                </a:cubicBezTo>
                <a:cubicBezTo>
                  <a:pt x="258138" y="779529"/>
                  <a:pt x="257733" y="775248"/>
                  <a:pt x="260336" y="772645"/>
                </a:cubicBezTo>
                <a:cubicBezTo>
                  <a:pt x="262939" y="770742"/>
                  <a:pt x="266155" y="769875"/>
                  <a:pt x="269359" y="770216"/>
                </a:cubicBezTo>
                <a:cubicBezTo>
                  <a:pt x="273524" y="770383"/>
                  <a:pt x="277654" y="769383"/>
                  <a:pt x="281275" y="767324"/>
                </a:cubicBezTo>
                <a:cubicBezTo>
                  <a:pt x="284202" y="765525"/>
                  <a:pt x="285608" y="762031"/>
                  <a:pt x="284746" y="758705"/>
                </a:cubicBezTo>
                <a:cubicBezTo>
                  <a:pt x="284121" y="756310"/>
                  <a:pt x="284706" y="753765"/>
                  <a:pt x="286308" y="751879"/>
                </a:cubicBezTo>
                <a:cubicBezTo>
                  <a:pt x="288425" y="749293"/>
                  <a:pt x="290253" y="746482"/>
                  <a:pt x="291745" y="743492"/>
                </a:cubicBezTo>
                <a:cubicBezTo>
                  <a:pt x="293810" y="738986"/>
                  <a:pt x="296650" y="734873"/>
                  <a:pt x="300133" y="731344"/>
                </a:cubicBezTo>
                <a:cubicBezTo>
                  <a:pt x="307016" y="726138"/>
                  <a:pt x="308983" y="722089"/>
                  <a:pt x="306380" y="718619"/>
                </a:cubicBezTo>
                <a:cubicBezTo>
                  <a:pt x="303777" y="715148"/>
                  <a:pt x="306380" y="711909"/>
                  <a:pt x="309040" y="708727"/>
                </a:cubicBezTo>
                <a:cubicBezTo>
                  <a:pt x="311782" y="705962"/>
                  <a:pt x="313512" y="702359"/>
                  <a:pt x="313957" y="698489"/>
                </a:cubicBezTo>
                <a:cubicBezTo>
                  <a:pt x="313957" y="688771"/>
                  <a:pt x="327030" y="681772"/>
                  <a:pt x="335822" y="681772"/>
                </a:cubicBezTo>
                <a:cubicBezTo>
                  <a:pt x="343169" y="681772"/>
                  <a:pt x="355490" y="681772"/>
                  <a:pt x="355490" y="675120"/>
                </a:cubicBezTo>
                <a:cubicBezTo>
                  <a:pt x="355490" y="673442"/>
                  <a:pt x="355200" y="671302"/>
                  <a:pt x="354969" y="668988"/>
                </a:cubicBezTo>
                <a:cubicBezTo>
                  <a:pt x="354275" y="663204"/>
                  <a:pt x="353581" y="657419"/>
                  <a:pt x="355952" y="654990"/>
                </a:cubicBezTo>
                <a:cubicBezTo>
                  <a:pt x="358324" y="652561"/>
                  <a:pt x="360001" y="653081"/>
                  <a:pt x="363530" y="654643"/>
                </a:cubicBezTo>
                <a:cubicBezTo>
                  <a:pt x="367018" y="656135"/>
                  <a:pt x="370789" y="656847"/>
                  <a:pt x="374578" y="656725"/>
                </a:cubicBezTo>
                <a:lnTo>
                  <a:pt x="378107" y="656725"/>
                </a:lnTo>
                <a:lnTo>
                  <a:pt x="381346" y="656725"/>
                </a:lnTo>
                <a:cubicBezTo>
                  <a:pt x="385308" y="656448"/>
                  <a:pt x="389230" y="657662"/>
                  <a:pt x="392336" y="660138"/>
                </a:cubicBezTo>
                <a:cubicBezTo>
                  <a:pt x="394881" y="662382"/>
                  <a:pt x="398121" y="663684"/>
                  <a:pt x="401476" y="663840"/>
                </a:cubicBezTo>
                <a:cubicBezTo>
                  <a:pt x="405988" y="663840"/>
                  <a:pt x="408648" y="660832"/>
                  <a:pt x="408648" y="655800"/>
                </a:cubicBezTo>
                <a:cubicBezTo>
                  <a:pt x="408648" y="647759"/>
                  <a:pt x="411136" y="632662"/>
                  <a:pt x="420506" y="632662"/>
                </a:cubicBezTo>
                <a:cubicBezTo>
                  <a:pt x="422415" y="632726"/>
                  <a:pt x="424266" y="633264"/>
                  <a:pt x="425944" y="634224"/>
                </a:cubicBezTo>
                <a:lnTo>
                  <a:pt x="427506" y="635207"/>
                </a:lnTo>
                <a:cubicBezTo>
                  <a:pt x="430513" y="627462"/>
                  <a:pt x="437976" y="622372"/>
                  <a:pt x="446247" y="622424"/>
                </a:cubicBezTo>
                <a:cubicBezTo>
                  <a:pt x="452032" y="624147"/>
                  <a:pt x="457006" y="627803"/>
                  <a:pt x="460419" y="632778"/>
                </a:cubicBezTo>
                <a:cubicBezTo>
                  <a:pt x="464353" y="638198"/>
                  <a:pt x="469848" y="642241"/>
                  <a:pt x="476211" y="644347"/>
                </a:cubicBezTo>
                <a:cubicBezTo>
                  <a:pt x="478987" y="644867"/>
                  <a:pt x="481995" y="645561"/>
                  <a:pt x="484482" y="646198"/>
                </a:cubicBezTo>
                <a:cubicBezTo>
                  <a:pt x="489110" y="647569"/>
                  <a:pt x="493853" y="648419"/>
                  <a:pt x="498654" y="648743"/>
                </a:cubicBezTo>
                <a:cubicBezTo>
                  <a:pt x="501026" y="649096"/>
                  <a:pt x="503397" y="648095"/>
                  <a:pt x="504844" y="646140"/>
                </a:cubicBezTo>
                <a:cubicBezTo>
                  <a:pt x="505769" y="644428"/>
                  <a:pt x="507562" y="643381"/>
                  <a:pt x="509529" y="643421"/>
                </a:cubicBezTo>
                <a:cubicBezTo>
                  <a:pt x="511842" y="643618"/>
                  <a:pt x="514041" y="644248"/>
                  <a:pt x="516123" y="645272"/>
                </a:cubicBezTo>
                <a:cubicBezTo>
                  <a:pt x="519247" y="646915"/>
                  <a:pt x="522775" y="647505"/>
                  <a:pt x="526246" y="646950"/>
                </a:cubicBezTo>
                <a:cubicBezTo>
                  <a:pt x="526882" y="646730"/>
                  <a:pt x="527518" y="646608"/>
                  <a:pt x="528155" y="646603"/>
                </a:cubicBezTo>
                <a:cubicBezTo>
                  <a:pt x="531221" y="646603"/>
                  <a:pt x="533129" y="649263"/>
                  <a:pt x="534576" y="651346"/>
                </a:cubicBezTo>
                <a:cubicBezTo>
                  <a:pt x="536022" y="653428"/>
                  <a:pt x="536658" y="654238"/>
                  <a:pt x="537699" y="654238"/>
                </a:cubicBezTo>
                <a:cubicBezTo>
                  <a:pt x="538740" y="654238"/>
                  <a:pt x="539434" y="653717"/>
                  <a:pt x="541228" y="651288"/>
                </a:cubicBezTo>
                <a:cubicBezTo>
                  <a:pt x="543483" y="648344"/>
                  <a:pt x="544756" y="644757"/>
                  <a:pt x="544814" y="641050"/>
                </a:cubicBezTo>
                <a:cubicBezTo>
                  <a:pt x="544814" y="637984"/>
                  <a:pt x="545277" y="635265"/>
                  <a:pt x="550945" y="635265"/>
                </a:cubicBezTo>
                <a:lnTo>
                  <a:pt x="553953" y="635265"/>
                </a:lnTo>
                <a:cubicBezTo>
                  <a:pt x="555804" y="635705"/>
                  <a:pt x="557771" y="635207"/>
                  <a:pt x="559159" y="633935"/>
                </a:cubicBezTo>
                <a:cubicBezTo>
                  <a:pt x="561068" y="631679"/>
                  <a:pt x="560027" y="626531"/>
                  <a:pt x="559159" y="621556"/>
                </a:cubicBezTo>
                <a:cubicBezTo>
                  <a:pt x="558523" y="618739"/>
                  <a:pt x="558176" y="615876"/>
                  <a:pt x="558002" y="612995"/>
                </a:cubicBezTo>
                <a:cubicBezTo>
                  <a:pt x="558002" y="607673"/>
                  <a:pt x="563035" y="604723"/>
                  <a:pt x="567489" y="602178"/>
                </a:cubicBezTo>
                <a:cubicBezTo>
                  <a:pt x="571943" y="599633"/>
                  <a:pt x="574835" y="597898"/>
                  <a:pt x="574835" y="594832"/>
                </a:cubicBezTo>
                <a:cubicBezTo>
                  <a:pt x="574835" y="589510"/>
                  <a:pt x="582875" y="589510"/>
                  <a:pt x="588197" y="589510"/>
                </a:cubicBezTo>
                <a:lnTo>
                  <a:pt x="591899" y="589510"/>
                </a:lnTo>
                <a:cubicBezTo>
                  <a:pt x="595080" y="589510"/>
                  <a:pt x="600981" y="589510"/>
                  <a:pt x="602369" y="587659"/>
                </a:cubicBezTo>
                <a:cubicBezTo>
                  <a:pt x="605724" y="583928"/>
                  <a:pt x="610467" y="581817"/>
                  <a:pt x="615500" y="581875"/>
                </a:cubicBezTo>
                <a:cubicBezTo>
                  <a:pt x="619896" y="581672"/>
                  <a:pt x="624061" y="583888"/>
                  <a:pt x="626317" y="587659"/>
                </a:cubicBezTo>
                <a:cubicBezTo>
                  <a:pt x="630307" y="592211"/>
                  <a:pt x="635456" y="595555"/>
                  <a:pt x="641240" y="597319"/>
                </a:cubicBezTo>
                <a:cubicBezTo>
                  <a:pt x="647892" y="600211"/>
                  <a:pt x="654197" y="603104"/>
                  <a:pt x="655007" y="607500"/>
                </a:cubicBezTo>
                <a:cubicBezTo>
                  <a:pt x="655297" y="610849"/>
                  <a:pt x="655297" y="614216"/>
                  <a:pt x="655007" y="617565"/>
                </a:cubicBezTo>
                <a:cubicBezTo>
                  <a:pt x="655007" y="618490"/>
                  <a:pt x="655007" y="619416"/>
                  <a:pt x="655007" y="620283"/>
                </a:cubicBezTo>
                <a:cubicBezTo>
                  <a:pt x="658189" y="617432"/>
                  <a:pt x="662296" y="615760"/>
                  <a:pt x="666576" y="615540"/>
                </a:cubicBezTo>
                <a:cubicBezTo>
                  <a:pt x="670510" y="614887"/>
                  <a:pt x="674212" y="613047"/>
                  <a:pt x="677104" y="610276"/>
                </a:cubicBezTo>
                <a:cubicBezTo>
                  <a:pt x="680054" y="607442"/>
                  <a:pt x="683756" y="605585"/>
                  <a:pt x="687805" y="604955"/>
                </a:cubicBezTo>
                <a:cubicBezTo>
                  <a:pt x="688325" y="604897"/>
                  <a:pt x="688904" y="604897"/>
                  <a:pt x="689425" y="604955"/>
                </a:cubicBezTo>
                <a:cubicBezTo>
                  <a:pt x="690639" y="605215"/>
                  <a:pt x="691854" y="605354"/>
                  <a:pt x="693069" y="605360"/>
                </a:cubicBezTo>
                <a:lnTo>
                  <a:pt x="693069" y="605360"/>
                </a:lnTo>
                <a:cubicBezTo>
                  <a:pt x="696018" y="605360"/>
                  <a:pt x="700184" y="604492"/>
                  <a:pt x="701803" y="596856"/>
                </a:cubicBezTo>
                <a:cubicBezTo>
                  <a:pt x="698564" y="595144"/>
                  <a:pt x="694920" y="594248"/>
                  <a:pt x="691276" y="594253"/>
                </a:cubicBezTo>
                <a:cubicBezTo>
                  <a:pt x="687169" y="594253"/>
                  <a:pt x="684392" y="595410"/>
                  <a:pt x="683813" y="597435"/>
                </a:cubicBezTo>
                <a:cubicBezTo>
                  <a:pt x="682888" y="600512"/>
                  <a:pt x="679938" y="602537"/>
                  <a:pt x="676757" y="602294"/>
                </a:cubicBezTo>
                <a:cubicBezTo>
                  <a:pt x="674616" y="602340"/>
                  <a:pt x="672534" y="601501"/>
                  <a:pt x="670972" y="599980"/>
                </a:cubicBezTo>
                <a:cubicBezTo>
                  <a:pt x="669931" y="598858"/>
                  <a:pt x="669410" y="597389"/>
                  <a:pt x="669468" y="595873"/>
                </a:cubicBezTo>
                <a:cubicBezTo>
                  <a:pt x="669468" y="592923"/>
                  <a:pt x="663048" y="589568"/>
                  <a:pt x="658651" y="587312"/>
                </a:cubicBezTo>
                <a:cubicBezTo>
                  <a:pt x="654255" y="585056"/>
                  <a:pt x="652173" y="584015"/>
                  <a:pt x="651768" y="582569"/>
                </a:cubicBezTo>
                <a:cubicBezTo>
                  <a:pt x="651421" y="581933"/>
                  <a:pt x="651421" y="581181"/>
                  <a:pt x="651768" y="580544"/>
                </a:cubicBezTo>
                <a:cubicBezTo>
                  <a:pt x="652809" y="579532"/>
                  <a:pt x="654255" y="579046"/>
                  <a:pt x="655701" y="579214"/>
                </a:cubicBezTo>
                <a:cubicBezTo>
                  <a:pt x="659635" y="579399"/>
                  <a:pt x="663453" y="580487"/>
                  <a:pt x="666865" y="582395"/>
                </a:cubicBezTo>
                <a:cubicBezTo>
                  <a:pt x="668369" y="583355"/>
                  <a:pt x="670162" y="583894"/>
                  <a:pt x="671956" y="583957"/>
                </a:cubicBezTo>
                <a:cubicBezTo>
                  <a:pt x="675542" y="583957"/>
                  <a:pt x="679128" y="581296"/>
                  <a:pt x="683525" y="576958"/>
                </a:cubicBezTo>
                <a:cubicBezTo>
                  <a:pt x="686995" y="574008"/>
                  <a:pt x="691449" y="572475"/>
                  <a:pt x="695961" y="572678"/>
                </a:cubicBezTo>
                <a:cubicBezTo>
                  <a:pt x="699894" y="572678"/>
                  <a:pt x="701398" y="572215"/>
                  <a:pt x="701746" y="570306"/>
                </a:cubicBezTo>
                <a:cubicBezTo>
                  <a:pt x="702382" y="567182"/>
                  <a:pt x="697580" y="564232"/>
                  <a:pt x="693705" y="561861"/>
                </a:cubicBezTo>
                <a:cubicBezTo>
                  <a:pt x="691507" y="560773"/>
                  <a:pt x="689540" y="559258"/>
                  <a:pt x="687921" y="557407"/>
                </a:cubicBezTo>
                <a:cubicBezTo>
                  <a:pt x="683756" y="553051"/>
                  <a:pt x="677914" y="550627"/>
                  <a:pt x="671898" y="550697"/>
                </a:cubicBezTo>
                <a:cubicBezTo>
                  <a:pt x="670741" y="550708"/>
                  <a:pt x="669584" y="550801"/>
                  <a:pt x="668427" y="550986"/>
                </a:cubicBezTo>
                <a:cubicBezTo>
                  <a:pt x="663742" y="552530"/>
                  <a:pt x="658593" y="550841"/>
                  <a:pt x="655759" y="546821"/>
                </a:cubicBezTo>
                <a:cubicBezTo>
                  <a:pt x="654891" y="545780"/>
                  <a:pt x="653908" y="544797"/>
                  <a:pt x="652925" y="543871"/>
                </a:cubicBezTo>
                <a:cubicBezTo>
                  <a:pt x="651941" y="543055"/>
                  <a:pt x="650669" y="542639"/>
                  <a:pt x="649396" y="542714"/>
                </a:cubicBezTo>
                <a:cubicBezTo>
                  <a:pt x="641240" y="543287"/>
                  <a:pt x="634588" y="549482"/>
                  <a:pt x="633431" y="557580"/>
                </a:cubicBezTo>
                <a:cubicBezTo>
                  <a:pt x="633431" y="563712"/>
                  <a:pt x="630597" y="566430"/>
                  <a:pt x="627647" y="566430"/>
                </a:cubicBezTo>
                <a:cubicBezTo>
                  <a:pt x="626259" y="566448"/>
                  <a:pt x="624986" y="565719"/>
                  <a:pt x="624292" y="564521"/>
                </a:cubicBezTo>
                <a:cubicBezTo>
                  <a:pt x="623540" y="562861"/>
                  <a:pt x="623713" y="560924"/>
                  <a:pt x="624755" y="559431"/>
                </a:cubicBezTo>
                <a:cubicBezTo>
                  <a:pt x="625738" y="557094"/>
                  <a:pt x="625738" y="554480"/>
                  <a:pt x="624755" y="552143"/>
                </a:cubicBezTo>
                <a:cubicBezTo>
                  <a:pt x="623945" y="548961"/>
                  <a:pt x="622962" y="544970"/>
                  <a:pt x="628573" y="543524"/>
                </a:cubicBezTo>
                <a:cubicBezTo>
                  <a:pt x="630771" y="543003"/>
                  <a:pt x="631869" y="541673"/>
                  <a:pt x="631696" y="539764"/>
                </a:cubicBezTo>
                <a:cubicBezTo>
                  <a:pt x="631407" y="536351"/>
                  <a:pt x="626837" y="531203"/>
                  <a:pt x="617466" y="530451"/>
                </a:cubicBezTo>
                <a:cubicBezTo>
                  <a:pt x="610988" y="529317"/>
                  <a:pt x="604509" y="532464"/>
                  <a:pt x="601385" y="538260"/>
                </a:cubicBezTo>
                <a:cubicBezTo>
                  <a:pt x="600287" y="540030"/>
                  <a:pt x="600287" y="542275"/>
                  <a:pt x="601385" y="544045"/>
                </a:cubicBezTo>
                <a:cubicBezTo>
                  <a:pt x="602658" y="545491"/>
                  <a:pt x="602543" y="547804"/>
                  <a:pt x="601385" y="550986"/>
                </a:cubicBezTo>
                <a:cubicBezTo>
                  <a:pt x="598493" y="557464"/>
                  <a:pt x="589816" y="567356"/>
                  <a:pt x="584553" y="567356"/>
                </a:cubicBezTo>
                <a:cubicBezTo>
                  <a:pt x="583512" y="567396"/>
                  <a:pt x="582528" y="566945"/>
                  <a:pt x="581892" y="566141"/>
                </a:cubicBezTo>
                <a:cubicBezTo>
                  <a:pt x="580157" y="564001"/>
                  <a:pt x="581140" y="559258"/>
                  <a:pt x="582355" y="553820"/>
                </a:cubicBezTo>
                <a:cubicBezTo>
                  <a:pt x="583280" y="550384"/>
                  <a:pt x="583801" y="546850"/>
                  <a:pt x="583859" y="543293"/>
                </a:cubicBezTo>
                <a:cubicBezTo>
                  <a:pt x="583859" y="542194"/>
                  <a:pt x="583859" y="540285"/>
                  <a:pt x="582702" y="540285"/>
                </a:cubicBezTo>
                <a:cubicBezTo>
                  <a:pt x="579810" y="540285"/>
                  <a:pt x="571538" y="549713"/>
                  <a:pt x="568472" y="553242"/>
                </a:cubicBezTo>
                <a:cubicBezTo>
                  <a:pt x="565406" y="556770"/>
                  <a:pt x="563844" y="558621"/>
                  <a:pt x="561762" y="561109"/>
                </a:cubicBezTo>
                <a:cubicBezTo>
                  <a:pt x="553606" y="570769"/>
                  <a:pt x="547127" y="578462"/>
                  <a:pt x="541632" y="579445"/>
                </a:cubicBezTo>
                <a:cubicBezTo>
                  <a:pt x="539319" y="580018"/>
                  <a:pt x="537005" y="578624"/>
                  <a:pt x="536426" y="576333"/>
                </a:cubicBezTo>
                <a:cubicBezTo>
                  <a:pt x="536426" y="576212"/>
                  <a:pt x="536368" y="576096"/>
                  <a:pt x="536368" y="575975"/>
                </a:cubicBezTo>
                <a:cubicBezTo>
                  <a:pt x="535790" y="569207"/>
                  <a:pt x="539550" y="562821"/>
                  <a:pt x="545739" y="560010"/>
                </a:cubicBezTo>
                <a:cubicBezTo>
                  <a:pt x="550251" y="556932"/>
                  <a:pt x="553722" y="552554"/>
                  <a:pt x="555689" y="547457"/>
                </a:cubicBezTo>
                <a:cubicBezTo>
                  <a:pt x="558002" y="542830"/>
                  <a:pt x="559969" y="538839"/>
                  <a:pt x="564018" y="538839"/>
                </a:cubicBezTo>
                <a:cubicBezTo>
                  <a:pt x="566100" y="538839"/>
                  <a:pt x="567489" y="537971"/>
                  <a:pt x="567662" y="536583"/>
                </a:cubicBezTo>
                <a:cubicBezTo>
                  <a:pt x="567836" y="535194"/>
                  <a:pt x="565522" y="531782"/>
                  <a:pt x="560490" y="530798"/>
                </a:cubicBezTo>
                <a:cubicBezTo>
                  <a:pt x="559738" y="530625"/>
                  <a:pt x="558928" y="530526"/>
                  <a:pt x="558118" y="530509"/>
                </a:cubicBezTo>
                <a:cubicBezTo>
                  <a:pt x="553375" y="530509"/>
                  <a:pt x="551177" y="534674"/>
                  <a:pt x="549268" y="538376"/>
                </a:cubicBezTo>
                <a:cubicBezTo>
                  <a:pt x="548573" y="539920"/>
                  <a:pt x="547706" y="541361"/>
                  <a:pt x="546607" y="542656"/>
                </a:cubicBezTo>
                <a:cubicBezTo>
                  <a:pt x="545739" y="543420"/>
                  <a:pt x="544583" y="543796"/>
                  <a:pt x="543426" y="543698"/>
                </a:cubicBezTo>
                <a:cubicBezTo>
                  <a:pt x="540013" y="543350"/>
                  <a:pt x="536658" y="542570"/>
                  <a:pt x="533418" y="541384"/>
                </a:cubicBezTo>
                <a:cubicBezTo>
                  <a:pt x="531568" y="540684"/>
                  <a:pt x="529601" y="540163"/>
                  <a:pt x="527634" y="539822"/>
                </a:cubicBezTo>
                <a:cubicBezTo>
                  <a:pt x="527634" y="541384"/>
                  <a:pt x="526072" y="542483"/>
                  <a:pt x="524626" y="543524"/>
                </a:cubicBezTo>
                <a:cubicBezTo>
                  <a:pt x="522081" y="545375"/>
                  <a:pt x="520751" y="546590"/>
                  <a:pt x="522544" y="549308"/>
                </a:cubicBezTo>
                <a:cubicBezTo>
                  <a:pt x="524163" y="551316"/>
                  <a:pt x="524510" y="554069"/>
                  <a:pt x="523469" y="556423"/>
                </a:cubicBezTo>
                <a:cubicBezTo>
                  <a:pt x="522833" y="557759"/>
                  <a:pt x="521503" y="558610"/>
                  <a:pt x="519999" y="558621"/>
                </a:cubicBezTo>
                <a:cubicBezTo>
                  <a:pt x="518842" y="558621"/>
                  <a:pt x="516586" y="558101"/>
                  <a:pt x="514619" y="554514"/>
                </a:cubicBezTo>
                <a:cubicBezTo>
                  <a:pt x="513809" y="552808"/>
                  <a:pt x="512074" y="551726"/>
                  <a:pt x="510165" y="551738"/>
                </a:cubicBezTo>
                <a:cubicBezTo>
                  <a:pt x="504786" y="552733"/>
                  <a:pt x="500100" y="556140"/>
                  <a:pt x="497555" y="560993"/>
                </a:cubicBezTo>
                <a:cubicBezTo>
                  <a:pt x="495878" y="563798"/>
                  <a:pt x="493622" y="566222"/>
                  <a:pt x="490961" y="568108"/>
                </a:cubicBezTo>
                <a:lnTo>
                  <a:pt x="489630" y="569207"/>
                </a:lnTo>
                <a:lnTo>
                  <a:pt x="490730" y="569901"/>
                </a:lnTo>
                <a:cubicBezTo>
                  <a:pt x="493680" y="572070"/>
                  <a:pt x="495068" y="575743"/>
                  <a:pt x="494374" y="579330"/>
                </a:cubicBezTo>
                <a:cubicBezTo>
                  <a:pt x="494085" y="583275"/>
                  <a:pt x="491366" y="586635"/>
                  <a:pt x="487606" y="587775"/>
                </a:cubicBezTo>
                <a:lnTo>
                  <a:pt x="486449" y="587775"/>
                </a:lnTo>
                <a:cubicBezTo>
                  <a:pt x="482342" y="587775"/>
                  <a:pt x="481359" y="581990"/>
                  <a:pt x="480665" y="576900"/>
                </a:cubicBezTo>
                <a:cubicBezTo>
                  <a:pt x="480202" y="574066"/>
                  <a:pt x="479392" y="569727"/>
                  <a:pt x="478235" y="569727"/>
                </a:cubicBezTo>
                <a:lnTo>
                  <a:pt x="477888" y="569727"/>
                </a:lnTo>
                <a:cubicBezTo>
                  <a:pt x="476558" y="570387"/>
                  <a:pt x="474880" y="569941"/>
                  <a:pt x="474070" y="568686"/>
                </a:cubicBezTo>
                <a:cubicBezTo>
                  <a:pt x="473318" y="566517"/>
                  <a:pt x="473665" y="564117"/>
                  <a:pt x="475054" y="562265"/>
                </a:cubicBezTo>
                <a:cubicBezTo>
                  <a:pt x="476615" y="559177"/>
                  <a:pt x="479681" y="557158"/>
                  <a:pt x="483152" y="557002"/>
                </a:cubicBezTo>
                <a:cubicBezTo>
                  <a:pt x="487548" y="556319"/>
                  <a:pt x="491482" y="553768"/>
                  <a:pt x="493911" y="550003"/>
                </a:cubicBezTo>
                <a:cubicBezTo>
                  <a:pt x="495415" y="548400"/>
                  <a:pt x="496340" y="546381"/>
                  <a:pt x="496629" y="544218"/>
                </a:cubicBezTo>
                <a:cubicBezTo>
                  <a:pt x="496167" y="542876"/>
                  <a:pt x="494894" y="542003"/>
                  <a:pt x="493448" y="542078"/>
                </a:cubicBezTo>
                <a:cubicBezTo>
                  <a:pt x="491192" y="541980"/>
                  <a:pt x="489283" y="543738"/>
                  <a:pt x="489168" y="546006"/>
                </a:cubicBezTo>
                <a:cubicBezTo>
                  <a:pt x="489168" y="546104"/>
                  <a:pt x="489168" y="546202"/>
                  <a:pt x="489168" y="546301"/>
                </a:cubicBezTo>
                <a:cubicBezTo>
                  <a:pt x="489168" y="552085"/>
                  <a:pt x="480202" y="552085"/>
                  <a:pt x="476384" y="552085"/>
                </a:cubicBezTo>
                <a:cubicBezTo>
                  <a:pt x="473955" y="552085"/>
                  <a:pt x="471294" y="552085"/>
                  <a:pt x="468691" y="552085"/>
                </a:cubicBezTo>
                <a:lnTo>
                  <a:pt x="465336" y="552085"/>
                </a:lnTo>
                <a:cubicBezTo>
                  <a:pt x="462906" y="551744"/>
                  <a:pt x="460650" y="553184"/>
                  <a:pt x="459898" y="555498"/>
                </a:cubicBezTo>
                <a:cubicBezTo>
                  <a:pt x="458973" y="558968"/>
                  <a:pt x="461460" y="564406"/>
                  <a:pt x="467997" y="568108"/>
                </a:cubicBezTo>
                <a:cubicBezTo>
                  <a:pt x="472740" y="570884"/>
                  <a:pt x="473260" y="573198"/>
                  <a:pt x="472855" y="574644"/>
                </a:cubicBezTo>
                <a:cubicBezTo>
                  <a:pt x="472451" y="576090"/>
                  <a:pt x="469674" y="578057"/>
                  <a:pt x="466204" y="578057"/>
                </a:cubicBezTo>
                <a:cubicBezTo>
                  <a:pt x="463601" y="578121"/>
                  <a:pt x="461055" y="577259"/>
                  <a:pt x="459031" y="575628"/>
                </a:cubicBezTo>
                <a:cubicBezTo>
                  <a:pt x="456890" y="573892"/>
                  <a:pt x="454172" y="573007"/>
                  <a:pt x="451453" y="573140"/>
                </a:cubicBezTo>
                <a:cubicBezTo>
                  <a:pt x="447404" y="573377"/>
                  <a:pt x="443471" y="574419"/>
                  <a:pt x="439884" y="576206"/>
                </a:cubicBezTo>
                <a:lnTo>
                  <a:pt x="439422" y="576495"/>
                </a:lnTo>
                <a:cubicBezTo>
                  <a:pt x="439422" y="577594"/>
                  <a:pt x="444685" y="580487"/>
                  <a:pt x="447404" y="582280"/>
                </a:cubicBezTo>
                <a:cubicBezTo>
                  <a:pt x="452437" y="585114"/>
                  <a:pt x="455502" y="586907"/>
                  <a:pt x="455907" y="588816"/>
                </a:cubicBezTo>
                <a:cubicBezTo>
                  <a:pt x="456254" y="589753"/>
                  <a:pt x="455734" y="590771"/>
                  <a:pt x="454808" y="591095"/>
                </a:cubicBezTo>
                <a:cubicBezTo>
                  <a:pt x="454577" y="591176"/>
                  <a:pt x="454288" y="591211"/>
                  <a:pt x="454056" y="591188"/>
                </a:cubicBezTo>
                <a:cubicBezTo>
                  <a:pt x="452437" y="590962"/>
                  <a:pt x="450875" y="590470"/>
                  <a:pt x="449429" y="589742"/>
                </a:cubicBezTo>
                <a:cubicBezTo>
                  <a:pt x="447578" y="588862"/>
                  <a:pt x="445669" y="588261"/>
                  <a:pt x="443644" y="587948"/>
                </a:cubicBezTo>
                <a:cubicBezTo>
                  <a:pt x="443355" y="587862"/>
                  <a:pt x="443123" y="587862"/>
                  <a:pt x="442834" y="587948"/>
                </a:cubicBezTo>
                <a:cubicBezTo>
                  <a:pt x="442025" y="588833"/>
                  <a:pt x="440810" y="589279"/>
                  <a:pt x="439595" y="589163"/>
                </a:cubicBezTo>
                <a:cubicBezTo>
                  <a:pt x="433348" y="588787"/>
                  <a:pt x="428026" y="584495"/>
                  <a:pt x="426291" y="578462"/>
                </a:cubicBezTo>
                <a:cubicBezTo>
                  <a:pt x="426291" y="578057"/>
                  <a:pt x="426291" y="577074"/>
                  <a:pt x="424209" y="577074"/>
                </a:cubicBezTo>
                <a:cubicBezTo>
                  <a:pt x="421143" y="577074"/>
                  <a:pt x="416804" y="579619"/>
                  <a:pt x="416631" y="581123"/>
                </a:cubicBezTo>
                <a:cubicBezTo>
                  <a:pt x="416631" y="581643"/>
                  <a:pt x="417441" y="582106"/>
                  <a:pt x="418829" y="582453"/>
                </a:cubicBezTo>
                <a:cubicBezTo>
                  <a:pt x="427621" y="584593"/>
                  <a:pt x="427101" y="589799"/>
                  <a:pt x="426522" y="595873"/>
                </a:cubicBezTo>
                <a:cubicBezTo>
                  <a:pt x="426291" y="597695"/>
                  <a:pt x="426175" y="599529"/>
                  <a:pt x="426175" y="601368"/>
                </a:cubicBezTo>
                <a:cubicBezTo>
                  <a:pt x="426175" y="605302"/>
                  <a:pt x="424035" y="606690"/>
                  <a:pt x="422068" y="606690"/>
                </a:cubicBezTo>
                <a:cubicBezTo>
                  <a:pt x="419697" y="606435"/>
                  <a:pt x="417556" y="605117"/>
                  <a:pt x="416284" y="603104"/>
                </a:cubicBezTo>
                <a:cubicBezTo>
                  <a:pt x="414606" y="600929"/>
                  <a:pt x="414028" y="598060"/>
                  <a:pt x="414838" y="595410"/>
                </a:cubicBezTo>
                <a:cubicBezTo>
                  <a:pt x="415243" y="594450"/>
                  <a:pt x="415243" y="593363"/>
                  <a:pt x="414838" y="592402"/>
                </a:cubicBezTo>
                <a:cubicBezTo>
                  <a:pt x="414144" y="591737"/>
                  <a:pt x="413218" y="591419"/>
                  <a:pt x="412293" y="591535"/>
                </a:cubicBezTo>
                <a:cubicBezTo>
                  <a:pt x="408301" y="591928"/>
                  <a:pt x="404483" y="593253"/>
                  <a:pt x="401129" y="595410"/>
                </a:cubicBezTo>
                <a:cubicBezTo>
                  <a:pt x="398642" y="596914"/>
                  <a:pt x="397311" y="596914"/>
                  <a:pt x="396501" y="595873"/>
                </a:cubicBezTo>
                <a:cubicBezTo>
                  <a:pt x="395691" y="594832"/>
                  <a:pt x="396096" y="592807"/>
                  <a:pt x="396906" y="589799"/>
                </a:cubicBezTo>
                <a:cubicBezTo>
                  <a:pt x="398179" y="586416"/>
                  <a:pt x="398410" y="582725"/>
                  <a:pt x="397542" y="579214"/>
                </a:cubicBezTo>
                <a:cubicBezTo>
                  <a:pt x="397138" y="577791"/>
                  <a:pt x="395807" y="576837"/>
                  <a:pt x="394303" y="576900"/>
                </a:cubicBezTo>
                <a:cubicBezTo>
                  <a:pt x="392007" y="577160"/>
                  <a:pt x="389774" y="577831"/>
                  <a:pt x="387709" y="578867"/>
                </a:cubicBezTo>
                <a:cubicBezTo>
                  <a:pt x="385164" y="580012"/>
                  <a:pt x="382509" y="580880"/>
                  <a:pt x="379784" y="581470"/>
                </a:cubicBezTo>
                <a:lnTo>
                  <a:pt x="378280" y="581759"/>
                </a:lnTo>
                <a:cubicBezTo>
                  <a:pt x="374752" y="582395"/>
                  <a:pt x="371108" y="583089"/>
                  <a:pt x="370761" y="584073"/>
                </a:cubicBezTo>
                <a:cubicBezTo>
                  <a:pt x="370413" y="585056"/>
                  <a:pt x="370761" y="585056"/>
                  <a:pt x="372727" y="587254"/>
                </a:cubicBezTo>
                <a:cubicBezTo>
                  <a:pt x="375862" y="590216"/>
                  <a:pt x="377089" y="594676"/>
                  <a:pt x="375908" y="598823"/>
                </a:cubicBezTo>
                <a:cubicBezTo>
                  <a:pt x="374682" y="601276"/>
                  <a:pt x="371906" y="602531"/>
                  <a:pt x="369257" y="601831"/>
                </a:cubicBezTo>
                <a:cubicBezTo>
                  <a:pt x="365381" y="601137"/>
                  <a:pt x="363472" y="601310"/>
                  <a:pt x="362315" y="602409"/>
                </a:cubicBezTo>
                <a:cubicBezTo>
                  <a:pt x="361500" y="603827"/>
                  <a:pt x="361268" y="605510"/>
                  <a:pt x="361679" y="607095"/>
                </a:cubicBezTo>
                <a:cubicBezTo>
                  <a:pt x="361910" y="608686"/>
                  <a:pt x="361471" y="610299"/>
                  <a:pt x="360464" y="611549"/>
                </a:cubicBezTo>
                <a:cubicBezTo>
                  <a:pt x="359261" y="612810"/>
                  <a:pt x="357578" y="613504"/>
                  <a:pt x="355837" y="613458"/>
                </a:cubicBezTo>
                <a:cubicBezTo>
                  <a:pt x="352973" y="613492"/>
                  <a:pt x="350509" y="611427"/>
                  <a:pt x="350052" y="608599"/>
                </a:cubicBezTo>
                <a:cubicBezTo>
                  <a:pt x="349705" y="606285"/>
                  <a:pt x="346119" y="606112"/>
                  <a:pt x="345020" y="606112"/>
                </a:cubicBezTo>
                <a:cubicBezTo>
                  <a:pt x="340543" y="605984"/>
                  <a:pt x="336268" y="607951"/>
                  <a:pt x="333451" y="611433"/>
                </a:cubicBezTo>
                <a:cubicBezTo>
                  <a:pt x="331536" y="614053"/>
                  <a:pt x="329280" y="616408"/>
                  <a:pt x="326741" y="618432"/>
                </a:cubicBezTo>
                <a:cubicBezTo>
                  <a:pt x="322634" y="621961"/>
                  <a:pt x="318816" y="625258"/>
                  <a:pt x="319453" y="629249"/>
                </a:cubicBezTo>
                <a:cubicBezTo>
                  <a:pt x="319453" y="630811"/>
                  <a:pt x="320262" y="630811"/>
                  <a:pt x="320667" y="630811"/>
                </a:cubicBezTo>
                <a:cubicBezTo>
                  <a:pt x="322194" y="630551"/>
                  <a:pt x="323664" y="630019"/>
                  <a:pt x="325006" y="629249"/>
                </a:cubicBezTo>
                <a:cubicBezTo>
                  <a:pt x="327603" y="627797"/>
                  <a:pt x="330483" y="626930"/>
                  <a:pt x="333451" y="626704"/>
                </a:cubicBezTo>
                <a:cubicBezTo>
                  <a:pt x="334336" y="626687"/>
                  <a:pt x="335215" y="626826"/>
                  <a:pt x="336054" y="627109"/>
                </a:cubicBezTo>
                <a:cubicBezTo>
                  <a:pt x="341144" y="628786"/>
                  <a:pt x="340276" y="631621"/>
                  <a:pt x="339640" y="633472"/>
                </a:cubicBezTo>
                <a:cubicBezTo>
                  <a:pt x="339004" y="635323"/>
                  <a:pt x="338888" y="635959"/>
                  <a:pt x="340103" y="637000"/>
                </a:cubicBezTo>
                <a:cubicBezTo>
                  <a:pt x="342515" y="639280"/>
                  <a:pt x="343492" y="642698"/>
                  <a:pt x="342648" y="645908"/>
                </a:cubicBezTo>
                <a:cubicBezTo>
                  <a:pt x="341665" y="648338"/>
                  <a:pt x="339004" y="648627"/>
                  <a:pt x="336169" y="645908"/>
                </a:cubicBezTo>
                <a:cubicBezTo>
                  <a:pt x="334064" y="643664"/>
                  <a:pt x="331241" y="642235"/>
                  <a:pt x="328187" y="641859"/>
                </a:cubicBezTo>
                <a:cubicBezTo>
                  <a:pt x="325815" y="641859"/>
                  <a:pt x="324369" y="643537"/>
                  <a:pt x="323906" y="646892"/>
                </a:cubicBezTo>
                <a:cubicBezTo>
                  <a:pt x="323444" y="650247"/>
                  <a:pt x="322402" y="651172"/>
                  <a:pt x="320783" y="651172"/>
                </a:cubicBezTo>
                <a:cubicBezTo>
                  <a:pt x="319163" y="651172"/>
                  <a:pt x="315866" y="648049"/>
                  <a:pt x="311991" y="642958"/>
                </a:cubicBezTo>
                <a:lnTo>
                  <a:pt x="309792" y="640124"/>
                </a:lnTo>
                <a:cubicBezTo>
                  <a:pt x="309498" y="639655"/>
                  <a:pt x="309011" y="639337"/>
                  <a:pt x="308462" y="639256"/>
                </a:cubicBezTo>
                <a:cubicBezTo>
                  <a:pt x="307247" y="639256"/>
                  <a:pt x="305512" y="641397"/>
                  <a:pt x="304008" y="643305"/>
                </a:cubicBezTo>
                <a:cubicBezTo>
                  <a:pt x="302504" y="645214"/>
                  <a:pt x="299901" y="648454"/>
                  <a:pt x="297414" y="648454"/>
                </a:cubicBezTo>
                <a:cubicBezTo>
                  <a:pt x="296546" y="648436"/>
                  <a:pt x="295713" y="648130"/>
                  <a:pt x="295042" y="647586"/>
                </a:cubicBezTo>
                <a:cubicBezTo>
                  <a:pt x="291630" y="644983"/>
                  <a:pt x="294637" y="640182"/>
                  <a:pt x="297529" y="635612"/>
                </a:cubicBezTo>
                <a:cubicBezTo>
                  <a:pt x="300422" y="631042"/>
                  <a:pt x="302851" y="627167"/>
                  <a:pt x="301232" y="624737"/>
                </a:cubicBezTo>
                <a:cubicBezTo>
                  <a:pt x="300827" y="624101"/>
                  <a:pt x="300248" y="623349"/>
                  <a:pt x="299670" y="623349"/>
                </a:cubicBezTo>
                <a:cubicBezTo>
                  <a:pt x="299091" y="623349"/>
                  <a:pt x="296604" y="625952"/>
                  <a:pt x="294522" y="628671"/>
                </a:cubicBezTo>
                <a:cubicBezTo>
                  <a:pt x="292191" y="631910"/>
                  <a:pt x="289622" y="634964"/>
                  <a:pt x="286828" y="637810"/>
                </a:cubicBezTo>
                <a:cubicBezTo>
                  <a:pt x="282878" y="641512"/>
                  <a:pt x="278239" y="644399"/>
                  <a:pt x="273177" y="646313"/>
                </a:cubicBezTo>
                <a:cubicBezTo>
                  <a:pt x="271442" y="647065"/>
                  <a:pt x="269012" y="648106"/>
                  <a:pt x="268896" y="648685"/>
                </a:cubicBezTo>
                <a:cubicBezTo>
                  <a:pt x="268781" y="649263"/>
                  <a:pt x="268896" y="648974"/>
                  <a:pt x="269475" y="649552"/>
                </a:cubicBezTo>
                <a:cubicBezTo>
                  <a:pt x="270314" y="650247"/>
                  <a:pt x="270771" y="651299"/>
                  <a:pt x="270690" y="652387"/>
                </a:cubicBezTo>
                <a:cubicBezTo>
                  <a:pt x="270690" y="654412"/>
                  <a:pt x="268318" y="655800"/>
                  <a:pt x="265542" y="657651"/>
                </a:cubicBezTo>
                <a:cubicBezTo>
                  <a:pt x="262765" y="659502"/>
                  <a:pt x="259063" y="661931"/>
                  <a:pt x="258080" y="665228"/>
                </a:cubicBezTo>
                <a:cubicBezTo>
                  <a:pt x="256460" y="670261"/>
                  <a:pt x="249114" y="673153"/>
                  <a:pt x="240726" y="676797"/>
                </a:cubicBezTo>
                <a:cubicBezTo>
                  <a:pt x="234954" y="678845"/>
                  <a:pt x="229412" y="681477"/>
                  <a:pt x="224183" y="684664"/>
                </a:cubicBezTo>
                <a:cubicBezTo>
                  <a:pt x="220018" y="687441"/>
                  <a:pt x="220018" y="688597"/>
                  <a:pt x="220018" y="688655"/>
                </a:cubicBezTo>
                <a:cubicBezTo>
                  <a:pt x="220498" y="688748"/>
                  <a:pt x="220984" y="688748"/>
                  <a:pt x="221464" y="688655"/>
                </a:cubicBezTo>
                <a:cubicBezTo>
                  <a:pt x="225508" y="688360"/>
                  <a:pt x="229279" y="686515"/>
                  <a:pt x="231992" y="683507"/>
                </a:cubicBezTo>
                <a:cubicBezTo>
                  <a:pt x="234479" y="680413"/>
                  <a:pt x="238025" y="678353"/>
                  <a:pt x="241941" y="677723"/>
                </a:cubicBezTo>
                <a:cubicBezTo>
                  <a:pt x="245690" y="676913"/>
                  <a:pt x="249259" y="675421"/>
                  <a:pt x="252469" y="673327"/>
                </a:cubicBezTo>
                <a:cubicBezTo>
                  <a:pt x="260162" y="668468"/>
                  <a:pt x="270690" y="662741"/>
                  <a:pt x="276821" y="662741"/>
                </a:cubicBezTo>
                <a:cubicBezTo>
                  <a:pt x="278065" y="662660"/>
                  <a:pt x="279303" y="662984"/>
                  <a:pt x="280350" y="663667"/>
                </a:cubicBezTo>
                <a:cubicBezTo>
                  <a:pt x="282345" y="665107"/>
                  <a:pt x="284717" y="665934"/>
                  <a:pt x="287175" y="666038"/>
                </a:cubicBezTo>
                <a:cubicBezTo>
                  <a:pt x="290357" y="665951"/>
                  <a:pt x="293278" y="664251"/>
                  <a:pt x="294926" y="661526"/>
                </a:cubicBezTo>
                <a:cubicBezTo>
                  <a:pt x="299843" y="654759"/>
                  <a:pt x="306495" y="654296"/>
                  <a:pt x="313552" y="660138"/>
                </a:cubicBezTo>
                <a:cubicBezTo>
                  <a:pt x="314455" y="660792"/>
                  <a:pt x="315022" y="661804"/>
                  <a:pt x="315114" y="662915"/>
                </a:cubicBezTo>
                <a:cubicBezTo>
                  <a:pt x="314912" y="664823"/>
                  <a:pt x="313957" y="666576"/>
                  <a:pt x="312453" y="667774"/>
                </a:cubicBezTo>
                <a:cubicBezTo>
                  <a:pt x="309908" y="670492"/>
                  <a:pt x="308635" y="672170"/>
                  <a:pt x="311181" y="674715"/>
                </a:cubicBezTo>
                <a:cubicBezTo>
                  <a:pt x="312997" y="676034"/>
                  <a:pt x="313708" y="678399"/>
                  <a:pt x="312916" y="680499"/>
                </a:cubicBezTo>
                <a:cubicBezTo>
                  <a:pt x="311597" y="682842"/>
                  <a:pt x="309064" y="684230"/>
                  <a:pt x="306380" y="684086"/>
                </a:cubicBezTo>
                <a:cubicBezTo>
                  <a:pt x="305252" y="684132"/>
                  <a:pt x="304141" y="683831"/>
                  <a:pt x="303198" y="683218"/>
                </a:cubicBezTo>
                <a:cubicBezTo>
                  <a:pt x="302175" y="682547"/>
                  <a:pt x="301579" y="681379"/>
                  <a:pt x="301637" y="680152"/>
                </a:cubicBezTo>
                <a:cubicBezTo>
                  <a:pt x="301480" y="676323"/>
                  <a:pt x="298253" y="673344"/>
                  <a:pt x="294418" y="673494"/>
                </a:cubicBezTo>
                <a:cubicBezTo>
                  <a:pt x="294394" y="673500"/>
                  <a:pt x="294371" y="673500"/>
                  <a:pt x="294348" y="673500"/>
                </a:cubicBezTo>
                <a:cubicBezTo>
                  <a:pt x="293214" y="673500"/>
                  <a:pt x="292179" y="674154"/>
                  <a:pt x="291687" y="675178"/>
                </a:cubicBezTo>
                <a:cubicBezTo>
                  <a:pt x="290299" y="677781"/>
                  <a:pt x="285093" y="686457"/>
                  <a:pt x="277920" y="687036"/>
                </a:cubicBezTo>
                <a:cubicBezTo>
                  <a:pt x="273582" y="687383"/>
                  <a:pt x="268029" y="696233"/>
                  <a:pt x="268029" y="705777"/>
                </a:cubicBezTo>
                <a:cubicBezTo>
                  <a:pt x="268029" y="709768"/>
                  <a:pt x="266525" y="711562"/>
                  <a:pt x="263228" y="711562"/>
                </a:cubicBezTo>
                <a:lnTo>
                  <a:pt x="261840" y="711562"/>
                </a:lnTo>
                <a:cubicBezTo>
                  <a:pt x="259989" y="711562"/>
                  <a:pt x="258253" y="710925"/>
                  <a:pt x="257906" y="714338"/>
                </a:cubicBezTo>
                <a:cubicBezTo>
                  <a:pt x="256923" y="725097"/>
                  <a:pt x="238239" y="743839"/>
                  <a:pt x="232570" y="749334"/>
                </a:cubicBezTo>
                <a:cubicBezTo>
                  <a:pt x="226902" y="754829"/>
                  <a:pt x="227249" y="758473"/>
                  <a:pt x="228348" y="761597"/>
                </a:cubicBezTo>
                <a:cubicBezTo>
                  <a:pt x="229574" y="764015"/>
                  <a:pt x="229574" y="766872"/>
                  <a:pt x="228348" y="769290"/>
                </a:cubicBezTo>
                <a:cubicBezTo>
                  <a:pt x="226387" y="772182"/>
                  <a:pt x="222962" y="773727"/>
                  <a:pt x="219498" y="773282"/>
                </a:cubicBezTo>
                <a:cubicBezTo>
                  <a:pt x="217762" y="773282"/>
                  <a:pt x="216027" y="773282"/>
                  <a:pt x="214291" y="772992"/>
                </a:cubicBezTo>
                <a:cubicBezTo>
                  <a:pt x="211741" y="772448"/>
                  <a:pt x="209091" y="772570"/>
                  <a:pt x="206598" y="773339"/>
                </a:cubicBezTo>
                <a:cubicBezTo>
                  <a:pt x="205152" y="774265"/>
                  <a:pt x="205441" y="778487"/>
                  <a:pt x="205789" y="782652"/>
                </a:cubicBezTo>
                <a:cubicBezTo>
                  <a:pt x="206251" y="788437"/>
                  <a:pt x="206772" y="795031"/>
                  <a:pt x="203070" y="798270"/>
                </a:cubicBezTo>
                <a:cubicBezTo>
                  <a:pt x="199368" y="801510"/>
                  <a:pt x="200756" y="805038"/>
                  <a:pt x="202086" y="809319"/>
                </a:cubicBezTo>
                <a:cubicBezTo>
                  <a:pt x="202879" y="811453"/>
                  <a:pt x="203348" y="813697"/>
                  <a:pt x="203475" y="815971"/>
                </a:cubicBezTo>
                <a:cubicBezTo>
                  <a:pt x="203475" y="817185"/>
                  <a:pt x="203012" y="819210"/>
                  <a:pt x="199715" y="819210"/>
                </a:cubicBezTo>
                <a:cubicBezTo>
                  <a:pt x="197864" y="819083"/>
                  <a:pt x="196024" y="818793"/>
                  <a:pt x="194220" y="818342"/>
                </a:cubicBezTo>
                <a:cubicBezTo>
                  <a:pt x="192444" y="817845"/>
                  <a:pt x="190622" y="817532"/>
                  <a:pt x="188782" y="817417"/>
                </a:cubicBezTo>
                <a:cubicBezTo>
                  <a:pt x="186758" y="817417"/>
                  <a:pt x="186642" y="818226"/>
                  <a:pt x="186526" y="818631"/>
                </a:cubicBezTo>
                <a:cubicBezTo>
                  <a:pt x="185485" y="823606"/>
                  <a:pt x="178312" y="824416"/>
                  <a:pt x="172528" y="824705"/>
                </a:cubicBezTo>
                <a:cubicBezTo>
                  <a:pt x="170573" y="824740"/>
                  <a:pt x="168629" y="825012"/>
                  <a:pt x="166744" y="825515"/>
                </a:cubicBezTo>
                <a:cubicBezTo>
                  <a:pt x="166744" y="826383"/>
                  <a:pt x="168306" y="829506"/>
                  <a:pt x="182420" y="840554"/>
                </a:cubicBezTo>
                <a:cubicBezTo>
                  <a:pt x="185196" y="842753"/>
                  <a:pt x="185080" y="844777"/>
                  <a:pt x="184733" y="845760"/>
                </a:cubicBezTo>
                <a:cubicBezTo>
                  <a:pt x="183443" y="848167"/>
                  <a:pt x="180863" y="849590"/>
                  <a:pt x="178139" y="849405"/>
                </a:cubicBezTo>
                <a:cubicBezTo>
                  <a:pt x="175501" y="849520"/>
                  <a:pt x="173118" y="847825"/>
                  <a:pt x="172354" y="845298"/>
                </a:cubicBezTo>
                <a:cubicBezTo>
                  <a:pt x="172354" y="844256"/>
                  <a:pt x="171660" y="844141"/>
                  <a:pt x="171198" y="844141"/>
                </a:cubicBezTo>
                <a:cubicBezTo>
                  <a:pt x="167848" y="845113"/>
                  <a:pt x="164708" y="846703"/>
                  <a:pt x="161942" y="848826"/>
                </a:cubicBezTo>
                <a:cubicBezTo>
                  <a:pt x="158038" y="851447"/>
                  <a:pt x="153937" y="853766"/>
                  <a:pt x="149679" y="855768"/>
                </a:cubicBezTo>
                <a:cubicBezTo>
                  <a:pt x="145318" y="857699"/>
                  <a:pt x="142021" y="861436"/>
                  <a:pt x="140656" y="866006"/>
                </a:cubicBezTo>
                <a:cubicBezTo>
                  <a:pt x="139210" y="869592"/>
                  <a:pt x="137821" y="873005"/>
                  <a:pt x="132326" y="873236"/>
                </a:cubicBezTo>
                <a:cubicBezTo>
                  <a:pt x="126831" y="873468"/>
                  <a:pt x="126542" y="877922"/>
                  <a:pt x="124922" y="883128"/>
                </a:cubicBezTo>
                <a:cubicBezTo>
                  <a:pt x="124303" y="887096"/>
                  <a:pt x="122441" y="890763"/>
                  <a:pt x="119600" y="893598"/>
                </a:cubicBezTo>
                <a:cubicBezTo>
                  <a:pt x="118808" y="894280"/>
                  <a:pt x="117813" y="894685"/>
                  <a:pt x="116766" y="894755"/>
                </a:cubicBezTo>
                <a:cubicBezTo>
                  <a:pt x="114395" y="894755"/>
                  <a:pt x="113238" y="892267"/>
                  <a:pt x="111965" y="889606"/>
                </a:cubicBezTo>
                <a:cubicBezTo>
                  <a:pt x="110692" y="886946"/>
                  <a:pt x="108494" y="882318"/>
                  <a:pt x="103925" y="882145"/>
                </a:cubicBezTo>
                <a:cubicBezTo>
                  <a:pt x="100512" y="882145"/>
                  <a:pt x="98603" y="882723"/>
                  <a:pt x="97793" y="884227"/>
                </a:cubicBezTo>
                <a:cubicBezTo>
                  <a:pt x="96983" y="885731"/>
                  <a:pt x="97793" y="890648"/>
                  <a:pt x="101669" y="895796"/>
                </a:cubicBezTo>
                <a:cubicBezTo>
                  <a:pt x="102710" y="897242"/>
                  <a:pt x="103751" y="899035"/>
                  <a:pt x="103057" y="900597"/>
                </a:cubicBezTo>
                <a:cubicBezTo>
                  <a:pt x="102363" y="902159"/>
                  <a:pt x="99934" y="902506"/>
                  <a:pt x="97273" y="902737"/>
                </a:cubicBezTo>
                <a:cubicBezTo>
                  <a:pt x="93484" y="902564"/>
                  <a:pt x="89782" y="903894"/>
                  <a:pt x="86976" y="906439"/>
                </a:cubicBezTo>
                <a:cubicBezTo>
                  <a:pt x="82898" y="910199"/>
                  <a:pt x="77542" y="912264"/>
                  <a:pt x="71995" y="912223"/>
                </a:cubicBezTo>
                <a:cubicBezTo>
                  <a:pt x="67136" y="912918"/>
                  <a:pt x="62624" y="913554"/>
                  <a:pt x="60773" y="916041"/>
                </a:cubicBezTo>
                <a:cubicBezTo>
                  <a:pt x="60310" y="916678"/>
                  <a:pt x="60137" y="917140"/>
                  <a:pt x="60252" y="917545"/>
                </a:cubicBezTo>
                <a:cubicBezTo>
                  <a:pt x="60657" y="918818"/>
                  <a:pt x="64012" y="919917"/>
                  <a:pt x="66731" y="920842"/>
                </a:cubicBezTo>
                <a:cubicBezTo>
                  <a:pt x="70375" y="922057"/>
                  <a:pt x="74135" y="923330"/>
                  <a:pt x="75408" y="925817"/>
                </a:cubicBezTo>
                <a:cubicBezTo>
                  <a:pt x="75853" y="926609"/>
                  <a:pt x="75853" y="927570"/>
                  <a:pt x="75408" y="928362"/>
                </a:cubicBezTo>
                <a:cubicBezTo>
                  <a:pt x="74598" y="929635"/>
                  <a:pt x="72573" y="930271"/>
                  <a:pt x="68929" y="930271"/>
                </a:cubicBezTo>
                <a:cubicBezTo>
                  <a:pt x="62792" y="930034"/>
                  <a:pt x="56689" y="929201"/>
                  <a:pt x="50708" y="927784"/>
                </a:cubicBezTo>
                <a:cubicBezTo>
                  <a:pt x="47353" y="927032"/>
                  <a:pt x="46023" y="928825"/>
                  <a:pt x="44287" y="932122"/>
                </a:cubicBezTo>
                <a:cubicBezTo>
                  <a:pt x="42552" y="935419"/>
                  <a:pt x="41048" y="938485"/>
                  <a:pt x="36189" y="937502"/>
                </a:cubicBezTo>
                <a:cubicBezTo>
                  <a:pt x="31255" y="936732"/>
                  <a:pt x="26344" y="939017"/>
                  <a:pt x="23752" y="943286"/>
                </a:cubicBezTo>
                <a:cubicBezTo>
                  <a:pt x="23041" y="944859"/>
                  <a:pt x="23440" y="946716"/>
                  <a:pt x="24736" y="947856"/>
                </a:cubicBezTo>
                <a:cubicBezTo>
                  <a:pt x="26471" y="949649"/>
                  <a:pt x="27107" y="951211"/>
                  <a:pt x="26529" y="952599"/>
                </a:cubicBezTo>
                <a:cubicBezTo>
                  <a:pt x="25950" y="953987"/>
                  <a:pt x="24157" y="954855"/>
                  <a:pt x="21497" y="954855"/>
                </a:cubicBezTo>
                <a:cubicBezTo>
                  <a:pt x="18570" y="954832"/>
                  <a:pt x="15701" y="953987"/>
                  <a:pt x="13225" y="952425"/>
                </a:cubicBezTo>
                <a:cubicBezTo>
                  <a:pt x="12629" y="952015"/>
                  <a:pt x="11923" y="951795"/>
                  <a:pt x="11200" y="951789"/>
                </a:cubicBezTo>
                <a:cubicBezTo>
                  <a:pt x="7614" y="951789"/>
                  <a:pt x="4086" y="958094"/>
                  <a:pt x="2408" y="963936"/>
                </a:cubicBezTo>
                <a:cubicBezTo>
                  <a:pt x="1482" y="967060"/>
                  <a:pt x="4433" y="969721"/>
                  <a:pt x="8193" y="972266"/>
                </a:cubicBezTo>
                <a:cubicBezTo>
                  <a:pt x="10795" y="974117"/>
                  <a:pt x="12878" y="975563"/>
                  <a:pt x="12646" y="977472"/>
                </a:cubicBezTo>
                <a:cubicBezTo>
                  <a:pt x="12062" y="979306"/>
                  <a:pt x="10934" y="980919"/>
                  <a:pt x="9407" y="982099"/>
                </a:cubicBezTo>
                <a:cubicBezTo>
                  <a:pt x="8424" y="983141"/>
                  <a:pt x="6631" y="984934"/>
                  <a:pt x="6804" y="985570"/>
                </a:cubicBezTo>
                <a:cubicBezTo>
                  <a:pt x="6978" y="986206"/>
                  <a:pt x="6804" y="986033"/>
                  <a:pt x="8540" y="986380"/>
                </a:cubicBezTo>
                <a:cubicBezTo>
                  <a:pt x="11952" y="987132"/>
                  <a:pt x="12820" y="988867"/>
                  <a:pt x="12993" y="990256"/>
                </a:cubicBezTo>
                <a:cubicBezTo>
                  <a:pt x="12993" y="993321"/>
                  <a:pt x="9523" y="997023"/>
                  <a:pt x="5879" y="998585"/>
                </a:cubicBezTo>
                <a:cubicBezTo>
                  <a:pt x="4548" y="999025"/>
                  <a:pt x="3519" y="1000083"/>
                  <a:pt x="3102" y="1001419"/>
                </a:cubicBezTo>
                <a:cubicBezTo>
                  <a:pt x="2940" y="1004531"/>
                  <a:pt x="4120" y="1007563"/>
                  <a:pt x="6342" y="1009749"/>
                </a:cubicBezTo>
                <a:cubicBezTo>
                  <a:pt x="9118" y="1013277"/>
                  <a:pt x="6978" y="1015533"/>
                  <a:pt x="5185" y="1017674"/>
                </a:cubicBezTo>
                <a:cubicBezTo>
                  <a:pt x="3391" y="1019814"/>
                  <a:pt x="1309" y="1022012"/>
                  <a:pt x="4375" y="1026408"/>
                </a:cubicBezTo>
                <a:cubicBezTo>
                  <a:pt x="6399" y="1029300"/>
                  <a:pt x="8019" y="1029647"/>
                  <a:pt x="9002" y="1029647"/>
                </a:cubicBezTo>
                <a:cubicBezTo>
                  <a:pt x="10084" y="1029584"/>
                  <a:pt x="11148" y="1029306"/>
                  <a:pt x="12126" y="1028838"/>
                </a:cubicBezTo>
                <a:cubicBezTo>
                  <a:pt x="13046" y="1028381"/>
                  <a:pt x="14052" y="1028109"/>
                  <a:pt x="15076" y="1028028"/>
                </a:cubicBezTo>
                <a:cubicBezTo>
                  <a:pt x="16638" y="1028028"/>
                  <a:pt x="17795" y="1029011"/>
                  <a:pt x="18604" y="1031036"/>
                </a:cubicBezTo>
                <a:cubicBezTo>
                  <a:pt x="19414" y="1033060"/>
                  <a:pt x="20571" y="1033292"/>
                  <a:pt x="21439" y="1033292"/>
                </a:cubicBezTo>
                <a:cubicBezTo>
                  <a:pt x="24909" y="1033292"/>
                  <a:pt x="30867" y="1028201"/>
                  <a:pt x="36189" y="1023342"/>
                </a:cubicBezTo>
                <a:cubicBezTo>
                  <a:pt x="37583" y="1021902"/>
                  <a:pt x="39457" y="1021017"/>
                  <a:pt x="41453" y="1020855"/>
                </a:cubicBezTo>
                <a:cubicBezTo>
                  <a:pt x="44866" y="1020855"/>
                  <a:pt x="47237" y="1024499"/>
                  <a:pt x="47237" y="1027970"/>
                </a:cubicBezTo>
                <a:cubicBezTo>
                  <a:pt x="47237" y="1031441"/>
                  <a:pt x="45271" y="1033754"/>
                  <a:pt x="42321" y="1033754"/>
                </a:cubicBezTo>
                <a:lnTo>
                  <a:pt x="42321" y="1033754"/>
                </a:lnTo>
                <a:cubicBezTo>
                  <a:pt x="38017" y="1033459"/>
                  <a:pt x="33800" y="1035044"/>
                  <a:pt x="30752" y="1038093"/>
                </a:cubicBezTo>
                <a:cubicBezTo>
                  <a:pt x="29404" y="1039695"/>
                  <a:pt x="28924" y="1041858"/>
                  <a:pt x="29479" y="1043877"/>
                </a:cubicBezTo>
                <a:cubicBezTo>
                  <a:pt x="29907" y="1045352"/>
                  <a:pt x="29606" y="1046943"/>
                  <a:pt x="28669" y="1048158"/>
                </a:cubicBezTo>
                <a:cubicBezTo>
                  <a:pt x="25638" y="1050651"/>
                  <a:pt x="21179" y="1050321"/>
                  <a:pt x="18547" y="1047406"/>
                </a:cubicBezTo>
                <a:cubicBezTo>
                  <a:pt x="16973" y="1045745"/>
                  <a:pt x="16175" y="1043495"/>
                  <a:pt x="16348" y="1041216"/>
                </a:cubicBezTo>
                <a:cubicBezTo>
                  <a:pt x="16348" y="1040291"/>
                  <a:pt x="16348" y="1039597"/>
                  <a:pt x="15886" y="1039307"/>
                </a:cubicBezTo>
                <a:cubicBezTo>
                  <a:pt x="15423" y="1039018"/>
                  <a:pt x="15596" y="1038960"/>
                  <a:pt x="14960" y="1038960"/>
                </a:cubicBezTo>
                <a:cubicBezTo>
                  <a:pt x="12114" y="1039493"/>
                  <a:pt x="9708" y="1041401"/>
                  <a:pt x="8540" y="1044051"/>
                </a:cubicBezTo>
                <a:cubicBezTo>
                  <a:pt x="7712" y="1045520"/>
                  <a:pt x="7897" y="1047348"/>
                  <a:pt x="9002" y="1048620"/>
                </a:cubicBezTo>
                <a:cubicBezTo>
                  <a:pt x="12114" y="1051808"/>
                  <a:pt x="12241" y="1056852"/>
                  <a:pt x="9291" y="1060189"/>
                </a:cubicBezTo>
                <a:cubicBezTo>
                  <a:pt x="8094" y="1061890"/>
                  <a:pt x="7394" y="1063897"/>
                  <a:pt x="7267" y="1065974"/>
                </a:cubicBezTo>
                <a:cubicBezTo>
                  <a:pt x="7267" y="1068345"/>
                  <a:pt x="9581" y="1068750"/>
                  <a:pt x="10969" y="1068750"/>
                </a:cubicBezTo>
                <a:cubicBezTo>
                  <a:pt x="14850" y="1068571"/>
                  <a:pt x="18419" y="1066552"/>
                  <a:pt x="20571" y="1063313"/>
                </a:cubicBezTo>
                <a:cubicBezTo>
                  <a:pt x="21861" y="1060397"/>
                  <a:pt x="24539" y="1058327"/>
                  <a:pt x="27686" y="1057818"/>
                </a:cubicBezTo>
                <a:close/>
                <a:moveTo>
                  <a:pt x="309098" y="240188"/>
                </a:moveTo>
                <a:cubicBezTo>
                  <a:pt x="305940" y="240431"/>
                  <a:pt x="302880" y="239032"/>
                  <a:pt x="301000" y="236486"/>
                </a:cubicBezTo>
                <a:cubicBezTo>
                  <a:pt x="297171" y="232958"/>
                  <a:pt x="292578" y="230367"/>
                  <a:pt x="287580" y="228909"/>
                </a:cubicBezTo>
                <a:cubicBezTo>
                  <a:pt x="281796" y="226595"/>
                  <a:pt x="278788" y="225323"/>
                  <a:pt x="278325" y="223529"/>
                </a:cubicBezTo>
                <a:cubicBezTo>
                  <a:pt x="278152" y="222945"/>
                  <a:pt x="278279" y="222315"/>
                  <a:pt x="278672" y="221852"/>
                </a:cubicBezTo>
                <a:cubicBezTo>
                  <a:pt x="280865" y="220007"/>
                  <a:pt x="283375" y="218578"/>
                  <a:pt x="286076" y="217629"/>
                </a:cubicBezTo>
                <a:cubicBezTo>
                  <a:pt x="288656" y="216646"/>
                  <a:pt x="291074" y="215281"/>
                  <a:pt x="293249" y="213580"/>
                </a:cubicBezTo>
                <a:lnTo>
                  <a:pt x="292497" y="213291"/>
                </a:lnTo>
                <a:cubicBezTo>
                  <a:pt x="288934" y="212684"/>
                  <a:pt x="285295" y="212684"/>
                  <a:pt x="281738" y="213291"/>
                </a:cubicBezTo>
                <a:cubicBezTo>
                  <a:pt x="279309" y="213291"/>
                  <a:pt x="276879" y="213696"/>
                  <a:pt x="274623" y="213696"/>
                </a:cubicBezTo>
                <a:cubicBezTo>
                  <a:pt x="271326" y="213696"/>
                  <a:pt x="266814" y="213291"/>
                  <a:pt x="265252" y="209820"/>
                </a:cubicBezTo>
                <a:cubicBezTo>
                  <a:pt x="264211" y="207507"/>
                  <a:pt x="259468" y="205135"/>
                  <a:pt x="254435" y="202879"/>
                </a:cubicBezTo>
                <a:cubicBezTo>
                  <a:pt x="246280" y="199061"/>
                  <a:pt x="237082" y="194723"/>
                  <a:pt x="237892" y="187377"/>
                </a:cubicBezTo>
                <a:cubicBezTo>
                  <a:pt x="238586" y="181130"/>
                  <a:pt x="245990" y="181130"/>
                  <a:pt x="248420" y="181130"/>
                </a:cubicBezTo>
                <a:cubicBezTo>
                  <a:pt x="251341" y="181216"/>
                  <a:pt x="254256" y="181448"/>
                  <a:pt x="257154" y="181824"/>
                </a:cubicBezTo>
                <a:cubicBezTo>
                  <a:pt x="259069" y="182113"/>
                  <a:pt x="261001" y="182286"/>
                  <a:pt x="262939" y="182344"/>
                </a:cubicBezTo>
                <a:cubicBezTo>
                  <a:pt x="264385" y="182344"/>
                  <a:pt x="264674" y="182344"/>
                  <a:pt x="264674" y="182344"/>
                </a:cubicBezTo>
                <a:cubicBezTo>
                  <a:pt x="264402" y="180395"/>
                  <a:pt x="265038" y="178434"/>
                  <a:pt x="266409" y="177023"/>
                </a:cubicBezTo>
                <a:cubicBezTo>
                  <a:pt x="268896" y="174246"/>
                  <a:pt x="274855" y="170891"/>
                  <a:pt x="289547" y="170891"/>
                </a:cubicBezTo>
                <a:cubicBezTo>
                  <a:pt x="298553" y="171296"/>
                  <a:pt x="307565" y="170197"/>
                  <a:pt x="316213" y="167652"/>
                </a:cubicBezTo>
                <a:cubicBezTo>
                  <a:pt x="315542" y="167386"/>
                  <a:pt x="314843" y="167189"/>
                  <a:pt x="314131" y="167073"/>
                </a:cubicBezTo>
                <a:cubicBezTo>
                  <a:pt x="309266" y="166177"/>
                  <a:pt x="304326" y="165789"/>
                  <a:pt x="299381" y="165916"/>
                </a:cubicBezTo>
                <a:cubicBezTo>
                  <a:pt x="286210" y="165969"/>
                  <a:pt x="273067" y="167172"/>
                  <a:pt x="260104" y="169503"/>
                </a:cubicBezTo>
                <a:cubicBezTo>
                  <a:pt x="255211" y="170486"/>
                  <a:pt x="250230" y="171007"/>
                  <a:pt x="245238" y="171065"/>
                </a:cubicBezTo>
                <a:cubicBezTo>
                  <a:pt x="239801" y="171065"/>
                  <a:pt x="232975" y="170255"/>
                  <a:pt x="231240" y="166379"/>
                </a:cubicBezTo>
                <a:cubicBezTo>
                  <a:pt x="230257" y="164123"/>
                  <a:pt x="231240" y="161231"/>
                  <a:pt x="234248" y="157934"/>
                </a:cubicBezTo>
                <a:cubicBezTo>
                  <a:pt x="240032" y="151398"/>
                  <a:pt x="249288" y="150588"/>
                  <a:pt x="258138" y="149778"/>
                </a:cubicBezTo>
                <a:cubicBezTo>
                  <a:pt x="266062" y="149084"/>
                  <a:pt x="273582" y="148390"/>
                  <a:pt x="277111" y="143473"/>
                </a:cubicBezTo>
                <a:cubicBezTo>
                  <a:pt x="281333" y="137688"/>
                  <a:pt x="289316" y="136184"/>
                  <a:pt x="296373" y="134970"/>
                </a:cubicBezTo>
                <a:cubicBezTo>
                  <a:pt x="303430" y="133755"/>
                  <a:pt x="308635" y="132830"/>
                  <a:pt x="309677" y="128723"/>
                </a:cubicBezTo>
                <a:cubicBezTo>
                  <a:pt x="310984" y="125067"/>
                  <a:pt x="310840" y="121052"/>
                  <a:pt x="309272" y="117501"/>
                </a:cubicBezTo>
                <a:cubicBezTo>
                  <a:pt x="308873" y="116945"/>
                  <a:pt x="308225" y="116622"/>
                  <a:pt x="307537" y="116633"/>
                </a:cubicBezTo>
                <a:cubicBezTo>
                  <a:pt x="306380" y="116633"/>
                  <a:pt x="304182" y="117327"/>
                  <a:pt x="300595" y="120740"/>
                </a:cubicBezTo>
                <a:cubicBezTo>
                  <a:pt x="294938" y="125946"/>
                  <a:pt x="287627" y="128994"/>
                  <a:pt x="279945" y="129359"/>
                </a:cubicBezTo>
                <a:cubicBezTo>
                  <a:pt x="276706" y="129359"/>
                  <a:pt x="274623" y="128491"/>
                  <a:pt x="273871" y="126814"/>
                </a:cubicBezTo>
                <a:cubicBezTo>
                  <a:pt x="273119" y="125136"/>
                  <a:pt x="273871" y="123574"/>
                  <a:pt x="275375" y="121608"/>
                </a:cubicBezTo>
                <a:cubicBezTo>
                  <a:pt x="278909" y="118206"/>
                  <a:pt x="280419" y="113209"/>
                  <a:pt x="279366" y="108419"/>
                </a:cubicBezTo>
                <a:cubicBezTo>
                  <a:pt x="278557" y="106568"/>
                  <a:pt x="276706" y="106105"/>
                  <a:pt x="274218" y="107031"/>
                </a:cubicBezTo>
                <a:cubicBezTo>
                  <a:pt x="271644" y="107956"/>
                  <a:pt x="269718" y="110143"/>
                  <a:pt x="269128" y="112815"/>
                </a:cubicBezTo>
                <a:cubicBezTo>
                  <a:pt x="268532" y="116859"/>
                  <a:pt x="264766" y="119658"/>
                  <a:pt x="260723" y="119063"/>
                </a:cubicBezTo>
                <a:cubicBezTo>
                  <a:pt x="260613" y="119045"/>
                  <a:pt x="260503" y="119028"/>
                  <a:pt x="260394" y="119005"/>
                </a:cubicBezTo>
                <a:lnTo>
                  <a:pt x="259642" y="119005"/>
                </a:lnTo>
                <a:cubicBezTo>
                  <a:pt x="255130" y="119005"/>
                  <a:pt x="253857" y="123459"/>
                  <a:pt x="251890" y="128665"/>
                </a:cubicBezTo>
                <a:cubicBezTo>
                  <a:pt x="251005" y="133188"/>
                  <a:pt x="248599" y="137272"/>
                  <a:pt x="245065" y="140234"/>
                </a:cubicBezTo>
                <a:cubicBezTo>
                  <a:pt x="239315" y="143056"/>
                  <a:pt x="232958" y="144410"/>
                  <a:pt x="226555" y="144167"/>
                </a:cubicBezTo>
                <a:cubicBezTo>
                  <a:pt x="218792" y="144682"/>
                  <a:pt x="211098" y="142362"/>
                  <a:pt x="204921" y="137631"/>
                </a:cubicBezTo>
                <a:cubicBezTo>
                  <a:pt x="201924" y="135033"/>
                  <a:pt x="198778" y="132621"/>
                  <a:pt x="195492" y="130400"/>
                </a:cubicBezTo>
                <a:cubicBezTo>
                  <a:pt x="185659" y="123343"/>
                  <a:pt x="174495" y="115360"/>
                  <a:pt x="177387" y="106221"/>
                </a:cubicBezTo>
                <a:cubicBezTo>
                  <a:pt x="180082" y="100362"/>
                  <a:pt x="184033" y="95167"/>
                  <a:pt x="188956" y="91008"/>
                </a:cubicBezTo>
                <a:cubicBezTo>
                  <a:pt x="192484" y="87595"/>
                  <a:pt x="196418" y="83662"/>
                  <a:pt x="195955" y="82158"/>
                </a:cubicBezTo>
                <a:cubicBezTo>
                  <a:pt x="195955" y="81695"/>
                  <a:pt x="195030" y="81290"/>
                  <a:pt x="193815" y="81001"/>
                </a:cubicBezTo>
                <a:cubicBezTo>
                  <a:pt x="189563" y="80770"/>
                  <a:pt x="185398" y="82245"/>
                  <a:pt x="182246" y="85108"/>
                </a:cubicBezTo>
                <a:cubicBezTo>
                  <a:pt x="179712" y="87295"/>
                  <a:pt x="176595" y="88700"/>
                  <a:pt x="173280" y="89157"/>
                </a:cubicBezTo>
                <a:lnTo>
                  <a:pt x="173280" y="89157"/>
                </a:lnTo>
                <a:cubicBezTo>
                  <a:pt x="170099" y="89157"/>
                  <a:pt x="167496" y="87075"/>
                  <a:pt x="164603" y="82910"/>
                </a:cubicBezTo>
                <a:cubicBezTo>
                  <a:pt x="157893" y="72382"/>
                  <a:pt x="157199" y="61681"/>
                  <a:pt x="159976" y="56591"/>
                </a:cubicBezTo>
                <a:cubicBezTo>
                  <a:pt x="160913" y="54329"/>
                  <a:pt x="163446" y="53189"/>
                  <a:pt x="165760" y="53988"/>
                </a:cubicBezTo>
                <a:cubicBezTo>
                  <a:pt x="168132" y="54913"/>
                  <a:pt x="171024" y="52484"/>
                  <a:pt x="174205" y="49881"/>
                </a:cubicBezTo>
                <a:cubicBezTo>
                  <a:pt x="177323" y="46740"/>
                  <a:pt x="181390" y="44710"/>
                  <a:pt x="185774" y="44096"/>
                </a:cubicBezTo>
                <a:cubicBezTo>
                  <a:pt x="186353" y="44038"/>
                  <a:pt x="186931" y="44038"/>
                  <a:pt x="187510" y="44096"/>
                </a:cubicBezTo>
                <a:cubicBezTo>
                  <a:pt x="190107" y="44773"/>
                  <a:pt x="192640" y="45664"/>
                  <a:pt x="195087" y="46757"/>
                </a:cubicBezTo>
                <a:cubicBezTo>
                  <a:pt x="197170" y="47868"/>
                  <a:pt x="199449" y="48556"/>
                  <a:pt x="201797" y="48782"/>
                </a:cubicBezTo>
                <a:cubicBezTo>
                  <a:pt x="203515" y="48712"/>
                  <a:pt x="205083" y="47775"/>
                  <a:pt x="205962" y="46294"/>
                </a:cubicBezTo>
                <a:cubicBezTo>
                  <a:pt x="207697" y="43998"/>
                  <a:pt x="210497" y="42754"/>
                  <a:pt x="213366" y="42997"/>
                </a:cubicBezTo>
                <a:cubicBezTo>
                  <a:pt x="214992" y="43026"/>
                  <a:pt x="216617" y="43159"/>
                  <a:pt x="218225" y="43402"/>
                </a:cubicBezTo>
                <a:cubicBezTo>
                  <a:pt x="219925" y="43674"/>
                  <a:pt x="221649" y="43830"/>
                  <a:pt x="223373" y="43865"/>
                </a:cubicBezTo>
                <a:cubicBezTo>
                  <a:pt x="225403" y="43900"/>
                  <a:pt x="227399" y="43379"/>
                  <a:pt x="229157" y="42361"/>
                </a:cubicBezTo>
                <a:cubicBezTo>
                  <a:pt x="231610" y="40996"/>
                  <a:pt x="234393" y="40319"/>
                  <a:pt x="237198" y="40394"/>
                </a:cubicBezTo>
                <a:cubicBezTo>
                  <a:pt x="242404" y="40394"/>
                  <a:pt x="248767" y="42303"/>
                  <a:pt x="249172" y="45485"/>
                </a:cubicBezTo>
                <a:cubicBezTo>
                  <a:pt x="249172" y="46642"/>
                  <a:pt x="249172" y="48319"/>
                  <a:pt x="245990" y="49765"/>
                </a:cubicBezTo>
                <a:cubicBezTo>
                  <a:pt x="240721" y="51952"/>
                  <a:pt x="235312" y="53768"/>
                  <a:pt x="229794" y="55202"/>
                </a:cubicBezTo>
                <a:lnTo>
                  <a:pt x="224877" y="56591"/>
                </a:lnTo>
                <a:cubicBezTo>
                  <a:pt x="231876" y="58731"/>
                  <a:pt x="244197" y="66540"/>
                  <a:pt x="244197" y="73597"/>
                </a:cubicBezTo>
                <a:cubicBezTo>
                  <a:pt x="244145" y="74424"/>
                  <a:pt x="244388" y="75245"/>
                  <a:pt x="244891" y="75911"/>
                </a:cubicBezTo>
                <a:cubicBezTo>
                  <a:pt x="245238" y="76321"/>
                  <a:pt x="245747" y="76553"/>
                  <a:pt x="246280" y="76547"/>
                </a:cubicBezTo>
                <a:cubicBezTo>
                  <a:pt x="247321" y="76483"/>
                  <a:pt x="248269" y="75922"/>
                  <a:pt x="248825" y="75043"/>
                </a:cubicBezTo>
                <a:cubicBezTo>
                  <a:pt x="249912" y="73302"/>
                  <a:pt x="250080" y="71150"/>
                  <a:pt x="249288" y="69259"/>
                </a:cubicBezTo>
                <a:cubicBezTo>
                  <a:pt x="247205" y="63069"/>
                  <a:pt x="250676" y="59194"/>
                  <a:pt x="254320" y="55145"/>
                </a:cubicBezTo>
                <a:cubicBezTo>
                  <a:pt x="256697" y="52663"/>
                  <a:pt x="258647" y="49811"/>
                  <a:pt x="260104" y="46699"/>
                </a:cubicBezTo>
                <a:cubicBezTo>
                  <a:pt x="260845" y="44148"/>
                  <a:pt x="263234" y="42430"/>
                  <a:pt x="265889" y="42535"/>
                </a:cubicBezTo>
                <a:cubicBezTo>
                  <a:pt x="272020" y="42535"/>
                  <a:pt x="280234" y="51038"/>
                  <a:pt x="281159" y="60929"/>
                </a:cubicBezTo>
                <a:cubicBezTo>
                  <a:pt x="282258" y="71862"/>
                  <a:pt x="304297" y="94190"/>
                  <a:pt x="309272" y="94999"/>
                </a:cubicBezTo>
                <a:cubicBezTo>
                  <a:pt x="309966" y="89620"/>
                  <a:pt x="301289" y="60987"/>
                  <a:pt x="292786" y="55318"/>
                </a:cubicBezTo>
                <a:cubicBezTo>
                  <a:pt x="288217" y="52310"/>
                  <a:pt x="287696" y="49534"/>
                  <a:pt x="288043" y="47567"/>
                </a:cubicBezTo>
                <a:cubicBezTo>
                  <a:pt x="289437" y="43801"/>
                  <a:pt x="292798" y="41106"/>
                  <a:pt x="296777" y="40568"/>
                </a:cubicBezTo>
                <a:cubicBezTo>
                  <a:pt x="298455" y="40163"/>
                  <a:pt x="298744" y="37676"/>
                  <a:pt x="298976" y="34147"/>
                </a:cubicBezTo>
                <a:cubicBezTo>
                  <a:pt x="299207" y="30619"/>
                  <a:pt x="299438" y="27032"/>
                  <a:pt x="302678" y="27032"/>
                </a:cubicBezTo>
                <a:cubicBezTo>
                  <a:pt x="303117" y="26957"/>
                  <a:pt x="303568" y="26957"/>
                  <a:pt x="304008" y="27032"/>
                </a:cubicBezTo>
                <a:cubicBezTo>
                  <a:pt x="307132" y="27958"/>
                  <a:pt x="309792" y="32007"/>
                  <a:pt x="312164" y="35940"/>
                </a:cubicBezTo>
                <a:cubicBezTo>
                  <a:pt x="313495" y="37965"/>
                  <a:pt x="315693" y="41435"/>
                  <a:pt x="316560" y="41435"/>
                </a:cubicBezTo>
                <a:cubicBezTo>
                  <a:pt x="317428" y="41435"/>
                  <a:pt x="316560" y="41435"/>
                  <a:pt x="317197" y="40394"/>
                </a:cubicBezTo>
                <a:cubicBezTo>
                  <a:pt x="317833" y="39353"/>
                  <a:pt x="319568" y="37097"/>
                  <a:pt x="324369" y="37097"/>
                </a:cubicBezTo>
                <a:cubicBezTo>
                  <a:pt x="331773" y="37097"/>
                  <a:pt x="343689" y="41493"/>
                  <a:pt x="347102" y="46584"/>
                </a:cubicBezTo>
                <a:cubicBezTo>
                  <a:pt x="348085" y="47810"/>
                  <a:pt x="348328" y="49464"/>
                  <a:pt x="347738" y="50922"/>
                </a:cubicBezTo>
                <a:cubicBezTo>
                  <a:pt x="346495" y="53681"/>
                  <a:pt x="345020" y="56330"/>
                  <a:pt x="343342" y="58847"/>
                </a:cubicBezTo>
                <a:cubicBezTo>
                  <a:pt x="341144" y="62433"/>
                  <a:pt x="338368" y="66945"/>
                  <a:pt x="339004" y="68391"/>
                </a:cubicBezTo>
                <a:cubicBezTo>
                  <a:pt x="339004" y="68391"/>
                  <a:pt x="339004" y="68680"/>
                  <a:pt x="339698" y="68796"/>
                </a:cubicBezTo>
                <a:cubicBezTo>
                  <a:pt x="341376" y="69143"/>
                  <a:pt x="344326" y="66656"/>
                  <a:pt x="347218" y="64284"/>
                </a:cubicBezTo>
                <a:cubicBezTo>
                  <a:pt x="350272" y="60952"/>
                  <a:pt x="354338" y="58714"/>
                  <a:pt x="358787" y="57921"/>
                </a:cubicBezTo>
                <a:cubicBezTo>
                  <a:pt x="360216" y="57933"/>
                  <a:pt x="361598" y="58424"/>
                  <a:pt x="362720" y="59309"/>
                </a:cubicBezTo>
                <a:cubicBezTo>
                  <a:pt x="366168" y="62774"/>
                  <a:pt x="368221" y="67384"/>
                  <a:pt x="368505" y="72267"/>
                </a:cubicBezTo>
                <a:cubicBezTo>
                  <a:pt x="369488" y="77241"/>
                  <a:pt x="370182" y="80307"/>
                  <a:pt x="372612" y="80307"/>
                </a:cubicBezTo>
                <a:lnTo>
                  <a:pt x="373768" y="80307"/>
                </a:lnTo>
                <a:cubicBezTo>
                  <a:pt x="376660" y="80307"/>
                  <a:pt x="380652" y="79728"/>
                  <a:pt x="384643" y="79728"/>
                </a:cubicBezTo>
                <a:cubicBezTo>
                  <a:pt x="388634" y="79728"/>
                  <a:pt x="399567" y="79728"/>
                  <a:pt x="399567" y="86381"/>
                </a:cubicBezTo>
                <a:cubicBezTo>
                  <a:pt x="399451" y="87879"/>
                  <a:pt x="399972" y="89348"/>
                  <a:pt x="400955" y="90488"/>
                </a:cubicBezTo>
                <a:cubicBezTo>
                  <a:pt x="403095" y="92269"/>
                  <a:pt x="406277" y="91980"/>
                  <a:pt x="408070" y="89840"/>
                </a:cubicBezTo>
                <a:cubicBezTo>
                  <a:pt x="408186" y="89678"/>
                  <a:pt x="408301" y="89510"/>
                  <a:pt x="408417" y="89331"/>
                </a:cubicBezTo>
                <a:cubicBezTo>
                  <a:pt x="409979" y="87578"/>
                  <a:pt x="412293" y="86676"/>
                  <a:pt x="414606" y="86901"/>
                </a:cubicBezTo>
                <a:cubicBezTo>
                  <a:pt x="418945" y="86901"/>
                  <a:pt x="424671" y="88926"/>
                  <a:pt x="425308" y="91413"/>
                </a:cubicBezTo>
                <a:cubicBezTo>
                  <a:pt x="425481" y="92327"/>
                  <a:pt x="425076" y="93252"/>
                  <a:pt x="424266" y="93727"/>
                </a:cubicBezTo>
                <a:cubicBezTo>
                  <a:pt x="426002" y="94490"/>
                  <a:pt x="427795" y="95144"/>
                  <a:pt x="429588" y="95693"/>
                </a:cubicBezTo>
                <a:cubicBezTo>
                  <a:pt x="436124" y="97892"/>
                  <a:pt x="444165" y="100610"/>
                  <a:pt x="443760" y="105238"/>
                </a:cubicBezTo>
                <a:cubicBezTo>
                  <a:pt x="443760" y="106105"/>
                  <a:pt x="443760" y="107089"/>
                  <a:pt x="443760" y="108014"/>
                </a:cubicBezTo>
                <a:cubicBezTo>
                  <a:pt x="443239" y="112063"/>
                  <a:pt x="442719" y="116633"/>
                  <a:pt x="444512" y="118658"/>
                </a:cubicBezTo>
                <a:cubicBezTo>
                  <a:pt x="445495" y="119600"/>
                  <a:pt x="446941" y="120011"/>
                  <a:pt x="448272" y="119757"/>
                </a:cubicBezTo>
                <a:lnTo>
                  <a:pt x="449024" y="119757"/>
                </a:lnTo>
                <a:cubicBezTo>
                  <a:pt x="456023" y="119757"/>
                  <a:pt x="466377" y="126582"/>
                  <a:pt x="467303" y="131846"/>
                </a:cubicBezTo>
                <a:cubicBezTo>
                  <a:pt x="467765" y="134218"/>
                  <a:pt x="466319" y="136537"/>
                  <a:pt x="463948" y="137110"/>
                </a:cubicBezTo>
                <a:cubicBezTo>
                  <a:pt x="462444" y="137688"/>
                  <a:pt x="462270" y="138151"/>
                  <a:pt x="462270" y="138151"/>
                </a:cubicBezTo>
                <a:cubicBezTo>
                  <a:pt x="462270" y="139655"/>
                  <a:pt x="471641" y="142952"/>
                  <a:pt x="481359" y="142952"/>
                </a:cubicBezTo>
                <a:cubicBezTo>
                  <a:pt x="482458" y="143010"/>
                  <a:pt x="483499" y="143010"/>
                  <a:pt x="484598" y="142952"/>
                </a:cubicBezTo>
                <a:lnTo>
                  <a:pt x="487548" y="142952"/>
                </a:lnTo>
                <a:cubicBezTo>
                  <a:pt x="492638" y="142952"/>
                  <a:pt x="494374" y="144745"/>
                  <a:pt x="495010" y="146307"/>
                </a:cubicBezTo>
                <a:cubicBezTo>
                  <a:pt x="495993" y="148910"/>
                  <a:pt x="494316" y="152092"/>
                  <a:pt x="490325" y="155967"/>
                </a:cubicBezTo>
                <a:cubicBezTo>
                  <a:pt x="489688" y="156546"/>
                  <a:pt x="488994" y="157356"/>
                  <a:pt x="489283" y="158050"/>
                </a:cubicBezTo>
                <a:cubicBezTo>
                  <a:pt x="489862" y="159611"/>
                  <a:pt x="494605" y="161173"/>
                  <a:pt x="501488" y="161173"/>
                </a:cubicBezTo>
                <a:cubicBezTo>
                  <a:pt x="504901" y="161272"/>
                  <a:pt x="508314" y="160739"/>
                  <a:pt x="511553" y="159611"/>
                </a:cubicBezTo>
                <a:cubicBezTo>
                  <a:pt x="514503" y="158345"/>
                  <a:pt x="517627" y="157674"/>
                  <a:pt x="520809" y="157645"/>
                </a:cubicBezTo>
                <a:cubicBezTo>
                  <a:pt x="527518" y="157645"/>
                  <a:pt x="532088" y="160653"/>
                  <a:pt x="532377" y="165338"/>
                </a:cubicBezTo>
                <a:cubicBezTo>
                  <a:pt x="532724" y="169098"/>
                  <a:pt x="529080" y="170428"/>
                  <a:pt x="524453" y="172106"/>
                </a:cubicBezTo>
                <a:cubicBezTo>
                  <a:pt x="518321" y="173858"/>
                  <a:pt x="512826" y="177260"/>
                  <a:pt x="508488" y="181939"/>
                </a:cubicBezTo>
                <a:cubicBezTo>
                  <a:pt x="500736" y="191137"/>
                  <a:pt x="487432" y="200681"/>
                  <a:pt x="478467" y="200681"/>
                </a:cubicBezTo>
                <a:cubicBezTo>
                  <a:pt x="476153" y="200762"/>
                  <a:pt x="473955" y="199929"/>
                  <a:pt x="472277" y="198367"/>
                </a:cubicBezTo>
                <a:cubicBezTo>
                  <a:pt x="470079" y="195417"/>
                  <a:pt x="469327" y="191622"/>
                  <a:pt x="470310" y="188071"/>
                </a:cubicBezTo>
                <a:cubicBezTo>
                  <a:pt x="470310" y="185873"/>
                  <a:pt x="470773" y="183848"/>
                  <a:pt x="470310" y="182923"/>
                </a:cubicBezTo>
                <a:cubicBezTo>
                  <a:pt x="469848" y="181997"/>
                  <a:pt x="465220" y="182286"/>
                  <a:pt x="458741" y="184716"/>
                </a:cubicBezTo>
                <a:cubicBezTo>
                  <a:pt x="451453" y="187643"/>
                  <a:pt x="443760" y="189361"/>
                  <a:pt x="435951" y="189806"/>
                </a:cubicBezTo>
                <a:cubicBezTo>
                  <a:pt x="430166" y="189806"/>
                  <a:pt x="428315" y="188013"/>
                  <a:pt x="427679" y="186451"/>
                </a:cubicBezTo>
                <a:cubicBezTo>
                  <a:pt x="427043" y="184889"/>
                  <a:pt x="427679" y="181072"/>
                  <a:pt x="431439" y="177427"/>
                </a:cubicBezTo>
                <a:cubicBezTo>
                  <a:pt x="438438" y="170023"/>
                  <a:pt x="442256" y="161462"/>
                  <a:pt x="440752" y="156661"/>
                </a:cubicBezTo>
                <a:cubicBezTo>
                  <a:pt x="440231" y="154868"/>
                  <a:pt x="438728" y="153538"/>
                  <a:pt x="436877" y="153249"/>
                </a:cubicBezTo>
                <a:cubicBezTo>
                  <a:pt x="432364" y="152265"/>
                  <a:pt x="432017" y="150530"/>
                  <a:pt x="432017" y="148505"/>
                </a:cubicBezTo>
                <a:cubicBezTo>
                  <a:pt x="432017" y="146481"/>
                  <a:pt x="432017" y="145440"/>
                  <a:pt x="427043" y="143531"/>
                </a:cubicBezTo>
                <a:cubicBezTo>
                  <a:pt x="419928" y="141090"/>
                  <a:pt x="415069" y="134547"/>
                  <a:pt x="414722" y="127045"/>
                </a:cubicBezTo>
                <a:cubicBezTo>
                  <a:pt x="415069" y="124905"/>
                  <a:pt x="416573" y="121261"/>
                  <a:pt x="423110" y="120682"/>
                </a:cubicBezTo>
                <a:cubicBezTo>
                  <a:pt x="428894" y="120277"/>
                  <a:pt x="430745" y="118368"/>
                  <a:pt x="430687" y="117212"/>
                </a:cubicBezTo>
                <a:cubicBezTo>
                  <a:pt x="430629" y="116055"/>
                  <a:pt x="428778" y="114840"/>
                  <a:pt x="425770" y="114840"/>
                </a:cubicBezTo>
                <a:cubicBezTo>
                  <a:pt x="423110" y="114933"/>
                  <a:pt x="420564" y="115603"/>
                  <a:pt x="418193" y="116807"/>
                </a:cubicBezTo>
                <a:cubicBezTo>
                  <a:pt x="413276" y="119086"/>
                  <a:pt x="407896" y="120214"/>
                  <a:pt x="402459" y="120104"/>
                </a:cubicBezTo>
                <a:cubicBezTo>
                  <a:pt x="396270" y="119647"/>
                  <a:pt x="390190" y="121908"/>
                  <a:pt x="385800" y="126293"/>
                </a:cubicBezTo>
                <a:cubicBezTo>
                  <a:pt x="373942" y="137515"/>
                  <a:pt x="372612" y="140581"/>
                  <a:pt x="376313" y="147985"/>
                </a:cubicBezTo>
                <a:cubicBezTo>
                  <a:pt x="377181" y="149257"/>
                  <a:pt x="377395" y="150865"/>
                  <a:pt x="376892" y="152323"/>
                </a:cubicBezTo>
                <a:cubicBezTo>
                  <a:pt x="376024" y="153827"/>
                  <a:pt x="374115" y="153943"/>
                  <a:pt x="371917" y="154058"/>
                </a:cubicBezTo>
                <a:cubicBezTo>
                  <a:pt x="368562" y="154058"/>
                  <a:pt x="364802" y="154521"/>
                  <a:pt x="363703" y="159033"/>
                </a:cubicBezTo>
                <a:cubicBezTo>
                  <a:pt x="363119" y="161781"/>
                  <a:pt x="363119" y="164615"/>
                  <a:pt x="363703" y="167363"/>
                </a:cubicBezTo>
                <a:cubicBezTo>
                  <a:pt x="364802" y="173147"/>
                  <a:pt x="365670" y="178006"/>
                  <a:pt x="352424" y="182865"/>
                </a:cubicBezTo>
                <a:cubicBezTo>
                  <a:pt x="335070" y="189285"/>
                  <a:pt x="320956" y="220811"/>
                  <a:pt x="321708" y="230818"/>
                </a:cubicBezTo>
                <a:cubicBezTo>
                  <a:pt x="321790" y="232964"/>
                  <a:pt x="320997" y="235052"/>
                  <a:pt x="319510" y="236602"/>
                </a:cubicBezTo>
                <a:cubicBezTo>
                  <a:pt x="316676" y="239176"/>
                  <a:pt x="312916" y="240472"/>
                  <a:pt x="309098" y="240188"/>
                </a:cubicBezTo>
                <a:close/>
                <a:moveTo>
                  <a:pt x="280581" y="222835"/>
                </a:moveTo>
                <a:cubicBezTo>
                  <a:pt x="283028" y="224397"/>
                  <a:pt x="285648" y="225658"/>
                  <a:pt x="288390" y="226595"/>
                </a:cubicBezTo>
                <a:cubicBezTo>
                  <a:pt x="293880" y="228145"/>
                  <a:pt x="298895" y="231049"/>
                  <a:pt x="302967" y="235040"/>
                </a:cubicBezTo>
                <a:cubicBezTo>
                  <a:pt x="304413" y="236926"/>
                  <a:pt x="306733" y="237933"/>
                  <a:pt x="309098" y="237701"/>
                </a:cubicBezTo>
                <a:cubicBezTo>
                  <a:pt x="312216" y="237794"/>
                  <a:pt x="315241" y="236631"/>
                  <a:pt x="317486" y="234462"/>
                </a:cubicBezTo>
                <a:cubicBezTo>
                  <a:pt x="318556" y="233322"/>
                  <a:pt x="319117" y="231801"/>
                  <a:pt x="319048" y="230239"/>
                </a:cubicBezTo>
                <a:cubicBezTo>
                  <a:pt x="318296" y="220001"/>
                  <a:pt x="332236" y="187030"/>
                  <a:pt x="351267" y="180088"/>
                </a:cubicBezTo>
                <a:cubicBezTo>
                  <a:pt x="362836" y="175866"/>
                  <a:pt x="362084" y="172337"/>
                  <a:pt x="361100" y="167073"/>
                </a:cubicBezTo>
                <a:cubicBezTo>
                  <a:pt x="360423" y="164042"/>
                  <a:pt x="360423" y="160907"/>
                  <a:pt x="361100" y="157876"/>
                </a:cubicBezTo>
                <a:cubicBezTo>
                  <a:pt x="362546" y="151687"/>
                  <a:pt x="367868" y="151340"/>
                  <a:pt x="371339" y="151108"/>
                </a:cubicBezTo>
                <a:cubicBezTo>
                  <a:pt x="372612" y="151108"/>
                  <a:pt x="374289" y="151108"/>
                  <a:pt x="374520" y="150530"/>
                </a:cubicBezTo>
                <a:cubicBezTo>
                  <a:pt x="374752" y="149951"/>
                  <a:pt x="374520" y="150009"/>
                  <a:pt x="373884" y="148332"/>
                </a:cubicBezTo>
                <a:cubicBezTo>
                  <a:pt x="369257" y="138961"/>
                  <a:pt x="372496" y="134681"/>
                  <a:pt x="383833" y="123979"/>
                </a:cubicBezTo>
                <a:cubicBezTo>
                  <a:pt x="388594" y="119155"/>
                  <a:pt x="395229" y="116656"/>
                  <a:pt x="401996" y="117154"/>
                </a:cubicBezTo>
                <a:cubicBezTo>
                  <a:pt x="407087" y="117292"/>
                  <a:pt x="412177" y="116246"/>
                  <a:pt x="416804" y="114088"/>
                </a:cubicBezTo>
                <a:cubicBezTo>
                  <a:pt x="419465" y="112734"/>
                  <a:pt x="422358" y="111982"/>
                  <a:pt x="425366" y="111890"/>
                </a:cubicBezTo>
                <a:cubicBezTo>
                  <a:pt x="429935" y="111890"/>
                  <a:pt x="432422" y="114204"/>
                  <a:pt x="432538" y="116460"/>
                </a:cubicBezTo>
                <a:cubicBezTo>
                  <a:pt x="432654" y="118715"/>
                  <a:pt x="430108" y="121723"/>
                  <a:pt x="422878" y="122244"/>
                </a:cubicBezTo>
                <a:cubicBezTo>
                  <a:pt x="420275" y="122244"/>
                  <a:pt x="417094" y="123401"/>
                  <a:pt x="416573" y="126698"/>
                </a:cubicBezTo>
                <a:cubicBezTo>
                  <a:pt x="417094" y="133113"/>
                  <a:pt x="421374" y="138614"/>
                  <a:pt x="427448" y="140696"/>
                </a:cubicBezTo>
                <a:cubicBezTo>
                  <a:pt x="433232" y="143068"/>
                  <a:pt x="433926" y="145440"/>
                  <a:pt x="433868" y="147811"/>
                </a:cubicBezTo>
                <a:cubicBezTo>
                  <a:pt x="433868" y="149142"/>
                  <a:pt x="433868" y="149662"/>
                  <a:pt x="436934" y="150356"/>
                </a:cubicBezTo>
                <a:cubicBezTo>
                  <a:pt x="439653" y="150703"/>
                  <a:pt x="441909" y="152630"/>
                  <a:pt x="442719" y="155273"/>
                </a:cubicBezTo>
                <a:cubicBezTo>
                  <a:pt x="444512" y="161058"/>
                  <a:pt x="440521" y="170197"/>
                  <a:pt x="432885" y="178411"/>
                </a:cubicBezTo>
                <a:cubicBezTo>
                  <a:pt x="430224" y="181245"/>
                  <a:pt x="429010" y="183617"/>
                  <a:pt x="429588" y="185005"/>
                </a:cubicBezTo>
                <a:cubicBezTo>
                  <a:pt x="430166" y="186393"/>
                  <a:pt x="432364" y="186972"/>
                  <a:pt x="435777" y="186972"/>
                </a:cubicBezTo>
                <a:cubicBezTo>
                  <a:pt x="443355" y="186532"/>
                  <a:pt x="450759" y="184849"/>
                  <a:pt x="457758" y="181997"/>
                </a:cubicBezTo>
                <a:cubicBezTo>
                  <a:pt x="465799" y="179047"/>
                  <a:pt x="469905" y="178700"/>
                  <a:pt x="471872" y="180898"/>
                </a:cubicBezTo>
                <a:cubicBezTo>
                  <a:pt x="473087" y="182980"/>
                  <a:pt x="473376" y="185462"/>
                  <a:pt x="472740" y="187782"/>
                </a:cubicBezTo>
                <a:cubicBezTo>
                  <a:pt x="472393" y="190905"/>
                  <a:pt x="471988" y="194144"/>
                  <a:pt x="474070" y="196169"/>
                </a:cubicBezTo>
                <a:cubicBezTo>
                  <a:pt x="475285" y="197332"/>
                  <a:pt x="476963" y="197933"/>
                  <a:pt x="478640" y="197847"/>
                </a:cubicBezTo>
                <a:cubicBezTo>
                  <a:pt x="486796" y="197847"/>
                  <a:pt x="499695" y="188534"/>
                  <a:pt x="506926" y="179915"/>
                </a:cubicBezTo>
                <a:cubicBezTo>
                  <a:pt x="511495" y="174917"/>
                  <a:pt x="517338" y="171279"/>
                  <a:pt x="523874" y="169387"/>
                </a:cubicBezTo>
                <a:cubicBezTo>
                  <a:pt x="528213" y="167825"/>
                  <a:pt x="530469" y="166900"/>
                  <a:pt x="530295" y="164991"/>
                </a:cubicBezTo>
                <a:cubicBezTo>
                  <a:pt x="529948" y="160826"/>
                  <a:pt x="524973" y="159206"/>
                  <a:pt x="520866" y="159206"/>
                </a:cubicBezTo>
                <a:cubicBezTo>
                  <a:pt x="517974" y="159247"/>
                  <a:pt x="515140" y="159837"/>
                  <a:pt x="512479" y="160942"/>
                </a:cubicBezTo>
                <a:cubicBezTo>
                  <a:pt x="509008" y="162238"/>
                  <a:pt x="505248" y="162845"/>
                  <a:pt x="501546" y="162735"/>
                </a:cubicBezTo>
                <a:cubicBezTo>
                  <a:pt x="495762" y="162735"/>
                  <a:pt x="488531" y="161578"/>
                  <a:pt x="487201" y="158165"/>
                </a:cubicBezTo>
                <a:cubicBezTo>
                  <a:pt x="486796" y="157182"/>
                  <a:pt x="486796" y="155562"/>
                  <a:pt x="488821" y="153653"/>
                </a:cubicBezTo>
                <a:cubicBezTo>
                  <a:pt x="492581" y="150183"/>
                  <a:pt x="493448" y="147869"/>
                  <a:pt x="492928" y="146423"/>
                </a:cubicBezTo>
                <a:cubicBezTo>
                  <a:pt x="492407" y="144977"/>
                  <a:pt x="489457" y="144167"/>
                  <a:pt x="484887" y="144688"/>
                </a:cubicBezTo>
                <a:cubicBezTo>
                  <a:pt x="483730" y="144751"/>
                  <a:pt x="482573" y="144751"/>
                  <a:pt x="481417" y="144688"/>
                </a:cubicBezTo>
                <a:cubicBezTo>
                  <a:pt x="473434" y="144688"/>
                  <a:pt x="460882" y="142027"/>
                  <a:pt x="460130" y="138035"/>
                </a:cubicBezTo>
                <a:cubicBezTo>
                  <a:pt x="459841" y="136589"/>
                  <a:pt x="460882" y="135375"/>
                  <a:pt x="463138" y="134449"/>
                </a:cubicBezTo>
                <a:cubicBezTo>
                  <a:pt x="465394" y="133524"/>
                  <a:pt x="465278" y="132540"/>
                  <a:pt x="465105" y="131788"/>
                </a:cubicBezTo>
                <a:cubicBezTo>
                  <a:pt x="464353" y="127739"/>
                  <a:pt x="454577" y="121145"/>
                  <a:pt x="448503" y="121492"/>
                </a:cubicBezTo>
                <a:cubicBezTo>
                  <a:pt x="446363" y="121885"/>
                  <a:pt x="444222" y="121191"/>
                  <a:pt x="442719" y="119641"/>
                </a:cubicBezTo>
                <a:cubicBezTo>
                  <a:pt x="440289" y="116865"/>
                  <a:pt x="440926" y="111716"/>
                  <a:pt x="441446" y="107205"/>
                </a:cubicBezTo>
                <a:cubicBezTo>
                  <a:pt x="441446" y="106279"/>
                  <a:pt x="441446" y="105353"/>
                  <a:pt x="441446" y="104544"/>
                </a:cubicBezTo>
                <a:cubicBezTo>
                  <a:pt x="441735" y="101651"/>
                  <a:pt x="433637" y="98759"/>
                  <a:pt x="428836" y="97371"/>
                </a:cubicBezTo>
                <a:cubicBezTo>
                  <a:pt x="424035" y="95983"/>
                  <a:pt x="421548" y="94826"/>
                  <a:pt x="421432" y="93264"/>
                </a:cubicBezTo>
                <a:cubicBezTo>
                  <a:pt x="421432" y="92472"/>
                  <a:pt x="421953" y="91777"/>
                  <a:pt x="422705" y="91529"/>
                </a:cubicBezTo>
                <a:cubicBezTo>
                  <a:pt x="422820" y="91465"/>
                  <a:pt x="422936" y="91361"/>
                  <a:pt x="423052" y="91239"/>
                </a:cubicBezTo>
                <a:cubicBezTo>
                  <a:pt x="420564" y="89487"/>
                  <a:pt x="417556" y="88596"/>
                  <a:pt x="414549" y="88694"/>
                </a:cubicBezTo>
                <a:cubicBezTo>
                  <a:pt x="412929" y="88544"/>
                  <a:pt x="411367" y="89070"/>
                  <a:pt x="410152" y="90140"/>
                </a:cubicBezTo>
                <a:cubicBezTo>
                  <a:pt x="408706" y="92211"/>
                  <a:pt x="406392" y="93461"/>
                  <a:pt x="403847" y="93495"/>
                </a:cubicBezTo>
                <a:cubicBezTo>
                  <a:pt x="402112" y="93507"/>
                  <a:pt x="400435" y="92795"/>
                  <a:pt x="399220" y="91529"/>
                </a:cubicBezTo>
                <a:cubicBezTo>
                  <a:pt x="397832" y="89926"/>
                  <a:pt x="397138" y="87856"/>
                  <a:pt x="397253" y="85744"/>
                </a:cubicBezTo>
                <a:cubicBezTo>
                  <a:pt x="397253" y="82100"/>
                  <a:pt x="390369" y="81348"/>
                  <a:pt x="384585" y="81348"/>
                </a:cubicBezTo>
                <a:cubicBezTo>
                  <a:pt x="380652" y="81348"/>
                  <a:pt x="376718" y="81695"/>
                  <a:pt x="373884" y="81927"/>
                </a:cubicBezTo>
                <a:lnTo>
                  <a:pt x="373016" y="81927"/>
                </a:lnTo>
                <a:cubicBezTo>
                  <a:pt x="368100" y="82274"/>
                  <a:pt x="367232" y="77357"/>
                  <a:pt x="366249" y="72093"/>
                </a:cubicBezTo>
                <a:cubicBezTo>
                  <a:pt x="365994" y="67784"/>
                  <a:pt x="364259" y="63694"/>
                  <a:pt x="361332" y="60524"/>
                </a:cubicBezTo>
                <a:cubicBezTo>
                  <a:pt x="360609" y="59940"/>
                  <a:pt x="359712" y="59616"/>
                  <a:pt x="358787" y="59599"/>
                </a:cubicBezTo>
                <a:cubicBezTo>
                  <a:pt x="355721" y="59599"/>
                  <a:pt x="352077" y="62722"/>
                  <a:pt x="348837" y="65383"/>
                </a:cubicBezTo>
                <a:cubicBezTo>
                  <a:pt x="345598" y="68044"/>
                  <a:pt x="343053" y="70473"/>
                  <a:pt x="340219" y="70473"/>
                </a:cubicBezTo>
                <a:lnTo>
                  <a:pt x="339351" y="70473"/>
                </a:lnTo>
                <a:cubicBezTo>
                  <a:pt x="338362" y="70300"/>
                  <a:pt x="337517" y="69652"/>
                  <a:pt x="337095" y="68738"/>
                </a:cubicBezTo>
                <a:cubicBezTo>
                  <a:pt x="336054" y="66193"/>
                  <a:pt x="338599" y="62028"/>
                  <a:pt x="341607" y="57169"/>
                </a:cubicBezTo>
                <a:cubicBezTo>
                  <a:pt x="343203" y="54734"/>
                  <a:pt x="344615" y="52183"/>
                  <a:pt x="345830" y="49534"/>
                </a:cubicBezTo>
                <a:cubicBezTo>
                  <a:pt x="345830" y="49534"/>
                  <a:pt x="346234" y="48550"/>
                  <a:pt x="345367" y="47278"/>
                </a:cubicBezTo>
                <a:cubicBezTo>
                  <a:pt x="339675" y="42043"/>
                  <a:pt x="332271" y="39064"/>
                  <a:pt x="324543" y="38890"/>
                </a:cubicBezTo>
                <a:cubicBezTo>
                  <a:pt x="322923" y="38890"/>
                  <a:pt x="320147" y="38890"/>
                  <a:pt x="319453" y="40741"/>
                </a:cubicBezTo>
                <a:cubicBezTo>
                  <a:pt x="318758" y="42592"/>
                  <a:pt x="317891" y="43113"/>
                  <a:pt x="316734" y="43113"/>
                </a:cubicBezTo>
                <a:cubicBezTo>
                  <a:pt x="314594" y="43113"/>
                  <a:pt x="312800" y="40279"/>
                  <a:pt x="310429" y="36634"/>
                </a:cubicBezTo>
                <a:cubicBezTo>
                  <a:pt x="308057" y="32990"/>
                  <a:pt x="305801" y="29346"/>
                  <a:pt x="303546" y="28652"/>
                </a:cubicBezTo>
                <a:lnTo>
                  <a:pt x="302851" y="28652"/>
                </a:lnTo>
                <a:cubicBezTo>
                  <a:pt x="301810" y="28652"/>
                  <a:pt x="301579" y="30734"/>
                  <a:pt x="301405" y="33627"/>
                </a:cubicBezTo>
                <a:cubicBezTo>
                  <a:pt x="301232" y="36519"/>
                  <a:pt x="300885" y="41378"/>
                  <a:pt x="297414" y="42130"/>
                </a:cubicBezTo>
                <a:cubicBezTo>
                  <a:pt x="293943" y="42882"/>
                  <a:pt x="290878" y="44964"/>
                  <a:pt x="290473" y="47336"/>
                </a:cubicBezTo>
                <a:cubicBezTo>
                  <a:pt x="290068" y="49707"/>
                  <a:pt x="292266" y="51500"/>
                  <a:pt x="294174" y="53120"/>
                </a:cubicBezTo>
                <a:cubicBezTo>
                  <a:pt x="303835" y="59541"/>
                  <a:pt x="312916" y="90256"/>
                  <a:pt x="311528" y="95520"/>
                </a:cubicBezTo>
                <a:cubicBezTo>
                  <a:pt x="311331" y="96370"/>
                  <a:pt x="310550" y="96960"/>
                  <a:pt x="309677" y="96908"/>
                </a:cubicBezTo>
                <a:cubicBezTo>
                  <a:pt x="303893" y="96908"/>
                  <a:pt x="280176" y="72382"/>
                  <a:pt x="279077" y="60813"/>
                </a:cubicBezTo>
                <a:cubicBezTo>
                  <a:pt x="278210" y="52137"/>
                  <a:pt x="271095" y="44443"/>
                  <a:pt x="266004" y="44443"/>
                </a:cubicBezTo>
                <a:cubicBezTo>
                  <a:pt x="264356" y="44461"/>
                  <a:pt x="262915" y="45571"/>
                  <a:pt x="262476" y="47162"/>
                </a:cubicBezTo>
                <a:cubicBezTo>
                  <a:pt x="260932" y="50540"/>
                  <a:pt x="258797" y="53618"/>
                  <a:pt x="256171" y="56244"/>
                </a:cubicBezTo>
                <a:cubicBezTo>
                  <a:pt x="252700" y="60177"/>
                  <a:pt x="249924" y="63243"/>
                  <a:pt x="251601" y="68217"/>
                </a:cubicBezTo>
                <a:cubicBezTo>
                  <a:pt x="252700" y="70838"/>
                  <a:pt x="252417" y="73834"/>
                  <a:pt x="250849" y="76200"/>
                </a:cubicBezTo>
                <a:cubicBezTo>
                  <a:pt x="249409" y="78502"/>
                  <a:pt x="246372" y="79202"/>
                  <a:pt x="244070" y="77756"/>
                </a:cubicBezTo>
                <a:cubicBezTo>
                  <a:pt x="243827" y="77606"/>
                  <a:pt x="243601" y="77432"/>
                  <a:pt x="243387" y="77241"/>
                </a:cubicBezTo>
                <a:cubicBezTo>
                  <a:pt x="242519" y="76159"/>
                  <a:pt x="242068" y="74806"/>
                  <a:pt x="242115" y="73423"/>
                </a:cubicBezTo>
                <a:cubicBezTo>
                  <a:pt x="242115" y="67003"/>
                  <a:pt x="227538" y="58731"/>
                  <a:pt x="222506" y="58152"/>
                </a:cubicBezTo>
                <a:cubicBezTo>
                  <a:pt x="221985" y="58152"/>
                  <a:pt x="220655" y="58152"/>
                  <a:pt x="220539" y="56822"/>
                </a:cubicBezTo>
                <a:cubicBezTo>
                  <a:pt x="220423" y="55492"/>
                  <a:pt x="221696" y="55029"/>
                  <a:pt x="229389" y="52831"/>
                </a:cubicBezTo>
                <a:cubicBezTo>
                  <a:pt x="234769" y="51437"/>
                  <a:pt x="240044" y="49678"/>
                  <a:pt x="245180" y="47567"/>
                </a:cubicBezTo>
                <a:cubicBezTo>
                  <a:pt x="246511" y="46931"/>
                  <a:pt x="247263" y="46237"/>
                  <a:pt x="247147" y="45774"/>
                </a:cubicBezTo>
                <a:cubicBezTo>
                  <a:pt x="247032" y="45311"/>
                  <a:pt x="242635" y="42477"/>
                  <a:pt x="237372" y="42477"/>
                </a:cubicBezTo>
                <a:cubicBezTo>
                  <a:pt x="234977" y="42407"/>
                  <a:pt x="232605" y="42968"/>
                  <a:pt x="230488" y="44096"/>
                </a:cubicBezTo>
                <a:cubicBezTo>
                  <a:pt x="228307" y="45404"/>
                  <a:pt x="225797" y="46046"/>
                  <a:pt x="223258" y="45947"/>
                </a:cubicBezTo>
                <a:cubicBezTo>
                  <a:pt x="221320" y="45924"/>
                  <a:pt x="219388" y="45768"/>
                  <a:pt x="217473" y="45485"/>
                </a:cubicBezTo>
                <a:cubicBezTo>
                  <a:pt x="215981" y="45242"/>
                  <a:pt x="214471" y="45109"/>
                  <a:pt x="212961" y="45080"/>
                </a:cubicBezTo>
                <a:cubicBezTo>
                  <a:pt x="210862" y="44796"/>
                  <a:pt x="208773" y="45687"/>
                  <a:pt x="207524" y="47393"/>
                </a:cubicBezTo>
                <a:cubicBezTo>
                  <a:pt x="206280" y="49418"/>
                  <a:pt x="204117" y="50696"/>
                  <a:pt x="201739" y="50806"/>
                </a:cubicBezTo>
                <a:cubicBezTo>
                  <a:pt x="199125" y="50552"/>
                  <a:pt x="196591" y="49788"/>
                  <a:pt x="194278" y="48550"/>
                </a:cubicBezTo>
                <a:cubicBezTo>
                  <a:pt x="191993" y="47480"/>
                  <a:pt x="189609" y="46624"/>
                  <a:pt x="187162" y="46005"/>
                </a:cubicBezTo>
                <a:lnTo>
                  <a:pt x="185890" y="46005"/>
                </a:lnTo>
                <a:cubicBezTo>
                  <a:pt x="182066" y="46676"/>
                  <a:pt x="178555" y="48562"/>
                  <a:pt x="175883" y="51385"/>
                </a:cubicBezTo>
                <a:cubicBezTo>
                  <a:pt x="173523" y="53855"/>
                  <a:pt x="170446" y="55515"/>
                  <a:pt x="167091" y="56128"/>
                </a:cubicBezTo>
                <a:cubicBezTo>
                  <a:pt x="166437" y="56122"/>
                  <a:pt x="165795" y="56001"/>
                  <a:pt x="165182" y="55781"/>
                </a:cubicBezTo>
                <a:cubicBezTo>
                  <a:pt x="163857" y="55393"/>
                  <a:pt x="162463" y="56105"/>
                  <a:pt x="162000" y="57401"/>
                </a:cubicBezTo>
                <a:cubicBezTo>
                  <a:pt x="159571" y="61797"/>
                  <a:pt x="160381" y="71688"/>
                  <a:pt x="166570" y="81406"/>
                </a:cubicBezTo>
                <a:cubicBezTo>
                  <a:pt x="168826" y="84934"/>
                  <a:pt x="171024" y="86612"/>
                  <a:pt x="173338" y="86612"/>
                </a:cubicBezTo>
                <a:lnTo>
                  <a:pt x="173338" y="86612"/>
                </a:lnTo>
                <a:cubicBezTo>
                  <a:pt x="176184" y="86114"/>
                  <a:pt x="178845" y="84853"/>
                  <a:pt x="181031" y="82968"/>
                </a:cubicBezTo>
                <a:cubicBezTo>
                  <a:pt x="184160" y="80336"/>
                  <a:pt x="188013" y="78705"/>
                  <a:pt x="192079" y="78282"/>
                </a:cubicBezTo>
                <a:cubicBezTo>
                  <a:pt x="192831" y="78196"/>
                  <a:pt x="193583" y="78196"/>
                  <a:pt x="194335" y="78282"/>
                </a:cubicBezTo>
                <a:cubicBezTo>
                  <a:pt x="196534" y="78745"/>
                  <a:pt x="197806" y="79613"/>
                  <a:pt x="198211" y="81001"/>
                </a:cubicBezTo>
                <a:cubicBezTo>
                  <a:pt x="199079" y="83835"/>
                  <a:pt x="195492" y="87306"/>
                  <a:pt x="190575" y="92107"/>
                </a:cubicBezTo>
                <a:cubicBezTo>
                  <a:pt x="185902" y="96023"/>
                  <a:pt x="182101" y="100865"/>
                  <a:pt x="179412" y="106337"/>
                </a:cubicBezTo>
                <a:cubicBezTo>
                  <a:pt x="176982" y="113972"/>
                  <a:pt x="187452" y="121434"/>
                  <a:pt x="196765" y="128028"/>
                </a:cubicBezTo>
                <a:cubicBezTo>
                  <a:pt x="200149" y="130319"/>
                  <a:pt x="203370" y="132835"/>
                  <a:pt x="206425" y="135548"/>
                </a:cubicBezTo>
                <a:cubicBezTo>
                  <a:pt x="212232" y="139811"/>
                  <a:pt x="219370" y="141865"/>
                  <a:pt x="226555" y="141333"/>
                </a:cubicBezTo>
                <a:cubicBezTo>
                  <a:pt x="232547" y="141558"/>
                  <a:pt x="238511" y="140303"/>
                  <a:pt x="243908" y="137688"/>
                </a:cubicBezTo>
                <a:cubicBezTo>
                  <a:pt x="246904" y="135028"/>
                  <a:pt x="248940" y="131447"/>
                  <a:pt x="249692" y="127508"/>
                </a:cubicBezTo>
                <a:cubicBezTo>
                  <a:pt x="251486" y="122013"/>
                  <a:pt x="253394" y="116344"/>
                  <a:pt x="259584" y="116344"/>
                </a:cubicBezTo>
                <a:lnTo>
                  <a:pt x="260220" y="116344"/>
                </a:lnTo>
                <a:cubicBezTo>
                  <a:pt x="264963" y="116633"/>
                  <a:pt x="265600" y="114666"/>
                  <a:pt x="266641" y="111658"/>
                </a:cubicBezTo>
                <a:cubicBezTo>
                  <a:pt x="267393" y="108257"/>
                  <a:pt x="269839" y="105486"/>
                  <a:pt x="273119" y="104312"/>
                </a:cubicBezTo>
                <a:cubicBezTo>
                  <a:pt x="275919" y="102779"/>
                  <a:pt x="279436" y="103803"/>
                  <a:pt x="280974" y="106603"/>
                </a:cubicBezTo>
                <a:cubicBezTo>
                  <a:pt x="281015" y="106690"/>
                  <a:pt x="281061" y="106771"/>
                  <a:pt x="281102" y="106857"/>
                </a:cubicBezTo>
                <a:cubicBezTo>
                  <a:pt x="282507" y="112445"/>
                  <a:pt x="280859" y="118363"/>
                  <a:pt x="276764" y="122418"/>
                </a:cubicBezTo>
                <a:cubicBezTo>
                  <a:pt x="275722" y="123632"/>
                  <a:pt x="275317" y="124673"/>
                  <a:pt x="275549" y="125252"/>
                </a:cubicBezTo>
                <a:cubicBezTo>
                  <a:pt x="275780" y="125830"/>
                  <a:pt x="277053" y="126467"/>
                  <a:pt x="279598" y="126467"/>
                </a:cubicBezTo>
                <a:cubicBezTo>
                  <a:pt x="286719" y="126079"/>
                  <a:pt x="293480" y="123233"/>
                  <a:pt x="298744" y="118426"/>
                </a:cubicBezTo>
                <a:cubicBezTo>
                  <a:pt x="304066" y="113394"/>
                  <a:pt x="308404" y="112642"/>
                  <a:pt x="310718" y="115476"/>
                </a:cubicBezTo>
                <a:cubicBezTo>
                  <a:pt x="312696" y="119600"/>
                  <a:pt x="312968" y="124344"/>
                  <a:pt x="311470" y="128665"/>
                </a:cubicBezTo>
                <a:cubicBezTo>
                  <a:pt x="310082" y="134160"/>
                  <a:pt x="303488" y="135317"/>
                  <a:pt x="296430" y="136589"/>
                </a:cubicBezTo>
                <a:cubicBezTo>
                  <a:pt x="289374" y="137862"/>
                  <a:pt x="282316" y="139019"/>
                  <a:pt x="278615" y="144167"/>
                </a:cubicBezTo>
                <a:cubicBezTo>
                  <a:pt x="274913" y="149315"/>
                  <a:pt x="266467" y="150646"/>
                  <a:pt x="258022" y="151398"/>
                </a:cubicBezTo>
                <a:cubicBezTo>
                  <a:pt x="249577" y="152149"/>
                  <a:pt x="240668" y="152959"/>
                  <a:pt x="235578" y="158802"/>
                </a:cubicBezTo>
                <a:cubicBezTo>
                  <a:pt x="233959" y="160595"/>
                  <a:pt x="232165" y="163082"/>
                  <a:pt x="232975" y="164586"/>
                </a:cubicBezTo>
                <a:cubicBezTo>
                  <a:pt x="233785" y="166090"/>
                  <a:pt x="238355" y="167941"/>
                  <a:pt x="244891" y="167941"/>
                </a:cubicBezTo>
                <a:cubicBezTo>
                  <a:pt x="249733" y="167883"/>
                  <a:pt x="254557" y="167363"/>
                  <a:pt x="259294" y="166379"/>
                </a:cubicBezTo>
                <a:cubicBezTo>
                  <a:pt x="272414" y="164042"/>
                  <a:pt x="285706" y="162845"/>
                  <a:pt x="299033" y="162793"/>
                </a:cubicBezTo>
                <a:cubicBezTo>
                  <a:pt x="304147" y="162671"/>
                  <a:pt x="309266" y="163059"/>
                  <a:pt x="314304" y="163950"/>
                </a:cubicBezTo>
                <a:cubicBezTo>
                  <a:pt x="316503" y="164470"/>
                  <a:pt x="318701" y="165222"/>
                  <a:pt x="318527" y="166958"/>
                </a:cubicBezTo>
                <a:cubicBezTo>
                  <a:pt x="318064" y="171354"/>
                  <a:pt x="295389" y="172279"/>
                  <a:pt x="289200" y="172279"/>
                </a:cubicBezTo>
                <a:cubicBezTo>
                  <a:pt x="274855" y="172279"/>
                  <a:pt x="269764" y="175634"/>
                  <a:pt x="268029" y="177659"/>
                </a:cubicBezTo>
                <a:cubicBezTo>
                  <a:pt x="267074" y="178619"/>
                  <a:pt x="266589" y="179949"/>
                  <a:pt x="266698" y="181303"/>
                </a:cubicBezTo>
                <a:cubicBezTo>
                  <a:pt x="266803" y="181905"/>
                  <a:pt x="266635" y="182518"/>
                  <a:pt x="266236" y="182980"/>
                </a:cubicBezTo>
                <a:cubicBezTo>
                  <a:pt x="265281" y="183761"/>
                  <a:pt x="264049" y="184114"/>
                  <a:pt x="262823" y="183964"/>
                </a:cubicBezTo>
                <a:cubicBezTo>
                  <a:pt x="260885" y="183900"/>
                  <a:pt x="258953" y="183727"/>
                  <a:pt x="257038" y="183443"/>
                </a:cubicBezTo>
                <a:cubicBezTo>
                  <a:pt x="254239" y="183038"/>
                  <a:pt x="251422" y="182807"/>
                  <a:pt x="248593" y="182749"/>
                </a:cubicBezTo>
                <a:cubicBezTo>
                  <a:pt x="241594" y="182749"/>
                  <a:pt x="240495" y="185179"/>
                  <a:pt x="240264" y="187030"/>
                </a:cubicBezTo>
                <a:cubicBezTo>
                  <a:pt x="239627" y="192814"/>
                  <a:pt x="248131" y="196690"/>
                  <a:pt x="255534" y="200218"/>
                </a:cubicBezTo>
                <a:cubicBezTo>
                  <a:pt x="261319" y="202879"/>
                  <a:pt x="266062" y="205193"/>
                  <a:pt x="267450" y="208201"/>
                </a:cubicBezTo>
                <a:cubicBezTo>
                  <a:pt x="268260" y="209994"/>
                  <a:pt x="270574" y="210804"/>
                  <a:pt x="274797" y="210804"/>
                </a:cubicBezTo>
                <a:cubicBezTo>
                  <a:pt x="276937" y="210804"/>
                  <a:pt x="279366" y="210804"/>
                  <a:pt x="281680" y="210399"/>
                </a:cubicBezTo>
                <a:cubicBezTo>
                  <a:pt x="283994" y="209994"/>
                  <a:pt x="286366" y="209994"/>
                  <a:pt x="288448" y="209994"/>
                </a:cubicBezTo>
                <a:cubicBezTo>
                  <a:pt x="290155" y="209936"/>
                  <a:pt x="291855" y="210167"/>
                  <a:pt x="293480" y="210688"/>
                </a:cubicBezTo>
                <a:cubicBezTo>
                  <a:pt x="294926" y="211209"/>
                  <a:pt x="295678" y="211961"/>
                  <a:pt x="295678" y="212944"/>
                </a:cubicBezTo>
                <a:cubicBezTo>
                  <a:pt x="295678" y="215084"/>
                  <a:pt x="292671" y="216588"/>
                  <a:pt x="287175" y="219133"/>
                </a:cubicBezTo>
                <a:cubicBezTo>
                  <a:pt x="284839" y="220192"/>
                  <a:pt x="282623" y="221511"/>
                  <a:pt x="280581" y="223067"/>
                </a:cubicBezTo>
                <a:close/>
                <a:moveTo>
                  <a:pt x="188030" y="142894"/>
                </a:moveTo>
                <a:cubicBezTo>
                  <a:pt x="184155" y="142894"/>
                  <a:pt x="180973" y="139597"/>
                  <a:pt x="177618" y="136127"/>
                </a:cubicBezTo>
                <a:cubicBezTo>
                  <a:pt x="175304" y="133206"/>
                  <a:pt x="172279" y="130932"/>
                  <a:pt x="168826" y="129532"/>
                </a:cubicBezTo>
                <a:cubicBezTo>
                  <a:pt x="163042" y="128086"/>
                  <a:pt x="148002" y="115360"/>
                  <a:pt x="147886" y="107841"/>
                </a:cubicBezTo>
                <a:cubicBezTo>
                  <a:pt x="147852" y="105510"/>
                  <a:pt x="149517" y="103497"/>
                  <a:pt x="151820" y="103098"/>
                </a:cubicBezTo>
                <a:cubicBezTo>
                  <a:pt x="153231" y="102687"/>
                  <a:pt x="154689" y="102467"/>
                  <a:pt x="156158" y="102461"/>
                </a:cubicBezTo>
                <a:cubicBezTo>
                  <a:pt x="161190" y="102461"/>
                  <a:pt x="163331" y="105874"/>
                  <a:pt x="165760" y="109923"/>
                </a:cubicBezTo>
                <a:cubicBezTo>
                  <a:pt x="167328" y="112567"/>
                  <a:pt x="169127" y="115066"/>
                  <a:pt x="171140" y="117385"/>
                </a:cubicBezTo>
                <a:cubicBezTo>
                  <a:pt x="191154" y="138845"/>
                  <a:pt x="190344" y="140928"/>
                  <a:pt x="189939" y="141911"/>
                </a:cubicBezTo>
                <a:cubicBezTo>
                  <a:pt x="189748" y="142484"/>
                  <a:pt x="189216" y="142877"/>
                  <a:pt x="188609" y="142894"/>
                </a:cubicBezTo>
                <a:close/>
                <a:moveTo>
                  <a:pt x="156158" y="104659"/>
                </a:moveTo>
                <a:cubicBezTo>
                  <a:pt x="154903" y="104694"/>
                  <a:pt x="153653" y="104914"/>
                  <a:pt x="152456" y="105296"/>
                </a:cubicBezTo>
                <a:cubicBezTo>
                  <a:pt x="150374" y="105874"/>
                  <a:pt x="150142" y="106915"/>
                  <a:pt x="150142" y="107783"/>
                </a:cubicBezTo>
                <a:cubicBezTo>
                  <a:pt x="150142" y="113567"/>
                  <a:pt x="163851" y="125946"/>
                  <a:pt x="169405" y="127334"/>
                </a:cubicBezTo>
                <a:cubicBezTo>
                  <a:pt x="173268" y="128821"/>
                  <a:pt x="176664" y="131320"/>
                  <a:pt x="179238" y="134565"/>
                </a:cubicBezTo>
                <a:cubicBezTo>
                  <a:pt x="182072" y="137515"/>
                  <a:pt x="185022" y="140349"/>
                  <a:pt x="187567" y="140349"/>
                </a:cubicBezTo>
                <a:cubicBezTo>
                  <a:pt x="182298" y="132511"/>
                  <a:pt x="176253" y="125223"/>
                  <a:pt x="169520" y="118600"/>
                </a:cubicBezTo>
                <a:cubicBezTo>
                  <a:pt x="167316" y="116211"/>
                  <a:pt x="165378" y="113596"/>
                  <a:pt x="163736" y="110791"/>
                </a:cubicBezTo>
                <a:cubicBezTo>
                  <a:pt x="161711" y="107494"/>
                  <a:pt x="160149" y="104891"/>
                  <a:pt x="156390" y="104891"/>
                </a:cubicBezTo>
                <a:close/>
                <a:moveTo>
                  <a:pt x="501488" y="83604"/>
                </a:moveTo>
                <a:cubicBezTo>
                  <a:pt x="500447" y="83604"/>
                  <a:pt x="499232" y="83604"/>
                  <a:pt x="497960" y="83604"/>
                </a:cubicBezTo>
                <a:cubicBezTo>
                  <a:pt x="489515" y="82788"/>
                  <a:pt x="481417" y="79821"/>
                  <a:pt x="474475" y="74985"/>
                </a:cubicBezTo>
                <a:cubicBezTo>
                  <a:pt x="472508" y="73556"/>
                  <a:pt x="470252" y="72515"/>
                  <a:pt x="467881" y="71919"/>
                </a:cubicBezTo>
                <a:cubicBezTo>
                  <a:pt x="467360" y="71908"/>
                  <a:pt x="466898" y="72122"/>
                  <a:pt x="466551" y="72498"/>
                </a:cubicBezTo>
                <a:cubicBezTo>
                  <a:pt x="465799" y="73423"/>
                  <a:pt x="463658" y="74638"/>
                  <a:pt x="454345" y="74638"/>
                </a:cubicBezTo>
                <a:cubicBezTo>
                  <a:pt x="439248" y="74638"/>
                  <a:pt x="403269" y="70531"/>
                  <a:pt x="400492" y="63706"/>
                </a:cubicBezTo>
                <a:cubicBezTo>
                  <a:pt x="400203" y="63069"/>
                  <a:pt x="400203" y="62317"/>
                  <a:pt x="400492" y="61681"/>
                </a:cubicBezTo>
                <a:cubicBezTo>
                  <a:pt x="402343" y="58210"/>
                  <a:pt x="413970" y="55550"/>
                  <a:pt x="432827" y="51674"/>
                </a:cubicBezTo>
                <a:cubicBezTo>
                  <a:pt x="442719" y="49649"/>
                  <a:pt x="455965" y="46873"/>
                  <a:pt x="457989" y="45022"/>
                </a:cubicBezTo>
                <a:lnTo>
                  <a:pt x="457989" y="45022"/>
                </a:lnTo>
                <a:cubicBezTo>
                  <a:pt x="456138" y="44345"/>
                  <a:pt x="454172" y="44067"/>
                  <a:pt x="452205" y="44212"/>
                </a:cubicBezTo>
                <a:cubicBezTo>
                  <a:pt x="444454" y="44553"/>
                  <a:pt x="436761" y="45288"/>
                  <a:pt x="429067" y="46410"/>
                </a:cubicBezTo>
                <a:cubicBezTo>
                  <a:pt x="415879" y="48307"/>
                  <a:pt x="402575" y="49430"/>
                  <a:pt x="389213" y="49765"/>
                </a:cubicBezTo>
                <a:lnTo>
                  <a:pt x="389213" y="49765"/>
                </a:lnTo>
                <a:cubicBezTo>
                  <a:pt x="373826" y="49765"/>
                  <a:pt x="363761" y="47162"/>
                  <a:pt x="358382" y="41783"/>
                </a:cubicBezTo>
                <a:cubicBezTo>
                  <a:pt x="357213" y="40869"/>
                  <a:pt x="356548" y="39451"/>
                  <a:pt x="356589" y="37965"/>
                </a:cubicBezTo>
                <a:cubicBezTo>
                  <a:pt x="356589" y="36056"/>
                  <a:pt x="358671" y="34957"/>
                  <a:pt x="360291" y="33974"/>
                </a:cubicBezTo>
                <a:cubicBezTo>
                  <a:pt x="360985" y="33569"/>
                  <a:pt x="362257" y="32817"/>
                  <a:pt x="362315" y="32470"/>
                </a:cubicBezTo>
                <a:cubicBezTo>
                  <a:pt x="362373" y="32123"/>
                  <a:pt x="362315" y="32180"/>
                  <a:pt x="361505" y="31602"/>
                </a:cubicBezTo>
                <a:cubicBezTo>
                  <a:pt x="360695" y="31024"/>
                  <a:pt x="357456" y="28825"/>
                  <a:pt x="355085" y="27264"/>
                </a:cubicBezTo>
                <a:cubicBezTo>
                  <a:pt x="347912" y="22810"/>
                  <a:pt x="345309" y="20901"/>
                  <a:pt x="345772" y="18992"/>
                </a:cubicBezTo>
                <a:cubicBezTo>
                  <a:pt x="345772" y="18124"/>
                  <a:pt x="346755" y="17604"/>
                  <a:pt x="348143" y="17430"/>
                </a:cubicBezTo>
                <a:cubicBezTo>
                  <a:pt x="349531" y="17257"/>
                  <a:pt x="350804" y="15868"/>
                  <a:pt x="351787" y="13497"/>
                </a:cubicBezTo>
                <a:cubicBezTo>
                  <a:pt x="352568" y="9731"/>
                  <a:pt x="355923" y="7053"/>
                  <a:pt x="359770" y="7134"/>
                </a:cubicBezTo>
                <a:cubicBezTo>
                  <a:pt x="364744" y="7134"/>
                  <a:pt x="369777" y="12918"/>
                  <a:pt x="373826" y="17314"/>
                </a:cubicBezTo>
                <a:cubicBezTo>
                  <a:pt x="375735" y="19513"/>
                  <a:pt x="378396" y="22463"/>
                  <a:pt x="379321" y="22463"/>
                </a:cubicBezTo>
                <a:cubicBezTo>
                  <a:pt x="379859" y="19565"/>
                  <a:pt x="379472" y="16568"/>
                  <a:pt x="378222" y="13902"/>
                </a:cubicBezTo>
                <a:cubicBezTo>
                  <a:pt x="377239" y="10894"/>
                  <a:pt x="376487" y="8754"/>
                  <a:pt x="377470" y="7423"/>
                </a:cubicBezTo>
                <a:cubicBezTo>
                  <a:pt x="378037" y="6683"/>
                  <a:pt x="378992" y="6341"/>
                  <a:pt x="379900" y="6555"/>
                </a:cubicBezTo>
                <a:cubicBezTo>
                  <a:pt x="382549" y="7209"/>
                  <a:pt x="385082" y="8262"/>
                  <a:pt x="387420" y="9679"/>
                </a:cubicBezTo>
                <a:cubicBezTo>
                  <a:pt x="390352" y="11461"/>
                  <a:pt x="393609" y="12693"/>
                  <a:pt x="396964" y="13323"/>
                </a:cubicBezTo>
                <a:cubicBezTo>
                  <a:pt x="398121" y="13323"/>
                  <a:pt x="398526" y="12918"/>
                  <a:pt x="398757" y="12513"/>
                </a:cubicBezTo>
                <a:cubicBezTo>
                  <a:pt x="399972" y="10604"/>
                  <a:pt x="398410" y="8059"/>
                  <a:pt x="397022" y="5803"/>
                </a:cubicBezTo>
                <a:cubicBezTo>
                  <a:pt x="395634" y="3547"/>
                  <a:pt x="394997" y="2506"/>
                  <a:pt x="395634" y="1176"/>
                </a:cubicBezTo>
                <a:cubicBezTo>
                  <a:pt x="396096" y="401"/>
                  <a:pt x="396906" y="-85"/>
                  <a:pt x="397774" y="-97"/>
                </a:cubicBezTo>
                <a:cubicBezTo>
                  <a:pt x="403095" y="-675"/>
                  <a:pt x="426118" y="6555"/>
                  <a:pt x="428720" y="17719"/>
                </a:cubicBezTo>
                <a:cubicBezTo>
                  <a:pt x="428894" y="19235"/>
                  <a:pt x="430224" y="20340"/>
                  <a:pt x="431728" y="20207"/>
                </a:cubicBezTo>
                <a:cubicBezTo>
                  <a:pt x="434505" y="19871"/>
                  <a:pt x="437224" y="19067"/>
                  <a:pt x="439711" y="17835"/>
                </a:cubicBezTo>
                <a:cubicBezTo>
                  <a:pt x="442082" y="16713"/>
                  <a:pt x="444685" y="15990"/>
                  <a:pt x="447288" y="15695"/>
                </a:cubicBezTo>
                <a:cubicBezTo>
                  <a:pt x="449255" y="15533"/>
                  <a:pt x="450933" y="16979"/>
                  <a:pt x="451106" y="18917"/>
                </a:cubicBezTo>
                <a:cubicBezTo>
                  <a:pt x="451106" y="18963"/>
                  <a:pt x="451106" y="19004"/>
                  <a:pt x="451106" y="19050"/>
                </a:cubicBezTo>
                <a:cubicBezTo>
                  <a:pt x="452090" y="25413"/>
                  <a:pt x="463774" y="30619"/>
                  <a:pt x="469385" y="30619"/>
                </a:cubicBezTo>
                <a:cubicBezTo>
                  <a:pt x="470021" y="30653"/>
                  <a:pt x="470599" y="30538"/>
                  <a:pt x="471178" y="30272"/>
                </a:cubicBezTo>
                <a:cubicBezTo>
                  <a:pt x="471583" y="29693"/>
                  <a:pt x="470484" y="26917"/>
                  <a:pt x="469848" y="25066"/>
                </a:cubicBezTo>
                <a:cubicBezTo>
                  <a:pt x="467303" y="20270"/>
                  <a:pt x="466724" y="14654"/>
                  <a:pt x="468286" y="9448"/>
                </a:cubicBezTo>
                <a:cubicBezTo>
                  <a:pt x="470079" y="6515"/>
                  <a:pt x="473029" y="4432"/>
                  <a:pt x="476384" y="3663"/>
                </a:cubicBezTo>
                <a:cubicBezTo>
                  <a:pt x="478235" y="3062"/>
                  <a:pt x="480202" y="2726"/>
                  <a:pt x="482168" y="2680"/>
                </a:cubicBezTo>
                <a:cubicBezTo>
                  <a:pt x="490440" y="2680"/>
                  <a:pt x="491308" y="10315"/>
                  <a:pt x="491944" y="15926"/>
                </a:cubicBezTo>
                <a:cubicBezTo>
                  <a:pt x="491886" y="17939"/>
                  <a:pt x="492349" y="19929"/>
                  <a:pt x="493275" y="21711"/>
                </a:cubicBezTo>
                <a:cubicBezTo>
                  <a:pt x="494142" y="22572"/>
                  <a:pt x="495357" y="23029"/>
                  <a:pt x="496572" y="22983"/>
                </a:cubicBezTo>
                <a:cubicBezTo>
                  <a:pt x="501199" y="22283"/>
                  <a:pt x="505075" y="19108"/>
                  <a:pt x="506637" y="14711"/>
                </a:cubicBezTo>
                <a:cubicBezTo>
                  <a:pt x="508141" y="11704"/>
                  <a:pt x="511785" y="10200"/>
                  <a:pt x="517454" y="10200"/>
                </a:cubicBezTo>
                <a:cubicBezTo>
                  <a:pt x="528328" y="10905"/>
                  <a:pt x="538914" y="13717"/>
                  <a:pt x="548689" y="18471"/>
                </a:cubicBezTo>
                <a:cubicBezTo>
                  <a:pt x="553837" y="20074"/>
                  <a:pt x="559159" y="20698"/>
                  <a:pt x="564539" y="20322"/>
                </a:cubicBezTo>
                <a:lnTo>
                  <a:pt x="576513" y="20322"/>
                </a:lnTo>
                <a:cubicBezTo>
                  <a:pt x="588082" y="20322"/>
                  <a:pt x="601039" y="21016"/>
                  <a:pt x="603237" y="28999"/>
                </a:cubicBezTo>
                <a:cubicBezTo>
                  <a:pt x="605435" y="36982"/>
                  <a:pt x="592188" y="44443"/>
                  <a:pt x="580388" y="50344"/>
                </a:cubicBezTo>
                <a:cubicBezTo>
                  <a:pt x="573620" y="53756"/>
                  <a:pt x="565927" y="57632"/>
                  <a:pt x="565696" y="60235"/>
                </a:cubicBezTo>
                <a:cubicBezTo>
                  <a:pt x="565060" y="69085"/>
                  <a:pt x="543483" y="75853"/>
                  <a:pt x="529485" y="76431"/>
                </a:cubicBezTo>
                <a:cubicBezTo>
                  <a:pt x="525378" y="76599"/>
                  <a:pt x="521329" y="77901"/>
                  <a:pt x="517916" y="80191"/>
                </a:cubicBezTo>
                <a:cubicBezTo>
                  <a:pt x="513057" y="83078"/>
                  <a:pt x="507389" y="84356"/>
                  <a:pt x="501720" y="83835"/>
                </a:cubicBezTo>
                <a:close/>
                <a:moveTo>
                  <a:pt x="467881" y="69606"/>
                </a:moveTo>
                <a:cubicBezTo>
                  <a:pt x="470831" y="70126"/>
                  <a:pt x="473665" y="71358"/>
                  <a:pt x="476037" y="73192"/>
                </a:cubicBezTo>
                <a:cubicBezTo>
                  <a:pt x="482747" y="77802"/>
                  <a:pt x="490440" y="80648"/>
                  <a:pt x="498538" y="81464"/>
                </a:cubicBezTo>
                <a:cubicBezTo>
                  <a:pt x="504786" y="82389"/>
                  <a:pt x="511090" y="81030"/>
                  <a:pt x="516412" y="77646"/>
                </a:cubicBezTo>
                <a:cubicBezTo>
                  <a:pt x="520230" y="75112"/>
                  <a:pt x="524742" y="73713"/>
                  <a:pt x="529312" y="73597"/>
                </a:cubicBezTo>
                <a:cubicBezTo>
                  <a:pt x="543831" y="72961"/>
                  <a:pt x="562804" y="66193"/>
                  <a:pt x="563324" y="59483"/>
                </a:cubicBezTo>
                <a:cubicBezTo>
                  <a:pt x="563324" y="55607"/>
                  <a:pt x="570555" y="52137"/>
                  <a:pt x="579289" y="47914"/>
                </a:cubicBezTo>
                <a:cubicBezTo>
                  <a:pt x="589759" y="42650"/>
                  <a:pt x="602831" y="36345"/>
                  <a:pt x="600923" y="29173"/>
                </a:cubicBezTo>
                <a:cubicBezTo>
                  <a:pt x="599014" y="22000"/>
                  <a:pt x="584032" y="22116"/>
                  <a:pt x="570265" y="22231"/>
                </a:cubicBezTo>
                <a:lnTo>
                  <a:pt x="564481" y="22231"/>
                </a:lnTo>
                <a:cubicBezTo>
                  <a:pt x="558812" y="22648"/>
                  <a:pt x="553085" y="21942"/>
                  <a:pt x="547648" y="20149"/>
                </a:cubicBezTo>
                <a:cubicBezTo>
                  <a:pt x="538162" y="15527"/>
                  <a:pt x="527923" y="12797"/>
                  <a:pt x="517396" y="12108"/>
                </a:cubicBezTo>
                <a:cubicBezTo>
                  <a:pt x="514156" y="12108"/>
                  <a:pt x="509934" y="12687"/>
                  <a:pt x="508603" y="15406"/>
                </a:cubicBezTo>
                <a:cubicBezTo>
                  <a:pt x="506637" y="20542"/>
                  <a:pt x="501951" y="24181"/>
                  <a:pt x="496514" y="24892"/>
                </a:cubicBezTo>
                <a:cubicBezTo>
                  <a:pt x="494663" y="24933"/>
                  <a:pt x="492928" y="24244"/>
                  <a:pt x="491597" y="22983"/>
                </a:cubicBezTo>
                <a:cubicBezTo>
                  <a:pt x="490267" y="20889"/>
                  <a:pt x="489573" y="18460"/>
                  <a:pt x="489630" y="15984"/>
                </a:cubicBezTo>
                <a:cubicBezTo>
                  <a:pt x="488878" y="9390"/>
                  <a:pt x="487895" y="4762"/>
                  <a:pt x="482111" y="4762"/>
                </a:cubicBezTo>
                <a:cubicBezTo>
                  <a:pt x="480375" y="4808"/>
                  <a:pt x="478640" y="5098"/>
                  <a:pt x="477020" y="5630"/>
                </a:cubicBezTo>
                <a:cubicBezTo>
                  <a:pt x="474186" y="6260"/>
                  <a:pt x="471756" y="8042"/>
                  <a:pt x="470310" y="10547"/>
                </a:cubicBezTo>
                <a:cubicBezTo>
                  <a:pt x="469096" y="15174"/>
                  <a:pt x="469674" y="20097"/>
                  <a:pt x="471930" y="24314"/>
                </a:cubicBezTo>
                <a:cubicBezTo>
                  <a:pt x="473376" y="28131"/>
                  <a:pt x="474359" y="30908"/>
                  <a:pt x="472451" y="32180"/>
                </a:cubicBezTo>
                <a:cubicBezTo>
                  <a:pt x="471525" y="32747"/>
                  <a:pt x="470484" y="33013"/>
                  <a:pt x="469385" y="32932"/>
                </a:cubicBezTo>
                <a:cubicBezTo>
                  <a:pt x="463022" y="32932"/>
                  <a:pt x="450065" y="27148"/>
                  <a:pt x="448908" y="19281"/>
                </a:cubicBezTo>
                <a:cubicBezTo>
                  <a:pt x="448908" y="18240"/>
                  <a:pt x="448330" y="17893"/>
                  <a:pt x="447288" y="17893"/>
                </a:cubicBezTo>
                <a:cubicBezTo>
                  <a:pt x="444974" y="18199"/>
                  <a:pt x="442719" y="18882"/>
                  <a:pt x="440579" y="19917"/>
                </a:cubicBezTo>
                <a:cubicBezTo>
                  <a:pt x="437802" y="21254"/>
                  <a:pt x="434794" y="22092"/>
                  <a:pt x="431728" y="22405"/>
                </a:cubicBezTo>
                <a:cubicBezTo>
                  <a:pt x="429183" y="22526"/>
                  <a:pt x="426927" y="20710"/>
                  <a:pt x="426522" y="18182"/>
                </a:cubicBezTo>
                <a:cubicBezTo>
                  <a:pt x="424324" y="8927"/>
                  <a:pt x="404252" y="2044"/>
                  <a:pt x="398584" y="2044"/>
                </a:cubicBezTo>
                <a:lnTo>
                  <a:pt x="398063" y="2044"/>
                </a:lnTo>
                <a:lnTo>
                  <a:pt x="397600" y="2044"/>
                </a:lnTo>
                <a:cubicBezTo>
                  <a:pt x="397600" y="2044"/>
                  <a:pt x="398468" y="3547"/>
                  <a:pt x="398989" y="4415"/>
                </a:cubicBezTo>
                <a:cubicBezTo>
                  <a:pt x="400550" y="6902"/>
                  <a:pt x="402632" y="10200"/>
                  <a:pt x="400724" y="13497"/>
                </a:cubicBezTo>
                <a:cubicBezTo>
                  <a:pt x="399856" y="14729"/>
                  <a:pt x="398468" y="15429"/>
                  <a:pt x="396964" y="15348"/>
                </a:cubicBezTo>
                <a:cubicBezTo>
                  <a:pt x="393204" y="14792"/>
                  <a:pt x="389595" y="13450"/>
                  <a:pt x="386378" y="11414"/>
                </a:cubicBezTo>
                <a:cubicBezTo>
                  <a:pt x="384267" y="10159"/>
                  <a:pt x="381988" y="9205"/>
                  <a:pt x="379611" y="8580"/>
                </a:cubicBezTo>
                <a:lnTo>
                  <a:pt x="379206" y="8580"/>
                </a:lnTo>
                <a:cubicBezTo>
                  <a:pt x="379391" y="10090"/>
                  <a:pt x="379778" y="11571"/>
                  <a:pt x="380363" y="12976"/>
                </a:cubicBezTo>
                <a:cubicBezTo>
                  <a:pt x="381872" y="16129"/>
                  <a:pt x="382237" y="19703"/>
                  <a:pt x="381404" y="23099"/>
                </a:cubicBezTo>
                <a:cubicBezTo>
                  <a:pt x="381051" y="23938"/>
                  <a:pt x="380229" y="24487"/>
                  <a:pt x="379321" y="24487"/>
                </a:cubicBezTo>
                <a:cubicBezTo>
                  <a:pt x="377470" y="24487"/>
                  <a:pt x="375504" y="22347"/>
                  <a:pt x="372149" y="18703"/>
                </a:cubicBezTo>
                <a:cubicBezTo>
                  <a:pt x="368794" y="15059"/>
                  <a:pt x="363761" y="9274"/>
                  <a:pt x="359770" y="9274"/>
                </a:cubicBezTo>
                <a:cubicBezTo>
                  <a:pt x="355779" y="9274"/>
                  <a:pt x="354969" y="11588"/>
                  <a:pt x="353986" y="14249"/>
                </a:cubicBezTo>
                <a:cubicBezTo>
                  <a:pt x="353002" y="16910"/>
                  <a:pt x="351903" y="19223"/>
                  <a:pt x="348201" y="19570"/>
                </a:cubicBezTo>
                <a:lnTo>
                  <a:pt x="348201" y="19570"/>
                </a:lnTo>
                <a:cubicBezTo>
                  <a:pt x="350712" y="21722"/>
                  <a:pt x="353401" y="23660"/>
                  <a:pt x="356242" y="25355"/>
                </a:cubicBezTo>
                <a:cubicBezTo>
                  <a:pt x="358671" y="26917"/>
                  <a:pt x="361216" y="28478"/>
                  <a:pt x="362893" y="29809"/>
                </a:cubicBezTo>
                <a:cubicBezTo>
                  <a:pt x="363912" y="30393"/>
                  <a:pt x="364548" y="31469"/>
                  <a:pt x="364571" y="32643"/>
                </a:cubicBezTo>
                <a:cubicBezTo>
                  <a:pt x="364571" y="34147"/>
                  <a:pt x="362951" y="35073"/>
                  <a:pt x="361447" y="35940"/>
                </a:cubicBezTo>
                <a:cubicBezTo>
                  <a:pt x="359944" y="36808"/>
                  <a:pt x="358960" y="37444"/>
                  <a:pt x="358845" y="38196"/>
                </a:cubicBezTo>
                <a:cubicBezTo>
                  <a:pt x="358729" y="38948"/>
                  <a:pt x="359192" y="39411"/>
                  <a:pt x="359944" y="40221"/>
                </a:cubicBezTo>
                <a:cubicBezTo>
                  <a:pt x="364918" y="45138"/>
                  <a:pt x="374462" y="47509"/>
                  <a:pt x="389213" y="47509"/>
                </a:cubicBezTo>
                <a:cubicBezTo>
                  <a:pt x="402459" y="47174"/>
                  <a:pt x="415647" y="46051"/>
                  <a:pt x="428778" y="44154"/>
                </a:cubicBezTo>
                <a:cubicBezTo>
                  <a:pt x="436587" y="43026"/>
                  <a:pt x="444396" y="42292"/>
                  <a:pt x="452263" y="41956"/>
                </a:cubicBezTo>
                <a:cubicBezTo>
                  <a:pt x="454577" y="41777"/>
                  <a:pt x="456948" y="42153"/>
                  <a:pt x="459089" y="43055"/>
                </a:cubicBezTo>
                <a:cubicBezTo>
                  <a:pt x="460477" y="43807"/>
                  <a:pt x="460650" y="44733"/>
                  <a:pt x="460535" y="45369"/>
                </a:cubicBezTo>
                <a:cubicBezTo>
                  <a:pt x="460130" y="48261"/>
                  <a:pt x="452784" y="50054"/>
                  <a:pt x="433464" y="53988"/>
                </a:cubicBezTo>
                <a:cubicBezTo>
                  <a:pt x="421085" y="56533"/>
                  <a:pt x="404136" y="59772"/>
                  <a:pt x="402632" y="62838"/>
                </a:cubicBezTo>
                <a:cubicBezTo>
                  <a:pt x="404426" y="67408"/>
                  <a:pt x="435546" y="72498"/>
                  <a:pt x="454692" y="72498"/>
                </a:cubicBezTo>
                <a:cubicBezTo>
                  <a:pt x="463774" y="72498"/>
                  <a:pt x="465105" y="71283"/>
                  <a:pt x="465220" y="71167"/>
                </a:cubicBezTo>
                <a:cubicBezTo>
                  <a:pt x="465857" y="70294"/>
                  <a:pt x="466840" y="69727"/>
                  <a:pt x="467881" y="6960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4" name="Forma libre: forma 413">
            <a:extLst>
              <a:ext uri="{FF2B5EF4-FFF2-40B4-BE49-F238E27FC236}">
                <a16:creationId xmlns:a16="http://schemas.microsoft.com/office/drawing/2014/main" id="{A859EB49-6758-7C98-B956-A49BF425DCB1}"/>
              </a:ext>
            </a:extLst>
          </p:cNvPr>
          <p:cNvSpPr/>
          <p:nvPr/>
        </p:nvSpPr>
        <p:spPr>
          <a:xfrm>
            <a:off x="11322176" y="2446864"/>
            <a:ext cx="87209" cy="28777"/>
          </a:xfrm>
          <a:custGeom>
            <a:avLst/>
            <a:gdLst>
              <a:gd name="connsiteX0" fmla="*/ 67375 w 87209"/>
              <a:gd name="connsiteY0" fmla="*/ 28647 h 28777"/>
              <a:gd name="connsiteX1" fmla="*/ 67375 w 87209"/>
              <a:gd name="connsiteY1" fmla="*/ 28647 h 28777"/>
              <a:gd name="connsiteX2" fmla="*/ 52162 w 87209"/>
              <a:gd name="connsiteY2" fmla="*/ 24713 h 28777"/>
              <a:gd name="connsiteX3" fmla="*/ 24281 w 87209"/>
              <a:gd name="connsiteY3" fmla="*/ 18929 h 28777"/>
              <a:gd name="connsiteX4" fmla="*/ 1143 w 87209"/>
              <a:gd name="connsiteY4" fmla="*/ 13145 h 28777"/>
              <a:gd name="connsiteX5" fmla="*/ 44 w 87209"/>
              <a:gd name="connsiteY5" fmla="*/ 9269 h 28777"/>
              <a:gd name="connsiteX6" fmla="*/ 20348 w 87209"/>
              <a:gd name="connsiteY6" fmla="*/ 3485 h 28777"/>
              <a:gd name="connsiteX7" fmla="*/ 35271 w 87209"/>
              <a:gd name="connsiteY7" fmla="*/ 824 h 28777"/>
              <a:gd name="connsiteX8" fmla="*/ 39494 w 87209"/>
              <a:gd name="connsiteY8" fmla="*/ -102 h 28777"/>
              <a:gd name="connsiteX9" fmla="*/ 87100 w 87209"/>
              <a:gd name="connsiteY9" fmla="*/ 18698 h 28777"/>
              <a:gd name="connsiteX10" fmla="*/ 80968 w 87209"/>
              <a:gd name="connsiteY10" fmla="*/ 25581 h 28777"/>
              <a:gd name="connsiteX11" fmla="*/ 67375 w 87209"/>
              <a:gd name="connsiteY11" fmla="*/ 28647 h 28777"/>
              <a:gd name="connsiteX12" fmla="*/ 39321 w 87209"/>
              <a:gd name="connsiteY12" fmla="*/ 2386 h 28777"/>
              <a:gd name="connsiteX13" fmla="*/ 36429 w 87209"/>
              <a:gd name="connsiteY13" fmla="*/ 2848 h 28777"/>
              <a:gd name="connsiteX14" fmla="*/ 20406 w 87209"/>
              <a:gd name="connsiteY14" fmla="*/ 5972 h 28777"/>
              <a:gd name="connsiteX15" fmla="*/ 1953 w 87209"/>
              <a:gd name="connsiteY15" fmla="*/ 10137 h 28777"/>
              <a:gd name="connsiteX16" fmla="*/ 2647 w 87209"/>
              <a:gd name="connsiteY16" fmla="*/ 11698 h 28777"/>
              <a:gd name="connsiteX17" fmla="*/ 24512 w 87209"/>
              <a:gd name="connsiteY17" fmla="*/ 16673 h 28777"/>
              <a:gd name="connsiteX18" fmla="*/ 53435 w 87209"/>
              <a:gd name="connsiteY18" fmla="*/ 22458 h 28777"/>
              <a:gd name="connsiteX19" fmla="*/ 67491 w 87209"/>
              <a:gd name="connsiteY19" fmla="*/ 26102 h 28777"/>
              <a:gd name="connsiteX20" fmla="*/ 79927 w 87209"/>
              <a:gd name="connsiteY20" fmla="*/ 23499 h 28777"/>
              <a:gd name="connsiteX21" fmla="*/ 84786 w 87209"/>
              <a:gd name="connsiteY21" fmla="*/ 18640 h 28777"/>
              <a:gd name="connsiteX22" fmla="*/ 39321 w 87209"/>
              <a:gd name="connsiteY22" fmla="*/ 2386 h 2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209" h="28777">
                <a:moveTo>
                  <a:pt x="67375" y="28647"/>
                </a:moveTo>
                <a:lnTo>
                  <a:pt x="67375" y="28647"/>
                </a:lnTo>
                <a:cubicBezTo>
                  <a:pt x="62053" y="28705"/>
                  <a:pt x="56789" y="27351"/>
                  <a:pt x="52162" y="24713"/>
                </a:cubicBezTo>
                <a:cubicBezTo>
                  <a:pt x="43312" y="21006"/>
                  <a:pt x="33883" y="19039"/>
                  <a:pt x="24281" y="18929"/>
                </a:cubicBezTo>
                <a:cubicBezTo>
                  <a:pt x="13696" y="18003"/>
                  <a:pt x="4498" y="17136"/>
                  <a:pt x="1143" y="13145"/>
                </a:cubicBezTo>
                <a:cubicBezTo>
                  <a:pt x="44" y="12184"/>
                  <a:pt x="-361" y="10663"/>
                  <a:pt x="44" y="9269"/>
                </a:cubicBezTo>
                <a:cubicBezTo>
                  <a:pt x="1375" y="5856"/>
                  <a:pt x="8605" y="4873"/>
                  <a:pt x="20348" y="3485"/>
                </a:cubicBezTo>
                <a:cubicBezTo>
                  <a:pt x="25438" y="3363"/>
                  <a:pt x="30470" y="2467"/>
                  <a:pt x="35271" y="824"/>
                </a:cubicBezTo>
                <a:cubicBezTo>
                  <a:pt x="36544" y="89"/>
                  <a:pt x="38048" y="-229"/>
                  <a:pt x="39494" y="-102"/>
                </a:cubicBezTo>
                <a:cubicBezTo>
                  <a:pt x="50311" y="-102"/>
                  <a:pt x="87100" y="11467"/>
                  <a:pt x="87100" y="18698"/>
                </a:cubicBezTo>
                <a:cubicBezTo>
                  <a:pt x="87100" y="21185"/>
                  <a:pt x="84844" y="23730"/>
                  <a:pt x="80968" y="25581"/>
                </a:cubicBezTo>
                <a:cubicBezTo>
                  <a:pt x="76688" y="27583"/>
                  <a:pt x="72060" y="28630"/>
                  <a:pt x="67375" y="28647"/>
                </a:cubicBezTo>
                <a:close/>
                <a:moveTo>
                  <a:pt x="39321" y="2386"/>
                </a:moveTo>
                <a:cubicBezTo>
                  <a:pt x="38337" y="2299"/>
                  <a:pt x="37354" y="2461"/>
                  <a:pt x="36429" y="2848"/>
                </a:cubicBezTo>
                <a:cubicBezTo>
                  <a:pt x="31338" y="4856"/>
                  <a:pt x="25901" y="5914"/>
                  <a:pt x="20406" y="5972"/>
                </a:cubicBezTo>
                <a:cubicBezTo>
                  <a:pt x="13406" y="6724"/>
                  <a:pt x="3052" y="7765"/>
                  <a:pt x="1953" y="10137"/>
                </a:cubicBezTo>
                <a:cubicBezTo>
                  <a:pt x="1953" y="10599"/>
                  <a:pt x="2242" y="11236"/>
                  <a:pt x="2647" y="11698"/>
                </a:cubicBezTo>
                <a:cubicBezTo>
                  <a:pt x="5597" y="14996"/>
                  <a:pt x="14737" y="15806"/>
                  <a:pt x="24512" y="16673"/>
                </a:cubicBezTo>
                <a:cubicBezTo>
                  <a:pt x="34461" y="16690"/>
                  <a:pt x="44237" y="18657"/>
                  <a:pt x="53435" y="22458"/>
                </a:cubicBezTo>
                <a:cubicBezTo>
                  <a:pt x="57715" y="24910"/>
                  <a:pt x="62574" y="26171"/>
                  <a:pt x="67491" y="26102"/>
                </a:cubicBezTo>
                <a:cubicBezTo>
                  <a:pt x="71771" y="26148"/>
                  <a:pt x="75994" y="25257"/>
                  <a:pt x="79927" y="23499"/>
                </a:cubicBezTo>
                <a:cubicBezTo>
                  <a:pt x="82935" y="22053"/>
                  <a:pt x="84786" y="20202"/>
                  <a:pt x="84786" y="18640"/>
                </a:cubicBezTo>
                <a:cubicBezTo>
                  <a:pt x="84671" y="14880"/>
                  <a:pt x="52740" y="2386"/>
                  <a:pt x="39321" y="238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5" name="Forma libre: forma 414">
            <a:extLst>
              <a:ext uri="{FF2B5EF4-FFF2-40B4-BE49-F238E27FC236}">
                <a16:creationId xmlns:a16="http://schemas.microsoft.com/office/drawing/2014/main" id="{2A774858-35EA-6FEE-79D4-CA7F640858DB}"/>
              </a:ext>
            </a:extLst>
          </p:cNvPr>
          <p:cNvSpPr/>
          <p:nvPr/>
        </p:nvSpPr>
        <p:spPr>
          <a:xfrm>
            <a:off x="9699816" y="3141369"/>
            <a:ext cx="466693" cy="462233"/>
          </a:xfrm>
          <a:custGeom>
            <a:avLst/>
            <a:gdLst>
              <a:gd name="connsiteX0" fmla="*/ 31629 w 466693"/>
              <a:gd name="connsiteY0" fmla="*/ 462047 h 462233"/>
              <a:gd name="connsiteX1" fmla="*/ 22604 w 466693"/>
              <a:gd name="connsiteY1" fmla="*/ 455800 h 462233"/>
              <a:gd name="connsiteX2" fmla="*/ 21390 w 466693"/>
              <a:gd name="connsiteY2" fmla="*/ 427225 h 462233"/>
              <a:gd name="connsiteX3" fmla="*/ 21390 w 466693"/>
              <a:gd name="connsiteY3" fmla="*/ 400617 h 462233"/>
              <a:gd name="connsiteX4" fmla="*/ 20175 w 466693"/>
              <a:gd name="connsiteY4" fmla="*/ 399286 h 462233"/>
              <a:gd name="connsiteX5" fmla="*/ 19366 w 466693"/>
              <a:gd name="connsiteY5" fmla="*/ 400617 h 462233"/>
              <a:gd name="connsiteX6" fmla="*/ 7797 w 466693"/>
              <a:gd name="connsiteY6" fmla="*/ 413285 h 462233"/>
              <a:gd name="connsiteX7" fmla="*/ 2012 w 466693"/>
              <a:gd name="connsiteY7" fmla="*/ 408830 h 462233"/>
              <a:gd name="connsiteX8" fmla="*/ 10342 w 466693"/>
              <a:gd name="connsiteY8" fmla="*/ 390436 h 462233"/>
              <a:gd name="connsiteX9" fmla="*/ 13697 w 466693"/>
              <a:gd name="connsiteY9" fmla="*/ 388006 h 462233"/>
              <a:gd name="connsiteX10" fmla="*/ 34694 w 466693"/>
              <a:gd name="connsiteY10" fmla="*/ 378404 h 462233"/>
              <a:gd name="connsiteX11" fmla="*/ 40479 w 466693"/>
              <a:gd name="connsiteY11" fmla="*/ 382980 h 462233"/>
              <a:gd name="connsiteX12" fmla="*/ 40479 w 466693"/>
              <a:gd name="connsiteY12" fmla="*/ 383148 h 462233"/>
              <a:gd name="connsiteX13" fmla="*/ 48750 w 466693"/>
              <a:gd name="connsiteY13" fmla="*/ 388585 h 462233"/>
              <a:gd name="connsiteX14" fmla="*/ 58989 w 466693"/>
              <a:gd name="connsiteY14" fmla="*/ 397030 h 462233"/>
              <a:gd name="connsiteX15" fmla="*/ 63501 w 466693"/>
              <a:gd name="connsiteY15" fmla="*/ 401195 h 462233"/>
              <a:gd name="connsiteX16" fmla="*/ 68765 w 466693"/>
              <a:gd name="connsiteY16" fmla="*/ 405418 h 462233"/>
              <a:gd name="connsiteX17" fmla="*/ 64427 w 466693"/>
              <a:gd name="connsiteY17" fmla="*/ 415483 h 462233"/>
              <a:gd name="connsiteX18" fmla="*/ 50138 w 466693"/>
              <a:gd name="connsiteY18" fmla="*/ 438967 h 462233"/>
              <a:gd name="connsiteX19" fmla="*/ 32785 w 466693"/>
              <a:gd name="connsiteY19" fmla="*/ 462105 h 462233"/>
              <a:gd name="connsiteX20" fmla="*/ 20060 w 466693"/>
              <a:gd name="connsiteY20" fmla="*/ 397030 h 462233"/>
              <a:gd name="connsiteX21" fmla="*/ 23126 w 466693"/>
              <a:gd name="connsiteY21" fmla="*/ 399344 h 462233"/>
              <a:gd name="connsiteX22" fmla="*/ 23126 w 466693"/>
              <a:gd name="connsiteY22" fmla="*/ 428266 h 462233"/>
              <a:gd name="connsiteX23" fmla="*/ 24224 w 466693"/>
              <a:gd name="connsiteY23" fmla="*/ 454643 h 462233"/>
              <a:gd name="connsiteX24" fmla="*/ 32381 w 466693"/>
              <a:gd name="connsiteY24" fmla="*/ 459734 h 462233"/>
              <a:gd name="connsiteX25" fmla="*/ 47940 w 466693"/>
              <a:gd name="connsiteY25" fmla="*/ 437926 h 462233"/>
              <a:gd name="connsiteX26" fmla="*/ 62459 w 466693"/>
              <a:gd name="connsiteY26" fmla="*/ 414152 h 462233"/>
              <a:gd name="connsiteX27" fmla="*/ 66335 w 466693"/>
              <a:gd name="connsiteY27" fmla="*/ 406054 h 462233"/>
              <a:gd name="connsiteX28" fmla="*/ 62459 w 466693"/>
              <a:gd name="connsiteY28" fmla="*/ 403335 h 462233"/>
              <a:gd name="connsiteX29" fmla="*/ 56675 w 466693"/>
              <a:gd name="connsiteY29" fmla="*/ 397088 h 462233"/>
              <a:gd name="connsiteX30" fmla="*/ 47998 w 466693"/>
              <a:gd name="connsiteY30" fmla="*/ 390783 h 462233"/>
              <a:gd name="connsiteX31" fmla="*/ 38165 w 466693"/>
              <a:gd name="connsiteY31" fmla="*/ 383495 h 462233"/>
              <a:gd name="connsiteX32" fmla="*/ 34579 w 466693"/>
              <a:gd name="connsiteY32" fmla="*/ 380718 h 462233"/>
              <a:gd name="connsiteX33" fmla="*/ 14911 w 466693"/>
              <a:gd name="connsiteY33" fmla="*/ 389915 h 462233"/>
              <a:gd name="connsiteX34" fmla="*/ 11557 w 466693"/>
              <a:gd name="connsiteY34" fmla="*/ 392345 h 462233"/>
              <a:gd name="connsiteX35" fmla="*/ 3921 w 466693"/>
              <a:gd name="connsiteY35" fmla="*/ 407847 h 462233"/>
              <a:gd name="connsiteX36" fmla="*/ 7855 w 466693"/>
              <a:gd name="connsiteY36" fmla="*/ 411086 h 462233"/>
              <a:gd name="connsiteX37" fmla="*/ 17167 w 466693"/>
              <a:gd name="connsiteY37" fmla="*/ 399922 h 462233"/>
              <a:gd name="connsiteX38" fmla="*/ 20349 w 466693"/>
              <a:gd name="connsiteY38" fmla="*/ 397030 h 462233"/>
              <a:gd name="connsiteX39" fmla="*/ 90283 w 466693"/>
              <a:gd name="connsiteY39" fmla="*/ 411607 h 462233"/>
              <a:gd name="connsiteX40" fmla="*/ 83284 w 466693"/>
              <a:gd name="connsiteY40" fmla="*/ 410161 h 462233"/>
              <a:gd name="connsiteX41" fmla="*/ 76168 w 466693"/>
              <a:gd name="connsiteY41" fmla="*/ 390610 h 462233"/>
              <a:gd name="connsiteX42" fmla="*/ 87737 w 466693"/>
              <a:gd name="connsiteY42" fmla="*/ 371695 h 462233"/>
              <a:gd name="connsiteX43" fmla="*/ 99306 w 466693"/>
              <a:gd name="connsiteY43" fmla="*/ 370653 h 462233"/>
              <a:gd name="connsiteX44" fmla="*/ 112611 w 466693"/>
              <a:gd name="connsiteY44" fmla="*/ 364869 h 462233"/>
              <a:gd name="connsiteX45" fmla="*/ 127072 w 466693"/>
              <a:gd name="connsiteY45" fmla="*/ 357870 h 462233"/>
              <a:gd name="connsiteX46" fmla="*/ 142227 w 466693"/>
              <a:gd name="connsiteY46" fmla="*/ 368513 h 462233"/>
              <a:gd name="connsiteX47" fmla="*/ 136905 w 466693"/>
              <a:gd name="connsiteY47" fmla="*/ 385577 h 462233"/>
              <a:gd name="connsiteX48" fmla="*/ 125336 w 466693"/>
              <a:gd name="connsiteY48" fmla="*/ 394485 h 462233"/>
              <a:gd name="connsiteX49" fmla="*/ 125336 w 466693"/>
              <a:gd name="connsiteY49" fmla="*/ 394485 h 462233"/>
              <a:gd name="connsiteX50" fmla="*/ 122213 w 466693"/>
              <a:gd name="connsiteY50" fmla="*/ 393733 h 462233"/>
              <a:gd name="connsiteX51" fmla="*/ 115040 w 466693"/>
              <a:gd name="connsiteY51" fmla="*/ 392171 h 462233"/>
              <a:gd name="connsiteX52" fmla="*/ 100348 w 466693"/>
              <a:gd name="connsiteY52" fmla="*/ 401889 h 462233"/>
              <a:gd name="connsiteX53" fmla="*/ 90572 w 466693"/>
              <a:gd name="connsiteY53" fmla="*/ 411607 h 462233"/>
              <a:gd name="connsiteX54" fmla="*/ 126956 w 466693"/>
              <a:gd name="connsiteY54" fmla="*/ 360357 h 462233"/>
              <a:gd name="connsiteX55" fmla="*/ 114577 w 466693"/>
              <a:gd name="connsiteY55" fmla="*/ 366141 h 462233"/>
              <a:gd name="connsiteX56" fmla="*/ 99248 w 466693"/>
              <a:gd name="connsiteY56" fmla="*/ 373141 h 462233"/>
              <a:gd name="connsiteX57" fmla="*/ 87679 w 466693"/>
              <a:gd name="connsiteY57" fmla="*/ 374124 h 462233"/>
              <a:gd name="connsiteX58" fmla="*/ 78251 w 466693"/>
              <a:gd name="connsiteY58" fmla="*/ 390957 h 462233"/>
              <a:gd name="connsiteX59" fmla="*/ 84036 w 466693"/>
              <a:gd name="connsiteY59" fmla="*/ 408310 h 462233"/>
              <a:gd name="connsiteX60" fmla="*/ 90341 w 466693"/>
              <a:gd name="connsiteY60" fmla="*/ 409582 h 462233"/>
              <a:gd name="connsiteX61" fmla="*/ 97918 w 466693"/>
              <a:gd name="connsiteY61" fmla="*/ 401831 h 462233"/>
              <a:gd name="connsiteX62" fmla="*/ 114809 w 466693"/>
              <a:gd name="connsiteY62" fmla="*/ 390262 h 462233"/>
              <a:gd name="connsiteX63" fmla="*/ 122965 w 466693"/>
              <a:gd name="connsiteY63" fmla="*/ 392056 h 462233"/>
              <a:gd name="connsiteX64" fmla="*/ 125105 w 466693"/>
              <a:gd name="connsiteY64" fmla="*/ 392576 h 462233"/>
              <a:gd name="connsiteX65" fmla="*/ 125105 w 466693"/>
              <a:gd name="connsiteY65" fmla="*/ 392576 h 462233"/>
              <a:gd name="connsiteX66" fmla="*/ 134938 w 466693"/>
              <a:gd name="connsiteY66" fmla="*/ 384767 h 462233"/>
              <a:gd name="connsiteX67" fmla="*/ 139913 w 466693"/>
              <a:gd name="connsiteY67" fmla="*/ 368860 h 462233"/>
              <a:gd name="connsiteX68" fmla="*/ 127245 w 466693"/>
              <a:gd name="connsiteY68" fmla="*/ 360357 h 462233"/>
              <a:gd name="connsiteX69" fmla="*/ 164381 w 466693"/>
              <a:gd name="connsiteY69" fmla="*/ 384189 h 462233"/>
              <a:gd name="connsiteX70" fmla="*/ 151945 w 466693"/>
              <a:gd name="connsiteY70" fmla="*/ 374529 h 462233"/>
              <a:gd name="connsiteX71" fmla="*/ 153564 w 466693"/>
              <a:gd name="connsiteY71" fmla="*/ 362439 h 462233"/>
              <a:gd name="connsiteX72" fmla="*/ 154085 w 466693"/>
              <a:gd name="connsiteY72" fmla="*/ 353763 h 462233"/>
              <a:gd name="connsiteX73" fmla="*/ 141822 w 466693"/>
              <a:gd name="connsiteY73" fmla="*/ 351333 h 462233"/>
              <a:gd name="connsiteX74" fmla="*/ 74086 w 466693"/>
              <a:gd name="connsiteY74" fmla="*/ 367761 h 462233"/>
              <a:gd name="connsiteX75" fmla="*/ 58063 w 466693"/>
              <a:gd name="connsiteY75" fmla="*/ 372909 h 462233"/>
              <a:gd name="connsiteX76" fmla="*/ 43776 w 466693"/>
              <a:gd name="connsiteY76" fmla="*/ 375454 h 462233"/>
              <a:gd name="connsiteX77" fmla="*/ 41809 w 466693"/>
              <a:gd name="connsiteY77" fmla="*/ 375859 h 462233"/>
              <a:gd name="connsiteX78" fmla="*/ 34579 w 466693"/>
              <a:gd name="connsiteY78" fmla="*/ 366951 h 462233"/>
              <a:gd name="connsiteX79" fmla="*/ 43024 w 466693"/>
              <a:gd name="connsiteY79" fmla="*/ 357361 h 462233"/>
              <a:gd name="connsiteX80" fmla="*/ 43197 w 466693"/>
              <a:gd name="connsiteY80" fmla="*/ 357349 h 462233"/>
              <a:gd name="connsiteX81" fmla="*/ 82647 w 466693"/>
              <a:gd name="connsiteY81" fmla="*/ 328427 h 462233"/>
              <a:gd name="connsiteX82" fmla="*/ 84614 w 466693"/>
              <a:gd name="connsiteY82" fmla="*/ 326460 h 462233"/>
              <a:gd name="connsiteX83" fmla="*/ 94332 w 466693"/>
              <a:gd name="connsiteY83" fmla="*/ 322353 h 462233"/>
              <a:gd name="connsiteX84" fmla="*/ 103298 w 466693"/>
              <a:gd name="connsiteY84" fmla="*/ 323857 h 462233"/>
              <a:gd name="connsiteX85" fmla="*/ 114867 w 466693"/>
              <a:gd name="connsiteY85" fmla="*/ 325766 h 462233"/>
              <a:gd name="connsiteX86" fmla="*/ 125105 w 466693"/>
              <a:gd name="connsiteY86" fmla="*/ 323799 h 462233"/>
              <a:gd name="connsiteX87" fmla="*/ 158828 w 466693"/>
              <a:gd name="connsiteY87" fmla="*/ 317552 h 462233"/>
              <a:gd name="connsiteX88" fmla="*/ 159754 w 466693"/>
              <a:gd name="connsiteY88" fmla="*/ 320907 h 462233"/>
              <a:gd name="connsiteX89" fmla="*/ 160100 w 466693"/>
              <a:gd name="connsiteY89" fmla="*/ 322122 h 462233"/>
              <a:gd name="connsiteX90" fmla="*/ 164208 w 466693"/>
              <a:gd name="connsiteY90" fmla="*/ 323221 h 462233"/>
              <a:gd name="connsiteX91" fmla="*/ 175025 w 466693"/>
              <a:gd name="connsiteY91" fmla="*/ 318825 h 462233"/>
              <a:gd name="connsiteX92" fmla="*/ 174677 w 466693"/>
              <a:gd name="connsiteY92" fmla="*/ 315817 h 462233"/>
              <a:gd name="connsiteX93" fmla="*/ 180057 w 466693"/>
              <a:gd name="connsiteY93" fmla="*/ 305231 h 462233"/>
              <a:gd name="connsiteX94" fmla="*/ 191626 w 466693"/>
              <a:gd name="connsiteY94" fmla="*/ 287878 h 462233"/>
              <a:gd name="connsiteX95" fmla="*/ 198914 w 466693"/>
              <a:gd name="connsiteY95" fmla="*/ 270236 h 462233"/>
              <a:gd name="connsiteX96" fmla="*/ 211814 w 466693"/>
              <a:gd name="connsiteY96" fmla="*/ 262658 h 462233"/>
              <a:gd name="connsiteX97" fmla="*/ 214012 w 466693"/>
              <a:gd name="connsiteY97" fmla="*/ 263641 h 462233"/>
              <a:gd name="connsiteX98" fmla="*/ 214012 w 466693"/>
              <a:gd name="connsiteY98" fmla="*/ 266476 h 462233"/>
              <a:gd name="connsiteX99" fmla="*/ 214764 w 466693"/>
              <a:gd name="connsiteY99" fmla="*/ 274516 h 462233"/>
              <a:gd name="connsiteX100" fmla="*/ 220548 w 466693"/>
              <a:gd name="connsiteY100" fmla="*/ 277871 h 462233"/>
              <a:gd name="connsiteX101" fmla="*/ 229803 w 466693"/>
              <a:gd name="connsiteY101" fmla="*/ 273995 h 462233"/>
              <a:gd name="connsiteX102" fmla="*/ 243744 w 466693"/>
              <a:gd name="connsiteY102" fmla="*/ 265897 h 462233"/>
              <a:gd name="connsiteX103" fmla="*/ 254387 w 466693"/>
              <a:gd name="connsiteY103" fmla="*/ 255254 h 462233"/>
              <a:gd name="connsiteX104" fmla="*/ 262890 w 466693"/>
              <a:gd name="connsiteY104" fmla="*/ 244090 h 462233"/>
              <a:gd name="connsiteX105" fmla="*/ 271335 w 466693"/>
              <a:gd name="connsiteY105" fmla="*/ 228877 h 462233"/>
              <a:gd name="connsiteX106" fmla="*/ 280879 w 466693"/>
              <a:gd name="connsiteY106" fmla="*/ 207706 h 462233"/>
              <a:gd name="connsiteX107" fmla="*/ 285507 w 466693"/>
              <a:gd name="connsiteY107" fmla="*/ 193360 h 462233"/>
              <a:gd name="connsiteX108" fmla="*/ 280764 w 466693"/>
              <a:gd name="connsiteY108" fmla="*/ 175371 h 462233"/>
              <a:gd name="connsiteX109" fmla="*/ 290540 w 466693"/>
              <a:gd name="connsiteY109" fmla="*/ 155125 h 462233"/>
              <a:gd name="connsiteX110" fmla="*/ 297365 w 466693"/>
              <a:gd name="connsiteY110" fmla="*/ 151076 h 462233"/>
              <a:gd name="connsiteX111" fmla="*/ 320850 w 466693"/>
              <a:gd name="connsiteY111" fmla="*/ 140144 h 462233"/>
              <a:gd name="connsiteX112" fmla="*/ 326924 w 466693"/>
              <a:gd name="connsiteY112" fmla="*/ 145610 h 462233"/>
              <a:gd name="connsiteX113" fmla="*/ 326924 w 466693"/>
              <a:gd name="connsiteY113" fmla="*/ 146391 h 462233"/>
              <a:gd name="connsiteX114" fmla="*/ 333287 w 466693"/>
              <a:gd name="connsiteY114" fmla="*/ 170454 h 462233"/>
              <a:gd name="connsiteX115" fmla="*/ 339418 w 466693"/>
              <a:gd name="connsiteY115" fmla="*/ 219969 h 462233"/>
              <a:gd name="connsiteX116" fmla="*/ 328890 w 466693"/>
              <a:gd name="connsiteY116" fmla="*/ 227951 h 462233"/>
              <a:gd name="connsiteX117" fmla="*/ 314661 w 466693"/>
              <a:gd name="connsiteY117" fmla="*/ 248486 h 462233"/>
              <a:gd name="connsiteX118" fmla="*/ 308125 w 466693"/>
              <a:gd name="connsiteY118" fmla="*/ 291696 h 462233"/>
              <a:gd name="connsiteX119" fmla="*/ 305811 w 466693"/>
              <a:gd name="connsiteY119" fmla="*/ 307950 h 462233"/>
              <a:gd name="connsiteX120" fmla="*/ 300720 w 466693"/>
              <a:gd name="connsiteY120" fmla="*/ 330567 h 462233"/>
              <a:gd name="connsiteX121" fmla="*/ 281227 w 466693"/>
              <a:gd name="connsiteY121" fmla="*/ 340401 h 462233"/>
              <a:gd name="connsiteX122" fmla="*/ 281227 w 466693"/>
              <a:gd name="connsiteY122" fmla="*/ 340401 h 462233"/>
              <a:gd name="connsiteX123" fmla="*/ 273013 w 466693"/>
              <a:gd name="connsiteY123" fmla="*/ 334206 h 462233"/>
              <a:gd name="connsiteX124" fmla="*/ 272955 w 466693"/>
              <a:gd name="connsiteY124" fmla="*/ 333922 h 462233"/>
              <a:gd name="connsiteX125" fmla="*/ 271335 w 466693"/>
              <a:gd name="connsiteY125" fmla="*/ 336930 h 462233"/>
              <a:gd name="connsiteX126" fmla="*/ 257973 w 466693"/>
              <a:gd name="connsiteY126" fmla="*/ 351102 h 462233"/>
              <a:gd name="connsiteX127" fmla="*/ 257163 w 466693"/>
              <a:gd name="connsiteY127" fmla="*/ 351102 h 462233"/>
              <a:gd name="connsiteX128" fmla="*/ 248140 w 466693"/>
              <a:gd name="connsiteY128" fmla="*/ 346821 h 462233"/>
              <a:gd name="connsiteX129" fmla="*/ 243802 w 466693"/>
              <a:gd name="connsiteY129" fmla="*/ 344276 h 462233"/>
              <a:gd name="connsiteX130" fmla="*/ 238711 w 466693"/>
              <a:gd name="connsiteY130" fmla="*/ 348904 h 462233"/>
              <a:gd name="connsiteX131" fmla="*/ 219044 w 466693"/>
              <a:gd name="connsiteY131" fmla="*/ 359142 h 462233"/>
              <a:gd name="connsiteX132" fmla="*/ 202095 w 466693"/>
              <a:gd name="connsiteY132" fmla="*/ 351391 h 462233"/>
              <a:gd name="connsiteX133" fmla="*/ 195501 w 466693"/>
              <a:gd name="connsiteY133" fmla="*/ 346995 h 462233"/>
              <a:gd name="connsiteX134" fmla="*/ 192783 w 466693"/>
              <a:gd name="connsiteY134" fmla="*/ 348557 h 462233"/>
              <a:gd name="connsiteX135" fmla="*/ 195617 w 466693"/>
              <a:gd name="connsiteY135" fmla="*/ 353878 h 462233"/>
              <a:gd name="connsiteX136" fmla="*/ 199839 w 466693"/>
              <a:gd name="connsiteY136" fmla="*/ 359663 h 462233"/>
              <a:gd name="connsiteX137" fmla="*/ 195154 w 466693"/>
              <a:gd name="connsiteY137" fmla="*/ 365447 h 462233"/>
              <a:gd name="connsiteX138" fmla="*/ 186073 w 466693"/>
              <a:gd name="connsiteY138" fmla="*/ 373950 h 462233"/>
              <a:gd name="connsiteX139" fmla="*/ 164670 w 466693"/>
              <a:gd name="connsiteY139" fmla="*/ 384189 h 462233"/>
              <a:gd name="connsiteX140" fmla="*/ 144078 w 466693"/>
              <a:gd name="connsiteY140" fmla="*/ 349019 h 462233"/>
              <a:gd name="connsiteX141" fmla="*/ 155646 w 466693"/>
              <a:gd name="connsiteY141" fmla="*/ 352375 h 462233"/>
              <a:gd name="connsiteX142" fmla="*/ 155646 w 466693"/>
              <a:gd name="connsiteY142" fmla="*/ 363018 h 462233"/>
              <a:gd name="connsiteX143" fmla="*/ 154085 w 466693"/>
              <a:gd name="connsiteY143" fmla="*/ 374297 h 462233"/>
              <a:gd name="connsiteX144" fmla="*/ 164266 w 466693"/>
              <a:gd name="connsiteY144" fmla="*/ 381933 h 462233"/>
              <a:gd name="connsiteX145" fmla="*/ 184453 w 466693"/>
              <a:gd name="connsiteY145" fmla="*/ 372042 h 462233"/>
              <a:gd name="connsiteX146" fmla="*/ 193766 w 466693"/>
              <a:gd name="connsiteY146" fmla="*/ 363307 h 462233"/>
              <a:gd name="connsiteX147" fmla="*/ 197641 w 466693"/>
              <a:gd name="connsiteY147" fmla="*/ 359142 h 462233"/>
              <a:gd name="connsiteX148" fmla="*/ 194229 w 466693"/>
              <a:gd name="connsiteY148" fmla="*/ 355093 h 462233"/>
              <a:gd name="connsiteX149" fmla="*/ 190700 w 466693"/>
              <a:gd name="connsiteY149" fmla="*/ 347226 h 462233"/>
              <a:gd name="connsiteX150" fmla="*/ 195559 w 466693"/>
              <a:gd name="connsiteY150" fmla="*/ 344161 h 462233"/>
              <a:gd name="connsiteX151" fmla="*/ 204005 w 466693"/>
              <a:gd name="connsiteY151" fmla="*/ 349540 h 462233"/>
              <a:gd name="connsiteX152" fmla="*/ 219102 w 466693"/>
              <a:gd name="connsiteY152" fmla="*/ 356308 h 462233"/>
              <a:gd name="connsiteX153" fmla="*/ 236802 w 466693"/>
              <a:gd name="connsiteY153" fmla="*/ 347168 h 462233"/>
              <a:gd name="connsiteX154" fmla="*/ 243859 w 466693"/>
              <a:gd name="connsiteY154" fmla="*/ 341384 h 462233"/>
              <a:gd name="connsiteX155" fmla="*/ 249643 w 466693"/>
              <a:gd name="connsiteY155" fmla="*/ 344450 h 462233"/>
              <a:gd name="connsiteX156" fmla="*/ 257800 w 466693"/>
              <a:gd name="connsiteY156" fmla="*/ 348152 h 462233"/>
              <a:gd name="connsiteX157" fmla="*/ 269368 w 466693"/>
              <a:gd name="connsiteY157" fmla="*/ 335195 h 462233"/>
              <a:gd name="connsiteX158" fmla="*/ 273418 w 466693"/>
              <a:gd name="connsiteY158" fmla="*/ 330047 h 462233"/>
              <a:gd name="connsiteX159" fmla="*/ 275269 w 466693"/>
              <a:gd name="connsiteY159" fmla="*/ 333054 h 462233"/>
              <a:gd name="connsiteX160" fmla="*/ 281053 w 466693"/>
              <a:gd name="connsiteY160" fmla="*/ 337451 h 462233"/>
              <a:gd name="connsiteX161" fmla="*/ 298927 w 466693"/>
              <a:gd name="connsiteY161" fmla="*/ 328369 h 462233"/>
              <a:gd name="connsiteX162" fmla="*/ 303381 w 466693"/>
              <a:gd name="connsiteY162" fmla="*/ 307372 h 462233"/>
              <a:gd name="connsiteX163" fmla="*/ 306099 w 466693"/>
              <a:gd name="connsiteY163" fmla="*/ 289729 h 462233"/>
              <a:gd name="connsiteX164" fmla="*/ 312463 w 466693"/>
              <a:gd name="connsiteY164" fmla="*/ 248891 h 462233"/>
              <a:gd name="connsiteX165" fmla="*/ 327444 w 466693"/>
              <a:gd name="connsiteY165" fmla="*/ 225406 h 462233"/>
              <a:gd name="connsiteX166" fmla="*/ 337741 w 466693"/>
              <a:gd name="connsiteY166" fmla="*/ 217655 h 462233"/>
              <a:gd name="connsiteX167" fmla="*/ 330915 w 466693"/>
              <a:gd name="connsiteY167" fmla="*/ 170454 h 462233"/>
              <a:gd name="connsiteX168" fmla="*/ 324494 w 466693"/>
              <a:gd name="connsiteY168" fmla="*/ 145870 h 462233"/>
              <a:gd name="connsiteX169" fmla="*/ 320676 w 466693"/>
              <a:gd name="connsiteY169" fmla="*/ 141706 h 462233"/>
              <a:gd name="connsiteX170" fmla="*/ 298348 w 466693"/>
              <a:gd name="connsiteY170" fmla="*/ 152291 h 462233"/>
              <a:gd name="connsiteX171" fmla="*/ 291350 w 466693"/>
              <a:gd name="connsiteY171" fmla="*/ 156456 h 462233"/>
              <a:gd name="connsiteX172" fmla="*/ 282847 w 466693"/>
              <a:gd name="connsiteY172" fmla="*/ 174908 h 462233"/>
              <a:gd name="connsiteX173" fmla="*/ 286722 w 466693"/>
              <a:gd name="connsiteY173" fmla="*/ 190931 h 462233"/>
              <a:gd name="connsiteX174" fmla="*/ 282557 w 466693"/>
              <a:gd name="connsiteY174" fmla="*/ 208284 h 462233"/>
              <a:gd name="connsiteX175" fmla="*/ 273418 w 466693"/>
              <a:gd name="connsiteY175" fmla="*/ 228009 h 462233"/>
              <a:gd name="connsiteX176" fmla="*/ 264104 w 466693"/>
              <a:gd name="connsiteY176" fmla="*/ 245363 h 462233"/>
              <a:gd name="connsiteX177" fmla="*/ 256411 w 466693"/>
              <a:gd name="connsiteY177" fmla="*/ 255196 h 462233"/>
              <a:gd name="connsiteX178" fmla="*/ 244496 w 466693"/>
              <a:gd name="connsiteY178" fmla="*/ 267459 h 462233"/>
              <a:gd name="connsiteX179" fmla="*/ 230960 w 466693"/>
              <a:gd name="connsiteY179" fmla="*/ 275268 h 462233"/>
              <a:gd name="connsiteX180" fmla="*/ 220374 w 466693"/>
              <a:gd name="connsiteY180" fmla="*/ 279606 h 462233"/>
              <a:gd name="connsiteX181" fmla="*/ 212392 w 466693"/>
              <a:gd name="connsiteY181" fmla="*/ 275268 h 462233"/>
              <a:gd name="connsiteX182" fmla="*/ 211466 w 466693"/>
              <a:gd name="connsiteY182" fmla="*/ 265030 h 462233"/>
              <a:gd name="connsiteX183" fmla="*/ 211466 w 466693"/>
              <a:gd name="connsiteY183" fmla="*/ 264393 h 462233"/>
              <a:gd name="connsiteX184" fmla="*/ 211466 w 466693"/>
              <a:gd name="connsiteY184" fmla="*/ 264393 h 462233"/>
              <a:gd name="connsiteX185" fmla="*/ 199897 w 466693"/>
              <a:gd name="connsiteY185" fmla="*/ 271277 h 462233"/>
              <a:gd name="connsiteX186" fmla="*/ 193188 w 466693"/>
              <a:gd name="connsiteY186" fmla="*/ 287242 h 462233"/>
              <a:gd name="connsiteX187" fmla="*/ 180867 w 466693"/>
              <a:gd name="connsiteY187" fmla="*/ 306677 h 462233"/>
              <a:gd name="connsiteX188" fmla="*/ 176066 w 466693"/>
              <a:gd name="connsiteY188" fmla="*/ 314081 h 462233"/>
              <a:gd name="connsiteX189" fmla="*/ 176587 w 466693"/>
              <a:gd name="connsiteY189" fmla="*/ 319461 h 462233"/>
              <a:gd name="connsiteX190" fmla="*/ 163745 w 466693"/>
              <a:gd name="connsiteY190" fmla="*/ 325246 h 462233"/>
              <a:gd name="connsiteX191" fmla="*/ 157960 w 466693"/>
              <a:gd name="connsiteY191" fmla="*/ 323394 h 462233"/>
              <a:gd name="connsiteX192" fmla="*/ 157035 w 466693"/>
              <a:gd name="connsiteY192" fmla="*/ 320444 h 462233"/>
              <a:gd name="connsiteX193" fmla="*/ 156688 w 466693"/>
              <a:gd name="connsiteY193" fmla="*/ 318825 h 462233"/>
              <a:gd name="connsiteX194" fmla="*/ 153102 w 466693"/>
              <a:gd name="connsiteY194" fmla="*/ 317841 h 462233"/>
              <a:gd name="connsiteX195" fmla="*/ 125452 w 466693"/>
              <a:gd name="connsiteY195" fmla="*/ 325650 h 462233"/>
              <a:gd name="connsiteX196" fmla="*/ 114404 w 466693"/>
              <a:gd name="connsiteY196" fmla="*/ 327791 h 462233"/>
              <a:gd name="connsiteX197" fmla="*/ 102025 w 466693"/>
              <a:gd name="connsiteY197" fmla="*/ 325824 h 462233"/>
              <a:gd name="connsiteX198" fmla="*/ 93580 w 466693"/>
              <a:gd name="connsiteY198" fmla="*/ 324378 h 462233"/>
              <a:gd name="connsiteX199" fmla="*/ 85424 w 466693"/>
              <a:gd name="connsiteY199" fmla="*/ 327848 h 462233"/>
              <a:gd name="connsiteX200" fmla="*/ 83515 w 466693"/>
              <a:gd name="connsiteY200" fmla="*/ 329815 h 462233"/>
              <a:gd name="connsiteX201" fmla="*/ 43024 w 466693"/>
              <a:gd name="connsiteY201" fmla="*/ 359663 h 462233"/>
              <a:gd name="connsiteX202" fmla="*/ 36371 w 466693"/>
              <a:gd name="connsiteY202" fmla="*/ 367067 h 462233"/>
              <a:gd name="connsiteX203" fmla="*/ 42156 w 466693"/>
              <a:gd name="connsiteY203" fmla="*/ 373719 h 462233"/>
              <a:gd name="connsiteX204" fmla="*/ 57369 w 466693"/>
              <a:gd name="connsiteY204" fmla="*/ 370943 h 462233"/>
              <a:gd name="connsiteX205" fmla="*/ 71657 w 466693"/>
              <a:gd name="connsiteY205" fmla="*/ 366778 h 462233"/>
              <a:gd name="connsiteX206" fmla="*/ 141070 w 466693"/>
              <a:gd name="connsiteY206" fmla="*/ 349424 h 462233"/>
              <a:gd name="connsiteX207" fmla="*/ 288688 w 466693"/>
              <a:gd name="connsiteY207" fmla="*/ 135805 h 462233"/>
              <a:gd name="connsiteX208" fmla="*/ 286606 w 466693"/>
              <a:gd name="connsiteY208" fmla="*/ 134880 h 462233"/>
              <a:gd name="connsiteX209" fmla="*/ 286201 w 466693"/>
              <a:gd name="connsiteY209" fmla="*/ 131062 h 462233"/>
              <a:gd name="connsiteX210" fmla="*/ 287185 w 466693"/>
              <a:gd name="connsiteY210" fmla="*/ 127071 h 462233"/>
              <a:gd name="connsiteX211" fmla="*/ 286780 w 466693"/>
              <a:gd name="connsiteY211" fmla="*/ 111279 h 462233"/>
              <a:gd name="connsiteX212" fmla="*/ 282210 w 466693"/>
              <a:gd name="connsiteY212" fmla="*/ 103470 h 462233"/>
              <a:gd name="connsiteX213" fmla="*/ 291754 w 466693"/>
              <a:gd name="connsiteY213" fmla="*/ 93116 h 462233"/>
              <a:gd name="connsiteX214" fmla="*/ 296902 w 466693"/>
              <a:gd name="connsiteY214" fmla="*/ 84497 h 462233"/>
              <a:gd name="connsiteX215" fmla="*/ 302687 w 466693"/>
              <a:gd name="connsiteY215" fmla="*/ 76862 h 462233"/>
              <a:gd name="connsiteX216" fmla="*/ 309802 w 466693"/>
              <a:gd name="connsiteY216" fmla="*/ 76110 h 462233"/>
              <a:gd name="connsiteX217" fmla="*/ 323684 w 466693"/>
              <a:gd name="connsiteY217" fmla="*/ 72408 h 462233"/>
              <a:gd name="connsiteX218" fmla="*/ 324436 w 466693"/>
              <a:gd name="connsiteY218" fmla="*/ 68475 h 462233"/>
              <a:gd name="connsiteX219" fmla="*/ 327733 w 466693"/>
              <a:gd name="connsiteY219" fmla="*/ 57773 h 462233"/>
              <a:gd name="connsiteX220" fmla="*/ 332477 w 466693"/>
              <a:gd name="connsiteY220" fmla="*/ 44064 h 462233"/>
              <a:gd name="connsiteX221" fmla="*/ 335543 w 466693"/>
              <a:gd name="connsiteY221" fmla="*/ 30240 h 462233"/>
              <a:gd name="connsiteX222" fmla="*/ 334327 w 466693"/>
              <a:gd name="connsiteY222" fmla="*/ 16473 h 462233"/>
              <a:gd name="connsiteX223" fmla="*/ 332881 w 466693"/>
              <a:gd name="connsiteY223" fmla="*/ 5656 h 462233"/>
              <a:gd name="connsiteX224" fmla="*/ 342368 w 466693"/>
              <a:gd name="connsiteY224" fmla="*/ -129 h 462233"/>
              <a:gd name="connsiteX225" fmla="*/ 353937 w 466693"/>
              <a:gd name="connsiteY225" fmla="*/ 7044 h 462233"/>
              <a:gd name="connsiteX226" fmla="*/ 411319 w 466693"/>
              <a:gd name="connsiteY226" fmla="*/ 50312 h 462233"/>
              <a:gd name="connsiteX227" fmla="*/ 412533 w 466693"/>
              <a:gd name="connsiteY227" fmla="*/ 50312 h 462233"/>
              <a:gd name="connsiteX228" fmla="*/ 424970 w 466693"/>
              <a:gd name="connsiteY228" fmla="*/ 44990 h 462233"/>
              <a:gd name="connsiteX229" fmla="*/ 435555 w 466693"/>
              <a:gd name="connsiteY229" fmla="*/ 41172 h 462233"/>
              <a:gd name="connsiteX230" fmla="*/ 441339 w 466693"/>
              <a:gd name="connsiteY230" fmla="*/ 44006 h 462233"/>
              <a:gd name="connsiteX231" fmla="*/ 443827 w 466693"/>
              <a:gd name="connsiteY231" fmla="*/ 45106 h 462233"/>
              <a:gd name="connsiteX232" fmla="*/ 455974 w 466693"/>
              <a:gd name="connsiteY232" fmla="*/ 39321 h 462233"/>
              <a:gd name="connsiteX233" fmla="*/ 464246 w 466693"/>
              <a:gd name="connsiteY233" fmla="*/ 35156 h 462233"/>
              <a:gd name="connsiteX234" fmla="*/ 466559 w 466693"/>
              <a:gd name="connsiteY234" fmla="*/ 37412 h 462233"/>
              <a:gd name="connsiteX235" fmla="*/ 450826 w 466693"/>
              <a:gd name="connsiteY235" fmla="*/ 55113 h 462233"/>
              <a:gd name="connsiteX236" fmla="*/ 436134 w 466693"/>
              <a:gd name="connsiteY236" fmla="*/ 70326 h 462233"/>
              <a:gd name="connsiteX237" fmla="*/ 439315 w 466693"/>
              <a:gd name="connsiteY237" fmla="*/ 78192 h 462233"/>
              <a:gd name="connsiteX238" fmla="*/ 421036 w 466693"/>
              <a:gd name="connsiteY238" fmla="*/ 85539 h 462233"/>
              <a:gd name="connsiteX239" fmla="*/ 382628 w 466693"/>
              <a:gd name="connsiteY239" fmla="*/ 103181 h 462233"/>
              <a:gd name="connsiteX240" fmla="*/ 374356 w 466693"/>
              <a:gd name="connsiteY240" fmla="*/ 116543 h 462233"/>
              <a:gd name="connsiteX241" fmla="*/ 374356 w 466693"/>
              <a:gd name="connsiteY241" fmla="*/ 116543 h 462233"/>
              <a:gd name="connsiteX242" fmla="*/ 362787 w 466693"/>
              <a:gd name="connsiteY242" fmla="*/ 110296 h 462233"/>
              <a:gd name="connsiteX243" fmla="*/ 332535 w 466693"/>
              <a:gd name="connsiteY243" fmla="*/ 98727 h 462233"/>
              <a:gd name="connsiteX244" fmla="*/ 322874 w 466693"/>
              <a:gd name="connsiteY244" fmla="*/ 100636 h 462233"/>
              <a:gd name="connsiteX245" fmla="*/ 316222 w 466693"/>
              <a:gd name="connsiteY245" fmla="*/ 102082 h 462233"/>
              <a:gd name="connsiteX246" fmla="*/ 307951 w 466693"/>
              <a:gd name="connsiteY246" fmla="*/ 100810 h 462233"/>
              <a:gd name="connsiteX247" fmla="*/ 303149 w 466693"/>
              <a:gd name="connsiteY247" fmla="*/ 100000 h 462233"/>
              <a:gd name="connsiteX248" fmla="*/ 300836 w 466693"/>
              <a:gd name="connsiteY248" fmla="*/ 102140 h 462233"/>
              <a:gd name="connsiteX249" fmla="*/ 308587 w 466693"/>
              <a:gd name="connsiteY249" fmla="*/ 111048 h 462233"/>
              <a:gd name="connsiteX250" fmla="*/ 317032 w 466693"/>
              <a:gd name="connsiteY250" fmla="*/ 122617 h 462233"/>
              <a:gd name="connsiteX251" fmla="*/ 313851 w 466693"/>
              <a:gd name="connsiteY251" fmla="*/ 125856 h 462233"/>
              <a:gd name="connsiteX252" fmla="*/ 310727 w 466693"/>
              <a:gd name="connsiteY252" fmla="*/ 125104 h 462233"/>
              <a:gd name="connsiteX253" fmla="*/ 306678 w 466693"/>
              <a:gd name="connsiteY253" fmla="*/ 124121 h 462233"/>
              <a:gd name="connsiteX254" fmla="*/ 302224 w 466693"/>
              <a:gd name="connsiteY254" fmla="*/ 126377 h 462233"/>
              <a:gd name="connsiteX255" fmla="*/ 288804 w 466693"/>
              <a:gd name="connsiteY255" fmla="*/ 135805 h 462233"/>
              <a:gd name="connsiteX256" fmla="*/ 342137 w 466693"/>
              <a:gd name="connsiteY256" fmla="*/ 2127 h 462233"/>
              <a:gd name="connsiteX257" fmla="*/ 334675 w 466693"/>
              <a:gd name="connsiteY257" fmla="*/ 6639 h 462233"/>
              <a:gd name="connsiteX258" fmla="*/ 335889 w 466693"/>
              <a:gd name="connsiteY258" fmla="*/ 15084 h 462233"/>
              <a:gd name="connsiteX259" fmla="*/ 337393 w 466693"/>
              <a:gd name="connsiteY259" fmla="*/ 31049 h 462233"/>
              <a:gd name="connsiteX260" fmla="*/ 334501 w 466693"/>
              <a:gd name="connsiteY260" fmla="*/ 44064 h 462233"/>
              <a:gd name="connsiteX261" fmla="*/ 329295 w 466693"/>
              <a:gd name="connsiteY261" fmla="*/ 59104 h 462233"/>
              <a:gd name="connsiteX262" fmla="*/ 326403 w 466693"/>
              <a:gd name="connsiteY262" fmla="*/ 68070 h 462233"/>
              <a:gd name="connsiteX263" fmla="*/ 325188 w 466693"/>
              <a:gd name="connsiteY263" fmla="*/ 73854 h 462233"/>
              <a:gd name="connsiteX264" fmla="*/ 309744 w 466693"/>
              <a:gd name="connsiteY264" fmla="*/ 78424 h 462233"/>
              <a:gd name="connsiteX265" fmla="*/ 302860 w 466693"/>
              <a:gd name="connsiteY265" fmla="*/ 79118 h 462233"/>
              <a:gd name="connsiteX266" fmla="*/ 299158 w 466693"/>
              <a:gd name="connsiteY266" fmla="*/ 84555 h 462233"/>
              <a:gd name="connsiteX267" fmla="*/ 292622 w 466693"/>
              <a:gd name="connsiteY267" fmla="*/ 95257 h 462233"/>
              <a:gd name="connsiteX268" fmla="*/ 284466 w 466693"/>
              <a:gd name="connsiteY268" fmla="*/ 103644 h 462233"/>
              <a:gd name="connsiteX269" fmla="*/ 287879 w 466693"/>
              <a:gd name="connsiteY269" fmla="*/ 109429 h 462233"/>
              <a:gd name="connsiteX270" fmla="*/ 289383 w 466693"/>
              <a:gd name="connsiteY270" fmla="*/ 127765 h 462233"/>
              <a:gd name="connsiteX271" fmla="*/ 288399 w 466693"/>
              <a:gd name="connsiteY271" fmla="*/ 131641 h 462233"/>
              <a:gd name="connsiteX272" fmla="*/ 288399 w 466693"/>
              <a:gd name="connsiteY272" fmla="*/ 133607 h 462233"/>
              <a:gd name="connsiteX273" fmla="*/ 288399 w 466693"/>
              <a:gd name="connsiteY273" fmla="*/ 133607 h 462233"/>
              <a:gd name="connsiteX274" fmla="*/ 299968 w 466693"/>
              <a:gd name="connsiteY274" fmla="*/ 124931 h 462233"/>
              <a:gd name="connsiteX275" fmla="*/ 306099 w 466693"/>
              <a:gd name="connsiteY275" fmla="*/ 121923 h 462233"/>
              <a:gd name="connsiteX276" fmla="*/ 310901 w 466693"/>
              <a:gd name="connsiteY276" fmla="*/ 123022 h 462233"/>
              <a:gd name="connsiteX277" fmla="*/ 313272 w 466693"/>
              <a:gd name="connsiteY277" fmla="*/ 123658 h 462233"/>
              <a:gd name="connsiteX278" fmla="*/ 314198 w 466693"/>
              <a:gd name="connsiteY278" fmla="*/ 122270 h 462233"/>
              <a:gd name="connsiteX279" fmla="*/ 306678 w 466693"/>
              <a:gd name="connsiteY279" fmla="*/ 113130 h 462233"/>
              <a:gd name="connsiteX280" fmla="*/ 298060 w 466693"/>
              <a:gd name="connsiteY280" fmla="*/ 102140 h 462233"/>
              <a:gd name="connsiteX281" fmla="*/ 301935 w 466693"/>
              <a:gd name="connsiteY281" fmla="*/ 97952 h 462233"/>
              <a:gd name="connsiteX282" fmla="*/ 302571 w 466693"/>
              <a:gd name="connsiteY282" fmla="*/ 97975 h 462233"/>
              <a:gd name="connsiteX283" fmla="*/ 307893 w 466693"/>
              <a:gd name="connsiteY283" fmla="*/ 98843 h 462233"/>
              <a:gd name="connsiteX284" fmla="*/ 315644 w 466693"/>
              <a:gd name="connsiteY284" fmla="*/ 100058 h 462233"/>
              <a:gd name="connsiteX285" fmla="*/ 321428 w 466693"/>
              <a:gd name="connsiteY285" fmla="*/ 98843 h 462233"/>
              <a:gd name="connsiteX286" fmla="*/ 332129 w 466693"/>
              <a:gd name="connsiteY286" fmla="*/ 96703 h 462233"/>
              <a:gd name="connsiteX287" fmla="*/ 363886 w 466693"/>
              <a:gd name="connsiteY287" fmla="*/ 108676 h 462233"/>
              <a:gd name="connsiteX288" fmla="*/ 373778 w 466693"/>
              <a:gd name="connsiteY288" fmla="*/ 114461 h 462233"/>
              <a:gd name="connsiteX289" fmla="*/ 373778 w 466693"/>
              <a:gd name="connsiteY289" fmla="*/ 114461 h 462233"/>
              <a:gd name="connsiteX290" fmla="*/ 379562 w 466693"/>
              <a:gd name="connsiteY290" fmla="*/ 102892 h 462233"/>
              <a:gd name="connsiteX291" fmla="*/ 420053 w 466693"/>
              <a:gd name="connsiteY291" fmla="*/ 83399 h 462233"/>
              <a:gd name="connsiteX292" fmla="*/ 436191 w 466693"/>
              <a:gd name="connsiteY292" fmla="*/ 77614 h 462233"/>
              <a:gd name="connsiteX293" fmla="*/ 433994 w 466693"/>
              <a:gd name="connsiteY293" fmla="*/ 72466 h 462233"/>
              <a:gd name="connsiteX294" fmla="*/ 432894 w 466693"/>
              <a:gd name="connsiteY294" fmla="*/ 70557 h 462233"/>
              <a:gd name="connsiteX295" fmla="*/ 448339 w 466693"/>
              <a:gd name="connsiteY295" fmla="*/ 53551 h 462233"/>
              <a:gd name="connsiteX296" fmla="*/ 463378 w 466693"/>
              <a:gd name="connsiteY296" fmla="*/ 37817 h 462233"/>
              <a:gd name="connsiteX297" fmla="*/ 463378 w 466693"/>
              <a:gd name="connsiteY297" fmla="*/ 37528 h 462233"/>
              <a:gd name="connsiteX298" fmla="*/ 456379 w 466693"/>
              <a:gd name="connsiteY298" fmla="*/ 41346 h 462233"/>
              <a:gd name="connsiteX299" fmla="*/ 442959 w 466693"/>
              <a:gd name="connsiteY299" fmla="*/ 47593 h 462233"/>
              <a:gd name="connsiteX300" fmla="*/ 438679 w 466693"/>
              <a:gd name="connsiteY300" fmla="*/ 45626 h 462233"/>
              <a:gd name="connsiteX301" fmla="*/ 425374 w 466693"/>
              <a:gd name="connsiteY301" fmla="*/ 47246 h 462233"/>
              <a:gd name="connsiteX302" fmla="*/ 412359 w 466693"/>
              <a:gd name="connsiteY302" fmla="*/ 52452 h 462233"/>
              <a:gd name="connsiteX303" fmla="*/ 351392 w 466693"/>
              <a:gd name="connsiteY303" fmla="*/ 8375 h 462233"/>
              <a:gd name="connsiteX304" fmla="*/ 342252 w 466693"/>
              <a:gd name="connsiteY304" fmla="*/ 2127 h 46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466693" h="462233">
                <a:moveTo>
                  <a:pt x="31629" y="462047"/>
                </a:moveTo>
                <a:cubicBezTo>
                  <a:pt x="27753" y="461689"/>
                  <a:pt x="24282" y="459317"/>
                  <a:pt x="22604" y="455800"/>
                </a:cubicBezTo>
                <a:cubicBezTo>
                  <a:pt x="17630" y="447025"/>
                  <a:pt x="17167" y="436388"/>
                  <a:pt x="21390" y="427225"/>
                </a:cubicBezTo>
                <a:cubicBezTo>
                  <a:pt x="25208" y="418762"/>
                  <a:pt x="25208" y="409079"/>
                  <a:pt x="21390" y="400617"/>
                </a:cubicBezTo>
                <a:cubicBezTo>
                  <a:pt x="21101" y="400079"/>
                  <a:pt x="20696" y="399616"/>
                  <a:pt x="20175" y="399286"/>
                </a:cubicBezTo>
                <a:cubicBezTo>
                  <a:pt x="20175" y="399286"/>
                  <a:pt x="19770" y="399286"/>
                  <a:pt x="19366" y="400617"/>
                </a:cubicBezTo>
                <a:cubicBezTo>
                  <a:pt x="17052" y="406922"/>
                  <a:pt x="12655" y="413285"/>
                  <a:pt x="7797" y="413285"/>
                </a:cubicBezTo>
                <a:cubicBezTo>
                  <a:pt x="5194" y="413001"/>
                  <a:pt x="2938" y="411283"/>
                  <a:pt x="2012" y="408830"/>
                </a:cubicBezTo>
                <a:cubicBezTo>
                  <a:pt x="-2789" y="399980"/>
                  <a:pt x="798" y="397262"/>
                  <a:pt x="10342" y="390436"/>
                </a:cubicBezTo>
                <a:lnTo>
                  <a:pt x="13697" y="388006"/>
                </a:lnTo>
                <a:cubicBezTo>
                  <a:pt x="19712" y="382945"/>
                  <a:pt x="26943" y="379619"/>
                  <a:pt x="34694" y="378404"/>
                </a:cubicBezTo>
                <a:cubicBezTo>
                  <a:pt x="37529" y="378075"/>
                  <a:pt x="40131" y="380122"/>
                  <a:pt x="40479" y="382980"/>
                </a:cubicBezTo>
                <a:cubicBezTo>
                  <a:pt x="40479" y="383038"/>
                  <a:pt x="40479" y="383090"/>
                  <a:pt x="40479" y="383148"/>
                </a:cubicBezTo>
                <a:cubicBezTo>
                  <a:pt x="40479" y="385982"/>
                  <a:pt x="44644" y="387255"/>
                  <a:pt x="48750" y="388585"/>
                </a:cubicBezTo>
                <a:cubicBezTo>
                  <a:pt x="52858" y="389915"/>
                  <a:pt x="58989" y="391998"/>
                  <a:pt x="58989" y="397030"/>
                </a:cubicBezTo>
                <a:cubicBezTo>
                  <a:pt x="58989" y="399228"/>
                  <a:pt x="60724" y="400038"/>
                  <a:pt x="63501" y="401195"/>
                </a:cubicBezTo>
                <a:cubicBezTo>
                  <a:pt x="66277" y="402352"/>
                  <a:pt x="68129" y="402988"/>
                  <a:pt x="68765" y="405418"/>
                </a:cubicBezTo>
                <a:cubicBezTo>
                  <a:pt x="69401" y="407847"/>
                  <a:pt x="68071" y="410913"/>
                  <a:pt x="64427" y="415483"/>
                </a:cubicBezTo>
                <a:cubicBezTo>
                  <a:pt x="59047" y="422933"/>
                  <a:pt x="54304" y="430782"/>
                  <a:pt x="50138" y="438967"/>
                </a:cubicBezTo>
                <a:cubicBezTo>
                  <a:pt x="43487" y="451230"/>
                  <a:pt x="38570" y="460890"/>
                  <a:pt x="32785" y="462105"/>
                </a:cubicBezTo>
                <a:close/>
                <a:moveTo>
                  <a:pt x="20060" y="397030"/>
                </a:moveTo>
                <a:cubicBezTo>
                  <a:pt x="21158" y="397030"/>
                  <a:pt x="22200" y="397840"/>
                  <a:pt x="23126" y="399344"/>
                </a:cubicBezTo>
                <a:cubicBezTo>
                  <a:pt x="27348" y="408524"/>
                  <a:pt x="27348" y="419086"/>
                  <a:pt x="23126" y="428266"/>
                </a:cubicBezTo>
                <a:cubicBezTo>
                  <a:pt x="19250" y="436723"/>
                  <a:pt x="19655" y="446539"/>
                  <a:pt x="24224" y="454643"/>
                </a:cubicBezTo>
                <a:cubicBezTo>
                  <a:pt x="26596" y="458461"/>
                  <a:pt x="29430" y="460428"/>
                  <a:pt x="32381" y="459734"/>
                </a:cubicBezTo>
                <a:cubicBezTo>
                  <a:pt x="36545" y="458924"/>
                  <a:pt x="42330" y="448165"/>
                  <a:pt x="47940" y="437926"/>
                </a:cubicBezTo>
                <a:cubicBezTo>
                  <a:pt x="52106" y="429614"/>
                  <a:pt x="56964" y="421660"/>
                  <a:pt x="62459" y="414152"/>
                </a:cubicBezTo>
                <a:cubicBezTo>
                  <a:pt x="65467" y="410334"/>
                  <a:pt x="66740" y="407616"/>
                  <a:pt x="66335" y="406054"/>
                </a:cubicBezTo>
                <a:cubicBezTo>
                  <a:pt x="65931" y="404492"/>
                  <a:pt x="64253" y="404087"/>
                  <a:pt x="62459" y="403335"/>
                </a:cubicBezTo>
                <a:cubicBezTo>
                  <a:pt x="59799" y="402294"/>
                  <a:pt x="56675" y="400964"/>
                  <a:pt x="56675" y="397088"/>
                </a:cubicBezTo>
                <a:cubicBezTo>
                  <a:pt x="56675" y="393213"/>
                  <a:pt x="53262" y="392576"/>
                  <a:pt x="47998" y="390783"/>
                </a:cubicBezTo>
                <a:cubicBezTo>
                  <a:pt x="42735" y="388990"/>
                  <a:pt x="38627" y="387717"/>
                  <a:pt x="38165" y="383495"/>
                </a:cubicBezTo>
                <a:cubicBezTo>
                  <a:pt x="38165" y="382164"/>
                  <a:pt x="37471" y="380718"/>
                  <a:pt x="34579" y="380718"/>
                </a:cubicBezTo>
                <a:cubicBezTo>
                  <a:pt x="27348" y="381991"/>
                  <a:pt x="20522" y="385161"/>
                  <a:pt x="14911" y="389915"/>
                </a:cubicBezTo>
                <a:lnTo>
                  <a:pt x="11557" y="392345"/>
                </a:lnTo>
                <a:cubicBezTo>
                  <a:pt x="2012" y="399228"/>
                  <a:pt x="-12" y="400674"/>
                  <a:pt x="3921" y="407847"/>
                </a:cubicBezTo>
                <a:cubicBezTo>
                  <a:pt x="5078" y="409987"/>
                  <a:pt x="6409" y="411086"/>
                  <a:pt x="7855" y="411086"/>
                </a:cubicBezTo>
                <a:cubicBezTo>
                  <a:pt x="10863" y="411086"/>
                  <a:pt x="14854" y="406285"/>
                  <a:pt x="17167" y="399922"/>
                </a:cubicBezTo>
                <a:cubicBezTo>
                  <a:pt x="18266" y="397840"/>
                  <a:pt x="19481" y="397030"/>
                  <a:pt x="20349" y="397030"/>
                </a:cubicBezTo>
                <a:close/>
                <a:moveTo>
                  <a:pt x="90283" y="411607"/>
                </a:moveTo>
                <a:cubicBezTo>
                  <a:pt x="87911" y="411515"/>
                  <a:pt x="85539" y="411023"/>
                  <a:pt x="83284" y="410161"/>
                </a:cubicBezTo>
                <a:cubicBezTo>
                  <a:pt x="77499" y="408310"/>
                  <a:pt x="75648" y="398592"/>
                  <a:pt x="76168" y="390610"/>
                </a:cubicBezTo>
                <a:cubicBezTo>
                  <a:pt x="76689" y="382627"/>
                  <a:pt x="79986" y="373256"/>
                  <a:pt x="87737" y="371695"/>
                </a:cubicBezTo>
                <a:cubicBezTo>
                  <a:pt x="91555" y="371052"/>
                  <a:pt x="95431" y="370700"/>
                  <a:pt x="99306" y="370653"/>
                </a:cubicBezTo>
                <a:cubicBezTo>
                  <a:pt x="106132" y="370653"/>
                  <a:pt x="110875" y="370364"/>
                  <a:pt x="112611" y="364869"/>
                </a:cubicBezTo>
                <a:cubicBezTo>
                  <a:pt x="114346" y="359374"/>
                  <a:pt x="121113" y="357870"/>
                  <a:pt x="127072" y="357870"/>
                </a:cubicBezTo>
                <a:cubicBezTo>
                  <a:pt x="134592" y="357870"/>
                  <a:pt x="142227" y="361167"/>
                  <a:pt x="142227" y="368513"/>
                </a:cubicBezTo>
                <a:cubicBezTo>
                  <a:pt x="142053" y="374575"/>
                  <a:pt x="140202" y="380475"/>
                  <a:pt x="136905" y="385577"/>
                </a:cubicBezTo>
                <a:cubicBezTo>
                  <a:pt x="134707" y="390257"/>
                  <a:pt x="130426" y="393583"/>
                  <a:pt x="125336" y="394485"/>
                </a:cubicBezTo>
                <a:lnTo>
                  <a:pt x="125336" y="394485"/>
                </a:lnTo>
                <a:cubicBezTo>
                  <a:pt x="124237" y="394497"/>
                  <a:pt x="123196" y="394242"/>
                  <a:pt x="122213" y="393733"/>
                </a:cubicBezTo>
                <a:cubicBezTo>
                  <a:pt x="119957" y="392669"/>
                  <a:pt x="117527" y="392137"/>
                  <a:pt x="115040" y="392171"/>
                </a:cubicBezTo>
                <a:cubicBezTo>
                  <a:pt x="108504" y="391772"/>
                  <a:pt x="102546" y="395734"/>
                  <a:pt x="100348" y="401889"/>
                </a:cubicBezTo>
                <a:cubicBezTo>
                  <a:pt x="98786" y="408483"/>
                  <a:pt x="95605" y="411607"/>
                  <a:pt x="90572" y="411607"/>
                </a:cubicBezTo>
                <a:close/>
                <a:moveTo>
                  <a:pt x="126956" y="360357"/>
                </a:moveTo>
                <a:cubicBezTo>
                  <a:pt x="122039" y="359750"/>
                  <a:pt x="117238" y="361994"/>
                  <a:pt x="114577" y="366141"/>
                </a:cubicBezTo>
                <a:cubicBezTo>
                  <a:pt x="112090" y="372851"/>
                  <a:pt x="106422" y="372967"/>
                  <a:pt x="99248" y="373141"/>
                </a:cubicBezTo>
                <a:cubicBezTo>
                  <a:pt x="95373" y="373175"/>
                  <a:pt x="91497" y="373505"/>
                  <a:pt x="87679" y="374124"/>
                </a:cubicBezTo>
                <a:cubicBezTo>
                  <a:pt x="81490" y="375281"/>
                  <a:pt x="78714" y="383957"/>
                  <a:pt x="78251" y="390957"/>
                </a:cubicBezTo>
                <a:cubicBezTo>
                  <a:pt x="77672" y="399575"/>
                  <a:pt x="80044" y="407037"/>
                  <a:pt x="84036" y="408310"/>
                </a:cubicBezTo>
                <a:cubicBezTo>
                  <a:pt x="86060" y="409056"/>
                  <a:pt x="88200" y="409490"/>
                  <a:pt x="90341" y="409582"/>
                </a:cubicBezTo>
                <a:cubicBezTo>
                  <a:pt x="93001" y="409582"/>
                  <a:pt x="96125" y="408715"/>
                  <a:pt x="97918" y="401831"/>
                </a:cubicBezTo>
                <a:cubicBezTo>
                  <a:pt x="100290" y="394589"/>
                  <a:pt x="107231" y="389840"/>
                  <a:pt x="114809" y="390262"/>
                </a:cubicBezTo>
                <a:cubicBezTo>
                  <a:pt x="117643" y="390239"/>
                  <a:pt x="120419" y="390852"/>
                  <a:pt x="122965" y="392056"/>
                </a:cubicBezTo>
                <a:cubicBezTo>
                  <a:pt x="123601" y="392397"/>
                  <a:pt x="124353" y="392576"/>
                  <a:pt x="125105" y="392576"/>
                </a:cubicBezTo>
                <a:lnTo>
                  <a:pt x="125105" y="392576"/>
                </a:lnTo>
                <a:cubicBezTo>
                  <a:pt x="128228" y="392576"/>
                  <a:pt x="131872" y="389626"/>
                  <a:pt x="134938" y="384767"/>
                </a:cubicBezTo>
                <a:cubicBezTo>
                  <a:pt x="138004" y="380007"/>
                  <a:pt x="139682" y="374512"/>
                  <a:pt x="139913" y="368860"/>
                </a:cubicBezTo>
                <a:cubicBezTo>
                  <a:pt x="140144" y="363133"/>
                  <a:pt x="133666" y="360357"/>
                  <a:pt x="127245" y="360357"/>
                </a:cubicBezTo>
                <a:close/>
                <a:moveTo>
                  <a:pt x="164381" y="384189"/>
                </a:moveTo>
                <a:cubicBezTo>
                  <a:pt x="158308" y="384906"/>
                  <a:pt x="152754" y="380608"/>
                  <a:pt x="151945" y="374529"/>
                </a:cubicBezTo>
                <a:cubicBezTo>
                  <a:pt x="151713" y="370433"/>
                  <a:pt x="152234" y="366327"/>
                  <a:pt x="153564" y="362439"/>
                </a:cubicBezTo>
                <a:cubicBezTo>
                  <a:pt x="154606" y="358737"/>
                  <a:pt x="155473" y="355556"/>
                  <a:pt x="154085" y="353763"/>
                </a:cubicBezTo>
                <a:cubicBezTo>
                  <a:pt x="152697" y="351970"/>
                  <a:pt x="148763" y="351102"/>
                  <a:pt x="141822" y="351333"/>
                </a:cubicBezTo>
                <a:cubicBezTo>
                  <a:pt x="116313" y="352143"/>
                  <a:pt x="78193" y="361398"/>
                  <a:pt x="74086" y="367761"/>
                </a:cubicBezTo>
                <a:cubicBezTo>
                  <a:pt x="71078" y="372273"/>
                  <a:pt x="64715" y="372620"/>
                  <a:pt x="58063" y="372909"/>
                </a:cubicBezTo>
                <a:cubicBezTo>
                  <a:pt x="53204" y="372765"/>
                  <a:pt x="48288" y="373632"/>
                  <a:pt x="43776" y="375454"/>
                </a:cubicBezTo>
                <a:cubicBezTo>
                  <a:pt x="43140" y="375732"/>
                  <a:pt x="42503" y="375871"/>
                  <a:pt x="41809" y="375859"/>
                </a:cubicBezTo>
                <a:cubicBezTo>
                  <a:pt x="38397" y="375859"/>
                  <a:pt x="34983" y="371695"/>
                  <a:pt x="34579" y="366951"/>
                </a:cubicBezTo>
                <a:cubicBezTo>
                  <a:pt x="34231" y="361977"/>
                  <a:pt x="38049" y="357685"/>
                  <a:pt x="43024" y="357361"/>
                </a:cubicBezTo>
                <a:cubicBezTo>
                  <a:pt x="43082" y="357355"/>
                  <a:pt x="43140" y="357355"/>
                  <a:pt x="43197" y="357349"/>
                </a:cubicBezTo>
                <a:cubicBezTo>
                  <a:pt x="55750" y="355151"/>
                  <a:pt x="72120" y="338897"/>
                  <a:pt x="82647" y="328427"/>
                </a:cubicBezTo>
                <a:lnTo>
                  <a:pt x="84614" y="326460"/>
                </a:lnTo>
                <a:cubicBezTo>
                  <a:pt x="87101" y="323776"/>
                  <a:pt x="90629" y="322284"/>
                  <a:pt x="94332" y="322353"/>
                </a:cubicBezTo>
                <a:cubicBezTo>
                  <a:pt x="97340" y="322509"/>
                  <a:pt x="100405" y="323013"/>
                  <a:pt x="103298" y="323857"/>
                </a:cubicBezTo>
                <a:cubicBezTo>
                  <a:pt x="107058" y="324968"/>
                  <a:pt x="110933" y="325610"/>
                  <a:pt x="114867" y="325766"/>
                </a:cubicBezTo>
                <a:cubicBezTo>
                  <a:pt x="118395" y="325772"/>
                  <a:pt x="121865" y="325107"/>
                  <a:pt x="125105" y="323799"/>
                </a:cubicBezTo>
                <a:cubicBezTo>
                  <a:pt x="145061" y="315990"/>
                  <a:pt x="155589" y="313908"/>
                  <a:pt x="158828" y="317552"/>
                </a:cubicBezTo>
                <a:cubicBezTo>
                  <a:pt x="159580" y="318495"/>
                  <a:pt x="159927" y="319710"/>
                  <a:pt x="159754" y="320907"/>
                </a:cubicBezTo>
                <a:cubicBezTo>
                  <a:pt x="159696" y="321341"/>
                  <a:pt x="159812" y="321786"/>
                  <a:pt x="160100" y="322122"/>
                </a:cubicBezTo>
                <a:cubicBezTo>
                  <a:pt x="161258" y="322995"/>
                  <a:pt x="162762" y="323389"/>
                  <a:pt x="164208" y="323221"/>
                </a:cubicBezTo>
                <a:cubicBezTo>
                  <a:pt x="168315" y="323435"/>
                  <a:pt x="172248" y="321821"/>
                  <a:pt x="175025" y="318825"/>
                </a:cubicBezTo>
                <a:cubicBezTo>
                  <a:pt x="175545" y="317847"/>
                  <a:pt x="175429" y="316650"/>
                  <a:pt x="174677" y="315817"/>
                </a:cubicBezTo>
                <a:cubicBezTo>
                  <a:pt x="171496" y="311247"/>
                  <a:pt x="175661" y="308355"/>
                  <a:pt x="180057" y="305231"/>
                </a:cubicBezTo>
                <a:cubicBezTo>
                  <a:pt x="185321" y="301529"/>
                  <a:pt x="191626" y="296960"/>
                  <a:pt x="191626" y="287878"/>
                </a:cubicBezTo>
                <a:cubicBezTo>
                  <a:pt x="191510" y="281243"/>
                  <a:pt x="194171" y="274857"/>
                  <a:pt x="198914" y="270236"/>
                </a:cubicBezTo>
                <a:cubicBezTo>
                  <a:pt x="202269" y="266348"/>
                  <a:pt x="206781" y="263688"/>
                  <a:pt x="211814" y="262658"/>
                </a:cubicBezTo>
                <a:cubicBezTo>
                  <a:pt x="212681" y="262583"/>
                  <a:pt x="213491" y="262959"/>
                  <a:pt x="214012" y="263641"/>
                </a:cubicBezTo>
                <a:cubicBezTo>
                  <a:pt x="214532" y="264521"/>
                  <a:pt x="214532" y="265596"/>
                  <a:pt x="214012" y="266476"/>
                </a:cubicBezTo>
                <a:cubicBezTo>
                  <a:pt x="212912" y="269113"/>
                  <a:pt x="213202" y="272121"/>
                  <a:pt x="214764" y="274516"/>
                </a:cubicBezTo>
                <a:cubicBezTo>
                  <a:pt x="215978" y="276535"/>
                  <a:pt x="218176" y="277796"/>
                  <a:pt x="220548" y="277871"/>
                </a:cubicBezTo>
                <a:cubicBezTo>
                  <a:pt x="223961" y="277605"/>
                  <a:pt x="227200" y="276246"/>
                  <a:pt x="229803" y="273995"/>
                </a:cubicBezTo>
                <a:cubicBezTo>
                  <a:pt x="234084" y="270739"/>
                  <a:pt x="238769" y="268020"/>
                  <a:pt x="243744" y="265897"/>
                </a:cubicBezTo>
                <a:cubicBezTo>
                  <a:pt x="249528" y="263236"/>
                  <a:pt x="252999" y="261617"/>
                  <a:pt x="254387" y="255254"/>
                </a:cubicBezTo>
                <a:cubicBezTo>
                  <a:pt x="255717" y="250603"/>
                  <a:pt x="258783" y="246624"/>
                  <a:pt x="262890" y="244090"/>
                </a:cubicBezTo>
                <a:cubicBezTo>
                  <a:pt x="268328" y="241018"/>
                  <a:pt x="271624" y="235136"/>
                  <a:pt x="271335" y="228877"/>
                </a:cubicBezTo>
                <a:cubicBezTo>
                  <a:pt x="270930" y="221126"/>
                  <a:pt x="276252" y="214011"/>
                  <a:pt x="280879" y="207706"/>
                </a:cubicBezTo>
                <a:cubicBezTo>
                  <a:pt x="285507" y="201401"/>
                  <a:pt x="289094" y="196137"/>
                  <a:pt x="285507" y="193360"/>
                </a:cubicBezTo>
                <a:cubicBezTo>
                  <a:pt x="281111" y="188496"/>
                  <a:pt x="279317" y="181780"/>
                  <a:pt x="280764" y="175371"/>
                </a:cubicBezTo>
                <a:cubicBezTo>
                  <a:pt x="281689" y="167273"/>
                  <a:pt x="285334" y="157728"/>
                  <a:pt x="290540" y="155125"/>
                </a:cubicBezTo>
                <a:cubicBezTo>
                  <a:pt x="292159" y="154316"/>
                  <a:pt x="294531" y="152812"/>
                  <a:pt x="297365" y="151076"/>
                </a:cubicBezTo>
                <a:cubicBezTo>
                  <a:pt x="304653" y="146449"/>
                  <a:pt x="314718" y="140144"/>
                  <a:pt x="320850" y="140144"/>
                </a:cubicBezTo>
                <a:cubicBezTo>
                  <a:pt x="324032" y="139976"/>
                  <a:pt x="326750" y="142423"/>
                  <a:pt x="326924" y="145610"/>
                </a:cubicBezTo>
                <a:cubicBezTo>
                  <a:pt x="326924" y="145870"/>
                  <a:pt x="326924" y="146131"/>
                  <a:pt x="326924" y="146391"/>
                </a:cubicBezTo>
                <a:cubicBezTo>
                  <a:pt x="328254" y="154605"/>
                  <a:pt x="330394" y="162662"/>
                  <a:pt x="333287" y="170454"/>
                </a:cubicBezTo>
                <a:cubicBezTo>
                  <a:pt x="339591" y="190468"/>
                  <a:pt x="346822" y="213143"/>
                  <a:pt x="339418" y="219969"/>
                </a:cubicBezTo>
                <a:cubicBezTo>
                  <a:pt x="336121" y="222878"/>
                  <a:pt x="332593" y="225551"/>
                  <a:pt x="328890" y="227951"/>
                </a:cubicBezTo>
                <a:cubicBezTo>
                  <a:pt x="319404" y="234488"/>
                  <a:pt x="310438" y="240619"/>
                  <a:pt x="314661" y="248486"/>
                </a:cubicBezTo>
                <a:cubicBezTo>
                  <a:pt x="321370" y="261154"/>
                  <a:pt x="314661" y="281747"/>
                  <a:pt x="308125" y="291696"/>
                </a:cubicBezTo>
                <a:cubicBezTo>
                  <a:pt x="305811" y="296775"/>
                  <a:pt x="305001" y="302420"/>
                  <a:pt x="305811" y="307950"/>
                </a:cubicBezTo>
                <a:cubicBezTo>
                  <a:pt x="305811" y="316106"/>
                  <a:pt x="306389" y="324494"/>
                  <a:pt x="300720" y="330567"/>
                </a:cubicBezTo>
                <a:cubicBezTo>
                  <a:pt x="295746" y="336265"/>
                  <a:pt x="288746" y="339793"/>
                  <a:pt x="281227" y="340401"/>
                </a:cubicBezTo>
                <a:lnTo>
                  <a:pt x="281227" y="340401"/>
                </a:lnTo>
                <a:cubicBezTo>
                  <a:pt x="277235" y="340962"/>
                  <a:pt x="273533" y="338191"/>
                  <a:pt x="273013" y="334206"/>
                </a:cubicBezTo>
                <a:cubicBezTo>
                  <a:pt x="272955" y="334113"/>
                  <a:pt x="272955" y="334015"/>
                  <a:pt x="272955" y="333922"/>
                </a:cubicBezTo>
                <a:lnTo>
                  <a:pt x="271335" y="336930"/>
                </a:lnTo>
                <a:cubicBezTo>
                  <a:pt x="268443" y="342367"/>
                  <a:pt x="264104" y="350581"/>
                  <a:pt x="257973" y="351102"/>
                </a:cubicBezTo>
                <a:lnTo>
                  <a:pt x="257163" y="351102"/>
                </a:lnTo>
                <a:cubicBezTo>
                  <a:pt x="253751" y="350818"/>
                  <a:pt x="250511" y="349297"/>
                  <a:pt x="248140" y="346821"/>
                </a:cubicBezTo>
                <a:cubicBezTo>
                  <a:pt x="246983" y="345531"/>
                  <a:pt x="245479" y="344641"/>
                  <a:pt x="243802" y="344276"/>
                </a:cubicBezTo>
                <a:cubicBezTo>
                  <a:pt x="242298" y="344276"/>
                  <a:pt x="240620" y="345780"/>
                  <a:pt x="238711" y="348904"/>
                </a:cubicBezTo>
                <a:cubicBezTo>
                  <a:pt x="234315" y="355440"/>
                  <a:pt x="226911" y="359298"/>
                  <a:pt x="219044" y="359142"/>
                </a:cubicBezTo>
                <a:cubicBezTo>
                  <a:pt x="212450" y="359489"/>
                  <a:pt x="206145" y="356591"/>
                  <a:pt x="202095" y="351391"/>
                </a:cubicBezTo>
                <a:cubicBezTo>
                  <a:pt x="200765" y="348944"/>
                  <a:pt x="198278" y="347302"/>
                  <a:pt x="195501" y="346995"/>
                </a:cubicBezTo>
                <a:cubicBezTo>
                  <a:pt x="194345" y="346850"/>
                  <a:pt x="193245" y="347487"/>
                  <a:pt x="192783" y="348557"/>
                </a:cubicBezTo>
                <a:cubicBezTo>
                  <a:pt x="192262" y="350003"/>
                  <a:pt x="193303" y="352027"/>
                  <a:pt x="195617" y="353878"/>
                </a:cubicBezTo>
                <a:cubicBezTo>
                  <a:pt x="197931" y="355729"/>
                  <a:pt x="199839" y="358043"/>
                  <a:pt x="199839" y="359663"/>
                </a:cubicBezTo>
                <a:cubicBezTo>
                  <a:pt x="199839" y="361282"/>
                  <a:pt x="197989" y="363307"/>
                  <a:pt x="195154" y="365447"/>
                </a:cubicBezTo>
                <a:cubicBezTo>
                  <a:pt x="191857" y="367992"/>
                  <a:pt x="188850" y="370838"/>
                  <a:pt x="186073" y="373950"/>
                </a:cubicBezTo>
                <a:cubicBezTo>
                  <a:pt x="180635" y="380111"/>
                  <a:pt x="172885" y="383807"/>
                  <a:pt x="164670" y="384189"/>
                </a:cubicBezTo>
                <a:close/>
                <a:moveTo>
                  <a:pt x="144078" y="349019"/>
                </a:moveTo>
                <a:cubicBezTo>
                  <a:pt x="150383" y="349019"/>
                  <a:pt x="154143" y="350061"/>
                  <a:pt x="155646" y="352375"/>
                </a:cubicBezTo>
                <a:cubicBezTo>
                  <a:pt x="157150" y="354688"/>
                  <a:pt x="156630" y="358737"/>
                  <a:pt x="155646" y="363018"/>
                </a:cubicBezTo>
                <a:cubicBezTo>
                  <a:pt x="154432" y="366645"/>
                  <a:pt x="153911" y="370474"/>
                  <a:pt x="154085" y="374297"/>
                </a:cubicBezTo>
                <a:cubicBezTo>
                  <a:pt x="154895" y="379156"/>
                  <a:pt x="159348" y="382523"/>
                  <a:pt x="164266" y="381933"/>
                </a:cubicBezTo>
                <a:cubicBezTo>
                  <a:pt x="172075" y="381493"/>
                  <a:pt x="179305" y="377924"/>
                  <a:pt x="184453" y="372042"/>
                </a:cubicBezTo>
                <a:cubicBezTo>
                  <a:pt x="187288" y="368837"/>
                  <a:pt x="190411" y="365910"/>
                  <a:pt x="193766" y="363307"/>
                </a:cubicBezTo>
                <a:cubicBezTo>
                  <a:pt x="196022" y="361514"/>
                  <a:pt x="197641" y="360183"/>
                  <a:pt x="197641" y="359142"/>
                </a:cubicBezTo>
                <a:cubicBezTo>
                  <a:pt x="197641" y="358101"/>
                  <a:pt x="196601" y="356944"/>
                  <a:pt x="194229" y="355093"/>
                </a:cubicBezTo>
                <a:cubicBezTo>
                  <a:pt x="189833" y="351449"/>
                  <a:pt x="190296" y="348325"/>
                  <a:pt x="190700" y="347226"/>
                </a:cubicBezTo>
                <a:cubicBezTo>
                  <a:pt x="191452" y="345254"/>
                  <a:pt x="193419" y="344010"/>
                  <a:pt x="195559" y="344161"/>
                </a:cubicBezTo>
                <a:cubicBezTo>
                  <a:pt x="199087" y="344432"/>
                  <a:pt x="202269" y="346451"/>
                  <a:pt x="204005" y="349540"/>
                </a:cubicBezTo>
                <a:cubicBezTo>
                  <a:pt x="207649" y="354116"/>
                  <a:pt x="213260" y="356638"/>
                  <a:pt x="219102" y="356308"/>
                </a:cubicBezTo>
                <a:cubicBezTo>
                  <a:pt x="226159" y="356528"/>
                  <a:pt x="232869" y="353074"/>
                  <a:pt x="236802" y="347168"/>
                </a:cubicBezTo>
                <a:cubicBezTo>
                  <a:pt x="239290" y="343235"/>
                  <a:pt x="241488" y="341384"/>
                  <a:pt x="243859" y="341384"/>
                </a:cubicBezTo>
                <a:cubicBezTo>
                  <a:pt x="246057" y="341702"/>
                  <a:pt x="248140" y="342784"/>
                  <a:pt x="249643" y="344450"/>
                </a:cubicBezTo>
                <a:cubicBezTo>
                  <a:pt x="251726" y="346775"/>
                  <a:pt x="254676" y="348117"/>
                  <a:pt x="257800" y="348152"/>
                </a:cubicBezTo>
                <a:cubicBezTo>
                  <a:pt x="262658" y="347747"/>
                  <a:pt x="266650" y="340169"/>
                  <a:pt x="269368" y="335195"/>
                </a:cubicBezTo>
                <a:cubicBezTo>
                  <a:pt x="271220" y="331666"/>
                  <a:pt x="272087" y="330047"/>
                  <a:pt x="273418" y="330047"/>
                </a:cubicBezTo>
                <a:cubicBezTo>
                  <a:pt x="274748" y="330047"/>
                  <a:pt x="275211" y="332129"/>
                  <a:pt x="275269" y="333054"/>
                </a:cubicBezTo>
                <a:cubicBezTo>
                  <a:pt x="275616" y="336872"/>
                  <a:pt x="279202" y="337451"/>
                  <a:pt x="281053" y="337451"/>
                </a:cubicBezTo>
                <a:cubicBezTo>
                  <a:pt x="287937" y="336855"/>
                  <a:pt x="294358" y="333604"/>
                  <a:pt x="298927" y="328369"/>
                </a:cubicBezTo>
                <a:cubicBezTo>
                  <a:pt x="303901" y="322932"/>
                  <a:pt x="303670" y="315007"/>
                  <a:pt x="303381" y="307372"/>
                </a:cubicBezTo>
                <a:cubicBezTo>
                  <a:pt x="302513" y="301350"/>
                  <a:pt x="303439" y="295201"/>
                  <a:pt x="306099" y="289729"/>
                </a:cubicBezTo>
                <a:cubicBezTo>
                  <a:pt x="312636" y="279895"/>
                  <a:pt x="318478" y="260171"/>
                  <a:pt x="312463" y="248891"/>
                </a:cubicBezTo>
                <a:cubicBezTo>
                  <a:pt x="307373" y="239231"/>
                  <a:pt x="317553" y="232174"/>
                  <a:pt x="327444" y="225406"/>
                </a:cubicBezTo>
                <a:cubicBezTo>
                  <a:pt x="331031" y="223023"/>
                  <a:pt x="334443" y="220437"/>
                  <a:pt x="337741" y="217655"/>
                </a:cubicBezTo>
                <a:cubicBezTo>
                  <a:pt x="344103" y="211871"/>
                  <a:pt x="336815" y="188733"/>
                  <a:pt x="330915" y="170454"/>
                </a:cubicBezTo>
                <a:cubicBezTo>
                  <a:pt x="327965" y="162495"/>
                  <a:pt x="325825" y="154258"/>
                  <a:pt x="324494" y="145870"/>
                </a:cubicBezTo>
                <a:cubicBezTo>
                  <a:pt x="324494" y="142168"/>
                  <a:pt x="322354" y="141706"/>
                  <a:pt x="320676" y="141706"/>
                </a:cubicBezTo>
                <a:cubicBezTo>
                  <a:pt x="315181" y="141706"/>
                  <a:pt x="305463" y="147837"/>
                  <a:pt x="298348" y="152291"/>
                </a:cubicBezTo>
                <a:cubicBezTo>
                  <a:pt x="295514" y="154084"/>
                  <a:pt x="293084" y="155588"/>
                  <a:pt x="291350" y="156456"/>
                </a:cubicBezTo>
                <a:cubicBezTo>
                  <a:pt x="287474" y="158422"/>
                  <a:pt x="283829" y="166347"/>
                  <a:pt x="282847" y="174908"/>
                </a:cubicBezTo>
                <a:cubicBezTo>
                  <a:pt x="281573" y="180560"/>
                  <a:pt x="282962" y="186494"/>
                  <a:pt x="286722" y="190931"/>
                </a:cubicBezTo>
                <a:cubicBezTo>
                  <a:pt x="292506" y="195385"/>
                  <a:pt x="287532" y="201690"/>
                  <a:pt x="282557" y="208284"/>
                </a:cubicBezTo>
                <a:cubicBezTo>
                  <a:pt x="277583" y="214879"/>
                  <a:pt x="273071" y="221068"/>
                  <a:pt x="273418" y="228009"/>
                </a:cubicBezTo>
                <a:cubicBezTo>
                  <a:pt x="273765" y="235072"/>
                  <a:pt x="270178" y="241747"/>
                  <a:pt x="264104" y="245363"/>
                </a:cubicBezTo>
                <a:cubicBezTo>
                  <a:pt x="260403" y="247572"/>
                  <a:pt x="257684" y="251077"/>
                  <a:pt x="256411" y="255196"/>
                </a:cubicBezTo>
                <a:cubicBezTo>
                  <a:pt x="254792" y="262658"/>
                  <a:pt x="250627" y="264683"/>
                  <a:pt x="244496" y="267459"/>
                </a:cubicBezTo>
                <a:cubicBezTo>
                  <a:pt x="239694" y="269489"/>
                  <a:pt x="235125" y="272116"/>
                  <a:pt x="230960" y="275268"/>
                </a:cubicBezTo>
                <a:cubicBezTo>
                  <a:pt x="228010" y="277819"/>
                  <a:pt x="224308" y="279340"/>
                  <a:pt x="220374" y="279606"/>
                </a:cubicBezTo>
                <a:cubicBezTo>
                  <a:pt x="217135" y="279635"/>
                  <a:pt x="214128" y="277993"/>
                  <a:pt x="212392" y="275268"/>
                </a:cubicBezTo>
                <a:cubicBezTo>
                  <a:pt x="210425" y="272208"/>
                  <a:pt x="210078" y="268390"/>
                  <a:pt x="211466" y="265030"/>
                </a:cubicBezTo>
                <a:cubicBezTo>
                  <a:pt x="211524" y="264821"/>
                  <a:pt x="211524" y="264602"/>
                  <a:pt x="211466" y="264393"/>
                </a:cubicBezTo>
                <a:lnTo>
                  <a:pt x="211466" y="264393"/>
                </a:lnTo>
                <a:cubicBezTo>
                  <a:pt x="206955" y="265388"/>
                  <a:pt x="202905" y="267800"/>
                  <a:pt x="199897" y="271277"/>
                </a:cubicBezTo>
                <a:cubicBezTo>
                  <a:pt x="195559" y="275470"/>
                  <a:pt x="193188" y="281232"/>
                  <a:pt x="193188" y="287242"/>
                </a:cubicBezTo>
                <a:cubicBezTo>
                  <a:pt x="193708" y="297654"/>
                  <a:pt x="186304" y="302860"/>
                  <a:pt x="180867" y="306677"/>
                </a:cubicBezTo>
                <a:cubicBezTo>
                  <a:pt x="175429" y="310495"/>
                  <a:pt x="174331" y="311652"/>
                  <a:pt x="176066" y="314081"/>
                </a:cubicBezTo>
                <a:cubicBezTo>
                  <a:pt x="177281" y="315609"/>
                  <a:pt x="177512" y="317726"/>
                  <a:pt x="176587" y="319461"/>
                </a:cubicBezTo>
                <a:cubicBezTo>
                  <a:pt x="173463" y="323337"/>
                  <a:pt x="168719" y="325483"/>
                  <a:pt x="163745" y="325246"/>
                </a:cubicBezTo>
                <a:cubicBezTo>
                  <a:pt x="161662" y="325425"/>
                  <a:pt x="159580" y="324760"/>
                  <a:pt x="157960" y="323394"/>
                </a:cubicBezTo>
                <a:cubicBezTo>
                  <a:pt x="157208" y="322596"/>
                  <a:pt x="156862" y="321514"/>
                  <a:pt x="157035" y="320444"/>
                </a:cubicBezTo>
                <a:cubicBezTo>
                  <a:pt x="157150" y="319878"/>
                  <a:pt x="157035" y="319299"/>
                  <a:pt x="156688" y="318825"/>
                </a:cubicBezTo>
                <a:cubicBezTo>
                  <a:pt x="155646" y="318038"/>
                  <a:pt x="154374" y="317685"/>
                  <a:pt x="153102" y="317841"/>
                </a:cubicBezTo>
                <a:cubicBezTo>
                  <a:pt x="143557" y="319021"/>
                  <a:pt x="134244" y="321659"/>
                  <a:pt x="125452" y="325650"/>
                </a:cubicBezTo>
                <a:cubicBezTo>
                  <a:pt x="121923" y="327068"/>
                  <a:pt x="118163" y="327796"/>
                  <a:pt x="114404" y="327791"/>
                </a:cubicBezTo>
                <a:cubicBezTo>
                  <a:pt x="110181" y="327663"/>
                  <a:pt x="106074" y="326998"/>
                  <a:pt x="102025" y="325824"/>
                </a:cubicBezTo>
                <a:cubicBezTo>
                  <a:pt x="99248" y="325014"/>
                  <a:pt x="96414" y="324528"/>
                  <a:pt x="93580" y="324378"/>
                </a:cubicBezTo>
                <a:cubicBezTo>
                  <a:pt x="90514" y="324308"/>
                  <a:pt x="87506" y="325575"/>
                  <a:pt x="85424" y="327848"/>
                </a:cubicBezTo>
                <a:lnTo>
                  <a:pt x="83515" y="329815"/>
                </a:lnTo>
                <a:cubicBezTo>
                  <a:pt x="72582" y="340748"/>
                  <a:pt x="56097" y="357349"/>
                  <a:pt x="43024" y="359663"/>
                </a:cubicBezTo>
                <a:cubicBezTo>
                  <a:pt x="36777" y="360762"/>
                  <a:pt x="36198" y="364753"/>
                  <a:pt x="36371" y="367067"/>
                </a:cubicBezTo>
                <a:cubicBezTo>
                  <a:pt x="36777" y="371000"/>
                  <a:pt x="39958" y="374876"/>
                  <a:pt x="42156" y="373719"/>
                </a:cubicBezTo>
                <a:cubicBezTo>
                  <a:pt x="46957" y="371758"/>
                  <a:pt x="52164" y="370809"/>
                  <a:pt x="57369" y="370943"/>
                </a:cubicBezTo>
                <a:cubicBezTo>
                  <a:pt x="63443" y="370653"/>
                  <a:pt x="69227" y="370364"/>
                  <a:pt x="71657" y="366778"/>
                </a:cubicBezTo>
                <a:cubicBezTo>
                  <a:pt x="76747" y="359084"/>
                  <a:pt x="116428" y="350176"/>
                  <a:pt x="141070" y="349424"/>
                </a:cubicBezTo>
                <a:close/>
                <a:moveTo>
                  <a:pt x="288688" y="135805"/>
                </a:moveTo>
                <a:cubicBezTo>
                  <a:pt x="287879" y="135834"/>
                  <a:pt x="287127" y="135493"/>
                  <a:pt x="286606" y="134880"/>
                </a:cubicBezTo>
                <a:cubicBezTo>
                  <a:pt x="285912" y="133735"/>
                  <a:pt x="285739" y="132329"/>
                  <a:pt x="286201" y="131062"/>
                </a:cubicBezTo>
                <a:cubicBezTo>
                  <a:pt x="286201" y="129790"/>
                  <a:pt x="286838" y="128459"/>
                  <a:pt x="287185" y="127071"/>
                </a:cubicBezTo>
                <a:cubicBezTo>
                  <a:pt x="288862" y="120766"/>
                  <a:pt x="290713" y="113535"/>
                  <a:pt x="286780" y="111279"/>
                </a:cubicBezTo>
                <a:cubicBezTo>
                  <a:pt x="283887" y="109781"/>
                  <a:pt x="282095" y="106739"/>
                  <a:pt x="282210" y="103470"/>
                </a:cubicBezTo>
                <a:cubicBezTo>
                  <a:pt x="282210" y="101041"/>
                  <a:pt x="283772" y="96529"/>
                  <a:pt x="291754" y="93116"/>
                </a:cubicBezTo>
                <a:cubicBezTo>
                  <a:pt x="295398" y="91977"/>
                  <a:pt x="297654" y="88263"/>
                  <a:pt x="296902" y="84497"/>
                </a:cubicBezTo>
                <a:cubicBezTo>
                  <a:pt x="296902" y="81374"/>
                  <a:pt x="296902" y="77788"/>
                  <a:pt x="302687" y="76862"/>
                </a:cubicBezTo>
                <a:cubicBezTo>
                  <a:pt x="304885" y="76515"/>
                  <a:pt x="307373" y="76284"/>
                  <a:pt x="309802" y="76110"/>
                </a:cubicBezTo>
                <a:cubicBezTo>
                  <a:pt x="315586" y="75590"/>
                  <a:pt x="321370" y="75127"/>
                  <a:pt x="323684" y="72408"/>
                </a:cubicBezTo>
                <a:cubicBezTo>
                  <a:pt x="324436" y="71251"/>
                  <a:pt x="324726" y="69834"/>
                  <a:pt x="324436" y="68475"/>
                </a:cubicBezTo>
                <a:cubicBezTo>
                  <a:pt x="323800" y="64588"/>
                  <a:pt x="325015" y="60614"/>
                  <a:pt x="327733" y="57773"/>
                </a:cubicBezTo>
                <a:cubicBezTo>
                  <a:pt x="330915" y="53938"/>
                  <a:pt x="332650" y="49062"/>
                  <a:pt x="332477" y="44064"/>
                </a:cubicBezTo>
                <a:cubicBezTo>
                  <a:pt x="332535" y="39292"/>
                  <a:pt x="333575" y="34584"/>
                  <a:pt x="335543" y="30240"/>
                </a:cubicBezTo>
                <a:cubicBezTo>
                  <a:pt x="338203" y="25884"/>
                  <a:pt x="337741" y="20290"/>
                  <a:pt x="334327" y="16473"/>
                </a:cubicBezTo>
                <a:cubicBezTo>
                  <a:pt x="331725" y="13470"/>
                  <a:pt x="331204" y="9230"/>
                  <a:pt x="332881" y="5656"/>
                </a:cubicBezTo>
                <a:cubicBezTo>
                  <a:pt x="334675" y="2081"/>
                  <a:pt x="338377" y="-163"/>
                  <a:pt x="342368" y="-129"/>
                </a:cubicBezTo>
                <a:cubicBezTo>
                  <a:pt x="347169" y="155"/>
                  <a:pt x="351566" y="2850"/>
                  <a:pt x="353937" y="7044"/>
                </a:cubicBezTo>
                <a:cubicBezTo>
                  <a:pt x="363481" y="21389"/>
                  <a:pt x="398477" y="50312"/>
                  <a:pt x="411319" y="50312"/>
                </a:cubicBezTo>
                <a:lnTo>
                  <a:pt x="412533" y="50312"/>
                </a:lnTo>
                <a:cubicBezTo>
                  <a:pt x="416929" y="49166"/>
                  <a:pt x="421094" y="47373"/>
                  <a:pt x="424970" y="44990"/>
                </a:cubicBezTo>
                <a:cubicBezTo>
                  <a:pt x="428209" y="42965"/>
                  <a:pt x="431796" y="41664"/>
                  <a:pt x="435555" y="41172"/>
                </a:cubicBezTo>
                <a:cubicBezTo>
                  <a:pt x="437811" y="41068"/>
                  <a:pt x="440009" y="42138"/>
                  <a:pt x="441339" y="44006"/>
                </a:cubicBezTo>
                <a:cubicBezTo>
                  <a:pt x="441918" y="44764"/>
                  <a:pt x="442843" y="45175"/>
                  <a:pt x="443827" y="45106"/>
                </a:cubicBezTo>
                <a:cubicBezTo>
                  <a:pt x="448281" y="44157"/>
                  <a:pt x="452446" y="42179"/>
                  <a:pt x="455974" y="39321"/>
                </a:cubicBezTo>
                <a:cubicBezTo>
                  <a:pt x="458404" y="37325"/>
                  <a:pt x="461238" y="35902"/>
                  <a:pt x="464246" y="35156"/>
                </a:cubicBezTo>
                <a:cubicBezTo>
                  <a:pt x="465519" y="35156"/>
                  <a:pt x="466502" y="36157"/>
                  <a:pt x="466559" y="37412"/>
                </a:cubicBezTo>
                <a:cubicBezTo>
                  <a:pt x="467023" y="40825"/>
                  <a:pt x="460775" y="46378"/>
                  <a:pt x="450826" y="55113"/>
                </a:cubicBezTo>
                <a:cubicBezTo>
                  <a:pt x="444579" y="60492"/>
                  <a:pt x="436018" y="67896"/>
                  <a:pt x="436134" y="70326"/>
                </a:cubicBezTo>
                <a:cubicBezTo>
                  <a:pt x="438795" y="71957"/>
                  <a:pt x="440125" y="75156"/>
                  <a:pt x="439315" y="78192"/>
                </a:cubicBezTo>
                <a:cubicBezTo>
                  <a:pt x="438621" y="80391"/>
                  <a:pt x="435440" y="85539"/>
                  <a:pt x="421036" y="85539"/>
                </a:cubicBezTo>
                <a:cubicBezTo>
                  <a:pt x="404840" y="85539"/>
                  <a:pt x="384999" y="90166"/>
                  <a:pt x="382628" y="103181"/>
                </a:cubicBezTo>
                <a:cubicBezTo>
                  <a:pt x="381413" y="109660"/>
                  <a:pt x="379678" y="116543"/>
                  <a:pt x="374356" y="116543"/>
                </a:cubicBezTo>
                <a:lnTo>
                  <a:pt x="374356" y="116543"/>
                </a:lnTo>
                <a:cubicBezTo>
                  <a:pt x="369902" y="115809"/>
                  <a:pt x="365853" y="113611"/>
                  <a:pt x="362787" y="110296"/>
                </a:cubicBezTo>
                <a:cubicBezTo>
                  <a:pt x="354342" y="103095"/>
                  <a:pt x="343640" y="99011"/>
                  <a:pt x="332535" y="98727"/>
                </a:cubicBezTo>
                <a:cubicBezTo>
                  <a:pt x="329237" y="98611"/>
                  <a:pt x="325882" y="99265"/>
                  <a:pt x="322874" y="100636"/>
                </a:cubicBezTo>
                <a:cubicBezTo>
                  <a:pt x="320792" y="101637"/>
                  <a:pt x="318536" y="102134"/>
                  <a:pt x="316222" y="102082"/>
                </a:cubicBezTo>
                <a:cubicBezTo>
                  <a:pt x="313446" y="101978"/>
                  <a:pt x="310669" y="101550"/>
                  <a:pt x="307951" y="100810"/>
                </a:cubicBezTo>
                <a:cubicBezTo>
                  <a:pt x="306389" y="100370"/>
                  <a:pt x="304769" y="100098"/>
                  <a:pt x="303149" y="100000"/>
                </a:cubicBezTo>
                <a:cubicBezTo>
                  <a:pt x="301761" y="100000"/>
                  <a:pt x="301067" y="100347"/>
                  <a:pt x="300836" y="102140"/>
                </a:cubicBezTo>
                <a:cubicBezTo>
                  <a:pt x="300836" y="105437"/>
                  <a:pt x="304595" y="108329"/>
                  <a:pt x="308587" y="111048"/>
                </a:cubicBezTo>
                <a:cubicBezTo>
                  <a:pt x="312578" y="113767"/>
                  <a:pt x="317958" y="117642"/>
                  <a:pt x="317032" y="122617"/>
                </a:cubicBezTo>
                <a:cubicBezTo>
                  <a:pt x="316570" y="124757"/>
                  <a:pt x="315528" y="125856"/>
                  <a:pt x="313851" y="125856"/>
                </a:cubicBezTo>
                <a:cubicBezTo>
                  <a:pt x="312752" y="125787"/>
                  <a:pt x="311711" y="125532"/>
                  <a:pt x="310727" y="125104"/>
                </a:cubicBezTo>
                <a:cubicBezTo>
                  <a:pt x="309455" y="124537"/>
                  <a:pt x="308067" y="124208"/>
                  <a:pt x="306678" y="124121"/>
                </a:cubicBezTo>
                <a:cubicBezTo>
                  <a:pt x="304943" y="124161"/>
                  <a:pt x="303265" y="124988"/>
                  <a:pt x="302224" y="126377"/>
                </a:cubicBezTo>
                <a:cubicBezTo>
                  <a:pt x="298002" y="130889"/>
                  <a:pt x="291928" y="135805"/>
                  <a:pt x="288804" y="135805"/>
                </a:cubicBezTo>
                <a:close/>
                <a:moveTo>
                  <a:pt x="342137" y="2127"/>
                </a:moveTo>
                <a:cubicBezTo>
                  <a:pt x="339013" y="2104"/>
                  <a:pt x="336121" y="3851"/>
                  <a:pt x="334675" y="6639"/>
                </a:cubicBezTo>
                <a:cubicBezTo>
                  <a:pt x="333345" y="9445"/>
                  <a:pt x="333865" y="12759"/>
                  <a:pt x="335889" y="15084"/>
                </a:cubicBezTo>
                <a:cubicBezTo>
                  <a:pt x="339823" y="19498"/>
                  <a:pt x="340459" y="25977"/>
                  <a:pt x="337393" y="31049"/>
                </a:cubicBezTo>
                <a:cubicBezTo>
                  <a:pt x="335543" y="35145"/>
                  <a:pt x="334559" y="39576"/>
                  <a:pt x="334501" y="44064"/>
                </a:cubicBezTo>
                <a:cubicBezTo>
                  <a:pt x="334675" y="49548"/>
                  <a:pt x="332823" y="54899"/>
                  <a:pt x="329295" y="59104"/>
                </a:cubicBezTo>
                <a:cubicBezTo>
                  <a:pt x="326924" y="61452"/>
                  <a:pt x="325882" y="64790"/>
                  <a:pt x="326403" y="68070"/>
                </a:cubicBezTo>
                <a:cubicBezTo>
                  <a:pt x="326924" y="70083"/>
                  <a:pt x="326461" y="72211"/>
                  <a:pt x="325188" y="73854"/>
                </a:cubicBezTo>
                <a:cubicBezTo>
                  <a:pt x="322470" y="77325"/>
                  <a:pt x="315991" y="77903"/>
                  <a:pt x="309744" y="78424"/>
                </a:cubicBezTo>
                <a:cubicBezTo>
                  <a:pt x="307373" y="78424"/>
                  <a:pt x="304943" y="78771"/>
                  <a:pt x="302860" y="79118"/>
                </a:cubicBezTo>
                <a:cubicBezTo>
                  <a:pt x="299158" y="79754"/>
                  <a:pt x="299158" y="81490"/>
                  <a:pt x="299158" y="84555"/>
                </a:cubicBezTo>
                <a:cubicBezTo>
                  <a:pt x="299852" y="89235"/>
                  <a:pt x="297076" y="93741"/>
                  <a:pt x="292622" y="95257"/>
                </a:cubicBezTo>
                <a:cubicBezTo>
                  <a:pt x="287647" y="97397"/>
                  <a:pt x="284639" y="100463"/>
                  <a:pt x="284466" y="103644"/>
                </a:cubicBezTo>
                <a:cubicBezTo>
                  <a:pt x="284408" y="106073"/>
                  <a:pt x="285739" y="108329"/>
                  <a:pt x="287879" y="109429"/>
                </a:cubicBezTo>
                <a:cubicBezTo>
                  <a:pt x="293663" y="112552"/>
                  <a:pt x="291234" y="120650"/>
                  <a:pt x="289383" y="127765"/>
                </a:cubicBezTo>
                <a:cubicBezTo>
                  <a:pt x="289036" y="129153"/>
                  <a:pt x="288688" y="130426"/>
                  <a:pt x="288399" y="131641"/>
                </a:cubicBezTo>
                <a:cubicBezTo>
                  <a:pt x="288110" y="132855"/>
                  <a:pt x="288399" y="133549"/>
                  <a:pt x="288399" y="133607"/>
                </a:cubicBezTo>
                <a:lnTo>
                  <a:pt x="288399" y="133607"/>
                </a:lnTo>
                <a:cubicBezTo>
                  <a:pt x="293027" y="131878"/>
                  <a:pt x="297018" y="128870"/>
                  <a:pt x="299968" y="124931"/>
                </a:cubicBezTo>
                <a:cubicBezTo>
                  <a:pt x="301472" y="123062"/>
                  <a:pt x="303728" y="121957"/>
                  <a:pt x="306099" y="121923"/>
                </a:cubicBezTo>
                <a:cubicBezTo>
                  <a:pt x="307777" y="121986"/>
                  <a:pt x="309397" y="122362"/>
                  <a:pt x="310901" y="123022"/>
                </a:cubicBezTo>
                <a:cubicBezTo>
                  <a:pt x="311653" y="123352"/>
                  <a:pt x="312463" y="123566"/>
                  <a:pt x="313272" y="123658"/>
                </a:cubicBezTo>
                <a:cubicBezTo>
                  <a:pt x="313272" y="123658"/>
                  <a:pt x="313909" y="123658"/>
                  <a:pt x="314198" y="122270"/>
                </a:cubicBezTo>
                <a:cubicBezTo>
                  <a:pt x="314892" y="118857"/>
                  <a:pt x="310901" y="116081"/>
                  <a:pt x="306678" y="113130"/>
                </a:cubicBezTo>
                <a:cubicBezTo>
                  <a:pt x="302455" y="110180"/>
                  <a:pt x="297596" y="106768"/>
                  <a:pt x="298060" y="102140"/>
                </a:cubicBezTo>
                <a:cubicBezTo>
                  <a:pt x="298002" y="99907"/>
                  <a:pt x="299737" y="98027"/>
                  <a:pt x="301935" y="97952"/>
                </a:cubicBezTo>
                <a:cubicBezTo>
                  <a:pt x="302166" y="97946"/>
                  <a:pt x="302398" y="97952"/>
                  <a:pt x="302571" y="97975"/>
                </a:cubicBezTo>
                <a:cubicBezTo>
                  <a:pt x="304364" y="98085"/>
                  <a:pt x="306157" y="98374"/>
                  <a:pt x="307893" y="98843"/>
                </a:cubicBezTo>
                <a:cubicBezTo>
                  <a:pt x="310438" y="99549"/>
                  <a:pt x="313041" y="99959"/>
                  <a:pt x="315644" y="100058"/>
                </a:cubicBezTo>
                <a:cubicBezTo>
                  <a:pt x="317668" y="100127"/>
                  <a:pt x="319635" y="99711"/>
                  <a:pt x="321428" y="98843"/>
                </a:cubicBezTo>
                <a:cubicBezTo>
                  <a:pt x="324784" y="97310"/>
                  <a:pt x="328428" y="96581"/>
                  <a:pt x="332129" y="96703"/>
                </a:cubicBezTo>
                <a:cubicBezTo>
                  <a:pt x="343756" y="96975"/>
                  <a:pt x="354978" y="101197"/>
                  <a:pt x="363886" y="108676"/>
                </a:cubicBezTo>
                <a:cubicBezTo>
                  <a:pt x="366489" y="111598"/>
                  <a:pt x="369960" y="113622"/>
                  <a:pt x="373778" y="114461"/>
                </a:cubicBezTo>
                <a:lnTo>
                  <a:pt x="373778" y="114461"/>
                </a:lnTo>
                <a:cubicBezTo>
                  <a:pt x="376554" y="114461"/>
                  <a:pt x="378290" y="111222"/>
                  <a:pt x="379562" y="102892"/>
                </a:cubicBezTo>
                <a:cubicBezTo>
                  <a:pt x="382281" y="88489"/>
                  <a:pt x="403162" y="83399"/>
                  <a:pt x="420053" y="83399"/>
                </a:cubicBezTo>
                <a:cubicBezTo>
                  <a:pt x="433299" y="83399"/>
                  <a:pt x="435787" y="79002"/>
                  <a:pt x="436191" y="77614"/>
                </a:cubicBezTo>
                <a:cubicBezTo>
                  <a:pt x="436654" y="75601"/>
                  <a:pt x="435787" y="73507"/>
                  <a:pt x="433994" y="72466"/>
                </a:cubicBezTo>
                <a:cubicBezTo>
                  <a:pt x="433357" y="72049"/>
                  <a:pt x="432952" y="71338"/>
                  <a:pt x="432894" y="70557"/>
                </a:cubicBezTo>
                <a:cubicBezTo>
                  <a:pt x="432894" y="67202"/>
                  <a:pt x="438679" y="61880"/>
                  <a:pt x="448339" y="53551"/>
                </a:cubicBezTo>
                <a:cubicBezTo>
                  <a:pt x="454818" y="47766"/>
                  <a:pt x="463667" y="40247"/>
                  <a:pt x="463378" y="37817"/>
                </a:cubicBezTo>
                <a:cubicBezTo>
                  <a:pt x="463378" y="37725"/>
                  <a:pt x="463378" y="37626"/>
                  <a:pt x="463378" y="37528"/>
                </a:cubicBezTo>
                <a:cubicBezTo>
                  <a:pt x="460833" y="38401"/>
                  <a:pt x="458462" y="39691"/>
                  <a:pt x="456379" y="41346"/>
                </a:cubicBezTo>
                <a:cubicBezTo>
                  <a:pt x="452504" y="44510"/>
                  <a:pt x="447876" y="46656"/>
                  <a:pt x="442959" y="47593"/>
                </a:cubicBezTo>
                <a:cubicBezTo>
                  <a:pt x="441281" y="47680"/>
                  <a:pt x="439720" y="46945"/>
                  <a:pt x="438679" y="45626"/>
                </a:cubicBezTo>
                <a:cubicBezTo>
                  <a:pt x="435902" y="42040"/>
                  <a:pt x="431332" y="44180"/>
                  <a:pt x="425374" y="47246"/>
                </a:cubicBezTo>
                <a:cubicBezTo>
                  <a:pt x="421325" y="49606"/>
                  <a:pt x="416929" y="51359"/>
                  <a:pt x="412359" y="52452"/>
                </a:cubicBezTo>
                <a:cubicBezTo>
                  <a:pt x="399287" y="55171"/>
                  <a:pt x="360821" y="22488"/>
                  <a:pt x="351392" y="8375"/>
                </a:cubicBezTo>
                <a:cubicBezTo>
                  <a:pt x="349541" y="4933"/>
                  <a:pt x="346128" y="2602"/>
                  <a:pt x="342252" y="212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6" name="Forma libre: forma 415">
            <a:extLst>
              <a:ext uri="{FF2B5EF4-FFF2-40B4-BE49-F238E27FC236}">
                <a16:creationId xmlns:a16="http://schemas.microsoft.com/office/drawing/2014/main" id="{DFC13797-1437-59F1-D0CB-4392E3AFE845}"/>
              </a:ext>
            </a:extLst>
          </p:cNvPr>
          <p:cNvSpPr/>
          <p:nvPr/>
        </p:nvSpPr>
        <p:spPr>
          <a:xfrm>
            <a:off x="8202788" y="2852251"/>
            <a:ext cx="1638536" cy="1126102"/>
          </a:xfrm>
          <a:custGeom>
            <a:avLst/>
            <a:gdLst>
              <a:gd name="connsiteX0" fmla="*/ 942116 w 1638536"/>
              <a:gd name="connsiteY0" fmla="*/ 1125939 h 1126102"/>
              <a:gd name="connsiteX1" fmla="*/ 942116 w 1638536"/>
              <a:gd name="connsiteY1" fmla="*/ 1125939 h 1126102"/>
              <a:gd name="connsiteX2" fmla="*/ 921640 w 1638536"/>
              <a:gd name="connsiteY2" fmla="*/ 1113907 h 1126102"/>
              <a:gd name="connsiteX3" fmla="*/ 922738 w 1638536"/>
              <a:gd name="connsiteY3" fmla="*/ 1091463 h 1126102"/>
              <a:gd name="connsiteX4" fmla="*/ 949347 w 1638536"/>
              <a:gd name="connsiteY4" fmla="*/ 1075151 h 1126102"/>
              <a:gd name="connsiteX5" fmla="*/ 958775 w 1638536"/>
              <a:gd name="connsiteY5" fmla="*/ 1074746 h 1126102"/>
              <a:gd name="connsiteX6" fmla="*/ 971038 w 1638536"/>
              <a:gd name="connsiteY6" fmla="*/ 1074226 h 1126102"/>
              <a:gd name="connsiteX7" fmla="*/ 984343 w 1638536"/>
              <a:gd name="connsiteY7" fmla="*/ 1078390 h 1126102"/>
              <a:gd name="connsiteX8" fmla="*/ 977343 w 1638536"/>
              <a:gd name="connsiteY8" fmla="*/ 1095744 h 1126102"/>
              <a:gd name="connsiteX9" fmla="*/ 969824 w 1638536"/>
              <a:gd name="connsiteY9" fmla="*/ 1111188 h 1126102"/>
              <a:gd name="connsiteX10" fmla="*/ 942116 w 1638536"/>
              <a:gd name="connsiteY10" fmla="*/ 1125939 h 1126102"/>
              <a:gd name="connsiteX11" fmla="*/ 971038 w 1638536"/>
              <a:gd name="connsiteY11" fmla="*/ 1076482 h 1126102"/>
              <a:gd name="connsiteX12" fmla="*/ 958891 w 1638536"/>
              <a:gd name="connsiteY12" fmla="*/ 1077002 h 1126102"/>
              <a:gd name="connsiteX13" fmla="*/ 949347 w 1638536"/>
              <a:gd name="connsiteY13" fmla="*/ 1077407 h 1126102"/>
              <a:gd name="connsiteX14" fmla="*/ 924647 w 1638536"/>
              <a:gd name="connsiteY14" fmla="*/ 1092678 h 1126102"/>
              <a:gd name="connsiteX15" fmla="*/ 923664 w 1638536"/>
              <a:gd name="connsiteY15" fmla="*/ 1112924 h 1126102"/>
              <a:gd name="connsiteX16" fmla="*/ 942116 w 1638536"/>
              <a:gd name="connsiteY16" fmla="*/ 1123683 h 1126102"/>
              <a:gd name="connsiteX17" fmla="*/ 942116 w 1638536"/>
              <a:gd name="connsiteY17" fmla="*/ 1123683 h 1126102"/>
              <a:gd name="connsiteX18" fmla="*/ 967568 w 1638536"/>
              <a:gd name="connsiteY18" fmla="*/ 1110899 h 1126102"/>
              <a:gd name="connsiteX19" fmla="*/ 975492 w 1638536"/>
              <a:gd name="connsiteY19" fmla="*/ 1094413 h 1126102"/>
              <a:gd name="connsiteX20" fmla="*/ 982203 w 1638536"/>
              <a:gd name="connsiteY20" fmla="*/ 1079027 h 1126102"/>
              <a:gd name="connsiteX21" fmla="*/ 971038 w 1638536"/>
              <a:gd name="connsiteY21" fmla="*/ 1076482 h 1126102"/>
              <a:gd name="connsiteX22" fmla="*/ 959469 w 1638536"/>
              <a:gd name="connsiteY22" fmla="*/ 1068384 h 1126102"/>
              <a:gd name="connsiteX23" fmla="*/ 954495 w 1638536"/>
              <a:gd name="connsiteY23" fmla="*/ 1065780 h 1126102"/>
              <a:gd name="connsiteX24" fmla="*/ 945818 w 1638536"/>
              <a:gd name="connsiteY24" fmla="*/ 1046750 h 1126102"/>
              <a:gd name="connsiteX25" fmla="*/ 948479 w 1638536"/>
              <a:gd name="connsiteY25" fmla="*/ 1040271 h 1126102"/>
              <a:gd name="connsiteX26" fmla="*/ 949578 w 1638536"/>
              <a:gd name="connsiteY26" fmla="*/ 1032173 h 1126102"/>
              <a:gd name="connsiteX27" fmla="*/ 946166 w 1638536"/>
              <a:gd name="connsiteY27" fmla="*/ 1028934 h 1126102"/>
              <a:gd name="connsiteX28" fmla="*/ 942694 w 1638536"/>
              <a:gd name="connsiteY28" fmla="*/ 1030669 h 1126102"/>
              <a:gd name="connsiteX29" fmla="*/ 932745 w 1638536"/>
              <a:gd name="connsiteY29" fmla="*/ 1035933 h 1126102"/>
              <a:gd name="connsiteX30" fmla="*/ 925226 w 1638536"/>
              <a:gd name="connsiteY30" fmla="*/ 1030148 h 1126102"/>
              <a:gd name="connsiteX31" fmla="*/ 917359 w 1638536"/>
              <a:gd name="connsiteY31" fmla="*/ 1025174 h 1126102"/>
              <a:gd name="connsiteX32" fmla="*/ 912326 w 1638536"/>
              <a:gd name="connsiteY32" fmla="*/ 1029107 h 1126102"/>
              <a:gd name="connsiteX33" fmla="*/ 903881 w 1638536"/>
              <a:gd name="connsiteY33" fmla="*/ 1033446 h 1126102"/>
              <a:gd name="connsiteX34" fmla="*/ 902030 w 1638536"/>
              <a:gd name="connsiteY34" fmla="*/ 1033446 h 1126102"/>
              <a:gd name="connsiteX35" fmla="*/ 895089 w 1638536"/>
              <a:gd name="connsiteY35" fmla="*/ 1034255 h 1126102"/>
              <a:gd name="connsiteX36" fmla="*/ 893758 w 1638536"/>
              <a:gd name="connsiteY36" fmla="*/ 1033966 h 1126102"/>
              <a:gd name="connsiteX37" fmla="*/ 888784 w 1638536"/>
              <a:gd name="connsiteY37" fmla="*/ 1029859 h 1126102"/>
              <a:gd name="connsiteX38" fmla="*/ 860903 w 1638536"/>
              <a:gd name="connsiteY38" fmla="*/ 1008283 h 1126102"/>
              <a:gd name="connsiteX39" fmla="*/ 862291 w 1638536"/>
              <a:gd name="connsiteY39" fmla="*/ 1003251 h 1126102"/>
              <a:gd name="connsiteX40" fmla="*/ 863159 w 1638536"/>
              <a:gd name="connsiteY40" fmla="*/ 996714 h 1126102"/>
              <a:gd name="connsiteX41" fmla="*/ 854309 w 1638536"/>
              <a:gd name="connsiteY41" fmla="*/ 993186 h 1126102"/>
              <a:gd name="connsiteX42" fmla="*/ 832501 w 1638536"/>
              <a:gd name="connsiteY42" fmla="*/ 982774 h 1126102"/>
              <a:gd name="connsiteX43" fmla="*/ 831055 w 1638536"/>
              <a:gd name="connsiteY43" fmla="*/ 981039 h 1126102"/>
              <a:gd name="connsiteX44" fmla="*/ 829956 w 1638536"/>
              <a:gd name="connsiteY44" fmla="*/ 980692 h 1126102"/>
              <a:gd name="connsiteX45" fmla="*/ 811272 w 1638536"/>
              <a:gd name="connsiteY45" fmla="*/ 994805 h 1126102"/>
              <a:gd name="connsiteX46" fmla="*/ 806124 w 1638536"/>
              <a:gd name="connsiteY46" fmla="*/ 998392 h 1126102"/>
              <a:gd name="connsiteX47" fmla="*/ 802654 w 1638536"/>
              <a:gd name="connsiteY47" fmla="*/ 997698 h 1126102"/>
              <a:gd name="connsiteX48" fmla="*/ 798084 w 1638536"/>
              <a:gd name="connsiteY48" fmla="*/ 996888 h 1126102"/>
              <a:gd name="connsiteX49" fmla="*/ 792299 w 1638536"/>
              <a:gd name="connsiteY49" fmla="*/ 998450 h 1126102"/>
              <a:gd name="connsiteX50" fmla="*/ 786515 w 1638536"/>
              <a:gd name="connsiteY50" fmla="*/ 999954 h 1126102"/>
              <a:gd name="connsiteX51" fmla="*/ 777549 w 1638536"/>
              <a:gd name="connsiteY51" fmla="*/ 997755 h 1126102"/>
              <a:gd name="connsiteX52" fmla="*/ 771765 w 1638536"/>
              <a:gd name="connsiteY52" fmla="*/ 996194 h 1126102"/>
              <a:gd name="connsiteX53" fmla="*/ 768815 w 1638536"/>
              <a:gd name="connsiteY53" fmla="*/ 998045 h 1126102"/>
              <a:gd name="connsiteX54" fmla="*/ 763377 w 1638536"/>
              <a:gd name="connsiteY54" fmla="*/ 1001226 h 1126102"/>
              <a:gd name="connsiteX55" fmla="*/ 757593 w 1638536"/>
              <a:gd name="connsiteY55" fmla="*/ 999954 h 1126102"/>
              <a:gd name="connsiteX56" fmla="*/ 751808 w 1638536"/>
              <a:gd name="connsiteY56" fmla="*/ 998739 h 1126102"/>
              <a:gd name="connsiteX57" fmla="*/ 748222 w 1638536"/>
              <a:gd name="connsiteY57" fmla="*/ 1000359 h 1126102"/>
              <a:gd name="connsiteX58" fmla="*/ 732836 w 1638536"/>
              <a:gd name="connsiteY58" fmla="*/ 1008515 h 1126102"/>
              <a:gd name="connsiteX59" fmla="*/ 728208 w 1638536"/>
              <a:gd name="connsiteY59" fmla="*/ 1006953 h 1126102"/>
              <a:gd name="connsiteX60" fmla="*/ 726068 w 1638536"/>
              <a:gd name="connsiteY60" fmla="*/ 1009556 h 1126102"/>
              <a:gd name="connsiteX61" fmla="*/ 725490 w 1638536"/>
              <a:gd name="connsiteY61" fmla="*/ 1019332 h 1126102"/>
              <a:gd name="connsiteX62" fmla="*/ 729018 w 1638536"/>
              <a:gd name="connsiteY62" fmla="*/ 1039924 h 1126102"/>
              <a:gd name="connsiteX63" fmla="*/ 724853 w 1638536"/>
              <a:gd name="connsiteY63" fmla="*/ 1042990 h 1126102"/>
              <a:gd name="connsiteX64" fmla="*/ 723349 w 1638536"/>
              <a:gd name="connsiteY64" fmla="*/ 1042990 h 1126102"/>
              <a:gd name="connsiteX65" fmla="*/ 714152 w 1638536"/>
              <a:gd name="connsiteY65" fmla="*/ 1034371 h 1126102"/>
              <a:gd name="connsiteX66" fmla="*/ 710276 w 1638536"/>
              <a:gd name="connsiteY66" fmla="*/ 1030148 h 1126102"/>
              <a:gd name="connsiteX67" fmla="*/ 709177 w 1638536"/>
              <a:gd name="connsiteY67" fmla="*/ 1029570 h 1126102"/>
              <a:gd name="connsiteX68" fmla="*/ 708020 w 1638536"/>
              <a:gd name="connsiteY68" fmla="*/ 1028876 h 1126102"/>
              <a:gd name="connsiteX69" fmla="*/ 702236 w 1638536"/>
              <a:gd name="connsiteY69" fmla="*/ 1030843 h 1126102"/>
              <a:gd name="connsiteX70" fmla="*/ 698071 w 1638536"/>
              <a:gd name="connsiteY70" fmla="*/ 1032578 h 1126102"/>
              <a:gd name="connsiteX71" fmla="*/ 681701 w 1638536"/>
              <a:gd name="connsiteY71" fmla="*/ 1030843 h 1126102"/>
              <a:gd name="connsiteX72" fmla="*/ 679561 w 1638536"/>
              <a:gd name="connsiteY72" fmla="*/ 1022281 h 1126102"/>
              <a:gd name="connsiteX73" fmla="*/ 678867 w 1638536"/>
              <a:gd name="connsiteY73" fmla="*/ 1018985 h 1126102"/>
              <a:gd name="connsiteX74" fmla="*/ 665563 w 1638536"/>
              <a:gd name="connsiteY74" fmla="*/ 1016324 h 1126102"/>
              <a:gd name="connsiteX75" fmla="*/ 661803 w 1638536"/>
              <a:gd name="connsiteY75" fmla="*/ 1014646 h 1126102"/>
              <a:gd name="connsiteX76" fmla="*/ 663943 w 1638536"/>
              <a:gd name="connsiteY76" fmla="*/ 998276 h 1126102"/>
              <a:gd name="connsiteX77" fmla="*/ 664464 w 1638536"/>
              <a:gd name="connsiteY77" fmla="*/ 996656 h 1126102"/>
              <a:gd name="connsiteX78" fmla="*/ 664059 w 1638536"/>
              <a:gd name="connsiteY78" fmla="*/ 990062 h 1126102"/>
              <a:gd name="connsiteX79" fmla="*/ 655151 w 1638536"/>
              <a:gd name="connsiteY79" fmla="*/ 986013 h 1126102"/>
              <a:gd name="connsiteX80" fmla="*/ 647400 w 1638536"/>
              <a:gd name="connsiteY80" fmla="*/ 979593 h 1126102"/>
              <a:gd name="connsiteX81" fmla="*/ 645780 w 1638536"/>
              <a:gd name="connsiteY81" fmla="*/ 961892 h 1126102"/>
              <a:gd name="connsiteX82" fmla="*/ 645780 w 1638536"/>
              <a:gd name="connsiteY82" fmla="*/ 961082 h 1126102"/>
              <a:gd name="connsiteX83" fmla="*/ 631145 w 1638536"/>
              <a:gd name="connsiteY83" fmla="*/ 957033 h 1126102"/>
              <a:gd name="connsiteX84" fmla="*/ 622353 w 1638536"/>
              <a:gd name="connsiteY84" fmla="*/ 958653 h 1126102"/>
              <a:gd name="connsiteX85" fmla="*/ 616916 w 1638536"/>
              <a:gd name="connsiteY85" fmla="*/ 958653 h 1126102"/>
              <a:gd name="connsiteX86" fmla="*/ 616222 w 1638536"/>
              <a:gd name="connsiteY86" fmla="*/ 952059 h 1126102"/>
              <a:gd name="connsiteX87" fmla="*/ 616222 w 1638536"/>
              <a:gd name="connsiteY87" fmla="*/ 944481 h 1126102"/>
              <a:gd name="connsiteX88" fmla="*/ 638897 w 1638536"/>
              <a:gd name="connsiteY88" fmla="*/ 905147 h 1126102"/>
              <a:gd name="connsiteX89" fmla="*/ 645722 w 1638536"/>
              <a:gd name="connsiteY89" fmla="*/ 875299 h 1126102"/>
              <a:gd name="connsiteX90" fmla="*/ 645202 w 1638536"/>
              <a:gd name="connsiteY90" fmla="*/ 865928 h 1126102"/>
              <a:gd name="connsiteX91" fmla="*/ 635426 w 1638536"/>
              <a:gd name="connsiteY91" fmla="*/ 853723 h 1126102"/>
              <a:gd name="connsiteX92" fmla="*/ 628195 w 1638536"/>
              <a:gd name="connsiteY92" fmla="*/ 837469 h 1126102"/>
              <a:gd name="connsiteX93" fmla="*/ 617147 w 1638536"/>
              <a:gd name="connsiteY93" fmla="*/ 828908 h 1126102"/>
              <a:gd name="connsiteX94" fmla="*/ 611825 w 1638536"/>
              <a:gd name="connsiteY94" fmla="*/ 830528 h 1126102"/>
              <a:gd name="connsiteX95" fmla="*/ 607140 w 1638536"/>
              <a:gd name="connsiteY95" fmla="*/ 833304 h 1126102"/>
              <a:gd name="connsiteX96" fmla="*/ 606388 w 1638536"/>
              <a:gd name="connsiteY96" fmla="*/ 833304 h 1126102"/>
              <a:gd name="connsiteX97" fmla="*/ 589844 w 1638536"/>
              <a:gd name="connsiteY97" fmla="*/ 823991 h 1126102"/>
              <a:gd name="connsiteX98" fmla="*/ 584523 w 1638536"/>
              <a:gd name="connsiteY98" fmla="*/ 815720 h 1126102"/>
              <a:gd name="connsiteX99" fmla="*/ 579027 w 1638536"/>
              <a:gd name="connsiteY99" fmla="*/ 805365 h 1126102"/>
              <a:gd name="connsiteX100" fmla="*/ 577003 w 1638536"/>
              <a:gd name="connsiteY100" fmla="*/ 803341 h 1126102"/>
              <a:gd name="connsiteX101" fmla="*/ 566822 w 1638536"/>
              <a:gd name="connsiteY101" fmla="*/ 808373 h 1126102"/>
              <a:gd name="connsiteX102" fmla="*/ 561674 w 1638536"/>
              <a:gd name="connsiteY102" fmla="*/ 810051 h 1126102"/>
              <a:gd name="connsiteX103" fmla="*/ 554329 w 1638536"/>
              <a:gd name="connsiteY103" fmla="*/ 808778 h 1126102"/>
              <a:gd name="connsiteX104" fmla="*/ 544090 w 1638536"/>
              <a:gd name="connsiteY104" fmla="*/ 807101 h 1126102"/>
              <a:gd name="connsiteX105" fmla="*/ 534256 w 1638536"/>
              <a:gd name="connsiteY105" fmla="*/ 809588 h 1126102"/>
              <a:gd name="connsiteX106" fmla="*/ 520663 w 1638536"/>
              <a:gd name="connsiteY106" fmla="*/ 819422 h 1126102"/>
              <a:gd name="connsiteX107" fmla="*/ 509846 w 1638536"/>
              <a:gd name="connsiteY107" fmla="*/ 824801 h 1126102"/>
              <a:gd name="connsiteX108" fmla="*/ 504409 w 1638536"/>
              <a:gd name="connsiteY108" fmla="*/ 828793 h 1126102"/>
              <a:gd name="connsiteX109" fmla="*/ 500013 w 1638536"/>
              <a:gd name="connsiteY109" fmla="*/ 835271 h 1126102"/>
              <a:gd name="connsiteX110" fmla="*/ 495443 w 1638536"/>
              <a:gd name="connsiteY110" fmla="*/ 840188 h 1126102"/>
              <a:gd name="connsiteX111" fmla="*/ 486304 w 1638536"/>
              <a:gd name="connsiteY111" fmla="*/ 847418 h 1126102"/>
              <a:gd name="connsiteX112" fmla="*/ 477164 w 1638536"/>
              <a:gd name="connsiteY112" fmla="*/ 850657 h 1126102"/>
              <a:gd name="connsiteX113" fmla="*/ 475949 w 1638536"/>
              <a:gd name="connsiteY113" fmla="*/ 850657 h 1126102"/>
              <a:gd name="connsiteX114" fmla="*/ 460852 w 1638536"/>
              <a:gd name="connsiteY114" fmla="*/ 843138 h 1126102"/>
              <a:gd name="connsiteX115" fmla="*/ 456340 w 1638536"/>
              <a:gd name="connsiteY115" fmla="*/ 843601 h 1126102"/>
              <a:gd name="connsiteX116" fmla="*/ 451712 w 1638536"/>
              <a:gd name="connsiteY116" fmla="*/ 844063 h 1126102"/>
              <a:gd name="connsiteX117" fmla="*/ 444655 w 1638536"/>
              <a:gd name="connsiteY117" fmla="*/ 842212 h 1126102"/>
              <a:gd name="connsiteX118" fmla="*/ 423484 w 1638536"/>
              <a:gd name="connsiteY118" fmla="*/ 838510 h 1126102"/>
              <a:gd name="connsiteX119" fmla="*/ 417700 w 1638536"/>
              <a:gd name="connsiteY119" fmla="*/ 841576 h 1126102"/>
              <a:gd name="connsiteX120" fmla="*/ 404280 w 1638536"/>
              <a:gd name="connsiteY120" fmla="*/ 854996 h 1126102"/>
              <a:gd name="connsiteX121" fmla="*/ 397975 w 1638536"/>
              <a:gd name="connsiteY121" fmla="*/ 866565 h 1126102"/>
              <a:gd name="connsiteX122" fmla="*/ 396992 w 1638536"/>
              <a:gd name="connsiteY122" fmla="*/ 867028 h 1126102"/>
              <a:gd name="connsiteX123" fmla="*/ 396066 w 1638536"/>
              <a:gd name="connsiteY123" fmla="*/ 866391 h 1126102"/>
              <a:gd name="connsiteX124" fmla="*/ 394447 w 1638536"/>
              <a:gd name="connsiteY124" fmla="*/ 853608 h 1126102"/>
              <a:gd name="connsiteX125" fmla="*/ 391959 w 1638536"/>
              <a:gd name="connsiteY125" fmla="*/ 840766 h 1126102"/>
              <a:gd name="connsiteX126" fmla="*/ 389645 w 1638536"/>
              <a:gd name="connsiteY126" fmla="*/ 839204 h 1126102"/>
              <a:gd name="connsiteX127" fmla="*/ 387852 w 1638536"/>
              <a:gd name="connsiteY127" fmla="*/ 840535 h 1126102"/>
              <a:gd name="connsiteX128" fmla="*/ 381721 w 1638536"/>
              <a:gd name="connsiteY128" fmla="*/ 845509 h 1126102"/>
              <a:gd name="connsiteX129" fmla="*/ 378771 w 1638536"/>
              <a:gd name="connsiteY129" fmla="*/ 847418 h 1126102"/>
              <a:gd name="connsiteX130" fmla="*/ 377903 w 1638536"/>
              <a:gd name="connsiteY130" fmla="*/ 847765 h 1126102"/>
              <a:gd name="connsiteX131" fmla="*/ 371772 w 1638536"/>
              <a:gd name="connsiteY131" fmla="*/ 847765 h 1126102"/>
              <a:gd name="connsiteX132" fmla="*/ 349906 w 1638536"/>
              <a:gd name="connsiteY132" fmla="*/ 843890 h 1126102"/>
              <a:gd name="connsiteX133" fmla="*/ 336024 w 1638536"/>
              <a:gd name="connsiteY133" fmla="*/ 841113 h 1126102"/>
              <a:gd name="connsiteX134" fmla="*/ 282575 w 1638536"/>
              <a:gd name="connsiteY134" fmla="*/ 819653 h 1126102"/>
              <a:gd name="connsiteX135" fmla="*/ 257703 w 1638536"/>
              <a:gd name="connsiteY135" fmla="*/ 801837 h 1126102"/>
              <a:gd name="connsiteX136" fmla="*/ 226813 w 1638536"/>
              <a:gd name="connsiteY136" fmla="*/ 778988 h 1126102"/>
              <a:gd name="connsiteX137" fmla="*/ 211832 w 1638536"/>
              <a:gd name="connsiteY137" fmla="*/ 772279 h 1126102"/>
              <a:gd name="connsiteX138" fmla="*/ 206857 w 1638536"/>
              <a:gd name="connsiteY138" fmla="*/ 774245 h 1126102"/>
              <a:gd name="connsiteX139" fmla="*/ 191240 w 1638536"/>
              <a:gd name="connsiteY139" fmla="*/ 780030 h 1126102"/>
              <a:gd name="connsiteX140" fmla="*/ 189100 w 1638536"/>
              <a:gd name="connsiteY140" fmla="*/ 780030 h 1126102"/>
              <a:gd name="connsiteX141" fmla="*/ 188058 w 1638536"/>
              <a:gd name="connsiteY141" fmla="*/ 779509 h 1126102"/>
              <a:gd name="connsiteX142" fmla="*/ 188058 w 1638536"/>
              <a:gd name="connsiteY142" fmla="*/ 778352 h 1126102"/>
              <a:gd name="connsiteX143" fmla="*/ 188463 w 1638536"/>
              <a:gd name="connsiteY143" fmla="*/ 777253 h 1126102"/>
              <a:gd name="connsiteX144" fmla="*/ 176895 w 1638536"/>
              <a:gd name="connsiteY144" fmla="*/ 766320 h 1126102"/>
              <a:gd name="connsiteX145" fmla="*/ 176489 w 1638536"/>
              <a:gd name="connsiteY145" fmla="*/ 765916 h 1126102"/>
              <a:gd name="connsiteX146" fmla="*/ 161334 w 1638536"/>
              <a:gd name="connsiteY146" fmla="*/ 752496 h 1126102"/>
              <a:gd name="connsiteX147" fmla="*/ 147972 w 1638536"/>
              <a:gd name="connsiteY147" fmla="*/ 743588 h 1126102"/>
              <a:gd name="connsiteX148" fmla="*/ 138486 w 1638536"/>
              <a:gd name="connsiteY148" fmla="*/ 736300 h 1126102"/>
              <a:gd name="connsiteX149" fmla="*/ 130966 w 1638536"/>
              <a:gd name="connsiteY149" fmla="*/ 723458 h 1126102"/>
              <a:gd name="connsiteX150" fmla="*/ 128074 w 1638536"/>
              <a:gd name="connsiteY150" fmla="*/ 714318 h 1126102"/>
              <a:gd name="connsiteX151" fmla="*/ 126975 w 1638536"/>
              <a:gd name="connsiteY151" fmla="*/ 702171 h 1126102"/>
              <a:gd name="connsiteX152" fmla="*/ 136172 w 1638536"/>
              <a:gd name="connsiteY152" fmla="*/ 700899 h 1126102"/>
              <a:gd name="connsiteX153" fmla="*/ 142708 w 1638536"/>
              <a:gd name="connsiteY153" fmla="*/ 703212 h 1126102"/>
              <a:gd name="connsiteX154" fmla="*/ 150922 w 1638536"/>
              <a:gd name="connsiteY154" fmla="*/ 699163 h 1126102"/>
              <a:gd name="connsiteX155" fmla="*/ 150922 w 1638536"/>
              <a:gd name="connsiteY155" fmla="*/ 692569 h 1126102"/>
              <a:gd name="connsiteX156" fmla="*/ 142997 w 1638536"/>
              <a:gd name="connsiteY156" fmla="*/ 681289 h 1126102"/>
              <a:gd name="connsiteX157" fmla="*/ 135652 w 1638536"/>
              <a:gd name="connsiteY157" fmla="*/ 668332 h 1126102"/>
              <a:gd name="connsiteX158" fmla="*/ 136692 w 1638536"/>
              <a:gd name="connsiteY158" fmla="*/ 661796 h 1126102"/>
              <a:gd name="connsiteX159" fmla="*/ 137386 w 1638536"/>
              <a:gd name="connsiteY159" fmla="*/ 658383 h 1126102"/>
              <a:gd name="connsiteX160" fmla="*/ 138486 w 1638536"/>
              <a:gd name="connsiteY160" fmla="*/ 657458 h 1126102"/>
              <a:gd name="connsiteX161" fmla="*/ 150055 w 1638536"/>
              <a:gd name="connsiteY161" fmla="*/ 656301 h 1126102"/>
              <a:gd name="connsiteX162" fmla="*/ 176489 w 1638536"/>
              <a:gd name="connsiteY162" fmla="*/ 624313 h 1126102"/>
              <a:gd name="connsiteX163" fmla="*/ 175043 w 1638536"/>
              <a:gd name="connsiteY163" fmla="*/ 619743 h 1126102"/>
              <a:gd name="connsiteX164" fmla="*/ 146121 w 1638536"/>
              <a:gd name="connsiteY164" fmla="*/ 599729 h 1126102"/>
              <a:gd name="connsiteX165" fmla="*/ 116273 w 1638536"/>
              <a:gd name="connsiteY165" fmla="*/ 616735 h 1126102"/>
              <a:gd name="connsiteX166" fmla="*/ 115463 w 1638536"/>
              <a:gd name="connsiteY166" fmla="*/ 617487 h 1126102"/>
              <a:gd name="connsiteX167" fmla="*/ 114422 w 1638536"/>
              <a:gd name="connsiteY167" fmla="*/ 617140 h 1126102"/>
              <a:gd name="connsiteX168" fmla="*/ 108638 w 1638536"/>
              <a:gd name="connsiteY168" fmla="*/ 612281 h 1126102"/>
              <a:gd name="connsiteX169" fmla="*/ 98978 w 1638536"/>
              <a:gd name="connsiteY169" fmla="*/ 613265 h 1126102"/>
              <a:gd name="connsiteX170" fmla="*/ 98168 w 1638536"/>
              <a:gd name="connsiteY170" fmla="*/ 615231 h 1126102"/>
              <a:gd name="connsiteX171" fmla="*/ 97416 w 1638536"/>
              <a:gd name="connsiteY171" fmla="*/ 615868 h 1126102"/>
              <a:gd name="connsiteX172" fmla="*/ 96491 w 1638536"/>
              <a:gd name="connsiteY172" fmla="*/ 615868 h 1126102"/>
              <a:gd name="connsiteX173" fmla="*/ 75320 w 1638536"/>
              <a:gd name="connsiteY173" fmla="*/ 604646 h 1126102"/>
              <a:gd name="connsiteX174" fmla="*/ 60743 w 1638536"/>
              <a:gd name="connsiteY174" fmla="*/ 583012 h 1126102"/>
              <a:gd name="connsiteX175" fmla="*/ 47150 w 1638536"/>
              <a:gd name="connsiteY175" fmla="*/ 571732 h 1126102"/>
              <a:gd name="connsiteX176" fmla="*/ 36275 w 1638536"/>
              <a:gd name="connsiteY176" fmla="*/ 563692 h 1126102"/>
              <a:gd name="connsiteX177" fmla="*/ 35927 w 1638536"/>
              <a:gd name="connsiteY177" fmla="*/ 562419 h 1126102"/>
              <a:gd name="connsiteX178" fmla="*/ 36448 w 1638536"/>
              <a:gd name="connsiteY178" fmla="*/ 561783 h 1126102"/>
              <a:gd name="connsiteX179" fmla="*/ 31242 w 1638536"/>
              <a:gd name="connsiteY179" fmla="*/ 526209 h 1126102"/>
              <a:gd name="connsiteX180" fmla="*/ 5039 w 1638536"/>
              <a:gd name="connsiteY180" fmla="*/ 509897 h 1126102"/>
              <a:gd name="connsiteX181" fmla="*/ 4287 w 1638536"/>
              <a:gd name="connsiteY181" fmla="*/ 509029 h 1126102"/>
              <a:gd name="connsiteX182" fmla="*/ 64 w 1638536"/>
              <a:gd name="connsiteY182" fmla="*/ 485487 h 1126102"/>
              <a:gd name="connsiteX183" fmla="*/ 64 w 1638536"/>
              <a:gd name="connsiteY183" fmla="*/ 484330 h 1126102"/>
              <a:gd name="connsiteX184" fmla="*/ 4287 w 1638536"/>
              <a:gd name="connsiteY184" fmla="*/ 471546 h 1126102"/>
              <a:gd name="connsiteX185" fmla="*/ 12617 w 1638536"/>
              <a:gd name="connsiteY185" fmla="*/ 464084 h 1126102"/>
              <a:gd name="connsiteX186" fmla="*/ 17186 w 1638536"/>
              <a:gd name="connsiteY186" fmla="*/ 463217 h 1126102"/>
              <a:gd name="connsiteX187" fmla="*/ 24474 w 1638536"/>
              <a:gd name="connsiteY187" fmla="*/ 458184 h 1126102"/>
              <a:gd name="connsiteX188" fmla="*/ 32688 w 1638536"/>
              <a:gd name="connsiteY188" fmla="*/ 453441 h 1126102"/>
              <a:gd name="connsiteX189" fmla="*/ 39225 w 1638536"/>
              <a:gd name="connsiteY189" fmla="*/ 450780 h 1126102"/>
              <a:gd name="connsiteX190" fmla="*/ 47323 w 1638536"/>
              <a:gd name="connsiteY190" fmla="*/ 447714 h 1126102"/>
              <a:gd name="connsiteX191" fmla="*/ 49406 w 1638536"/>
              <a:gd name="connsiteY191" fmla="*/ 448061 h 1126102"/>
              <a:gd name="connsiteX192" fmla="*/ 54380 w 1638536"/>
              <a:gd name="connsiteY192" fmla="*/ 451127 h 1126102"/>
              <a:gd name="connsiteX193" fmla="*/ 62073 w 1638536"/>
              <a:gd name="connsiteY193" fmla="*/ 454945 h 1126102"/>
              <a:gd name="connsiteX194" fmla="*/ 65313 w 1638536"/>
              <a:gd name="connsiteY194" fmla="*/ 453730 h 1126102"/>
              <a:gd name="connsiteX195" fmla="*/ 71386 w 1638536"/>
              <a:gd name="connsiteY195" fmla="*/ 450607 h 1126102"/>
              <a:gd name="connsiteX196" fmla="*/ 81451 w 1638536"/>
              <a:gd name="connsiteY196" fmla="*/ 442971 h 1126102"/>
              <a:gd name="connsiteX197" fmla="*/ 97127 w 1638536"/>
              <a:gd name="connsiteY197" fmla="*/ 434294 h 1126102"/>
              <a:gd name="connsiteX198" fmla="*/ 104415 w 1638536"/>
              <a:gd name="connsiteY198" fmla="*/ 434931 h 1126102"/>
              <a:gd name="connsiteX199" fmla="*/ 107308 w 1638536"/>
              <a:gd name="connsiteY199" fmla="*/ 435278 h 1126102"/>
              <a:gd name="connsiteX200" fmla="*/ 128016 w 1638536"/>
              <a:gd name="connsiteY200" fmla="*/ 423709 h 1126102"/>
              <a:gd name="connsiteX201" fmla="*/ 140742 w 1638536"/>
              <a:gd name="connsiteY201" fmla="*/ 415148 h 1126102"/>
              <a:gd name="connsiteX202" fmla="*/ 149534 w 1638536"/>
              <a:gd name="connsiteY202" fmla="*/ 411157 h 1126102"/>
              <a:gd name="connsiteX203" fmla="*/ 172671 w 1638536"/>
              <a:gd name="connsiteY203" fmla="*/ 399588 h 1126102"/>
              <a:gd name="connsiteX204" fmla="*/ 174117 w 1638536"/>
              <a:gd name="connsiteY204" fmla="*/ 398951 h 1126102"/>
              <a:gd name="connsiteX205" fmla="*/ 175621 w 1638536"/>
              <a:gd name="connsiteY205" fmla="*/ 389581 h 1126102"/>
              <a:gd name="connsiteX206" fmla="*/ 175275 w 1638536"/>
              <a:gd name="connsiteY206" fmla="*/ 383044 h 1126102"/>
              <a:gd name="connsiteX207" fmla="*/ 183836 w 1638536"/>
              <a:gd name="connsiteY207" fmla="*/ 369393 h 1126102"/>
              <a:gd name="connsiteX208" fmla="*/ 189620 w 1638536"/>
              <a:gd name="connsiteY208" fmla="*/ 362047 h 1126102"/>
              <a:gd name="connsiteX209" fmla="*/ 183836 w 1638536"/>
              <a:gd name="connsiteY209" fmla="*/ 345156 h 1126102"/>
              <a:gd name="connsiteX210" fmla="*/ 178687 w 1638536"/>
              <a:gd name="connsiteY210" fmla="*/ 332141 h 1126102"/>
              <a:gd name="connsiteX211" fmla="*/ 173250 w 1638536"/>
              <a:gd name="connsiteY211" fmla="*/ 309524 h 1126102"/>
              <a:gd name="connsiteX212" fmla="*/ 171457 w 1638536"/>
              <a:gd name="connsiteY212" fmla="*/ 306343 h 1126102"/>
              <a:gd name="connsiteX213" fmla="*/ 189273 w 1638536"/>
              <a:gd name="connsiteY213" fmla="*/ 296683 h 1126102"/>
              <a:gd name="connsiteX214" fmla="*/ 190083 w 1638536"/>
              <a:gd name="connsiteY214" fmla="*/ 296683 h 1126102"/>
              <a:gd name="connsiteX215" fmla="*/ 202635 w 1638536"/>
              <a:gd name="connsiteY215" fmla="*/ 293386 h 1126102"/>
              <a:gd name="connsiteX216" fmla="*/ 212410 w 1638536"/>
              <a:gd name="connsiteY216" fmla="*/ 290667 h 1126102"/>
              <a:gd name="connsiteX217" fmla="*/ 215939 w 1638536"/>
              <a:gd name="connsiteY217" fmla="*/ 291939 h 1126102"/>
              <a:gd name="connsiteX218" fmla="*/ 234739 w 1638536"/>
              <a:gd name="connsiteY218" fmla="*/ 296625 h 1126102"/>
              <a:gd name="connsiteX219" fmla="*/ 238094 w 1638536"/>
              <a:gd name="connsiteY219" fmla="*/ 295063 h 1126102"/>
              <a:gd name="connsiteX220" fmla="*/ 233987 w 1638536"/>
              <a:gd name="connsiteY220" fmla="*/ 285808 h 1126102"/>
              <a:gd name="connsiteX221" fmla="*/ 242663 w 1638536"/>
              <a:gd name="connsiteY221" fmla="*/ 253068 h 1126102"/>
              <a:gd name="connsiteX222" fmla="*/ 250357 w 1638536"/>
              <a:gd name="connsiteY222" fmla="*/ 232128 h 1126102"/>
              <a:gd name="connsiteX223" fmla="*/ 255794 w 1638536"/>
              <a:gd name="connsiteY223" fmla="*/ 225534 h 1126102"/>
              <a:gd name="connsiteX224" fmla="*/ 262041 w 1638536"/>
              <a:gd name="connsiteY224" fmla="*/ 227964 h 1126102"/>
              <a:gd name="connsiteX225" fmla="*/ 270082 w 1638536"/>
              <a:gd name="connsiteY225" fmla="*/ 231261 h 1126102"/>
              <a:gd name="connsiteX226" fmla="*/ 280609 w 1638536"/>
              <a:gd name="connsiteY226" fmla="*/ 231724 h 1126102"/>
              <a:gd name="connsiteX227" fmla="*/ 295590 w 1638536"/>
              <a:gd name="connsiteY227" fmla="*/ 233633 h 1126102"/>
              <a:gd name="connsiteX228" fmla="*/ 298714 w 1638536"/>
              <a:gd name="connsiteY228" fmla="*/ 234153 h 1126102"/>
              <a:gd name="connsiteX229" fmla="*/ 319885 w 1638536"/>
              <a:gd name="connsiteY229" fmla="*/ 224493 h 1126102"/>
              <a:gd name="connsiteX230" fmla="*/ 319249 w 1638536"/>
              <a:gd name="connsiteY230" fmla="*/ 217899 h 1126102"/>
              <a:gd name="connsiteX231" fmla="*/ 315778 w 1638536"/>
              <a:gd name="connsiteY231" fmla="*/ 203264 h 1126102"/>
              <a:gd name="connsiteX232" fmla="*/ 334809 w 1638536"/>
              <a:gd name="connsiteY232" fmla="*/ 181457 h 1126102"/>
              <a:gd name="connsiteX233" fmla="*/ 345452 w 1638536"/>
              <a:gd name="connsiteY233" fmla="*/ 167517 h 1126102"/>
              <a:gd name="connsiteX234" fmla="*/ 349906 w 1638536"/>
              <a:gd name="connsiteY234" fmla="*/ 158203 h 1126102"/>
              <a:gd name="connsiteX235" fmla="*/ 354939 w 1638536"/>
              <a:gd name="connsiteY235" fmla="*/ 149642 h 1126102"/>
              <a:gd name="connsiteX236" fmla="*/ 355749 w 1638536"/>
              <a:gd name="connsiteY236" fmla="*/ 148833 h 1126102"/>
              <a:gd name="connsiteX237" fmla="*/ 356790 w 1638536"/>
              <a:gd name="connsiteY237" fmla="*/ 149180 h 1126102"/>
              <a:gd name="connsiteX238" fmla="*/ 363153 w 1638536"/>
              <a:gd name="connsiteY238" fmla="*/ 153055 h 1126102"/>
              <a:gd name="connsiteX239" fmla="*/ 369227 w 1638536"/>
              <a:gd name="connsiteY239" fmla="*/ 153981 h 1126102"/>
              <a:gd name="connsiteX240" fmla="*/ 373738 w 1638536"/>
              <a:gd name="connsiteY240" fmla="*/ 154733 h 1126102"/>
              <a:gd name="connsiteX241" fmla="*/ 374664 w 1638536"/>
              <a:gd name="connsiteY241" fmla="*/ 155601 h 1126102"/>
              <a:gd name="connsiteX242" fmla="*/ 375011 w 1638536"/>
              <a:gd name="connsiteY242" fmla="*/ 156642 h 1126102"/>
              <a:gd name="connsiteX243" fmla="*/ 375590 w 1638536"/>
              <a:gd name="connsiteY243" fmla="*/ 158898 h 1126102"/>
              <a:gd name="connsiteX244" fmla="*/ 388489 w 1638536"/>
              <a:gd name="connsiteY244" fmla="*/ 178912 h 1126102"/>
              <a:gd name="connsiteX245" fmla="*/ 394794 w 1638536"/>
              <a:gd name="connsiteY245" fmla="*/ 183424 h 1126102"/>
              <a:gd name="connsiteX246" fmla="*/ 418741 w 1638536"/>
              <a:gd name="connsiteY246" fmla="*/ 196554 h 1126102"/>
              <a:gd name="connsiteX247" fmla="*/ 443267 w 1638536"/>
              <a:gd name="connsiteY247" fmla="*/ 216568 h 1126102"/>
              <a:gd name="connsiteX248" fmla="*/ 457381 w 1638536"/>
              <a:gd name="connsiteY248" fmla="*/ 236525 h 1126102"/>
              <a:gd name="connsiteX249" fmla="*/ 458018 w 1638536"/>
              <a:gd name="connsiteY249" fmla="*/ 252721 h 1126102"/>
              <a:gd name="connsiteX250" fmla="*/ 456166 w 1638536"/>
              <a:gd name="connsiteY250" fmla="*/ 264810 h 1126102"/>
              <a:gd name="connsiteX251" fmla="*/ 451539 w 1638536"/>
              <a:gd name="connsiteY251" fmla="*/ 275338 h 1126102"/>
              <a:gd name="connsiteX252" fmla="*/ 449803 w 1638536"/>
              <a:gd name="connsiteY252" fmla="*/ 286560 h 1126102"/>
              <a:gd name="connsiteX253" fmla="*/ 510366 w 1638536"/>
              <a:gd name="connsiteY253" fmla="*/ 301079 h 1126102"/>
              <a:gd name="connsiteX254" fmla="*/ 527951 w 1638536"/>
              <a:gd name="connsiteY254" fmla="*/ 310970 h 1126102"/>
              <a:gd name="connsiteX255" fmla="*/ 531595 w 1638536"/>
              <a:gd name="connsiteY255" fmla="*/ 314210 h 1126102"/>
              <a:gd name="connsiteX256" fmla="*/ 540504 w 1638536"/>
              <a:gd name="connsiteY256" fmla="*/ 320341 h 1126102"/>
              <a:gd name="connsiteX257" fmla="*/ 549238 w 1638536"/>
              <a:gd name="connsiteY257" fmla="*/ 326530 h 1126102"/>
              <a:gd name="connsiteX258" fmla="*/ 571277 w 1638536"/>
              <a:gd name="connsiteY258" fmla="*/ 350247 h 1126102"/>
              <a:gd name="connsiteX259" fmla="*/ 581573 w 1638536"/>
              <a:gd name="connsiteY259" fmla="*/ 369567 h 1126102"/>
              <a:gd name="connsiteX260" fmla="*/ 587357 w 1638536"/>
              <a:gd name="connsiteY260" fmla="*/ 378417 h 1126102"/>
              <a:gd name="connsiteX261" fmla="*/ 596554 w 1638536"/>
              <a:gd name="connsiteY261" fmla="*/ 381309 h 1126102"/>
              <a:gd name="connsiteX262" fmla="*/ 604537 w 1638536"/>
              <a:gd name="connsiteY262" fmla="*/ 381020 h 1126102"/>
              <a:gd name="connsiteX263" fmla="*/ 614255 w 1638536"/>
              <a:gd name="connsiteY263" fmla="*/ 380673 h 1126102"/>
              <a:gd name="connsiteX264" fmla="*/ 621601 w 1638536"/>
              <a:gd name="connsiteY264" fmla="*/ 381078 h 1126102"/>
              <a:gd name="connsiteX265" fmla="*/ 655324 w 1638536"/>
              <a:gd name="connsiteY265" fmla="*/ 381945 h 1126102"/>
              <a:gd name="connsiteX266" fmla="*/ 686733 w 1638536"/>
              <a:gd name="connsiteY266" fmla="*/ 382813 h 1126102"/>
              <a:gd name="connsiteX267" fmla="*/ 696914 w 1638536"/>
              <a:gd name="connsiteY267" fmla="*/ 383738 h 1126102"/>
              <a:gd name="connsiteX268" fmla="*/ 736480 w 1638536"/>
              <a:gd name="connsiteY268" fmla="*/ 393572 h 1126102"/>
              <a:gd name="connsiteX269" fmla="*/ 751056 w 1638536"/>
              <a:gd name="connsiteY269" fmla="*/ 398894 h 1126102"/>
              <a:gd name="connsiteX270" fmla="*/ 754932 w 1638536"/>
              <a:gd name="connsiteY270" fmla="*/ 398894 h 1126102"/>
              <a:gd name="connsiteX271" fmla="*/ 758518 w 1638536"/>
              <a:gd name="connsiteY271" fmla="*/ 398894 h 1126102"/>
              <a:gd name="connsiteX272" fmla="*/ 766327 w 1638536"/>
              <a:gd name="connsiteY272" fmla="*/ 400918 h 1126102"/>
              <a:gd name="connsiteX273" fmla="*/ 787846 w 1638536"/>
              <a:gd name="connsiteY273" fmla="*/ 408207 h 1126102"/>
              <a:gd name="connsiteX274" fmla="*/ 793630 w 1638536"/>
              <a:gd name="connsiteY274" fmla="*/ 407802 h 1126102"/>
              <a:gd name="connsiteX275" fmla="*/ 796407 w 1638536"/>
              <a:gd name="connsiteY275" fmla="*/ 407802 h 1126102"/>
              <a:gd name="connsiteX276" fmla="*/ 807976 w 1638536"/>
              <a:gd name="connsiteY276" fmla="*/ 413586 h 1126102"/>
              <a:gd name="connsiteX277" fmla="*/ 815322 w 1638536"/>
              <a:gd name="connsiteY277" fmla="*/ 418503 h 1126102"/>
              <a:gd name="connsiteX278" fmla="*/ 816536 w 1638536"/>
              <a:gd name="connsiteY278" fmla="*/ 418503 h 1126102"/>
              <a:gd name="connsiteX279" fmla="*/ 836377 w 1638536"/>
              <a:gd name="connsiteY279" fmla="*/ 408611 h 1126102"/>
              <a:gd name="connsiteX280" fmla="*/ 862118 w 1638536"/>
              <a:gd name="connsiteY280" fmla="*/ 393803 h 1126102"/>
              <a:gd name="connsiteX281" fmla="*/ 891040 w 1638536"/>
              <a:gd name="connsiteY281" fmla="*/ 388019 h 1126102"/>
              <a:gd name="connsiteX282" fmla="*/ 918284 w 1638536"/>
              <a:gd name="connsiteY282" fmla="*/ 390969 h 1126102"/>
              <a:gd name="connsiteX283" fmla="*/ 924069 w 1638536"/>
              <a:gd name="connsiteY283" fmla="*/ 391952 h 1126102"/>
              <a:gd name="connsiteX284" fmla="*/ 927829 w 1638536"/>
              <a:gd name="connsiteY284" fmla="*/ 392241 h 1126102"/>
              <a:gd name="connsiteX285" fmla="*/ 972311 w 1638536"/>
              <a:gd name="connsiteY285" fmla="*/ 371186 h 1126102"/>
              <a:gd name="connsiteX286" fmla="*/ 992499 w 1638536"/>
              <a:gd name="connsiteY286" fmla="*/ 357766 h 1126102"/>
              <a:gd name="connsiteX287" fmla="*/ 1005514 w 1638536"/>
              <a:gd name="connsiteY287" fmla="*/ 345445 h 1126102"/>
              <a:gd name="connsiteX288" fmla="*/ 1000886 w 1638536"/>
              <a:gd name="connsiteY288" fmla="*/ 330811 h 1126102"/>
              <a:gd name="connsiteX289" fmla="*/ 998630 w 1638536"/>
              <a:gd name="connsiteY289" fmla="*/ 313458 h 1126102"/>
              <a:gd name="connsiteX290" fmla="*/ 1015405 w 1638536"/>
              <a:gd name="connsiteY290" fmla="*/ 303277 h 1126102"/>
              <a:gd name="connsiteX291" fmla="*/ 1026511 w 1638536"/>
              <a:gd name="connsiteY291" fmla="*/ 305996 h 1126102"/>
              <a:gd name="connsiteX292" fmla="*/ 1045310 w 1638536"/>
              <a:gd name="connsiteY292" fmla="*/ 310103 h 1126102"/>
              <a:gd name="connsiteX293" fmla="*/ 1069316 w 1638536"/>
              <a:gd name="connsiteY293" fmla="*/ 302583 h 1126102"/>
              <a:gd name="connsiteX294" fmla="*/ 1102750 w 1638536"/>
              <a:gd name="connsiteY294" fmla="*/ 290725 h 1126102"/>
              <a:gd name="connsiteX295" fmla="*/ 1110328 w 1638536"/>
              <a:gd name="connsiteY295" fmla="*/ 290031 h 1126102"/>
              <a:gd name="connsiteX296" fmla="*/ 1126235 w 1638536"/>
              <a:gd name="connsiteY296" fmla="*/ 278462 h 1126102"/>
              <a:gd name="connsiteX297" fmla="*/ 1134275 w 1638536"/>
              <a:gd name="connsiteY297" fmla="*/ 267471 h 1126102"/>
              <a:gd name="connsiteX298" fmla="*/ 1168577 w 1638536"/>
              <a:gd name="connsiteY298" fmla="*/ 253068 h 1126102"/>
              <a:gd name="connsiteX299" fmla="*/ 1182806 w 1638536"/>
              <a:gd name="connsiteY299" fmla="*/ 249366 h 1126102"/>
              <a:gd name="connsiteX300" fmla="*/ 1199003 w 1638536"/>
              <a:gd name="connsiteY300" fmla="*/ 245317 h 1126102"/>
              <a:gd name="connsiteX301" fmla="*/ 1204093 w 1638536"/>
              <a:gd name="connsiteY301" fmla="*/ 246127 h 1126102"/>
              <a:gd name="connsiteX302" fmla="*/ 1219827 w 1638536"/>
              <a:gd name="connsiteY302" fmla="*/ 248961 h 1126102"/>
              <a:gd name="connsiteX303" fmla="*/ 1230759 w 1638536"/>
              <a:gd name="connsiteY303" fmla="*/ 243177 h 1126102"/>
              <a:gd name="connsiteX304" fmla="*/ 1210687 w 1638536"/>
              <a:gd name="connsiteY304" fmla="*/ 220733 h 1126102"/>
              <a:gd name="connsiteX305" fmla="*/ 1195821 w 1638536"/>
              <a:gd name="connsiteY305" fmla="*/ 207198 h 1126102"/>
              <a:gd name="connsiteX306" fmla="*/ 1184831 w 1638536"/>
              <a:gd name="connsiteY306" fmla="*/ 201760 h 1126102"/>
              <a:gd name="connsiteX307" fmla="*/ 1171353 w 1638536"/>
              <a:gd name="connsiteY307" fmla="*/ 210437 h 1126102"/>
              <a:gd name="connsiteX308" fmla="*/ 1166668 w 1638536"/>
              <a:gd name="connsiteY308" fmla="*/ 214313 h 1126102"/>
              <a:gd name="connsiteX309" fmla="*/ 1160190 w 1638536"/>
              <a:gd name="connsiteY309" fmla="*/ 212057 h 1126102"/>
              <a:gd name="connsiteX310" fmla="*/ 1143877 w 1638536"/>
              <a:gd name="connsiteY310" fmla="*/ 207603 h 1126102"/>
              <a:gd name="connsiteX311" fmla="*/ 1131152 w 1638536"/>
              <a:gd name="connsiteY311" fmla="*/ 209801 h 1126102"/>
              <a:gd name="connsiteX312" fmla="*/ 1125367 w 1638536"/>
              <a:gd name="connsiteY312" fmla="*/ 211073 h 1126102"/>
              <a:gd name="connsiteX313" fmla="*/ 1115186 w 1638536"/>
              <a:gd name="connsiteY313" fmla="*/ 205289 h 1126102"/>
              <a:gd name="connsiteX314" fmla="*/ 1111137 w 1638536"/>
              <a:gd name="connsiteY314" fmla="*/ 195687 h 1126102"/>
              <a:gd name="connsiteX315" fmla="*/ 1118483 w 1638536"/>
              <a:gd name="connsiteY315" fmla="*/ 189497 h 1126102"/>
              <a:gd name="connsiteX316" fmla="*/ 1120103 w 1638536"/>
              <a:gd name="connsiteY316" fmla="*/ 176193 h 1126102"/>
              <a:gd name="connsiteX317" fmla="*/ 1120103 w 1638536"/>
              <a:gd name="connsiteY317" fmla="*/ 175846 h 1126102"/>
              <a:gd name="connsiteX318" fmla="*/ 1141968 w 1638536"/>
              <a:gd name="connsiteY318" fmla="*/ 132116 h 1126102"/>
              <a:gd name="connsiteX319" fmla="*/ 1143415 w 1638536"/>
              <a:gd name="connsiteY319" fmla="*/ 131595 h 1126102"/>
              <a:gd name="connsiteX320" fmla="*/ 1150125 w 1638536"/>
              <a:gd name="connsiteY320" fmla="*/ 136801 h 1126102"/>
              <a:gd name="connsiteX321" fmla="*/ 1172047 w 1638536"/>
              <a:gd name="connsiteY321" fmla="*/ 143742 h 1126102"/>
              <a:gd name="connsiteX322" fmla="*/ 1175345 w 1638536"/>
              <a:gd name="connsiteY322" fmla="*/ 143395 h 1126102"/>
              <a:gd name="connsiteX323" fmla="*/ 1185178 w 1638536"/>
              <a:gd name="connsiteY323" fmla="*/ 137611 h 1126102"/>
              <a:gd name="connsiteX324" fmla="*/ 1201433 w 1638536"/>
              <a:gd name="connsiteY324" fmla="*/ 129339 h 1126102"/>
              <a:gd name="connsiteX325" fmla="*/ 1211670 w 1638536"/>
              <a:gd name="connsiteY325" fmla="*/ 122976 h 1126102"/>
              <a:gd name="connsiteX326" fmla="*/ 1212596 w 1638536"/>
              <a:gd name="connsiteY326" fmla="*/ 118638 h 1126102"/>
              <a:gd name="connsiteX327" fmla="*/ 1219885 w 1638536"/>
              <a:gd name="connsiteY327" fmla="*/ 100649 h 1126102"/>
              <a:gd name="connsiteX328" fmla="*/ 1225669 w 1638536"/>
              <a:gd name="connsiteY328" fmla="*/ 89774 h 1126102"/>
              <a:gd name="connsiteX329" fmla="*/ 1243022 w 1638536"/>
              <a:gd name="connsiteY329" fmla="*/ 63165 h 1126102"/>
              <a:gd name="connsiteX330" fmla="*/ 1254591 w 1638536"/>
              <a:gd name="connsiteY330" fmla="*/ 50671 h 1126102"/>
              <a:gd name="connsiteX331" fmla="*/ 1247650 w 1638536"/>
              <a:gd name="connsiteY331" fmla="*/ 32219 h 1126102"/>
              <a:gd name="connsiteX332" fmla="*/ 1246146 w 1638536"/>
              <a:gd name="connsiteY332" fmla="*/ 32219 h 1126102"/>
              <a:gd name="connsiteX333" fmla="*/ 1239088 w 1638536"/>
              <a:gd name="connsiteY333" fmla="*/ 29616 h 1126102"/>
              <a:gd name="connsiteX334" fmla="*/ 1244353 w 1638536"/>
              <a:gd name="connsiteY334" fmla="*/ 15849 h 1126102"/>
              <a:gd name="connsiteX335" fmla="*/ 1271598 w 1638536"/>
              <a:gd name="connsiteY335" fmla="*/ 3644 h 1126102"/>
              <a:gd name="connsiteX336" fmla="*/ 1278249 w 1638536"/>
              <a:gd name="connsiteY336" fmla="*/ 3991 h 1126102"/>
              <a:gd name="connsiteX337" fmla="*/ 1279985 w 1638536"/>
              <a:gd name="connsiteY337" fmla="*/ 3991 h 1126102"/>
              <a:gd name="connsiteX338" fmla="*/ 1285769 w 1638536"/>
              <a:gd name="connsiteY338" fmla="*/ 3065 h 1126102"/>
              <a:gd name="connsiteX339" fmla="*/ 1312031 w 1638536"/>
              <a:gd name="connsiteY339" fmla="*/ -116 h 1126102"/>
              <a:gd name="connsiteX340" fmla="*/ 1320592 w 1638536"/>
              <a:gd name="connsiteY340" fmla="*/ 809 h 1126102"/>
              <a:gd name="connsiteX341" fmla="*/ 1333028 w 1638536"/>
              <a:gd name="connsiteY341" fmla="*/ 2024 h 1126102"/>
              <a:gd name="connsiteX342" fmla="*/ 1335341 w 1638536"/>
              <a:gd name="connsiteY342" fmla="*/ 2024 h 1126102"/>
              <a:gd name="connsiteX343" fmla="*/ 1351538 w 1638536"/>
              <a:gd name="connsiteY343" fmla="*/ 5726 h 1126102"/>
              <a:gd name="connsiteX344" fmla="*/ 1370395 w 1638536"/>
              <a:gd name="connsiteY344" fmla="*/ 10701 h 1126102"/>
              <a:gd name="connsiteX345" fmla="*/ 1385030 w 1638536"/>
              <a:gd name="connsiteY345" fmla="*/ 15791 h 1126102"/>
              <a:gd name="connsiteX346" fmla="*/ 1391855 w 1638536"/>
              <a:gd name="connsiteY346" fmla="*/ 21228 h 1126102"/>
              <a:gd name="connsiteX347" fmla="*/ 1402962 w 1638536"/>
              <a:gd name="connsiteY347" fmla="*/ 36904 h 1126102"/>
              <a:gd name="connsiteX348" fmla="*/ 1405622 w 1638536"/>
              <a:gd name="connsiteY348" fmla="*/ 43267 h 1126102"/>
              <a:gd name="connsiteX349" fmla="*/ 1415861 w 1638536"/>
              <a:gd name="connsiteY349" fmla="*/ 61430 h 1126102"/>
              <a:gd name="connsiteX350" fmla="*/ 1426388 w 1638536"/>
              <a:gd name="connsiteY350" fmla="*/ 83931 h 1126102"/>
              <a:gd name="connsiteX351" fmla="*/ 1432173 w 1638536"/>
              <a:gd name="connsiteY351" fmla="*/ 93707 h 1126102"/>
              <a:gd name="connsiteX352" fmla="*/ 1439114 w 1638536"/>
              <a:gd name="connsiteY352" fmla="*/ 108978 h 1126102"/>
              <a:gd name="connsiteX353" fmla="*/ 1445882 w 1638536"/>
              <a:gd name="connsiteY353" fmla="*/ 127430 h 1126102"/>
              <a:gd name="connsiteX354" fmla="*/ 1445882 w 1638536"/>
              <a:gd name="connsiteY354" fmla="*/ 137611 h 1126102"/>
              <a:gd name="connsiteX355" fmla="*/ 1455080 w 1638536"/>
              <a:gd name="connsiteY355" fmla="*/ 141313 h 1126102"/>
              <a:gd name="connsiteX356" fmla="*/ 1475151 w 1638536"/>
              <a:gd name="connsiteY356" fmla="*/ 148486 h 1126102"/>
              <a:gd name="connsiteX357" fmla="*/ 1480936 w 1638536"/>
              <a:gd name="connsiteY357" fmla="*/ 151146 h 1126102"/>
              <a:gd name="connsiteX358" fmla="*/ 1480936 w 1638536"/>
              <a:gd name="connsiteY358" fmla="*/ 151146 h 1126102"/>
              <a:gd name="connsiteX359" fmla="*/ 1483076 w 1638536"/>
              <a:gd name="connsiteY359" fmla="*/ 150742 h 1126102"/>
              <a:gd name="connsiteX360" fmla="*/ 1509684 w 1638536"/>
              <a:gd name="connsiteY360" fmla="*/ 163467 h 1126102"/>
              <a:gd name="connsiteX361" fmla="*/ 1520906 w 1638536"/>
              <a:gd name="connsiteY361" fmla="*/ 169252 h 1126102"/>
              <a:gd name="connsiteX362" fmla="*/ 1529409 w 1638536"/>
              <a:gd name="connsiteY362" fmla="*/ 177581 h 1126102"/>
              <a:gd name="connsiteX363" fmla="*/ 1532359 w 1638536"/>
              <a:gd name="connsiteY363" fmla="*/ 189786 h 1126102"/>
              <a:gd name="connsiteX364" fmla="*/ 1535078 w 1638536"/>
              <a:gd name="connsiteY364" fmla="*/ 201008 h 1126102"/>
              <a:gd name="connsiteX365" fmla="*/ 1536350 w 1638536"/>
              <a:gd name="connsiteY365" fmla="*/ 204421 h 1126102"/>
              <a:gd name="connsiteX366" fmla="*/ 1555960 w 1638536"/>
              <a:gd name="connsiteY366" fmla="*/ 210610 h 1126102"/>
              <a:gd name="connsiteX367" fmla="*/ 1560414 w 1638536"/>
              <a:gd name="connsiteY367" fmla="*/ 210263 h 1126102"/>
              <a:gd name="connsiteX368" fmla="*/ 1570884 w 1638536"/>
              <a:gd name="connsiteY368" fmla="*/ 210263 h 1126102"/>
              <a:gd name="connsiteX369" fmla="*/ 1583783 w 1638536"/>
              <a:gd name="connsiteY369" fmla="*/ 205231 h 1126102"/>
              <a:gd name="connsiteX370" fmla="*/ 1601541 w 1638536"/>
              <a:gd name="connsiteY370" fmla="*/ 197190 h 1126102"/>
              <a:gd name="connsiteX371" fmla="*/ 1610796 w 1638536"/>
              <a:gd name="connsiteY371" fmla="*/ 195108 h 1126102"/>
              <a:gd name="connsiteX372" fmla="*/ 1624505 w 1638536"/>
              <a:gd name="connsiteY372" fmla="*/ 190770 h 1126102"/>
              <a:gd name="connsiteX373" fmla="*/ 1632025 w 1638536"/>
              <a:gd name="connsiteY373" fmla="*/ 193489 h 1126102"/>
              <a:gd name="connsiteX374" fmla="*/ 1634397 w 1638536"/>
              <a:gd name="connsiteY374" fmla="*/ 201760 h 1126102"/>
              <a:gd name="connsiteX375" fmla="*/ 1637057 w 1638536"/>
              <a:gd name="connsiteY375" fmla="*/ 215238 h 1126102"/>
              <a:gd name="connsiteX376" fmla="*/ 1634686 w 1638536"/>
              <a:gd name="connsiteY376" fmla="*/ 225245 h 1126102"/>
              <a:gd name="connsiteX377" fmla="*/ 1621844 w 1638536"/>
              <a:gd name="connsiteY377" fmla="*/ 254572 h 1126102"/>
              <a:gd name="connsiteX378" fmla="*/ 1620630 w 1638536"/>
              <a:gd name="connsiteY378" fmla="*/ 259315 h 1126102"/>
              <a:gd name="connsiteX379" fmla="*/ 1612416 w 1638536"/>
              <a:gd name="connsiteY379" fmla="*/ 269669 h 1126102"/>
              <a:gd name="connsiteX380" fmla="*/ 1604491 w 1638536"/>
              <a:gd name="connsiteY380" fmla="*/ 280197 h 1126102"/>
              <a:gd name="connsiteX381" fmla="*/ 1596624 w 1638536"/>
              <a:gd name="connsiteY381" fmla="*/ 290956 h 1126102"/>
              <a:gd name="connsiteX382" fmla="*/ 1591592 w 1638536"/>
              <a:gd name="connsiteY382" fmla="*/ 297782 h 1126102"/>
              <a:gd name="connsiteX383" fmla="*/ 1588642 w 1638536"/>
              <a:gd name="connsiteY383" fmla="*/ 302525 h 1126102"/>
              <a:gd name="connsiteX384" fmla="*/ 1582279 w 1638536"/>
              <a:gd name="connsiteY384" fmla="*/ 303798 h 1126102"/>
              <a:gd name="connsiteX385" fmla="*/ 1582279 w 1638536"/>
              <a:gd name="connsiteY385" fmla="*/ 303798 h 1126102"/>
              <a:gd name="connsiteX386" fmla="*/ 1565562 w 1638536"/>
              <a:gd name="connsiteY386" fmla="*/ 298707 h 1126102"/>
              <a:gd name="connsiteX387" fmla="*/ 1562612 w 1638536"/>
              <a:gd name="connsiteY387" fmla="*/ 297724 h 1126102"/>
              <a:gd name="connsiteX388" fmla="*/ 1552894 w 1638536"/>
              <a:gd name="connsiteY388" fmla="*/ 303798 h 1126102"/>
              <a:gd name="connsiteX389" fmla="*/ 1543639 w 1638536"/>
              <a:gd name="connsiteY389" fmla="*/ 309582 h 1126102"/>
              <a:gd name="connsiteX390" fmla="*/ 1541325 w 1638536"/>
              <a:gd name="connsiteY390" fmla="*/ 310797 h 1126102"/>
              <a:gd name="connsiteX391" fmla="*/ 1540631 w 1638536"/>
              <a:gd name="connsiteY391" fmla="*/ 327514 h 1126102"/>
              <a:gd name="connsiteX392" fmla="*/ 1540631 w 1638536"/>
              <a:gd name="connsiteY392" fmla="*/ 335496 h 1126102"/>
              <a:gd name="connsiteX393" fmla="*/ 1542077 w 1638536"/>
              <a:gd name="connsiteY393" fmla="*/ 350015 h 1126102"/>
              <a:gd name="connsiteX394" fmla="*/ 1543581 w 1638536"/>
              <a:gd name="connsiteY394" fmla="*/ 364014 h 1126102"/>
              <a:gd name="connsiteX395" fmla="*/ 1544102 w 1638536"/>
              <a:gd name="connsiteY395" fmla="*/ 376450 h 1126102"/>
              <a:gd name="connsiteX396" fmla="*/ 1543639 w 1638536"/>
              <a:gd name="connsiteY396" fmla="*/ 377433 h 1126102"/>
              <a:gd name="connsiteX397" fmla="*/ 1536987 w 1638536"/>
              <a:gd name="connsiteY397" fmla="*/ 382466 h 1126102"/>
              <a:gd name="connsiteX398" fmla="*/ 1535830 w 1638536"/>
              <a:gd name="connsiteY398" fmla="*/ 382466 h 1126102"/>
              <a:gd name="connsiteX399" fmla="*/ 1529178 w 1638536"/>
              <a:gd name="connsiteY399" fmla="*/ 381425 h 1126102"/>
              <a:gd name="connsiteX400" fmla="*/ 1525129 w 1638536"/>
              <a:gd name="connsiteY400" fmla="*/ 382119 h 1126102"/>
              <a:gd name="connsiteX401" fmla="*/ 1514717 w 1638536"/>
              <a:gd name="connsiteY401" fmla="*/ 377086 h 1126102"/>
              <a:gd name="connsiteX402" fmla="*/ 1505924 w 1638536"/>
              <a:gd name="connsiteY402" fmla="*/ 372632 h 1126102"/>
              <a:gd name="connsiteX403" fmla="*/ 1499099 w 1638536"/>
              <a:gd name="connsiteY403" fmla="*/ 382466 h 1126102"/>
              <a:gd name="connsiteX404" fmla="*/ 1490133 w 1638536"/>
              <a:gd name="connsiteY404" fmla="*/ 394035 h 1126102"/>
              <a:gd name="connsiteX405" fmla="*/ 1483018 w 1638536"/>
              <a:gd name="connsiteY405" fmla="*/ 399356 h 1126102"/>
              <a:gd name="connsiteX406" fmla="*/ 1470871 w 1638536"/>
              <a:gd name="connsiteY406" fmla="*/ 408033 h 1126102"/>
              <a:gd name="connsiteX407" fmla="*/ 1469077 w 1638536"/>
              <a:gd name="connsiteY407" fmla="*/ 408322 h 1126102"/>
              <a:gd name="connsiteX408" fmla="*/ 1459013 w 1638536"/>
              <a:gd name="connsiteY408" fmla="*/ 411041 h 1126102"/>
              <a:gd name="connsiteX409" fmla="*/ 1461153 w 1638536"/>
              <a:gd name="connsiteY409" fmla="*/ 416825 h 1126102"/>
              <a:gd name="connsiteX410" fmla="*/ 1462136 w 1638536"/>
              <a:gd name="connsiteY410" fmla="*/ 422610 h 1126102"/>
              <a:gd name="connsiteX411" fmla="*/ 1455947 w 1638536"/>
              <a:gd name="connsiteY411" fmla="*/ 424692 h 1126102"/>
              <a:gd name="connsiteX412" fmla="*/ 1450163 w 1638536"/>
              <a:gd name="connsiteY412" fmla="*/ 424403 h 1126102"/>
              <a:gd name="connsiteX413" fmla="*/ 1442759 w 1638536"/>
              <a:gd name="connsiteY413" fmla="*/ 423998 h 1126102"/>
              <a:gd name="connsiteX414" fmla="*/ 1431190 w 1638536"/>
              <a:gd name="connsiteY414" fmla="*/ 419717 h 1126102"/>
              <a:gd name="connsiteX415" fmla="*/ 1425058 w 1638536"/>
              <a:gd name="connsiteY415" fmla="*/ 416941 h 1126102"/>
              <a:gd name="connsiteX416" fmla="*/ 1412621 w 1638536"/>
              <a:gd name="connsiteY416" fmla="*/ 429493 h 1126102"/>
              <a:gd name="connsiteX417" fmla="*/ 1408399 w 1638536"/>
              <a:gd name="connsiteY417" fmla="*/ 435856 h 1126102"/>
              <a:gd name="connsiteX418" fmla="*/ 1364843 w 1638536"/>
              <a:gd name="connsiteY418" fmla="*/ 460556 h 1126102"/>
              <a:gd name="connsiteX419" fmla="*/ 1356975 w 1638536"/>
              <a:gd name="connsiteY419" fmla="*/ 464316 h 1126102"/>
              <a:gd name="connsiteX420" fmla="*/ 1349803 w 1638536"/>
              <a:gd name="connsiteY420" fmla="*/ 475884 h 1126102"/>
              <a:gd name="connsiteX421" fmla="*/ 1348762 w 1638536"/>
              <a:gd name="connsiteY421" fmla="*/ 476579 h 1126102"/>
              <a:gd name="connsiteX422" fmla="*/ 1348762 w 1638536"/>
              <a:gd name="connsiteY422" fmla="*/ 476579 h 1126102"/>
              <a:gd name="connsiteX423" fmla="*/ 1336093 w 1638536"/>
              <a:gd name="connsiteY423" fmla="*/ 478198 h 1126102"/>
              <a:gd name="connsiteX424" fmla="*/ 1285827 w 1638536"/>
              <a:gd name="connsiteY424" fmla="*/ 506310 h 1126102"/>
              <a:gd name="connsiteX425" fmla="*/ 1267317 w 1638536"/>
              <a:gd name="connsiteY425" fmla="*/ 513367 h 1126102"/>
              <a:gd name="connsiteX426" fmla="*/ 1262632 w 1638536"/>
              <a:gd name="connsiteY426" fmla="*/ 511169 h 1126102"/>
              <a:gd name="connsiteX427" fmla="*/ 1265466 w 1638536"/>
              <a:gd name="connsiteY427" fmla="*/ 504922 h 1126102"/>
              <a:gd name="connsiteX428" fmla="*/ 1268358 w 1638536"/>
              <a:gd name="connsiteY428" fmla="*/ 495494 h 1126102"/>
              <a:gd name="connsiteX429" fmla="*/ 1269226 w 1638536"/>
              <a:gd name="connsiteY429" fmla="*/ 484330 h 1126102"/>
              <a:gd name="connsiteX430" fmla="*/ 1278885 w 1638536"/>
              <a:gd name="connsiteY430" fmla="*/ 472761 h 1126102"/>
              <a:gd name="connsiteX431" fmla="*/ 1291322 w 1638536"/>
              <a:gd name="connsiteY431" fmla="*/ 454019 h 1126102"/>
              <a:gd name="connsiteX432" fmla="*/ 1288141 w 1638536"/>
              <a:gd name="connsiteY432" fmla="*/ 448698 h 1126102"/>
              <a:gd name="connsiteX433" fmla="*/ 1277208 w 1638536"/>
              <a:gd name="connsiteY433" fmla="*/ 444822 h 1126102"/>
              <a:gd name="connsiteX434" fmla="*/ 1243254 w 1638536"/>
              <a:gd name="connsiteY434" fmla="*/ 466745 h 1126102"/>
              <a:gd name="connsiteX435" fmla="*/ 1224281 w 1638536"/>
              <a:gd name="connsiteY435" fmla="*/ 477157 h 1126102"/>
              <a:gd name="connsiteX436" fmla="*/ 1211555 w 1638536"/>
              <a:gd name="connsiteY436" fmla="*/ 488726 h 1126102"/>
              <a:gd name="connsiteX437" fmla="*/ 1195821 w 1638536"/>
              <a:gd name="connsiteY437" fmla="*/ 501509 h 1126102"/>
              <a:gd name="connsiteX438" fmla="*/ 1186856 w 1638536"/>
              <a:gd name="connsiteY438" fmla="*/ 500468 h 1126102"/>
              <a:gd name="connsiteX439" fmla="*/ 1176733 w 1638536"/>
              <a:gd name="connsiteY439" fmla="*/ 499600 h 1126102"/>
              <a:gd name="connsiteX440" fmla="*/ 1166957 w 1638536"/>
              <a:gd name="connsiteY440" fmla="*/ 520714 h 1126102"/>
              <a:gd name="connsiteX441" fmla="*/ 1176328 w 1638536"/>
              <a:gd name="connsiteY441" fmla="*/ 531241 h 1126102"/>
              <a:gd name="connsiteX442" fmla="*/ 1176906 w 1638536"/>
              <a:gd name="connsiteY442" fmla="*/ 531241 h 1126102"/>
              <a:gd name="connsiteX443" fmla="*/ 1188996 w 1638536"/>
              <a:gd name="connsiteY443" fmla="*/ 530894 h 1126102"/>
              <a:gd name="connsiteX444" fmla="*/ 1206349 w 1638536"/>
              <a:gd name="connsiteY444" fmla="*/ 535290 h 1126102"/>
              <a:gd name="connsiteX445" fmla="*/ 1206349 w 1638536"/>
              <a:gd name="connsiteY445" fmla="*/ 542521 h 1126102"/>
              <a:gd name="connsiteX446" fmla="*/ 1208316 w 1638536"/>
              <a:gd name="connsiteY446" fmla="*/ 558891 h 1126102"/>
              <a:gd name="connsiteX447" fmla="*/ 1221793 w 1638536"/>
              <a:gd name="connsiteY447" fmla="*/ 562882 h 1126102"/>
              <a:gd name="connsiteX448" fmla="*/ 1237758 w 1638536"/>
              <a:gd name="connsiteY448" fmla="*/ 549520 h 1126102"/>
              <a:gd name="connsiteX449" fmla="*/ 1255111 w 1638536"/>
              <a:gd name="connsiteY449" fmla="*/ 536852 h 1126102"/>
              <a:gd name="connsiteX450" fmla="*/ 1259566 w 1638536"/>
              <a:gd name="connsiteY450" fmla="*/ 539455 h 1126102"/>
              <a:gd name="connsiteX451" fmla="*/ 1279579 w 1638536"/>
              <a:gd name="connsiteY451" fmla="*/ 550561 h 1126102"/>
              <a:gd name="connsiteX452" fmla="*/ 1285017 w 1638536"/>
              <a:gd name="connsiteY452" fmla="*/ 549867 h 1126102"/>
              <a:gd name="connsiteX453" fmla="*/ 1287389 w 1638536"/>
              <a:gd name="connsiteY453" fmla="*/ 549578 h 1126102"/>
              <a:gd name="connsiteX454" fmla="*/ 1303585 w 1638536"/>
              <a:gd name="connsiteY454" fmla="*/ 562015 h 1126102"/>
              <a:gd name="connsiteX455" fmla="*/ 1301676 w 1638536"/>
              <a:gd name="connsiteY455" fmla="*/ 569245 h 1126102"/>
              <a:gd name="connsiteX456" fmla="*/ 1285307 w 1638536"/>
              <a:gd name="connsiteY456" fmla="*/ 573988 h 1126102"/>
              <a:gd name="connsiteX457" fmla="*/ 1270788 w 1638536"/>
              <a:gd name="connsiteY457" fmla="*/ 578385 h 1126102"/>
              <a:gd name="connsiteX458" fmla="*/ 1263326 w 1638536"/>
              <a:gd name="connsiteY458" fmla="*/ 581161 h 1126102"/>
              <a:gd name="connsiteX459" fmla="*/ 1254417 w 1638536"/>
              <a:gd name="connsiteY459" fmla="*/ 586598 h 1126102"/>
              <a:gd name="connsiteX460" fmla="*/ 1238163 w 1638536"/>
              <a:gd name="connsiteY460" fmla="*/ 597705 h 1126102"/>
              <a:gd name="connsiteX461" fmla="*/ 1236023 w 1638536"/>
              <a:gd name="connsiteY461" fmla="*/ 600365 h 1126102"/>
              <a:gd name="connsiteX462" fmla="*/ 1225958 w 1638536"/>
              <a:gd name="connsiteY462" fmla="*/ 611934 h 1126102"/>
              <a:gd name="connsiteX463" fmla="*/ 1213001 w 1638536"/>
              <a:gd name="connsiteY463" fmla="*/ 626106 h 1126102"/>
              <a:gd name="connsiteX464" fmla="*/ 1213522 w 1638536"/>
              <a:gd name="connsiteY464" fmla="*/ 635708 h 1126102"/>
              <a:gd name="connsiteX465" fmla="*/ 1223124 w 1638536"/>
              <a:gd name="connsiteY465" fmla="*/ 641493 h 1126102"/>
              <a:gd name="connsiteX466" fmla="*/ 1237874 w 1638536"/>
              <a:gd name="connsiteY466" fmla="*/ 653062 h 1126102"/>
              <a:gd name="connsiteX467" fmla="*/ 1254823 w 1638536"/>
              <a:gd name="connsiteY467" fmla="*/ 685628 h 1126102"/>
              <a:gd name="connsiteX468" fmla="*/ 1256789 w 1638536"/>
              <a:gd name="connsiteY468" fmla="*/ 692916 h 1126102"/>
              <a:gd name="connsiteX469" fmla="*/ 1259681 w 1638536"/>
              <a:gd name="connsiteY469" fmla="*/ 702229 h 1126102"/>
              <a:gd name="connsiteX470" fmla="*/ 1283687 w 1638536"/>
              <a:gd name="connsiteY470" fmla="*/ 727276 h 1126102"/>
              <a:gd name="connsiteX471" fmla="*/ 1282819 w 1638536"/>
              <a:gd name="connsiteY471" fmla="*/ 729705 h 1126102"/>
              <a:gd name="connsiteX472" fmla="*/ 1257310 w 1638536"/>
              <a:gd name="connsiteY472" fmla="*/ 725078 h 1126102"/>
              <a:gd name="connsiteX473" fmla="*/ 1248865 w 1638536"/>
              <a:gd name="connsiteY473" fmla="*/ 723285 h 1126102"/>
              <a:gd name="connsiteX474" fmla="*/ 1243485 w 1638536"/>
              <a:gd name="connsiteY474" fmla="*/ 723863 h 1126102"/>
              <a:gd name="connsiteX475" fmla="*/ 1255575 w 1638536"/>
              <a:gd name="connsiteY475" fmla="*/ 733176 h 1126102"/>
              <a:gd name="connsiteX476" fmla="*/ 1266449 w 1638536"/>
              <a:gd name="connsiteY476" fmla="*/ 741563 h 1126102"/>
              <a:gd name="connsiteX477" fmla="*/ 1267028 w 1638536"/>
              <a:gd name="connsiteY477" fmla="*/ 741563 h 1126102"/>
              <a:gd name="connsiteX478" fmla="*/ 1285769 w 1638536"/>
              <a:gd name="connsiteY478" fmla="*/ 755272 h 1126102"/>
              <a:gd name="connsiteX479" fmla="*/ 1283629 w 1638536"/>
              <a:gd name="connsiteY479" fmla="*/ 758743 h 1126102"/>
              <a:gd name="connsiteX480" fmla="*/ 1273448 w 1638536"/>
              <a:gd name="connsiteY480" fmla="*/ 764065 h 1126102"/>
              <a:gd name="connsiteX481" fmla="*/ 1254823 w 1638536"/>
              <a:gd name="connsiteY481" fmla="*/ 772915 h 1126102"/>
              <a:gd name="connsiteX482" fmla="*/ 1252798 w 1638536"/>
              <a:gd name="connsiteY482" fmla="*/ 774303 h 1126102"/>
              <a:gd name="connsiteX483" fmla="*/ 1259855 w 1638536"/>
              <a:gd name="connsiteY483" fmla="*/ 778294 h 1126102"/>
              <a:gd name="connsiteX484" fmla="*/ 1263384 w 1638536"/>
              <a:gd name="connsiteY484" fmla="*/ 776733 h 1126102"/>
              <a:gd name="connsiteX485" fmla="*/ 1266738 w 1638536"/>
              <a:gd name="connsiteY485" fmla="*/ 774939 h 1126102"/>
              <a:gd name="connsiteX486" fmla="*/ 1273101 w 1638536"/>
              <a:gd name="connsiteY486" fmla="*/ 779046 h 1126102"/>
              <a:gd name="connsiteX487" fmla="*/ 1278191 w 1638536"/>
              <a:gd name="connsiteY487" fmla="*/ 782690 h 1126102"/>
              <a:gd name="connsiteX488" fmla="*/ 1279349 w 1638536"/>
              <a:gd name="connsiteY488" fmla="*/ 782228 h 1126102"/>
              <a:gd name="connsiteX489" fmla="*/ 1286290 w 1638536"/>
              <a:gd name="connsiteY489" fmla="*/ 780377 h 1126102"/>
              <a:gd name="connsiteX490" fmla="*/ 1295545 w 1638536"/>
              <a:gd name="connsiteY490" fmla="*/ 784021 h 1126102"/>
              <a:gd name="connsiteX491" fmla="*/ 1291612 w 1638536"/>
              <a:gd name="connsiteY491" fmla="*/ 787434 h 1126102"/>
              <a:gd name="connsiteX492" fmla="*/ 1279233 w 1638536"/>
              <a:gd name="connsiteY492" fmla="*/ 798713 h 1126102"/>
              <a:gd name="connsiteX493" fmla="*/ 1280332 w 1638536"/>
              <a:gd name="connsiteY493" fmla="*/ 801953 h 1126102"/>
              <a:gd name="connsiteX494" fmla="*/ 1282009 w 1638536"/>
              <a:gd name="connsiteY494" fmla="*/ 804556 h 1126102"/>
              <a:gd name="connsiteX495" fmla="*/ 1279811 w 1638536"/>
              <a:gd name="connsiteY495" fmla="*/ 806696 h 1126102"/>
              <a:gd name="connsiteX496" fmla="*/ 1276283 w 1638536"/>
              <a:gd name="connsiteY496" fmla="*/ 813232 h 1126102"/>
              <a:gd name="connsiteX497" fmla="*/ 1269862 w 1638536"/>
              <a:gd name="connsiteY497" fmla="*/ 836659 h 1126102"/>
              <a:gd name="connsiteX498" fmla="*/ 1252855 w 1638536"/>
              <a:gd name="connsiteY498" fmla="*/ 852335 h 1126102"/>
              <a:gd name="connsiteX499" fmla="*/ 1239841 w 1638536"/>
              <a:gd name="connsiteY499" fmla="*/ 872118 h 1126102"/>
              <a:gd name="connsiteX500" fmla="*/ 1228619 w 1638536"/>
              <a:gd name="connsiteY500" fmla="*/ 876514 h 1126102"/>
              <a:gd name="connsiteX501" fmla="*/ 1221331 w 1638536"/>
              <a:gd name="connsiteY501" fmla="*/ 879464 h 1126102"/>
              <a:gd name="connsiteX502" fmla="*/ 1223702 w 1638536"/>
              <a:gd name="connsiteY502" fmla="*/ 883455 h 1126102"/>
              <a:gd name="connsiteX503" fmla="*/ 1227173 w 1638536"/>
              <a:gd name="connsiteY503" fmla="*/ 891958 h 1126102"/>
              <a:gd name="connsiteX504" fmla="*/ 1224281 w 1638536"/>
              <a:gd name="connsiteY504" fmla="*/ 894446 h 1126102"/>
              <a:gd name="connsiteX505" fmla="*/ 1222314 w 1638536"/>
              <a:gd name="connsiteY505" fmla="*/ 904337 h 1126102"/>
              <a:gd name="connsiteX506" fmla="*/ 1221157 w 1638536"/>
              <a:gd name="connsiteY506" fmla="*/ 915038 h 1126102"/>
              <a:gd name="connsiteX507" fmla="*/ 1214736 w 1638536"/>
              <a:gd name="connsiteY507" fmla="*/ 919319 h 1126102"/>
              <a:gd name="connsiteX508" fmla="*/ 1209646 w 1638536"/>
              <a:gd name="connsiteY508" fmla="*/ 924467 h 1126102"/>
              <a:gd name="connsiteX509" fmla="*/ 1201721 w 1638536"/>
              <a:gd name="connsiteY509" fmla="*/ 932912 h 1126102"/>
              <a:gd name="connsiteX510" fmla="*/ 1195937 w 1638536"/>
              <a:gd name="connsiteY510" fmla="*/ 937887 h 1126102"/>
              <a:gd name="connsiteX511" fmla="*/ 1185583 w 1638536"/>
              <a:gd name="connsiteY511" fmla="*/ 944886 h 1126102"/>
              <a:gd name="connsiteX512" fmla="*/ 1177369 w 1638536"/>
              <a:gd name="connsiteY512" fmla="*/ 949514 h 1126102"/>
              <a:gd name="connsiteX513" fmla="*/ 1160768 w 1638536"/>
              <a:gd name="connsiteY513" fmla="*/ 966867 h 1126102"/>
              <a:gd name="connsiteX514" fmla="*/ 1151571 w 1638536"/>
              <a:gd name="connsiteY514" fmla="*/ 972651 h 1126102"/>
              <a:gd name="connsiteX515" fmla="*/ 1145034 w 1638536"/>
              <a:gd name="connsiteY515" fmla="*/ 979361 h 1126102"/>
              <a:gd name="connsiteX516" fmla="*/ 1138208 w 1638536"/>
              <a:gd name="connsiteY516" fmla="*/ 986997 h 1126102"/>
              <a:gd name="connsiteX517" fmla="*/ 1128201 w 1638536"/>
              <a:gd name="connsiteY517" fmla="*/ 993707 h 1126102"/>
              <a:gd name="connsiteX518" fmla="*/ 1125772 w 1638536"/>
              <a:gd name="connsiteY518" fmla="*/ 993707 h 1126102"/>
              <a:gd name="connsiteX519" fmla="*/ 1081637 w 1638536"/>
              <a:gd name="connsiteY519" fmla="*/ 1001053 h 1126102"/>
              <a:gd name="connsiteX520" fmla="*/ 1073828 w 1638536"/>
              <a:gd name="connsiteY520" fmla="*/ 1003309 h 1126102"/>
              <a:gd name="connsiteX521" fmla="*/ 1061217 w 1638536"/>
              <a:gd name="connsiteY521" fmla="*/ 1000879 h 1126102"/>
              <a:gd name="connsiteX522" fmla="*/ 1055433 w 1638536"/>
              <a:gd name="connsiteY522" fmla="*/ 999607 h 1126102"/>
              <a:gd name="connsiteX523" fmla="*/ 1055028 w 1638536"/>
              <a:gd name="connsiteY523" fmla="*/ 999607 h 1126102"/>
              <a:gd name="connsiteX524" fmla="*/ 1001060 w 1638536"/>
              <a:gd name="connsiteY524" fmla="*/ 1031479 h 1126102"/>
              <a:gd name="connsiteX525" fmla="*/ 963461 w 1638536"/>
              <a:gd name="connsiteY525" fmla="*/ 1053170 h 1126102"/>
              <a:gd name="connsiteX526" fmla="*/ 962188 w 1638536"/>
              <a:gd name="connsiteY526" fmla="*/ 1067053 h 1126102"/>
              <a:gd name="connsiteX527" fmla="*/ 959585 w 1638536"/>
              <a:gd name="connsiteY527" fmla="*/ 1068384 h 1126102"/>
              <a:gd name="connsiteX528" fmla="*/ 946166 w 1638536"/>
              <a:gd name="connsiteY528" fmla="*/ 1026678 h 1126102"/>
              <a:gd name="connsiteX529" fmla="*/ 951950 w 1638536"/>
              <a:gd name="connsiteY529" fmla="*/ 1031363 h 1126102"/>
              <a:gd name="connsiteX530" fmla="*/ 950157 w 1638536"/>
              <a:gd name="connsiteY530" fmla="*/ 1042006 h 1126102"/>
              <a:gd name="connsiteX531" fmla="*/ 948306 w 1638536"/>
              <a:gd name="connsiteY531" fmla="*/ 1046808 h 1126102"/>
              <a:gd name="connsiteX532" fmla="*/ 956288 w 1638536"/>
              <a:gd name="connsiteY532" fmla="*/ 1064161 h 1126102"/>
              <a:gd name="connsiteX533" fmla="*/ 959701 w 1638536"/>
              <a:gd name="connsiteY533" fmla="*/ 1066185 h 1126102"/>
              <a:gd name="connsiteX534" fmla="*/ 960858 w 1638536"/>
              <a:gd name="connsiteY534" fmla="*/ 1065549 h 1126102"/>
              <a:gd name="connsiteX535" fmla="*/ 961668 w 1638536"/>
              <a:gd name="connsiteY535" fmla="*/ 1053517 h 1126102"/>
              <a:gd name="connsiteX536" fmla="*/ 1000770 w 1638536"/>
              <a:gd name="connsiteY536" fmla="*/ 1029223 h 1126102"/>
              <a:gd name="connsiteX537" fmla="*/ 1053293 w 1638536"/>
              <a:gd name="connsiteY537" fmla="*/ 999086 h 1126102"/>
              <a:gd name="connsiteX538" fmla="*/ 1055838 w 1638536"/>
              <a:gd name="connsiteY538" fmla="*/ 997177 h 1126102"/>
              <a:gd name="connsiteX539" fmla="*/ 1062027 w 1638536"/>
              <a:gd name="connsiteY539" fmla="*/ 998565 h 1126102"/>
              <a:gd name="connsiteX540" fmla="*/ 1074001 w 1638536"/>
              <a:gd name="connsiteY540" fmla="*/ 1000879 h 1126102"/>
              <a:gd name="connsiteX541" fmla="*/ 1080422 w 1638536"/>
              <a:gd name="connsiteY541" fmla="*/ 999086 h 1126102"/>
              <a:gd name="connsiteX542" fmla="*/ 1125830 w 1638536"/>
              <a:gd name="connsiteY542" fmla="*/ 991277 h 1126102"/>
              <a:gd name="connsiteX543" fmla="*/ 1128259 w 1638536"/>
              <a:gd name="connsiteY543" fmla="*/ 991277 h 1126102"/>
              <a:gd name="connsiteX544" fmla="*/ 1136531 w 1638536"/>
              <a:gd name="connsiteY544" fmla="*/ 985493 h 1126102"/>
              <a:gd name="connsiteX545" fmla="*/ 1143819 w 1638536"/>
              <a:gd name="connsiteY545" fmla="*/ 977395 h 1126102"/>
              <a:gd name="connsiteX546" fmla="*/ 1150009 w 1638536"/>
              <a:gd name="connsiteY546" fmla="*/ 971031 h 1126102"/>
              <a:gd name="connsiteX547" fmla="*/ 1160363 w 1638536"/>
              <a:gd name="connsiteY547" fmla="*/ 964264 h 1126102"/>
              <a:gd name="connsiteX548" fmla="*/ 1175287 w 1638536"/>
              <a:gd name="connsiteY548" fmla="*/ 948762 h 1126102"/>
              <a:gd name="connsiteX549" fmla="*/ 1185004 w 1638536"/>
              <a:gd name="connsiteY549" fmla="*/ 942051 h 1126102"/>
              <a:gd name="connsiteX550" fmla="*/ 1193855 w 1638536"/>
              <a:gd name="connsiteY550" fmla="*/ 936961 h 1126102"/>
              <a:gd name="connsiteX551" fmla="*/ 1200796 w 1638536"/>
              <a:gd name="connsiteY551" fmla="*/ 930193 h 1126102"/>
              <a:gd name="connsiteX552" fmla="*/ 1207564 w 1638536"/>
              <a:gd name="connsiteY552" fmla="*/ 923715 h 1126102"/>
              <a:gd name="connsiteX553" fmla="*/ 1214042 w 1638536"/>
              <a:gd name="connsiteY553" fmla="*/ 916484 h 1126102"/>
              <a:gd name="connsiteX554" fmla="*/ 1219827 w 1638536"/>
              <a:gd name="connsiteY554" fmla="*/ 912956 h 1126102"/>
              <a:gd name="connsiteX555" fmla="*/ 1220521 w 1638536"/>
              <a:gd name="connsiteY555" fmla="*/ 903758 h 1126102"/>
              <a:gd name="connsiteX556" fmla="*/ 1224049 w 1638536"/>
              <a:gd name="connsiteY556" fmla="*/ 891553 h 1126102"/>
              <a:gd name="connsiteX557" fmla="*/ 1225495 w 1638536"/>
              <a:gd name="connsiteY557" fmla="*/ 890512 h 1126102"/>
              <a:gd name="connsiteX558" fmla="*/ 1222314 w 1638536"/>
              <a:gd name="connsiteY558" fmla="*/ 883976 h 1126102"/>
              <a:gd name="connsiteX559" fmla="*/ 1219653 w 1638536"/>
              <a:gd name="connsiteY559" fmla="*/ 879638 h 1126102"/>
              <a:gd name="connsiteX560" fmla="*/ 1219653 w 1638536"/>
              <a:gd name="connsiteY560" fmla="*/ 877671 h 1126102"/>
              <a:gd name="connsiteX561" fmla="*/ 1228272 w 1638536"/>
              <a:gd name="connsiteY561" fmla="*/ 873622 h 1126102"/>
              <a:gd name="connsiteX562" fmla="*/ 1238916 w 1638536"/>
              <a:gd name="connsiteY562" fmla="*/ 869457 h 1126102"/>
              <a:gd name="connsiteX563" fmla="*/ 1250947 w 1638536"/>
              <a:gd name="connsiteY563" fmla="*/ 851236 h 1126102"/>
              <a:gd name="connsiteX564" fmla="*/ 1269342 w 1638536"/>
              <a:gd name="connsiteY564" fmla="*/ 833883 h 1126102"/>
              <a:gd name="connsiteX565" fmla="*/ 1274316 w 1638536"/>
              <a:gd name="connsiteY565" fmla="*/ 813001 h 1126102"/>
              <a:gd name="connsiteX566" fmla="*/ 1279117 w 1638536"/>
              <a:gd name="connsiteY566" fmla="*/ 804035 h 1126102"/>
              <a:gd name="connsiteX567" fmla="*/ 1279869 w 1638536"/>
              <a:gd name="connsiteY567" fmla="*/ 803630 h 1126102"/>
              <a:gd name="connsiteX568" fmla="*/ 1279233 w 1638536"/>
              <a:gd name="connsiteY568" fmla="*/ 803168 h 1126102"/>
              <a:gd name="connsiteX569" fmla="*/ 1277324 w 1638536"/>
              <a:gd name="connsiteY569" fmla="*/ 797672 h 1126102"/>
              <a:gd name="connsiteX570" fmla="*/ 1291322 w 1638536"/>
              <a:gd name="connsiteY570" fmla="*/ 784599 h 1126102"/>
              <a:gd name="connsiteX571" fmla="*/ 1293578 w 1638536"/>
              <a:gd name="connsiteY571" fmla="*/ 783558 h 1126102"/>
              <a:gd name="connsiteX572" fmla="*/ 1286579 w 1638536"/>
              <a:gd name="connsiteY572" fmla="*/ 781996 h 1126102"/>
              <a:gd name="connsiteX573" fmla="*/ 1280795 w 1638536"/>
              <a:gd name="connsiteY573" fmla="*/ 783385 h 1126102"/>
              <a:gd name="connsiteX574" fmla="*/ 1278249 w 1638536"/>
              <a:gd name="connsiteY574" fmla="*/ 784310 h 1126102"/>
              <a:gd name="connsiteX575" fmla="*/ 1271598 w 1638536"/>
              <a:gd name="connsiteY575" fmla="*/ 780030 h 1126102"/>
              <a:gd name="connsiteX576" fmla="*/ 1266796 w 1638536"/>
              <a:gd name="connsiteY576" fmla="*/ 776559 h 1126102"/>
              <a:gd name="connsiteX577" fmla="*/ 1265234 w 1638536"/>
              <a:gd name="connsiteY577" fmla="*/ 777542 h 1126102"/>
              <a:gd name="connsiteX578" fmla="*/ 1259913 w 1638536"/>
              <a:gd name="connsiteY578" fmla="*/ 779914 h 1126102"/>
              <a:gd name="connsiteX579" fmla="*/ 1250600 w 1638536"/>
              <a:gd name="connsiteY579" fmla="*/ 774130 h 1126102"/>
              <a:gd name="connsiteX580" fmla="*/ 1254417 w 1638536"/>
              <a:gd name="connsiteY580" fmla="*/ 770312 h 1126102"/>
              <a:gd name="connsiteX581" fmla="*/ 1272349 w 1638536"/>
              <a:gd name="connsiteY581" fmla="*/ 761693 h 1126102"/>
              <a:gd name="connsiteX582" fmla="*/ 1282935 w 1638536"/>
              <a:gd name="connsiteY582" fmla="*/ 755909 h 1126102"/>
              <a:gd name="connsiteX583" fmla="*/ 1283571 w 1638536"/>
              <a:gd name="connsiteY583" fmla="*/ 754983 h 1126102"/>
              <a:gd name="connsiteX584" fmla="*/ 1267086 w 1638536"/>
              <a:gd name="connsiteY584" fmla="*/ 743125 h 1126102"/>
              <a:gd name="connsiteX585" fmla="*/ 1266507 w 1638536"/>
              <a:gd name="connsiteY585" fmla="*/ 743125 h 1126102"/>
              <a:gd name="connsiteX586" fmla="*/ 1253955 w 1638536"/>
              <a:gd name="connsiteY586" fmla="*/ 734044 h 1126102"/>
              <a:gd name="connsiteX587" fmla="*/ 1242386 w 1638536"/>
              <a:gd name="connsiteY587" fmla="*/ 725367 h 1126102"/>
              <a:gd name="connsiteX588" fmla="*/ 1238800 w 1638536"/>
              <a:gd name="connsiteY588" fmla="*/ 723632 h 1126102"/>
              <a:gd name="connsiteX589" fmla="*/ 1248749 w 1638536"/>
              <a:gd name="connsiteY589" fmla="*/ 720277 h 1126102"/>
              <a:gd name="connsiteX590" fmla="*/ 1258235 w 1638536"/>
              <a:gd name="connsiteY590" fmla="*/ 722417 h 1126102"/>
              <a:gd name="connsiteX591" fmla="*/ 1281373 w 1638536"/>
              <a:gd name="connsiteY591" fmla="*/ 727449 h 1126102"/>
              <a:gd name="connsiteX592" fmla="*/ 1281373 w 1638536"/>
              <a:gd name="connsiteY592" fmla="*/ 726755 h 1126102"/>
              <a:gd name="connsiteX593" fmla="*/ 1258235 w 1638536"/>
              <a:gd name="connsiteY593" fmla="*/ 703328 h 1126102"/>
              <a:gd name="connsiteX594" fmla="*/ 1254475 w 1638536"/>
              <a:gd name="connsiteY594" fmla="*/ 691759 h 1126102"/>
              <a:gd name="connsiteX595" fmla="*/ 1253434 w 1638536"/>
              <a:gd name="connsiteY595" fmla="*/ 686496 h 1126102"/>
              <a:gd name="connsiteX596" fmla="*/ 1235676 w 1638536"/>
              <a:gd name="connsiteY596" fmla="*/ 652888 h 1126102"/>
              <a:gd name="connsiteX597" fmla="*/ 1222141 w 1638536"/>
              <a:gd name="connsiteY597" fmla="*/ 642765 h 1126102"/>
              <a:gd name="connsiteX598" fmla="*/ 1211612 w 1638536"/>
              <a:gd name="connsiteY598" fmla="*/ 636171 h 1126102"/>
              <a:gd name="connsiteX599" fmla="*/ 1210803 w 1638536"/>
              <a:gd name="connsiteY599" fmla="*/ 624602 h 1126102"/>
              <a:gd name="connsiteX600" fmla="*/ 1225033 w 1638536"/>
              <a:gd name="connsiteY600" fmla="*/ 608984 h 1126102"/>
              <a:gd name="connsiteX601" fmla="*/ 1233767 w 1638536"/>
              <a:gd name="connsiteY601" fmla="*/ 598688 h 1126102"/>
              <a:gd name="connsiteX602" fmla="*/ 1238626 w 1638536"/>
              <a:gd name="connsiteY602" fmla="*/ 594407 h 1126102"/>
              <a:gd name="connsiteX603" fmla="*/ 1252335 w 1638536"/>
              <a:gd name="connsiteY603" fmla="*/ 584516 h 1126102"/>
              <a:gd name="connsiteX604" fmla="*/ 1263036 w 1638536"/>
              <a:gd name="connsiteY604" fmla="*/ 577806 h 1126102"/>
              <a:gd name="connsiteX605" fmla="*/ 1268821 w 1638536"/>
              <a:gd name="connsiteY605" fmla="*/ 575781 h 1126102"/>
              <a:gd name="connsiteX606" fmla="*/ 1284670 w 1638536"/>
              <a:gd name="connsiteY606" fmla="*/ 570691 h 1126102"/>
              <a:gd name="connsiteX607" fmla="*/ 1300057 w 1638536"/>
              <a:gd name="connsiteY607" fmla="*/ 566353 h 1126102"/>
              <a:gd name="connsiteX608" fmla="*/ 1301156 w 1638536"/>
              <a:gd name="connsiteY608" fmla="*/ 561610 h 1126102"/>
              <a:gd name="connsiteX609" fmla="*/ 1287100 w 1638536"/>
              <a:gd name="connsiteY609" fmla="*/ 550735 h 1126102"/>
              <a:gd name="connsiteX610" fmla="*/ 1285249 w 1638536"/>
              <a:gd name="connsiteY610" fmla="*/ 550735 h 1126102"/>
              <a:gd name="connsiteX611" fmla="*/ 1279464 w 1638536"/>
              <a:gd name="connsiteY611" fmla="*/ 551487 h 1126102"/>
              <a:gd name="connsiteX612" fmla="*/ 1257541 w 1638536"/>
              <a:gd name="connsiteY612" fmla="*/ 539340 h 1126102"/>
              <a:gd name="connsiteX613" fmla="*/ 1254996 w 1638536"/>
              <a:gd name="connsiteY613" fmla="*/ 537778 h 1126102"/>
              <a:gd name="connsiteX614" fmla="*/ 1239262 w 1638536"/>
              <a:gd name="connsiteY614" fmla="*/ 549752 h 1126102"/>
              <a:gd name="connsiteX615" fmla="*/ 1222603 w 1638536"/>
              <a:gd name="connsiteY615" fmla="*/ 563576 h 1126102"/>
              <a:gd name="connsiteX616" fmla="*/ 1206291 w 1638536"/>
              <a:gd name="connsiteY616" fmla="*/ 558775 h 1126102"/>
              <a:gd name="connsiteX617" fmla="*/ 1204151 w 1638536"/>
              <a:gd name="connsiteY617" fmla="*/ 540323 h 1126102"/>
              <a:gd name="connsiteX618" fmla="*/ 1204151 w 1638536"/>
              <a:gd name="connsiteY618" fmla="*/ 535175 h 1126102"/>
              <a:gd name="connsiteX619" fmla="*/ 1188764 w 1638536"/>
              <a:gd name="connsiteY619" fmla="*/ 531820 h 1126102"/>
              <a:gd name="connsiteX620" fmla="*/ 1176791 w 1638536"/>
              <a:gd name="connsiteY620" fmla="*/ 532167 h 1126102"/>
              <a:gd name="connsiteX621" fmla="*/ 1176097 w 1638536"/>
              <a:gd name="connsiteY621" fmla="*/ 532167 h 1126102"/>
              <a:gd name="connsiteX622" fmla="*/ 1164528 w 1638536"/>
              <a:gd name="connsiteY622" fmla="*/ 519557 h 1126102"/>
              <a:gd name="connsiteX623" fmla="*/ 1176097 w 1638536"/>
              <a:gd name="connsiteY623" fmla="*/ 496014 h 1126102"/>
              <a:gd name="connsiteX624" fmla="*/ 1186914 w 1638536"/>
              <a:gd name="connsiteY624" fmla="*/ 496882 h 1126102"/>
              <a:gd name="connsiteX625" fmla="*/ 1195474 w 1638536"/>
              <a:gd name="connsiteY625" fmla="*/ 497923 h 1126102"/>
              <a:gd name="connsiteX626" fmla="*/ 1209126 w 1638536"/>
              <a:gd name="connsiteY626" fmla="*/ 486701 h 1126102"/>
              <a:gd name="connsiteX627" fmla="*/ 1223645 w 1638536"/>
              <a:gd name="connsiteY627" fmla="*/ 473744 h 1126102"/>
              <a:gd name="connsiteX628" fmla="*/ 1240998 w 1638536"/>
              <a:gd name="connsiteY628" fmla="*/ 464084 h 1126102"/>
              <a:gd name="connsiteX629" fmla="*/ 1276630 w 1638536"/>
              <a:gd name="connsiteY629" fmla="*/ 441409 h 1126102"/>
              <a:gd name="connsiteX630" fmla="*/ 1288951 w 1638536"/>
              <a:gd name="connsiteY630" fmla="*/ 445805 h 1126102"/>
              <a:gd name="connsiteX631" fmla="*/ 1293000 w 1638536"/>
              <a:gd name="connsiteY631" fmla="*/ 452689 h 1126102"/>
              <a:gd name="connsiteX632" fmla="*/ 1279869 w 1638536"/>
              <a:gd name="connsiteY632" fmla="*/ 473166 h 1126102"/>
              <a:gd name="connsiteX633" fmla="*/ 1270730 w 1638536"/>
              <a:gd name="connsiteY633" fmla="*/ 484272 h 1126102"/>
              <a:gd name="connsiteX634" fmla="*/ 1269978 w 1638536"/>
              <a:gd name="connsiteY634" fmla="*/ 494047 h 1126102"/>
              <a:gd name="connsiteX635" fmla="*/ 1266449 w 1638536"/>
              <a:gd name="connsiteY635" fmla="*/ 505616 h 1126102"/>
              <a:gd name="connsiteX636" fmla="*/ 1264136 w 1638536"/>
              <a:gd name="connsiteY636" fmla="*/ 509376 h 1126102"/>
              <a:gd name="connsiteX637" fmla="*/ 1266738 w 1638536"/>
              <a:gd name="connsiteY637" fmla="*/ 510128 h 1126102"/>
              <a:gd name="connsiteX638" fmla="*/ 1284092 w 1638536"/>
              <a:gd name="connsiteY638" fmla="*/ 503418 h 1126102"/>
              <a:gd name="connsiteX639" fmla="*/ 1334763 w 1638536"/>
              <a:gd name="connsiteY639" fmla="*/ 475075 h 1126102"/>
              <a:gd name="connsiteX640" fmla="*/ 1347604 w 1638536"/>
              <a:gd name="connsiteY640" fmla="*/ 473281 h 1126102"/>
              <a:gd name="connsiteX641" fmla="*/ 1355587 w 1638536"/>
              <a:gd name="connsiteY641" fmla="*/ 461423 h 1126102"/>
              <a:gd name="connsiteX642" fmla="*/ 1363454 w 1638536"/>
              <a:gd name="connsiteY642" fmla="*/ 457606 h 1126102"/>
              <a:gd name="connsiteX643" fmla="*/ 1406201 w 1638536"/>
              <a:gd name="connsiteY643" fmla="*/ 433600 h 1126102"/>
              <a:gd name="connsiteX644" fmla="*/ 1410308 w 1638536"/>
              <a:gd name="connsiteY644" fmla="*/ 427411 h 1126102"/>
              <a:gd name="connsiteX645" fmla="*/ 1424653 w 1638536"/>
              <a:gd name="connsiteY645" fmla="*/ 413817 h 1126102"/>
              <a:gd name="connsiteX646" fmla="*/ 1432231 w 1638536"/>
              <a:gd name="connsiteY646" fmla="*/ 417115 h 1126102"/>
              <a:gd name="connsiteX647" fmla="*/ 1442295 w 1638536"/>
              <a:gd name="connsiteY647" fmla="*/ 420874 h 1126102"/>
              <a:gd name="connsiteX648" fmla="*/ 1449816 w 1638536"/>
              <a:gd name="connsiteY648" fmla="*/ 421279 h 1126102"/>
              <a:gd name="connsiteX649" fmla="*/ 1455600 w 1638536"/>
              <a:gd name="connsiteY649" fmla="*/ 421569 h 1126102"/>
              <a:gd name="connsiteX650" fmla="*/ 1459822 w 1638536"/>
              <a:gd name="connsiteY650" fmla="*/ 420643 h 1126102"/>
              <a:gd name="connsiteX651" fmla="*/ 1458840 w 1638536"/>
              <a:gd name="connsiteY651" fmla="*/ 417288 h 1126102"/>
              <a:gd name="connsiteX652" fmla="*/ 1456641 w 1638536"/>
              <a:gd name="connsiteY652" fmla="*/ 409306 h 1126102"/>
              <a:gd name="connsiteX653" fmla="*/ 1468210 w 1638536"/>
              <a:gd name="connsiteY653" fmla="*/ 405256 h 1126102"/>
              <a:gd name="connsiteX654" fmla="*/ 1470003 w 1638536"/>
              <a:gd name="connsiteY654" fmla="*/ 405256 h 1126102"/>
              <a:gd name="connsiteX655" fmla="*/ 1480588 w 1638536"/>
              <a:gd name="connsiteY655" fmla="*/ 397505 h 1126102"/>
              <a:gd name="connsiteX656" fmla="*/ 1489555 w 1638536"/>
              <a:gd name="connsiteY656" fmla="*/ 391200 h 1126102"/>
              <a:gd name="connsiteX657" fmla="*/ 1496380 w 1638536"/>
              <a:gd name="connsiteY657" fmla="*/ 381425 h 1126102"/>
              <a:gd name="connsiteX658" fmla="*/ 1505346 w 1638536"/>
              <a:gd name="connsiteY658" fmla="*/ 369856 h 1126102"/>
              <a:gd name="connsiteX659" fmla="*/ 1515584 w 1638536"/>
              <a:gd name="connsiteY659" fmla="*/ 374830 h 1126102"/>
              <a:gd name="connsiteX660" fmla="*/ 1524551 w 1638536"/>
              <a:gd name="connsiteY660" fmla="*/ 379342 h 1126102"/>
              <a:gd name="connsiteX661" fmla="*/ 1527847 w 1638536"/>
              <a:gd name="connsiteY661" fmla="*/ 378764 h 1126102"/>
              <a:gd name="connsiteX662" fmla="*/ 1535540 w 1638536"/>
              <a:gd name="connsiteY662" fmla="*/ 379631 h 1126102"/>
              <a:gd name="connsiteX663" fmla="*/ 1541325 w 1638536"/>
              <a:gd name="connsiteY663" fmla="*/ 375351 h 1126102"/>
              <a:gd name="connsiteX664" fmla="*/ 1540862 w 1638536"/>
              <a:gd name="connsiteY664" fmla="*/ 363435 h 1126102"/>
              <a:gd name="connsiteX665" fmla="*/ 1539532 w 1638536"/>
              <a:gd name="connsiteY665" fmla="*/ 350247 h 1126102"/>
              <a:gd name="connsiteX666" fmla="*/ 1537912 w 1638536"/>
              <a:gd name="connsiteY666" fmla="*/ 334629 h 1126102"/>
              <a:gd name="connsiteX667" fmla="*/ 1537912 w 1638536"/>
              <a:gd name="connsiteY667" fmla="*/ 327514 h 1126102"/>
              <a:gd name="connsiteX668" fmla="*/ 1538954 w 1638536"/>
              <a:gd name="connsiteY668" fmla="*/ 308772 h 1126102"/>
              <a:gd name="connsiteX669" fmla="*/ 1543060 w 1638536"/>
              <a:gd name="connsiteY669" fmla="*/ 306690 h 1126102"/>
              <a:gd name="connsiteX670" fmla="*/ 1550754 w 1638536"/>
              <a:gd name="connsiteY670" fmla="*/ 301600 h 1126102"/>
              <a:gd name="connsiteX671" fmla="*/ 1562322 w 1638536"/>
              <a:gd name="connsiteY671" fmla="*/ 294947 h 1126102"/>
              <a:gd name="connsiteX672" fmla="*/ 1566546 w 1638536"/>
              <a:gd name="connsiteY672" fmla="*/ 296336 h 1126102"/>
              <a:gd name="connsiteX673" fmla="*/ 1581990 w 1638536"/>
              <a:gd name="connsiteY673" fmla="*/ 301021 h 1126102"/>
              <a:gd name="connsiteX674" fmla="*/ 1581990 w 1638536"/>
              <a:gd name="connsiteY674" fmla="*/ 301021 h 1126102"/>
              <a:gd name="connsiteX675" fmla="*/ 1587254 w 1638536"/>
              <a:gd name="connsiteY675" fmla="*/ 299980 h 1126102"/>
              <a:gd name="connsiteX676" fmla="*/ 1589046 w 1638536"/>
              <a:gd name="connsiteY676" fmla="*/ 297261 h 1126102"/>
              <a:gd name="connsiteX677" fmla="*/ 1594831 w 1638536"/>
              <a:gd name="connsiteY677" fmla="*/ 288642 h 1126102"/>
              <a:gd name="connsiteX678" fmla="*/ 1601830 w 1638536"/>
              <a:gd name="connsiteY678" fmla="*/ 279329 h 1126102"/>
              <a:gd name="connsiteX679" fmla="*/ 1610507 w 1638536"/>
              <a:gd name="connsiteY679" fmla="*/ 267414 h 1126102"/>
              <a:gd name="connsiteX680" fmla="*/ 1617969 w 1638536"/>
              <a:gd name="connsiteY680" fmla="*/ 258216 h 1126102"/>
              <a:gd name="connsiteX681" fmla="*/ 1619242 w 1638536"/>
              <a:gd name="connsiteY681" fmla="*/ 253473 h 1126102"/>
              <a:gd name="connsiteX682" fmla="*/ 1633067 w 1638536"/>
              <a:gd name="connsiteY682" fmla="*/ 222816 h 1126102"/>
              <a:gd name="connsiteX683" fmla="*/ 1634513 w 1638536"/>
              <a:gd name="connsiteY683" fmla="*/ 215643 h 1126102"/>
              <a:gd name="connsiteX684" fmla="*/ 1631736 w 1638536"/>
              <a:gd name="connsiteY684" fmla="*/ 201124 h 1126102"/>
              <a:gd name="connsiteX685" fmla="*/ 1629943 w 1638536"/>
              <a:gd name="connsiteY685" fmla="*/ 194530 h 1126102"/>
              <a:gd name="connsiteX686" fmla="*/ 1624158 w 1638536"/>
              <a:gd name="connsiteY686" fmla="*/ 192505 h 1126102"/>
              <a:gd name="connsiteX687" fmla="*/ 1611722 w 1638536"/>
              <a:gd name="connsiteY687" fmla="*/ 196439 h 1126102"/>
              <a:gd name="connsiteX688" fmla="*/ 1601425 w 1638536"/>
              <a:gd name="connsiteY688" fmla="*/ 198926 h 1126102"/>
              <a:gd name="connsiteX689" fmla="*/ 1585460 w 1638536"/>
              <a:gd name="connsiteY689" fmla="*/ 205694 h 1126102"/>
              <a:gd name="connsiteX690" fmla="*/ 1574759 w 1638536"/>
              <a:gd name="connsiteY690" fmla="*/ 212172 h 1126102"/>
              <a:gd name="connsiteX691" fmla="*/ 1570363 w 1638536"/>
              <a:gd name="connsiteY691" fmla="*/ 212172 h 1126102"/>
              <a:gd name="connsiteX692" fmla="*/ 1560414 w 1638536"/>
              <a:gd name="connsiteY692" fmla="*/ 212172 h 1126102"/>
              <a:gd name="connsiteX693" fmla="*/ 1534326 w 1638536"/>
              <a:gd name="connsiteY693" fmla="*/ 205578 h 1126102"/>
              <a:gd name="connsiteX694" fmla="*/ 1532475 w 1638536"/>
              <a:gd name="connsiteY694" fmla="*/ 200372 h 1126102"/>
              <a:gd name="connsiteX695" fmla="*/ 1529930 w 1638536"/>
              <a:gd name="connsiteY695" fmla="*/ 190365 h 1126102"/>
              <a:gd name="connsiteX696" fmla="*/ 1526807 w 1638536"/>
              <a:gd name="connsiteY696" fmla="*/ 177003 h 1126102"/>
              <a:gd name="connsiteX697" fmla="*/ 1519923 w 1638536"/>
              <a:gd name="connsiteY697" fmla="*/ 171218 h 1126102"/>
              <a:gd name="connsiteX698" fmla="*/ 1507776 w 1638536"/>
              <a:gd name="connsiteY698" fmla="*/ 165087 h 1126102"/>
              <a:gd name="connsiteX699" fmla="*/ 1482729 w 1638536"/>
              <a:gd name="connsiteY699" fmla="*/ 153055 h 1126102"/>
              <a:gd name="connsiteX700" fmla="*/ 1481572 w 1638536"/>
              <a:gd name="connsiteY700" fmla="*/ 153055 h 1126102"/>
              <a:gd name="connsiteX701" fmla="*/ 1473416 w 1638536"/>
              <a:gd name="connsiteY701" fmla="*/ 150337 h 1126102"/>
              <a:gd name="connsiteX702" fmla="*/ 1454328 w 1638536"/>
              <a:gd name="connsiteY702" fmla="*/ 143453 h 1126102"/>
              <a:gd name="connsiteX703" fmla="*/ 1443395 w 1638536"/>
              <a:gd name="connsiteY703" fmla="*/ 138826 h 1126102"/>
              <a:gd name="connsiteX704" fmla="*/ 1442817 w 1638536"/>
              <a:gd name="connsiteY704" fmla="*/ 126678 h 1126102"/>
              <a:gd name="connsiteX705" fmla="*/ 1436222 w 1638536"/>
              <a:gd name="connsiteY705" fmla="*/ 109903 h 1126102"/>
              <a:gd name="connsiteX706" fmla="*/ 1429108 w 1638536"/>
              <a:gd name="connsiteY706" fmla="*/ 94112 h 1126102"/>
              <a:gd name="connsiteX707" fmla="*/ 1424538 w 1638536"/>
              <a:gd name="connsiteY707" fmla="*/ 85378 h 1126102"/>
              <a:gd name="connsiteX708" fmla="*/ 1413605 w 1638536"/>
              <a:gd name="connsiteY708" fmla="*/ 61951 h 1126102"/>
              <a:gd name="connsiteX709" fmla="*/ 1404176 w 1638536"/>
              <a:gd name="connsiteY709" fmla="*/ 45118 h 1126102"/>
              <a:gd name="connsiteX710" fmla="*/ 1400706 w 1638536"/>
              <a:gd name="connsiteY710" fmla="*/ 36441 h 1126102"/>
              <a:gd name="connsiteX711" fmla="*/ 1390525 w 1638536"/>
              <a:gd name="connsiteY711" fmla="*/ 23137 h 1126102"/>
              <a:gd name="connsiteX712" fmla="*/ 1383121 w 1638536"/>
              <a:gd name="connsiteY712" fmla="*/ 17353 h 1126102"/>
              <a:gd name="connsiteX713" fmla="*/ 1369990 w 1638536"/>
              <a:gd name="connsiteY713" fmla="*/ 13246 h 1126102"/>
              <a:gd name="connsiteX714" fmla="*/ 1350439 w 1638536"/>
              <a:gd name="connsiteY714" fmla="*/ 8040 h 1126102"/>
              <a:gd name="connsiteX715" fmla="*/ 1333085 w 1638536"/>
              <a:gd name="connsiteY715" fmla="*/ 4569 h 1126102"/>
              <a:gd name="connsiteX716" fmla="*/ 1320070 w 1638536"/>
              <a:gd name="connsiteY716" fmla="*/ 3296 h 1126102"/>
              <a:gd name="connsiteX717" fmla="*/ 1312089 w 1638536"/>
              <a:gd name="connsiteY717" fmla="*/ 2429 h 1126102"/>
              <a:gd name="connsiteX718" fmla="*/ 1286232 w 1638536"/>
              <a:gd name="connsiteY718" fmla="*/ 5610 h 1126102"/>
              <a:gd name="connsiteX719" fmla="*/ 1279985 w 1638536"/>
              <a:gd name="connsiteY719" fmla="*/ 6536 h 1126102"/>
              <a:gd name="connsiteX720" fmla="*/ 1278076 w 1638536"/>
              <a:gd name="connsiteY720" fmla="*/ 6536 h 1126102"/>
              <a:gd name="connsiteX721" fmla="*/ 1271598 w 1638536"/>
              <a:gd name="connsiteY721" fmla="*/ 6189 h 1126102"/>
              <a:gd name="connsiteX722" fmla="*/ 1246146 w 1638536"/>
              <a:gd name="connsiteY722" fmla="*/ 17468 h 1126102"/>
              <a:gd name="connsiteX723" fmla="*/ 1241114 w 1638536"/>
              <a:gd name="connsiteY723" fmla="*/ 29037 h 1126102"/>
              <a:gd name="connsiteX724" fmla="*/ 1246146 w 1638536"/>
              <a:gd name="connsiteY724" fmla="*/ 30425 h 1126102"/>
              <a:gd name="connsiteX725" fmla="*/ 1247650 w 1638536"/>
              <a:gd name="connsiteY725" fmla="*/ 30425 h 1126102"/>
              <a:gd name="connsiteX726" fmla="*/ 1256847 w 1638536"/>
              <a:gd name="connsiteY726" fmla="*/ 50729 h 1126102"/>
              <a:gd name="connsiteX727" fmla="*/ 1244064 w 1638536"/>
              <a:gd name="connsiteY727" fmla="*/ 65711 h 1126102"/>
              <a:gd name="connsiteX728" fmla="*/ 1227751 w 1638536"/>
              <a:gd name="connsiteY728" fmla="*/ 90815 h 1126102"/>
              <a:gd name="connsiteX729" fmla="*/ 1221967 w 1638536"/>
              <a:gd name="connsiteY729" fmla="*/ 102384 h 1126102"/>
              <a:gd name="connsiteX730" fmla="*/ 1214910 w 1638536"/>
              <a:gd name="connsiteY730" fmla="*/ 118580 h 1126102"/>
              <a:gd name="connsiteX731" fmla="*/ 1213753 w 1638536"/>
              <a:gd name="connsiteY731" fmla="*/ 124770 h 1126102"/>
              <a:gd name="connsiteX732" fmla="*/ 1202185 w 1638536"/>
              <a:gd name="connsiteY732" fmla="*/ 132174 h 1126102"/>
              <a:gd name="connsiteX733" fmla="*/ 1186856 w 1638536"/>
              <a:gd name="connsiteY733" fmla="*/ 140098 h 1126102"/>
              <a:gd name="connsiteX734" fmla="*/ 1176501 w 1638536"/>
              <a:gd name="connsiteY734" fmla="*/ 145883 h 1126102"/>
              <a:gd name="connsiteX735" fmla="*/ 1172510 w 1638536"/>
              <a:gd name="connsiteY735" fmla="*/ 146345 h 1126102"/>
              <a:gd name="connsiteX736" fmla="*/ 1148505 w 1638536"/>
              <a:gd name="connsiteY736" fmla="*/ 138016 h 1126102"/>
              <a:gd name="connsiteX737" fmla="*/ 1143993 w 1638536"/>
              <a:gd name="connsiteY737" fmla="*/ 134430 h 1126102"/>
              <a:gd name="connsiteX738" fmla="*/ 1122706 w 1638536"/>
              <a:gd name="connsiteY738" fmla="*/ 177003 h 1126102"/>
              <a:gd name="connsiteX739" fmla="*/ 1120971 w 1638536"/>
              <a:gd name="connsiteY739" fmla="*/ 190885 h 1126102"/>
              <a:gd name="connsiteX740" fmla="*/ 1120103 w 1638536"/>
              <a:gd name="connsiteY740" fmla="*/ 191811 h 1126102"/>
              <a:gd name="connsiteX741" fmla="*/ 1113682 w 1638536"/>
              <a:gd name="connsiteY741" fmla="*/ 196670 h 1126102"/>
              <a:gd name="connsiteX742" fmla="*/ 1117153 w 1638536"/>
              <a:gd name="connsiteY742" fmla="*/ 204016 h 1126102"/>
              <a:gd name="connsiteX743" fmla="*/ 1125714 w 1638536"/>
              <a:gd name="connsiteY743" fmla="*/ 208933 h 1126102"/>
              <a:gd name="connsiteX744" fmla="*/ 1131094 w 1638536"/>
              <a:gd name="connsiteY744" fmla="*/ 207718 h 1126102"/>
              <a:gd name="connsiteX745" fmla="*/ 1144455 w 1638536"/>
              <a:gd name="connsiteY745" fmla="*/ 205462 h 1126102"/>
              <a:gd name="connsiteX746" fmla="*/ 1161809 w 1638536"/>
              <a:gd name="connsiteY746" fmla="*/ 210148 h 1126102"/>
              <a:gd name="connsiteX747" fmla="*/ 1167593 w 1638536"/>
              <a:gd name="connsiteY747" fmla="*/ 212172 h 1126102"/>
              <a:gd name="connsiteX748" fmla="*/ 1170196 w 1638536"/>
              <a:gd name="connsiteY748" fmla="*/ 209685 h 1126102"/>
              <a:gd name="connsiteX749" fmla="*/ 1185756 w 1638536"/>
              <a:gd name="connsiteY749" fmla="*/ 199620 h 1126102"/>
              <a:gd name="connsiteX750" fmla="*/ 1198482 w 1638536"/>
              <a:gd name="connsiteY750" fmla="*/ 205867 h 1126102"/>
              <a:gd name="connsiteX751" fmla="*/ 1213059 w 1638536"/>
              <a:gd name="connsiteY751" fmla="*/ 219114 h 1126102"/>
              <a:gd name="connsiteX752" fmla="*/ 1233883 w 1638536"/>
              <a:gd name="connsiteY752" fmla="*/ 243755 h 1126102"/>
              <a:gd name="connsiteX753" fmla="*/ 1220752 w 1638536"/>
              <a:gd name="connsiteY753" fmla="*/ 251101 h 1126102"/>
              <a:gd name="connsiteX754" fmla="*/ 1204267 w 1638536"/>
              <a:gd name="connsiteY754" fmla="*/ 248151 h 1126102"/>
              <a:gd name="connsiteX755" fmla="*/ 1199929 w 1638536"/>
              <a:gd name="connsiteY755" fmla="*/ 247457 h 1126102"/>
              <a:gd name="connsiteX756" fmla="*/ 1184484 w 1638536"/>
              <a:gd name="connsiteY756" fmla="*/ 251391 h 1126102"/>
              <a:gd name="connsiteX757" fmla="*/ 1169502 w 1638536"/>
              <a:gd name="connsiteY757" fmla="*/ 255208 h 1126102"/>
              <a:gd name="connsiteX758" fmla="*/ 1136820 w 1638536"/>
              <a:gd name="connsiteY758" fmla="*/ 268975 h 1126102"/>
              <a:gd name="connsiteX759" fmla="*/ 1129127 w 1638536"/>
              <a:gd name="connsiteY759" fmla="*/ 279503 h 1126102"/>
              <a:gd name="connsiteX760" fmla="*/ 1111774 w 1638536"/>
              <a:gd name="connsiteY760" fmla="*/ 292171 h 1126102"/>
              <a:gd name="connsiteX761" fmla="*/ 1104138 w 1638536"/>
              <a:gd name="connsiteY761" fmla="*/ 292865 h 1126102"/>
              <a:gd name="connsiteX762" fmla="*/ 1071861 w 1638536"/>
              <a:gd name="connsiteY762" fmla="*/ 304434 h 1126102"/>
              <a:gd name="connsiteX763" fmla="*/ 1046525 w 1638536"/>
              <a:gd name="connsiteY763" fmla="*/ 312359 h 1126102"/>
              <a:gd name="connsiteX764" fmla="*/ 1026742 w 1638536"/>
              <a:gd name="connsiteY764" fmla="*/ 308020 h 1126102"/>
              <a:gd name="connsiteX765" fmla="*/ 1016620 w 1638536"/>
              <a:gd name="connsiteY765" fmla="*/ 305533 h 1126102"/>
              <a:gd name="connsiteX766" fmla="*/ 1001754 w 1638536"/>
              <a:gd name="connsiteY766" fmla="*/ 314615 h 1126102"/>
              <a:gd name="connsiteX767" fmla="*/ 1004010 w 1638536"/>
              <a:gd name="connsiteY767" fmla="*/ 329770 h 1126102"/>
              <a:gd name="connsiteX768" fmla="*/ 1008984 w 1638536"/>
              <a:gd name="connsiteY768" fmla="*/ 345850 h 1126102"/>
              <a:gd name="connsiteX769" fmla="*/ 994639 w 1638536"/>
              <a:gd name="connsiteY769" fmla="*/ 360022 h 1126102"/>
              <a:gd name="connsiteX770" fmla="*/ 975203 w 1638536"/>
              <a:gd name="connsiteY770" fmla="*/ 372864 h 1126102"/>
              <a:gd name="connsiteX771" fmla="*/ 924994 w 1638536"/>
              <a:gd name="connsiteY771" fmla="*/ 394382 h 1126102"/>
              <a:gd name="connsiteX772" fmla="*/ 919210 w 1638536"/>
              <a:gd name="connsiteY772" fmla="*/ 393398 h 1126102"/>
              <a:gd name="connsiteX773" fmla="*/ 892370 w 1638536"/>
              <a:gd name="connsiteY773" fmla="*/ 390448 h 1126102"/>
              <a:gd name="connsiteX774" fmla="*/ 864258 w 1638536"/>
              <a:gd name="connsiteY774" fmla="*/ 396233 h 1126102"/>
              <a:gd name="connsiteX775" fmla="*/ 838806 w 1638536"/>
              <a:gd name="connsiteY775" fmla="*/ 410925 h 1126102"/>
              <a:gd name="connsiteX776" fmla="*/ 816074 w 1638536"/>
              <a:gd name="connsiteY776" fmla="*/ 420990 h 1126102"/>
              <a:gd name="connsiteX777" fmla="*/ 807512 w 1638536"/>
              <a:gd name="connsiteY777" fmla="*/ 415206 h 1126102"/>
              <a:gd name="connsiteX778" fmla="*/ 797795 w 1638536"/>
              <a:gd name="connsiteY778" fmla="*/ 410058 h 1126102"/>
              <a:gd name="connsiteX779" fmla="*/ 795307 w 1638536"/>
              <a:gd name="connsiteY779" fmla="*/ 410058 h 1126102"/>
              <a:gd name="connsiteX780" fmla="*/ 789118 w 1638536"/>
              <a:gd name="connsiteY780" fmla="*/ 410520 h 1126102"/>
              <a:gd name="connsiteX781" fmla="*/ 766443 w 1638536"/>
              <a:gd name="connsiteY781" fmla="*/ 402885 h 1126102"/>
              <a:gd name="connsiteX782" fmla="*/ 759791 w 1638536"/>
              <a:gd name="connsiteY782" fmla="*/ 401207 h 1126102"/>
              <a:gd name="connsiteX783" fmla="*/ 756378 w 1638536"/>
              <a:gd name="connsiteY783" fmla="*/ 401207 h 1126102"/>
              <a:gd name="connsiteX784" fmla="*/ 752329 w 1638536"/>
              <a:gd name="connsiteY784" fmla="*/ 401207 h 1126102"/>
              <a:gd name="connsiteX785" fmla="*/ 736422 w 1638536"/>
              <a:gd name="connsiteY785" fmla="*/ 395423 h 1126102"/>
              <a:gd name="connsiteX786" fmla="*/ 698071 w 1638536"/>
              <a:gd name="connsiteY786" fmla="*/ 386052 h 1126102"/>
              <a:gd name="connsiteX787" fmla="*/ 687659 w 1638536"/>
              <a:gd name="connsiteY787" fmla="*/ 385127 h 1126102"/>
              <a:gd name="connsiteX788" fmla="*/ 656597 w 1638536"/>
              <a:gd name="connsiteY788" fmla="*/ 384259 h 1126102"/>
              <a:gd name="connsiteX789" fmla="*/ 622584 w 1638536"/>
              <a:gd name="connsiteY789" fmla="*/ 383334 h 1126102"/>
              <a:gd name="connsiteX790" fmla="*/ 605925 w 1638536"/>
              <a:gd name="connsiteY790" fmla="*/ 383334 h 1126102"/>
              <a:gd name="connsiteX791" fmla="*/ 597827 w 1638536"/>
              <a:gd name="connsiteY791" fmla="*/ 383623 h 1126102"/>
              <a:gd name="connsiteX792" fmla="*/ 586258 w 1638536"/>
              <a:gd name="connsiteY792" fmla="*/ 378995 h 1126102"/>
              <a:gd name="connsiteX793" fmla="*/ 581226 w 1638536"/>
              <a:gd name="connsiteY793" fmla="*/ 371071 h 1126102"/>
              <a:gd name="connsiteX794" fmla="*/ 570409 w 1638536"/>
              <a:gd name="connsiteY794" fmla="*/ 350825 h 1126102"/>
              <a:gd name="connsiteX795" fmla="*/ 550163 w 1638536"/>
              <a:gd name="connsiteY795" fmla="*/ 328786 h 1126102"/>
              <a:gd name="connsiteX796" fmla="*/ 540214 w 1638536"/>
              <a:gd name="connsiteY796" fmla="*/ 321903 h 1126102"/>
              <a:gd name="connsiteX797" fmla="*/ 532637 w 1638536"/>
              <a:gd name="connsiteY797" fmla="*/ 316466 h 1126102"/>
              <a:gd name="connsiteX798" fmla="*/ 527662 w 1638536"/>
              <a:gd name="connsiteY798" fmla="*/ 312590 h 1126102"/>
              <a:gd name="connsiteX799" fmla="*/ 512333 w 1638536"/>
              <a:gd name="connsiteY799" fmla="*/ 304087 h 1126102"/>
              <a:gd name="connsiteX800" fmla="*/ 449861 w 1638536"/>
              <a:gd name="connsiteY800" fmla="*/ 288527 h 1126102"/>
              <a:gd name="connsiteX801" fmla="*/ 451770 w 1638536"/>
              <a:gd name="connsiteY801" fmla="*/ 274702 h 1126102"/>
              <a:gd name="connsiteX802" fmla="*/ 455877 w 1638536"/>
              <a:gd name="connsiteY802" fmla="*/ 265562 h 1126102"/>
              <a:gd name="connsiteX803" fmla="*/ 457786 w 1638536"/>
              <a:gd name="connsiteY803" fmla="*/ 253010 h 1126102"/>
              <a:gd name="connsiteX804" fmla="*/ 457786 w 1638536"/>
              <a:gd name="connsiteY804" fmla="*/ 239070 h 1126102"/>
              <a:gd name="connsiteX805" fmla="*/ 442805 w 1638536"/>
              <a:gd name="connsiteY805" fmla="*/ 217610 h 1126102"/>
              <a:gd name="connsiteX806" fmla="*/ 420361 w 1638536"/>
              <a:gd name="connsiteY806" fmla="*/ 199562 h 1126102"/>
              <a:gd name="connsiteX807" fmla="*/ 395141 w 1638536"/>
              <a:gd name="connsiteY807" fmla="*/ 185911 h 1126102"/>
              <a:gd name="connsiteX808" fmla="*/ 389356 w 1638536"/>
              <a:gd name="connsiteY808" fmla="*/ 181573 h 1126102"/>
              <a:gd name="connsiteX809" fmla="*/ 375474 w 1638536"/>
              <a:gd name="connsiteY809" fmla="*/ 160055 h 1126102"/>
              <a:gd name="connsiteX810" fmla="*/ 374953 w 1638536"/>
              <a:gd name="connsiteY810" fmla="*/ 158030 h 1126102"/>
              <a:gd name="connsiteX811" fmla="*/ 374953 w 1638536"/>
              <a:gd name="connsiteY811" fmla="*/ 157683 h 1126102"/>
              <a:gd name="connsiteX812" fmla="*/ 370962 w 1638536"/>
              <a:gd name="connsiteY812" fmla="*/ 156931 h 1126102"/>
              <a:gd name="connsiteX813" fmla="*/ 365177 w 1638536"/>
              <a:gd name="connsiteY813" fmla="*/ 156063 h 1126102"/>
              <a:gd name="connsiteX814" fmla="*/ 358525 w 1638536"/>
              <a:gd name="connsiteY814" fmla="*/ 152708 h 1126102"/>
              <a:gd name="connsiteX815" fmla="*/ 353724 w 1638536"/>
              <a:gd name="connsiteY815" fmla="*/ 160344 h 1126102"/>
              <a:gd name="connsiteX816" fmla="*/ 349733 w 1638536"/>
              <a:gd name="connsiteY816" fmla="*/ 168268 h 1126102"/>
              <a:gd name="connsiteX817" fmla="*/ 336833 w 1638536"/>
              <a:gd name="connsiteY817" fmla="*/ 184465 h 1126102"/>
              <a:gd name="connsiteX818" fmla="*/ 320059 w 1638536"/>
              <a:gd name="connsiteY818" fmla="*/ 204074 h 1126102"/>
              <a:gd name="connsiteX819" fmla="*/ 323240 w 1638536"/>
              <a:gd name="connsiteY819" fmla="*/ 217610 h 1126102"/>
              <a:gd name="connsiteX820" fmla="*/ 323818 w 1638536"/>
              <a:gd name="connsiteY820" fmla="*/ 226460 h 1126102"/>
              <a:gd name="connsiteX821" fmla="*/ 300681 w 1638536"/>
              <a:gd name="connsiteY821" fmla="*/ 237161 h 1126102"/>
              <a:gd name="connsiteX822" fmla="*/ 296574 w 1638536"/>
              <a:gd name="connsiteY822" fmla="*/ 236409 h 1126102"/>
              <a:gd name="connsiteX823" fmla="*/ 282518 w 1638536"/>
              <a:gd name="connsiteY823" fmla="*/ 234732 h 1126102"/>
              <a:gd name="connsiteX824" fmla="*/ 271759 w 1638536"/>
              <a:gd name="connsiteY824" fmla="*/ 234269 h 1126102"/>
              <a:gd name="connsiteX825" fmla="*/ 262909 w 1638536"/>
              <a:gd name="connsiteY825" fmla="*/ 230682 h 1126102"/>
              <a:gd name="connsiteX826" fmla="*/ 257761 w 1638536"/>
              <a:gd name="connsiteY826" fmla="*/ 228542 h 1126102"/>
              <a:gd name="connsiteX827" fmla="*/ 254579 w 1638536"/>
              <a:gd name="connsiteY827" fmla="*/ 233401 h 1126102"/>
              <a:gd name="connsiteX828" fmla="*/ 246770 w 1638536"/>
              <a:gd name="connsiteY828" fmla="*/ 254688 h 1126102"/>
              <a:gd name="connsiteX829" fmla="*/ 237457 w 1638536"/>
              <a:gd name="connsiteY829" fmla="*/ 284825 h 1126102"/>
              <a:gd name="connsiteX830" fmla="*/ 242200 w 1638536"/>
              <a:gd name="connsiteY830" fmla="*/ 296394 h 1126102"/>
              <a:gd name="connsiteX831" fmla="*/ 236705 w 1638536"/>
              <a:gd name="connsiteY831" fmla="*/ 299459 h 1126102"/>
              <a:gd name="connsiteX832" fmla="*/ 216344 w 1638536"/>
              <a:gd name="connsiteY832" fmla="*/ 294138 h 1126102"/>
              <a:gd name="connsiteX833" fmla="*/ 205411 w 1638536"/>
              <a:gd name="connsiteY833" fmla="*/ 296047 h 1126102"/>
              <a:gd name="connsiteX834" fmla="*/ 191356 w 1638536"/>
              <a:gd name="connsiteY834" fmla="*/ 299459 h 1126102"/>
              <a:gd name="connsiteX835" fmla="*/ 191356 w 1638536"/>
              <a:gd name="connsiteY835" fmla="*/ 299459 h 1126102"/>
              <a:gd name="connsiteX836" fmla="*/ 175621 w 1638536"/>
              <a:gd name="connsiteY836" fmla="*/ 307384 h 1126102"/>
              <a:gd name="connsiteX837" fmla="*/ 176200 w 1638536"/>
              <a:gd name="connsiteY837" fmla="*/ 308020 h 1126102"/>
              <a:gd name="connsiteX838" fmla="*/ 182910 w 1638536"/>
              <a:gd name="connsiteY838" fmla="*/ 332662 h 1126102"/>
              <a:gd name="connsiteX839" fmla="*/ 187826 w 1638536"/>
              <a:gd name="connsiteY839" fmla="*/ 344693 h 1126102"/>
              <a:gd name="connsiteX840" fmla="*/ 193611 w 1638536"/>
              <a:gd name="connsiteY840" fmla="*/ 363377 h 1126102"/>
              <a:gd name="connsiteX841" fmla="*/ 187074 w 1638536"/>
              <a:gd name="connsiteY841" fmla="*/ 371533 h 1126102"/>
              <a:gd name="connsiteX842" fmla="*/ 179208 w 1638536"/>
              <a:gd name="connsiteY842" fmla="*/ 383565 h 1126102"/>
              <a:gd name="connsiteX843" fmla="*/ 179555 w 1638536"/>
              <a:gd name="connsiteY843" fmla="*/ 389928 h 1126102"/>
              <a:gd name="connsiteX844" fmla="*/ 176663 w 1638536"/>
              <a:gd name="connsiteY844" fmla="*/ 401497 h 1126102"/>
              <a:gd name="connsiteX845" fmla="*/ 175275 w 1638536"/>
              <a:gd name="connsiteY845" fmla="*/ 402133 h 1126102"/>
              <a:gd name="connsiteX846" fmla="*/ 152657 w 1638536"/>
              <a:gd name="connsiteY846" fmla="*/ 413702 h 1126102"/>
              <a:gd name="connsiteX847" fmla="*/ 143287 w 1638536"/>
              <a:gd name="connsiteY847" fmla="*/ 418040 h 1126102"/>
              <a:gd name="connsiteX848" fmla="*/ 131718 w 1638536"/>
              <a:gd name="connsiteY848" fmla="*/ 425444 h 1126102"/>
              <a:gd name="connsiteX849" fmla="*/ 111472 w 1638536"/>
              <a:gd name="connsiteY849" fmla="*/ 438228 h 1126102"/>
              <a:gd name="connsiteX850" fmla="*/ 107886 w 1638536"/>
              <a:gd name="connsiteY850" fmla="*/ 438228 h 1126102"/>
              <a:gd name="connsiteX851" fmla="*/ 104994 w 1638536"/>
              <a:gd name="connsiteY851" fmla="*/ 437881 h 1126102"/>
              <a:gd name="connsiteX852" fmla="*/ 97937 w 1638536"/>
              <a:gd name="connsiteY852" fmla="*/ 437244 h 1126102"/>
              <a:gd name="connsiteX853" fmla="*/ 84054 w 1638536"/>
              <a:gd name="connsiteY853" fmla="*/ 445111 h 1126102"/>
              <a:gd name="connsiteX854" fmla="*/ 72890 w 1638536"/>
              <a:gd name="connsiteY854" fmla="*/ 453441 h 1126102"/>
              <a:gd name="connsiteX855" fmla="*/ 67511 w 1638536"/>
              <a:gd name="connsiteY855" fmla="*/ 456160 h 1126102"/>
              <a:gd name="connsiteX856" fmla="*/ 62883 w 1638536"/>
              <a:gd name="connsiteY856" fmla="*/ 457895 h 1126102"/>
              <a:gd name="connsiteX857" fmla="*/ 53860 w 1638536"/>
              <a:gd name="connsiteY857" fmla="*/ 453614 h 1126102"/>
              <a:gd name="connsiteX858" fmla="*/ 49463 w 1638536"/>
              <a:gd name="connsiteY858" fmla="*/ 450896 h 1126102"/>
              <a:gd name="connsiteX859" fmla="*/ 41133 w 1638536"/>
              <a:gd name="connsiteY859" fmla="*/ 453441 h 1126102"/>
              <a:gd name="connsiteX860" fmla="*/ 33498 w 1638536"/>
              <a:gd name="connsiteY860" fmla="*/ 456391 h 1126102"/>
              <a:gd name="connsiteX861" fmla="*/ 26846 w 1638536"/>
              <a:gd name="connsiteY861" fmla="*/ 460556 h 1126102"/>
              <a:gd name="connsiteX862" fmla="*/ 18632 w 1638536"/>
              <a:gd name="connsiteY862" fmla="*/ 466051 h 1126102"/>
              <a:gd name="connsiteX863" fmla="*/ 13715 w 1638536"/>
              <a:gd name="connsiteY863" fmla="*/ 467034 h 1126102"/>
              <a:gd name="connsiteX864" fmla="*/ 7353 w 1638536"/>
              <a:gd name="connsiteY864" fmla="*/ 472240 h 1126102"/>
              <a:gd name="connsiteX865" fmla="*/ 3014 w 1638536"/>
              <a:gd name="connsiteY865" fmla="*/ 486007 h 1126102"/>
              <a:gd name="connsiteX866" fmla="*/ 7063 w 1638536"/>
              <a:gd name="connsiteY866" fmla="*/ 508624 h 1126102"/>
              <a:gd name="connsiteX867" fmla="*/ 34192 w 1638536"/>
              <a:gd name="connsiteY867" fmla="*/ 526614 h 1126102"/>
              <a:gd name="connsiteX868" fmla="*/ 39572 w 1638536"/>
              <a:gd name="connsiteY868" fmla="*/ 563229 h 1126102"/>
              <a:gd name="connsiteX869" fmla="*/ 39572 w 1638536"/>
              <a:gd name="connsiteY869" fmla="*/ 563519 h 1126102"/>
              <a:gd name="connsiteX870" fmla="*/ 49174 w 1638536"/>
              <a:gd name="connsiteY870" fmla="*/ 570576 h 1126102"/>
              <a:gd name="connsiteX871" fmla="*/ 63693 w 1638536"/>
              <a:gd name="connsiteY871" fmla="*/ 583706 h 1126102"/>
              <a:gd name="connsiteX872" fmla="*/ 76997 w 1638536"/>
              <a:gd name="connsiteY872" fmla="*/ 603258 h 1126102"/>
              <a:gd name="connsiteX873" fmla="*/ 97301 w 1638536"/>
              <a:gd name="connsiteY873" fmla="*/ 613901 h 1126102"/>
              <a:gd name="connsiteX874" fmla="*/ 97821 w 1638536"/>
              <a:gd name="connsiteY874" fmla="*/ 612628 h 1126102"/>
              <a:gd name="connsiteX875" fmla="*/ 98747 w 1638536"/>
              <a:gd name="connsiteY875" fmla="*/ 611934 h 1126102"/>
              <a:gd name="connsiteX876" fmla="*/ 109506 w 1638536"/>
              <a:gd name="connsiteY876" fmla="*/ 610835 h 1126102"/>
              <a:gd name="connsiteX877" fmla="*/ 110200 w 1638536"/>
              <a:gd name="connsiteY877" fmla="*/ 610835 h 1126102"/>
              <a:gd name="connsiteX878" fmla="*/ 115406 w 1638536"/>
              <a:gd name="connsiteY878" fmla="*/ 615000 h 1126102"/>
              <a:gd name="connsiteX879" fmla="*/ 146873 w 1638536"/>
              <a:gd name="connsiteY879" fmla="*/ 598167 h 1126102"/>
              <a:gd name="connsiteX880" fmla="*/ 177589 w 1638536"/>
              <a:gd name="connsiteY880" fmla="*/ 619107 h 1126102"/>
              <a:gd name="connsiteX881" fmla="*/ 179324 w 1638536"/>
              <a:gd name="connsiteY881" fmla="*/ 625701 h 1126102"/>
              <a:gd name="connsiteX882" fmla="*/ 151269 w 1638536"/>
              <a:gd name="connsiteY882" fmla="*/ 659135 h 1126102"/>
              <a:gd name="connsiteX883" fmla="*/ 140279 w 1638536"/>
              <a:gd name="connsiteY883" fmla="*/ 660292 h 1126102"/>
              <a:gd name="connsiteX884" fmla="*/ 139816 w 1638536"/>
              <a:gd name="connsiteY884" fmla="*/ 662895 h 1126102"/>
              <a:gd name="connsiteX885" fmla="*/ 138775 w 1638536"/>
              <a:gd name="connsiteY885" fmla="*/ 668969 h 1126102"/>
              <a:gd name="connsiteX886" fmla="*/ 145658 w 1638536"/>
              <a:gd name="connsiteY886" fmla="*/ 680538 h 1126102"/>
              <a:gd name="connsiteX887" fmla="*/ 153757 w 1638536"/>
              <a:gd name="connsiteY887" fmla="*/ 692106 h 1126102"/>
              <a:gd name="connsiteX888" fmla="*/ 153757 w 1638536"/>
              <a:gd name="connsiteY888" fmla="*/ 700957 h 1126102"/>
              <a:gd name="connsiteX889" fmla="*/ 143634 w 1638536"/>
              <a:gd name="connsiteY889" fmla="*/ 706105 h 1126102"/>
              <a:gd name="connsiteX890" fmla="*/ 135594 w 1638536"/>
              <a:gd name="connsiteY890" fmla="*/ 703270 h 1126102"/>
              <a:gd name="connsiteX891" fmla="*/ 132470 w 1638536"/>
              <a:gd name="connsiteY891" fmla="*/ 701766 h 1126102"/>
              <a:gd name="connsiteX892" fmla="*/ 129924 w 1638536"/>
              <a:gd name="connsiteY892" fmla="*/ 703791 h 1126102"/>
              <a:gd name="connsiteX893" fmla="*/ 130734 w 1638536"/>
              <a:gd name="connsiteY893" fmla="*/ 713566 h 1126102"/>
              <a:gd name="connsiteX894" fmla="*/ 134090 w 1638536"/>
              <a:gd name="connsiteY894" fmla="*/ 723689 h 1126102"/>
              <a:gd name="connsiteX895" fmla="*/ 139874 w 1638536"/>
              <a:gd name="connsiteY895" fmla="*/ 734680 h 1126102"/>
              <a:gd name="connsiteX896" fmla="*/ 150691 w 1638536"/>
              <a:gd name="connsiteY896" fmla="*/ 742720 h 1126102"/>
              <a:gd name="connsiteX897" fmla="*/ 162260 w 1638536"/>
              <a:gd name="connsiteY897" fmla="*/ 750876 h 1126102"/>
              <a:gd name="connsiteX898" fmla="*/ 179266 w 1638536"/>
              <a:gd name="connsiteY898" fmla="*/ 765222 h 1126102"/>
              <a:gd name="connsiteX899" fmla="*/ 191413 w 1638536"/>
              <a:gd name="connsiteY899" fmla="*/ 777889 h 1126102"/>
              <a:gd name="connsiteX900" fmla="*/ 191413 w 1638536"/>
              <a:gd name="connsiteY900" fmla="*/ 778237 h 1126102"/>
              <a:gd name="connsiteX901" fmla="*/ 191818 w 1638536"/>
              <a:gd name="connsiteY901" fmla="*/ 778237 h 1126102"/>
              <a:gd name="connsiteX902" fmla="*/ 205411 w 1638536"/>
              <a:gd name="connsiteY902" fmla="*/ 774072 h 1126102"/>
              <a:gd name="connsiteX903" fmla="*/ 212584 w 1638536"/>
              <a:gd name="connsiteY903" fmla="*/ 770485 h 1126102"/>
              <a:gd name="connsiteX904" fmla="*/ 229127 w 1638536"/>
              <a:gd name="connsiteY904" fmla="*/ 777832 h 1126102"/>
              <a:gd name="connsiteX905" fmla="*/ 259727 w 1638536"/>
              <a:gd name="connsiteY905" fmla="*/ 800449 h 1126102"/>
              <a:gd name="connsiteX906" fmla="*/ 284774 w 1638536"/>
              <a:gd name="connsiteY906" fmla="*/ 818380 h 1126102"/>
              <a:gd name="connsiteX907" fmla="*/ 335908 w 1638536"/>
              <a:gd name="connsiteY907" fmla="*/ 839320 h 1126102"/>
              <a:gd name="connsiteX908" fmla="*/ 336660 w 1638536"/>
              <a:gd name="connsiteY908" fmla="*/ 839320 h 1126102"/>
              <a:gd name="connsiteX909" fmla="*/ 351352 w 1638536"/>
              <a:gd name="connsiteY909" fmla="*/ 842212 h 1126102"/>
              <a:gd name="connsiteX910" fmla="*/ 372466 w 1638536"/>
              <a:gd name="connsiteY910" fmla="*/ 845972 h 1126102"/>
              <a:gd name="connsiteX911" fmla="*/ 378250 w 1638536"/>
              <a:gd name="connsiteY911" fmla="*/ 845972 h 1126102"/>
              <a:gd name="connsiteX912" fmla="*/ 381432 w 1638536"/>
              <a:gd name="connsiteY912" fmla="*/ 844006 h 1126102"/>
              <a:gd name="connsiteX913" fmla="*/ 386695 w 1638536"/>
              <a:gd name="connsiteY913" fmla="*/ 839783 h 1126102"/>
              <a:gd name="connsiteX914" fmla="*/ 390339 w 1638536"/>
              <a:gd name="connsiteY914" fmla="*/ 837469 h 1126102"/>
              <a:gd name="connsiteX915" fmla="*/ 394447 w 1638536"/>
              <a:gd name="connsiteY915" fmla="*/ 839899 h 1126102"/>
              <a:gd name="connsiteX916" fmla="*/ 397281 w 1638536"/>
              <a:gd name="connsiteY916" fmla="*/ 854707 h 1126102"/>
              <a:gd name="connsiteX917" fmla="*/ 398033 w 1638536"/>
              <a:gd name="connsiteY917" fmla="*/ 864019 h 1126102"/>
              <a:gd name="connsiteX918" fmla="*/ 402892 w 1638536"/>
              <a:gd name="connsiteY918" fmla="*/ 854475 h 1126102"/>
              <a:gd name="connsiteX919" fmla="*/ 417469 w 1638536"/>
              <a:gd name="connsiteY919" fmla="*/ 839841 h 1126102"/>
              <a:gd name="connsiteX920" fmla="*/ 422617 w 1638536"/>
              <a:gd name="connsiteY920" fmla="*/ 837064 h 1126102"/>
              <a:gd name="connsiteX921" fmla="*/ 446217 w 1638536"/>
              <a:gd name="connsiteY921" fmla="*/ 840593 h 1126102"/>
              <a:gd name="connsiteX922" fmla="*/ 456514 w 1638536"/>
              <a:gd name="connsiteY922" fmla="*/ 841692 h 1126102"/>
              <a:gd name="connsiteX923" fmla="*/ 461372 w 1638536"/>
              <a:gd name="connsiteY923" fmla="*/ 841171 h 1126102"/>
              <a:gd name="connsiteX924" fmla="*/ 477453 w 1638536"/>
              <a:gd name="connsiteY924" fmla="*/ 848864 h 1126102"/>
              <a:gd name="connsiteX925" fmla="*/ 486824 w 1638536"/>
              <a:gd name="connsiteY925" fmla="*/ 845741 h 1126102"/>
              <a:gd name="connsiteX926" fmla="*/ 494286 w 1638536"/>
              <a:gd name="connsiteY926" fmla="*/ 839262 h 1126102"/>
              <a:gd name="connsiteX927" fmla="*/ 498971 w 1638536"/>
              <a:gd name="connsiteY927" fmla="*/ 834230 h 1126102"/>
              <a:gd name="connsiteX928" fmla="*/ 502905 w 1638536"/>
              <a:gd name="connsiteY928" fmla="*/ 828445 h 1126102"/>
              <a:gd name="connsiteX929" fmla="*/ 510772 w 1638536"/>
              <a:gd name="connsiteY929" fmla="*/ 823239 h 1126102"/>
              <a:gd name="connsiteX930" fmla="*/ 519679 w 1638536"/>
              <a:gd name="connsiteY930" fmla="*/ 818438 h 1126102"/>
              <a:gd name="connsiteX931" fmla="*/ 533736 w 1638536"/>
              <a:gd name="connsiteY931" fmla="*/ 808315 h 1126102"/>
              <a:gd name="connsiteX932" fmla="*/ 544610 w 1638536"/>
              <a:gd name="connsiteY932" fmla="*/ 805539 h 1126102"/>
              <a:gd name="connsiteX933" fmla="*/ 555427 w 1638536"/>
              <a:gd name="connsiteY933" fmla="*/ 807274 h 1126102"/>
              <a:gd name="connsiteX934" fmla="*/ 565897 w 1638536"/>
              <a:gd name="connsiteY934" fmla="*/ 807274 h 1126102"/>
              <a:gd name="connsiteX935" fmla="*/ 577466 w 1638536"/>
              <a:gd name="connsiteY935" fmla="*/ 801490 h 1126102"/>
              <a:gd name="connsiteX936" fmla="*/ 581747 w 1638536"/>
              <a:gd name="connsiteY936" fmla="*/ 805042 h 1126102"/>
              <a:gd name="connsiteX937" fmla="*/ 581747 w 1638536"/>
              <a:gd name="connsiteY937" fmla="*/ 805770 h 1126102"/>
              <a:gd name="connsiteX938" fmla="*/ 586779 w 1638536"/>
              <a:gd name="connsiteY938" fmla="*/ 814736 h 1126102"/>
              <a:gd name="connsiteX939" fmla="*/ 592564 w 1638536"/>
              <a:gd name="connsiteY939" fmla="*/ 823702 h 1126102"/>
              <a:gd name="connsiteX940" fmla="*/ 606967 w 1638536"/>
              <a:gd name="connsiteY940" fmla="*/ 831395 h 1126102"/>
              <a:gd name="connsiteX941" fmla="*/ 611073 w 1638536"/>
              <a:gd name="connsiteY941" fmla="*/ 828966 h 1126102"/>
              <a:gd name="connsiteX942" fmla="*/ 617726 w 1638536"/>
              <a:gd name="connsiteY942" fmla="*/ 826941 h 1126102"/>
              <a:gd name="connsiteX943" fmla="*/ 631029 w 1638536"/>
              <a:gd name="connsiteY943" fmla="*/ 837758 h 1126102"/>
              <a:gd name="connsiteX944" fmla="*/ 636005 w 1638536"/>
              <a:gd name="connsiteY944" fmla="*/ 851757 h 1126102"/>
              <a:gd name="connsiteX945" fmla="*/ 648036 w 1638536"/>
              <a:gd name="connsiteY945" fmla="*/ 866218 h 1126102"/>
              <a:gd name="connsiteX946" fmla="*/ 648498 w 1638536"/>
              <a:gd name="connsiteY946" fmla="*/ 875415 h 1126102"/>
              <a:gd name="connsiteX947" fmla="*/ 641037 w 1638536"/>
              <a:gd name="connsiteY947" fmla="*/ 907056 h 1126102"/>
              <a:gd name="connsiteX948" fmla="*/ 618882 w 1638536"/>
              <a:gd name="connsiteY948" fmla="*/ 943960 h 1126102"/>
              <a:gd name="connsiteX949" fmla="*/ 619288 w 1638536"/>
              <a:gd name="connsiteY949" fmla="*/ 952579 h 1126102"/>
              <a:gd name="connsiteX950" fmla="*/ 619288 w 1638536"/>
              <a:gd name="connsiteY950" fmla="*/ 957380 h 1126102"/>
              <a:gd name="connsiteX951" fmla="*/ 622064 w 1638536"/>
              <a:gd name="connsiteY951" fmla="*/ 956686 h 1126102"/>
              <a:gd name="connsiteX952" fmla="*/ 631839 w 1638536"/>
              <a:gd name="connsiteY952" fmla="*/ 954835 h 1126102"/>
              <a:gd name="connsiteX953" fmla="*/ 648441 w 1638536"/>
              <a:gd name="connsiteY953" fmla="*/ 960041 h 1126102"/>
              <a:gd name="connsiteX954" fmla="*/ 648441 w 1638536"/>
              <a:gd name="connsiteY954" fmla="*/ 963165 h 1126102"/>
              <a:gd name="connsiteX955" fmla="*/ 650118 w 1638536"/>
              <a:gd name="connsiteY955" fmla="*/ 978609 h 1126102"/>
              <a:gd name="connsiteX956" fmla="*/ 655903 w 1638536"/>
              <a:gd name="connsiteY956" fmla="*/ 983815 h 1126102"/>
              <a:gd name="connsiteX957" fmla="*/ 666488 w 1638536"/>
              <a:gd name="connsiteY957" fmla="*/ 988848 h 1126102"/>
              <a:gd name="connsiteX958" fmla="*/ 667182 w 1638536"/>
              <a:gd name="connsiteY958" fmla="*/ 997408 h 1126102"/>
              <a:gd name="connsiteX959" fmla="*/ 666662 w 1638536"/>
              <a:gd name="connsiteY959" fmla="*/ 999028 h 1126102"/>
              <a:gd name="connsiteX960" fmla="*/ 664233 w 1638536"/>
              <a:gd name="connsiteY960" fmla="*/ 1013373 h 1126102"/>
              <a:gd name="connsiteX961" fmla="*/ 666141 w 1638536"/>
              <a:gd name="connsiteY961" fmla="*/ 1014126 h 1126102"/>
              <a:gd name="connsiteX962" fmla="*/ 681123 w 1638536"/>
              <a:gd name="connsiteY962" fmla="*/ 1017538 h 1126102"/>
              <a:gd name="connsiteX963" fmla="*/ 682337 w 1638536"/>
              <a:gd name="connsiteY963" fmla="*/ 1022744 h 1126102"/>
              <a:gd name="connsiteX964" fmla="*/ 684015 w 1638536"/>
              <a:gd name="connsiteY964" fmla="*/ 1029454 h 1126102"/>
              <a:gd name="connsiteX965" fmla="*/ 697782 w 1638536"/>
              <a:gd name="connsiteY965" fmla="*/ 1030553 h 1126102"/>
              <a:gd name="connsiteX966" fmla="*/ 701889 w 1638536"/>
              <a:gd name="connsiteY966" fmla="*/ 1028818 h 1126102"/>
              <a:gd name="connsiteX967" fmla="*/ 711144 w 1638536"/>
              <a:gd name="connsiteY967" fmla="*/ 1028008 h 1126102"/>
              <a:gd name="connsiteX968" fmla="*/ 716466 w 1638536"/>
              <a:gd name="connsiteY968" fmla="*/ 1033330 h 1126102"/>
              <a:gd name="connsiteX969" fmla="*/ 724274 w 1638536"/>
              <a:gd name="connsiteY969" fmla="*/ 1040850 h 1126102"/>
              <a:gd name="connsiteX970" fmla="*/ 725200 w 1638536"/>
              <a:gd name="connsiteY970" fmla="*/ 1040850 h 1126102"/>
              <a:gd name="connsiteX971" fmla="*/ 727282 w 1638536"/>
              <a:gd name="connsiteY971" fmla="*/ 1039230 h 1126102"/>
              <a:gd name="connsiteX972" fmla="*/ 724274 w 1638536"/>
              <a:gd name="connsiteY972" fmla="*/ 1021067 h 1126102"/>
              <a:gd name="connsiteX973" fmla="*/ 724274 w 1638536"/>
              <a:gd name="connsiteY973" fmla="*/ 1008804 h 1126102"/>
              <a:gd name="connsiteX974" fmla="*/ 728324 w 1638536"/>
              <a:gd name="connsiteY974" fmla="*/ 1004639 h 1126102"/>
              <a:gd name="connsiteX975" fmla="*/ 730175 w 1638536"/>
              <a:gd name="connsiteY975" fmla="*/ 1005449 h 1126102"/>
              <a:gd name="connsiteX976" fmla="*/ 733183 w 1638536"/>
              <a:gd name="connsiteY976" fmla="*/ 1006374 h 1126102"/>
              <a:gd name="connsiteX977" fmla="*/ 746834 w 1638536"/>
              <a:gd name="connsiteY977" fmla="*/ 999028 h 1126102"/>
              <a:gd name="connsiteX978" fmla="*/ 752156 w 1638536"/>
              <a:gd name="connsiteY978" fmla="*/ 996599 h 1126102"/>
              <a:gd name="connsiteX979" fmla="*/ 758461 w 1638536"/>
              <a:gd name="connsiteY979" fmla="*/ 997929 h 1126102"/>
              <a:gd name="connsiteX980" fmla="*/ 763725 w 1638536"/>
              <a:gd name="connsiteY980" fmla="*/ 999086 h 1126102"/>
              <a:gd name="connsiteX981" fmla="*/ 767195 w 1638536"/>
              <a:gd name="connsiteY981" fmla="*/ 997061 h 1126102"/>
              <a:gd name="connsiteX982" fmla="*/ 772112 w 1638536"/>
              <a:gd name="connsiteY982" fmla="*/ 994054 h 1126102"/>
              <a:gd name="connsiteX983" fmla="*/ 778475 w 1638536"/>
              <a:gd name="connsiteY983" fmla="*/ 995731 h 1126102"/>
              <a:gd name="connsiteX984" fmla="*/ 786631 w 1638536"/>
              <a:gd name="connsiteY984" fmla="*/ 997813 h 1126102"/>
              <a:gd name="connsiteX985" fmla="*/ 791374 w 1638536"/>
              <a:gd name="connsiteY985" fmla="*/ 996599 h 1126102"/>
              <a:gd name="connsiteX986" fmla="*/ 798084 w 1638536"/>
              <a:gd name="connsiteY986" fmla="*/ 994748 h 1126102"/>
              <a:gd name="connsiteX987" fmla="*/ 803290 w 1638536"/>
              <a:gd name="connsiteY987" fmla="*/ 995673 h 1126102"/>
              <a:gd name="connsiteX988" fmla="*/ 806124 w 1638536"/>
              <a:gd name="connsiteY988" fmla="*/ 996251 h 1126102"/>
              <a:gd name="connsiteX989" fmla="*/ 809306 w 1638536"/>
              <a:gd name="connsiteY989" fmla="*/ 993822 h 1126102"/>
              <a:gd name="connsiteX990" fmla="*/ 829956 w 1638536"/>
              <a:gd name="connsiteY990" fmla="*/ 978609 h 1126102"/>
              <a:gd name="connsiteX991" fmla="*/ 832617 w 1638536"/>
              <a:gd name="connsiteY991" fmla="*/ 979535 h 1126102"/>
              <a:gd name="connsiteX992" fmla="*/ 834236 w 1638536"/>
              <a:gd name="connsiteY992" fmla="*/ 981443 h 1126102"/>
              <a:gd name="connsiteX993" fmla="*/ 854598 w 1638536"/>
              <a:gd name="connsiteY993" fmla="*/ 991104 h 1126102"/>
              <a:gd name="connsiteX994" fmla="*/ 865126 w 1638536"/>
              <a:gd name="connsiteY994" fmla="*/ 995673 h 1126102"/>
              <a:gd name="connsiteX995" fmla="*/ 864374 w 1638536"/>
              <a:gd name="connsiteY995" fmla="*/ 1004176 h 1126102"/>
              <a:gd name="connsiteX996" fmla="*/ 863159 w 1638536"/>
              <a:gd name="connsiteY996" fmla="*/ 1008399 h 1126102"/>
              <a:gd name="connsiteX997" fmla="*/ 889131 w 1638536"/>
              <a:gd name="connsiteY997" fmla="*/ 1027719 h 1126102"/>
              <a:gd name="connsiteX998" fmla="*/ 894915 w 1638536"/>
              <a:gd name="connsiteY998" fmla="*/ 1032000 h 1126102"/>
              <a:gd name="connsiteX999" fmla="*/ 902088 w 1638536"/>
              <a:gd name="connsiteY999" fmla="*/ 1031305 h 1126102"/>
              <a:gd name="connsiteX1000" fmla="*/ 903881 w 1638536"/>
              <a:gd name="connsiteY1000" fmla="*/ 1031305 h 1126102"/>
              <a:gd name="connsiteX1001" fmla="*/ 910186 w 1638536"/>
              <a:gd name="connsiteY1001" fmla="*/ 1028471 h 1126102"/>
              <a:gd name="connsiteX1002" fmla="*/ 917359 w 1638536"/>
              <a:gd name="connsiteY1002" fmla="*/ 1023033 h 1126102"/>
              <a:gd name="connsiteX1003" fmla="*/ 927135 w 1638536"/>
              <a:gd name="connsiteY1003" fmla="*/ 1028818 h 1126102"/>
              <a:gd name="connsiteX1004" fmla="*/ 932919 w 1638536"/>
              <a:gd name="connsiteY1004" fmla="*/ 1033272 h 1126102"/>
              <a:gd name="connsiteX1005" fmla="*/ 941364 w 1638536"/>
              <a:gd name="connsiteY1005" fmla="*/ 1028587 h 1126102"/>
              <a:gd name="connsiteX1006" fmla="*/ 946281 w 1638536"/>
              <a:gd name="connsiteY1006" fmla="*/ 1026678 h 1126102"/>
              <a:gd name="connsiteX1007" fmla="*/ 1251525 w 1638536"/>
              <a:gd name="connsiteY1007" fmla="*/ 1014530 h 1126102"/>
              <a:gd name="connsiteX1008" fmla="*/ 1251525 w 1638536"/>
              <a:gd name="connsiteY1008" fmla="*/ 1014530 h 1126102"/>
              <a:gd name="connsiteX1009" fmla="*/ 1242270 w 1638536"/>
              <a:gd name="connsiteY1009" fmla="*/ 1007473 h 1126102"/>
              <a:gd name="connsiteX1010" fmla="*/ 1236486 w 1638536"/>
              <a:gd name="connsiteY1010" fmla="*/ 966115 h 1126102"/>
              <a:gd name="connsiteX1011" fmla="*/ 1279059 w 1638536"/>
              <a:gd name="connsiteY1011" fmla="*/ 924409 h 1126102"/>
              <a:gd name="connsiteX1012" fmla="*/ 1286926 w 1638536"/>
              <a:gd name="connsiteY1012" fmla="*/ 927764 h 1126102"/>
              <a:gd name="connsiteX1013" fmla="*/ 1287794 w 1638536"/>
              <a:gd name="connsiteY1013" fmla="*/ 937540 h 1126102"/>
              <a:gd name="connsiteX1014" fmla="*/ 1252740 w 1638536"/>
              <a:gd name="connsiteY1014" fmla="*/ 1014183 h 1126102"/>
              <a:gd name="connsiteX1015" fmla="*/ 1251641 w 1638536"/>
              <a:gd name="connsiteY1015" fmla="*/ 1014530 h 1126102"/>
              <a:gd name="connsiteX1016" fmla="*/ 1279059 w 1638536"/>
              <a:gd name="connsiteY1016" fmla="*/ 926723 h 1126102"/>
              <a:gd name="connsiteX1017" fmla="*/ 1238568 w 1638536"/>
              <a:gd name="connsiteY1017" fmla="*/ 966693 h 1126102"/>
              <a:gd name="connsiteX1018" fmla="*/ 1244006 w 1638536"/>
              <a:gd name="connsiteY1018" fmla="*/ 1006143 h 1126102"/>
              <a:gd name="connsiteX1019" fmla="*/ 1251467 w 1638536"/>
              <a:gd name="connsiteY1019" fmla="*/ 1012274 h 1126102"/>
              <a:gd name="connsiteX1020" fmla="*/ 1251467 w 1638536"/>
              <a:gd name="connsiteY1020" fmla="*/ 1012274 h 1126102"/>
              <a:gd name="connsiteX1021" fmla="*/ 1285422 w 1638536"/>
              <a:gd name="connsiteY1021" fmla="*/ 937077 h 1126102"/>
              <a:gd name="connsiteX1022" fmla="*/ 1285017 w 1638536"/>
              <a:gd name="connsiteY1022" fmla="*/ 928979 h 1126102"/>
              <a:gd name="connsiteX1023" fmla="*/ 1279175 w 1638536"/>
              <a:gd name="connsiteY1023" fmla="*/ 926723 h 112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Lst>
            <a:rect l="l" t="t" r="r" b="b"/>
            <a:pathLst>
              <a:path w="1638536" h="1126102">
                <a:moveTo>
                  <a:pt x="942116" y="1125939"/>
                </a:moveTo>
                <a:lnTo>
                  <a:pt x="942116" y="1125939"/>
                </a:lnTo>
                <a:cubicBezTo>
                  <a:pt x="933497" y="1126430"/>
                  <a:pt x="925399" y="1121687"/>
                  <a:pt x="921640" y="1113907"/>
                </a:cubicBezTo>
                <a:cubicBezTo>
                  <a:pt x="917938" y="1106769"/>
                  <a:pt x="918400" y="1098208"/>
                  <a:pt x="922738" y="1091463"/>
                </a:cubicBezTo>
                <a:cubicBezTo>
                  <a:pt x="928812" y="1082393"/>
                  <a:pt x="938530" y="1076430"/>
                  <a:pt x="949347" y="1075151"/>
                </a:cubicBezTo>
                <a:cubicBezTo>
                  <a:pt x="951950" y="1075151"/>
                  <a:pt x="955131" y="1075151"/>
                  <a:pt x="958775" y="1074746"/>
                </a:cubicBezTo>
                <a:cubicBezTo>
                  <a:pt x="962420" y="1074341"/>
                  <a:pt x="967105" y="1074226"/>
                  <a:pt x="971038" y="1074226"/>
                </a:cubicBezTo>
                <a:cubicBezTo>
                  <a:pt x="979426" y="1074226"/>
                  <a:pt x="983533" y="1075498"/>
                  <a:pt x="984343" y="1078390"/>
                </a:cubicBezTo>
                <a:cubicBezTo>
                  <a:pt x="985615" y="1082787"/>
                  <a:pt x="981624" y="1089034"/>
                  <a:pt x="977343" y="1095744"/>
                </a:cubicBezTo>
                <a:cubicBezTo>
                  <a:pt x="973815" y="1100319"/>
                  <a:pt x="971270" y="1105577"/>
                  <a:pt x="969824" y="1111188"/>
                </a:cubicBezTo>
                <a:cubicBezTo>
                  <a:pt x="969245" y="1118129"/>
                  <a:pt x="954726" y="1125939"/>
                  <a:pt x="942116" y="1125939"/>
                </a:cubicBezTo>
                <a:close/>
                <a:moveTo>
                  <a:pt x="971038" y="1076482"/>
                </a:moveTo>
                <a:cubicBezTo>
                  <a:pt x="967220" y="1076482"/>
                  <a:pt x="962998" y="1076482"/>
                  <a:pt x="958891" y="1077002"/>
                </a:cubicBezTo>
                <a:cubicBezTo>
                  <a:pt x="954784" y="1077523"/>
                  <a:pt x="952008" y="1077407"/>
                  <a:pt x="949347" y="1077407"/>
                </a:cubicBezTo>
                <a:cubicBezTo>
                  <a:pt x="939282" y="1078726"/>
                  <a:pt x="930316" y="1084285"/>
                  <a:pt x="924647" y="1092678"/>
                </a:cubicBezTo>
                <a:cubicBezTo>
                  <a:pt x="920656" y="1098746"/>
                  <a:pt x="920309" y="1106497"/>
                  <a:pt x="923664" y="1112924"/>
                </a:cubicBezTo>
                <a:cubicBezTo>
                  <a:pt x="927077" y="1119905"/>
                  <a:pt x="934365" y="1124145"/>
                  <a:pt x="942116" y="1123683"/>
                </a:cubicBezTo>
                <a:lnTo>
                  <a:pt x="942116" y="1123683"/>
                </a:lnTo>
                <a:cubicBezTo>
                  <a:pt x="954205" y="1123683"/>
                  <a:pt x="967163" y="1116221"/>
                  <a:pt x="967568" y="1110899"/>
                </a:cubicBezTo>
                <a:cubicBezTo>
                  <a:pt x="969014" y="1104901"/>
                  <a:pt x="971674" y="1099278"/>
                  <a:pt x="975492" y="1094413"/>
                </a:cubicBezTo>
                <a:cubicBezTo>
                  <a:pt x="979252" y="1088629"/>
                  <a:pt x="983128" y="1082382"/>
                  <a:pt x="982203" y="1079027"/>
                </a:cubicBezTo>
                <a:cubicBezTo>
                  <a:pt x="981913" y="1078043"/>
                  <a:pt x="980120" y="1076482"/>
                  <a:pt x="971038" y="1076482"/>
                </a:cubicBezTo>
                <a:close/>
                <a:moveTo>
                  <a:pt x="959469" y="1068384"/>
                </a:moveTo>
                <a:cubicBezTo>
                  <a:pt x="957561" y="1068170"/>
                  <a:pt x="955767" y="1067238"/>
                  <a:pt x="954495" y="1065780"/>
                </a:cubicBezTo>
                <a:cubicBezTo>
                  <a:pt x="949231" y="1060823"/>
                  <a:pt x="946108" y="1053986"/>
                  <a:pt x="945818" y="1046750"/>
                </a:cubicBezTo>
                <a:cubicBezTo>
                  <a:pt x="945702" y="1044303"/>
                  <a:pt x="946686" y="1041937"/>
                  <a:pt x="948479" y="1040271"/>
                </a:cubicBezTo>
                <a:cubicBezTo>
                  <a:pt x="950330" y="1037986"/>
                  <a:pt x="950735" y="1034868"/>
                  <a:pt x="949578" y="1032173"/>
                </a:cubicBezTo>
                <a:cubicBezTo>
                  <a:pt x="949231" y="1031190"/>
                  <a:pt x="948190" y="1028934"/>
                  <a:pt x="946166" y="1028934"/>
                </a:cubicBezTo>
                <a:cubicBezTo>
                  <a:pt x="944835" y="1029096"/>
                  <a:pt x="943620" y="1029709"/>
                  <a:pt x="942694" y="1030669"/>
                </a:cubicBezTo>
                <a:cubicBezTo>
                  <a:pt x="940092" y="1033555"/>
                  <a:pt x="936563" y="1035424"/>
                  <a:pt x="932745" y="1035933"/>
                </a:cubicBezTo>
                <a:cubicBezTo>
                  <a:pt x="929391" y="1035499"/>
                  <a:pt x="926498" y="1033289"/>
                  <a:pt x="925226" y="1030148"/>
                </a:cubicBezTo>
                <a:cubicBezTo>
                  <a:pt x="923606" y="1027268"/>
                  <a:pt x="920656" y="1025399"/>
                  <a:pt x="917359" y="1025174"/>
                </a:cubicBezTo>
                <a:cubicBezTo>
                  <a:pt x="914987" y="1025180"/>
                  <a:pt x="912905" y="1026799"/>
                  <a:pt x="912326" y="1029107"/>
                </a:cubicBezTo>
                <a:cubicBezTo>
                  <a:pt x="910880" y="1033446"/>
                  <a:pt x="906542" y="1033446"/>
                  <a:pt x="903881" y="1033446"/>
                </a:cubicBezTo>
                <a:lnTo>
                  <a:pt x="902030" y="1033446"/>
                </a:lnTo>
                <a:cubicBezTo>
                  <a:pt x="899659" y="1033208"/>
                  <a:pt x="897345" y="1033486"/>
                  <a:pt x="895089" y="1034255"/>
                </a:cubicBezTo>
                <a:cubicBezTo>
                  <a:pt x="894626" y="1034504"/>
                  <a:pt x="894048" y="1034377"/>
                  <a:pt x="893758" y="1033966"/>
                </a:cubicBezTo>
                <a:cubicBezTo>
                  <a:pt x="890750" y="1030496"/>
                  <a:pt x="889304" y="1029917"/>
                  <a:pt x="888784" y="1029859"/>
                </a:cubicBezTo>
                <a:cubicBezTo>
                  <a:pt x="881495" y="1028818"/>
                  <a:pt x="860903" y="1014762"/>
                  <a:pt x="860903" y="1008283"/>
                </a:cubicBezTo>
                <a:cubicBezTo>
                  <a:pt x="861018" y="1006531"/>
                  <a:pt x="861482" y="1004818"/>
                  <a:pt x="862291" y="1003251"/>
                </a:cubicBezTo>
                <a:cubicBezTo>
                  <a:pt x="863216" y="1000879"/>
                  <a:pt x="864200" y="998450"/>
                  <a:pt x="863159" y="996714"/>
                </a:cubicBezTo>
                <a:cubicBezTo>
                  <a:pt x="862118" y="994979"/>
                  <a:pt x="859168" y="993822"/>
                  <a:pt x="854309" y="993186"/>
                </a:cubicBezTo>
                <a:cubicBezTo>
                  <a:pt x="839443" y="991335"/>
                  <a:pt x="835278" y="986187"/>
                  <a:pt x="832501" y="982774"/>
                </a:cubicBezTo>
                <a:lnTo>
                  <a:pt x="831055" y="981039"/>
                </a:lnTo>
                <a:cubicBezTo>
                  <a:pt x="830766" y="980778"/>
                  <a:pt x="830361" y="980651"/>
                  <a:pt x="829956" y="980692"/>
                </a:cubicBezTo>
                <a:cubicBezTo>
                  <a:pt x="822263" y="983011"/>
                  <a:pt x="815611" y="988020"/>
                  <a:pt x="811272" y="994805"/>
                </a:cubicBezTo>
                <a:cubicBezTo>
                  <a:pt x="810405" y="996911"/>
                  <a:pt x="808380" y="998311"/>
                  <a:pt x="806124" y="998392"/>
                </a:cubicBezTo>
                <a:cubicBezTo>
                  <a:pt x="804968" y="998322"/>
                  <a:pt x="803753" y="998091"/>
                  <a:pt x="802654" y="997698"/>
                </a:cubicBezTo>
                <a:cubicBezTo>
                  <a:pt x="801150" y="997212"/>
                  <a:pt x="799646" y="996940"/>
                  <a:pt x="798084" y="996888"/>
                </a:cubicBezTo>
                <a:cubicBezTo>
                  <a:pt x="796059" y="996894"/>
                  <a:pt x="794035" y="997432"/>
                  <a:pt x="792299" y="998450"/>
                </a:cubicBezTo>
                <a:cubicBezTo>
                  <a:pt x="790564" y="999450"/>
                  <a:pt x="788540" y="999965"/>
                  <a:pt x="786515" y="999954"/>
                </a:cubicBezTo>
                <a:cubicBezTo>
                  <a:pt x="783392" y="999786"/>
                  <a:pt x="780384" y="999040"/>
                  <a:pt x="777549" y="997755"/>
                </a:cubicBezTo>
                <a:cubicBezTo>
                  <a:pt x="775698" y="996911"/>
                  <a:pt x="773789" y="996385"/>
                  <a:pt x="771765" y="996194"/>
                </a:cubicBezTo>
                <a:cubicBezTo>
                  <a:pt x="770493" y="996136"/>
                  <a:pt x="769335" y="996876"/>
                  <a:pt x="768815" y="998045"/>
                </a:cubicBezTo>
                <a:cubicBezTo>
                  <a:pt x="767773" y="1000087"/>
                  <a:pt x="765633" y="1001330"/>
                  <a:pt x="763377" y="1001226"/>
                </a:cubicBezTo>
                <a:cubicBezTo>
                  <a:pt x="761411" y="1001082"/>
                  <a:pt x="759444" y="1000654"/>
                  <a:pt x="757593" y="999954"/>
                </a:cubicBezTo>
                <a:cubicBezTo>
                  <a:pt x="755742" y="999277"/>
                  <a:pt x="753775" y="998866"/>
                  <a:pt x="751808" y="998739"/>
                </a:cubicBezTo>
                <a:cubicBezTo>
                  <a:pt x="750420" y="998687"/>
                  <a:pt x="749090" y="999283"/>
                  <a:pt x="748222" y="1000359"/>
                </a:cubicBezTo>
                <a:cubicBezTo>
                  <a:pt x="744405" y="1005038"/>
                  <a:pt x="738851" y="1007977"/>
                  <a:pt x="732836" y="1008515"/>
                </a:cubicBezTo>
                <a:cubicBezTo>
                  <a:pt x="731158" y="1008619"/>
                  <a:pt x="729480" y="1008058"/>
                  <a:pt x="728208" y="1006953"/>
                </a:cubicBezTo>
                <a:cubicBezTo>
                  <a:pt x="727688" y="1006953"/>
                  <a:pt x="726936" y="1007473"/>
                  <a:pt x="726068" y="1009556"/>
                </a:cubicBezTo>
                <a:cubicBezTo>
                  <a:pt x="724506" y="1013316"/>
                  <a:pt x="724217" y="1018059"/>
                  <a:pt x="725490" y="1019332"/>
                </a:cubicBezTo>
                <a:cubicBezTo>
                  <a:pt x="729307" y="1025469"/>
                  <a:pt x="730580" y="1032861"/>
                  <a:pt x="729018" y="1039924"/>
                </a:cubicBezTo>
                <a:cubicBezTo>
                  <a:pt x="728440" y="1041752"/>
                  <a:pt x="726762" y="1042996"/>
                  <a:pt x="724853" y="1042990"/>
                </a:cubicBezTo>
                <a:lnTo>
                  <a:pt x="723349" y="1042990"/>
                </a:lnTo>
                <a:cubicBezTo>
                  <a:pt x="719185" y="1041573"/>
                  <a:pt x="715829" y="1038432"/>
                  <a:pt x="714152" y="1034371"/>
                </a:cubicBezTo>
                <a:cubicBezTo>
                  <a:pt x="712648" y="1031768"/>
                  <a:pt x="711665" y="1030148"/>
                  <a:pt x="710276" y="1030148"/>
                </a:cubicBezTo>
                <a:cubicBezTo>
                  <a:pt x="709813" y="1030148"/>
                  <a:pt x="709409" y="1029935"/>
                  <a:pt x="709177" y="1029570"/>
                </a:cubicBezTo>
                <a:cubicBezTo>
                  <a:pt x="709004" y="1029113"/>
                  <a:pt x="708541" y="1028835"/>
                  <a:pt x="708020" y="1028876"/>
                </a:cubicBezTo>
                <a:cubicBezTo>
                  <a:pt x="705996" y="1029211"/>
                  <a:pt x="704029" y="1029877"/>
                  <a:pt x="702236" y="1030843"/>
                </a:cubicBezTo>
                <a:cubicBezTo>
                  <a:pt x="701022" y="1031363"/>
                  <a:pt x="699633" y="1032000"/>
                  <a:pt x="698071" y="1032578"/>
                </a:cubicBezTo>
                <a:cubicBezTo>
                  <a:pt x="691014" y="1035470"/>
                  <a:pt x="684999" y="1034718"/>
                  <a:pt x="681701" y="1030843"/>
                </a:cubicBezTo>
                <a:cubicBezTo>
                  <a:pt x="679735" y="1028448"/>
                  <a:pt x="678983" y="1025313"/>
                  <a:pt x="679561" y="1022281"/>
                </a:cubicBezTo>
                <a:cubicBezTo>
                  <a:pt x="679850" y="1021136"/>
                  <a:pt x="679561" y="1019922"/>
                  <a:pt x="678867" y="1018985"/>
                </a:cubicBezTo>
                <a:cubicBezTo>
                  <a:pt x="676611" y="1016324"/>
                  <a:pt x="670190" y="1016324"/>
                  <a:pt x="665563" y="1016324"/>
                </a:cubicBezTo>
                <a:cubicBezTo>
                  <a:pt x="664117" y="1016445"/>
                  <a:pt x="662671" y="1015809"/>
                  <a:pt x="661803" y="1014646"/>
                </a:cubicBezTo>
                <a:cubicBezTo>
                  <a:pt x="659489" y="1011407"/>
                  <a:pt x="661803" y="1004408"/>
                  <a:pt x="663943" y="998276"/>
                </a:cubicBezTo>
                <a:lnTo>
                  <a:pt x="664464" y="996656"/>
                </a:lnTo>
                <a:cubicBezTo>
                  <a:pt x="665389" y="994516"/>
                  <a:pt x="665216" y="992070"/>
                  <a:pt x="664059" y="990062"/>
                </a:cubicBezTo>
                <a:cubicBezTo>
                  <a:pt x="661861" y="987459"/>
                  <a:pt x="658563" y="985978"/>
                  <a:pt x="655151" y="986013"/>
                </a:cubicBezTo>
                <a:cubicBezTo>
                  <a:pt x="651622" y="985412"/>
                  <a:pt x="648672" y="982965"/>
                  <a:pt x="647400" y="979593"/>
                </a:cubicBezTo>
                <a:cubicBezTo>
                  <a:pt x="644392" y="974178"/>
                  <a:pt x="643813" y="967758"/>
                  <a:pt x="645780" y="961892"/>
                </a:cubicBezTo>
                <a:cubicBezTo>
                  <a:pt x="645954" y="961655"/>
                  <a:pt x="645954" y="961320"/>
                  <a:pt x="645780" y="961082"/>
                </a:cubicBezTo>
                <a:cubicBezTo>
                  <a:pt x="641557" y="957988"/>
                  <a:pt x="636351" y="956547"/>
                  <a:pt x="631145" y="957033"/>
                </a:cubicBezTo>
                <a:cubicBezTo>
                  <a:pt x="628137" y="956923"/>
                  <a:pt x="625130" y="957473"/>
                  <a:pt x="622353" y="958653"/>
                </a:cubicBezTo>
                <a:cubicBezTo>
                  <a:pt x="619345" y="960157"/>
                  <a:pt x="617552" y="959578"/>
                  <a:pt x="616916" y="958653"/>
                </a:cubicBezTo>
                <a:cubicBezTo>
                  <a:pt x="616280" y="957727"/>
                  <a:pt x="615932" y="955009"/>
                  <a:pt x="616222" y="952059"/>
                </a:cubicBezTo>
                <a:cubicBezTo>
                  <a:pt x="616800" y="949565"/>
                  <a:pt x="616800" y="946974"/>
                  <a:pt x="616222" y="944481"/>
                </a:cubicBezTo>
                <a:cubicBezTo>
                  <a:pt x="613387" y="937598"/>
                  <a:pt x="627790" y="916195"/>
                  <a:pt x="638897" y="905147"/>
                </a:cubicBezTo>
                <a:cubicBezTo>
                  <a:pt x="647400" y="896586"/>
                  <a:pt x="646532" y="885769"/>
                  <a:pt x="645722" y="875299"/>
                </a:cubicBezTo>
                <a:cubicBezTo>
                  <a:pt x="645722" y="872176"/>
                  <a:pt x="645202" y="868994"/>
                  <a:pt x="645202" y="865928"/>
                </a:cubicBezTo>
                <a:cubicBezTo>
                  <a:pt x="645202" y="853723"/>
                  <a:pt x="640863" y="853723"/>
                  <a:pt x="635426" y="853723"/>
                </a:cubicBezTo>
                <a:cubicBezTo>
                  <a:pt x="628195" y="853723"/>
                  <a:pt x="628195" y="842733"/>
                  <a:pt x="628195" y="837469"/>
                </a:cubicBezTo>
                <a:cubicBezTo>
                  <a:pt x="628195" y="832205"/>
                  <a:pt x="622411" y="828908"/>
                  <a:pt x="617147" y="828908"/>
                </a:cubicBezTo>
                <a:cubicBezTo>
                  <a:pt x="615238" y="828885"/>
                  <a:pt x="613387" y="829452"/>
                  <a:pt x="611825" y="830528"/>
                </a:cubicBezTo>
                <a:cubicBezTo>
                  <a:pt x="610321" y="831552"/>
                  <a:pt x="608759" y="832477"/>
                  <a:pt x="607140" y="833304"/>
                </a:cubicBezTo>
                <a:cubicBezTo>
                  <a:pt x="606909" y="833391"/>
                  <a:pt x="606619" y="833391"/>
                  <a:pt x="606388" y="833304"/>
                </a:cubicBezTo>
                <a:cubicBezTo>
                  <a:pt x="604017" y="832899"/>
                  <a:pt x="592042" y="830586"/>
                  <a:pt x="589844" y="823991"/>
                </a:cubicBezTo>
                <a:cubicBezTo>
                  <a:pt x="588514" y="820972"/>
                  <a:pt x="586721" y="818184"/>
                  <a:pt x="584523" y="815720"/>
                </a:cubicBezTo>
                <a:cubicBezTo>
                  <a:pt x="581689" y="812920"/>
                  <a:pt x="579722" y="809299"/>
                  <a:pt x="579027" y="805365"/>
                </a:cubicBezTo>
                <a:cubicBezTo>
                  <a:pt x="579027" y="803919"/>
                  <a:pt x="578449" y="803341"/>
                  <a:pt x="577003" y="803341"/>
                </a:cubicBezTo>
                <a:cubicBezTo>
                  <a:pt x="573185" y="803942"/>
                  <a:pt x="569599" y="805695"/>
                  <a:pt x="566822" y="808373"/>
                </a:cubicBezTo>
                <a:cubicBezTo>
                  <a:pt x="565376" y="809536"/>
                  <a:pt x="563526" y="810132"/>
                  <a:pt x="561674" y="810051"/>
                </a:cubicBezTo>
                <a:cubicBezTo>
                  <a:pt x="559187" y="809935"/>
                  <a:pt x="556700" y="809507"/>
                  <a:pt x="554329" y="808778"/>
                </a:cubicBezTo>
                <a:cubicBezTo>
                  <a:pt x="550973" y="807807"/>
                  <a:pt x="547560" y="807245"/>
                  <a:pt x="544090" y="807101"/>
                </a:cubicBezTo>
                <a:cubicBezTo>
                  <a:pt x="540677" y="807078"/>
                  <a:pt x="537264" y="807934"/>
                  <a:pt x="534256" y="809588"/>
                </a:cubicBezTo>
                <a:cubicBezTo>
                  <a:pt x="529339" y="812307"/>
                  <a:pt x="524769" y="815610"/>
                  <a:pt x="520663" y="819422"/>
                </a:cubicBezTo>
                <a:cubicBezTo>
                  <a:pt x="516672" y="822950"/>
                  <a:pt x="513895" y="825206"/>
                  <a:pt x="509846" y="824801"/>
                </a:cubicBezTo>
                <a:cubicBezTo>
                  <a:pt x="506838" y="824280"/>
                  <a:pt x="506028" y="825553"/>
                  <a:pt x="504409" y="828793"/>
                </a:cubicBezTo>
                <a:cubicBezTo>
                  <a:pt x="503309" y="831176"/>
                  <a:pt x="501805" y="833362"/>
                  <a:pt x="500013" y="835271"/>
                </a:cubicBezTo>
                <a:cubicBezTo>
                  <a:pt x="498451" y="836891"/>
                  <a:pt x="496889" y="838568"/>
                  <a:pt x="495443" y="840188"/>
                </a:cubicBezTo>
                <a:cubicBezTo>
                  <a:pt x="491856" y="844237"/>
                  <a:pt x="489080" y="847418"/>
                  <a:pt x="486304" y="847418"/>
                </a:cubicBezTo>
                <a:cubicBezTo>
                  <a:pt x="483122" y="848020"/>
                  <a:pt x="479998" y="849113"/>
                  <a:pt x="477164" y="850657"/>
                </a:cubicBezTo>
                <a:cubicBezTo>
                  <a:pt x="476817" y="850900"/>
                  <a:pt x="476296" y="850900"/>
                  <a:pt x="475949" y="850657"/>
                </a:cubicBezTo>
                <a:cubicBezTo>
                  <a:pt x="472131" y="846209"/>
                  <a:pt x="466694" y="843496"/>
                  <a:pt x="460852" y="843138"/>
                </a:cubicBezTo>
                <a:cubicBezTo>
                  <a:pt x="459348" y="843172"/>
                  <a:pt x="457844" y="843329"/>
                  <a:pt x="456340" y="843601"/>
                </a:cubicBezTo>
                <a:cubicBezTo>
                  <a:pt x="454836" y="843844"/>
                  <a:pt x="453274" y="844000"/>
                  <a:pt x="451712" y="844063"/>
                </a:cubicBezTo>
                <a:cubicBezTo>
                  <a:pt x="449225" y="844075"/>
                  <a:pt x="446795" y="843433"/>
                  <a:pt x="444655" y="842212"/>
                </a:cubicBezTo>
                <a:cubicBezTo>
                  <a:pt x="433838" y="836428"/>
                  <a:pt x="428632" y="834519"/>
                  <a:pt x="423484" y="838510"/>
                </a:cubicBezTo>
                <a:cubicBezTo>
                  <a:pt x="421691" y="839748"/>
                  <a:pt x="419725" y="840778"/>
                  <a:pt x="417700" y="841576"/>
                </a:cubicBezTo>
                <a:cubicBezTo>
                  <a:pt x="411395" y="843768"/>
                  <a:pt x="406478" y="848708"/>
                  <a:pt x="404280" y="854996"/>
                </a:cubicBezTo>
                <a:cubicBezTo>
                  <a:pt x="402602" y="859062"/>
                  <a:pt x="400462" y="862944"/>
                  <a:pt x="397975" y="866565"/>
                </a:cubicBezTo>
                <a:cubicBezTo>
                  <a:pt x="397744" y="866894"/>
                  <a:pt x="397397" y="867068"/>
                  <a:pt x="396992" y="867028"/>
                </a:cubicBezTo>
                <a:cubicBezTo>
                  <a:pt x="396587" y="866999"/>
                  <a:pt x="396240" y="866756"/>
                  <a:pt x="396066" y="866391"/>
                </a:cubicBezTo>
                <a:cubicBezTo>
                  <a:pt x="394099" y="862440"/>
                  <a:pt x="393521" y="857929"/>
                  <a:pt x="394447" y="853608"/>
                </a:cubicBezTo>
                <a:cubicBezTo>
                  <a:pt x="395430" y="849165"/>
                  <a:pt x="394505" y="844520"/>
                  <a:pt x="391959" y="840766"/>
                </a:cubicBezTo>
                <a:cubicBezTo>
                  <a:pt x="391439" y="839927"/>
                  <a:pt x="390629" y="839355"/>
                  <a:pt x="389645" y="839204"/>
                </a:cubicBezTo>
                <a:cubicBezTo>
                  <a:pt x="388893" y="839332"/>
                  <a:pt x="388199" y="839829"/>
                  <a:pt x="387852" y="840535"/>
                </a:cubicBezTo>
                <a:cubicBezTo>
                  <a:pt x="386348" y="842744"/>
                  <a:pt x="384208" y="844468"/>
                  <a:pt x="381721" y="845509"/>
                </a:cubicBezTo>
                <a:cubicBezTo>
                  <a:pt x="380622" y="845966"/>
                  <a:pt x="379638" y="846614"/>
                  <a:pt x="378771" y="847418"/>
                </a:cubicBezTo>
                <a:cubicBezTo>
                  <a:pt x="378540" y="847673"/>
                  <a:pt x="378250" y="847806"/>
                  <a:pt x="377903" y="847765"/>
                </a:cubicBezTo>
                <a:cubicBezTo>
                  <a:pt x="375878" y="847644"/>
                  <a:pt x="373796" y="847644"/>
                  <a:pt x="371772" y="847765"/>
                </a:cubicBezTo>
                <a:cubicBezTo>
                  <a:pt x="364309" y="847812"/>
                  <a:pt x="356906" y="846499"/>
                  <a:pt x="349906" y="843890"/>
                </a:cubicBezTo>
                <a:cubicBezTo>
                  <a:pt x="345510" y="842102"/>
                  <a:pt x="340767" y="841160"/>
                  <a:pt x="336024" y="841113"/>
                </a:cubicBezTo>
                <a:cubicBezTo>
                  <a:pt x="324455" y="841634"/>
                  <a:pt x="295070" y="829545"/>
                  <a:pt x="282575" y="819653"/>
                </a:cubicBezTo>
                <a:cubicBezTo>
                  <a:pt x="276791" y="815199"/>
                  <a:pt x="267652" y="808720"/>
                  <a:pt x="257703" y="801837"/>
                </a:cubicBezTo>
                <a:cubicBezTo>
                  <a:pt x="246944" y="794867"/>
                  <a:pt x="236647" y="787237"/>
                  <a:pt x="226813" y="778988"/>
                </a:cubicBezTo>
                <a:cubicBezTo>
                  <a:pt x="222823" y="774933"/>
                  <a:pt x="217501" y="772539"/>
                  <a:pt x="211832" y="772279"/>
                </a:cubicBezTo>
                <a:cubicBezTo>
                  <a:pt x="209171" y="772279"/>
                  <a:pt x="207205" y="773088"/>
                  <a:pt x="206857" y="774245"/>
                </a:cubicBezTo>
                <a:cubicBezTo>
                  <a:pt x="205585" y="778584"/>
                  <a:pt x="199916" y="779162"/>
                  <a:pt x="191240" y="780030"/>
                </a:cubicBezTo>
                <a:lnTo>
                  <a:pt x="189100" y="780030"/>
                </a:lnTo>
                <a:cubicBezTo>
                  <a:pt x="188694" y="780070"/>
                  <a:pt x="188290" y="779868"/>
                  <a:pt x="188058" y="779509"/>
                </a:cubicBezTo>
                <a:cubicBezTo>
                  <a:pt x="187826" y="779150"/>
                  <a:pt x="187826" y="778711"/>
                  <a:pt x="188058" y="778352"/>
                </a:cubicBezTo>
                <a:cubicBezTo>
                  <a:pt x="188290" y="778028"/>
                  <a:pt x="188406" y="777646"/>
                  <a:pt x="188463" y="777253"/>
                </a:cubicBezTo>
                <a:cubicBezTo>
                  <a:pt x="188463" y="774708"/>
                  <a:pt x="181811" y="769328"/>
                  <a:pt x="176895" y="766320"/>
                </a:cubicBezTo>
                <a:lnTo>
                  <a:pt x="176489" y="765916"/>
                </a:lnTo>
                <a:cubicBezTo>
                  <a:pt x="176489" y="765916"/>
                  <a:pt x="169201" y="752496"/>
                  <a:pt x="161334" y="752496"/>
                </a:cubicBezTo>
                <a:cubicBezTo>
                  <a:pt x="156244" y="752496"/>
                  <a:pt x="152021" y="747984"/>
                  <a:pt x="147972" y="743588"/>
                </a:cubicBezTo>
                <a:cubicBezTo>
                  <a:pt x="143923" y="739192"/>
                  <a:pt x="141609" y="736762"/>
                  <a:pt x="138486" y="736300"/>
                </a:cubicBezTo>
                <a:cubicBezTo>
                  <a:pt x="133164" y="735548"/>
                  <a:pt x="132065" y="729416"/>
                  <a:pt x="130966" y="723458"/>
                </a:cubicBezTo>
                <a:cubicBezTo>
                  <a:pt x="130676" y="720242"/>
                  <a:pt x="129693" y="717124"/>
                  <a:pt x="128074" y="714318"/>
                </a:cubicBezTo>
                <a:cubicBezTo>
                  <a:pt x="125644" y="710726"/>
                  <a:pt x="125239" y="706139"/>
                  <a:pt x="126975" y="702171"/>
                </a:cubicBezTo>
                <a:cubicBezTo>
                  <a:pt x="128826" y="698411"/>
                  <a:pt x="132759" y="697775"/>
                  <a:pt x="136172" y="700899"/>
                </a:cubicBezTo>
                <a:cubicBezTo>
                  <a:pt x="138023" y="702431"/>
                  <a:pt x="140337" y="703253"/>
                  <a:pt x="142708" y="703212"/>
                </a:cubicBezTo>
                <a:cubicBezTo>
                  <a:pt x="145947" y="703328"/>
                  <a:pt x="149013" y="701807"/>
                  <a:pt x="150922" y="699163"/>
                </a:cubicBezTo>
                <a:cubicBezTo>
                  <a:pt x="152137" y="697127"/>
                  <a:pt x="152137" y="694605"/>
                  <a:pt x="150922" y="692569"/>
                </a:cubicBezTo>
                <a:cubicBezTo>
                  <a:pt x="148551" y="688613"/>
                  <a:pt x="145947" y="684841"/>
                  <a:pt x="142997" y="681289"/>
                </a:cubicBezTo>
                <a:cubicBezTo>
                  <a:pt x="139411" y="677732"/>
                  <a:pt x="136866" y="673249"/>
                  <a:pt x="135652" y="668332"/>
                </a:cubicBezTo>
                <a:cubicBezTo>
                  <a:pt x="135825" y="666128"/>
                  <a:pt x="136172" y="663942"/>
                  <a:pt x="136692" y="661796"/>
                </a:cubicBezTo>
                <a:lnTo>
                  <a:pt x="137386" y="658383"/>
                </a:lnTo>
                <a:cubicBezTo>
                  <a:pt x="137444" y="657845"/>
                  <a:pt x="137965" y="657452"/>
                  <a:pt x="138486" y="657458"/>
                </a:cubicBezTo>
                <a:cubicBezTo>
                  <a:pt x="142361" y="657411"/>
                  <a:pt x="146237" y="657024"/>
                  <a:pt x="150055" y="656301"/>
                </a:cubicBezTo>
                <a:cubicBezTo>
                  <a:pt x="157227" y="654623"/>
                  <a:pt x="174117" y="630849"/>
                  <a:pt x="176489" y="624313"/>
                </a:cubicBezTo>
                <a:cubicBezTo>
                  <a:pt x="176663" y="622659"/>
                  <a:pt x="176143" y="621004"/>
                  <a:pt x="175043" y="619743"/>
                </a:cubicBezTo>
                <a:cubicBezTo>
                  <a:pt x="170011" y="612050"/>
                  <a:pt x="153872" y="600192"/>
                  <a:pt x="146121" y="599729"/>
                </a:cubicBezTo>
                <a:cubicBezTo>
                  <a:pt x="136866" y="599324"/>
                  <a:pt x="118761" y="608637"/>
                  <a:pt x="116273" y="616735"/>
                </a:cubicBezTo>
                <a:cubicBezTo>
                  <a:pt x="116158" y="617106"/>
                  <a:pt x="115869" y="617389"/>
                  <a:pt x="115463" y="617487"/>
                </a:cubicBezTo>
                <a:cubicBezTo>
                  <a:pt x="115059" y="617568"/>
                  <a:pt x="114654" y="617435"/>
                  <a:pt x="114422" y="617140"/>
                </a:cubicBezTo>
                <a:cubicBezTo>
                  <a:pt x="112629" y="615347"/>
                  <a:pt x="110720" y="613721"/>
                  <a:pt x="108638" y="612281"/>
                </a:cubicBezTo>
                <a:lnTo>
                  <a:pt x="98978" y="613265"/>
                </a:lnTo>
                <a:lnTo>
                  <a:pt x="98168" y="615231"/>
                </a:lnTo>
                <a:cubicBezTo>
                  <a:pt x="98053" y="615555"/>
                  <a:pt x="97763" y="615792"/>
                  <a:pt x="97416" y="615868"/>
                </a:cubicBezTo>
                <a:cubicBezTo>
                  <a:pt x="97127" y="616012"/>
                  <a:pt x="96780" y="616012"/>
                  <a:pt x="96491" y="615868"/>
                </a:cubicBezTo>
                <a:cubicBezTo>
                  <a:pt x="89723" y="611651"/>
                  <a:pt x="82608" y="607902"/>
                  <a:pt x="75320" y="604646"/>
                </a:cubicBezTo>
                <a:cubicBezTo>
                  <a:pt x="66585" y="600944"/>
                  <a:pt x="60916" y="592470"/>
                  <a:pt x="60743" y="583012"/>
                </a:cubicBezTo>
                <a:cubicBezTo>
                  <a:pt x="60743" y="581392"/>
                  <a:pt x="52876" y="575781"/>
                  <a:pt x="47150" y="571732"/>
                </a:cubicBezTo>
                <a:cubicBezTo>
                  <a:pt x="43505" y="569072"/>
                  <a:pt x="39687" y="566353"/>
                  <a:pt x="36275" y="563692"/>
                </a:cubicBezTo>
                <a:cubicBezTo>
                  <a:pt x="35927" y="563380"/>
                  <a:pt x="35754" y="562876"/>
                  <a:pt x="35927" y="562419"/>
                </a:cubicBezTo>
                <a:cubicBezTo>
                  <a:pt x="35985" y="562142"/>
                  <a:pt x="36217" y="561910"/>
                  <a:pt x="36448" y="561783"/>
                </a:cubicBezTo>
                <a:cubicBezTo>
                  <a:pt x="35696" y="556461"/>
                  <a:pt x="32226" y="533786"/>
                  <a:pt x="31242" y="526209"/>
                </a:cubicBezTo>
                <a:cubicBezTo>
                  <a:pt x="30432" y="519672"/>
                  <a:pt x="12038" y="512211"/>
                  <a:pt x="5039" y="509897"/>
                </a:cubicBezTo>
                <a:cubicBezTo>
                  <a:pt x="4634" y="509764"/>
                  <a:pt x="4345" y="509434"/>
                  <a:pt x="4287" y="509029"/>
                </a:cubicBezTo>
                <a:lnTo>
                  <a:pt x="64" y="485487"/>
                </a:lnTo>
                <a:cubicBezTo>
                  <a:pt x="-167" y="485128"/>
                  <a:pt x="-167" y="484688"/>
                  <a:pt x="64" y="484330"/>
                </a:cubicBezTo>
                <a:cubicBezTo>
                  <a:pt x="2898" y="480685"/>
                  <a:pt x="4402" y="476168"/>
                  <a:pt x="4287" y="471546"/>
                </a:cubicBezTo>
                <a:cubicBezTo>
                  <a:pt x="4287" y="465241"/>
                  <a:pt x="8509" y="464663"/>
                  <a:pt x="12617" y="464084"/>
                </a:cubicBezTo>
                <a:cubicBezTo>
                  <a:pt x="14179" y="463905"/>
                  <a:pt x="15682" y="463616"/>
                  <a:pt x="17186" y="463217"/>
                </a:cubicBezTo>
                <a:cubicBezTo>
                  <a:pt x="19963" y="462083"/>
                  <a:pt x="22450" y="460365"/>
                  <a:pt x="24474" y="458184"/>
                </a:cubicBezTo>
                <a:cubicBezTo>
                  <a:pt x="26557" y="455685"/>
                  <a:pt x="29449" y="454002"/>
                  <a:pt x="32688" y="453441"/>
                </a:cubicBezTo>
                <a:cubicBezTo>
                  <a:pt x="35060" y="453059"/>
                  <a:pt x="37258" y="452151"/>
                  <a:pt x="39225" y="450780"/>
                </a:cubicBezTo>
                <a:cubicBezTo>
                  <a:pt x="41655" y="449131"/>
                  <a:pt x="44431" y="448084"/>
                  <a:pt x="47323" y="447714"/>
                </a:cubicBezTo>
                <a:cubicBezTo>
                  <a:pt x="48017" y="447703"/>
                  <a:pt x="48711" y="447818"/>
                  <a:pt x="49406" y="448061"/>
                </a:cubicBezTo>
                <a:cubicBezTo>
                  <a:pt x="51198" y="448871"/>
                  <a:pt x="52876" y="449901"/>
                  <a:pt x="54380" y="451127"/>
                </a:cubicBezTo>
                <a:cubicBezTo>
                  <a:pt x="56520" y="453123"/>
                  <a:pt x="59181" y="454447"/>
                  <a:pt x="62073" y="454945"/>
                </a:cubicBezTo>
                <a:cubicBezTo>
                  <a:pt x="63288" y="454927"/>
                  <a:pt x="64387" y="454499"/>
                  <a:pt x="65313" y="453730"/>
                </a:cubicBezTo>
                <a:cubicBezTo>
                  <a:pt x="67048" y="452238"/>
                  <a:pt x="69131" y="451173"/>
                  <a:pt x="71386" y="450607"/>
                </a:cubicBezTo>
                <a:cubicBezTo>
                  <a:pt x="75551" y="449345"/>
                  <a:pt x="79138" y="446638"/>
                  <a:pt x="81451" y="442971"/>
                </a:cubicBezTo>
                <a:cubicBezTo>
                  <a:pt x="84864" y="437609"/>
                  <a:pt x="90764" y="434341"/>
                  <a:pt x="97127" y="434294"/>
                </a:cubicBezTo>
                <a:cubicBezTo>
                  <a:pt x="99556" y="434352"/>
                  <a:pt x="101986" y="434566"/>
                  <a:pt x="104415" y="434931"/>
                </a:cubicBezTo>
                <a:lnTo>
                  <a:pt x="107308" y="435278"/>
                </a:lnTo>
                <a:cubicBezTo>
                  <a:pt x="116100" y="436932"/>
                  <a:pt x="124835" y="432061"/>
                  <a:pt x="128016" y="423709"/>
                </a:cubicBezTo>
                <a:cubicBezTo>
                  <a:pt x="130966" y="419313"/>
                  <a:pt x="135536" y="416241"/>
                  <a:pt x="140742" y="415148"/>
                </a:cubicBezTo>
                <a:cubicBezTo>
                  <a:pt x="143865" y="414257"/>
                  <a:pt x="146815" y="412909"/>
                  <a:pt x="149534" y="411157"/>
                </a:cubicBezTo>
                <a:cubicBezTo>
                  <a:pt x="156880" y="406575"/>
                  <a:pt x="164631" y="402706"/>
                  <a:pt x="172671" y="399588"/>
                </a:cubicBezTo>
                <a:lnTo>
                  <a:pt x="174117" y="398951"/>
                </a:lnTo>
                <a:cubicBezTo>
                  <a:pt x="176258" y="398026"/>
                  <a:pt x="176085" y="394787"/>
                  <a:pt x="175621" y="389581"/>
                </a:cubicBezTo>
                <a:cubicBezTo>
                  <a:pt x="175621" y="387614"/>
                  <a:pt x="175275" y="385300"/>
                  <a:pt x="175275" y="383044"/>
                </a:cubicBezTo>
                <a:cubicBezTo>
                  <a:pt x="175275" y="377896"/>
                  <a:pt x="179787" y="373384"/>
                  <a:pt x="183836" y="369393"/>
                </a:cubicBezTo>
                <a:cubicBezTo>
                  <a:pt x="186149" y="367264"/>
                  <a:pt x="188116" y="364783"/>
                  <a:pt x="189620" y="362047"/>
                </a:cubicBezTo>
                <a:cubicBezTo>
                  <a:pt x="190835" y="359039"/>
                  <a:pt x="186901" y="351346"/>
                  <a:pt x="183836" y="345156"/>
                </a:cubicBezTo>
                <a:cubicBezTo>
                  <a:pt x="181348" y="341165"/>
                  <a:pt x="179613" y="336752"/>
                  <a:pt x="178687" y="332141"/>
                </a:cubicBezTo>
                <a:cubicBezTo>
                  <a:pt x="178687" y="326704"/>
                  <a:pt x="178687" y="312243"/>
                  <a:pt x="173250" y="309524"/>
                </a:cubicBezTo>
                <a:cubicBezTo>
                  <a:pt x="171167" y="308483"/>
                  <a:pt x="171283" y="306979"/>
                  <a:pt x="171457" y="306343"/>
                </a:cubicBezTo>
                <a:cubicBezTo>
                  <a:pt x="172498" y="301947"/>
                  <a:pt x="185571" y="296683"/>
                  <a:pt x="189273" y="296683"/>
                </a:cubicBezTo>
                <a:lnTo>
                  <a:pt x="190083" y="296683"/>
                </a:lnTo>
                <a:cubicBezTo>
                  <a:pt x="194421" y="296261"/>
                  <a:pt x="198643" y="295144"/>
                  <a:pt x="202635" y="293386"/>
                </a:cubicBezTo>
                <a:cubicBezTo>
                  <a:pt x="205759" y="291974"/>
                  <a:pt x="209056" y="291060"/>
                  <a:pt x="212410" y="290667"/>
                </a:cubicBezTo>
                <a:cubicBezTo>
                  <a:pt x="213741" y="290574"/>
                  <a:pt x="215014" y="291037"/>
                  <a:pt x="215939" y="291939"/>
                </a:cubicBezTo>
                <a:cubicBezTo>
                  <a:pt x="219063" y="295063"/>
                  <a:pt x="225425" y="296625"/>
                  <a:pt x="234739" y="296625"/>
                </a:cubicBezTo>
                <a:cubicBezTo>
                  <a:pt x="236590" y="296625"/>
                  <a:pt x="237688" y="296104"/>
                  <a:pt x="238094" y="295063"/>
                </a:cubicBezTo>
                <a:cubicBezTo>
                  <a:pt x="238325" y="291488"/>
                  <a:pt x="236821" y="288023"/>
                  <a:pt x="233987" y="285808"/>
                </a:cubicBezTo>
                <a:cubicBezTo>
                  <a:pt x="230805" y="283032"/>
                  <a:pt x="235143" y="271578"/>
                  <a:pt x="242663" y="253068"/>
                </a:cubicBezTo>
                <a:cubicBezTo>
                  <a:pt x="245671" y="246271"/>
                  <a:pt x="248274" y="239272"/>
                  <a:pt x="250357" y="232128"/>
                </a:cubicBezTo>
                <a:cubicBezTo>
                  <a:pt x="251051" y="229294"/>
                  <a:pt x="252265" y="225534"/>
                  <a:pt x="255794" y="225534"/>
                </a:cubicBezTo>
                <a:cubicBezTo>
                  <a:pt x="258050" y="225847"/>
                  <a:pt x="260190" y="226674"/>
                  <a:pt x="262041" y="227964"/>
                </a:cubicBezTo>
                <a:cubicBezTo>
                  <a:pt x="264470" y="229578"/>
                  <a:pt x="267189" y="230700"/>
                  <a:pt x="270082" y="231261"/>
                </a:cubicBezTo>
                <a:cubicBezTo>
                  <a:pt x="273552" y="231591"/>
                  <a:pt x="277081" y="231747"/>
                  <a:pt x="280609" y="231724"/>
                </a:cubicBezTo>
                <a:cubicBezTo>
                  <a:pt x="285699" y="231296"/>
                  <a:pt x="290790" y="231943"/>
                  <a:pt x="295590" y="233633"/>
                </a:cubicBezTo>
                <a:cubicBezTo>
                  <a:pt x="296574" y="234020"/>
                  <a:pt x="297673" y="234194"/>
                  <a:pt x="298714" y="234153"/>
                </a:cubicBezTo>
                <a:cubicBezTo>
                  <a:pt x="306755" y="233702"/>
                  <a:pt x="314275" y="230254"/>
                  <a:pt x="319885" y="224493"/>
                </a:cubicBezTo>
                <a:cubicBezTo>
                  <a:pt x="321447" y="222064"/>
                  <a:pt x="320695" y="220675"/>
                  <a:pt x="319249" y="217899"/>
                </a:cubicBezTo>
                <a:cubicBezTo>
                  <a:pt x="316704" y="213462"/>
                  <a:pt x="315489" y="208378"/>
                  <a:pt x="315778" y="203264"/>
                </a:cubicBezTo>
                <a:cubicBezTo>
                  <a:pt x="316415" y="188225"/>
                  <a:pt x="325786" y="181457"/>
                  <a:pt x="334809" y="181457"/>
                </a:cubicBezTo>
                <a:cubicBezTo>
                  <a:pt x="344932" y="181457"/>
                  <a:pt x="345452" y="169888"/>
                  <a:pt x="345452" y="167517"/>
                </a:cubicBezTo>
                <a:cubicBezTo>
                  <a:pt x="345800" y="163994"/>
                  <a:pt x="347419" y="160702"/>
                  <a:pt x="349906" y="158203"/>
                </a:cubicBezTo>
                <a:cubicBezTo>
                  <a:pt x="352104" y="155705"/>
                  <a:pt x="353840" y="152795"/>
                  <a:pt x="354939" y="149642"/>
                </a:cubicBezTo>
                <a:cubicBezTo>
                  <a:pt x="354997" y="149238"/>
                  <a:pt x="355344" y="148919"/>
                  <a:pt x="355749" y="148833"/>
                </a:cubicBezTo>
                <a:cubicBezTo>
                  <a:pt x="356154" y="148705"/>
                  <a:pt x="356559" y="148850"/>
                  <a:pt x="356790" y="149180"/>
                </a:cubicBezTo>
                <a:cubicBezTo>
                  <a:pt x="358409" y="151164"/>
                  <a:pt x="360665" y="152535"/>
                  <a:pt x="363153" y="153055"/>
                </a:cubicBezTo>
                <a:cubicBezTo>
                  <a:pt x="365177" y="153177"/>
                  <a:pt x="367260" y="153483"/>
                  <a:pt x="369227" y="153981"/>
                </a:cubicBezTo>
                <a:cubicBezTo>
                  <a:pt x="370788" y="154270"/>
                  <a:pt x="372350" y="154617"/>
                  <a:pt x="373738" y="154733"/>
                </a:cubicBezTo>
                <a:cubicBezTo>
                  <a:pt x="374201" y="154797"/>
                  <a:pt x="374548" y="155144"/>
                  <a:pt x="374664" y="155601"/>
                </a:cubicBezTo>
                <a:lnTo>
                  <a:pt x="375011" y="156642"/>
                </a:lnTo>
                <a:cubicBezTo>
                  <a:pt x="375300" y="157376"/>
                  <a:pt x="375474" y="158128"/>
                  <a:pt x="375590" y="158898"/>
                </a:cubicBezTo>
                <a:cubicBezTo>
                  <a:pt x="376110" y="167366"/>
                  <a:pt x="380969" y="174955"/>
                  <a:pt x="388489" y="178912"/>
                </a:cubicBezTo>
                <a:cubicBezTo>
                  <a:pt x="390687" y="180248"/>
                  <a:pt x="392827" y="181758"/>
                  <a:pt x="394794" y="183424"/>
                </a:cubicBezTo>
                <a:cubicBezTo>
                  <a:pt x="402718" y="190307"/>
                  <a:pt x="410007" y="196034"/>
                  <a:pt x="418741" y="196554"/>
                </a:cubicBezTo>
                <a:cubicBezTo>
                  <a:pt x="428401" y="197190"/>
                  <a:pt x="441879" y="208412"/>
                  <a:pt x="443267" y="216568"/>
                </a:cubicBezTo>
                <a:cubicBezTo>
                  <a:pt x="445755" y="224551"/>
                  <a:pt x="450671" y="231544"/>
                  <a:pt x="457381" y="236525"/>
                </a:cubicBezTo>
                <a:cubicBezTo>
                  <a:pt x="461026" y="239359"/>
                  <a:pt x="459637" y="245548"/>
                  <a:pt x="458018" y="252721"/>
                </a:cubicBezTo>
                <a:cubicBezTo>
                  <a:pt x="456976" y="256672"/>
                  <a:pt x="456340" y="260727"/>
                  <a:pt x="456166" y="264810"/>
                </a:cubicBezTo>
                <a:cubicBezTo>
                  <a:pt x="455935" y="268761"/>
                  <a:pt x="454316" y="272498"/>
                  <a:pt x="451539" y="275338"/>
                </a:cubicBezTo>
                <a:cubicBezTo>
                  <a:pt x="448705" y="278925"/>
                  <a:pt x="446680" y="281470"/>
                  <a:pt x="449803" y="286560"/>
                </a:cubicBezTo>
                <a:cubicBezTo>
                  <a:pt x="455588" y="295931"/>
                  <a:pt x="497525" y="301079"/>
                  <a:pt x="510366" y="301079"/>
                </a:cubicBezTo>
                <a:cubicBezTo>
                  <a:pt x="517481" y="301432"/>
                  <a:pt x="523960" y="305099"/>
                  <a:pt x="527951" y="310970"/>
                </a:cubicBezTo>
                <a:cubicBezTo>
                  <a:pt x="529397" y="312590"/>
                  <a:pt x="530728" y="314036"/>
                  <a:pt x="531595" y="314210"/>
                </a:cubicBezTo>
                <a:cubicBezTo>
                  <a:pt x="535240" y="315048"/>
                  <a:pt x="538421" y="317241"/>
                  <a:pt x="540504" y="320341"/>
                </a:cubicBezTo>
                <a:cubicBezTo>
                  <a:pt x="542586" y="323384"/>
                  <a:pt x="545652" y="325582"/>
                  <a:pt x="549238" y="326530"/>
                </a:cubicBezTo>
                <a:cubicBezTo>
                  <a:pt x="560807" y="328844"/>
                  <a:pt x="568211" y="336653"/>
                  <a:pt x="571277" y="350247"/>
                </a:cubicBezTo>
                <a:cubicBezTo>
                  <a:pt x="572954" y="357471"/>
                  <a:pt x="576541" y="364129"/>
                  <a:pt x="581573" y="369567"/>
                </a:cubicBezTo>
                <a:cubicBezTo>
                  <a:pt x="584118" y="372060"/>
                  <a:pt x="586085" y="375079"/>
                  <a:pt x="587357" y="378417"/>
                </a:cubicBezTo>
                <a:cubicBezTo>
                  <a:pt x="587820" y="380383"/>
                  <a:pt x="590654" y="381309"/>
                  <a:pt x="596554" y="381309"/>
                </a:cubicBezTo>
                <a:cubicBezTo>
                  <a:pt x="598984" y="381309"/>
                  <a:pt x="601703" y="381309"/>
                  <a:pt x="604537" y="381020"/>
                </a:cubicBezTo>
                <a:cubicBezTo>
                  <a:pt x="607371" y="380731"/>
                  <a:pt x="611015" y="380673"/>
                  <a:pt x="614255" y="380673"/>
                </a:cubicBezTo>
                <a:cubicBezTo>
                  <a:pt x="616684" y="380644"/>
                  <a:pt x="619172" y="380783"/>
                  <a:pt x="621601" y="381078"/>
                </a:cubicBezTo>
                <a:cubicBezTo>
                  <a:pt x="628542" y="381945"/>
                  <a:pt x="642136" y="381945"/>
                  <a:pt x="655324" y="381945"/>
                </a:cubicBezTo>
                <a:cubicBezTo>
                  <a:pt x="665794" y="381668"/>
                  <a:pt x="676264" y="381957"/>
                  <a:pt x="686733" y="382813"/>
                </a:cubicBezTo>
                <a:cubicBezTo>
                  <a:pt x="689337" y="383276"/>
                  <a:pt x="692865" y="383449"/>
                  <a:pt x="696914" y="383738"/>
                </a:cubicBezTo>
                <a:cubicBezTo>
                  <a:pt x="709062" y="384490"/>
                  <a:pt x="725836" y="385474"/>
                  <a:pt x="736480" y="393572"/>
                </a:cubicBezTo>
                <a:cubicBezTo>
                  <a:pt x="740587" y="397008"/>
                  <a:pt x="745735" y="398894"/>
                  <a:pt x="751056" y="398894"/>
                </a:cubicBezTo>
                <a:cubicBezTo>
                  <a:pt x="752387" y="398894"/>
                  <a:pt x="753660" y="398894"/>
                  <a:pt x="754932" y="398894"/>
                </a:cubicBezTo>
                <a:cubicBezTo>
                  <a:pt x="756205" y="398894"/>
                  <a:pt x="757304" y="398894"/>
                  <a:pt x="758518" y="398894"/>
                </a:cubicBezTo>
                <a:cubicBezTo>
                  <a:pt x="761237" y="398824"/>
                  <a:pt x="763956" y="399524"/>
                  <a:pt x="766327" y="400918"/>
                </a:cubicBezTo>
                <a:cubicBezTo>
                  <a:pt x="772633" y="405407"/>
                  <a:pt x="780094" y="407941"/>
                  <a:pt x="787846" y="408207"/>
                </a:cubicBezTo>
                <a:cubicBezTo>
                  <a:pt x="789754" y="408201"/>
                  <a:pt x="791721" y="408068"/>
                  <a:pt x="793630" y="407802"/>
                </a:cubicBezTo>
                <a:cubicBezTo>
                  <a:pt x="794555" y="407721"/>
                  <a:pt x="795481" y="407721"/>
                  <a:pt x="796407" y="407802"/>
                </a:cubicBezTo>
                <a:cubicBezTo>
                  <a:pt x="800976" y="407831"/>
                  <a:pt x="805199" y="409965"/>
                  <a:pt x="807976" y="413586"/>
                </a:cubicBezTo>
                <a:cubicBezTo>
                  <a:pt x="809768" y="416027"/>
                  <a:pt x="812372" y="417762"/>
                  <a:pt x="815322" y="418503"/>
                </a:cubicBezTo>
                <a:cubicBezTo>
                  <a:pt x="815726" y="418561"/>
                  <a:pt x="816131" y="418561"/>
                  <a:pt x="816536" y="418503"/>
                </a:cubicBezTo>
                <a:cubicBezTo>
                  <a:pt x="821106" y="418503"/>
                  <a:pt x="828105" y="414107"/>
                  <a:pt x="836377" y="408611"/>
                </a:cubicBezTo>
                <a:cubicBezTo>
                  <a:pt x="844591" y="403041"/>
                  <a:pt x="853209" y="398095"/>
                  <a:pt x="862118" y="393803"/>
                </a:cubicBezTo>
                <a:cubicBezTo>
                  <a:pt x="871199" y="389795"/>
                  <a:pt x="881091" y="387816"/>
                  <a:pt x="891040" y="388019"/>
                </a:cubicBezTo>
                <a:cubicBezTo>
                  <a:pt x="900179" y="388216"/>
                  <a:pt x="909319" y="389205"/>
                  <a:pt x="918284" y="390969"/>
                </a:cubicBezTo>
                <a:lnTo>
                  <a:pt x="924069" y="391952"/>
                </a:lnTo>
                <a:cubicBezTo>
                  <a:pt x="925341" y="392143"/>
                  <a:pt x="926556" y="392236"/>
                  <a:pt x="927829" y="392241"/>
                </a:cubicBezTo>
                <a:cubicBezTo>
                  <a:pt x="944835" y="391299"/>
                  <a:pt x="960800" y="383744"/>
                  <a:pt x="972311" y="371186"/>
                </a:cubicBezTo>
                <a:cubicBezTo>
                  <a:pt x="977922" y="365240"/>
                  <a:pt x="984863" y="360647"/>
                  <a:pt x="992499" y="357766"/>
                </a:cubicBezTo>
                <a:cubicBezTo>
                  <a:pt x="999556" y="354643"/>
                  <a:pt x="1004646" y="352387"/>
                  <a:pt x="1005514" y="345445"/>
                </a:cubicBezTo>
                <a:cubicBezTo>
                  <a:pt x="1005861" y="340164"/>
                  <a:pt x="1004183" y="334947"/>
                  <a:pt x="1000886" y="330811"/>
                </a:cubicBezTo>
                <a:cubicBezTo>
                  <a:pt x="997704" y="325778"/>
                  <a:pt x="994465" y="320572"/>
                  <a:pt x="998630" y="313458"/>
                </a:cubicBezTo>
                <a:cubicBezTo>
                  <a:pt x="1001812" y="307147"/>
                  <a:pt x="1008348" y="303196"/>
                  <a:pt x="1015405" y="303277"/>
                </a:cubicBezTo>
                <a:cubicBezTo>
                  <a:pt x="1019280" y="303335"/>
                  <a:pt x="1023040" y="304260"/>
                  <a:pt x="1026511" y="305996"/>
                </a:cubicBezTo>
                <a:cubicBezTo>
                  <a:pt x="1032411" y="308714"/>
                  <a:pt x="1038832" y="310114"/>
                  <a:pt x="1045310" y="310103"/>
                </a:cubicBezTo>
                <a:cubicBezTo>
                  <a:pt x="1053930" y="310166"/>
                  <a:pt x="1062317" y="307540"/>
                  <a:pt x="1069316" y="302583"/>
                </a:cubicBezTo>
                <a:cubicBezTo>
                  <a:pt x="1078860" y="295046"/>
                  <a:pt x="1090603" y="290875"/>
                  <a:pt x="1102750" y="290725"/>
                </a:cubicBezTo>
                <a:cubicBezTo>
                  <a:pt x="1105064" y="290725"/>
                  <a:pt x="1107551" y="290378"/>
                  <a:pt x="1110328" y="290031"/>
                </a:cubicBezTo>
                <a:cubicBezTo>
                  <a:pt x="1117443" y="289655"/>
                  <a:pt x="1123689" y="285120"/>
                  <a:pt x="1126235" y="278462"/>
                </a:cubicBezTo>
                <a:cubicBezTo>
                  <a:pt x="1128433" y="274465"/>
                  <a:pt x="1131152" y="270768"/>
                  <a:pt x="1134275" y="267471"/>
                </a:cubicBezTo>
                <a:cubicBezTo>
                  <a:pt x="1143299" y="258239"/>
                  <a:pt x="1155677" y="253045"/>
                  <a:pt x="1168577" y="253068"/>
                </a:cubicBezTo>
                <a:cubicBezTo>
                  <a:pt x="1173493" y="252629"/>
                  <a:pt x="1178295" y="251379"/>
                  <a:pt x="1182806" y="249366"/>
                </a:cubicBezTo>
                <a:cubicBezTo>
                  <a:pt x="1187954" y="247122"/>
                  <a:pt x="1193392" y="245751"/>
                  <a:pt x="1199003" y="245317"/>
                </a:cubicBezTo>
                <a:cubicBezTo>
                  <a:pt x="1200738" y="245311"/>
                  <a:pt x="1202473" y="245589"/>
                  <a:pt x="1204093" y="246127"/>
                </a:cubicBezTo>
                <a:cubicBezTo>
                  <a:pt x="1209183" y="247868"/>
                  <a:pt x="1214447" y="248828"/>
                  <a:pt x="1219827" y="248961"/>
                </a:cubicBezTo>
                <a:cubicBezTo>
                  <a:pt x="1224339" y="248961"/>
                  <a:pt x="1229834" y="247978"/>
                  <a:pt x="1230759" y="243177"/>
                </a:cubicBezTo>
                <a:cubicBezTo>
                  <a:pt x="1231685" y="238376"/>
                  <a:pt x="1220058" y="228542"/>
                  <a:pt x="1210687" y="220733"/>
                </a:cubicBezTo>
                <a:cubicBezTo>
                  <a:pt x="1205366" y="216626"/>
                  <a:pt x="1200391" y="212097"/>
                  <a:pt x="1195821" y="207198"/>
                </a:cubicBezTo>
                <a:cubicBezTo>
                  <a:pt x="1193218" y="203785"/>
                  <a:pt x="1189112" y="201778"/>
                  <a:pt x="1184831" y="201760"/>
                </a:cubicBezTo>
                <a:cubicBezTo>
                  <a:pt x="1179047" y="201749"/>
                  <a:pt x="1173725" y="205144"/>
                  <a:pt x="1171353" y="210437"/>
                </a:cubicBezTo>
                <a:cubicBezTo>
                  <a:pt x="1170312" y="213040"/>
                  <a:pt x="1168750" y="214313"/>
                  <a:pt x="1166668" y="214313"/>
                </a:cubicBezTo>
                <a:cubicBezTo>
                  <a:pt x="1164354" y="214029"/>
                  <a:pt x="1162156" y="213260"/>
                  <a:pt x="1160190" y="212057"/>
                </a:cubicBezTo>
                <a:cubicBezTo>
                  <a:pt x="1155157" y="209297"/>
                  <a:pt x="1149604" y="207770"/>
                  <a:pt x="1143877" y="207603"/>
                </a:cubicBezTo>
                <a:cubicBezTo>
                  <a:pt x="1139539" y="207620"/>
                  <a:pt x="1135258" y="208366"/>
                  <a:pt x="1131152" y="209801"/>
                </a:cubicBezTo>
                <a:cubicBezTo>
                  <a:pt x="1129300" y="210483"/>
                  <a:pt x="1127334" y="210911"/>
                  <a:pt x="1125367" y="211073"/>
                </a:cubicBezTo>
                <a:cubicBezTo>
                  <a:pt x="1121318" y="210645"/>
                  <a:pt x="1117616" y="208551"/>
                  <a:pt x="1115186" y="205289"/>
                </a:cubicBezTo>
                <a:cubicBezTo>
                  <a:pt x="1111716" y="201818"/>
                  <a:pt x="1110328" y="198579"/>
                  <a:pt x="1111137" y="195687"/>
                </a:cubicBezTo>
                <a:cubicBezTo>
                  <a:pt x="1111947" y="192794"/>
                  <a:pt x="1116921" y="189902"/>
                  <a:pt x="1118483" y="189497"/>
                </a:cubicBezTo>
                <a:lnTo>
                  <a:pt x="1120103" y="176193"/>
                </a:lnTo>
                <a:lnTo>
                  <a:pt x="1120103" y="175846"/>
                </a:lnTo>
                <a:lnTo>
                  <a:pt x="1141968" y="132116"/>
                </a:lnTo>
                <a:cubicBezTo>
                  <a:pt x="1142257" y="131601"/>
                  <a:pt x="1142894" y="131375"/>
                  <a:pt x="1143415" y="131595"/>
                </a:cubicBezTo>
                <a:cubicBezTo>
                  <a:pt x="1146249" y="132370"/>
                  <a:pt x="1148679" y="134244"/>
                  <a:pt x="1150125" y="136801"/>
                </a:cubicBezTo>
                <a:cubicBezTo>
                  <a:pt x="1151802" y="140619"/>
                  <a:pt x="1164586" y="143742"/>
                  <a:pt x="1172047" y="143742"/>
                </a:cubicBezTo>
                <a:cubicBezTo>
                  <a:pt x="1173147" y="143783"/>
                  <a:pt x="1174245" y="143667"/>
                  <a:pt x="1175345" y="143395"/>
                </a:cubicBezTo>
                <a:cubicBezTo>
                  <a:pt x="1178757" y="141729"/>
                  <a:pt x="1182054" y="139797"/>
                  <a:pt x="1185178" y="137611"/>
                </a:cubicBezTo>
                <a:cubicBezTo>
                  <a:pt x="1190152" y="134077"/>
                  <a:pt x="1195648" y="131289"/>
                  <a:pt x="1201433" y="129339"/>
                </a:cubicBezTo>
                <a:cubicBezTo>
                  <a:pt x="1205539" y="128593"/>
                  <a:pt x="1209183" y="126320"/>
                  <a:pt x="1211670" y="122976"/>
                </a:cubicBezTo>
                <a:cubicBezTo>
                  <a:pt x="1212596" y="121733"/>
                  <a:pt x="1212943" y="120148"/>
                  <a:pt x="1212596" y="118638"/>
                </a:cubicBezTo>
                <a:cubicBezTo>
                  <a:pt x="1211497" y="114762"/>
                  <a:pt x="1215778" y="107590"/>
                  <a:pt x="1219885" y="100649"/>
                </a:cubicBezTo>
                <a:cubicBezTo>
                  <a:pt x="1222198" y="97236"/>
                  <a:pt x="1224107" y="93592"/>
                  <a:pt x="1225669" y="89774"/>
                </a:cubicBezTo>
                <a:cubicBezTo>
                  <a:pt x="1227231" y="83642"/>
                  <a:pt x="1238568" y="65074"/>
                  <a:pt x="1243022" y="63165"/>
                </a:cubicBezTo>
                <a:cubicBezTo>
                  <a:pt x="1247476" y="61256"/>
                  <a:pt x="1255111" y="54547"/>
                  <a:pt x="1254591" y="50671"/>
                </a:cubicBezTo>
                <a:cubicBezTo>
                  <a:pt x="1251873" y="33318"/>
                  <a:pt x="1248807" y="32219"/>
                  <a:pt x="1247650" y="32219"/>
                </a:cubicBezTo>
                <a:lnTo>
                  <a:pt x="1246146" y="32219"/>
                </a:lnTo>
                <a:cubicBezTo>
                  <a:pt x="1244122" y="32219"/>
                  <a:pt x="1240362" y="32219"/>
                  <a:pt x="1239088" y="29616"/>
                </a:cubicBezTo>
                <a:cubicBezTo>
                  <a:pt x="1237816" y="27013"/>
                  <a:pt x="1239088" y="22559"/>
                  <a:pt x="1244353" y="15849"/>
                </a:cubicBezTo>
                <a:cubicBezTo>
                  <a:pt x="1250831" y="7502"/>
                  <a:pt x="1261070" y="2926"/>
                  <a:pt x="1271598" y="3644"/>
                </a:cubicBezTo>
                <a:cubicBezTo>
                  <a:pt x="1274374" y="3644"/>
                  <a:pt x="1276687" y="3644"/>
                  <a:pt x="1278249" y="3991"/>
                </a:cubicBezTo>
                <a:lnTo>
                  <a:pt x="1279985" y="3991"/>
                </a:lnTo>
                <a:cubicBezTo>
                  <a:pt x="1281951" y="3782"/>
                  <a:pt x="1283861" y="3470"/>
                  <a:pt x="1285769" y="3065"/>
                </a:cubicBezTo>
                <a:cubicBezTo>
                  <a:pt x="1294446" y="1284"/>
                  <a:pt x="1303180" y="219"/>
                  <a:pt x="1312031" y="-116"/>
                </a:cubicBezTo>
                <a:cubicBezTo>
                  <a:pt x="1314923" y="-197"/>
                  <a:pt x="1317815" y="109"/>
                  <a:pt x="1320592" y="809"/>
                </a:cubicBezTo>
                <a:cubicBezTo>
                  <a:pt x="1324640" y="1885"/>
                  <a:pt x="1328863" y="2296"/>
                  <a:pt x="1333028" y="2024"/>
                </a:cubicBezTo>
                <a:lnTo>
                  <a:pt x="1335341" y="2024"/>
                </a:lnTo>
                <a:cubicBezTo>
                  <a:pt x="1340953" y="1821"/>
                  <a:pt x="1346564" y="3100"/>
                  <a:pt x="1351538" y="5726"/>
                </a:cubicBezTo>
                <a:cubicBezTo>
                  <a:pt x="1357496" y="8450"/>
                  <a:pt x="1363859" y="10134"/>
                  <a:pt x="1370395" y="10701"/>
                </a:cubicBezTo>
                <a:cubicBezTo>
                  <a:pt x="1376990" y="11684"/>
                  <a:pt x="1382658" y="12494"/>
                  <a:pt x="1385030" y="15791"/>
                </a:cubicBezTo>
                <a:cubicBezTo>
                  <a:pt x="1386997" y="17937"/>
                  <a:pt x="1389311" y="19770"/>
                  <a:pt x="1391855" y="21228"/>
                </a:cubicBezTo>
                <a:cubicBezTo>
                  <a:pt x="1397640" y="24988"/>
                  <a:pt x="1404755" y="29731"/>
                  <a:pt x="1402962" y="36904"/>
                </a:cubicBezTo>
                <a:cubicBezTo>
                  <a:pt x="1402094" y="40548"/>
                  <a:pt x="1402962" y="41416"/>
                  <a:pt x="1405622" y="43267"/>
                </a:cubicBezTo>
                <a:cubicBezTo>
                  <a:pt x="1411465" y="47588"/>
                  <a:pt x="1415167" y="54194"/>
                  <a:pt x="1415861" y="61430"/>
                </a:cubicBezTo>
                <a:cubicBezTo>
                  <a:pt x="1417191" y="69765"/>
                  <a:pt x="1420835" y="77563"/>
                  <a:pt x="1426388" y="83931"/>
                </a:cubicBezTo>
                <a:cubicBezTo>
                  <a:pt x="1429050" y="86696"/>
                  <a:pt x="1431016" y="90046"/>
                  <a:pt x="1432173" y="93707"/>
                </a:cubicBezTo>
                <a:cubicBezTo>
                  <a:pt x="1433908" y="99035"/>
                  <a:pt x="1436280" y="104154"/>
                  <a:pt x="1439114" y="108978"/>
                </a:cubicBezTo>
                <a:cubicBezTo>
                  <a:pt x="1443279" y="116903"/>
                  <a:pt x="1446923" y="123786"/>
                  <a:pt x="1445882" y="127430"/>
                </a:cubicBezTo>
                <a:cubicBezTo>
                  <a:pt x="1444379" y="130664"/>
                  <a:pt x="1444379" y="134378"/>
                  <a:pt x="1445882" y="137611"/>
                </a:cubicBezTo>
                <a:cubicBezTo>
                  <a:pt x="1448254" y="140162"/>
                  <a:pt x="1451609" y="141521"/>
                  <a:pt x="1455080" y="141313"/>
                </a:cubicBezTo>
                <a:cubicBezTo>
                  <a:pt x="1462252" y="142111"/>
                  <a:pt x="1469135" y="144564"/>
                  <a:pt x="1475151" y="148486"/>
                </a:cubicBezTo>
                <a:cubicBezTo>
                  <a:pt x="1476887" y="149718"/>
                  <a:pt x="1478853" y="150614"/>
                  <a:pt x="1480936" y="151146"/>
                </a:cubicBezTo>
                <a:lnTo>
                  <a:pt x="1480936" y="151146"/>
                </a:lnTo>
                <a:cubicBezTo>
                  <a:pt x="1481630" y="150834"/>
                  <a:pt x="1482324" y="150695"/>
                  <a:pt x="1483076" y="150742"/>
                </a:cubicBezTo>
                <a:cubicBezTo>
                  <a:pt x="1493025" y="152193"/>
                  <a:pt x="1502280" y="156630"/>
                  <a:pt x="1509684" y="163467"/>
                </a:cubicBezTo>
                <a:cubicBezTo>
                  <a:pt x="1512808" y="166389"/>
                  <a:pt x="1516684" y="168384"/>
                  <a:pt x="1520906" y="169252"/>
                </a:cubicBezTo>
                <a:cubicBezTo>
                  <a:pt x="1525534" y="170524"/>
                  <a:pt x="1529930" y="171681"/>
                  <a:pt x="1529409" y="177581"/>
                </a:cubicBezTo>
                <a:cubicBezTo>
                  <a:pt x="1529351" y="181833"/>
                  <a:pt x="1530335" y="186032"/>
                  <a:pt x="1532359" y="189786"/>
                </a:cubicBezTo>
                <a:cubicBezTo>
                  <a:pt x="1534152" y="193246"/>
                  <a:pt x="1535136" y="197098"/>
                  <a:pt x="1535078" y="201008"/>
                </a:cubicBezTo>
                <a:cubicBezTo>
                  <a:pt x="1534962" y="202281"/>
                  <a:pt x="1535425" y="203530"/>
                  <a:pt x="1536350" y="204421"/>
                </a:cubicBezTo>
                <a:cubicBezTo>
                  <a:pt x="1541962" y="208771"/>
                  <a:pt x="1548903" y="210963"/>
                  <a:pt x="1555960" y="210610"/>
                </a:cubicBezTo>
                <a:cubicBezTo>
                  <a:pt x="1557464" y="210616"/>
                  <a:pt x="1558968" y="210501"/>
                  <a:pt x="1560414" y="210263"/>
                </a:cubicBezTo>
                <a:cubicBezTo>
                  <a:pt x="1563884" y="209887"/>
                  <a:pt x="1567413" y="209887"/>
                  <a:pt x="1570884" y="210263"/>
                </a:cubicBezTo>
                <a:cubicBezTo>
                  <a:pt x="1576668" y="210668"/>
                  <a:pt x="1580891" y="211073"/>
                  <a:pt x="1583783" y="205231"/>
                </a:cubicBezTo>
                <a:cubicBezTo>
                  <a:pt x="1586675" y="199389"/>
                  <a:pt x="1594774" y="197885"/>
                  <a:pt x="1601541" y="197190"/>
                </a:cubicBezTo>
                <a:cubicBezTo>
                  <a:pt x="1604723" y="197208"/>
                  <a:pt x="1607904" y="196496"/>
                  <a:pt x="1610796" y="195108"/>
                </a:cubicBezTo>
                <a:cubicBezTo>
                  <a:pt x="1614903" y="192430"/>
                  <a:pt x="1619646" y="190926"/>
                  <a:pt x="1624505" y="190770"/>
                </a:cubicBezTo>
                <a:cubicBezTo>
                  <a:pt x="1627282" y="190596"/>
                  <a:pt x="1630001" y="191585"/>
                  <a:pt x="1632025" y="193489"/>
                </a:cubicBezTo>
                <a:cubicBezTo>
                  <a:pt x="1633934" y="195791"/>
                  <a:pt x="1634801" y="198793"/>
                  <a:pt x="1634397" y="201760"/>
                </a:cubicBezTo>
                <a:cubicBezTo>
                  <a:pt x="1634165" y="206405"/>
                  <a:pt x="1635091" y="211038"/>
                  <a:pt x="1637057" y="215238"/>
                </a:cubicBezTo>
                <a:cubicBezTo>
                  <a:pt x="1638619" y="219114"/>
                  <a:pt x="1639892" y="222122"/>
                  <a:pt x="1634686" y="225245"/>
                </a:cubicBezTo>
                <a:cubicBezTo>
                  <a:pt x="1628207" y="229121"/>
                  <a:pt x="1624216" y="245028"/>
                  <a:pt x="1621844" y="254572"/>
                </a:cubicBezTo>
                <a:lnTo>
                  <a:pt x="1620630" y="259315"/>
                </a:lnTo>
                <a:cubicBezTo>
                  <a:pt x="1619010" y="263538"/>
                  <a:pt x="1616176" y="267159"/>
                  <a:pt x="1612416" y="269669"/>
                </a:cubicBezTo>
                <a:cubicBezTo>
                  <a:pt x="1608541" y="272070"/>
                  <a:pt x="1605706" y="275824"/>
                  <a:pt x="1604491" y="280197"/>
                </a:cubicBezTo>
                <a:cubicBezTo>
                  <a:pt x="1603507" y="284726"/>
                  <a:pt x="1600615" y="288631"/>
                  <a:pt x="1596624" y="290956"/>
                </a:cubicBezTo>
                <a:cubicBezTo>
                  <a:pt x="1593790" y="293154"/>
                  <a:pt x="1591592" y="294890"/>
                  <a:pt x="1591592" y="297782"/>
                </a:cubicBezTo>
                <a:cubicBezTo>
                  <a:pt x="1591592" y="299801"/>
                  <a:pt x="1590435" y="301652"/>
                  <a:pt x="1588642" y="302525"/>
                </a:cubicBezTo>
                <a:cubicBezTo>
                  <a:pt x="1586675" y="303468"/>
                  <a:pt x="1584477" y="303907"/>
                  <a:pt x="1582279" y="303798"/>
                </a:cubicBezTo>
                <a:lnTo>
                  <a:pt x="1582279" y="303798"/>
                </a:lnTo>
                <a:cubicBezTo>
                  <a:pt x="1576321" y="303722"/>
                  <a:pt x="1570537" y="301958"/>
                  <a:pt x="1565562" y="298707"/>
                </a:cubicBezTo>
                <a:cubicBezTo>
                  <a:pt x="1564694" y="298083"/>
                  <a:pt x="1563653" y="297741"/>
                  <a:pt x="1562612" y="297724"/>
                </a:cubicBezTo>
                <a:cubicBezTo>
                  <a:pt x="1559488" y="297724"/>
                  <a:pt x="1556133" y="300790"/>
                  <a:pt x="1552894" y="303798"/>
                </a:cubicBezTo>
                <a:cubicBezTo>
                  <a:pt x="1549655" y="306806"/>
                  <a:pt x="1546647" y="309582"/>
                  <a:pt x="1543639" y="309582"/>
                </a:cubicBezTo>
                <a:cubicBezTo>
                  <a:pt x="1542714" y="309541"/>
                  <a:pt x="1541846" y="310004"/>
                  <a:pt x="1541325" y="310797"/>
                </a:cubicBezTo>
                <a:cubicBezTo>
                  <a:pt x="1539127" y="316119"/>
                  <a:pt x="1538896" y="322030"/>
                  <a:pt x="1540631" y="327514"/>
                </a:cubicBezTo>
                <a:cubicBezTo>
                  <a:pt x="1541152" y="330152"/>
                  <a:pt x="1541152" y="332859"/>
                  <a:pt x="1540631" y="335496"/>
                </a:cubicBezTo>
                <a:cubicBezTo>
                  <a:pt x="1539822" y="340378"/>
                  <a:pt x="1540342" y="345388"/>
                  <a:pt x="1542077" y="350015"/>
                </a:cubicBezTo>
                <a:cubicBezTo>
                  <a:pt x="1543350" y="354567"/>
                  <a:pt x="1543870" y="359299"/>
                  <a:pt x="1543581" y="364014"/>
                </a:cubicBezTo>
                <a:cubicBezTo>
                  <a:pt x="1543581" y="367773"/>
                  <a:pt x="1543581" y="372054"/>
                  <a:pt x="1544102" y="376450"/>
                </a:cubicBezTo>
                <a:cubicBezTo>
                  <a:pt x="1544160" y="376843"/>
                  <a:pt x="1543986" y="377231"/>
                  <a:pt x="1543639" y="377433"/>
                </a:cubicBezTo>
                <a:cubicBezTo>
                  <a:pt x="1541441" y="378995"/>
                  <a:pt x="1539243" y="380731"/>
                  <a:pt x="1536987" y="382466"/>
                </a:cubicBezTo>
                <a:cubicBezTo>
                  <a:pt x="1536640" y="382674"/>
                  <a:pt x="1536177" y="382674"/>
                  <a:pt x="1535830" y="382466"/>
                </a:cubicBezTo>
                <a:cubicBezTo>
                  <a:pt x="1533806" y="381326"/>
                  <a:pt x="1531434" y="380956"/>
                  <a:pt x="1529178" y="381425"/>
                </a:cubicBezTo>
                <a:cubicBezTo>
                  <a:pt x="1527847" y="381870"/>
                  <a:pt x="1526517" y="382101"/>
                  <a:pt x="1525129" y="382119"/>
                </a:cubicBezTo>
                <a:cubicBezTo>
                  <a:pt x="1521137" y="381777"/>
                  <a:pt x="1517436" y="379990"/>
                  <a:pt x="1514717" y="377086"/>
                </a:cubicBezTo>
                <a:cubicBezTo>
                  <a:pt x="1512403" y="374622"/>
                  <a:pt x="1509280" y="373049"/>
                  <a:pt x="1505924" y="372632"/>
                </a:cubicBezTo>
                <a:cubicBezTo>
                  <a:pt x="1502338" y="372632"/>
                  <a:pt x="1500777" y="377433"/>
                  <a:pt x="1499099" y="382466"/>
                </a:cubicBezTo>
                <a:cubicBezTo>
                  <a:pt x="1497421" y="387498"/>
                  <a:pt x="1495339" y="394035"/>
                  <a:pt x="1490133" y="394035"/>
                </a:cubicBezTo>
                <a:cubicBezTo>
                  <a:pt x="1486547" y="394035"/>
                  <a:pt x="1484985" y="396406"/>
                  <a:pt x="1483018" y="399356"/>
                </a:cubicBezTo>
                <a:cubicBezTo>
                  <a:pt x="1480588" y="404036"/>
                  <a:pt x="1476077" y="407264"/>
                  <a:pt x="1470871" y="408033"/>
                </a:cubicBezTo>
                <a:lnTo>
                  <a:pt x="1469077" y="408322"/>
                </a:lnTo>
                <a:cubicBezTo>
                  <a:pt x="1463640" y="409074"/>
                  <a:pt x="1459707" y="409653"/>
                  <a:pt x="1459013" y="411041"/>
                </a:cubicBezTo>
                <a:cubicBezTo>
                  <a:pt x="1458318" y="412429"/>
                  <a:pt x="1459938" y="414974"/>
                  <a:pt x="1461153" y="416825"/>
                </a:cubicBezTo>
                <a:cubicBezTo>
                  <a:pt x="1462368" y="418676"/>
                  <a:pt x="1463178" y="420643"/>
                  <a:pt x="1462136" y="422610"/>
                </a:cubicBezTo>
                <a:cubicBezTo>
                  <a:pt x="1461095" y="424577"/>
                  <a:pt x="1458434" y="424692"/>
                  <a:pt x="1455947" y="424692"/>
                </a:cubicBezTo>
                <a:cubicBezTo>
                  <a:pt x="1453460" y="424692"/>
                  <a:pt x="1452129" y="424692"/>
                  <a:pt x="1450163" y="424403"/>
                </a:cubicBezTo>
                <a:cubicBezTo>
                  <a:pt x="1448196" y="424114"/>
                  <a:pt x="1445188" y="423998"/>
                  <a:pt x="1442759" y="423998"/>
                </a:cubicBezTo>
                <a:cubicBezTo>
                  <a:pt x="1438478" y="424160"/>
                  <a:pt x="1434313" y="422621"/>
                  <a:pt x="1431190" y="419717"/>
                </a:cubicBezTo>
                <a:cubicBezTo>
                  <a:pt x="1429628" y="418005"/>
                  <a:pt x="1427372" y="417005"/>
                  <a:pt x="1425058" y="416941"/>
                </a:cubicBezTo>
                <a:cubicBezTo>
                  <a:pt x="1420489" y="416941"/>
                  <a:pt x="1416323" y="423593"/>
                  <a:pt x="1412621" y="429493"/>
                </a:cubicBezTo>
                <a:cubicBezTo>
                  <a:pt x="1411175" y="431749"/>
                  <a:pt x="1409787" y="433947"/>
                  <a:pt x="1408399" y="435856"/>
                </a:cubicBezTo>
                <a:cubicBezTo>
                  <a:pt x="1404234" y="441351"/>
                  <a:pt x="1384625" y="451069"/>
                  <a:pt x="1364843" y="460556"/>
                </a:cubicBezTo>
                <a:lnTo>
                  <a:pt x="1356975" y="464316"/>
                </a:lnTo>
                <a:cubicBezTo>
                  <a:pt x="1353389" y="467283"/>
                  <a:pt x="1350844" y="471349"/>
                  <a:pt x="1349803" y="475884"/>
                </a:cubicBezTo>
                <a:cubicBezTo>
                  <a:pt x="1349630" y="476301"/>
                  <a:pt x="1349224" y="476573"/>
                  <a:pt x="1348762" y="476579"/>
                </a:cubicBezTo>
                <a:lnTo>
                  <a:pt x="1348762" y="476579"/>
                </a:lnTo>
                <a:cubicBezTo>
                  <a:pt x="1344481" y="476168"/>
                  <a:pt x="1340143" y="476723"/>
                  <a:pt x="1336093" y="478198"/>
                </a:cubicBezTo>
                <a:cubicBezTo>
                  <a:pt x="1318567" y="486077"/>
                  <a:pt x="1301734" y="495482"/>
                  <a:pt x="1285827" y="506310"/>
                </a:cubicBezTo>
                <a:cubicBezTo>
                  <a:pt x="1280389" y="510221"/>
                  <a:pt x="1273969" y="512656"/>
                  <a:pt x="1267317" y="513367"/>
                </a:cubicBezTo>
                <a:cubicBezTo>
                  <a:pt x="1264193" y="513367"/>
                  <a:pt x="1263036" y="512211"/>
                  <a:pt x="1262632" y="511169"/>
                </a:cubicBezTo>
                <a:cubicBezTo>
                  <a:pt x="1262226" y="510128"/>
                  <a:pt x="1262632" y="507352"/>
                  <a:pt x="1265466" y="504922"/>
                </a:cubicBezTo>
                <a:cubicBezTo>
                  <a:pt x="1268416" y="502759"/>
                  <a:pt x="1269573" y="498929"/>
                  <a:pt x="1268358" y="495494"/>
                </a:cubicBezTo>
                <a:cubicBezTo>
                  <a:pt x="1267317" y="491786"/>
                  <a:pt x="1267664" y="487835"/>
                  <a:pt x="1269226" y="484330"/>
                </a:cubicBezTo>
                <a:cubicBezTo>
                  <a:pt x="1271829" y="480003"/>
                  <a:pt x="1275068" y="476104"/>
                  <a:pt x="1278885" y="472761"/>
                </a:cubicBezTo>
                <a:cubicBezTo>
                  <a:pt x="1284670" y="466571"/>
                  <a:pt x="1291669" y="459630"/>
                  <a:pt x="1291322" y="454019"/>
                </a:cubicBezTo>
                <a:cubicBezTo>
                  <a:pt x="1291091" y="451856"/>
                  <a:pt x="1289934" y="449907"/>
                  <a:pt x="1288141" y="448698"/>
                </a:cubicBezTo>
                <a:cubicBezTo>
                  <a:pt x="1285075" y="446187"/>
                  <a:pt x="1281199" y="444822"/>
                  <a:pt x="1277208" y="444822"/>
                </a:cubicBezTo>
                <a:cubicBezTo>
                  <a:pt x="1267490" y="444822"/>
                  <a:pt x="1255459" y="452631"/>
                  <a:pt x="1243254" y="466745"/>
                </a:cubicBezTo>
                <a:cubicBezTo>
                  <a:pt x="1238626" y="472703"/>
                  <a:pt x="1231801" y="476474"/>
                  <a:pt x="1224281" y="477157"/>
                </a:cubicBezTo>
                <a:cubicBezTo>
                  <a:pt x="1218901" y="477967"/>
                  <a:pt x="1214968" y="478603"/>
                  <a:pt x="1211555" y="488726"/>
                </a:cubicBezTo>
                <a:cubicBezTo>
                  <a:pt x="1210109" y="496246"/>
                  <a:pt x="1203457" y="501643"/>
                  <a:pt x="1195821" y="501509"/>
                </a:cubicBezTo>
                <a:cubicBezTo>
                  <a:pt x="1192813" y="501417"/>
                  <a:pt x="1189806" y="501070"/>
                  <a:pt x="1186856" y="500468"/>
                </a:cubicBezTo>
                <a:cubicBezTo>
                  <a:pt x="1183558" y="499629"/>
                  <a:pt x="1180146" y="499334"/>
                  <a:pt x="1176733" y="499600"/>
                </a:cubicBezTo>
                <a:cubicBezTo>
                  <a:pt x="1171295" y="500410"/>
                  <a:pt x="1166263" y="511169"/>
                  <a:pt x="1166957" y="520714"/>
                </a:cubicBezTo>
                <a:cubicBezTo>
                  <a:pt x="1166957" y="524647"/>
                  <a:pt x="1168808" y="531241"/>
                  <a:pt x="1176328" y="531241"/>
                </a:cubicBezTo>
                <a:lnTo>
                  <a:pt x="1176906" y="531241"/>
                </a:lnTo>
                <a:cubicBezTo>
                  <a:pt x="1181360" y="531241"/>
                  <a:pt x="1185294" y="530894"/>
                  <a:pt x="1188996" y="530894"/>
                </a:cubicBezTo>
                <a:cubicBezTo>
                  <a:pt x="1199003" y="530894"/>
                  <a:pt x="1204151" y="532225"/>
                  <a:pt x="1206349" y="535290"/>
                </a:cubicBezTo>
                <a:cubicBezTo>
                  <a:pt x="1207622" y="537535"/>
                  <a:pt x="1207622" y="540277"/>
                  <a:pt x="1206349" y="542521"/>
                </a:cubicBezTo>
                <a:cubicBezTo>
                  <a:pt x="1204382" y="547982"/>
                  <a:pt x="1205134" y="554049"/>
                  <a:pt x="1208316" y="558891"/>
                </a:cubicBezTo>
                <a:cubicBezTo>
                  <a:pt x="1211034" y="563605"/>
                  <a:pt x="1216934" y="565364"/>
                  <a:pt x="1221793" y="562882"/>
                </a:cubicBezTo>
                <a:cubicBezTo>
                  <a:pt x="1227751" y="559250"/>
                  <a:pt x="1233131" y="554744"/>
                  <a:pt x="1237758" y="549520"/>
                </a:cubicBezTo>
                <a:cubicBezTo>
                  <a:pt x="1244584" y="542752"/>
                  <a:pt x="1250426" y="536852"/>
                  <a:pt x="1255111" y="536852"/>
                </a:cubicBezTo>
                <a:cubicBezTo>
                  <a:pt x="1256963" y="536870"/>
                  <a:pt x="1258640" y="537859"/>
                  <a:pt x="1259566" y="539455"/>
                </a:cubicBezTo>
                <a:cubicBezTo>
                  <a:pt x="1263962" y="546264"/>
                  <a:pt x="1271482" y="550428"/>
                  <a:pt x="1279579" y="550561"/>
                </a:cubicBezTo>
                <a:cubicBezTo>
                  <a:pt x="1281431" y="550561"/>
                  <a:pt x="1283224" y="550330"/>
                  <a:pt x="1285017" y="549867"/>
                </a:cubicBezTo>
                <a:cubicBezTo>
                  <a:pt x="1285769" y="549682"/>
                  <a:pt x="1286579" y="549584"/>
                  <a:pt x="1287389" y="549578"/>
                </a:cubicBezTo>
                <a:cubicBezTo>
                  <a:pt x="1294677" y="550353"/>
                  <a:pt x="1300924" y="555154"/>
                  <a:pt x="1303585" y="562015"/>
                </a:cubicBezTo>
                <a:cubicBezTo>
                  <a:pt x="1304800" y="564565"/>
                  <a:pt x="1303990" y="567625"/>
                  <a:pt x="1301676" y="569245"/>
                </a:cubicBezTo>
                <a:cubicBezTo>
                  <a:pt x="1296586" y="571836"/>
                  <a:pt x="1291033" y="573445"/>
                  <a:pt x="1285307" y="573988"/>
                </a:cubicBezTo>
                <a:cubicBezTo>
                  <a:pt x="1280216" y="574324"/>
                  <a:pt x="1275241" y="575828"/>
                  <a:pt x="1270788" y="578385"/>
                </a:cubicBezTo>
                <a:cubicBezTo>
                  <a:pt x="1268763" y="580264"/>
                  <a:pt x="1266102" y="581259"/>
                  <a:pt x="1263326" y="581161"/>
                </a:cubicBezTo>
                <a:cubicBezTo>
                  <a:pt x="1259508" y="580860"/>
                  <a:pt x="1255921" y="583052"/>
                  <a:pt x="1254417" y="586598"/>
                </a:cubicBezTo>
                <a:cubicBezTo>
                  <a:pt x="1250021" y="595680"/>
                  <a:pt x="1244931" y="599151"/>
                  <a:pt x="1238163" y="597705"/>
                </a:cubicBezTo>
                <a:cubicBezTo>
                  <a:pt x="1237006" y="597705"/>
                  <a:pt x="1236775" y="597705"/>
                  <a:pt x="1236023" y="600365"/>
                </a:cubicBezTo>
                <a:cubicBezTo>
                  <a:pt x="1234866" y="605699"/>
                  <a:pt x="1231107" y="610077"/>
                  <a:pt x="1225958" y="611934"/>
                </a:cubicBezTo>
                <a:cubicBezTo>
                  <a:pt x="1219769" y="614520"/>
                  <a:pt x="1215026" y="619703"/>
                  <a:pt x="1213001" y="626106"/>
                </a:cubicBezTo>
                <a:cubicBezTo>
                  <a:pt x="1211786" y="629230"/>
                  <a:pt x="1211960" y="632735"/>
                  <a:pt x="1213522" y="635708"/>
                </a:cubicBezTo>
                <a:cubicBezTo>
                  <a:pt x="1216240" y="638369"/>
                  <a:pt x="1219538" y="640347"/>
                  <a:pt x="1223124" y="641493"/>
                </a:cubicBezTo>
                <a:cubicBezTo>
                  <a:pt x="1228909" y="644096"/>
                  <a:pt x="1235850" y="647277"/>
                  <a:pt x="1237874" y="653062"/>
                </a:cubicBezTo>
                <a:cubicBezTo>
                  <a:pt x="1241056" y="662259"/>
                  <a:pt x="1250715" y="682678"/>
                  <a:pt x="1254823" y="685628"/>
                </a:cubicBezTo>
                <a:cubicBezTo>
                  <a:pt x="1257310" y="687421"/>
                  <a:pt x="1257021" y="690197"/>
                  <a:pt x="1256789" y="692916"/>
                </a:cubicBezTo>
                <a:cubicBezTo>
                  <a:pt x="1255863" y="696317"/>
                  <a:pt x="1256963" y="699956"/>
                  <a:pt x="1259681" y="702229"/>
                </a:cubicBezTo>
                <a:cubicBezTo>
                  <a:pt x="1268532" y="709055"/>
                  <a:pt x="1283340" y="721434"/>
                  <a:pt x="1283687" y="727276"/>
                </a:cubicBezTo>
                <a:cubicBezTo>
                  <a:pt x="1283803" y="728178"/>
                  <a:pt x="1283455" y="729069"/>
                  <a:pt x="1282819" y="729705"/>
                </a:cubicBezTo>
                <a:cubicBezTo>
                  <a:pt x="1279117" y="733523"/>
                  <a:pt x="1270382" y="731903"/>
                  <a:pt x="1257310" y="725078"/>
                </a:cubicBezTo>
                <a:cubicBezTo>
                  <a:pt x="1254649" y="723834"/>
                  <a:pt x="1251757" y="723221"/>
                  <a:pt x="1248865" y="723285"/>
                </a:cubicBezTo>
                <a:cubicBezTo>
                  <a:pt x="1247071" y="723261"/>
                  <a:pt x="1245220" y="723458"/>
                  <a:pt x="1243485" y="723863"/>
                </a:cubicBezTo>
                <a:cubicBezTo>
                  <a:pt x="1247650" y="724499"/>
                  <a:pt x="1251699" y="728895"/>
                  <a:pt x="1255575" y="733176"/>
                </a:cubicBezTo>
                <a:cubicBezTo>
                  <a:pt x="1259450" y="737456"/>
                  <a:pt x="1263152" y="741563"/>
                  <a:pt x="1266449" y="741563"/>
                </a:cubicBezTo>
                <a:lnTo>
                  <a:pt x="1267028" y="741563"/>
                </a:lnTo>
                <a:cubicBezTo>
                  <a:pt x="1273795" y="741563"/>
                  <a:pt x="1284959" y="750471"/>
                  <a:pt x="1285769" y="755272"/>
                </a:cubicBezTo>
                <a:cubicBezTo>
                  <a:pt x="1286116" y="756817"/>
                  <a:pt x="1285133" y="758344"/>
                  <a:pt x="1283629" y="758743"/>
                </a:cubicBezTo>
                <a:cubicBezTo>
                  <a:pt x="1280101" y="760253"/>
                  <a:pt x="1276687" y="762029"/>
                  <a:pt x="1273448" y="764065"/>
                </a:cubicBezTo>
                <a:cubicBezTo>
                  <a:pt x="1267664" y="767824"/>
                  <a:pt x="1261417" y="770803"/>
                  <a:pt x="1254823" y="772915"/>
                </a:cubicBezTo>
                <a:cubicBezTo>
                  <a:pt x="1254186" y="772915"/>
                  <a:pt x="1252682" y="773493"/>
                  <a:pt x="1252798" y="774303"/>
                </a:cubicBezTo>
                <a:cubicBezTo>
                  <a:pt x="1252913" y="775113"/>
                  <a:pt x="1256442" y="778294"/>
                  <a:pt x="1259855" y="778294"/>
                </a:cubicBezTo>
                <a:cubicBezTo>
                  <a:pt x="1261243" y="778375"/>
                  <a:pt x="1262516" y="777791"/>
                  <a:pt x="1263384" y="776733"/>
                </a:cubicBezTo>
                <a:cubicBezTo>
                  <a:pt x="1264136" y="775645"/>
                  <a:pt x="1265408" y="774980"/>
                  <a:pt x="1266738" y="774939"/>
                </a:cubicBezTo>
                <a:cubicBezTo>
                  <a:pt x="1268994" y="774939"/>
                  <a:pt x="1271019" y="776906"/>
                  <a:pt x="1273101" y="779046"/>
                </a:cubicBezTo>
                <a:cubicBezTo>
                  <a:pt x="1275184" y="781186"/>
                  <a:pt x="1276745" y="782690"/>
                  <a:pt x="1278191" y="782690"/>
                </a:cubicBezTo>
                <a:cubicBezTo>
                  <a:pt x="1278597" y="782667"/>
                  <a:pt x="1279001" y="782505"/>
                  <a:pt x="1279349" y="782228"/>
                </a:cubicBezTo>
                <a:cubicBezTo>
                  <a:pt x="1281431" y="780909"/>
                  <a:pt x="1283861" y="780261"/>
                  <a:pt x="1286290" y="780377"/>
                </a:cubicBezTo>
                <a:cubicBezTo>
                  <a:pt x="1289645" y="780377"/>
                  <a:pt x="1295140" y="781360"/>
                  <a:pt x="1295545" y="784021"/>
                </a:cubicBezTo>
                <a:cubicBezTo>
                  <a:pt x="1295950" y="786682"/>
                  <a:pt x="1292652" y="787145"/>
                  <a:pt x="1291612" y="787434"/>
                </a:cubicBezTo>
                <a:cubicBezTo>
                  <a:pt x="1285885" y="788943"/>
                  <a:pt x="1281257" y="793155"/>
                  <a:pt x="1279233" y="798713"/>
                </a:cubicBezTo>
                <a:cubicBezTo>
                  <a:pt x="1278885" y="799917"/>
                  <a:pt x="1279349" y="801195"/>
                  <a:pt x="1280332" y="801953"/>
                </a:cubicBezTo>
                <a:cubicBezTo>
                  <a:pt x="1281199" y="802647"/>
                  <a:pt x="1282125" y="803515"/>
                  <a:pt x="1282009" y="804556"/>
                </a:cubicBezTo>
                <a:cubicBezTo>
                  <a:pt x="1281893" y="805597"/>
                  <a:pt x="1280911" y="806175"/>
                  <a:pt x="1279811" y="806696"/>
                </a:cubicBezTo>
                <a:cubicBezTo>
                  <a:pt x="1277035" y="807534"/>
                  <a:pt x="1275473" y="810456"/>
                  <a:pt x="1276283" y="813232"/>
                </a:cubicBezTo>
                <a:cubicBezTo>
                  <a:pt x="1277960" y="822719"/>
                  <a:pt x="1275993" y="834345"/>
                  <a:pt x="1269862" y="836659"/>
                </a:cubicBezTo>
                <a:cubicBezTo>
                  <a:pt x="1265061" y="838568"/>
                  <a:pt x="1254013" y="845220"/>
                  <a:pt x="1252855" y="852335"/>
                </a:cubicBezTo>
                <a:cubicBezTo>
                  <a:pt x="1251525" y="860485"/>
                  <a:pt x="1246782" y="867681"/>
                  <a:pt x="1239841" y="872118"/>
                </a:cubicBezTo>
                <a:cubicBezTo>
                  <a:pt x="1236312" y="874061"/>
                  <a:pt x="1232553" y="875536"/>
                  <a:pt x="1228619" y="876514"/>
                </a:cubicBezTo>
                <a:cubicBezTo>
                  <a:pt x="1225611" y="877382"/>
                  <a:pt x="1221851" y="878481"/>
                  <a:pt x="1221331" y="879464"/>
                </a:cubicBezTo>
                <a:cubicBezTo>
                  <a:pt x="1221909" y="880910"/>
                  <a:pt x="1222719" y="882252"/>
                  <a:pt x="1223702" y="883455"/>
                </a:cubicBezTo>
                <a:cubicBezTo>
                  <a:pt x="1225785" y="886347"/>
                  <a:pt x="1227983" y="889240"/>
                  <a:pt x="1227173" y="891958"/>
                </a:cubicBezTo>
                <a:cubicBezTo>
                  <a:pt x="1226653" y="893213"/>
                  <a:pt x="1225611" y="894139"/>
                  <a:pt x="1224281" y="894446"/>
                </a:cubicBezTo>
                <a:cubicBezTo>
                  <a:pt x="1221678" y="895256"/>
                  <a:pt x="1221793" y="898900"/>
                  <a:pt x="1222314" y="904337"/>
                </a:cubicBezTo>
                <a:cubicBezTo>
                  <a:pt x="1223124" y="907935"/>
                  <a:pt x="1222719" y="911695"/>
                  <a:pt x="1221157" y="915038"/>
                </a:cubicBezTo>
                <a:cubicBezTo>
                  <a:pt x="1219422" y="917022"/>
                  <a:pt x="1217224" y="918497"/>
                  <a:pt x="1214736" y="919319"/>
                </a:cubicBezTo>
                <a:cubicBezTo>
                  <a:pt x="1211497" y="920649"/>
                  <a:pt x="1209646" y="921575"/>
                  <a:pt x="1209646" y="924467"/>
                </a:cubicBezTo>
                <a:cubicBezTo>
                  <a:pt x="1209646" y="928574"/>
                  <a:pt x="1205481" y="930887"/>
                  <a:pt x="1201721" y="932912"/>
                </a:cubicBezTo>
                <a:cubicBezTo>
                  <a:pt x="1198945" y="934474"/>
                  <a:pt x="1195937" y="936036"/>
                  <a:pt x="1195937" y="937887"/>
                </a:cubicBezTo>
                <a:cubicBezTo>
                  <a:pt x="1195937" y="941242"/>
                  <a:pt x="1190789" y="943035"/>
                  <a:pt x="1185583" y="944886"/>
                </a:cubicBezTo>
                <a:cubicBezTo>
                  <a:pt x="1182112" y="946158"/>
                  <a:pt x="1177369" y="947894"/>
                  <a:pt x="1177369" y="949514"/>
                </a:cubicBezTo>
                <a:cubicBezTo>
                  <a:pt x="1175576" y="957988"/>
                  <a:pt x="1169155" y="964715"/>
                  <a:pt x="1160768" y="966867"/>
                </a:cubicBezTo>
                <a:cubicBezTo>
                  <a:pt x="1157066" y="967561"/>
                  <a:pt x="1153768" y="969626"/>
                  <a:pt x="1151571" y="972651"/>
                </a:cubicBezTo>
                <a:cubicBezTo>
                  <a:pt x="1149661" y="975150"/>
                  <a:pt x="1147463" y="977406"/>
                  <a:pt x="1145034" y="979361"/>
                </a:cubicBezTo>
                <a:cubicBezTo>
                  <a:pt x="1142373" y="981547"/>
                  <a:pt x="1140059" y="984122"/>
                  <a:pt x="1138208" y="986997"/>
                </a:cubicBezTo>
                <a:cubicBezTo>
                  <a:pt x="1136300" y="990861"/>
                  <a:pt x="1132482" y="993423"/>
                  <a:pt x="1128201" y="993707"/>
                </a:cubicBezTo>
                <a:lnTo>
                  <a:pt x="1125772" y="993707"/>
                </a:lnTo>
                <a:cubicBezTo>
                  <a:pt x="1115707" y="994169"/>
                  <a:pt x="1089099" y="995326"/>
                  <a:pt x="1081637" y="1001053"/>
                </a:cubicBezTo>
                <a:cubicBezTo>
                  <a:pt x="1079323" y="1002637"/>
                  <a:pt x="1076604" y="1003430"/>
                  <a:pt x="1073828" y="1003309"/>
                </a:cubicBezTo>
                <a:cubicBezTo>
                  <a:pt x="1069547" y="1003089"/>
                  <a:pt x="1065267" y="1002273"/>
                  <a:pt x="1061217" y="1000879"/>
                </a:cubicBezTo>
                <a:cubicBezTo>
                  <a:pt x="1059367" y="1000237"/>
                  <a:pt x="1057400" y="999809"/>
                  <a:pt x="1055433" y="999607"/>
                </a:cubicBezTo>
                <a:lnTo>
                  <a:pt x="1055028" y="999607"/>
                </a:lnTo>
                <a:cubicBezTo>
                  <a:pt x="1054624" y="1004466"/>
                  <a:pt x="1025817" y="1023265"/>
                  <a:pt x="1001060" y="1031479"/>
                </a:cubicBezTo>
                <a:cubicBezTo>
                  <a:pt x="984111" y="1037263"/>
                  <a:pt x="961783" y="1045535"/>
                  <a:pt x="963461" y="1053170"/>
                </a:cubicBezTo>
                <a:cubicBezTo>
                  <a:pt x="964733" y="1057798"/>
                  <a:pt x="964271" y="1062738"/>
                  <a:pt x="962188" y="1067053"/>
                </a:cubicBezTo>
                <a:cubicBezTo>
                  <a:pt x="961552" y="1067851"/>
                  <a:pt x="960627" y="1068337"/>
                  <a:pt x="959585" y="1068384"/>
                </a:cubicBezTo>
                <a:close/>
                <a:moveTo>
                  <a:pt x="946166" y="1026678"/>
                </a:moveTo>
                <a:cubicBezTo>
                  <a:pt x="948942" y="1026793"/>
                  <a:pt x="951256" y="1028696"/>
                  <a:pt x="951950" y="1031363"/>
                </a:cubicBezTo>
                <a:cubicBezTo>
                  <a:pt x="953454" y="1034961"/>
                  <a:pt x="952759" y="1039103"/>
                  <a:pt x="950157" y="1042006"/>
                </a:cubicBezTo>
                <a:cubicBezTo>
                  <a:pt x="948884" y="1043285"/>
                  <a:pt x="948248" y="1045020"/>
                  <a:pt x="948306" y="1046808"/>
                </a:cubicBezTo>
                <a:cubicBezTo>
                  <a:pt x="948595" y="1053413"/>
                  <a:pt x="951487" y="1059637"/>
                  <a:pt x="956288" y="1064161"/>
                </a:cubicBezTo>
                <a:cubicBezTo>
                  <a:pt x="958023" y="1065838"/>
                  <a:pt x="959123" y="1066185"/>
                  <a:pt x="959701" y="1066185"/>
                </a:cubicBezTo>
                <a:cubicBezTo>
                  <a:pt x="960164" y="1066180"/>
                  <a:pt x="960627" y="1065942"/>
                  <a:pt x="960858" y="1065549"/>
                </a:cubicBezTo>
                <a:cubicBezTo>
                  <a:pt x="962535" y="1061755"/>
                  <a:pt x="962825" y="1057497"/>
                  <a:pt x="961668" y="1053517"/>
                </a:cubicBezTo>
                <a:cubicBezTo>
                  <a:pt x="959990" y="1046056"/>
                  <a:pt x="971328" y="1038998"/>
                  <a:pt x="1000770" y="1029223"/>
                </a:cubicBezTo>
                <a:cubicBezTo>
                  <a:pt x="1027263" y="1020373"/>
                  <a:pt x="1052830" y="1002152"/>
                  <a:pt x="1053293" y="999086"/>
                </a:cubicBezTo>
                <a:cubicBezTo>
                  <a:pt x="1053293" y="998623"/>
                  <a:pt x="1053698" y="997177"/>
                  <a:pt x="1055838" y="997177"/>
                </a:cubicBezTo>
                <a:cubicBezTo>
                  <a:pt x="1057978" y="997374"/>
                  <a:pt x="1060003" y="997842"/>
                  <a:pt x="1062027" y="998565"/>
                </a:cubicBezTo>
                <a:cubicBezTo>
                  <a:pt x="1065903" y="999867"/>
                  <a:pt x="1069952" y="1000648"/>
                  <a:pt x="1074001" y="1000879"/>
                </a:cubicBezTo>
                <a:cubicBezTo>
                  <a:pt x="1076257" y="1001012"/>
                  <a:pt x="1078513" y="1000382"/>
                  <a:pt x="1080422" y="999086"/>
                </a:cubicBezTo>
                <a:cubicBezTo>
                  <a:pt x="1088462" y="992955"/>
                  <a:pt x="1114666" y="991798"/>
                  <a:pt x="1125830" y="991277"/>
                </a:cubicBezTo>
                <a:lnTo>
                  <a:pt x="1128259" y="991277"/>
                </a:lnTo>
                <a:cubicBezTo>
                  <a:pt x="1132540" y="991277"/>
                  <a:pt x="1134044" y="988848"/>
                  <a:pt x="1136531" y="985493"/>
                </a:cubicBezTo>
                <a:cubicBezTo>
                  <a:pt x="1138498" y="982421"/>
                  <a:pt x="1140985" y="979685"/>
                  <a:pt x="1143819" y="977395"/>
                </a:cubicBezTo>
                <a:cubicBezTo>
                  <a:pt x="1146133" y="975509"/>
                  <a:pt x="1148157" y="973374"/>
                  <a:pt x="1150009" y="971031"/>
                </a:cubicBezTo>
                <a:cubicBezTo>
                  <a:pt x="1152438" y="967526"/>
                  <a:pt x="1156140" y="965103"/>
                  <a:pt x="1160363" y="964264"/>
                </a:cubicBezTo>
                <a:cubicBezTo>
                  <a:pt x="1167825" y="962222"/>
                  <a:pt x="1173551" y="956276"/>
                  <a:pt x="1175287" y="948762"/>
                </a:cubicBezTo>
                <a:cubicBezTo>
                  <a:pt x="1175287" y="945580"/>
                  <a:pt x="1180030" y="943845"/>
                  <a:pt x="1185004" y="942051"/>
                </a:cubicBezTo>
                <a:cubicBezTo>
                  <a:pt x="1188880" y="940605"/>
                  <a:pt x="1193681" y="938870"/>
                  <a:pt x="1193855" y="936961"/>
                </a:cubicBezTo>
                <a:cubicBezTo>
                  <a:pt x="1193855" y="933895"/>
                  <a:pt x="1197383" y="932102"/>
                  <a:pt x="1200796" y="930193"/>
                </a:cubicBezTo>
                <a:cubicBezTo>
                  <a:pt x="1204209" y="928284"/>
                  <a:pt x="1207564" y="926491"/>
                  <a:pt x="1207564" y="923715"/>
                </a:cubicBezTo>
                <a:cubicBezTo>
                  <a:pt x="1207564" y="919203"/>
                  <a:pt x="1211034" y="917930"/>
                  <a:pt x="1214042" y="916484"/>
                </a:cubicBezTo>
                <a:cubicBezTo>
                  <a:pt x="1216240" y="915836"/>
                  <a:pt x="1218265" y="914622"/>
                  <a:pt x="1219827" y="912956"/>
                </a:cubicBezTo>
                <a:cubicBezTo>
                  <a:pt x="1220926" y="910023"/>
                  <a:pt x="1221157" y="906824"/>
                  <a:pt x="1220521" y="903758"/>
                </a:cubicBezTo>
                <a:cubicBezTo>
                  <a:pt x="1220058" y="898437"/>
                  <a:pt x="1219538" y="892942"/>
                  <a:pt x="1224049" y="891553"/>
                </a:cubicBezTo>
                <a:cubicBezTo>
                  <a:pt x="1224685" y="891438"/>
                  <a:pt x="1225206" y="891056"/>
                  <a:pt x="1225495" y="890512"/>
                </a:cubicBezTo>
                <a:cubicBezTo>
                  <a:pt x="1225958" y="889066"/>
                  <a:pt x="1223818" y="886116"/>
                  <a:pt x="1222314" y="883976"/>
                </a:cubicBezTo>
                <a:cubicBezTo>
                  <a:pt x="1221215" y="882657"/>
                  <a:pt x="1220347" y="881199"/>
                  <a:pt x="1219653" y="879638"/>
                </a:cubicBezTo>
                <a:cubicBezTo>
                  <a:pt x="1219364" y="879013"/>
                  <a:pt x="1219364" y="878296"/>
                  <a:pt x="1219653" y="877671"/>
                </a:cubicBezTo>
                <a:cubicBezTo>
                  <a:pt x="1220579" y="875878"/>
                  <a:pt x="1223818" y="874894"/>
                  <a:pt x="1228272" y="873622"/>
                </a:cubicBezTo>
                <a:cubicBezTo>
                  <a:pt x="1231974" y="872702"/>
                  <a:pt x="1235560" y="871302"/>
                  <a:pt x="1238916" y="869457"/>
                </a:cubicBezTo>
                <a:cubicBezTo>
                  <a:pt x="1245336" y="865390"/>
                  <a:pt x="1249732" y="858756"/>
                  <a:pt x="1250947" y="851236"/>
                </a:cubicBezTo>
                <a:cubicBezTo>
                  <a:pt x="1252219" y="843080"/>
                  <a:pt x="1263904" y="835965"/>
                  <a:pt x="1269342" y="833883"/>
                </a:cubicBezTo>
                <a:cubicBezTo>
                  <a:pt x="1273738" y="832263"/>
                  <a:pt x="1276051" y="822314"/>
                  <a:pt x="1274316" y="813001"/>
                </a:cubicBezTo>
                <a:cubicBezTo>
                  <a:pt x="1273333" y="809218"/>
                  <a:pt x="1275415" y="805302"/>
                  <a:pt x="1279117" y="804035"/>
                </a:cubicBezTo>
                <a:lnTo>
                  <a:pt x="1279869" y="803630"/>
                </a:lnTo>
                <a:lnTo>
                  <a:pt x="1279233" y="803168"/>
                </a:lnTo>
                <a:cubicBezTo>
                  <a:pt x="1277613" y="801860"/>
                  <a:pt x="1276861" y="799720"/>
                  <a:pt x="1277324" y="797672"/>
                </a:cubicBezTo>
                <a:cubicBezTo>
                  <a:pt x="1279464" y="791234"/>
                  <a:pt x="1284728" y="786317"/>
                  <a:pt x="1291322" y="784599"/>
                </a:cubicBezTo>
                <a:cubicBezTo>
                  <a:pt x="1293289" y="784021"/>
                  <a:pt x="1293578" y="783558"/>
                  <a:pt x="1293578" y="783558"/>
                </a:cubicBezTo>
                <a:cubicBezTo>
                  <a:pt x="1291438" y="782413"/>
                  <a:pt x="1289008" y="781875"/>
                  <a:pt x="1286579" y="781996"/>
                </a:cubicBezTo>
                <a:cubicBezTo>
                  <a:pt x="1284555" y="781829"/>
                  <a:pt x="1282530" y="782320"/>
                  <a:pt x="1280795" y="783385"/>
                </a:cubicBezTo>
                <a:cubicBezTo>
                  <a:pt x="1280043" y="783952"/>
                  <a:pt x="1279175" y="784275"/>
                  <a:pt x="1278249" y="784310"/>
                </a:cubicBezTo>
                <a:cubicBezTo>
                  <a:pt x="1275820" y="784310"/>
                  <a:pt x="1273680" y="782112"/>
                  <a:pt x="1271598" y="780030"/>
                </a:cubicBezTo>
                <a:cubicBezTo>
                  <a:pt x="1269515" y="777947"/>
                  <a:pt x="1268126" y="776559"/>
                  <a:pt x="1266796" y="776559"/>
                </a:cubicBezTo>
                <a:cubicBezTo>
                  <a:pt x="1266796" y="776559"/>
                  <a:pt x="1265986" y="776559"/>
                  <a:pt x="1265234" y="777542"/>
                </a:cubicBezTo>
                <a:cubicBezTo>
                  <a:pt x="1263904" y="779116"/>
                  <a:pt x="1261937" y="779995"/>
                  <a:pt x="1259913" y="779914"/>
                </a:cubicBezTo>
                <a:cubicBezTo>
                  <a:pt x="1255633" y="779914"/>
                  <a:pt x="1250947" y="776906"/>
                  <a:pt x="1250600" y="774130"/>
                </a:cubicBezTo>
                <a:cubicBezTo>
                  <a:pt x="1250600" y="773262"/>
                  <a:pt x="1250600" y="771122"/>
                  <a:pt x="1254417" y="770312"/>
                </a:cubicBezTo>
                <a:cubicBezTo>
                  <a:pt x="1260723" y="768212"/>
                  <a:pt x="1266738" y="765320"/>
                  <a:pt x="1272349" y="761693"/>
                </a:cubicBezTo>
                <a:cubicBezTo>
                  <a:pt x="1275704" y="759489"/>
                  <a:pt x="1279233" y="757551"/>
                  <a:pt x="1282935" y="755909"/>
                </a:cubicBezTo>
                <a:cubicBezTo>
                  <a:pt x="1283571" y="755909"/>
                  <a:pt x="1283629" y="755446"/>
                  <a:pt x="1283571" y="754983"/>
                </a:cubicBezTo>
                <a:cubicBezTo>
                  <a:pt x="1280101" y="748776"/>
                  <a:pt x="1274085" y="744426"/>
                  <a:pt x="1267086" y="743125"/>
                </a:cubicBezTo>
                <a:lnTo>
                  <a:pt x="1266507" y="743125"/>
                </a:lnTo>
                <a:cubicBezTo>
                  <a:pt x="1262226" y="743125"/>
                  <a:pt x="1258235" y="738671"/>
                  <a:pt x="1253955" y="734044"/>
                </a:cubicBezTo>
                <a:cubicBezTo>
                  <a:pt x="1249674" y="729416"/>
                  <a:pt x="1246088" y="725367"/>
                  <a:pt x="1242386" y="725367"/>
                </a:cubicBezTo>
                <a:cubicBezTo>
                  <a:pt x="1241287" y="725367"/>
                  <a:pt x="1238800" y="725367"/>
                  <a:pt x="1238800" y="723632"/>
                </a:cubicBezTo>
                <a:cubicBezTo>
                  <a:pt x="1238800" y="721896"/>
                  <a:pt x="1245625" y="720277"/>
                  <a:pt x="1248749" y="720277"/>
                </a:cubicBezTo>
                <a:cubicBezTo>
                  <a:pt x="1252046" y="720242"/>
                  <a:pt x="1255285" y="720976"/>
                  <a:pt x="1258235" y="722417"/>
                </a:cubicBezTo>
                <a:cubicBezTo>
                  <a:pt x="1269804" y="728201"/>
                  <a:pt x="1278307" y="730284"/>
                  <a:pt x="1281373" y="727449"/>
                </a:cubicBezTo>
                <a:cubicBezTo>
                  <a:pt x="1281489" y="727235"/>
                  <a:pt x="1281489" y="726969"/>
                  <a:pt x="1281373" y="726755"/>
                </a:cubicBezTo>
                <a:cubicBezTo>
                  <a:pt x="1281373" y="723285"/>
                  <a:pt x="1272118" y="714087"/>
                  <a:pt x="1258235" y="703328"/>
                </a:cubicBezTo>
                <a:cubicBezTo>
                  <a:pt x="1254823" y="700552"/>
                  <a:pt x="1253319" y="696022"/>
                  <a:pt x="1254475" y="691759"/>
                </a:cubicBezTo>
                <a:cubicBezTo>
                  <a:pt x="1254475" y="689098"/>
                  <a:pt x="1254823" y="687479"/>
                  <a:pt x="1253434" y="686496"/>
                </a:cubicBezTo>
                <a:cubicBezTo>
                  <a:pt x="1248517" y="682967"/>
                  <a:pt x="1238568" y="661160"/>
                  <a:pt x="1235676" y="652888"/>
                </a:cubicBezTo>
                <a:cubicBezTo>
                  <a:pt x="1233999" y="647971"/>
                  <a:pt x="1227983" y="645368"/>
                  <a:pt x="1222141" y="642765"/>
                </a:cubicBezTo>
                <a:cubicBezTo>
                  <a:pt x="1218092" y="641533"/>
                  <a:pt x="1214505" y="639260"/>
                  <a:pt x="1211612" y="636171"/>
                </a:cubicBezTo>
                <a:cubicBezTo>
                  <a:pt x="1209646" y="632631"/>
                  <a:pt x="1209299" y="628385"/>
                  <a:pt x="1210803" y="624602"/>
                </a:cubicBezTo>
                <a:cubicBezTo>
                  <a:pt x="1213001" y="617562"/>
                  <a:pt x="1218207" y="611847"/>
                  <a:pt x="1225033" y="608984"/>
                </a:cubicBezTo>
                <a:cubicBezTo>
                  <a:pt x="1229603" y="607382"/>
                  <a:pt x="1232957" y="603448"/>
                  <a:pt x="1233767" y="598688"/>
                </a:cubicBezTo>
                <a:cubicBezTo>
                  <a:pt x="1234461" y="596200"/>
                  <a:pt x="1235271" y="593655"/>
                  <a:pt x="1238626" y="594407"/>
                </a:cubicBezTo>
                <a:cubicBezTo>
                  <a:pt x="1244410" y="595564"/>
                  <a:pt x="1248402" y="592614"/>
                  <a:pt x="1252335" y="584516"/>
                </a:cubicBezTo>
                <a:cubicBezTo>
                  <a:pt x="1254186" y="580270"/>
                  <a:pt x="1258409" y="577598"/>
                  <a:pt x="1263036" y="577806"/>
                </a:cubicBezTo>
                <a:cubicBezTo>
                  <a:pt x="1265176" y="577904"/>
                  <a:pt x="1267201" y="577176"/>
                  <a:pt x="1268821" y="575781"/>
                </a:cubicBezTo>
                <a:cubicBezTo>
                  <a:pt x="1273564" y="572722"/>
                  <a:pt x="1279059" y="570963"/>
                  <a:pt x="1284670" y="570691"/>
                </a:cubicBezTo>
                <a:cubicBezTo>
                  <a:pt x="1289992" y="570124"/>
                  <a:pt x="1295198" y="568661"/>
                  <a:pt x="1300057" y="566353"/>
                </a:cubicBezTo>
                <a:cubicBezTo>
                  <a:pt x="1301503" y="565242"/>
                  <a:pt x="1301966" y="563247"/>
                  <a:pt x="1301156" y="561610"/>
                </a:cubicBezTo>
                <a:cubicBezTo>
                  <a:pt x="1298842" y="555681"/>
                  <a:pt x="1293404" y="551504"/>
                  <a:pt x="1287100" y="550735"/>
                </a:cubicBezTo>
                <a:cubicBezTo>
                  <a:pt x="1286463" y="550648"/>
                  <a:pt x="1285885" y="550648"/>
                  <a:pt x="1285249" y="550735"/>
                </a:cubicBezTo>
                <a:cubicBezTo>
                  <a:pt x="1283340" y="551203"/>
                  <a:pt x="1281431" y="551458"/>
                  <a:pt x="1279464" y="551487"/>
                </a:cubicBezTo>
                <a:cubicBezTo>
                  <a:pt x="1270556" y="551360"/>
                  <a:pt x="1262342" y="546801"/>
                  <a:pt x="1257541" y="539340"/>
                </a:cubicBezTo>
                <a:cubicBezTo>
                  <a:pt x="1257021" y="538397"/>
                  <a:pt x="1256037" y="537801"/>
                  <a:pt x="1254996" y="537778"/>
                </a:cubicBezTo>
                <a:cubicBezTo>
                  <a:pt x="1251236" y="537778"/>
                  <a:pt x="1245162" y="543909"/>
                  <a:pt x="1239262" y="549752"/>
                </a:cubicBezTo>
                <a:cubicBezTo>
                  <a:pt x="1234461" y="555200"/>
                  <a:pt x="1228851" y="559868"/>
                  <a:pt x="1222603" y="563576"/>
                </a:cubicBezTo>
                <a:cubicBezTo>
                  <a:pt x="1216761" y="566555"/>
                  <a:pt x="1209588" y="564450"/>
                  <a:pt x="1206291" y="558775"/>
                </a:cubicBezTo>
                <a:cubicBezTo>
                  <a:pt x="1202705" y="553315"/>
                  <a:pt x="1201895" y="546466"/>
                  <a:pt x="1204151" y="540323"/>
                </a:cubicBezTo>
                <a:cubicBezTo>
                  <a:pt x="1205019" y="538721"/>
                  <a:pt x="1205019" y="536777"/>
                  <a:pt x="1204151" y="535175"/>
                </a:cubicBezTo>
                <a:cubicBezTo>
                  <a:pt x="1202069" y="532167"/>
                  <a:pt x="1194375" y="531820"/>
                  <a:pt x="1188764" y="531820"/>
                </a:cubicBezTo>
                <a:cubicBezTo>
                  <a:pt x="1185120" y="531820"/>
                  <a:pt x="1181187" y="531820"/>
                  <a:pt x="1176791" y="532167"/>
                </a:cubicBezTo>
                <a:lnTo>
                  <a:pt x="1176097" y="532167"/>
                </a:lnTo>
                <a:cubicBezTo>
                  <a:pt x="1169271" y="532167"/>
                  <a:pt x="1165048" y="527597"/>
                  <a:pt x="1164528" y="519557"/>
                </a:cubicBezTo>
                <a:cubicBezTo>
                  <a:pt x="1163776" y="509781"/>
                  <a:pt x="1168866" y="497113"/>
                  <a:pt x="1176097" y="496014"/>
                </a:cubicBezTo>
                <a:cubicBezTo>
                  <a:pt x="1179741" y="495771"/>
                  <a:pt x="1183385" y="496060"/>
                  <a:pt x="1186914" y="496882"/>
                </a:cubicBezTo>
                <a:cubicBezTo>
                  <a:pt x="1189748" y="497478"/>
                  <a:pt x="1192582" y="497825"/>
                  <a:pt x="1195474" y="497923"/>
                </a:cubicBezTo>
                <a:cubicBezTo>
                  <a:pt x="1200044" y="497923"/>
                  <a:pt x="1205713" y="496651"/>
                  <a:pt x="1209126" y="486701"/>
                </a:cubicBezTo>
                <a:cubicBezTo>
                  <a:pt x="1212943" y="475422"/>
                  <a:pt x="1217860" y="474670"/>
                  <a:pt x="1223645" y="473744"/>
                </a:cubicBezTo>
                <a:cubicBezTo>
                  <a:pt x="1230528" y="473108"/>
                  <a:pt x="1236833" y="469603"/>
                  <a:pt x="1240998" y="464084"/>
                </a:cubicBezTo>
                <a:cubicBezTo>
                  <a:pt x="1249906" y="453730"/>
                  <a:pt x="1263326" y="441409"/>
                  <a:pt x="1276630" y="441409"/>
                </a:cubicBezTo>
                <a:cubicBezTo>
                  <a:pt x="1281141" y="441380"/>
                  <a:pt x="1285480" y="442936"/>
                  <a:pt x="1288951" y="445805"/>
                </a:cubicBezTo>
                <a:cubicBezTo>
                  <a:pt x="1291264" y="447402"/>
                  <a:pt x="1292710" y="449918"/>
                  <a:pt x="1293000" y="452689"/>
                </a:cubicBezTo>
                <a:cubicBezTo>
                  <a:pt x="1293404" y="459283"/>
                  <a:pt x="1286521" y="466340"/>
                  <a:pt x="1279869" y="473166"/>
                </a:cubicBezTo>
                <a:cubicBezTo>
                  <a:pt x="1276283" y="476399"/>
                  <a:pt x="1273217" y="480142"/>
                  <a:pt x="1270730" y="484272"/>
                </a:cubicBezTo>
                <a:cubicBezTo>
                  <a:pt x="1269342" y="487343"/>
                  <a:pt x="1269110" y="490802"/>
                  <a:pt x="1269978" y="494047"/>
                </a:cubicBezTo>
                <a:cubicBezTo>
                  <a:pt x="1271366" y="498264"/>
                  <a:pt x="1269978" y="502898"/>
                  <a:pt x="1266449" y="505616"/>
                </a:cubicBezTo>
                <a:cubicBezTo>
                  <a:pt x="1264424" y="507525"/>
                  <a:pt x="1263962" y="508856"/>
                  <a:pt x="1264136" y="509376"/>
                </a:cubicBezTo>
                <a:cubicBezTo>
                  <a:pt x="1264309" y="509897"/>
                  <a:pt x="1265061" y="510128"/>
                  <a:pt x="1266738" y="510128"/>
                </a:cubicBezTo>
                <a:cubicBezTo>
                  <a:pt x="1272986" y="509434"/>
                  <a:pt x="1279001" y="507126"/>
                  <a:pt x="1284092" y="503418"/>
                </a:cubicBezTo>
                <a:cubicBezTo>
                  <a:pt x="1300114" y="492520"/>
                  <a:pt x="1317063" y="483040"/>
                  <a:pt x="1334763" y="475075"/>
                </a:cubicBezTo>
                <a:cubicBezTo>
                  <a:pt x="1338870" y="473571"/>
                  <a:pt x="1343266" y="472957"/>
                  <a:pt x="1347604" y="473281"/>
                </a:cubicBezTo>
                <a:cubicBezTo>
                  <a:pt x="1348820" y="468521"/>
                  <a:pt x="1351654" y="464327"/>
                  <a:pt x="1355587" y="461423"/>
                </a:cubicBezTo>
                <a:lnTo>
                  <a:pt x="1363454" y="457606"/>
                </a:lnTo>
                <a:cubicBezTo>
                  <a:pt x="1376932" y="451185"/>
                  <a:pt x="1402036" y="439153"/>
                  <a:pt x="1406201" y="433600"/>
                </a:cubicBezTo>
                <a:cubicBezTo>
                  <a:pt x="1407532" y="431807"/>
                  <a:pt x="1408920" y="429667"/>
                  <a:pt x="1410308" y="427411"/>
                </a:cubicBezTo>
                <a:cubicBezTo>
                  <a:pt x="1414531" y="420759"/>
                  <a:pt x="1418869" y="413817"/>
                  <a:pt x="1424653" y="413817"/>
                </a:cubicBezTo>
                <a:cubicBezTo>
                  <a:pt x="1427488" y="413893"/>
                  <a:pt x="1430206" y="415078"/>
                  <a:pt x="1432231" y="417115"/>
                </a:cubicBezTo>
                <a:cubicBezTo>
                  <a:pt x="1434950" y="419671"/>
                  <a:pt x="1438594" y="421031"/>
                  <a:pt x="1442295" y="420874"/>
                </a:cubicBezTo>
                <a:cubicBezTo>
                  <a:pt x="1444783" y="420874"/>
                  <a:pt x="1447386" y="420874"/>
                  <a:pt x="1449816" y="421279"/>
                </a:cubicBezTo>
                <a:cubicBezTo>
                  <a:pt x="1452245" y="421684"/>
                  <a:pt x="1453980" y="421569"/>
                  <a:pt x="1455600" y="421569"/>
                </a:cubicBezTo>
                <a:cubicBezTo>
                  <a:pt x="1458666" y="421569"/>
                  <a:pt x="1459592" y="421048"/>
                  <a:pt x="1459822" y="420643"/>
                </a:cubicBezTo>
                <a:cubicBezTo>
                  <a:pt x="1460054" y="420238"/>
                  <a:pt x="1460170" y="419544"/>
                  <a:pt x="1458840" y="417288"/>
                </a:cubicBezTo>
                <a:cubicBezTo>
                  <a:pt x="1456814" y="413933"/>
                  <a:pt x="1455716" y="411504"/>
                  <a:pt x="1456641" y="409306"/>
                </a:cubicBezTo>
                <a:cubicBezTo>
                  <a:pt x="1457566" y="407107"/>
                  <a:pt x="1461616" y="406240"/>
                  <a:pt x="1468210" y="405256"/>
                </a:cubicBezTo>
                <a:lnTo>
                  <a:pt x="1470003" y="405256"/>
                </a:lnTo>
                <a:cubicBezTo>
                  <a:pt x="1474573" y="404568"/>
                  <a:pt x="1478564" y="401670"/>
                  <a:pt x="1480588" y="397505"/>
                </a:cubicBezTo>
                <a:cubicBezTo>
                  <a:pt x="1482613" y="394440"/>
                  <a:pt x="1484754" y="391200"/>
                  <a:pt x="1489555" y="391200"/>
                </a:cubicBezTo>
                <a:cubicBezTo>
                  <a:pt x="1493083" y="391200"/>
                  <a:pt x="1494703" y="386457"/>
                  <a:pt x="1496380" y="381425"/>
                </a:cubicBezTo>
                <a:cubicBezTo>
                  <a:pt x="1498057" y="376392"/>
                  <a:pt x="1500140" y="369856"/>
                  <a:pt x="1505346" y="369856"/>
                </a:cubicBezTo>
                <a:cubicBezTo>
                  <a:pt x="1509222" y="370226"/>
                  <a:pt x="1512866" y="371990"/>
                  <a:pt x="1515584" y="374830"/>
                </a:cubicBezTo>
                <a:cubicBezTo>
                  <a:pt x="1517956" y="377358"/>
                  <a:pt x="1521137" y="378960"/>
                  <a:pt x="1524551" y="379342"/>
                </a:cubicBezTo>
                <a:cubicBezTo>
                  <a:pt x="1525649" y="379308"/>
                  <a:pt x="1526807" y="379117"/>
                  <a:pt x="1527847" y="378764"/>
                </a:cubicBezTo>
                <a:cubicBezTo>
                  <a:pt x="1530451" y="378122"/>
                  <a:pt x="1533169" y="378428"/>
                  <a:pt x="1535540" y="379631"/>
                </a:cubicBezTo>
                <a:cubicBezTo>
                  <a:pt x="1537450" y="378127"/>
                  <a:pt x="1539300" y="376739"/>
                  <a:pt x="1541325" y="375351"/>
                </a:cubicBezTo>
                <a:cubicBezTo>
                  <a:pt x="1540978" y="371128"/>
                  <a:pt x="1540920" y="367021"/>
                  <a:pt x="1540862" y="363435"/>
                </a:cubicBezTo>
                <a:cubicBezTo>
                  <a:pt x="1541152" y="358998"/>
                  <a:pt x="1540689" y="354539"/>
                  <a:pt x="1539532" y="350247"/>
                </a:cubicBezTo>
                <a:cubicBezTo>
                  <a:pt x="1537623" y="345272"/>
                  <a:pt x="1537044" y="339887"/>
                  <a:pt x="1537912" y="334629"/>
                </a:cubicBezTo>
                <a:cubicBezTo>
                  <a:pt x="1538375" y="332280"/>
                  <a:pt x="1538375" y="329862"/>
                  <a:pt x="1537912" y="327514"/>
                </a:cubicBezTo>
                <a:cubicBezTo>
                  <a:pt x="1536640" y="323118"/>
                  <a:pt x="1535656" y="313111"/>
                  <a:pt x="1538954" y="308772"/>
                </a:cubicBezTo>
                <a:cubicBezTo>
                  <a:pt x="1539879" y="307442"/>
                  <a:pt x="1541441" y="306661"/>
                  <a:pt x="1543060" y="306690"/>
                </a:cubicBezTo>
                <a:cubicBezTo>
                  <a:pt x="1545201" y="306690"/>
                  <a:pt x="1548035" y="304087"/>
                  <a:pt x="1550754" y="301600"/>
                </a:cubicBezTo>
                <a:cubicBezTo>
                  <a:pt x="1553704" y="298065"/>
                  <a:pt x="1557811" y="295699"/>
                  <a:pt x="1562322" y="294947"/>
                </a:cubicBezTo>
                <a:cubicBezTo>
                  <a:pt x="1563826" y="294947"/>
                  <a:pt x="1565330" y="295433"/>
                  <a:pt x="1566546" y="296336"/>
                </a:cubicBezTo>
                <a:cubicBezTo>
                  <a:pt x="1571173" y="299309"/>
                  <a:pt x="1576495" y="300929"/>
                  <a:pt x="1581990" y="301021"/>
                </a:cubicBezTo>
                <a:lnTo>
                  <a:pt x="1581990" y="301021"/>
                </a:lnTo>
                <a:cubicBezTo>
                  <a:pt x="1583783" y="301119"/>
                  <a:pt x="1585634" y="300761"/>
                  <a:pt x="1587254" y="299980"/>
                </a:cubicBezTo>
                <a:cubicBezTo>
                  <a:pt x="1588352" y="299529"/>
                  <a:pt x="1589046" y="298447"/>
                  <a:pt x="1589046" y="297261"/>
                </a:cubicBezTo>
                <a:cubicBezTo>
                  <a:pt x="1589046" y="293212"/>
                  <a:pt x="1592054" y="290898"/>
                  <a:pt x="1594831" y="288642"/>
                </a:cubicBezTo>
                <a:cubicBezTo>
                  <a:pt x="1598302" y="286612"/>
                  <a:pt x="1600847" y="283251"/>
                  <a:pt x="1601830" y="279329"/>
                </a:cubicBezTo>
                <a:cubicBezTo>
                  <a:pt x="1603103" y="274390"/>
                  <a:pt x="1606169" y="270126"/>
                  <a:pt x="1610507" y="267414"/>
                </a:cubicBezTo>
                <a:cubicBezTo>
                  <a:pt x="1613920" y="265204"/>
                  <a:pt x="1616522" y="261988"/>
                  <a:pt x="1617969" y="258216"/>
                </a:cubicBezTo>
                <a:cubicBezTo>
                  <a:pt x="1618374" y="256886"/>
                  <a:pt x="1618778" y="255266"/>
                  <a:pt x="1619242" y="253473"/>
                </a:cubicBezTo>
                <a:cubicBezTo>
                  <a:pt x="1621844" y="243003"/>
                  <a:pt x="1625778" y="227154"/>
                  <a:pt x="1633067" y="222816"/>
                </a:cubicBezTo>
                <a:cubicBezTo>
                  <a:pt x="1636595" y="220675"/>
                  <a:pt x="1636074" y="219403"/>
                  <a:pt x="1634513" y="215643"/>
                </a:cubicBezTo>
                <a:cubicBezTo>
                  <a:pt x="1632372" y="211125"/>
                  <a:pt x="1631389" y="206122"/>
                  <a:pt x="1631736" y="201124"/>
                </a:cubicBezTo>
                <a:cubicBezTo>
                  <a:pt x="1632025" y="198776"/>
                  <a:pt x="1631389" y="196404"/>
                  <a:pt x="1629943" y="194530"/>
                </a:cubicBezTo>
                <a:cubicBezTo>
                  <a:pt x="1628381" y="193107"/>
                  <a:pt x="1626298" y="192378"/>
                  <a:pt x="1624158" y="192505"/>
                </a:cubicBezTo>
                <a:cubicBezTo>
                  <a:pt x="1619762" y="192667"/>
                  <a:pt x="1615424" y="194026"/>
                  <a:pt x="1611722" y="196439"/>
                </a:cubicBezTo>
                <a:cubicBezTo>
                  <a:pt x="1608541" y="198052"/>
                  <a:pt x="1605011" y="198903"/>
                  <a:pt x="1601425" y="198926"/>
                </a:cubicBezTo>
                <a:cubicBezTo>
                  <a:pt x="1595236" y="199562"/>
                  <a:pt x="1588237" y="200256"/>
                  <a:pt x="1585460" y="205694"/>
                </a:cubicBezTo>
                <a:cubicBezTo>
                  <a:pt x="1583725" y="209980"/>
                  <a:pt x="1579387" y="212618"/>
                  <a:pt x="1574759" y="212172"/>
                </a:cubicBezTo>
                <a:cubicBezTo>
                  <a:pt x="1573313" y="212253"/>
                  <a:pt x="1571809" y="212253"/>
                  <a:pt x="1570363" y="212172"/>
                </a:cubicBezTo>
                <a:cubicBezTo>
                  <a:pt x="1567066" y="211825"/>
                  <a:pt x="1563711" y="211825"/>
                  <a:pt x="1560414" y="212172"/>
                </a:cubicBezTo>
                <a:cubicBezTo>
                  <a:pt x="1551217" y="213468"/>
                  <a:pt x="1541846" y="211102"/>
                  <a:pt x="1534326" y="205578"/>
                </a:cubicBezTo>
                <a:cubicBezTo>
                  <a:pt x="1532938" y="204213"/>
                  <a:pt x="1532302" y="202298"/>
                  <a:pt x="1532475" y="200372"/>
                </a:cubicBezTo>
                <a:cubicBezTo>
                  <a:pt x="1532475" y="196878"/>
                  <a:pt x="1531607" y="193436"/>
                  <a:pt x="1529930" y="190365"/>
                </a:cubicBezTo>
                <a:cubicBezTo>
                  <a:pt x="1527790" y="186246"/>
                  <a:pt x="1526691" y="181648"/>
                  <a:pt x="1526807" y="177003"/>
                </a:cubicBezTo>
                <a:cubicBezTo>
                  <a:pt x="1527153" y="173185"/>
                  <a:pt x="1524955" y="172433"/>
                  <a:pt x="1519923" y="171218"/>
                </a:cubicBezTo>
                <a:cubicBezTo>
                  <a:pt x="1515411" y="170310"/>
                  <a:pt x="1511188" y="168193"/>
                  <a:pt x="1507776" y="165087"/>
                </a:cubicBezTo>
                <a:cubicBezTo>
                  <a:pt x="1500777" y="158701"/>
                  <a:pt x="1492100" y="154519"/>
                  <a:pt x="1482729" y="153055"/>
                </a:cubicBezTo>
                <a:cubicBezTo>
                  <a:pt x="1482324" y="152969"/>
                  <a:pt x="1481977" y="152969"/>
                  <a:pt x="1481572" y="153055"/>
                </a:cubicBezTo>
                <a:cubicBezTo>
                  <a:pt x="1479837" y="153923"/>
                  <a:pt x="1477234" y="152535"/>
                  <a:pt x="1473416" y="150337"/>
                </a:cubicBezTo>
                <a:cubicBezTo>
                  <a:pt x="1467689" y="146577"/>
                  <a:pt x="1461153" y="144217"/>
                  <a:pt x="1454328" y="143453"/>
                </a:cubicBezTo>
                <a:cubicBezTo>
                  <a:pt x="1450163" y="143644"/>
                  <a:pt x="1446171" y="141943"/>
                  <a:pt x="1443395" y="138826"/>
                </a:cubicBezTo>
                <a:cubicBezTo>
                  <a:pt x="1441428" y="135060"/>
                  <a:pt x="1441197" y="130612"/>
                  <a:pt x="1442817" y="126678"/>
                </a:cubicBezTo>
                <a:cubicBezTo>
                  <a:pt x="1443627" y="123902"/>
                  <a:pt x="1439693" y="116440"/>
                  <a:pt x="1436222" y="109903"/>
                </a:cubicBezTo>
                <a:cubicBezTo>
                  <a:pt x="1433272" y="104906"/>
                  <a:pt x="1430900" y="99613"/>
                  <a:pt x="1429108" y="94112"/>
                </a:cubicBezTo>
                <a:cubicBezTo>
                  <a:pt x="1428240" y="90907"/>
                  <a:pt x="1426678" y="87929"/>
                  <a:pt x="1424538" y="85378"/>
                </a:cubicBezTo>
                <a:cubicBezTo>
                  <a:pt x="1418753" y="78749"/>
                  <a:pt x="1414993" y="70633"/>
                  <a:pt x="1413605" y="61951"/>
                </a:cubicBezTo>
                <a:cubicBezTo>
                  <a:pt x="1413085" y="55235"/>
                  <a:pt x="1409614" y="49086"/>
                  <a:pt x="1404176" y="45118"/>
                </a:cubicBezTo>
                <a:cubicBezTo>
                  <a:pt x="1400995" y="43516"/>
                  <a:pt x="1399491" y="39796"/>
                  <a:pt x="1400706" y="36441"/>
                </a:cubicBezTo>
                <a:cubicBezTo>
                  <a:pt x="1402152" y="30657"/>
                  <a:pt x="1396252" y="26897"/>
                  <a:pt x="1390525" y="23137"/>
                </a:cubicBezTo>
                <a:cubicBezTo>
                  <a:pt x="1387749" y="21627"/>
                  <a:pt x="1385261" y="19672"/>
                  <a:pt x="1383121" y="17353"/>
                </a:cubicBezTo>
                <a:cubicBezTo>
                  <a:pt x="1381386" y="14865"/>
                  <a:pt x="1376122" y="14113"/>
                  <a:pt x="1369990" y="13246"/>
                </a:cubicBezTo>
                <a:cubicBezTo>
                  <a:pt x="1363223" y="12633"/>
                  <a:pt x="1356628" y="10874"/>
                  <a:pt x="1350439" y="8040"/>
                </a:cubicBezTo>
                <a:cubicBezTo>
                  <a:pt x="1345118" y="5240"/>
                  <a:pt x="1339101" y="4037"/>
                  <a:pt x="1333085" y="4569"/>
                </a:cubicBezTo>
                <a:cubicBezTo>
                  <a:pt x="1328690" y="4835"/>
                  <a:pt x="1324294" y="4407"/>
                  <a:pt x="1320070" y="3296"/>
                </a:cubicBezTo>
                <a:cubicBezTo>
                  <a:pt x="1317468" y="2649"/>
                  <a:pt x="1314749" y="2359"/>
                  <a:pt x="1312089" y="2429"/>
                </a:cubicBezTo>
                <a:cubicBezTo>
                  <a:pt x="1303412" y="2764"/>
                  <a:pt x="1294735" y="3829"/>
                  <a:pt x="1286232" y="5610"/>
                </a:cubicBezTo>
                <a:cubicBezTo>
                  <a:pt x="1284149" y="6050"/>
                  <a:pt x="1282067" y="6362"/>
                  <a:pt x="1279985" y="6536"/>
                </a:cubicBezTo>
                <a:cubicBezTo>
                  <a:pt x="1279349" y="6582"/>
                  <a:pt x="1278712" y="6582"/>
                  <a:pt x="1278076" y="6536"/>
                </a:cubicBezTo>
                <a:cubicBezTo>
                  <a:pt x="1276572" y="6536"/>
                  <a:pt x="1274258" y="6189"/>
                  <a:pt x="1271598" y="6189"/>
                </a:cubicBezTo>
                <a:cubicBezTo>
                  <a:pt x="1261764" y="5512"/>
                  <a:pt x="1252219" y="9735"/>
                  <a:pt x="1246146" y="17468"/>
                </a:cubicBezTo>
                <a:cubicBezTo>
                  <a:pt x="1240362" y="25104"/>
                  <a:pt x="1240362" y="27880"/>
                  <a:pt x="1241114" y="29037"/>
                </a:cubicBezTo>
                <a:cubicBezTo>
                  <a:pt x="1241866" y="30194"/>
                  <a:pt x="1244006" y="30425"/>
                  <a:pt x="1246146" y="30425"/>
                </a:cubicBezTo>
                <a:lnTo>
                  <a:pt x="1247650" y="30425"/>
                </a:lnTo>
                <a:cubicBezTo>
                  <a:pt x="1251699" y="30425"/>
                  <a:pt x="1254591" y="36904"/>
                  <a:pt x="1256847" y="50729"/>
                </a:cubicBezTo>
                <a:cubicBezTo>
                  <a:pt x="1257831" y="56513"/>
                  <a:pt x="1248286" y="63975"/>
                  <a:pt x="1244064" y="65711"/>
                </a:cubicBezTo>
                <a:cubicBezTo>
                  <a:pt x="1239841" y="67446"/>
                  <a:pt x="1229313" y="84452"/>
                  <a:pt x="1227751" y="90815"/>
                </a:cubicBezTo>
                <a:cubicBezTo>
                  <a:pt x="1226305" y="94893"/>
                  <a:pt x="1224339" y="98780"/>
                  <a:pt x="1221967" y="102384"/>
                </a:cubicBezTo>
                <a:cubicBezTo>
                  <a:pt x="1218496" y="108168"/>
                  <a:pt x="1214100" y="115688"/>
                  <a:pt x="1214910" y="118580"/>
                </a:cubicBezTo>
                <a:cubicBezTo>
                  <a:pt x="1215488" y="120715"/>
                  <a:pt x="1215026" y="122982"/>
                  <a:pt x="1213753" y="124770"/>
                </a:cubicBezTo>
                <a:cubicBezTo>
                  <a:pt x="1210976" y="128610"/>
                  <a:pt x="1206812" y="131254"/>
                  <a:pt x="1202185" y="132174"/>
                </a:cubicBezTo>
                <a:cubicBezTo>
                  <a:pt x="1196747" y="134106"/>
                  <a:pt x="1191599" y="136772"/>
                  <a:pt x="1186856" y="140098"/>
                </a:cubicBezTo>
                <a:cubicBezTo>
                  <a:pt x="1183616" y="142343"/>
                  <a:pt x="1180146" y="144280"/>
                  <a:pt x="1176501" y="145883"/>
                </a:cubicBezTo>
                <a:cubicBezTo>
                  <a:pt x="1175229" y="146259"/>
                  <a:pt x="1173841" y="146415"/>
                  <a:pt x="1172510" y="146345"/>
                </a:cubicBezTo>
                <a:cubicBezTo>
                  <a:pt x="1165395" y="146345"/>
                  <a:pt x="1150876" y="143511"/>
                  <a:pt x="1148505" y="138016"/>
                </a:cubicBezTo>
                <a:cubicBezTo>
                  <a:pt x="1148157" y="137148"/>
                  <a:pt x="1147059" y="135818"/>
                  <a:pt x="1143993" y="134430"/>
                </a:cubicBezTo>
                <a:lnTo>
                  <a:pt x="1122706" y="177003"/>
                </a:lnTo>
                <a:lnTo>
                  <a:pt x="1120971" y="190885"/>
                </a:lnTo>
                <a:cubicBezTo>
                  <a:pt x="1120913" y="191348"/>
                  <a:pt x="1120566" y="191719"/>
                  <a:pt x="1120103" y="191811"/>
                </a:cubicBezTo>
                <a:cubicBezTo>
                  <a:pt x="1120103" y="191811"/>
                  <a:pt x="1114319" y="193257"/>
                  <a:pt x="1113682" y="196670"/>
                </a:cubicBezTo>
                <a:cubicBezTo>
                  <a:pt x="1113104" y="198695"/>
                  <a:pt x="1114261" y="201182"/>
                  <a:pt x="1117153" y="204016"/>
                </a:cubicBezTo>
                <a:cubicBezTo>
                  <a:pt x="1121433" y="208355"/>
                  <a:pt x="1123863" y="208933"/>
                  <a:pt x="1125714" y="208933"/>
                </a:cubicBezTo>
                <a:cubicBezTo>
                  <a:pt x="1127565" y="208806"/>
                  <a:pt x="1129358" y="208395"/>
                  <a:pt x="1131094" y="207718"/>
                </a:cubicBezTo>
                <a:cubicBezTo>
                  <a:pt x="1135374" y="206243"/>
                  <a:pt x="1139886" y="205485"/>
                  <a:pt x="1144455" y="205462"/>
                </a:cubicBezTo>
                <a:cubicBezTo>
                  <a:pt x="1150529" y="205618"/>
                  <a:pt x="1156487" y="207227"/>
                  <a:pt x="1161809" y="210148"/>
                </a:cubicBezTo>
                <a:cubicBezTo>
                  <a:pt x="1163602" y="211195"/>
                  <a:pt x="1165569" y="211883"/>
                  <a:pt x="1167593" y="212172"/>
                </a:cubicBezTo>
                <a:cubicBezTo>
                  <a:pt x="1168403" y="212172"/>
                  <a:pt x="1169329" y="211883"/>
                  <a:pt x="1170196" y="209685"/>
                </a:cubicBezTo>
                <a:cubicBezTo>
                  <a:pt x="1173031" y="203611"/>
                  <a:pt x="1179047" y="199695"/>
                  <a:pt x="1185756" y="199620"/>
                </a:cubicBezTo>
                <a:cubicBezTo>
                  <a:pt x="1190731" y="199655"/>
                  <a:pt x="1195416" y="201957"/>
                  <a:pt x="1198482" y="205867"/>
                </a:cubicBezTo>
                <a:cubicBezTo>
                  <a:pt x="1202994" y="210651"/>
                  <a:pt x="1207853" y="215082"/>
                  <a:pt x="1213059" y="219114"/>
                </a:cubicBezTo>
                <a:cubicBezTo>
                  <a:pt x="1224627" y="228542"/>
                  <a:pt x="1235155" y="237508"/>
                  <a:pt x="1233883" y="243755"/>
                </a:cubicBezTo>
                <a:cubicBezTo>
                  <a:pt x="1233247" y="247110"/>
                  <a:pt x="1230412" y="251101"/>
                  <a:pt x="1220752" y="251101"/>
                </a:cubicBezTo>
                <a:cubicBezTo>
                  <a:pt x="1215142" y="250957"/>
                  <a:pt x="1209588" y="249962"/>
                  <a:pt x="1204267" y="248151"/>
                </a:cubicBezTo>
                <a:cubicBezTo>
                  <a:pt x="1202879" y="247677"/>
                  <a:pt x="1201433" y="247446"/>
                  <a:pt x="1199929" y="247457"/>
                </a:cubicBezTo>
                <a:cubicBezTo>
                  <a:pt x="1194607" y="247914"/>
                  <a:pt x="1189400" y="249245"/>
                  <a:pt x="1184484" y="251391"/>
                </a:cubicBezTo>
                <a:cubicBezTo>
                  <a:pt x="1179741" y="253496"/>
                  <a:pt x="1174651" y="254786"/>
                  <a:pt x="1169502" y="255208"/>
                </a:cubicBezTo>
                <a:cubicBezTo>
                  <a:pt x="1157182" y="255180"/>
                  <a:pt x="1145381" y="260148"/>
                  <a:pt x="1136820" y="268975"/>
                </a:cubicBezTo>
                <a:cubicBezTo>
                  <a:pt x="1133812" y="272128"/>
                  <a:pt x="1131209" y="275668"/>
                  <a:pt x="1129127" y="279503"/>
                </a:cubicBezTo>
                <a:cubicBezTo>
                  <a:pt x="1126177" y="286658"/>
                  <a:pt x="1119467" y="291552"/>
                  <a:pt x="1111774" y="292171"/>
                </a:cubicBezTo>
                <a:cubicBezTo>
                  <a:pt x="1108997" y="292518"/>
                  <a:pt x="1106510" y="292691"/>
                  <a:pt x="1104138" y="292865"/>
                </a:cubicBezTo>
                <a:cubicBezTo>
                  <a:pt x="1092395" y="293021"/>
                  <a:pt x="1081058" y="297094"/>
                  <a:pt x="1071861" y="304434"/>
                </a:cubicBezTo>
                <a:cubicBezTo>
                  <a:pt x="1064457" y="309663"/>
                  <a:pt x="1055607" y="312434"/>
                  <a:pt x="1046525" y="312359"/>
                </a:cubicBezTo>
                <a:cubicBezTo>
                  <a:pt x="1039699" y="312370"/>
                  <a:pt x="1032932" y="310889"/>
                  <a:pt x="1026742" y="308020"/>
                </a:cubicBezTo>
                <a:cubicBezTo>
                  <a:pt x="1023619" y="306441"/>
                  <a:pt x="1020148" y="305591"/>
                  <a:pt x="1016620" y="305533"/>
                </a:cubicBezTo>
                <a:cubicBezTo>
                  <a:pt x="1010315" y="305492"/>
                  <a:pt x="1004588" y="309009"/>
                  <a:pt x="1001754" y="314615"/>
                </a:cubicBezTo>
                <a:cubicBezTo>
                  <a:pt x="998283" y="320688"/>
                  <a:pt x="1000828" y="324679"/>
                  <a:pt x="1004010" y="329770"/>
                </a:cubicBezTo>
                <a:cubicBezTo>
                  <a:pt x="1007654" y="334316"/>
                  <a:pt x="1009389" y="340054"/>
                  <a:pt x="1008984" y="345850"/>
                </a:cubicBezTo>
                <a:cubicBezTo>
                  <a:pt x="1007943" y="354122"/>
                  <a:pt x="1001754" y="356841"/>
                  <a:pt x="994639" y="360022"/>
                </a:cubicBezTo>
                <a:cubicBezTo>
                  <a:pt x="987293" y="362758"/>
                  <a:pt x="980641" y="367155"/>
                  <a:pt x="975203" y="372864"/>
                </a:cubicBezTo>
                <a:cubicBezTo>
                  <a:pt x="961147" y="388713"/>
                  <a:pt x="937836" y="396001"/>
                  <a:pt x="924994" y="394382"/>
                </a:cubicBezTo>
                <a:lnTo>
                  <a:pt x="919210" y="393398"/>
                </a:lnTo>
                <a:cubicBezTo>
                  <a:pt x="910360" y="391611"/>
                  <a:pt x="901394" y="390622"/>
                  <a:pt x="892370" y="390448"/>
                </a:cubicBezTo>
                <a:cubicBezTo>
                  <a:pt x="882710" y="390286"/>
                  <a:pt x="873108" y="392265"/>
                  <a:pt x="864258" y="396233"/>
                </a:cubicBezTo>
                <a:cubicBezTo>
                  <a:pt x="855408" y="400484"/>
                  <a:pt x="846905" y="405401"/>
                  <a:pt x="838806" y="410925"/>
                </a:cubicBezTo>
                <a:cubicBezTo>
                  <a:pt x="829031" y="417230"/>
                  <a:pt x="821453" y="422031"/>
                  <a:pt x="816074" y="420990"/>
                </a:cubicBezTo>
                <a:cubicBezTo>
                  <a:pt x="812661" y="420082"/>
                  <a:pt x="809653" y="418046"/>
                  <a:pt x="807512" y="415206"/>
                </a:cubicBezTo>
                <a:cubicBezTo>
                  <a:pt x="805256" y="412053"/>
                  <a:pt x="801670" y="410144"/>
                  <a:pt x="797795" y="410058"/>
                </a:cubicBezTo>
                <a:lnTo>
                  <a:pt x="795307" y="410058"/>
                </a:lnTo>
                <a:cubicBezTo>
                  <a:pt x="793283" y="410376"/>
                  <a:pt x="791201" y="410532"/>
                  <a:pt x="789118" y="410520"/>
                </a:cubicBezTo>
                <a:cubicBezTo>
                  <a:pt x="780962" y="410243"/>
                  <a:pt x="773095" y="407588"/>
                  <a:pt x="766443" y="402885"/>
                </a:cubicBezTo>
                <a:cubicBezTo>
                  <a:pt x="764419" y="401688"/>
                  <a:pt x="762105" y="401103"/>
                  <a:pt x="759791" y="401207"/>
                </a:cubicBezTo>
                <a:cubicBezTo>
                  <a:pt x="758634" y="401150"/>
                  <a:pt x="757535" y="401150"/>
                  <a:pt x="756378" y="401207"/>
                </a:cubicBezTo>
                <a:cubicBezTo>
                  <a:pt x="755048" y="401207"/>
                  <a:pt x="753718" y="401207"/>
                  <a:pt x="752329" y="401207"/>
                </a:cubicBezTo>
                <a:cubicBezTo>
                  <a:pt x="746487" y="401202"/>
                  <a:pt x="740876" y="399154"/>
                  <a:pt x="736422" y="395423"/>
                </a:cubicBezTo>
                <a:cubicBezTo>
                  <a:pt x="726184" y="387788"/>
                  <a:pt x="709929" y="386746"/>
                  <a:pt x="698071" y="386052"/>
                </a:cubicBezTo>
                <a:cubicBezTo>
                  <a:pt x="693964" y="385763"/>
                  <a:pt x="690378" y="385589"/>
                  <a:pt x="687659" y="385127"/>
                </a:cubicBezTo>
                <a:cubicBezTo>
                  <a:pt x="677305" y="384271"/>
                  <a:pt x="666951" y="383981"/>
                  <a:pt x="656597" y="384259"/>
                </a:cubicBezTo>
                <a:cubicBezTo>
                  <a:pt x="643350" y="384259"/>
                  <a:pt x="629699" y="384259"/>
                  <a:pt x="622584" y="383334"/>
                </a:cubicBezTo>
                <a:cubicBezTo>
                  <a:pt x="617032" y="382900"/>
                  <a:pt x="611478" y="382900"/>
                  <a:pt x="605925" y="383334"/>
                </a:cubicBezTo>
                <a:cubicBezTo>
                  <a:pt x="603033" y="383334"/>
                  <a:pt x="600141" y="383623"/>
                  <a:pt x="597827" y="383623"/>
                </a:cubicBezTo>
                <a:cubicBezTo>
                  <a:pt x="592737" y="383623"/>
                  <a:pt x="587473" y="383044"/>
                  <a:pt x="586258" y="378995"/>
                </a:cubicBezTo>
                <a:cubicBezTo>
                  <a:pt x="585159" y="376039"/>
                  <a:pt x="583424" y="373338"/>
                  <a:pt x="581226" y="371071"/>
                </a:cubicBezTo>
                <a:cubicBezTo>
                  <a:pt x="575962" y="365356"/>
                  <a:pt x="572202" y="358385"/>
                  <a:pt x="570409" y="350825"/>
                </a:cubicBezTo>
                <a:cubicBezTo>
                  <a:pt x="567574" y="337984"/>
                  <a:pt x="561154" y="330984"/>
                  <a:pt x="550163" y="328786"/>
                </a:cubicBezTo>
                <a:cubicBezTo>
                  <a:pt x="546114" y="327757"/>
                  <a:pt x="542586" y="325316"/>
                  <a:pt x="540214" y="321903"/>
                </a:cubicBezTo>
                <a:cubicBezTo>
                  <a:pt x="538479" y="319207"/>
                  <a:pt x="535760" y="317264"/>
                  <a:pt x="532637" y="316466"/>
                </a:cubicBezTo>
                <a:cubicBezTo>
                  <a:pt x="530959" y="316466"/>
                  <a:pt x="529513" y="314615"/>
                  <a:pt x="527662" y="312590"/>
                </a:cubicBezTo>
                <a:cubicBezTo>
                  <a:pt x="524075" y="307581"/>
                  <a:pt x="518465" y="304457"/>
                  <a:pt x="512333" y="304087"/>
                </a:cubicBezTo>
                <a:cubicBezTo>
                  <a:pt x="500013" y="304087"/>
                  <a:pt x="456456" y="299228"/>
                  <a:pt x="449861" y="288527"/>
                </a:cubicBezTo>
                <a:cubicBezTo>
                  <a:pt x="446853" y="284119"/>
                  <a:pt x="447663" y="278126"/>
                  <a:pt x="451770" y="274702"/>
                </a:cubicBezTo>
                <a:cubicBezTo>
                  <a:pt x="454142" y="272226"/>
                  <a:pt x="455588" y="268993"/>
                  <a:pt x="455877" y="265562"/>
                </a:cubicBezTo>
                <a:cubicBezTo>
                  <a:pt x="456050" y="261322"/>
                  <a:pt x="456687" y="257117"/>
                  <a:pt x="457786" y="253010"/>
                </a:cubicBezTo>
                <a:cubicBezTo>
                  <a:pt x="459174" y="246821"/>
                  <a:pt x="460505" y="241037"/>
                  <a:pt x="457786" y="239070"/>
                </a:cubicBezTo>
                <a:cubicBezTo>
                  <a:pt x="452406" y="234847"/>
                  <a:pt x="443961" y="225708"/>
                  <a:pt x="442805" y="217610"/>
                </a:cubicBezTo>
                <a:cubicBezTo>
                  <a:pt x="441821" y="210437"/>
                  <a:pt x="429038" y="200256"/>
                  <a:pt x="420361" y="199562"/>
                </a:cubicBezTo>
                <a:cubicBezTo>
                  <a:pt x="411684" y="198868"/>
                  <a:pt x="403354" y="193026"/>
                  <a:pt x="395141" y="185911"/>
                </a:cubicBezTo>
                <a:cubicBezTo>
                  <a:pt x="393347" y="184314"/>
                  <a:pt x="391381" y="182868"/>
                  <a:pt x="389356" y="181573"/>
                </a:cubicBezTo>
                <a:cubicBezTo>
                  <a:pt x="383572" y="177639"/>
                  <a:pt x="377788" y="174342"/>
                  <a:pt x="375474" y="160055"/>
                </a:cubicBezTo>
                <a:cubicBezTo>
                  <a:pt x="375474" y="159360"/>
                  <a:pt x="375126" y="158724"/>
                  <a:pt x="374953" y="158030"/>
                </a:cubicBezTo>
                <a:cubicBezTo>
                  <a:pt x="374953" y="157914"/>
                  <a:pt x="374953" y="157799"/>
                  <a:pt x="374953" y="157683"/>
                </a:cubicBezTo>
                <a:lnTo>
                  <a:pt x="370962" y="156931"/>
                </a:lnTo>
                <a:cubicBezTo>
                  <a:pt x="369053" y="156445"/>
                  <a:pt x="367144" y="156150"/>
                  <a:pt x="365177" y="156063"/>
                </a:cubicBezTo>
                <a:cubicBezTo>
                  <a:pt x="362632" y="155751"/>
                  <a:pt x="360261" y="154565"/>
                  <a:pt x="358525" y="152708"/>
                </a:cubicBezTo>
                <a:cubicBezTo>
                  <a:pt x="357311" y="155468"/>
                  <a:pt x="355691" y="158042"/>
                  <a:pt x="353724" y="160344"/>
                </a:cubicBezTo>
                <a:cubicBezTo>
                  <a:pt x="351526" y="162467"/>
                  <a:pt x="350138" y="165255"/>
                  <a:pt x="349733" y="168268"/>
                </a:cubicBezTo>
                <a:cubicBezTo>
                  <a:pt x="349733" y="175730"/>
                  <a:pt x="346320" y="184465"/>
                  <a:pt x="336833" y="184465"/>
                </a:cubicBezTo>
                <a:cubicBezTo>
                  <a:pt x="329487" y="184465"/>
                  <a:pt x="320637" y="189613"/>
                  <a:pt x="320059" y="204074"/>
                </a:cubicBezTo>
                <a:cubicBezTo>
                  <a:pt x="319770" y="208800"/>
                  <a:pt x="320868" y="213508"/>
                  <a:pt x="323240" y="217610"/>
                </a:cubicBezTo>
                <a:cubicBezTo>
                  <a:pt x="325322" y="220132"/>
                  <a:pt x="325554" y="223689"/>
                  <a:pt x="323818" y="226460"/>
                </a:cubicBezTo>
                <a:cubicBezTo>
                  <a:pt x="317803" y="232909"/>
                  <a:pt x="309473" y="236750"/>
                  <a:pt x="300681" y="237161"/>
                </a:cubicBezTo>
                <a:cubicBezTo>
                  <a:pt x="299293" y="237225"/>
                  <a:pt x="297846" y="236970"/>
                  <a:pt x="296574" y="236409"/>
                </a:cubicBezTo>
                <a:cubicBezTo>
                  <a:pt x="292062" y="234905"/>
                  <a:pt x="287261" y="234332"/>
                  <a:pt x="282518" y="234732"/>
                </a:cubicBezTo>
                <a:cubicBezTo>
                  <a:pt x="278989" y="234732"/>
                  <a:pt x="275287" y="234732"/>
                  <a:pt x="271759" y="234269"/>
                </a:cubicBezTo>
                <a:cubicBezTo>
                  <a:pt x="268578" y="233650"/>
                  <a:pt x="265627" y="232435"/>
                  <a:pt x="262909" y="230682"/>
                </a:cubicBezTo>
                <a:cubicBezTo>
                  <a:pt x="261347" y="229612"/>
                  <a:pt x="259611" y="228883"/>
                  <a:pt x="257761" y="228542"/>
                </a:cubicBezTo>
                <a:cubicBezTo>
                  <a:pt x="257182" y="228542"/>
                  <a:pt x="255678" y="228542"/>
                  <a:pt x="254579" y="233401"/>
                </a:cubicBezTo>
                <a:cubicBezTo>
                  <a:pt x="252381" y="240637"/>
                  <a:pt x="249778" y="247747"/>
                  <a:pt x="246770" y="254688"/>
                </a:cubicBezTo>
                <a:cubicBezTo>
                  <a:pt x="242432" y="265215"/>
                  <a:pt x="235201" y="282916"/>
                  <a:pt x="237457" y="284825"/>
                </a:cubicBezTo>
                <a:cubicBezTo>
                  <a:pt x="240928" y="287584"/>
                  <a:pt x="242779" y="291974"/>
                  <a:pt x="242200" y="296394"/>
                </a:cubicBezTo>
                <a:cubicBezTo>
                  <a:pt x="241275" y="298545"/>
                  <a:pt x="239019" y="299806"/>
                  <a:pt x="236705" y="299459"/>
                </a:cubicBezTo>
                <a:cubicBezTo>
                  <a:pt x="226756" y="299459"/>
                  <a:pt x="219872" y="297666"/>
                  <a:pt x="216344" y="294138"/>
                </a:cubicBezTo>
                <a:cubicBezTo>
                  <a:pt x="214840" y="292634"/>
                  <a:pt x="210270" y="294138"/>
                  <a:pt x="205411" y="296047"/>
                </a:cubicBezTo>
                <a:cubicBezTo>
                  <a:pt x="200957" y="298071"/>
                  <a:pt x="196214" y="299228"/>
                  <a:pt x="191356" y="299459"/>
                </a:cubicBezTo>
                <a:lnTo>
                  <a:pt x="191356" y="299459"/>
                </a:lnTo>
                <a:cubicBezTo>
                  <a:pt x="187480" y="299459"/>
                  <a:pt x="176200" y="304781"/>
                  <a:pt x="175621" y="307384"/>
                </a:cubicBezTo>
                <a:cubicBezTo>
                  <a:pt x="175621" y="307384"/>
                  <a:pt x="175621" y="307673"/>
                  <a:pt x="176200" y="308020"/>
                </a:cubicBezTo>
                <a:cubicBezTo>
                  <a:pt x="182910" y="311375"/>
                  <a:pt x="182910" y="326299"/>
                  <a:pt x="182910" y="332662"/>
                </a:cubicBezTo>
                <a:cubicBezTo>
                  <a:pt x="183893" y="336902"/>
                  <a:pt x="185571" y="340963"/>
                  <a:pt x="187826" y="344693"/>
                </a:cubicBezTo>
                <a:cubicBezTo>
                  <a:pt x="191529" y="351924"/>
                  <a:pt x="195347" y="359444"/>
                  <a:pt x="193611" y="363377"/>
                </a:cubicBezTo>
                <a:cubicBezTo>
                  <a:pt x="191934" y="366478"/>
                  <a:pt x="189736" y="369243"/>
                  <a:pt x="187074" y="371533"/>
                </a:cubicBezTo>
                <a:cubicBezTo>
                  <a:pt x="183199" y="375351"/>
                  <a:pt x="179208" y="379342"/>
                  <a:pt x="179208" y="383565"/>
                </a:cubicBezTo>
                <a:cubicBezTo>
                  <a:pt x="179208" y="385763"/>
                  <a:pt x="179208" y="387845"/>
                  <a:pt x="179555" y="389928"/>
                </a:cubicBezTo>
                <a:cubicBezTo>
                  <a:pt x="180018" y="395307"/>
                  <a:pt x="180423" y="399935"/>
                  <a:pt x="176663" y="401497"/>
                </a:cubicBezTo>
                <a:lnTo>
                  <a:pt x="175275" y="402133"/>
                </a:lnTo>
                <a:cubicBezTo>
                  <a:pt x="167408" y="405274"/>
                  <a:pt x="159830" y="409144"/>
                  <a:pt x="152657" y="413702"/>
                </a:cubicBezTo>
                <a:cubicBezTo>
                  <a:pt x="149765" y="415605"/>
                  <a:pt x="146583" y="417068"/>
                  <a:pt x="143287" y="418040"/>
                </a:cubicBezTo>
                <a:cubicBezTo>
                  <a:pt x="138428" y="419775"/>
                  <a:pt x="133800" y="421395"/>
                  <a:pt x="131718" y="425444"/>
                </a:cubicBezTo>
                <a:cubicBezTo>
                  <a:pt x="128478" y="433641"/>
                  <a:pt x="120265" y="438806"/>
                  <a:pt x="111472" y="438228"/>
                </a:cubicBezTo>
                <a:lnTo>
                  <a:pt x="107886" y="438228"/>
                </a:lnTo>
                <a:lnTo>
                  <a:pt x="104994" y="437881"/>
                </a:lnTo>
                <a:cubicBezTo>
                  <a:pt x="102680" y="437522"/>
                  <a:pt x="100308" y="437308"/>
                  <a:pt x="97937" y="437244"/>
                </a:cubicBezTo>
                <a:cubicBezTo>
                  <a:pt x="92268" y="437291"/>
                  <a:pt x="87004" y="440270"/>
                  <a:pt x="84054" y="445111"/>
                </a:cubicBezTo>
                <a:cubicBezTo>
                  <a:pt x="81451" y="449120"/>
                  <a:pt x="77460" y="452070"/>
                  <a:pt x="72890" y="453441"/>
                </a:cubicBezTo>
                <a:cubicBezTo>
                  <a:pt x="70923" y="453950"/>
                  <a:pt x="69073" y="454875"/>
                  <a:pt x="67511" y="456160"/>
                </a:cubicBezTo>
                <a:cubicBezTo>
                  <a:pt x="66238" y="457253"/>
                  <a:pt x="64561" y="457866"/>
                  <a:pt x="62883" y="457895"/>
                </a:cubicBezTo>
                <a:cubicBezTo>
                  <a:pt x="59470" y="457455"/>
                  <a:pt x="56347" y="455957"/>
                  <a:pt x="53860" y="453614"/>
                </a:cubicBezTo>
                <a:cubicBezTo>
                  <a:pt x="52529" y="452538"/>
                  <a:pt x="51025" y="451625"/>
                  <a:pt x="49463" y="450896"/>
                </a:cubicBezTo>
                <a:cubicBezTo>
                  <a:pt x="47265" y="450086"/>
                  <a:pt x="44141" y="451763"/>
                  <a:pt x="41133" y="453441"/>
                </a:cubicBezTo>
                <a:cubicBezTo>
                  <a:pt x="38877" y="455055"/>
                  <a:pt x="36275" y="456067"/>
                  <a:pt x="33498" y="456391"/>
                </a:cubicBezTo>
                <a:cubicBezTo>
                  <a:pt x="31416" y="456391"/>
                  <a:pt x="29160" y="458415"/>
                  <a:pt x="26846" y="460556"/>
                </a:cubicBezTo>
                <a:cubicBezTo>
                  <a:pt x="24532" y="462974"/>
                  <a:pt x="21756" y="464848"/>
                  <a:pt x="18632" y="466051"/>
                </a:cubicBezTo>
                <a:cubicBezTo>
                  <a:pt x="17013" y="466508"/>
                  <a:pt x="15393" y="466838"/>
                  <a:pt x="13715" y="467034"/>
                </a:cubicBezTo>
                <a:cubicBezTo>
                  <a:pt x="9319" y="467613"/>
                  <a:pt x="7353" y="468075"/>
                  <a:pt x="7353" y="472240"/>
                </a:cubicBezTo>
                <a:cubicBezTo>
                  <a:pt x="7468" y="477180"/>
                  <a:pt x="5964" y="482022"/>
                  <a:pt x="3014" y="486007"/>
                </a:cubicBezTo>
                <a:lnTo>
                  <a:pt x="7063" y="508624"/>
                </a:lnTo>
                <a:cubicBezTo>
                  <a:pt x="11749" y="510244"/>
                  <a:pt x="33151" y="518053"/>
                  <a:pt x="34192" y="526614"/>
                </a:cubicBezTo>
                <a:cubicBezTo>
                  <a:pt x="35233" y="535175"/>
                  <a:pt x="39514" y="562940"/>
                  <a:pt x="39572" y="563229"/>
                </a:cubicBezTo>
                <a:lnTo>
                  <a:pt x="39572" y="563519"/>
                </a:lnTo>
                <a:cubicBezTo>
                  <a:pt x="42637" y="565890"/>
                  <a:pt x="45993" y="568262"/>
                  <a:pt x="49174" y="570576"/>
                </a:cubicBezTo>
                <a:cubicBezTo>
                  <a:pt x="58718" y="577401"/>
                  <a:pt x="63693" y="581103"/>
                  <a:pt x="63693" y="583706"/>
                </a:cubicBezTo>
                <a:cubicBezTo>
                  <a:pt x="63809" y="592296"/>
                  <a:pt x="69073" y="599978"/>
                  <a:pt x="76997" y="603258"/>
                </a:cubicBezTo>
                <a:cubicBezTo>
                  <a:pt x="83938" y="606451"/>
                  <a:pt x="90706" y="610002"/>
                  <a:pt x="97301" y="613901"/>
                </a:cubicBezTo>
                <a:lnTo>
                  <a:pt x="97821" y="612628"/>
                </a:lnTo>
                <a:cubicBezTo>
                  <a:pt x="97937" y="612223"/>
                  <a:pt x="98342" y="611940"/>
                  <a:pt x="98747" y="611934"/>
                </a:cubicBezTo>
                <a:lnTo>
                  <a:pt x="109506" y="610835"/>
                </a:lnTo>
                <a:cubicBezTo>
                  <a:pt x="109737" y="610777"/>
                  <a:pt x="109968" y="610777"/>
                  <a:pt x="110200" y="610835"/>
                </a:cubicBezTo>
                <a:cubicBezTo>
                  <a:pt x="112051" y="612056"/>
                  <a:pt x="113786" y="613450"/>
                  <a:pt x="115406" y="615000"/>
                </a:cubicBezTo>
                <a:cubicBezTo>
                  <a:pt x="119802" y="606323"/>
                  <a:pt x="137040" y="597647"/>
                  <a:pt x="146873" y="598167"/>
                </a:cubicBezTo>
                <a:cubicBezTo>
                  <a:pt x="155608" y="598630"/>
                  <a:pt x="172151" y="610777"/>
                  <a:pt x="177589" y="619107"/>
                </a:cubicBezTo>
                <a:cubicBezTo>
                  <a:pt x="179150" y="620912"/>
                  <a:pt x="179787" y="623353"/>
                  <a:pt x="179324" y="625701"/>
                </a:cubicBezTo>
                <a:cubicBezTo>
                  <a:pt x="177010" y="632122"/>
                  <a:pt x="160004" y="657111"/>
                  <a:pt x="151269" y="659135"/>
                </a:cubicBezTo>
                <a:cubicBezTo>
                  <a:pt x="147625" y="659858"/>
                  <a:pt x="143981" y="660246"/>
                  <a:pt x="140279" y="660292"/>
                </a:cubicBezTo>
                <a:cubicBezTo>
                  <a:pt x="140279" y="661217"/>
                  <a:pt x="139932" y="662027"/>
                  <a:pt x="139816" y="662895"/>
                </a:cubicBezTo>
                <a:cubicBezTo>
                  <a:pt x="139296" y="664885"/>
                  <a:pt x="138948" y="666915"/>
                  <a:pt x="138775" y="668969"/>
                </a:cubicBezTo>
                <a:cubicBezTo>
                  <a:pt x="140105" y="673336"/>
                  <a:pt x="142419" y="677310"/>
                  <a:pt x="145658" y="680538"/>
                </a:cubicBezTo>
                <a:cubicBezTo>
                  <a:pt x="148667" y="684187"/>
                  <a:pt x="151327" y="688057"/>
                  <a:pt x="153757" y="692106"/>
                </a:cubicBezTo>
                <a:cubicBezTo>
                  <a:pt x="155376" y="694837"/>
                  <a:pt x="155376" y="698226"/>
                  <a:pt x="153757" y="700957"/>
                </a:cubicBezTo>
                <a:cubicBezTo>
                  <a:pt x="151501" y="704323"/>
                  <a:pt x="147683" y="706278"/>
                  <a:pt x="143634" y="706105"/>
                </a:cubicBezTo>
                <a:cubicBezTo>
                  <a:pt x="140684" y="706139"/>
                  <a:pt x="137850" y="705139"/>
                  <a:pt x="135594" y="703270"/>
                </a:cubicBezTo>
                <a:cubicBezTo>
                  <a:pt x="134784" y="702414"/>
                  <a:pt x="133684" y="701882"/>
                  <a:pt x="132470" y="701766"/>
                </a:cubicBezTo>
                <a:cubicBezTo>
                  <a:pt x="131313" y="701911"/>
                  <a:pt x="130330" y="702692"/>
                  <a:pt x="129924" y="703791"/>
                </a:cubicBezTo>
                <a:cubicBezTo>
                  <a:pt x="128536" y="706978"/>
                  <a:pt x="128826" y="710651"/>
                  <a:pt x="130734" y="713566"/>
                </a:cubicBezTo>
                <a:cubicBezTo>
                  <a:pt x="132644" y="716632"/>
                  <a:pt x="133800" y="720097"/>
                  <a:pt x="134090" y="723689"/>
                </a:cubicBezTo>
                <a:cubicBezTo>
                  <a:pt x="135130" y="729069"/>
                  <a:pt x="136056" y="734159"/>
                  <a:pt x="139874" y="734680"/>
                </a:cubicBezTo>
                <a:cubicBezTo>
                  <a:pt x="144212" y="736155"/>
                  <a:pt x="148030" y="738972"/>
                  <a:pt x="150691" y="742720"/>
                </a:cubicBezTo>
                <a:cubicBezTo>
                  <a:pt x="154393" y="746711"/>
                  <a:pt x="158268" y="750876"/>
                  <a:pt x="162260" y="750876"/>
                </a:cubicBezTo>
                <a:cubicBezTo>
                  <a:pt x="170879" y="750876"/>
                  <a:pt x="178167" y="763197"/>
                  <a:pt x="179266" y="765222"/>
                </a:cubicBezTo>
                <a:cubicBezTo>
                  <a:pt x="181811" y="766841"/>
                  <a:pt x="191413" y="773320"/>
                  <a:pt x="191413" y="777889"/>
                </a:cubicBezTo>
                <a:lnTo>
                  <a:pt x="191413" y="778237"/>
                </a:lnTo>
                <a:lnTo>
                  <a:pt x="191818" y="778237"/>
                </a:lnTo>
                <a:cubicBezTo>
                  <a:pt x="199511" y="777485"/>
                  <a:pt x="204601" y="776964"/>
                  <a:pt x="205411" y="774072"/>
                </a:cubicBezTo>
                <a:cubicBezTo>
                  <a:pt x="206221" y="771179"/>
                  <a:pt x="208766" y="770485"/>
                  <a:pt x="212584" y="770485"/>
                </a:cubicBezTo>
                <a:cubicBezTo>
                  <a:pt x="218832" y="770746"/>
                  <a:pt x="224731" y="773372"/>
                  <a:pt x="229127" y="777832"/>
                </a:cubicBezTo>
                <a:cubicBezTo>
                  <a:pt x="238846" y="785982"/>
                  <a:pt x="249084" y="793536"/>
                  <a:pt x="259727" y="800449"/>
                </a:cubicBezTo>
                <a:cubicBezTo>
                  <a:pt x="269734" y="807332"/>
                  <a:pt x="279221" y="813869"/>
                  <a:pt x="284774" y="818380"/>
                </a:cubicBezTo>
                <a:cubicBezTo>
                  <a:pt x="297268" y="828503"/>
                  <a:pt x="325265" y="839320"/>
                  <a:pt x="335908" y="839320"/>
                </a:cubicBezTo>
                <a:lnTo>
                  <a:pt x="336660" y="839320"/>
                </a:lnTo>
                <a:cubicBezTo>
                  <a:pt x="341693" y="839309"/>
                  <a:pt x="346667" y="840292"/>
                  <a:pt x="351352" y="842212"/>
                </a:cubicBezTo>
                <a:cubicBezTo>
                  <a:pt x="358063" y="844804"/>
                  <a:pt x="365235" y="846076"/>
                  <a:pt x="372466" y="845972"/>
                </a:cubicBezTo>
                <a:cubicBezTo>
                  <a:pt x="374374" y="845856"/>
                  <a:pt x="376342" y="845856"/>
                  <a:pt x="378250" y="845972"/>
                </a:cubicBezTo>
                <a:cubicBezTo>
                  <a:pt x="379234" y="845186"/>
                  <a:pt x="380275" y="844526"/>
                  <a:pt x="381432" y="844006"/>
                </a:cubicBezTo>
                <a:cubicBezTo>
                  <a:pt x="383572" y="843109"/>
                  <a:pt x="385365" y="841651"/>
                  <a:pt x="386695" y="839783"/>
                </a:cubicBezTo>
                <a:cubicBezTo>
                  <a:pt x="387447" y="838429"/>
                  <a:pt x="388777" y="837550"/>
                  <a:pt x="390339" y="837469"/>
                </a:cubicBezTo>
                <a:cubicBezTo>
                  <a:pt x="392017" y="837585"/>
                  <a:pt x="393521" y="838487"/>
                  <a:pt x="394447" y="839899"/>
                </a:cubicBezTo>
                <a:cubicBezTo>
                  <a:pt x="397397" y="844225"/>
                  <a:pt x="398438" y="849593"/>
                  <a:pt x="397281" y="854707"/>
                </a:cubicBezTo>
                <a:cubicBezTo>
                  <a:pt x="396645" y="857819"/>
                  <a:pt x="396876" y="861052"/>
                  <a:pt x="398033" y="864019"/>
                </a:cubicBezTo>
                <a:cubicBezTo>
                  <a:pt x="399884" y="860971"/>
                  <a:pt x="401504" y="857784"/>
                  <a:pt x="402892" y="854475"/>
                </a:cubicBezTo>
                <a:cubicBezTo>
                  <a:pt x="405322" y="847678"/>
                  <a:pt x="410701" y="842322"/>
                  <a:pt x="417469" y="839841"/>
                </a:cubicBezTo>
                <a:cubicBezTo>
                  <a:pt x="419262" y="839118"/>
                  <a:pt x="420997" y="838181"/>
                  <a:pt x="422617" y="837064"/>
                </a:cubicBezTo>
                <a:cubicBezTo>
                  <a:pt x="428401" y="832494"/>
                  <a:pt x="434186" y="834403"/>
                  <a:pt x="446217" y="840593"/>
                </a:cubicBezTo>
                <a:cubicBezTo>
                  <a:pt x="449457" y="842108"/>
                  <a:pt x="453043" y="842496"/>
                  <a:pt x="456514" y="841692"/>
                </a:cubicBezTo>
                <a:cubicBezTo>
                  <a:pt x="458133" y="841391"/>
                  <a:pt x="459753" y="841218"/>
                  <a:pt x="461372" y="841171"/>
                </a:cubicBezTo>
                <a:cubicBezTo>
                  <a:pt x="467504" y="841582"/>
                  <a:pt x="473289" y="844335"/>
                  <a:pt x="477453" y="848864"/>
                </a:cubicBezTo>
                <a:cubicBezTo>
                  <a:pt x="480403" y="847302"/>
                  <a:pt x="483526" y="846250"/>
                  <a:pt x="486824" y="845741"/>
                </a:cubicBezTo>
                <a:cubicBezTo>
                  <a:pt x="488559" y="845741"/>
                  <a:pt x="491451" y="842502"/>
                  <a:pt x="494286" y="839262"/>
                </a:cubicBezTo>
                <a:cubicBezTo>
                  <a:pt x="495789" y="837643"/>
                  <a:pt x="497293" y="835907"/>
                  <a:pt x="498971" y="834230"/>
                </a:cubicBezTo>
                <a:cubicBezTo>
                  <a:pt x="500591" y="832529"/>
                  <a:pt x="501921" y="830574"/>
                  <a:pt x="502905" y="828445"/>
                </a:cubicBezTo>
                <a:cubicBezTo>
                  <a:pt x="504466" y="825380"/>
                  <a:pt x="505912" y="822661"/>
                  <a:pt x="510772" y="823239"/>
                </a:cubicBezTo>
                <a:cubicBezTo>
                  <a:pt x="513722" y="823702"/>
                  <a:pt x="515978" y="821735"/>
                  <a:pt x="519679" y="818438"/>
                </a:cubicBezTo>
                <a:cubicBezTo>
                  <a:pt x="523902" y="814487"/>
                  <a:pt x="528645" y="811086"/>
                  <a:pt x="533736" y="808315"/>
                </a:cubicBezTo>
                <a:cubicBezTo>
                  <a:pt x="537090" y="806482"/>
                  <a:pt x="540792" y="805527"/>
                  <a:pt x="544610" y="805539"/>
                </a:cubicBezTo>
                <a:cubicBezTo>
                  <a:pt x="548255" y="805666"/>
                  <a:pt x="551899" y="806250"/>
                  <a:pt x="555427" y="807274"/>
                </a:cubicBezTo>
                <a:cubicBezTo>
                  <a:pt x="560055" y="808489"/>
                  <a:pt x="563699" y="809183"/>
                  <a:pt x="565897" y="807274"/>
                </a:cubicBezTo>
                <a:cubicBezTo>
                  <a:pt x="569078" y="804185"/>
                  <a:pt x="573128" y="802161"/>
                  <a:pt x="577466" y="801490"/>
                </a:cubicBezTo>
                <a:cubicBezTo>
                  <a:pt x="579606" y="801288"/>
                  <a:pt x="581573" y="802878"/>
                  <a:pt x="581747" y="805042"/>
                </a:cubicBezTo>
                <a:cubicBezTo>
                  <a:pt x="581747" y="805284"/>
                  <a:pt x="581747" y="805527"/>
                  <a:pt x="581747" y="805770"/>
                </a:cubicBezTo>
                <a:cubicBezTo>
                  <a:pt x="582556" y="809172"/>
                  <a:pt x="584291" y="812284"/>
                  <a:pt x="586779" y="814736"/>
                </a:cubicBezTo>
                <a:cubicBezTo>
                  <a:pt x="589208" y="817391"/>
                  <a:pt x="591117" y="820417"/>
                  <a:pt x="592564" y="823702"/>
                </a:cubicBezTo>
                <a:cubicBezTo>
                  <a:pt x="594010" y="828041"/>
                  <a:pt x="602107" y="830528"/>
                  <a:pt x="606967" y="831395"/>
                </a:cubicBezTo>
                <a:cubicBezTo>
                  <a:pt x="608413" y="830713"/>
                  <a:pt x="609801" y="829897"/>
                  <a:pt x="611073" y="828966"/>
                </a:cubicBezTo>
                <a:cubicBezTo>
                  <a:pt x="613040" y="827624"/>
                  <a:pt x="615354" y="826918"/>
                  <a:pt x="617726" y="826941"/>
                </a:cubicBezTo>
                <a:cubicBezTo>
                  <a:pt x="624030" y="826941"/>
                  <a:pt x="631029" y="831569"/>
                  <a:pt x="631029" y="837758"/>
                </a:cubicBezTo>
                <a:cubicBezTo>
                  <a:pt x="631029" y="843948"/>
                  <a:pt x="631666" y="851757"/>
                  <a:pt x="636005" y="851757"/>
                </a:cubicBezTo>
                <a:cubicBezTo>
                  <a:pt x="641789" y="851757"/>
                  <a:pt x="648036" y="851757"/>
                  <a:pt x="648036" y="866218"/>
                </a:cubicBezTo>
                <a:cubicBezTo>
                  <a:pt x="648036" y="869226"/>
                  <a:pt x="648036" y="872002"/>
                  <a:pt x="648498" y="875415"/>
                </a:cubicBezTo>
                <a:cubicBezTo>
                  <a:pt x="649424" y="886405"/>
                  <a:pt x="650292" y="897743"/>
                  <a:pt x="641037" y="907056"/>
                </a:cubicBezTo>
                <a:cubicBezTo>
                  <a:pt x="628716" y="919377"/>
                  <a:pt x="616858" y="938986"/>
                  <a:pt x="618882" y="943960"/>
                </a:cubicBezTo>
                <a:cubicBezTo>
                  <a:pt x="619634" y="946766"/>
                  <a:pt x="619808" y="949710"/>
                  <a:pt x="619288" y="952579"/>
                </a:cubicBezTo>
                <a:cubicBezTo>
                  <a:pt x="619288" y="954430"/>
                  <a:pt x="618882" y="956860"/>
                  <a:pt x="619288" y="957380"/>
                </a:cubicBezTo>
                <a:cubicBezTo>
                  <a:pt x="619692" y="957901"/>
                  <a:pt x="619750" y="957843"/>
                  <a:pt x="622064" y="956686"/>
                </a:cubicBezTo>
                <a:cubicBezTo>
                  <a:pt x="625130" y="955367"/>
                  <a:pt x="628485" y="954737"/>
                  <a:pt x="631839" y="954835"/>
                </a:cubicBezTo>
                <a:cubicBezTo>
                  <a:pt x="638607" y="954835"/>
                  <a:pt x="646648" y="956802"/>
                  <a:pt x="648441" y="960041"/>
                </a:cubicBezTo>
                <a:cubicBezTo>
                  <a:pt x="649020" y="961001"/>
                  <a:pt x="649020" y="962204"/>
                  <a:pt x="648441" y="963165"/>
                </a:cubicBezTo>
                <a:cubicBezTo>
                  <a:pt x="646937" y="968330"/>
                  <a:pt x="647516" y="973895"/>
                  <a:pt x="650118" y="978609"/>
                </a:cubicBezTo>
                <a:cubicBezTo>
                  <a:pt x="651044" y="980460"/>
                  <a:pt x="653068" y="983641"/>
                  <a:pt x="655903" y="983815"/>
                </a:cubicBezTo>
                <a:cubicBezTo>
                  <a:pt x="660009" y="983792"/>
                  <a:pt x="663885" y="985643"/>
                  <a:pt x="666488" y="988848"/>
                </a:cubicBezTo>
                <a:cubicBezTo>
                  <a:pt x="668050" y="991427"/>
                  <a:pt x="668339" y="994609"/>
                  <a:pt x="667182" y="997408"/>
                </a:cubicBezTo>
                <a:lnTo>
                  <a:pt x="666662" y="999028"/>
                </a:lnTo>
                <a:cubicBezTo>
                  <a:pt x="664984" y="1003829"/>
                  <a:pt x="662555" y="1011060"/>
                  <a:pt x="664233" y="1013373"/>
                </a:cubicBezTo>
                <a:cubicBezTo>
                  <a:pt x="664233" y="1013721"/>
                  <a:pt x="664927" y="1014126"/>
                  <a:pt x="666141" y="1014126"/>
                </a:cubicBezTo>
                <a:cubicBezTo>
                  <a:pt x="671520" y="1014126"/>
                  <a:pt x="678231" y="1014126"/>
                  <a:pt x="681123" y="1017538"/>
                </a:cubicBezTo>
                <a:cubicBezTo>
                  <a:pt x="682280" y="1019002"/>
                  <a:pt x="682743" y="1020916"/>
                  <a:pt x="682337" y="1022744"/>
                </a:cubicBezTo>
                <a:cubicBezTo>
                  <a:pt x="681875" y="1025122"/>
                  <a:pt x="682511" y="1027580"/>
                  <a:pt x="684015" y="1029454"/>
                </a:cubicBezTo>
                <a:cubicBezTo>
                  <a:pt x="686618" y="1032520"/>
                  <a:pt x="691709" y="1032983"/>
                  <a:pt x="697782" y="1030553"/>
                </a:cubicBezTo>
                <a:cubicBezTo>
                  <a:pt x="699344" y="1029975"/>
                  <a:pt x="700674" y="1029339"/>
                  <a:pt x="701889" y="1028818"/>
                </a:cubicBezTo>
                <a:cubicBezTo>
                  <a:pt x="706690" y="1026736"/>
                  <a:pt x="709524" y="1025926"/>
                  <a:pt x="711144" y="1028008"/>
                </a:cubicBezTo>
                <a:cubicBezTo>
                  <a:pt x="713631" y="1028355"/>
                  <a:pt x="715019" y="1030785"/>
                  <a:pt x="716466" y="1033330"/>
                </a:cubicBezTo>
                <a:cubicBezTo>
                  <a:pt x="717854" y="1036853"/>
                  <a:pt x="720688" y="1039600"/>
                  <a:pt x="724274" y="1040850"/>
                </a:cubicBezTo>
                <a:lnTo>
                  <a:pt x="725200" y="1040850"/>
                </a:lnTo>
                <a:cubicBezTo>
                  <a:pt x="725778" y="1040850"/>
                  <a:pt x="726646" y="1040850"/>
                  <a:pt x="727282" y="1039230"/>
                </a:cubicBezTo>
                <a:cubicBezTo>
                  <a:pt x="728498" y="1033012"/>
                  <a:pt x="727398" y="1026562"/>
                  <a:pt x="724274" y="1021067"/>
                </a:cubicBezTo>
                <a:cubicBezTo>
                  <a:pt x="721787" y="1018580"/>
                  <a:pt x="722828" y="1012448"/>
                  <a:pt x="724274" y="1008804"/>
                </a:cubicBezTo>
                <a:cubicBezTo>
                  <a:pt x="725084" y="1006895"/>
                  <a:pt x="726415" y="1004639"/>
                  <a:pt x="728324" y="1004639"/>
                </a:cubicBezTo>
                <a:cubicBezTo>
                  <a:pt x="729018" y="1004639"/>
                  <a:pt x="729712" y="1004934"/>
                  <a:pt x="730175" y="1005449"/>
                </a:cubicBezTo>
                <a:cubicBezTo>
                  <a:pt x="731042" y="1006114"/>
                  <a:pt x="732084" y="1006444"/>
                  <a:pt x="733183" y="1006374"/>
                </a:cubicBezTo>
                <a:cubicBezTo>
                  <a:pt x="738505" y="1005842"/>
                  <a:pt x="743421" y="1003199"/>
                  <a:pt x="746834" y="999028"/>
                </a:cubicBezTo>
                <a:cubicBezTo>
                  <a:pt x="748164" y="997437"/>
                  <a:pt x="750073" y="996541"/>
                  <a:pt x="752156" y="996599"/>
                </a:cubicBezTo>
                <a:cubicBezTo>
                  <a:pt x="754296" y="996709"/>
                  <a:pt x="756436" y="997154"/>
                  <a:pt x="758461" y="997929"/>
                </a:cubicBezTo>
                <a:cubicBezTo>
                  <a:pt x="760138" y="998554"/>
                  <a:pt x="761931" y="998941"/>
                  <a:pt x="763725" y="999086"/>
                </a:cubicBezTo>
                <a:cubicBezTo>
                  <a:pt x="765171" y="999184"/>
                  <a:pt x="766559" y="998380"/>
                  <a:pt x="767195" y="997061"/>
                </a:cubicBezTo>
                <a:cubicBezTo>
                  <a:pt x="768121" y="995199"/>
                  <a:pt x="770029" y="994036"/>
                  <a:pt x="772112" y="994054"/>
                </a:cubicBezTo>
                <a:cubicBezTo>
                  <a:pt x="774310" y="994239"/>
                  <a:pt x="776450" y="994805"/>
                  <a:pt x="778475" y="995731"/>
                </a:cubicBezTo>
                <a:cubicBezTo>
                  <a:pt x="781020" y="996917"/>
                  <a:pt x="783796" y="997622"/>
                  <a:pt x="786631" y="997813"/>
                </a:cubicBezTo>
                <a:cubicBezTo>
                  <a:pt x="788308" y="997860"/>
                  <a:pt x="789928" y="997437"/>
                  <a:pt x="791374" y="996599"/>
                </a:cubicBezTo>
                <a:cubicBezTo>
                  <a:pt x="793399" y="995401"/>
                  <a:pt x="795713" y="994759"/>
                  <a:pt x="798084" y="994748"/>
                </a:cubicBezTo>
                <a:cubicBezTo>
                  <a:pt x="799877" y="994788"/>
                  <a:pt x="801613" y="995101"/>
                  <a:pt x="803290" y="995673"/>
                </a:cubicBezTo>
                <a:cubicBezTo>
                  <a:pt x="804216" y="995974"/>
                  <a:pt x="805141" y="996171"/>
                  <a:pt x="806124" y="996251"/>
                </a:cubicBezTo>
                <a:cubicBezTo>
                  <a:pt x="807050" y="996251"/>
                  <a:pt x="808033" y="996251"/>
                  <a:pt x="809306" y="993822"/>
                </a:cubicBezTo>
                <a:cubicBezTo>
                  <a:pt x="813124" y="986997"/>
                  <a:pt x="824577" y="978609"/>
                  <a:pt x="829956" y="978609"/>
                </a:cubicBezTo>
                <a:cubicBezTo>
                  <a:pt x="830940" y="978534"/>
                  <a:pt x="831923" y="978870"/>
                  <a:pt x="832617" y="979535"/>
                </a:cubicBezTo>
                <a:cubicBezTo>
                  <a:pt x="833196" y="980130"/>
                  <a:pt x="833716" y="980767"/>
                  <a:pt x="834236" y="981443"/>
                </a:cubicBezTo>
                <a:cubicBezTo>
                  <a:pt x="836956" y="984798"/>
                  <a:pt x="840600" y="989310"/>
                  <a:pt x="854598" y="991104"/>
                </a:cubicBezTo>
                <a:cubicBezTo>
                  <a:pt x="860382" y="991798"/>
                  <a:pt x="863680" y="993244"/>
                  <a:pt x="865126" y="995673"/>
                </a:cubicBezTo>
                <a:cubicBezTo>
                  <a:pt x="866224" y="998473"/>
                  <a:pt x="865936" y="1001614"/>
                  <a:pt x="864374" y="1004176"/>
                </a:cubicBezTo>
                <a:cubicBezTo>
                  <a:pt x="863738" y="1005501"/>
                  <a:pt x="863332" y="1006930"/>
                  <a:pt x="863159" y="1008399"/>
                </a:cubicBezTo>
                <a:cubicBezTo>
                  <a:pt x="863159" y="1012911"/>
                  <a:pt x="881611" y="1026678"/>
                  <a:pt x="889131" y="1027719"/>
                </a:cubicBezTo>
                <a:cubicBezTo>
                  <a:pt x="891444" y="1028535"/>
                  <a:pt x="893469" y="1030027"/>
                  <a:pt x="894915" y="1032000"/>
                </a:cubicBezTo>
                <a:cubicBezTo>
                  <a:pt x="897229" y="1031334"/>
                  <a:pt x="899659" y="1031103"/>
                  <a:pt x="902088" y="1031305"/>
                </a:cubicBezTo>
                <a:lnTo>
                  <a:pt x="903881" y="1031305"/>
                </a:lnTo>
                <a:cubicBezTo>
                  <a:pt x="907294" y="1031305"/>
                  <a:pt x="909666" y="1030843"/>
                  <a:pt x="910186" y="1028471"/>
                </a:cubicBezTo>
                <a:cubicBezTo>
                  <a:pt x="911054" y="1025249"/>
                  <a:pt x="914004" y="1023016"/>
                  <a:pt x="917359" y="1023033"/>
                </a:cubicBezTo>
                <a:cubicBezTo>
                  <a:pt x="921408" y="1023207"/>
                  <a:pt x="925052" y="1025376"/>
                  <a:pt x="927135" y="1028818"/>
                </a:cubicBezTo>
                <a:cubicBezTo>
                  <a:pt x="928985" y="1031884"/>
                  <a:pt x="930721" y="1033272"/>
                  <a:pt x="932919" y="1033272"/>
                </a:cubicBezTo>
                <a:cubicBezTo>
                  <a:pt x="936158" y="1032723"/>
                  <a:pt x="939166" y="1031068"/>
                  <a:pt x="941364" y="1028587"/>
                </a:cubicBezTo>
                <a:cubicBezTo>
                  <a:pt x="942694" y="1027366"/>
                  <a:pt x="944488" y="1026689"/>
                  <a:pt x="946281" y="1026678"/>
                </a:cubicBezTo>
                <a:close/>
                <a:moveTo>
                  <a:pt x="1251525" y="1014530"/>
                </a:moveTo>
                <a:lnTo>
                  <a:pt x="1251525" y="1014530"/>
                </a:lnTo>
                <a:cubicBezTo>
                  <a:pt x="1247650" y="1013402"/>
                  <a:pt x="1244353" y="1010886"/>
                  <a:pt x="1242270" y="1007473"/>
                </a:cubicBezTo>
                <a:cubicBezTo>
                  <a:pt x="1233883" y="995390"/>
                  <a:pt x="1231743" y="980038"/>
                  <a:pt x="1236486" y="966115"/>
                </a:cubicBezTo>
                <a:cubicBezTo>
                  <a:pt x="1243543" y="940316"/>
                  <a:pt x="1266044" y="924409"/>
                  <a:pt x="1279059" y="924409"/>
                </a:cubicBezTo>
                <a:cubicBezTo>
                  <a:pt x="1282067" y="924207"/>
                  <a:pt x="1285017" y="925450"/>
                  <a:pt x="1286926" y="927764"/>
                </a:cubicBezTo>
                <a:cubicBezTo>
                  <a:pt x="1288430" y="930801"/>
                  <a:pt x="1288719" y="934289"/>
                  <a:pt x="1287794" y="937540"/>
                </a:cubicBezTo>
                <a:cubicBezTo>
                  <a:pt x="1284207" y="959868"/>
                  <a:pt x="1259681" y="1009324"/>
                  <a:pt x="1252740" y="1014183"/>
                </a:cubicBezTo>
                <a:cubicBezTo>
                  <a:pt x="1252393" y="1014397"/>
                  <a:pt x="1252046" y="1014519"/>
                  <a:pt x="1251641" y="1014530"/>
                </a:cubicBezTo>
                <a:close/>
                <a:moveTo>
                  <a:pt x="1279059" y="926723"/>
                </a:moveTo>
                <a:cubicBezTo>
                  <a:pt x="1266738" y="926723"/>
                  <a:pt x="1245452" y="941936"/>
                  <a:pt x="1238568" y="966693"/>
                </a:cubicBezTo>
                <a:cubicBezTo>
                  <a:pt x="1234056" y="979963"/>
                  <a:pt x="1236081" y="994591"/>
                  <a:pt x="1244006" y="1006143"/>
                </a:cubicBezTo>
                <a:cubicBezTo>
                  <a:pt x="1245741" y="1008960"/>
                  <a:pt x="1248344" y="1011112"/>
                  <a:pt x="1251467" y="1012274"/>
                </a:cubicBezTo>
                <a:lnTo>
                  <a:pt x="1251467" y="1012274"/>
                </a:lnTo>
                <a:cubicBezTo>
                  <a:pt x="1257888" y="1007763"/>
                  <a:pt x="1282009" y="958479"/>
                  <a:pt x="1285422" y="937077"/>
                </a:cubicBezTo>
                <a:cubicBezTo>
                  <a:pt x="1286290" y="931697"/>
                  <a:pt x="1285422" y="929673"/>
                  <a:pt x="1285017" y="928979"/>
                </a:cubicBezTo>
                <a:cubicBezTo>
                  <a:pt x="1283513" y="927411"/>
                  <a:pt x="1281373" y="926590"/>
                  <a:pt x="1279175" y="92672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7" name="Forma libre: forma 416">
            <a:extLst>
              <a:ext uri="{FF2B5EF4-FFF2-40B4-BE49-F238E27FC236}">
                <a16:creationId xmlns:a16="http://schemas.microsoft.com/office/drawing/2014/main" id="{BD1DB260-2C9A-5235-1D31-C6297C5C3CCA}"/>
              </a:ext>
            </a:extLst>
          </p:cNvPr>
          <p:cNvSpPr/>
          <p:nvPr/>
        </p:nvSpPr>
        <p:spPr>
          <a:xfrm>
            <a:off x="9359435" y="3971018"/>
            <a:ext cx="256678" cy="366579"/>
          </a:xfrm>
          <a:custGeom>
            <a:avLst/>
            <a:gdLst>
              <a:gd name="connsiteX0" fmla="*/ 223987 w 256678"/>
              <a:gd name="connsiteY0" fmla="*/ 366443 h 366579"/>
              <a:gd name="connsiteX1" fmla="*/ 214095 w 256678"/>
              <a:gd name="connsiteY1" fmla="*/ 361352 h 366579"/>
              <a:gd name="connsiteX2" fmla="*/ 195527 w 256678"/>
              <a:gd name="connsiteY2" fmla="*/ 351924 h 366579"/>
              <a:gd name="connsiteX3" fmla="*/ 181124 w 256678"/>
              <a:gd name="connsiteY3" fmla="*/ 324737 h 366579"/>
              <a:gd name="connsiteX4" fmla="*/ 172910 w 256678"/>
              <a:gd name="connsiteY4" fmla="*/ 305070 h 366579"/>
              <a:gd name="connsiteX5" fmla="*/ 169324 w 256678"/>
              <a:gd name="connsiteY5" fmla="*/ 304723 h 366579"/>
              <a:gd name="connsiteX6" fmla="*/ 161688 w 256678"/>
              <a:gd name="connsiteY6" fmla="*/ 308425 h 366579"/>
              <a:gd name="connsiteX7" fmla="*/ 152780 w 256678"/>
              <a:gd name="connsiteY7" fmla="*/ 312300 h 366579"/>
              <a:gd name="connsiteX8" fmla="*/ 152202 w 256678"/>
              <a:gd name="connsiteY8" fmla="*/ 312300 h 366579"/>
              <a:gd name="connsiteX9" fmla="*/ 141211 w 256678"/>
              <a:gd name="connsiteY9" fmla="*/ 318085 h 366579"/>
              <a:gd name="connsiteX10" fmla="*/ 128948 w 256678"/>
              <a:gd name="connsiteY10" fmla="*/ 325026 h 366579"/>
              <a:gd name="connsiteX11" fmla="*/ 128544 w 256678"/>
              <a:gd name="connsiteY11" fmla="*/ 325026 h 366579"/>
              <a:gd name="connsiteX12" fmla="*/ 124263 w 256678"/>
              <a:gd name="connsiteY12" fmla="*/ 320283 h 366579"/>
              <a:gd name="connsiteX13" fmla="*/ 139013 w 256678"/>
              <a:gd name="connsiteY13" fmla="*/ 294542 h 366579"/>
              <a:gd name="connsiteX14" fmla="*/ 153880 w 256678"/>
              <a:gd name="connsiteY14" fmla="*/ 284014 h 366579"/>
              <a:gd name="connsiteX15" fmla="*/ 167877 w 256678"/>
              <a:gd name="connsiteY15" fmla="*/ 274991 h 366579"/>
              <a:gd name="connsiteX16" fmla="*/ 171522 w 256678"/>
              <a:gd name="connsiteY16" fmla="*/ 276148 h 366579"/>
              <a:gd name="connsiteX17" fmla="*/ 191594 w 256678"/>
              <a:gd name="connsiteY17" fmla="*/ 285692 h 366579"/>
              <a:gd name="connsiteX18" fmla="*/ 193503 w 256678"/>
              <a:gd name="connsiteY18" fmla="*/ 285114 h 366579"/>
              <a:gd name="connsiteX19" fmla="*/ 193965 w 256678"/>
              <a:gd name="connsiteY19" fmla="*/ 282800 h 366579"/>
              <a:gd name="connsiteX20" fmla="*/ 195007 w 256678"/>
              <a:gd name="connsiteY20" fmla="*/ 278519 h 366579"/>
              <a:gd name="connsiteX21" fmla="*/ 201543 w 256678"/>
              <a:gd name="connsiteY21" fmla="*/ 276495 h 366579"/>
              <a:gd name="connsiteX22" fmla="*/ 210104 w 256678"/>
              <a:gd name="connsiteY22" fmla="*/ 270710 h 366579"/>
              <a:gd name="connsiteX23" fmla="*/ 221673 w 256678"/>
              <a:gd name="connsiteY23" fmla="*/ 262497 h 366579"/>
              <a:gd name="connsiteX24" fmla="*/ 226763 w 256678"/>
              <a:gd name="connsiteY24" fmla="*/ 260935 h 366579"/>
              <a:gd name="connsiteX25" fmla="*/ 225491 w 256678"/>
              <a:gd name="connsiteY25" fmla="*/ 256943 h 366579"/>
              <a:gd name="connsiteX26" fmla="*/ 224970 w 256678"/>
              <a:gd name="connsiteY26" fmla="*/ 248903 h 366579"/>
              <a:gd name="connsiteX27" fmla="*/ 234514 w 256678"/>
              <a:gd name="connsiteY27" fmla="*/ 244160 h 366579"/>
              <a:gd name="connsiteX28" fmla="*/ 247067 w 256678"/>
              <a:gd name="connsiteY28" fmla="*/ 256458 h 366579"/>
              <a:gd name="connsiteX29" fmla="*/ 247009 w 256678"/>
              <a:gd name="connsiteY29" fmla="*/ 257985 h 366579"/>
              <a:gd name="connsiteX30" fmla="*/ 251810 w 256678"/>
              <a:gd name="connsiteY30" fmla="*/ 283378 h 366579"/>
              <a:gd name="connsiteX31" fmla="*/ 253198 w 256678"/>
              <a:gd name="connsiteY31" fmla="*/ 319299 h 366579"/>
              <a:gd name="connsiteX32" fmla="*/ 233762 w 256678"/>
              <a:gd name="connsiteY32" fmla="*/ 326704 h 366579"/>
              <a:gd name="connsiteX33" fmla="*/ 224391 w 256678"/>
              <a:gd name="connsiteY33" fmla="*/ 330753 h 366579"/>
              <a:gd name="connsiteX34" fmla="*/ 226416 w 256678"/>
              <a:gd name="connsiteY34" fmla="*/ 344346 h 366579"/>
              <a:gd name="connsiteX35" fmla="*/ 227399 w 256678"/>
              <a:gd name="connsiteY35" fmla="*/ 364997 h 366579"/>
              <a:gd name="connsiteX36" fmla="*/ 223987 w 256678"/>
              <a:gd name="connsiteY36" fmla="*/ 366443 h 366579"/>
              <a:gd name="connsiteX37" fmla="*/ 169555 w 256678"/>
              <a:gd name="connsiteY37" fmla="*/ 302814 h 366579"/>
              <a:gd name="connsiteX38" fmla="*/ 173489 w 256678"/>
              <a:gd name="connsiteY38" fmla="*/ 303161 h 366579"/>
              <a:gd name="connsiteX39" fmla="*/ 183554 w 256678"/>
              <a:gd name="connsiteY39" fmla="*/ 324737 h 366579"/>
              <a:gd name="connsiteX40" fmla="*/ 196163 w 256678"/>
              <a:gd name="connsiteY40" fmla="*/ 350015 h 366579"/>
              <a:gd name="connsiteX41" fmla="*/ 215889 w 256678"/>
              <a:gd name="connsiteY41" fmla="*/ 360022 h 366579"/>
              <a:gd name="connsiteX42" fmla="*/ 224218 w 256678"/>
              <a:gd name="connsiteY42" fmla="*/ 364534 h 366579"/>
              <a:gd name="connsiteX43" fmla="*/ 225780 w 256678"/>
              <a:gd name="connsiteY43" fmla="*/ 363897 h 366579"/>
              <a:gd name="connsiteX44" fmla="*/ 224334 w 256678"/>
              <a:gd name="connsiteY44" fmla="*/ 345156 h 366579"/>
              <a:gd name="connsiteX45" fmla="*/ 222309 w 256678"/>
              <a:gd name="connsiteY45" fmla="*/ 330868 h 366579"/>
              <a:gd name="connsiteX46" fmla="*/ 233878 w 256678"/>
              <a:gd name="connsiteY46" fmla="*/ 324737 h 366579"/>
              <a:gd name="connsiteX47" fmla="*/ 251752 w 256678"/>
              <a:gd name="connsiteY47" fmla="*/ 318085 h 366579"/>
              <a:gd name="connsiteX48" fmla="*/ 249959 w 256678"/>
              <a:gd name="connsiteY48" fmla="*/ 284246 h 366579"/>
              <a:gd name="connsiteX49" fmla="*/ 245042 w 256678"/>
              <a:gd name="connsiteY49" fmla="*/ 258274 h 366579"/>
              <a:gd name="connsiteX50" fmla="*/ 236250 w 256678"/>
              <a:gd name="connsiteY50" fmla="*/ 246792 h 366579"/>
              <a:gd name="connsiteX51" fmla="*/ 234804 w 256678"/>
              <a:gd name="connsiteY51" fmla="*/ 246705 h 366579"/>
              <a:gd name="connsiteX52" fmla="*/ 227226 w 256678"/>
              <a:gd name="connsiteY52" fmla="*/ 250291 h 366579"/>
              <a:gd name="connsiteX53" fmla="*/ 227747 w 256678"/>
              <a:gd name="connsiteY53" fmla="*/ 256076 h 366579"/>
              <a:gd name="connsiteX54" fmla="*/ 229077 w 256678"/>
              <a:gd name="connsiteY54" fmla="*/ 262207 h 366579"/>
              <a:gd name="connsiteX55" fmla="*/ 222251 w 256678"/>
              <a:gd name="connsiteY55" fmla="*/ 265041 h 366579"/>
              <a:gd name="connsiteX56" fmla="*/ 212534 w 256678"/>
              <a:gd name="connsiteY56" fmla="*/ 271289 h 366579"/>
              <a:gd name="connsiteX57" fmla="*/ 201890 w 256678"/>
              <a:gd name="connsiteY57" fmla="*/ 279271 h 366579"/>
              <a:gd name="connsiteX58" fmla="*/ 196915 w 256678"/>
              <a:gd name="connsiteY58" fmla="*/ 280602 h 366579"/>
              <a:gd name="connsiteX59" fmla="*/ 196337 w 256678"/>
              <a:gd name="connsiteY59" fmla="*/ 283205 h 366579"/>
              <a:gd name="connsiteX60" fmla="*/ 195296 w 256678"/>
              <a:gd name="connsiteY60" fmla="*/ 287196 h 366579"/>
              <a:gd name="connsiteX61" fmla="*/ 191767 w 256678"/>
              <a:gd name="connsiteY61" fmla="*/ 288527 h 366579"/>
              <a:gd name="connsiteX62" fmla="*/ 170365 w 256678"/>
              <a:gd name="connsiteY62" fmla="*/ 278577 h 366579"/>
              <a:gd name="connsiteX63" fmla="*/ 155615 w 256678"/>
              <a:gd name="connsiteY63" fmla="*/ 286213 h 366579"/>
              <a:gd name="connsiteX64" fmla="*/ 139823 w 256678"/>
              <a:gd name="connsiteY64" fmla="*/ 297319 h 366579"/>
              <a:gd name="connsiteX65" fmla="*/ 126692 w 256678"/>
              <a:gd name="connsiteY65" fmla="*/ 320456 h 366579"/>
              <a:gd name="connsiteX66" fmla="*/ 128717 w 256678"/>
              <a:gd name="connsiteY66" fmla="*/ 323291 h 366579"/>
              <a:gd name="connsiteX67" fmla="*/ 139881 w 256678"/>
              <a:gd name="connsiteY67" fmla="*/ 316928 h 366579"/>
              <a:gd name="connsiteX68" fmla="*/ 153359 w 256678"/>
              <a:gd name="connsiteY68" fmla="*/ 310334 h 366579"/>
              <a:gd name="connsiteX69" fmla="*/ 160358 w 256678"/>
              <a:gd name="connsiteY69" fmla="*/ 307210 h 366579"/>
              <a:gd name="connsiteX70" fmla="*/ 169555 w 256678"/>
              <a:gd name="connsiteY70" fmla="*/ 302814 h 366579"/>
              <a:gd name="connsiteX71" fmla="*/ 3195 w 256678"/>
              <a:gd name="connsiteY71" fmla="*/ 287196 h 366579"/>
              <a:gd name="connsiteX72" fmla="*/ 3195 w 256678"/>
              <a:gd name="connsiteY72" fmla="*/ 287196 h 366579"/>
              <a:gd name="connsiteX73" fmla="*/ 361 w 256678"/>
              <a:gd name="connsiteY73" fmla="*/ 285461 h 366579"/>
              <a:gd name="connsiteX74" fmla="*/ 20954 w 256678"/>
              <a:gd name="connsiteY74" fmla="*/ 255092 h 366579"/>
              <a:gd name="connsiteX75" fmla="*/ 35183 w 256678"/>
              <a:gd name="connsiteY75" fmla="*/ 239011 h 366579"/>
              <a:gd name="connsiteX76" fmla="*/ 46231 w 256678"/>
              <a:gd name="connsiteY76" fmla="*/ 219518 h 366579"/>
              <a:gd name="connsiteX77" fmla="*/ 55544 w 256678"/>
              <a:gd name="connsiteY77" fmla="*/ 206503 h 366579"/>
              <a:gd name="connsiteX78" fmla="*/ 58899 w 256678"/>
              <a:gd name="connsiteY78" fmla="*/ 209280 h 366579"/>
              <a:gd name="connsiteX79" fmla="*/ 51322 w 256678"/>
              <a:gd name="connsiteY79" fmla="*/ 239763 h 366579"/>
              <a:gd name="connsiteX80" fmla="*/ 29283 w 256678"/>
              <a:gd name="connsiteY80" fmla="*/ 262901 h 366579"/>
              <a:gd name="connsiteX81" fmla="*/ 2963 w 256678"/>
              <a:gd name="connsiteY81" fmla="*/ 286907 h 366579"/>
              <a:gd name="connsiteX82" fmla="*/ 55255 w 256678"/>
              <a:gd name="connsiteY82" fmla="*/ 208759 h 366579"/>
              <a:gd name="connsiteX83" fmla="*/ 47966 w 256678"/>
              <a:gd name="connsiteY83" fmla="*/ 220328 h 366579"/>
              <a:gd name="connsiteX84" fmla="*/ 36398 w 256678"/>
              <a:gd name="connsiteY84" fmla="*/ 240226 h 366579"/>
              <a:gd name="connsiteX85" fmla="*/ 22052 w 256678"/>
              <a:gd name="connsiteY85" fmla="*/ 256481 h 366579"/>
              <a:gd name="connsiteX86" fmla="*/ 1749 w 256678"/>
              <a:gd name="connsiteY86" fmla="*/ 284188 h 366579"/>
              <a:gd name="connsiteX87" fmla="*/ 2675 w 256678"/>
              <a:gd name="connsiteY87" fmla="*/ 284767 h 366579"/>
              <a:gd name="connsiteX88" fmla="*/ 26969 w 256678"/>
              <a:gd name="connsiteY88" fmla="*/ 261224 h 366579"/>
              <a:gd name="connsiteX89" fmla="*/ 49412 w 256678"/>
              <a:gd name="connsiteY89" fmla="*/ 237739 h 366579"/>
              <a:gd name="connsiteX90" fmla="*/ 56354 w 256678"/>
              <a:gd name="connsiteY90" fmla="*/ 210089 h 366579"/>
              <a:gd name="connsiteX91" fmla="*/ 55255 w 256678"/>
              <a:gd name="connsiteY91" fmla="*/ 208470 h 366579"/>
              <a:gd name="connsiteX92" fmla="*/ 153128 w 256678"/>
              <a:gd name="connsiteY92" fmla="*/ 269206 h 366579"/>
              <a:gd name="connsiteX93" fmla="*/ 151854 w 256678"/>
              <a:gd name="connsiteY93" fmla="*/ 269206 h 366579"/>
              <a:gd name="connsiteX94" fmla="*/ 142831 w 256678"/>
              <a:gd name="connsiteY94" fmla="*/ 259836 h 366579"/>
              <a:gd name="connsiteX95" fmla="*/ 147285 w 256678"/>
              <a:gd name="connsiteY95" fmla="*/ 237392 h 366579"/>
              <a:gd name="connsiteX96" fmla="*/ 149599 w 256678"/>
              <a:gd name="connsiteY96" fmla="*/ 226286 h 366579"/>
              <a:gd name="connsiteX97" fmla="*/ 146765 w 256678"/>
              <a:gd name="connsiteY97" fmla="*/ 216510 h 366579"/>
              <a:gd name="connsiteX98" fmla="*/ 146765 w 256678"/>
              <a:gd name="connsiteY98" fmla="*/ 216510 h 366579"/>
              <a:gd name="connsiteX99" fmla="*/ 133923 w 256678"/>
              <a:gd name="connsiteY99" fmla="*/ 225302 h 366579"/>
              <a:gd name="connsiteX100" fmla="*/ 131320 w 256678"/>
              <a:gd name="connsiteY100" fmla="*/ 225592 h 366579"/>
              <a:gd name="connsiteX101" fmla="*/ 130394 w 256678"/>
              <a:gd name="connsiteY101" fmla="*/ 225592 h 366579"/>
              <a:gd name="connsiteX102" fmla="*/ 121140 w 256678"/>
              <a:gd name="connsiteY102" fmla="*/ 208239 h 366579"/>
              <a:gd name="connsiteX103" fmla="*/ 129296 w 256678"/>
              <a:gd name="connsiteY103" fmla="*/ 185853 h 366579"/>
              <a:gd name="connsiteX104" fmla="*/ 167589 w 256678"/>
              <a:gd name="connsiteY104" fmla="*/ 208991 h 366579"/>
              <a:gd name="connsiteX105" fmla="*/ 171811 w 256678"/>
              <a:gd name="connsiteY105" fmla="*/ 219807 h 366579"/>
              <a:gd name="connsiteX106" fmla="*/ 171522 w 256678"/>
              <a:gd name="connsiteY106" fmla="*/ 222468 h 366579"/>
              <a:gd name="connsiteX107" fmla="*/ 173489 w 256678"/>
              <a:gd name="connsiteY107" fmla="*/ 221774 h 366579"/>
              <a:gd name="connsiteX108" fmla="*/ 177711 w 256678"/>
              <a:gd name="connsiteY108" fmla="*/ 220791 h 366579"/>
              <a:gd name="connsiteX109" fmla="*/ 182223 w 256678"/>
              <a:gd name="connsiteY109" fmla="*/ 223914 h 366579"/>
              <a:gd name="connsiteX110" fmla="*/ 171406 w 256678"/>
              <a:gd name="connsiteY110" fmla="*/ 252836 h 366579"/>
              <a:gd name="connsiteX111" fmla="*/ 153128 w 256678"/>
              <a:gd name="connsiteY111" fmla="*/ 268917 h 366579"/>
              <a:gd name="connsiteX112" fmla="*/ 146475 w 256678"/>
              <a:gd name="connsiteY112" fmla="*/ 213386 h 366579"/>
              <a:gd name="connsiteX113" fmla="*/ 149657 w 256678"/>
              <a:gd name="connsiteY113" fmla="*/ 217089 h 366579"/>
              <a:gd name="connsiteX114" fmla="*/ 148847 w 256678"/>
              <a:gd name="connsiteY114" fmla="*/ 238838 h 366579"/>
              <a:gd name="connsiteX115" fmla="*/ 145029 w 256678"/>
              <a:gd name="connsiteY115" fmla="*/ 258968 h 366579"/>
              <a:gd name="connsiteX116" fmla="*/ 152318 w 256678"/>
              <a:gd name="connsiteY116" fmla="*/ 266835 h 366579"/>
              <a:gd name="connsiteX117" fmla="*/ 169671 w 256678"/>
              <a:gd name="connsiteY117" fmla="*/ 251737 h 366579"/>
              <a:gd name="connsiteX118" fmla="*/ 180256 w 256678"/>
              <a:gd name="connsiteY118" fmla="*/ 224782 h 366579"/>
              <a:gd name="connsiteX119" fmla="*/ 177827 w 256678"/>
              <a:gd name="connsiteY119" fmla="*/ 222989 h 366579"/>
              <a:gd name="connsiteX120" fmla="*/ 174414 w 256678"/>
              <a:gd name="connsiteY120" fmla="*/ 223856 h 366579"/>
              <a:gd name="connsiteX121" fmla="*/ 171580 w 256678"/>
              <a:gd name="connsiteY121" fmla="*/ 224550 h 366579"/>
              <a:gd name="connsiteX122" fmla="*/ 169845 w 256678"/>
              <a:gd name="connsiteY122" fmla="*/ 223799 h 366579"/>
              <a:gd name="connsiteX123" fmla="*/ 169845 w 256678"/>
              <a:gd name="connsiteY123" fmla="*/ 219171 h 366579"/>
              <a:gd name="connsiteX124" fmla="*/ 166027 w 256678"/>
              <a:gd name="connsiteY124" fmla="*/ 210321 h 366579"/>
              <a:gd name="connsiteX125" fmla="*/ 129932 w 256678"/>
              <a:gd name="connsiteY125" fmla="*/ 188282 h 366579"/>
              <a:gd name="connsiteX126" fmla="*/ 123627 w 256678"/>
              <a:gd name="connsiteY126" fmla="*/ 208239 h 366579"/>
              <a:gd name="connsiteX127" fmla="*/ 131089 w 256678"/>
              <a:gd name="connsiteY127" fmla="*/ 223220 h 366579"/>
              <a:gd name="connsiteX128" fmla="*/ 133923 w 256678"/>
              <a:gd name="connsiteY128" fmla="*/ 222873 h 366579"/>
              <a:gd name="connsiteX129" fmla="*/ 144740 w 256678"/>
              <a:gd name="connsiteY129" fmla="*/ 216105 h 366579"/>
              <a:gd name="connsiteX130" fmla="*/ 146417 w 256678"/>
              <a:gd name="connsiteY130" fmla="*/ 213097 h 366579"/>
              <a:gd name="connsiteX131" fmla="*/ 184190 w 256678"/>
              <a:gd name="connsiteY131" fmla="*/ 259662 h 366579"/>
              <a:gd name="connsiteX132" fmla="*/ 184190 w 256678"/>
              <a:gd name="connsiteY132" fmla="*/ 259662 h 366579"/>
              <a:gd name="connsiteX133" fmla="*/ 178406 w 256678"/>
              <a:gd name="connsiteY133" fmla="*/ 256423 h 366579"/>
              <a:gd name="connsiteX134" fmla="*/ 180256 w 256678"/>
              <a:gd name="connsiteY134" fmla="*/ 248845 h 366579"/>
              <a:gd name="connsiteX135" fmla="*/ 194717 w 256678"/>
              <a:gd name="connsiteY135" fmla="*/ 239590 h 366579"/>
              <a:gd name="connsiteX136" fmla="*/ 200502 w 256678"/>
              <a:gd name="connsiteY136" fmla="*/ 242367 h 366579"/>
              <a:gd name="connsiteX137" fmla="*/ 201080 w 256678"/>
              <a:gd name="connsiteY137" fmla="*/ 249366 h 366579"/>
              <a:gd name="connsiteX138" fmla="*/ 184190 w 256678"/>
              <a:gd name="connsiteY138" fmla="*/ 259199 h 366579"/>
              <a:gd name="connsiteX139" fmla="*/ 194833 w 256678"/>
              <a:gd name="connsiteY139" fmla="*/ 241846 h 366579"/>
              <a:gd name="connsiteX140" fmla="*/ 182281 w 256678"/>
              <a:gd name="connsiteY140" fmla="*/ 250118 h 366579"/>
              <a:gd name="connsiteX141" fmla="*/ 180604 w 256678"/>
              <a:gd name="connsiteY141" fmla="*/ 255902 h 366579"/>
              <a:gd name="connsiteX142" fmla="*/ 184190 w 256678"/>
              <a:gd name="connsiteY142" fmla="*/ 257695 h 366579"/>
              <a:gd name="connsiteX143" fmla="*/ 184190 w 256678"/>
              <a:gd name="connsiteY143" fmla="*/ 257695 h 366579"/>
              <a:gd name="connsiteX144" fmla="*/ 199171 w 256678"/>
              <a:gd name="connsiteY144" fmla="*/ 248672 h 366579"/>
              <a:gd name="connsiteX145" fmla="*/ 199171 w 256678"/>
              <a:gd name="connsiteY145" fmla="*/ 244044 h 366579"/>
              <a:gd name="connsiteX146" fmla="*/ 194833 w 256678"/>
              <a:gd name="connsiteY146" fmla="*/ 241383 h 366579"/>
              <a:gd name="connsiteX147" fmla="*/ 207501 w 256678"/>
              <a:gd name="connsiteY147" fmla="*/ 240515 h 366579"/>
              <a:gd name="connsiteX148" fmla="*/ 202642 w 256678"/>
              <a:gd name="connsiteY148" fmla="*/ 233574 h 366579"/>
              <a:gd name="connsiteX149" fmla="*/ 194659 w 256678"/>
              <a:gd name="connsiteY149" fmla="*/ 219171 h 366579"/>
              <a:gd name="connsiteX150" fmla="*/ 189164 w 256678"/>
              <a:gd name="connsiteY150" fmla="*/ 198810 h 366579"/>
              <a:gd name="connsiteX151" fmla="*/ 190553 w 256678"/>
              <a:gd name="connsiteY151" fmla="*/ 189670 h 366579"/>
              <a:gd name="connsiteX152" fmla="*/ 180604 w 256678"/>
              <a:gd name="connsiteY152" fmla="*/ 187334 h 366579"/>
              <a:gd name="connsiteX153" fmla="*/ 179504 w 256678"/>
              <a:gd name="connsiteY153" fmla="*/ 188166 h 366579"/>
              <a:gd name="connsiteX154" fmla="*/ 173199 w 256678"/>
              <a:gd name="connsiteY154" fmla="*/ 188317 h 366579"/>
              <a:gd name="connsiteX155" fmla="*/ 172158 w 256678"/>
              <a:gd name="connsiteY155" fmla="*/ 186778 h 366579"/>
              <a:gd name="connsiteX156" fmla="*/ 169671 w 256678"/>
              <a:gd name="connsiteY156" fmla="*/ 162657 h 366579"/>
              <a:gd name="connsiteX157" fmla="*/ 167877 w 256678"/>
              <a:gd name="connsiteY157" fmla="*/ 156236 h 366579"/>
              <a:gd name="connsiteX158" fmla="*/ 140286 w 256678"/>
              <a:gd name="connsiteY158" fmla="*/ 139809 h 366579"/>
              <a:gd name="connsiteX159" fmla="*/ 137741 w 256678"/>
              <a:gd name="connsiteY159" fmla="*/ 139809 h 366579"/>
              <a:gd name="connsiteX160" fmla="*/ 134617 w 256678"/>
              <a:gd name="connsiteY160" fmla="*/ 140098 h 366579"/>
              <a:gd name="connsiteX161" fmla="*/ 124436 w 256678"/>
              <a:gd name="connsiteY161" fmla="*/ 134313 h 366579"/>
              <a:gd name="connsiteX162" fmla="*/ 118189 w 256678"/>
              <a:gd name="connsiteY162" fmla="*/ 130380 h 366579"/>
              <a:gd name="connsiteX163" fmla="*/ 112925 w 256678"/>
              <a:gd name="connsiteY163" fmla="*/ 131537 h 366579"/>
              <a:gd name="connsiteX164" fmla="*/ 96845 w 256678"/>
              <a:gd name="connsiteY164" fmla="*/ 134660 h 366579"/>
              <a:gd name="connsiteX165" fmla="*/ 96845 w 256678"/>
              <a:gd name="connsiteY165" fmla="*/ 134660 h 366579"/>
              <a:gd name="connsiteX166" fmla="*/ 84871 w 256678"/>
              <a:gd name="connsiteY166" fmla="*/ 130264 h 366579"/>
              <a:gd name="connsiteX167" fmla="*/ 84003 w 256678"/>
              <a:gd name="connsiteY167" fmla="*/ 121241 h 366579"/>
              <a:gd name="connsiteX168" fmla="*/ 83136 w 256678"/>
              <a:gd name="connsiteY168" fmla="*/ 104581 h 366579"/>
              <a:gd name="connsiteX169" fmla="*/ 77756 w 256678"/>
              <a:gd name="connsiteY169" fmla="*/ 101689 h 366579"/>
              <a:gd name="connsiteX170" fmla="*/ 74286 w 256678"/>
              <a:gd name="connsiteY170" fmla="*/ 99491 h 366579"/>
              <a:gd name="connsiteX171" fmla="*/ 69484 w 256678"/>
              <a:gd name="connsiteY171" fmla="*/ 63049 h 366579"/>
              <a:gd name="connsiteX172" fmla="*/ 71914 w 256678"/>
              <a:gd name="connsiteY172" fmla="*/ 60909 h 366579"/>
              <a:gd name="connsiteX173" fmla="*/ 76310 w 256678"/>
              <a:gd name="connsiteY173" fmla="*/ 63454 h 366579"/>
              <a:gd name="connsiteX174" fmla="*/ 82731 w 256678"/>
              <a:gd name="connsiteY174" fmla="*/ 65826 h 366579"/>
              <a:gd name="connsiteX175" fmla="*/ 83367 w 256678"/>
              <a:gd name="connsiteY175" fmla="*/ 43787 h 366579"/>
              <a:gd name="connsiteX176" fmla="*/ 88515 w 256678"/>
              <a:gd name="connsiteY176" fmla="*/ 1908 h 366579"/>
              <a:gd name="connsiteX177" fmla="*/ 96960 w 256678"/>
              <a:gd name="connsiteY177" fmla="*/ -117 h 366579"/>
              <a:gd name="connsiteX178" fmla="*/ 114893 w 256678"/>
              <a:gd name="connsiteY178" fmla="*/ 3181 h 366579"/>
              <a:gd name="connsiteX179" fmla="*/ 126114 w 256678"/>
              <a:gd name="connsiteY179" fmla="*/ 5494 h 366579"/>
              <a:gd name="connsiteX180" fmla="*/ 128138 w 256678"/>
              <a:gd name="connsiteY180" fmla="*/ 5089 h 366579"/>
              <a:gd name="connsiteX181" fmla="*/ 134328 w 256678"/>
              <a:gd name="connsiteY181" fmla="*/ 4742 h 366579"/>
              <a:gd name="connsiteX182" fmla="*/ 134328 w 256678"/>
              <a:gd name="connsiteY182" fmla="*/ 15964 h 366579"/>
              <a:gd name="connsiteX183" fmla="*/ 136757 w 256678"/>
              <a:gd name="connsiteY183" fmla="*/ 29210 h 366579"/>
              <a:gd name="connsiteX184" fmla="*/ 135716 w 256678"/>
              <a:gd name="connsiteY184" fmla="*/ 60909 h 366579"/>
              <a:gd name="connsiteX185" fmla="*/ 130915 w 256678"/>
              <a:gd name="connsiteY185" fmla="*/ 66288 h 366579"/>
              <a:gd name="connsiteX186" fmla="*/ 117091 w 256678"/>
              <a:gd name="connsiteY186" fmla="*/ 98161 h 366579"/>
              <a:gd name="connsiteX187" fmla="*/ 122875 w 256678"/>
              <a:gd name="connsiteY187" fmla="*/ 116150 h 366579"/>
              <a:gd name="connsiteX188" fmla="*/ 125652 w 256678"/>
              <a:gd name="connsiteY188" fmla="*/ 124538 h 366579"/>
              <a:gd name="connsiteX189" fmla="*/ 129758 w 256678"/>
              <a:gd name="connsiteY189" fmla="*/ 122976 h 366579"/>
              <a:gd name="connsiteX190" fmla="*/ 144971 w 256678"/>
              <a:gd name="connsiteY190" fmla="*/ 119332 h 366579"/>
              <a:gd name="connsiteX191" fmla="*/ 169381 w 256678"/>
              <a:gd name="connsiteY191" fmla="*/ 130322 h 366579"/>
              <a:gd name="connsiteX192" fmla="*/ 176323 w 256678"/>
              <a:gd name="connsiteY192" fmla="*/ 137842 h 366579"/>
              <a:gd name="connsiteX193" fmla="*/ 187892 w 256678"/>
              <a:gd name="connsiteY193" fmla="*/ 154675 h 366579"/>
              <a:gd name="connsiteX194" fmla="*/ 200560 w 256678"/>
              <a:gd name="connsiteY194" fmla="*/ 164393 h 366579"/>
              <a:gd name="connsiteX195" fmla="*/ 218491 w 256678"/>
              <a:gd name="connsiteY195" fmla="*/ 175961 h 366579"/>
              <a:gd name="connsiteX196" fmla="*/ 223409 w 256678"/>
              <a:gd name="connsiteY196" fmla="*/ 185101 h 366579"/>
              <a:gd name="connsiteX197" fmla="*/ 225375 w 256678"/>
              <a:gd name="connsiteY197" fmla="*/ 210494 h 366579"/>
              <a:gd name="connsiteX198" fmla="*/ 219591 w 256678"/>
              <a:gd name="connsiteY198" fmla="*/ 214196 h 366579"/>
              <a:gd name="connsiteX199" fmla="*/ 213806 w 256678"/>
              <a:gd name="connsiteY199" fmla="*/ 225765 h 366579"/>
              <a:gd name="connsiteX200" fmla="*/ 210856 w 256678"/>
              <a:gd name="connsiteY200" fmla="*/ 238491 h 366579"/>
              <a:gd name="connsiteX201" fmla="*/ 207501 w 256678"/>
              <a:gd name="connsiteY201" fmla="*/ 240053 h 366579"/>
              <a:gd name="connsiteX202" fmla="*/ 184364 w 256678"/>
              <a:gd name="connsiteY202" fmla="*/ 183886 h 366579"/>
              <a:gd name="connsiteX203" fmla="*/ 192345 w 256678"/>
              <a:gd name="connsiteY203" fmla="*/ 188629 h 366579"/>
              <a:gd name="connsiteX204" fmla="*/ 190784 w 256678"/>
              <a:gd name="connsiteY204" fmla="*/ 200198 h 366579"/>
              <a:gd name="connsiteX205" fmla="*/ 196221 w 256678"/>
              <a:gd name="connsiteY205" fmla="*/ 217956 h 366579"/>
              <a:gd name="connsiteX206" fmla="*/ 204666 w 256678"/>
              <a:gd name="connsiteY206" fmla="*/ 233285 h 366579"/>
              <a:gd name="connsiteX207" fmla="*/ 207270 w 256678"/>
              <a:gd name="connsiteY207" fmla="*/ 238375 h 366579"/>
              <a:gd name="connsiteX208" fmla="*/ 208947 w 256678"/>
              <a:gd name="connsiteY208" fmla="*/ 237334 h 366579"/>
              <a:gd name="connsiteX209" fmla="*/ 211319 w 256678"/>
              <a:gd name="connsiteY209" fmla="*/ 226459 h 366579"/>
              <a:gd name="connsiteX210" fmla="*/ 218318 w 256678"/>
              <a:gd name="connsiteY210" fmla="*/ 212808 h 366579"/>
              <a:gd name="connsiteX211" fmla="*/ 224103 w 256678"/>
              <a:gd name="connsiteY211" fmla="*/ 209164 h 366579"/>
              <a:gd name="connsiteX212" fmla="*/ 221441 w 256678"/>
              <a:gd name="connsiteY212" fmla="*/ 186778 h 366579"/>
              <a:gd name="connsiteX213" fmla="*/ 216467 w 256678"/>
              <a:gd name="connsiteY213" fmla="*/ 177408 h 366579"/>
              <a:gd name="connsiteX214" fmla="*/ 199866 w 256678"/>
              <a:gd name="connsiteY214" fmla="*/ 166996 h 366579"/>
              <a:gd name="connsiteX215" fmla="*/ 185636 w 256678"/>
              <a:gd name="connsiteY215" fmla="*/ 155427 h 366579"/>
              <a:gd name="connsiteX216" fmla="*/ 174877 w 256678"/>
              <a:gd name="connsiteY216" fmla="*/ 140445 h 366579"/>
              <a:gd name="connsiteX217" fmla="*/ 167068 w 256678"/>
              <a:gd name="connsiteY217" fmla="*/ 131363 h 366579"/>
              <a:gd name="connsiteX218" fmla="*/ 144913 w 256678"/>
              <a:gd name="connsiteY218" fmla="*/ 122340 h 366579"/>
              <a:gd name="connsiteX219" fmla="*/ 130800 w 256678"/>
              <a:gd name="connsiteY219" fmla="*/ 125695 h 366579"/>
              <a:gd name="connsiteX220" fmla="*/ 125594 w 256678"/>
              <a:gd name="connsiteY220" fmla="*/ 127546 h 366579"/>
              <a:gd name="connsiteX221" fmla="*/ 120561 w 256678"/>
              <a:gd name="connsiteY221" fmla="*/ 117076 h 366579"/>
              <a:gd name="connsiteX222" fmla="*/ 115702 w 256678"/>
              <a:gd name="connsiteY222" fmla="*/ 100475 h 366579"/>
              <a:gd name="connsiteX223" fmla="*/ 129469 w 256678"/>
              <a:gd name="connsiteY223" fmla="*/ 65768 h 366579"/>
              <a:gd name="connsiteX224" fmla="*/ 134212 w 256678"/>
              <a:gd name="connsiteY224" fmla="*/ 60504 h 366579"/>
              <a:gd name="connsiteX225" fmla="*/ 134849 w 256678"/>
              <a:gd name="connsiteY225" fmla="*/ 30888 h 366579"/>
              <a:gd name="connsiteX226" fmla="*/ 132361 w 256678"/>
              <a:gd name="connsiteY226" fmla="*/ 16600 h 366579"/>
              <a:gd name="connsiteX227" fmla="*/ 132361 w 256678"/>
              <a:gd name="connsiteY227" fmla="*/ 7287 h 366579"/>
              <a:gd name="connsiteX228" fmla="*/ 129006 w 256678"/>
              <a:gd name="connsiteY228" fmla="*/ 8097 h 366579"/>
              <a:gd name="connsiteX229" fmla="*/ 114083 w 256678"/>
              <a:gd name="connsiteY229" fmla="*/ 6420 h 366579"/>
              <a:gd name="connsiteX230" fmla="*/ 96729 w 256678"/>
              <a:gd name="connsiteY230" fmla="*/ 3181 h 366579"/>
              <a:gd name="connsiteX231" fmla="*/ 89441 w 256678"/>
              <a:gd name="connsiteY231" fmla="*/ 4858 h 366579"/>
              <a:gd name="connsiteX232" fmla="*/ 85391 w 256678"/>
              <a:gd name="connsiteY232" fmla="*/ 44771 h 366579"/>
              <a:gd name="connsiteX233" fmla="*/ 83945 w 256678"/>
              <a:gd name="connsiteY233" fmla="*/ 68545 h 366579"/>
              <a:gd name="connsiteX234" fmla="*/ 81111 w 256678"/>
              <a:gd name="connsiteY234" fmla="*/ 69644 h 366579"/>
              <a:gd name="connsiteX235" fmla="*/ 74633 w 256678"/>
              <a:gd name="connsiteY235" fmla="*/ 66231 h 366579"/>
              <a:gd name="connsiteX236" fmla="*/ 71682 w 256678"/>
              <a:gd name="connsiteY236" fmla="*/ 64206 h 366579"/>
              <a:gd name="connsiteX237" fmla="*/ 71682 w 256678"/>
              <a:gd name="connsiteY237" fmla="*/ 64206 h 366579"/>
              <a:gd name="connsiteX238" fmla="*/ 71682 w 256678"/>
              <a:gd name="connsiteY238" fmla="*/ 64842 h 366579"/>
              <a:gd name="connsiteX239" fmla="*/ 76137 w 256678"/>
              <a:gd name="connsiteY239" fmla="*/ 99202 h 366579"/>
              <a:gd name="connsiteX240" fmla="*/ 77814 w 256678"/>
              <a:gd name="connsiteY240" fmla="*/ 100475 h 366579"/>
              <a:gd name="connsiteX241" fmla="*/ 85045 w 256678"/>
              <a:gd name="connsiteY241" fmla="*/ 104292 h 366579"/>
              <a:gd name="connsiteX242" fmla="*/ 86201 w 256678"/>
              <a:gd name="connsiteY242" fmla="*/ 122918 h 366579"/>
              <a:gd name="connsiteX243" fmla="*/ 86722 w 256678"/>
              <a:gd name="connsiteY243" fmla="*/ 129975 h 366579"/>
              <a:gd name="connsiteX244" fmla="*/ 96902 w 256678"/>
              <a:gd name="connsiteY244" fmla="*/ 133446 h 366579"/>
              <a:gd name="connsiteX245" fmla="*/ 96902 w 256678"/>
              <a:gd name="connsiteY245" fmla="*/ 133446 h 366579"/>
              <a:gd name="connsiteX246" fmla="*/ 112173 w 256678"/>
              <a:gd name="connsiteY246" fmla="*/ 130438 h 366579"/>
              <a:gd name="connsiteX247" fmla="*/ 117958 w 256678"/>
              <a:gd name="connsiteY247" fmla="*/ 129165 h 366579"/>
              <a:gd name="connsiteX248" fmla="*/ 125940 w 256678"/>
              <a:gd name="connsiteY248" fmla="*/ 133908 h 366579"/>
              <a:gd name="connsiteX249" fmla="*/ 134386 w 256678"/>
              <a:gd name="connsiteY249" fmla="*/ 138710 h 366579"/>
              <a:gd name="connsiteX250" fmla="*/ 137163 w 256678"/>
              <a:gd name="connsiteY250" fmla="*/ 138710 h 366579"/>
              <a:gd name="connsiteX251" fmla="*/ 140055 w 256678"/>
              <a:gd name="connsiteY251" fmla="*/ 138710 h 366579"/>
              <a:gd name="connsiteX252" fmla="*/ 169555 w 256678"/>
              <a:gd name="connsiteY252" fmla="*/ 156063 h 366579"/>
              <a:gd name="connsiteX253" fmla="*/ 171464 w 256678"/>
              <a:gd name="connsiteY253" fmla="*/ 164624 h 366579"/>
              <a:gd name="connsiteX254" fmla="*/ 173778 w 256678"/>
              <a:gd name="connsiteY254" fmla="*/ 186605 h 366579"/>
              <a:gd name="connsiteX255" fmla="*/ 176092 w 256678"/>
              <a:gd name="connsiteY255" fmla="*/ 188340 h 366579"/>
              <a:gd name="connsiteX256" fmla="*/ 177769 w 256678"/>
              <a:gd name="connsiteY256" fmla="*/ 187530 h 366579"/>
              <a:gd name="connsiteX257" fmla="*/ 184595 w 256678"/>
              <a:gd name="connsiteY257" fmla="*/ 183423 h 366579"/>
              <a:gd name="connsiteX258" fmla="*/ 106274 w 256678"/>
              <a:gd name="connsiteY258" fmla="*/ 177234 h 366579"/>
              <a:gd name="connsiteX259" fmla="*/ 106274 w 256678"/>
              <a:gd name="connsiteY259" fmla="*/ 177234 h 366579"/>
              <a:gd name="connsiteX260" fmla="*/ 84582 w 256678"/>
              <a:gd name="connsiteY260" fmla="*/ 146403 h 366579"/>
              <a:gd name="connsiteX261" fmla="*/ 84929 w 256678"/>
              <a:gd name="connsiteY261" fmla="*/ 144436 h 366579"/>
              <a:gd name="connsiteX262" fmla="*/ 86722 w 256678"/>
              <a:gd name="connsiteY262" fmla="*/ 143684 h 366579"/>
              <a:gd name="connsiteX263" fmla="*/ 116685 w 256678"/>
              <a:gd name="connsiteY263" fmla="*/ 169541 h 366579"/>
              <a:gd name="connsiteX264" fmla="*/ 112058 w 256678"/>
              <a:gd name="connsiteY264" fmla="*/ 176274 h 366579"/>
              <a:gd name="connsiteX265" fmla="*/ 111827 w 256678"/>
              <a:gd name="connsiteY265" fmla="*/ 176308 h 366579"/>
              <a:gd name="connsiteX266" fmla="*/ 106505 w 256678"/>
              <a:gd name="connsiteY266" fmla="*/ 176771 h 366579"/>
              <a:gd name="connsiteX267" fmla="*/ 86780 w 256678"/>
              <a:gd name="connsiteY267" fmla="*/ 145940 h 366579"/>
              <a:gd name="connsiteX268" fmla="*/ 106274 w 256678"/>
              <a:gd name="connsiteY268" fmla="*/ 174862 h 366579"/>
              <a:gd name="connsiteX269" fmla="*/ 106274 w 256678"/>
              <a:gd name="connsiteY269" fmla="*/ 174862 h 366579"/>
              <a:gd name="connsiteX270" fmla="*/ 111190 w 256678"/>
              <a:gd name="connsiteY270" fmla="*/ 173995 h 366579"/>
              <a:gd name="connsiteX271" fmla="*/ 114429 w 256678"/>
              <a:gd name="connsiteY271" fmla="*/ 169772 h 366579"/>
              <a:gd name="connsiteX272" fmla="*/ 87011 w 256678"/>
              <a:gd name="connsiteY272" fmla="*/ 145477 h 36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56678" h="366579">
                <a:moveTo>
                  <a:pt x="223987" y="366443"/>
                </a:moveTo>
                <a:cubicBezTo>
                  <a:pt x="220111" y="366153"/>
                  <a:pt x="216583" y="364314"/>
                  <a:pt x="214095" y="361352"/>
                </a:cubicBezTo>
                <a:cubicBezTo>
                  <a:pt x="209120" y="356256"/>
                  <a:pt x="202584" y="352942"/>
                  <a:pt x="195527" y="351924"/>
                </a:cubicBezTo>
                <a:cubicBezTo>
                  <a:pt x="184710" y="350015"/>
                  <a:pt x="182802" y="336595"/>
                  <a:pt x="181124" y="324737"/>
                </a:cubicBezTo>
                <a:cubicBezTo>
                  <a:pt x="179736" y="315135"/>
                  <a:pt x="178406" y="306053"/>
                  <a:pt x="172910" y="305070"/>
                </a:cubicBezTo>
                <a:cubicBezTo>
                  <a:pt x="171753" y="304850"/>
                  <a:pt x="170539" y="304734"/>
                  <a:pt x="169324" y="304723"/>
                </a:cubicBezTo>
                <a:cubicBezTo>
                  <a:pt x="166316" y="304595"/>
                  <a:pt x="163423" y="305990"/>
                  <a:pt x="161688" y="308425"/>
                </a:cubicBezTo>
                <a:cubicBezTo>
                  <a:pt x="159664" y="311242"/>
                  <a:pt x="156251" y="312728"/>
                  <a:pt x="152780" y="312300"/>
                </a:cubicBezTo>
                <a:lnTo>
                  <a:pt x="152202" y="312300"/>
                </a:lnTo>
                <a:cubicBezTo>
                  <a:pt x="147979" y="312838"/>
                  <a:pt x="144046" y="314892"/>
                  <a:pt x="141211" y="318085"/>
                </a:cubicBezTo>
                <a:cubicBezTo>
                  <a:pt x="138030" y="321717"/>
                  <a:pt x="133692" y="324164"/>
                  <a:pt x="128948" y="325026"/>
                </a:cubicBezTo>
                <a:lnTo>
                  <a:pt x="128544" y="325026"/>
                </a:lnTo>
                <a:cubicBezTo>
                  <a:pt x="127444" y="325026"/>
                  <a:pt x="124842" y="324563"/>
                  <a:pt x="124263" y="320283"/>
                </a:cubicBezTo>
                <a:cubicBezTo>
                  <a:pt x="123222" y="312358"/>
                  <a:pt x="129700" y="297145"/>
                  <a:pt x="139013" y="294542"/>
                </a:cubicBezTo>
                <a:cubicBezTo>
                  <a:pt x="144682" y="292188"/>
                  <a:pt x="149772" y="288590"/>
                  <a:pt x="153880" y="284014"/>
                </a:cubicBezTo>
                <a:cubicBezTo>
                  <a:pt x="158854" y="279329"/>
                  <a:pt x="163539" y="274991"/>
                  <a:pt x="167877" y="274991"/>
                </a:cubicBezTo>
                <a:cubicBezTo>
                  <a:pt x="169208" y="274950"/>
                  <a:pt x="170481" y="275361"/>
                  <a:pt x="171522" y="276148"/>
                </a:cubicBezTo>
                <a:cubicBezTo>
                  <a:pt x="177422" y="280804"/>
                  <a:pt x="184248" y="284066"/>
                  <a:pt x="191594" y="285692"/>
                </a:cubicBezTo>
                <a:cubicBezTo>
                  <a:pt x="192288" y="285732"/>
                  <a:pt x="192982" y="285524"/>
                  <a:pt x="193503" y="285114"/>
                </a:cubicBezTo>
                <a:cubicBezTo>
                  <a:pt x="193907" y="284419"/>
                  <a:pt x="194081" y="283604"/>
                  <a:pt x="193965" y="282800"/>
                </a:cubicBezTo>
                <a:cubicBezTo>
                  <a:pt x="193734" y="281290"/>
                  <a:pt x="194081" y="279751"/>
                  <a:pt x="195007" y="278519"/>
                </a:cubicBezTo>
                <a:cubicBezTo>
                  <a:pt x="196858" y="277021"/>
                  <a:pt x="199171" y="276298"/>
                  <a:pt x="201543" y="276495"/>
                </a:cubicBezTo>
                <a:cubicBezTo>
                  <a:pt x="205592" y="276148"/>
                  <a:pt x="209410" y="275916"/>
                  <a:pt x="210104" y="270710"/>
                </a:cubicBezTo>
                <a:cubicBezTo>
                  <a:pt x="211030" y="263943"/>
                  <a:pt x="217219" y="263133"/>
                  <a:pt x="221673" y="262497"/>
                </a:cubicBezTo>
                <a:cubicBezTo>
                  <a:pt x="223929" y="262497"/>
                  <a:pt x="226301" y="261918"/>
                  <a:pt x="226763" y="260935"/>
                </a:cubicBezTo>
                <a:cubicBezTo>
                  <a:pt x="227226" y="259951"/>
                  <a:pt x="226763" y="259489"/>
                  <a:pt x="225491" y="256943"/>
                </a:cubicBezTo>
                <a:cubicBezTo>
                  <a:pt x="223813" y="254566"/>
                  <a:pt x="223639" y="251471"/>
                  <a:pt x="224970" y="248903"/>
                </a:cubicBezTo>
                <a:cubicBezTo>
                  <a:pt x="227110" y="245756"/>
                  <a:pt x="230696" y="243957"/>
                  <a:pt x="234514" y="244160"/>
                </a:cubicBezTo>
                <a:cubicBezTo>
                  <a:pt x="241398" y="244084"/>
                  <a:pt x="247009" y="249591"/>
                  <a:pt x="247067" y="256458"/>
                </a:cubicBezTo>
                <a:cubicBezTo>
                  <a:pt x="247067" y="256966"/>
                  <a:pt x="247067" y="257475"/>
                  <a:pt x="247009" y="257985"/>
                </a:cubicBezTo>
                <a:cubicBezTo>
                  <a:pt x="247587" y="266609"/>
                  <a:pt x="249207" y="275136"/>
                  <a:pt x="251810" y="283378"/>
                </a:cubicBezTo>
                <a:cubicBezTo>
                  <a:pt x="255743" y="298071"/>
                  <a:pt x="259503" y="311895"/>
                  <a:pt x="253198" y="319299"/>
                </a:cubicBezTo>
                <a:cubicBezTo>
                  <a:pt x="247992" y="324314"/>
                  <a:pt x="240993" y="326987"/>
                  <a:pt x="233762" y="326704"/>
                </a:cubicBezTo>
                <a:cubicBezTo>
                  <a:pt x="227978" y="327166"/>
                  <a:pt x="224623" y="327571"/>
                  <a:pt x="224391" y="330753"/>
                </a:cubicBezTo>
                <a:cubicBezTo>
                  <a:pt x="224507" y="335351"/>
                  <a:pt x="225201" y="339915"/>
                  <a:pt x="226416" y="344346"/>
                </a:cubicBezTo>
                <a:cubicBezTo>
                  <a:pt x="228325" y="353254"/>
                  <a:pt x="230118" y="361699"/>
                  <a:pt x="227399" y="364997"/>
                </a:cubicBezTo>
                <a:cubicBezTo>
                  <a:pt x="226532" y="365986"/>
                  <a:pt x="225317" y="366523"/>
                  <a:pt x="223987" y="366443"/>
                </a:cubicBezTo>
                <a:close/>
                <a:moveTo>
                  <a:pt x="169555" y="302814"/>
                </a:moveTo>
                <a:cubicBezTo>
                  <a:pt x="170885" y="302820"/>
                  <a:pt x="172216" y="302935"/>
                  <a:pt x="173489" y="303161"/>
                </a:cubicBezTo>
                <a:cubicBezTo>
                  <a:pt x="180662" y="304434"/>
                  <a:pt x="182108" y="314325"/>
                  <a:pt x="183554" y="324737"/>
                </a:cubicBezTo>
                <a:cubicBezTo>
                  <a:pt x="185231" y="336306"/>
                  <a:pt x="186966" y="348395"/>
                  <a:pt x="196163" y="350015"/>
                </a:cubicBezTo>
                <a:cubicBezTo>
                  <a:pt x="203626" y="351154"/>
                  <a:pt x="210567" y="354660"/>
                  <a:pt x="215889" y="360022"/>
                </a:cubicBezTo>
                <a:cubicBezTo>
                  <a:pt x="217913" y="362596"/>
                  <a:pt x="220921" y="364227"/>
                  <a:pt x="224218" y="364534"/>
                </a:cubicBezTo>
                <a:cubicBezTo>
                  <a:pt x="224797" y="364598"/>
                  <a:pt x="225375" y="364354"/>
                  <a:pt x="225780" y="363897"/>
                </a:cubicBezTo>
                <a:cubicBezTo>
                  <a:pt x="227862" y="361352"/>
                  <a:pt x="225780" y="352329"/>
                  <a:pt x="224334" y="345156"/>
                </a:cubicBezTo>
                <a:cubicBezTo>
                  <a:pt x="223061" y="340494"/>
                  <a:pt x="222425" y="335698"/>
                  <a:pt x="222309" y="330868"/>
                </a:cubicBezTo>
                <a:cubicBezTo>
                  <a:pt x="222772" y="325605"/>
                  <a:pt x="228094" y="325084"/>
                  <a:pt x="233878" y="324737"/>
                </a:cubicBezTo>
                <a:cubicBezTo>
                  <a:pt x="240472" y="325049"/>
                  <a:pt x="246951" y="322643"/>
                  <a:pt x="251752" y="318085"/>
                </a:cubicBezTo>
                <a:cubicBezTo>
                  <a:pt x="257536" y="311606"/>
                  <a:pt x="253545" y="297724"/>
                  <a:pt x="249959" y="284246"/>
                </a:cubicBezTo>
                <a:cubicBezTo>
                  <a:pt x="247240" y="275824"/>
                  <a:pt x="245621" y="267101"/>
                  <a:pt x="245042" y="258274"/>
                </a:cubicBezTo>
                <a:cubicBezTo>
                  <a:pt x="245794" y="252669"/>
                  <a:pt x="241803" y="247526"/>
                  <a:pt x="236250" y="246792"/>
                </a:cubicBezTo>
                <a:cubicBezTo>
                  <a:pt x="235729" y="246728"/>
                  <a:pt x="235266" y="246699"/>
                  <a:pt x="234804" y="246705"/>
                </a:cubicBezTo>
                <a:cubicBezTo>
                  <a:pt x="231854" y="246543"/>
                  <a:pt x="228961" y="247891"/>
                  <a:pt x="227226" y="250291"/>
                </a:cubicBezTo>
                <a:cubicBezTo>
                  <a:pt x="226358" y="252171"/>
                  <a:pt x="226532" y="254381"/>
                  <a:pt x="227747" y="256076"/>
                </a:cubicBezTo>
                <a:cubicBezTo>
                  <a:pt x="229366" y="258794"/>
                  <a:pt x="229829" y="260761"/>
                  <a:pt x="229077" y="262207"/>
                </a:cubicBezTo>
                <a:cubicBezTo>
                  <a:pt x="228325" y="263653"/>
                  <a:pt x="225375" y="264637"/>
                  <a:pt x="222251" y="265041"/>
                </a:cubicBezTo>
                <a:cubicBezTo>
                  <a:pt x="216929" y="265736"/>
                  <a:pt x="213170" y="266603"/>
                  <a:pt x="212534" y="271289"/>
                </a:cubicBezTo>
                <a:cubicBezTo>
                  <a:pt x="211550" y="278577"/>
                  <a:pt x="205997" y="278982"/>
                  <a:pt x="201890" y="279271"/>
                </a:cubicBezTo>
                <a:cubicBezTo>
                  <a:pt x="200155" y="279155"/>
                  <a:pt x="198362" y="279618"/>
                  <a:pt x="196915" y="280602"/>
                </a:cubicBezTo>
                <a:cubicBezTo>
                  <a:pt x="196395" y="281365"/>
                  <a:pt x="196221" y="282297"/>
                  <a:pt x="196337" y="283205"/>
                </a:cubicBezTo>
                <a:cubicBezTo>
                  <a:pt x="196627" y="284622"/>
                  <a:pt x="196221" y="286085"/>
                  <a:pt x="195296" y="287196"/>
                </a:cubicBezTo>
                <a:cubicBezTo>
                  <a:pt x="194371" y="288127"/>
                  <a:pt x="193097" y="288613"/>
                  <a:pt x="191767" y="288527"/>
                </a:cubicBezTo>
                <a:cubicBezTo>
                  <a:pt x="184826" y="288527"/>
                  <a:pt x="171869" y="279560"/>
                  <a:pt x="170365" y="278577"/>
                </a:cubicBezTo>
                <a:cubicBezTo>
                  <a:pt x="166721" y="275974"/>
                  <a:pt x="161399" y="280833"/>
                  <a:pt x="155615" y="286213"/>
                </a:cubicBezTo>
                <a:cubicBezTo>
                  <a:pt x="151276" y="291089"/>
                  <a:pt x="145897" y="294889"/>
                  <a:pt x="139823" y="297319"/>
                </a:cubicBezTo>
                <a:cubicBezTo>
                  <a:pt x="131262" y="299575"/>
                  <a:pt x="125825" y="314094"/>
                  <a:pt x="126692" y="320456"/>
                </a:cubicBezTo>
                <a:cubicBezTo>
                  <a:pt x="126692" y="322365"/>
                  <a:pt x="127618" y="323291"/>
                  <a:pt x="128717" y="323291"/>
                </a:cubicBezTo>
                <a:cubicBezTo>
                  <a:pt x="133055" y="322504"/>
                  <a:pt x="136989" y="320260"/>
                  <a:pt x="139881" y="316928"/>
                </a:cubicBezTo>
                <a:cubicBezTo>
                  <a:pt x="143236" y="312913"/>
                  <a:pt x="148153" y="310519"/>
                  <a:pt x="153359" y="310334"/>
                </a:cubicBezTo>
                <a:cubicBezTo>
                  <a:pt x="156078" y="310687"/>
                  <a:pt x="158796" y="309483"/>
                  <a:pt x="160358" y="307210"/>
                </a:cubicBezTo>
                <a:cubicBezTo>
                  <a:pt x="162556" y="304341"/>
                  <a:pt x="165969" y="302704"/>
                  <a:pt x="169555" y="302814"/>
                </a:cubicBezTo>
                <a:close/>
                <a:moveTo>
                  <a:pt x="3195" y="287196"/>
                </a:moveTo>
                <a:lnTo>
                  <a:pt x="3195" y="287196"/>
                </a:lnTo>
                <a:cubicBezTo>
                  <a:pt x="1980" y="287208"/>
                  <a:pt x="881" y="286536"/>
                  <a:pt x="361" y="285461"/>
                </a:cubicBezTo>
                <a:cubicBezTo>
                  <a:pt x="-2242" y="280659"/>
                  <a:pt x="6145" y="270768"/>
                  <a:pt x="20954" y="255092"/>
                </a:cubicBezTo>
                <a:cubicBezTo>
                  <a:pt x="26738" y="249308"/>
                  <a:pt x="31597" y="243523"/>
                  <a:pt x="35183" y="239011"/>
                </a:cubicBezTo>
                <a:cubicBezTo>
                  <a:pt x="39521" y="232892"/>
                  <a:pt x="43223" y="226367"/>
                  <a:pt x="46231" y="219518"/>
                </a:cubicBezTo>
                <a:cubicBezTo>
                  <a:pt x="50049" y="211651"/>
                  <a:pt x="52536" y="206503"/>
                  <a:pt x="55544" y="206503"/>
                </a:cubicBezTo>
                <a:cubicBezTo>
                  <a:pt x="57511" y="206503"/>
                  <a:pt x="58610" y="208586"/>
                  <a:pt x="58899" y="209280"/>
                </a:cubicBezTo>
                <a:cubicBezTo>
                  <a:pt x="63585" y="218593"/>
                  <a:pt x="66824" y="228600"/>
                  <a:pt x="51322" y="239763"/>
                </a:cubicBezTo>
                <a:cubicBezTo>
                  <a:pt x="43281" y="246757"/>
                  <a:pt x="35877" y="254508"/>
                  <a:pt x="29283" y="262901"/>
                </a:cubicBezTo>
                <a:cubicBezTo>
                  <a:pt x="15978" y="277709"/>
                  <a:pt x="7591" y="286907"/>
                  <a:pt x="2963" y="286907"/>
                </a:cubicBezTo>
                <a:close/>
                <a:moveTo>
                  <a:pt x="55255" y="208759"/>
                </a:moveTo>
                <a:cubicBezTo>
                  <a:pt x="53635" y="208759"/>
                  <a:pt x="50627" y="215006"/>
                  <a:pt x="47966" y="220328"/>
                </a:cubicBezTo>
                <a:cubicBezTo>
                  <a:pt x="44785" y="227339"/>
                  <a:pt x="40910" y="234008"/>
                  <a:pt x="36398" y="240226"/>
                </a:cubicBezTo>
                <a:cubicBezTo>
                  <a:pt x="32695" y="244970"/>
                  <a:pt x="27547" y="250523"/>
                  <a:pt x="22052" y="256481"/>
                </a:cubicBezTo>
                <a:cubicBezTo>
                  <a:pt x="12103" y="267182"/>
                  <a:pt x="-276" y="280486"/>
                  <a:pt x="1749" y="284188"/>
                </a:cubicBezTo>
                <a:cubicBezTo>
                  <a:pt x="1865" y="284576"/>
                  <a:pt x="2269" y="284818"/>
                  <a:pt x="2675" y="284767"/>
                </a:cubicBezTo>
                <a:cubicBezTo>
                  <a:pt x="6723" y="284767"/>
                  <a:pt x="17482" y="272272"/>
                  <a:pt x="26969" y="261224"/>
                </a:cubicBezTo>
                <a:cubicBezTo>
                  <a:pt x="33679" y="252709"/>
                  <a:pt x="41199" y="244848"/>
                  <a:pt x="49412" y="237739"/>
                </a:cubicBezTo>
                <a:cubicBezTo>
                  <a:pt x="63469" y="227616"/>
                  <a:pt x="60981" y="219229"/>
                  <a:pt x="56354" y="210089"/>
                </a:cubicBezTo>
                <a:cubicBezTo>
                  <a:pt x="56065" y="208875"/>
                  <a:pt x="55544" y="208470"/>
                  <a:pt x="55255" y="208470"/>
                </a:cubicBezTo>
                <a:close/>
                <a:moveTo>
                  <a:pt x="153128" y="269206"/>
                </a:moveTo>
                <a:cubicBezTo>
                  <a:pt x="152722" y="269264"/>
                  <a:pt x="152260" y="269264"/>
                  <a:pt x="151854" y="269206"/>
                </a:cubicBezTo>
                <a:cubicBezTo>
                  <a:pt x="147285" y="268055"/>
                  <a:pt x="143815" y="264422"/>
                  <a:pt x="142831" y="259836"/>
                </a:cubicBezTo>
                <a:cubicBezTo>
                  <a:pt x="140517" y="252079"/>
                  <a:pt x="142195" y="243674"/>
                  <a:pt x="147285" y="237392"/>
                </a:cubicBezTo>
                <a:cubicBezTo>
                  <a:pt x="149541" y="234158"/>
                  <a:pt x="150351" y="230150"/>
                  <a:pt x="149599" y="226286"/>
                </a:cubicBezTo>
                <a:cubicBezTo>
                  <a:pt x="149310" y="222873"/>
                  <a:pt x="148326" y="219553"/>
                  <a:pt x="146765" y="216510"/>
                </a:cubicBezTo>
                <a:lnTo>
                  <a:pt x="146765" y="216510"/>
                </a:lnTo>
                <a:cubicBezTo>
                  <a:pt x="146013" y="224030"/>
                  <a:pt x="138435" y="224840"/>
                  <a:pt x="133923" y="225302"/>
                </a:cubicBezTo>
                <a:lnTo>
                  <a:pt x="131320" y="225592"/>
                </a:lnTo>
                <a:lnTo>
                  <a:pt x="130394" y="225592"/>
                </a:lnTo>
                <a:cubicBezTo>
                  <a:pt x="125188" y="225592"/>
                  <a:pt x="122007" y="217031"/>
                  <a:pt x="121140" y="208239"/>
                </a:cubicBezTo>
                <a:cubicBezTo>
                  <a:pt x="120156" y="198058"/>
                  <a:pt x="122296" y="187241"/>
                  <a:pt x="129296" y="185853"/>
                </a:cubicBezTo>
                <a:cubicBezTo>
                  <a:pt x="138724" y="183770"/>
                  <a:pt x="158796" y="197422"/>
                  <a:pt x="167589" y="208991"/>
                </a:cubicBezTo>
                <a:cubicBezTo>
                  <a:pt x="170481" y="211819"/>
                  <a:pt x="172043" y="215764"/>
                  <a:pt x="171811" y="219807"/>
                </a:cubicBezTo>
                <a:cubicBezTo>
                  <a:pt x="171233" y="221948"/>
                  <a:pt x="171464" y="222468"/>
                  <a:pt x="171522" y="222468"/>
                </a:cubicBezTo>
                <a:lnTo>
                  <a:pt x="173489" y="221774"/>
                </a:lnTo>
                <a:cubicBezTo>
                  <a:pt x="174819" y="221219"/>
                  <a:pt x="176265" y="220883"/>
                  <a:pt x="177711" y="220791"/>
                </a:cubicBezTo>
                <a:cubicBezTo>
                  <a:pt x="179736" y="220750"/>
                  <a:pt x="181529" y="222011"/>
                  <a:pt x="182223" y="223914"/>
                </a:cubicBezTo>
                <a:cubicBezTo>
                  <a:pt x="184306" y="228600"/>
                  <a:pt x="178348" y="242367"/>
                  <a:pt x="171406" y="252836"/>
                </a:cubicBezTo>
                <a:cubicBezTo>
                  <a:pt x="167473" y="258737"/>
                  <a:pt x="159837" y="268917"/>
                  <a:pt x="153128" y="268917"/>
                </a:cubicBezTo>
                <a:close/>
                <a:moveTo>
                  <a:pt x="146475" y="213386"/>
                </a:moveTo>
                <a:cubicBezTo>
                  <a:pt x="147169" y="213386"/>
                  <a:pt x="148268" y="213791"/>
                  <a:pt x="149657" y="217089"/>
                </a:cubicBezTo>
                <a:cubicBezTo>
                  <a:pt x="151681" y="221948"/>
                  <a:pt x="154111" y="233574"/>
                  <a:pt x="148847" y="238838"/>
                </a:cubicBezTo>
                <a:cubicBezTo>
                  <a:pt x="144393" y="244530"/>
                  <a:pt x="142947" y="252038"/>
                  <a:pt x="145029" y="258968"/>
                </a:cubicBezTo>
                <a:cubicBezTo>
                  <a:pt x="145781" y="262757"/>
                  <a:pt x="148616" y="265793"/>
                  <a:pt x="152318" y="266835"/>
                </a:cubicBezTo>
                <a:cubicBezTo>
                  <a:pt x="156309" y="267702"/>
                  <a:pt x="162903" y="261918"/>
                  <a:pt x="169671" y="251737"/>
                </a:cubicBezTo>
                <a:cubicBezTo>
                  <a:pt x="177306" y="240168"/>
                  <a:pt x="181587" y="227790"/>
                  <a:pt x="180256" y="224782"/>
                </a:cubicBezTo>
                <a:cubicBezTo>
                  <a:pt x="179967" y="223706"/>
                  <a:pt x="178926" y="222972"/>
                  <a:pt x="177827" y="222989"/>
                </a:cubicBezTo>
                <a:cubicBezTo>
                  <a:pt x="176670" y="223087"/>
                  <a:pt x="175513" y="223376"/>
                  <a:pt x="174414" y="223856"/>
                </a:cubicBezTo>
                <a:cubicBezTo>
                  <a:pt x="173489" y="224221"/>
                  <a:pt x="172563" y="224452"/>
                  <a:pt x="171580" y="224550"/>
                </a:cubicBezTo>
                <a:cubicBezTo>
                  <a:pt x="170885" y="224603"/>
                  <a:pt x="170249" y="224319"/>
                  <a:pt x="169845" y="223799"/>
                </a:cubicBezTo>
                <a:cubicBezTo>
                  <a:pt x="169151" y="222931"/>
                  <a:pt x="169093" y="221543"/>
                  <a:pt x="169845" y="219171"/>
                </a:cubicBezTo>
                <a:cubicBezTo>
                  <a:pt x="170597" y="216799"/>
                  <a:pt x="168977" y="214081"/>
                  <a:pt x="166027" y="210321"/>
                </a:cubicBezTo>
                <a:cubicBezTo>
                  <a:pt x="157697" y="199735"/>
                  <a:pt x="138551" y="186662"/>
                  <a:pt x="129932" y="188282"/>
                </a:cubicBezTo>
                <a:cubicBezTo>
                  <a:pt x="124610" y="189323"/>
                  <a:pt x="122759" y="199099"/>
                  <a:pt x="123627" y="208239"/>
                </a:cubicBezTo>
                <a:cubicBezTo>
                  <a:pt x="124494" y="217378"/>
                  <a:pt x="127850" y="223972"/>
                  <a:pt x="131089" y="223220"/>
                </a:cubicBezTo>
                <a:lnTo>
                  <a:pt x="133923" y="222873"/>
                </a:lnTo>
                <a:cubicBezTo>
                  <a:pt x="139707" y="222295"/>
                  <a:pt x="144219" y="221369"/>
                  <a:pt x="144740" y="216105"/>
                </a:cubicBezTo>
                <a:cubicBezTo>
                  <a:pt x="144682" y="214023"/>
                  <a:pt x="145319" y="213097"/>
                  <a:pt x="146417" y="213097"/>
                </a:cubicBezTo>
                <a:close/>
                <a:moveTo>
                  <a:pt x="184190" y="259662"/>
                </a:moveTo>
                <a:lnTo>
                  <a:pt x="184190" y="259662"/>
                </a:lnTo>
                <a:cubicBezTo>
                  <a:pt x="181760" y="259905"/>
                  <a:pt x="179446" y="258609"/>
                  <a:pt x="178406" y="256423"/>
                </a:cubicBezTo>
                <a:cubicBezTo>
                  <a:pt x="177769" y="253745"/>
                  <a:pt x="178463" y="250922"/>
                  <a:pt x="180256" y="248845"/>
                </a:cubicBezTo>
                <a:cubicBezTo>
                  <a:pt x="183496" y="243813"/>
                  <a:pt x="188759" y="240435"/>
                  <a:pt x="194717" y="239590"/>
                </a:cubicBezTo>
                <a:cubicBezTo>
                  <a:pt x="196973" y="239556"/>
                  <a:pt x="199114" y="240585"/>
                  <a:pt x="200502" y="242367"/>
                </a:cubicBezTo>
                <a:cubicBezTo>
                  <a:pt x="202122" y="244345"/>
                  <a:pt x="202353" y="247144"/>
                  <a:pt x="201080" y="249366"/>
                </a:cubicBezTo>
                <a:cubicBezTo>
                  <a:pt x="197263" y="255098"/>
                  <a:pt x="191073" y="258737"/>
                  <a:pt x="184190" y="259199"/>
                </a:cubicBezTo>
                <a:close/>
                <a:moveTo>
                  <a:pt x="194833" y="241846"/>
                </a:moveTo>
                <a:cubicBezTo>
                  <a:pt x="189685" y="242691"/>
                  <a:pt x="185115" y="245698"/>
                  <a:pt x="182281" y="250118"/>
                </a:cubicBezTo>
                <a:cubicBezTo>
                  <a:pt x="180835" y="251679"/>
                  <a:pt x="180198" y="253820"/>
                  <a:pt x="180604" y="255902"/>
                </a:cubicBezTo>
                <a:cubicBezTo>
                  <a:pt x="181124" y="257117"/>
                  <a:pt x="182281" y="257695"/>
                  <a:pt x="184190" y="257695"/>
                </a:cubicBezTo>
                <a:lnTo>
                  <a:pt x="184190" y="257695"/>
                </a:lnTo>
                <a:cubicBezTo>
                  <a:pt x="190321" y="257117"/>
                  <a:pt x="195817" y="253797"/>
                  <a:pt x="199171" y="248672"/>
                </a:cubicBezTo>
                <a:cubicBezTo>
                  <a:pt x="200155" y="247284"/>
                  <a:pt x="200155" y="245432"/>
                  <a:pt x="199171" y="244044"/>
                </a:cubicBezTo>
                <a:cubicBezTo>
                  <a:pt x="198304" y="242453"/>
                  <a:pt x="196627" y="241441"/>
                  <a:pt x="194833" y="241383"/>
                </a:cubicBezTo>
                <a:close/>
                <a:moveTo>
                  <a:pt x="207501" y="240515"/>
                </a:moveTo>
                <a:cubicBezTo>
                  <a:pt x="205882" y="240515"/>
                  <a:pt x="203741" y="239301"/>
                  <a:pt x="202642" y="233574"/>
                </a:cubicBezTo>
                <a:cubicBezTo>
                  <a:pt x="201080" y="228247"/>
                  <a:pt x="198362" y="223324"/>
                  <a:pt x="194659" y="219171"/>
                </a:cubicBezTo>
                <a:cubicBezTo>
                  <a:pt x="189569" y="212519"/>
                  <a:pt x="184364" y="205693"/>
                  <a:pt x="189164" y="198810"/>
                </a:cubicBezTo>
                <a:cubicBezTo>
                  <a:pt x="191363" y="196276"/>
                  <a:pt x="191883" y="192730"/>
                  <a:pt x="190553" y="189670"/>
                </a:cubicBezTo>
                <a:cubicBezTo>
                  <a:pt x="188470" y="186275"/>
                  <a:pt x="184016" y="185234"/>
                  <a:pt x="180604" y="187334"/>
                </a:cubicBezTo>
                <a:cubicBezTo>
                  <a:pt x="180198" y="187577"/>
                  <a:pt x="179852" y="187854"/>
                  <a:pt x="179504" y="188166"/>
                </a:cubicBezTo>
                <a:cubicBezTo>
                  <a:pt x="177827" y="189948"/>
                  <a:pt x="174992" y="190012"/>
                  <a:pt x="173199" y="188317"/>
                </a:cubicBezTo>
                <a:cubicBezTo>
                  <a:pt x="172737" y="187883"/>
                  <a:pt x="172389" y="187357"/>
                  <a:pt x="172158" y="186778"/>
                </a:cubicBezTo>
                <a:cubicBezTo>
                  <a:pt x="168341" y="179328"/>
                  <a:pt x="167473" y="170726"/>
                  <a:pt x="169671" y="162657"/>
                </a:cubicBezTo>
                <a:cubicBezTo>
                  <a:pt x="170307" y="161269"/>
                  <a:pt x="169671" y="158955"/>
                  <a:pt x="167877" y="156236"/>
                </a:cubicBezTo>
                <a:cubicBezTo>
                  <a:pt x="161457" y="147057"/>
                  <a:pt x="151392" y="141075"/>
                  <a:pt x="140286" y="139809"/>
                </a:cubicBezTo>
                <a:cubicBezTo>
                  <a:pt x="139419" y="139751"/>
                  <a:pt x="138609" y="139751"/>
                  <a:pt x="137741" y="139809"/>
                </a:cubicBezTo>
                <a:cubicBezTo>
                  <a:pt x="136699" y="139988"/>
                  <a:pt x="135659" y="140081"/>
                  <a:pt x="134617" y="140098"/>
                </a:cubicBezTo>
                <a:cubicBezTo>
                  <a:pt x="130452" y="140156"/>
                  <a:pt x="126519" y="137940"/>
                  <a:pt x="124436" y="134313"/>
                </a:cubicBezTo>
                <a:cubicBezTo>
                  <a:pt x="122701" y="132115"/>
                  <a:pt x="121313" y="130380"/>
                  <a:pt x="118189" y="130380"/>
                </a:cubicBezTo>
                <a:cubicBezTo>
                  <a:pt x="116397" y="130467"/>
                  <a:pt x="114603" y="130860"/>
                  <a:pt x="112925" y="131537"/>
                </a:cubicBezTo>
                <a:cubicBezTo>
                  <a:pt x="107777" y="133481"/>
                  <a:pt x="102340" y="134539"/>
                  <a:pt x="96845" y="134660"/>
                </a:cubicBezTo>
                <a:lnTo>
                  <a:pt x="96845" y="134660"/>
                </a:lnTo>
                <a:cubicBezTo>
                  <a:pt x="92391" y="135175"/>
                  <a:pt x="87937" y="133544"/>
                  <a:pt x="84871" y="130264"/>
                </a:cubicBezTo>
                <a:cubicBezTo>
                  <a:pt x="83078" y="127592"/>
                  <a:pt x="82789" y="124202"/>
                  <a:pt x="84003" y="121241"/>
                </a:cubicBezTo>
                <a:cubicBezTo>
                  <a:pt x="86259" y="115849"/>
                  <a:pt x="85970" y="109707"/>
                  <a:pt x="83136" y="104581"/>
                </a:cubicBezTo>
                <a:cubicBezTo>
                  <a:pt x="81921" y="102788"/>
                  <a:pt x="79897" y="101706"/>
                  <a:pt x="77756" y="101689"/>
                </a:cubicBezTo>
                <a:cubicBezTo>
                  <a:pt x="76310" y="101574"/>
                  <a:pt x="74980" y="100752"/>
                  <a:pt x="74286" y="99491"/>
                </a:cubicBezTo>
                <a:cubicBezTo>
                  <a:pt x="69253" y="92550"/>
                  <a:pt x="67344" y="69412"/>
                  <a:pt x="69484" y="63049"/>
                </a:cubicBezTo>
                <a:cubicBezTo>
                  <a:pt x="70063" y="61314"/>
                  <a:pt x="71104" y="60909"/>
                  <a:pt x="71914" y="60909"/>
                </a:cubicBezTo>
                <a:cubicBezTo>
                  <a:pt x="73592" y="61256"/>
                  <a:pt x="75154" y="62147"/>
                  <a:pt x="76310" y="63454"/>
                </a:cubicBezTo>
                <a:cubicBezTo>
                  <a:pt x="78508" y="65247"/>
                  <a:pt x="80995" y="67272"/>
                  <a:pt x="82731" y="65826"/>
                </a:cubicBezTo>
                <a:cubicBezTo>
                  <a:pt x="84466" y="64380"/>
                  <a:pt x="83772" y="53042"/>
                  <a:pt x="83367" y="43787"/>
                </a:cubicBezTo>
                <a:cubicBezTo>
                  <a:pt x="82615" y="26145"/>
                  <a:pt x="81747" y="6073"/>
                  <a:pt x="88515" y="1908"/>
                </a:cubicBezTo>
                <a:cubicBezTo>
                  <a:pt x="91118" y="468"/>
                  <a:pt x="94010" y="-232"/>
                  <a:pt x="96960" y="-117"/>
                </a:cubicBezTo>
                <a:cubicBezTo>
                  <a:pt x="103034" y="236"/>
                  <a:pt x="109050" y="1347"/>
                  <a:pt x="114893" y="3181"/>
                </a:cubicBezTo>
                <a:cubicBezTo>
                  <a:pt x="118537" y="4337"/>
                  <a:pt x="122296" y="5112"/>
                  <a:pt x="126114" y="5494"/>
                </a:cubicBezTo>
                <a:cubicBezTo>
                  <a:pt x="126808" y="5512"/>
                  <a:pt x="127502" y="5373"/>
                  <a:pt x="128138" y="5089"/>
                </a:cubicBezTo>
                <a:cubicBezTo>
                  <a:pt x="131146" y="3354"/>
                  <a:pt x="133113" y="3354"/>
                  <a:pt x="134328" y="4742"/>
                </a:cubicBezTo>
                <a:cubicBezTo>
                  <a:pt x="135543" y="6131"/>
                  <a:pt x="135716" y="9428"/>
                  <a:pt x="134328" y="15964"/>
                </a:cubicBezTo>
                <a:cubicBezTo>
                  <a:pt x="134328" y="20493"/>
                  <a:pt x="135138" y="24982"/>
                  <a:pt x="136757" y="29210"/>
                </a:cubicBezTo>
                <a:cubicBezTo>
                  <a:pt x="139765" y="39391"/>
                  <a:pt x="143467" y="52348"/>
                  <a:pt x="135716" y="60909"/>
                </a:cubicBezTo>
                <a:lnTo>
                  <a:pt x="130915" y="66288"/>
                </a:lnTo>
                <a:cubicBezTo>
                  <a:pt x="120330" y="77857"/>
                  <a:pt x="109397" y="89831"/>
                  <a:pt x="117091" y="98161"/>
                </a:cubicBezTo>
                <a:cubicBezTo>
                  <a:pt x="120966" y="103338"/>
                  <a:pt x="122990" y="109678"/>
                  <a:pt x="122875" y="116150"/>
                </a:cubicBezTo>
                <a:cubicBezTo>
                  <a:pt x="123280" y="121356"/>
                  <a:pt x="123569" y="124538"/>
                  <a:pt x="125652" y="124538"/>
                </a:cubicBezTo>
                <a:cubicBezTo>
                  <a:pt x="127098" y="124347"/>
                  <a:pt x="128544" y="123815"/>
                  <a:pt x="129758" y="122976"/>
                </a:cubicBezTo>
                <a:cubicBezTo>
                  <a:pt x="134444" y="120454"/>
                  <a:pt x="139649" y="119199"/>
                  <a:pt x="144971" y="119332"/>
                </a:cubicBezTo>
                <a:cubicBezTo>
                  <a:pt x="157119" y="119332"/>
                  <a:pt x="168745" y="124596"/>
                  <a:pt x="169381" y="130322"/>
                </a:cubicBezTo>
                <a:cubicBezTo>
                  <a:pt x="169381" y="132867"/>
                  <a:pt x="172737" y="135181"/>
                  <a:pt x="176323" y="137842"/>
                </a:cubicBezTo>
                <a:cubicBezTo>
                  <a:pt x="181471" y="141775"/>
                  <a:pt x="187892" y="146576"/>
                  <a:pt x="187892" y="154675"/>
                </a:cubicBezTo>
                <a:cubicBezTo>
                  <a:pt x="187892" y="160459"/>
                  <a:pt x="192693" y="161963"/>
                  <a:pt x="200560" y="164393"/>
                </a:cubicBezTo>
                <a:cubicBezTo>
                  <a:pt x="207386" y="166475"/>
                  <a:pt x="215137" y="168847"/>
                  <a:pt x="218491" y="175961"/>
                </a:cubicBezTo>
                <a:cubicBezTo>
                  <a:pt x="219995" y="179085"/>
                  <a:pt x="221731" y="182151"/>
                  <a:pt x="223409" y="185101"/>
                </a:cubicBezTo>
                <a:cubicBezTo>
                  <a:pt x="229193" y="194992"/>
                  <a:pt x="234283" y="204305"/>
                  <a:pt x="225375" y="210494"/>
                </a:cubicBezTo>
                <a:cubicBezTo>
                  <a:pt x="223177" y="211998"/>
                  <a:pt x="221268" y="213213"/>
                  <a:pt x="219591" y="214196"/>
                </a:cubicBezTo>
                <a:cubicBezTo>
                  <a:pt x="213806" y="217841"/>
                  <a:pt x="212476" y="218593"/>
                  <a:pt x="213806" y="225765"/>
                </a:cubicBezTo>
                <a:cubicBezTo>
                  <a:pt x="214616" y="230231"/>
                  <a:pt x="213517" y="234830"/>
                  <a:pt x="210856" y="238491"/>
                </a:cubicBezTo>
                <a:cubicBezTo>
                  <a:pt x="209988" y="239474"/>
                  <a:pt x="208774" y="240041"/>
                  <a:pt x="207501" y="240053"/>
                </a:cubicBezTo>
                <a:close/>
                <a:moveTo>
                  <a:pt x="184364" y="183886"/>
                </a:moveTo>
                <a:cubicBezTo>
                  <a:pt x="187718" y="183886"/>
                  <a:pt x="190784" y="185702"/>
                  <a:pt x="192345" y="188629"/>
                </a:cubicBezTo>
                <a:cubicBezTo>
                  <a:pt x="194081" y="192470"/>
                  <a:pt x="193445" y="196953"/>
                  <a:pt x="190784" y="200198"/>
                </a:cubicBezTo>
                <a:cubicBezTo>
                  <a:pt x="186908" y="205983"/>
                  <a:pt x="191247" y="211420"/>
                  <a:pt x="196221" y="217956"/>
                </a:cubicBezTo>
                <a:cubicBezTo>
                  <a:pt x="200155" y="222364"/>
                  <a:pt x="203047" y="227605"/>
                  <a:pt x="204666" y="233285"/>
                </a:cubicBezTo>
                <a:cubicBezTo>
                  <a:pt x="205360" y="237045"/>
                  <a:pt x="206518" y="238375"/>
                  <a:pt x="207270" y="238375"/>
                </a:cubicBezTo>
                <a:cubicBezTo>
                  <a:pt x="207964" y="238248"/>
                  <a:pt x="208542" y="237878"/>
                  <a:pt x="208947" y="237334"/>
                </a:cubicBezTo>
                <a:cubicBezTo>
                  <a:pt x="211145" y="234158"/>
                  <a:pt x="211955" y="230254"/>
                  <a:pt x="211319" y="226459"/>
                </a:cubicBezTo>
                <a:cubicBezTo>
                  <a:pt x="209988" y="218014"/>
                  <a:pt x="212244" y="216568"/>
                  <a:pt x="218318" y="212808"/>
                </a:cubicBezTo>
                <a:cubicBezTo>
                  <a:pt x="219879" y="211825"/>
                  <a:pt x="221731" y="210668"/>
                  <a:pt x="224103" y="209164"/>
                </a:cubicBezTo>
                <a:cubicBezTo>
                  <a:pt x="230986" y="204363"/>
                  <a:pt x="227573" y="197595"/>
                  <a:pt x="221441" y="186778"/>
                </a:cubicBezTo>
                <a:cubicBezTo>
                  <a:pt x="219764" y="183770"/>
                  <a:pt x="217971" y="180647"/>
                  <a:pt x="216467" y="177408"/>
                </a:cubicBezTo>
                <a:cubicBezTo>
                  <a:pt x="213517" y="171218"/>
                  <a:pt x="206576" y="169078"/>
                  <a:pt x="199866" y="166996"/>
                </a:cubicBezTo>
                <a:cubicBezTo>
                  <a:pt x="193155" y="164913"/>
                  <a:pt x="185636" y="162599"/>
                  <a:pt x="185636" y="155427"/>
                </a:cubicBezTo>
                <a:cubicBezTo>
                  <a:pt x="185636" y="148254"/>
                  <a:pt x="179852" y="144205"/>
                  <a:pt x="174877" y="140445"/>
                </a:cubicBezTo>
                <a:cubicBezTo>
                  <a:pt x="170943" y="137437"/>
                  <a:pt x="167473" y="134660"/>
                  <a:pt x="167068" y="131363"/>
                </a:cubicBezTo>
                <a:cubicBezTo>
                  <a:pt x="166663" y="128066"/>
                  <a:pt x="156309" y="122340"/>
                  <a:pt x="144913" y="122340"/>
                </a:cubicBezTo>
                <a:cubicBezTo>
                  <a:pt x="139997" y="122201"/>
                  <a:pt x="135138" y="123358"/>
                  <a:pt x="130800" y="125695"/>
                </a:cubicBezTo>
                <a:cubicBezTo>
                  <a:pt x="129238" y="126759"/>
                  <a:pt x="127444" y="127395"/>
                  <a:pt x="125594" y="127546"/>
                </a:cubicBezTo>
                <a:cubicBezTo>
                  <a:pt x="121313" y="127546"/>
                  <a:pt x="120966" y="122687"/>
                  <a:pt x="120561" y="117076"/>
                </a:cubicBezTo>
                <a:cubicBezTo>
                  <a:pt x="120792" y="111158"/>
                  <a:pt x="119115" y="105333"/>
                  <a:pt x="115702" y="100475"/>
                </a:cubicBezTo>
                <a:cubicBezTo>
                  <a:pt x="106563" y="90641"/>
                  <a:pt x="118768" y="77337"/>
                  <a:pt x="129469" y="65768"/>
                </a:cubicBezTo>
                <a:cubicBezTo>
                  <a:pt x="131089" y="63975"/>
                  <a:pt x="132708" y="62239"/>
                  <a:pt x="134212" y="60504"/>
                </a:cubicBezTo>
                <a:cubicBezTo>
                  <a:pt x="141153" y="52579"/>
                  <a:pt x="137799" y="41068"/>
                  <a:pt x="134849" y="30888"/>
                </a:cubicBezTo>
                <a:cubicBezTo>
                  <a:pt x="133055" y="26341"/>
                  <a:pt x="132188" y="21482"/>
                  <a:pt x="132361" y="16600"/>
                </a:cubicBezTo>
                <a:cubicBezTo>
                  <a:pt x="133229" y="11279"/>
                  <a:pt x="133287" y="8155"/>
                  <a:pt x="132361" y="7287"/>
                </a:cubicBezTo>
                <a:cubicBezTo>
                  <a:pt x="131436" y="6420"/>
                  <a:pt x="131783" y="6536"/>
                  <a:pt x="129006" y="8097"/>
                </a:cubicBezTo>
                <a:cubicBezTo>
                  <a:pt x="126230" y="9659"/>
                  <a:pt x="120966" y="8097"/>
                  <a:pt x="114083" y="6420"/>
                </a:cubicBezTo>
                <a:cubicBezTo>
                  <a:pt x="108471" y="4644"/>
                  <a:pt x="102630" y="3557"/>
                  <a:pt x="96729" y="3181"/>
                </a:cubicBezTo>
                <a:cubicBezTo>
                  <a:pt x="94184" y="3071"/>
                  <a:pt x="91697" y="3649"/>
                  <a:pt x="89441" y="4858"/>
                </a:cubicBezTo>
                <a:cubicBezTo>
                  <a:pt x="83657" y="8329"/>
                  <a:pt x="84697" y="29384"/>
                  <a:pt x="85391" y="44771"/>
                </a:cubicBezTo>
                <a:cubicBezTo>
                  <a:pt x="86028" y="59116"/>
                  <a:pt x="86259" y="66636"/>
                  <a:pt x="83945" y="68545"/>
                </a:cubicBezTo>
                <a:cubicBezTo>
                  <a:pt x="83193" y="69256"/>
                  <a:pt x="82153" y="69649"/>
                  <a:pt x="81111" y="69644"/>
                </a:cubicBezTo>
                <a:cubicBezTo>
                  <a:pt x="78624" y="69239"/>
                  <a:pt x="76368" y="68041"/>
                  <a:pt x="74633" y="66231"/>
                </a:cubicBezTo>
                <a:cubicBezTo>
                  <a:pt x="73650" y="65363"/>
                  <a:pt x="72261" y="64206"/>
                  <a:pt x="71682" y="64206"/>
                </a:cubicBezTo>
                <a:lnTo>
                  <a:pt x="71682" y="64206"/>
                </a:lnTo>
                <a:cubicBezTo>
                  <a:pt x="71682" y="64206"/>
                  <a:pt x="71682" y="64206"/>
                  <a:pt x="71682" y="64842"/>
                </a:cubicBezTo>
                <a:cubicBezTo>
                  <a:pt x="69716" y="70627"/>
                  <a:pt x="71682" y="92955"/>
                  <a:pt x="76137" y="99202"/>
                </a:cubicBezTo>
                <a:cubicBezTo>
                  <a:pt x="76542" y="99781"/>
                  <a:pt x="77178" y="100475"/>
                  <a:pt x="77814" y="100475"/>
                </a:cubicBezTo>
                <a:cubicBezTo>
                  <a:pt x="80706" y="100469"/>
                  <a:pt x="83425" y="101903"/>
                  <a:pt x="85045" y="104292"/>
                </a:cubicBezTo>
                <a:cubicBezTo>
                  <a:pt x="88284" y="109984"/>
                  <a:pt x="88747" y="116868"/>
                  <a:pt x="86201" y="122918"/>
                </a:cubicBezTo>
                <a:cubicBezTo>
                  <a:pt x="85218" y="125215"/>
                  <a:pt x="85391" y="127852"/>
                  <a:pt x="86722" y="129975"/>
                </a:cubicBezTo>
                <a:cubicBezTo>
                  <a:pt x="89441" y="132613"/>
                  <a:pt x="93143" y="133891"/>
                  <a:pt x="96902" y="133446"/>
                </a:cubicBezTo>
                <a:lnTo>
                  <a:pt x="96902" y="133446"/>
                </a:lnTo>
                <a:cubicBezTo>
                  <a:pt x="102109" y="133336"/>
                  <a:pt x="107315" y="132318"/>
                  <a:pt x="112173" y="130438"/>
                </a:cubicBezTo>
                <a:cubicBezTo>
                  <a:pt x="114025" y="129692"/>
                  <a:pt x="115991" y="129264"/>
                  <a:pt x="117958" y="129165"/>
                </a:cubicBezTo>
                <a:cubicBezTo>
                  <a:pt x="121255" y="129269"/>
                  <a:pt x="124263" y="131063"/>
                  <a:pt x="125940" y="133908"/>
                </a:cubicBezTo>
                <a:cubicBezTo>
                  <a:pt x="127676" y="136910"/>
                  <a:pt x="130915" y="138744"/>
                  <a:pt x="134386" y="138710"/>
                </a:cubicBezTo>
                <a:cubicBezTo>
                  <a:pt x="135311" y="138791"/>
                  <a:pt x="136237" y="138791"/>
                  <a:pt x="137163" y="138710"/>
                </a:cubicBezTo>
                <a:cubicBezTo>
                  <a:pt x="138145" y="138623"/>
                  <a:pt x="139071" y="138623"/>
                  <a:pt x="140055" y="138710"/>
                </a:cubicBezTo>
                <a:cubicBezTo>
                  <a:pt x="151970" y="139901"/>
                  <a:pt x="162729" y="146241"/>
                  <a:pt x="169555" y="156063"/>
                </a:cubicBezTo>
                <a:cubicBezTo>
                  <a:pt x="171580" y="158411"/>
                  <a:pt x="172332" y="161633"/>
                  <a:pt x="171464" y="164624"/>
                </a:cubicBezTo>
                <a:cubicBezTo>
                  <a:pt x="169613" y="171993"/>
                  <a:pt x="170481" y="179773"/>
                  <a:pt x="173778" y="186605"/>
                </a:cubicBezTo>
                <a:cubicBezTo>
                  <a:pt x="174356" y="187414"/>
                  <a:pt x="175166" y="188340"/>
                  <a:pt x="176092" y="188340"/>
                </a:cubicBezTo>
                <a:cubicBezTo>
                  <a:pt x="176728" y="188259"/>
                  <a:pt x="177306" y="187975"/>
                  <a:pt x="177769" y="187530"/>
                </a:cubicBezTo>
                <a:cubicBezTo>
                  <a:pt x="179388" y="185263"/>
                  <a:pt x="181818" y="183776"/>
                  <a:pt x="184595" y="183423"/>
                </a:cubicBezTo>
                <a:close/>
                <a:moveTo>
                  <a:pt x="106274" y="177234"/>
                </a:moveTo>
                <a:lnTo>
                  <a:pt x="106274" y="177234"/>
                </a:lnTo>
                <a:cubicBezTo>
                  <a:pt x="91176" y="177234"/>
                  <a:pt x="86375" y="154790"/>
                  <a:pt x="84582" y="146403"/>
                </a:cubicBezTo>
                <a:cubicBezTo>
                  <a:pt x="84351" y="145732"/>
                  <a:pt x="84524" y="144997"/>
                  <a:pt x="84929" y="144436"/>
                </a:cubicBezTo>
                <a:cubicBezTo>
                  <a:pt x="85391" y="143904"/>
                  <a:pt x="86028" y="143621"/>
                  <a:pt x="86722" y="143684"/>
                </a:cubicBezTo>
                <a:cubicBezTo>
                  <a:pt x="92507" y="143684"/>
                  <a:pt x="115181" y="159707"/>
                  <a:pt x="116685" y="169541"/>
                </a:cubicBezTo>
                <a:cubicBezTo>
                  <a:pt x="117264" y="172682"/>
                  <a:pt x="115181" y="175695"/>
                  <a:pt x="112058" y="176274"/>
                </a:cubicBezTo>
                <a:cubicBezTo>
                  <a:pt x="111942" y="176285"/>
                  <a:pt x="111885" y="176297"/>
                  <a:pt x="111827" y="176308"/>
                </a:cubicBezTo>
                <a:cubicBezTo>
                  <a:pt x="110091" y="176707"/>
                  <a:pt x="108298" y="176864"/>
                  <a:pt x="106505" y="176771"/>
                </a:cubicBezTo>
                <a:close/>
                <a:moveTo>
                  <a:pt x="86780" y="145940"/>
                </a:moveTo>
                <a:cubicBezTo>
                  <a:pt x="88573" y="154270"/>
                  <a:pt x="93143" y="174862"/>
                  <a:pt x="106274" y="174862"/>
                </a:cubicBezTo>
                <a:lnTo>
                  <a:pt x="106274" y="174862"/>
                </a:lnTo>
                <a:cubicBezTo>
                  <a:pt x="107951" y="174839"/>
                  <a:pt x="109629" y="174544"/>
                  <a:pt x="111190" y="173995"/>
                </a:cubicBezTo>
                <a:cubicBezTo>
                  <a:pt x="114545" y="172953"/>
                  <a:pt x="114661" y="171102"/>
                  <a:pt x="114429" y="169772"/>
                </a:cubicBezTo>
                <a:cubicBezTo>
                  <a:pt x="113389" y="161153"/>
                  <a:pt x="92044" y="145651"/>
                  <a:pt x="87011" y="14547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8" name="Forma libre: forma 417">
            <a:extLst>
              <a:ext uri="{FF2B5EF4-FFF2-40B4-BE49-F238E27FC236}">
                <a16:creationId xmlns:a16="http://schemas.microsoft.com/office/drawing/2014/main" id="{56A5C724-5C49-AFBF-F635-0246B0A137D3}"/>
              </a:ext>
            </a:extLst>
          </p:cNvPr>
          <p:cNvSpPr/>
          <p:nvPr/>
        </p:nvSpPr>
        <p:spPr>
          <a:xfrm>
            <a:off x="10008687" y="4562184"/>
            <a:ext cx="340970" cy="222136"/>
          </a:xfrm>
          <a:custGeom>
            <a:avLst/>
            <a:gdLst>
              <a:gd name="connsiteX0" fmla="*/ 252612 w 340970"/>
              <a:gd name="connsiteY0" fmla="*/ 222007 h 222136"/>
              <a:gd name="connsiteX1" fmla="*/ 228722 w 340970"/>
              <a:gd name="connsiteY1" fmla="*/ 216570 h 222136"/>
              <a:gd name="connsiteX2" fmla="*/ 203444 w 340970"/>
              <a:gd name="connsiteY2" fmla="*/ 210786 h 222136"/>
              <a:gd name="connsiteX3" fmla="*/ 196908 w 340970"/>
              <a:gd name="connsiteY3" fmla="*/ 211422 h 222136"/>
              <a:gd name="connsiteX4" fmla="*/ 194016 w 340970"/>
              <a:gd name="connsiteY4" fmla="*/ 211711 h 222136"/>
              <a:gd name="connsiteX5" fmla="*/ 156822 w 340970"/>
              <a:gd name="connsiteY5" fmla="*/ 180591 h 222136"/>
              <a:gd name="connsiteX6" fmla="*/ 136171 w 340970"/>
              <a:gd name="connsiteY6" fmla="*/ 157858 h 222136"/>
              <a:gd name="connsiteX7" fmla="*/ 91631 w 340970"/>
              <a:gd name="connsiteY7" fmla="*/ 141372 h 222136"/>
              <a:gd name="connsiteX8" fmla="*/ 80409 w 340970"/>
              <a:gd name="connsiteY8" fmla="*/ 144843 h 222136"/>
              <a:gd name="connsiteX9" fmla="*/ 73931 w 340970"/>
              <a:gd name="connsiteY9" fmla="*/ 154908 h 222136"/>
              <a:gd name="connsiteX10" fmla="*/ 63345 w 340970"/>
              <a:gd name="connsiteY10" fmla="*/ 165378 h 222136"/>
              <a:gd name="connsiteX11" fmla="*/ 61205 w 340970"/>
              <a:gd name="connsiteY11" fmla="*/ 168849 h 222136"/>
              <a:gd name="connsiteX12" fmla="*/ 30201 w 340970"/>
              <a:gd name="connsiteY12" fmla="*/ 184004 h 222136"/>
              <a:gd name="connsiteX13" fmla="*/ 411 w 340970"/>
              <a:gd name="connsiteY13" fmla="*/ 174402 h 222136"/>
              <a:gd name="connsiteX14" fmla="*/ -110 w 340970"/>
              <a:gd name="connsiteY14" fmla="*/ 173476 h 222136"/>
              <a:gd name="connsiteX15" fmla="*/ -110 w 340970"/>
              <a:gd name="connsiteY15" fmla="*/ 869 h 222136"/>
              <a:gd name="connsiteX16" fmla="*/ 353 w 340970"/>
              <a:gd name="connsiteY16" fmla="*/ 1 h 222136"/>
              <a:gd name="connsiteX17" fmla="*/ 1394 w 340970"/>
              <a:gd name="connsiteY17" fmla="*/ 1 h 222136"/>
              <a:gd name="connsiteX18" fmla="*/ 21466 w 340970"/>
              <a:gd name="connsiteY18" fmla="*/ 5785 h 222136"/>
              <a:gd name="connsiteX19" fmla="*/ 129751 w 340970"/>
              <a:gd name="connsiteY19" fmla="*/ 65770 h 222136"/>
              <a:gd name="connsiteX20" fmla="*/ 159541 w 340970"/>
              <a:gd name="connsiteY20" fmla="*/ 83991 h 222136"/>
              <a:gd name="connsiteX21" fmla="*/ 183488 w 340970"/>
              <a:gd name="connsiteY21" fmla="*/ 94924 h 222136"/>
              <a:gd name="connsiteX22" fmla="*/ 190545 w 340970"/>
              <a:gd name="connsiteY22" fmla="*/ 109616 h 222136"/>
              <a:gd name="connsiteX23" fmla="*/ 177010 w 340970"/>
              <a:gd name="connsiteY23" fmla="*/ 114648 h 222136"/>
              <a:gd name="connsiteX24" fmla="*/ 170762 w 340970"/>
              <a:gd name="connsiteY24" fmla="*/ 117599 h 222136"/>
              <a:gd name="connsiteX25" fmla="*/ 184009 w 340970"/>
              <a:gd name="connsiteY25" fmla="*/ 134952 h 222136"/>
              <a:gd name="connsiteX26" fmla="*/ 194825 w 340970"/>
              <a:gd name="connsiteY26" fmla="*/ 153982 h 222136"/>
              <a:gd name="connsiteX27" fmla="*/ 203560 w 340970"/>
              <a:gd name="connsiteY27" fmla="*/ 171336 h 222136"/>
              <a:gd name="connsiteX28" fmla="*/ 219583 w 340970"/>
              <a:gd name="connsiteY28" fmla="*/ 177468 h 222136"/>
              <a:gd name="connsiteX29" fmla="*/ 231556 w 340970"/>
              <a:gd name="connsiteY29" fmla="*/ 185334 h 222136"/>
              <a:gd name="connsiteX30" fmla="*/ 250240 w 340970"/>
              <a:gd name="connsiteY30" fmla="*/ 202688 h 222136"/>
              <a:gd name="connsiteX31" fmla="*/ 263024 w 340970"/>
              <a:gd name="connsiteY31" fmla="*/ 217207 h 222136"/>
              <a:gd name="connsiteX32" fmla="*/ 253884 w 340970"/>
              <a:gd name="connsiteY32" fmla="*/ 221834 h 222136"/>
              <a:gd name="connsiteX33" fmla="*/ 203444 w 340970"/>
              <a:gd name="connsiteY33" fmla="*/ 208530 h 222136"/>
              <a:gd name="connsiteX34" fmla="*/ 229474 w 340970"/>
              <a:gd name="connsiteY34" fmla="*/ 214314 h 222136"/>
              <a:gd name="connsiteX35" fmla="*/ 253942 w 340970"/>
              <a:gd name="connsiteY35" fmla="*/ 219636 h 222136"/>
              <a:gd name="connsiteX36" fmla="*/ 261000 w 340970"/>
              <a:gd name="connsiteY36" fmla="*/ 216860 h 222136"/>
              <a:gd name="connsiteX37" fmla="*/ 249431 w 340970"/>
              <a:gd name="connsiteY37" fmla="*/ 204828 h 222136"/>
              <a:gd name="connsiteX38" fmla="*/ 229416 w 340970"/>
              <a:gd name="connsiteY38" fmla="*/ 185045 h 222136"/>
              <a:gd name="connsiteX39" fmla="*/ 219120 w 340970"/>
              <a:gd name="connsiteY39" fmla="*/ 179608 h 222136"/>
              <a:gd name="connsiteX40" fmla="*/ 202461 w 340970"/>
              <a:gd name="connsiteY40" fmla="*/ 173245 h 222136"/>
              <a:gd name="connsiteX41" fmla="*/ 192801 w 340970"/>
              <a:gd name="connsiteY41" fmla="*/ 154503 h 222136"/>
              <a:gd name="connsiteX42" fmla="*/ 183199 w 340970"/>
              <a:gd name="connsiteY42" fmla="*/ 137150 h 222136"/>
              <a:gd name="connsiteX43" fmla="*/ 168680 w 340970"/>
              <a:gd name="connsiteY43" fmla="*/ 117078 h 222136"/>
              <a:gd name="connsiteX44" fmla="*/ 177241 w 340970"/>
              <a:gd name="connsiteY44" fmla="*/ 112393 h 222136"/>
              <a:gd name="connsiteX45" fmla="*/ 188809 w 340970"/>
              <a:gd name="connsiteY45" fmla="*/ 108749 h 222136"/>
              <a:gd name="connsiteX46" fmla="*/ 182331 w 340970"/>
              <a:gd name="connsiteY46" fmla="*/ 96543 h 222136"/>
              <a:gd name="connsiteX47" fmla="*/ 159193 w 340970"/>
              <a:gd name="connsiteY47" fmla="*/ 86131 h 222136"/>
              <a:gd name="connsiteX48" fmla="*/ 127900 w 340970"/>
              <a:gd name="connsiteY48" fmla="*/ 66002 h 222136"/>
              <a:gd name="connsiteX49" fmla="*/ 21408 w 340970"/>
              <a:gd name="connsiteY49" fmla="*/ 8157 h 222136"/>
              <a:gd name="connsiteX50" fmla="*/ 2551 w 340970"/>
              <a:gd name="connsiteY50" fmla="*/ 2373 h 222136"/>
              <a:gd name="connsiteX51" fmla="*/ 2551 w 340970"/>
              <a:gd name="connsiteY51" fmla="*/ 172666 h 222136"/>
              <a:gd name="connsiteX52" fmla="*/ 30548 w 340970"/>
              <a:gd name="connsiteY52" fmla="*/ 181806 h 222136"/>
              <a:gd name="connsiteX53" fmla="*/ 34423 w 340970"/>
              <a:gd name="connsiteY53" fmla="*/ 181806 h 222136"/>
              <a:gd name="connsiteX54" fmla="*/ 59297 w 340970"/>
              <a:gd name="connsiteY54" fmla="*/ 168154 h 222136"/>
              <a:gd name="connsiteX55" fmla="*/ 63577 w 340970"/>
              <a:gd name="connsiteY55" fmla="*/ 163122 h 222136"/>
              <a:gd name="connsiteX56" fmla="*/ 72196 w 340970"/>
              <a:gd name="connsiteY56" fmla="*/ 153809 h 222136"/>
              <a:gd name="connsiteX57" fmla="*/ 78905 w 340970"/>
              <a:gd name="connsiteY57" fmla="*/ 143397 h 222136"/>
              <a:gd name="connsiteX58" fmla="*/ 91863 w 340970"/>
              <a:gd name="connsiteY58" fmla="*/ 139117 h 222136"/>
              <a:gd name="connsiteX59" fmla="*/ 137791 w 340970"/>
              <a:gd name="connsiteY59" fmla="*/ 156065 h 222136"/>
              <a:gd name="connsiteX60" fmla="*/ 158789 w 340970"/>
              <a:gd name="connsiteY60" fmla="*/ 179203 h 222136"/>
              <a:gd name="connsiteX61" fmla="*/ 194247 w 340970"/>
              <a:gd name="connsiteY61" fmla="*/ 209455 h 222136"/>
              <a:gd name="connsiteX62" fmla="*/ 196677 w 340970"/>
              <a:gd name="connsiteY62" fmla="*/ 209455 h 222136"/>
              <a:gd name="connsiteX63" fmla="*/ 203444 w 340970"/>
              <a:gd name="connsiteY63" fmla="*/ 208530 h 222136"/>
              <a:gd name="connsiteX64" fmla="*/ 249141 w 340970"/>
              <a:gd name="connsiteY64" fmla="*/ 103253 h 222136"/>
              <a:gd name="connsiteX65" fmla="*/ 206163 w 340970"/>
              <a:gd name="connsiteY65" fmla="*/ 87635 h 222136"/>
              <a:gd name="connsiteX66" fmla="*/ 203618 w 340970"/>
              <a:gd name="connsiteY66" fmla="*/ 81851 h 222136"/>
              <a:gd name="connsiteX67" fmla="*/ 212468 w 340970"/>
              <a:gd name="connsiteY67" fmla="*/ 76645 h 222136"/>
              <a:gd name="connsiteX68" fmla="*/ 227392 w 340970"/>
              <a:gd name="connsiteY68" fmla="*/ 78322 h 222136"/>
              <a:gd name="connsiteX69" fmla="*/ 248968 w 340970"/>
              <a:gd name="connsiteY69" fmla="*/ 80636 h 222136"/>
              <a:gd name="connsiteX70" fmla="*/ 262446 w 340970"/>
              <a:gd name="connsiteY70" fmla="*/ 78438 h 222136"/>
              <a:gd name="connsiteX71" fmla="*/ 269561 w 340970"/>
              <a:gd name="connsiteY71" fmla="*/ 75661 h 222136"/>
              <a:gd name="connsiteX72" fmla="*/ 294896 w 340970"/>
              <a:gd name="connsiteY72" fmla="*/ 60159 h 222136"/>
              <a:gd name="connsiteX73" fmla="*/ 309068 w 340970"/>
              <a:gd name="connsiteY73" fmla="*/ 46392 h 222136"/>
              <a:gd name="connsiteX74" fmla="*/ 314852 w 340970"/>
              <a:gd name="connsiteY74" fmla="*/ 48880 h 222136"/>
              <a:gd name="connsiteX75" fmla="*/ 311266 w 340970"/>
              <a:gd name="connsiteY75" fmla="*/ 65192 h 222136"/>
              <a:gd name="connsiteX76" fmla="*/ 307043 w 340970"/>
              <a:gd name="connsiteY76" fmla="*/ 73868 h 222136"/>
              <a:gd name="connsiteX77" fmla="*/ 249141 w 340970"/>
              <a:gd name="connsiteY77" fmla="*/ 103253 h 222136"/>
              <a:gd name="connsiteX78" fmla="*/ 212468 w 340970"/>
              <a:gd name="connsiteY78" fmla="*/ 78901 h 222136"/>
              <a:gd name="connsiteX79" fmla="*/ 205874 w 340970"/>
              <a:gd name="connsiteY79" fmla="*/ 82082 h 222136"/>
              <a:gd name="connsiteX80" fmla="*/ 207840 w 340970"/>
              <a:gd name="connsiteY80" fmla="*/ 86131 h 222136"/>
              <a:gd name="connsiteX81" fmla="*/ 249141 w 340970"/>
              <a:gd name="connsiteY81" fmla="*/ 100997 h 222136"/>
              <a:gd name="connsiteX82" fmla="*/ 304556 w 340970"/>
              <a:gd name="connsiteY82" fmla="*/ 73868 h 222136"/>
              <a:gd name="connsiteX83" fmla="*/ 309126 w 340970"/>
              <a:gd name="connsiteY83" fmla="*/ 63977 h 222136"/>
              <a:gd name="connsiteX84" fmla="*/ 312944 w 340970"/>
              <a:gd name="connsiteY84" fmla="*/ 50384 h 222136"/>
              <a:gd name="connsiteX85" fmla="*/ 309068 w 340970"/>
              <a:gd name="connsiteY85" fmla="*/ 48648 h 222136"/>
              <a:gd name="connsiteX86" fmla="*/ 297152 w 340970"/>
              <a:gd name="connsiteY86" fmla="*/ 60217 h 222136"/>
              <a:gd name="connsiteX87" fmla="*/ 270370 w 340970"/>
              <a:gd name="connsiteY87" fmla="*/ 77570 h 222136"/>
              <a:gd name="connsiteX88" fmla="*/ 263313 w 340970"/>
              <a:gd name="connsiteY88" fmla="*/ 80405 h 222136"/>
              <a:gd name="connsiteX89" fmla="*/ 248968 w 340970"/>
              <a:gd name="connsiteY89" fmla="*/ 82719 h 222136"/>
              <a:gd name="connsiteX90" fmla="*/ 227045 w 340970"/>
              <a:gd name="connsiteY90" fmla="*/ 80405 h 222136"/>
              <a:gd name="connsiteX91" fmla="*/ 212468 w 340970"/>
              <a:gd name="connsiteY91" fmla="*/ 78901 h 222136"/>
              <a:gd name="connsiteX92" fmla="*/ 330297 w 340970"/>
              <a:gd name="connsiteY92" fmla="*/ 58366 h 222136"/>
              <a:gd name="connsiteX93" fmla="*/ 330297 w 340970"/>
              <a:gd name="connsiteY93" fmla="*/ 58366 h 222136"/>
              <a:gd name="connsiteX94" fmla="*/ 325438 w 340970"/>
              <a:gd name="connsiteY94" fmla="*/ 51830 h 222136"/>
              <a:gd name="connsiteX95" fmla="*/ 314621 w 340970"/>
              <a:gd name="connsiteY95" fmla="*/ 31873 h 222136"/>
              <a:gd name="connsiteX96" fmla="*/ 306407 w 340970"/>
              <a:gd name="connsiteY96" fmla="*/ 21230 h 222136"/>
              <a:gd name="connsiteX97" fmla="*/ 308027 w 340970"/>
              <a:gd name="connsiteY97" fmla="*/ 20247 h 222136"/>
              <a:gd name="connsiteX98" fmla="*/ 324107 w 340970"/>
              <a:gd name="connsiteY98" fmla="*/ 28461 h 222136"/>
              <a:gd name="connsiteX99" fmla="*/ 340766 w 340970"/>
              <a:gd name="connsiteY99" fmla="*/ 50788 h 222136"/>
              <a:gd name="connsiteX100" fmla="*/ 332611 w 340970"/>
              <a:gd name="connsiteY100" fmla="*/ 58019 h 222136"/>
              <a:gd name="connsiteX101" fmla="*/ 330123 w 340970"/>
              <a:gd name="connsiteY101" fmla="*/ 58366 h 222136"/>
              <a:gd name="connsiteX102" fmla="*/ 309126 w 340970"/>
              <a:gd name="connsiteY102" fmla="*/ 22792 h 222136"/>
              <a:gd name="connsiteX103" fmla="*/ 316183 w 340970"/>
              <a:gd name="connsiteY103" fmla="*/ 30196 h 222136"/>
              <a:gd name="connsiteX104" fmla="*/ 327751 w 340970"/>
              <a:gd name="connsiteY104" fmla="*/ 51367 h 222136"/>
              <a:gd name="connsiteX105" fmla="*/ 330355 w 340970"/>
              <a:gd name="connsiteY105" fmla="*/ 56110 h 222136"/>
              <a:gd name="connsiteX106" fmla="*/ 330355 w 340970"/>
              <a:gd name="connsiteY106" fmla="*/ 56110 h 222136"/>
              <a:gd name="connsiteX107" fmla="*/ 332090 w 340970"/>
              <a:gd name="connsiteY107" fmla="*/ 56110 h 222136"/>
              <a:gd name="connsiteX108" fmla="*/ 338626 w 340970"/>
              <a:gd name="connsiteY108" fmla="*/ 50731 h 222136"/>
              <a:gd name="connsiteX109" fmla="*/ 322951 w 340970"/>
              <a:gd name="connsiteY109" fmla="*/ 30716 h 222136"/>
              <a:gd name="connsiteX110" fmla="*/ 309126 w 340970"/>
              <a:gd name="connsiteY110" fmla="*/ 22792 h 22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340970" h="222136">
                <a:moveTo>
                  <a:pt x="252612" y="222007"/>
                </a:moveTo>
                <a:cubicBezTo>
                  <a:pt x="244398" y="221458"/>
                  <a:pt x="236358" y="219624"/>
                  <a:pt x="228722" y="216570"/>
                </a:cubicBezTo>
                <a:cubicBezTo>
                  <a:pt x="220682" y="213296"/>
                  <a:pt x="212121" y="211341"/>
                  <a:pt x="203444" y="210786"/>
                </a:cubicBezTo>
                <a:cubicBezTo>
                  <a:pt x="201246" y="210757"/>
                  <a:pt x="199048" y="210971"/>
                  <a:pt x="196908" y="211422"/>
                </a:cubicBezTo>
                <a:cubicBezTo>
                  <a:pt x="195983" y="211607"/>
                  <a:pt x="194999" y="211705"/>
                  <a:pt x="194016" y="211711"/>
                </a:cubicBezTo>
                <a:cubicBezTo>
                  <a:pt x="181753" y="211711"/>
                  <a:pt x="169085" y="195920"/>
                  <a:pt x="156822" y="180591"/>
                </a:cubicBezTo>
                <a:cubicBezTo>
                  <a:pt x="150748" y="172313"/>
                  <a:pt x="143807" y="164696"/>
                  <a:pt x="136171" y="157858"/>
                </a:cubicBezTo>
                <a:cubicBezTo>
                  <a:pt x="123272" y="148117"/>
                  <a:pt x="107770" y="142385"/>
                  <a:pt x="91631" y="141372"/>
                </a:cubicBezTo>
                <a:cubicBezTo>
                  <a:pt x="87582" y="140881"/>
                  <a:pt x="83475" y="142142"/>
                  <a:pt x="80409" y="144843"/>
                </a:cubicBezTo>
                <a:cubicBezTo>
                  <a:pt x="77922" y="147984"/>
                  <a:pt x="75782" y="151356"/>
                  <a:pt x="73931" y="154908"/>
                </a:cubicBezTo>
                <a:cubicBezTo>
                  <a:pt x="70808" y="160693"/>
                  <a:pt x="68146" y="165378"/>
                  <a:pt x="63345" y="165378"/>
                </a:cubicBezTo>
                <a:cubicBezTo>
                  <a:pt x="62420" y="165378"/>
                  <a:pt x="62073" y="166130"/>
                  <a:pt x="61205" y="168849"/>
                </a:cubicBezTo>
                <a:cubicBezTo>
                  <a:pt x="59297" y="174633"/>
                  <a:pt x="56115" y="185161"/>
                  <a:pt x="30201" y="184004"/>
                </a:cubicBezTo>
                <a:cubicBezTo>
                  <a:pt x="19558" y="183657"/>
                  <a:pt x="9261" y="180331"/>
                  <a:pt x="411" y="174402"/>
                </a:cubicBezTo>
                <a:cubicBezTo>
                  <a:pt x="63" y="174211"/>
                  <a:pt x="-110" y="173858"/>
                  <a:pt x="-110" y="173476"/>
                </a:cubicBezTo>
                <a:lnTo>
                  <a:pt x="-110" y="869"/>
                </a:lnTo>
                <a:cubicBezTo>
                  <a:pt x="-110" y="522"/>
                  <a:pt x="63" y="192"/>
                  <a:pt x="353" y="1"/>
                </a:cubicBezTo>
                <a:cubicBezTo>
                  <a:pt x="700" y="-172"/>
                  <a:pt x="1047" y="-172"/>
                  <a:pt x="1394" y="1"/>
                </a:cubicBezTo>
                <a:cubicBezTo>
                  <a:pt x="10302" y="2951"/>
                  <a:pt x="16492" y="4802"/>
                  <a:pt x="21466" y="5785"/>
                </a:cubicBezTo>
                <a:cubicBezTo>
                  <a:pt x="51835" y="12611"/>
                  <a:pt x="128016" y="48764"/>
                  <a:pt x="129751" y="65770"/>
                </a:cubicBezTo>
                <a:cubicBezTo>
                  <a:pt x="130676" y="74215"/>
                  <a:pt x="145369" y="79190"/>
                  <a:pt x="159541" y="83991"/>
                </a:cubicBezTo>
                <a:cubicBezTo>
                  <a:pt x="168101" y="86172"/>
                  <a:pt x="176200" y="89874"/>
                  <a:pt x="183488" y="94924"/>
                </a:cubicBezTo>
                <a:cubicBezTo>
                  <a:pt x="189273" y="100708"/>
                  <a:pt x="192049" y="105741"/>
                  <a:pt x="190545" y="109616"/>
                </a:cubicBezTo>
                <a:cubicBezTo>
                  <a:pt x="189561" y="112103"/>
                  <a:pt x="186438" y="115400"/>
                  <a:pt x="177010" y="114648"/>
                </a:cubicBezTo>
                <a:cubicBezTo>
                  <a:pt x="173365" y="114648"/>
                  <a:pt x="171225" y="115400"/>
                  <a:pt x="170762" y="117599"/>
                </a:cubicBezTo>
                <a:cubicBezTo>
                  <a:pt x="169779" y="122111"/>
                  <a:pt x="175794" y="131250"/>
                  <a:pt x="184009" y="134952"/>
                </a:cubicBezTo>
                <a:cubicBezTo>
                  <a:pt x="190777" y="138133"/>
                  <a:pt x="192859" y="146174"/>
                  <a:pt x="194825" y="153982"/>
                </a:cubicBezTo>
                <a:cubicBezTo>
                  <a:pt x="196619" y="160924"/>
                  <a:pt x="198470" y="168097"/>
                  <a:pt x="203560" y="171336"/>
                </a:cubicBezTo>
                <a:cubicBezTo>
                  <a:pt x="208534" y="174182"/>
                  <a:pt x="213972" y="176253"/>
                  <a:pt x="219583" y="177468"/>
                </a:cubicBezTo>
                <a:cubicBezTo>
                  <a:pt x="226582" y="179318"/>
                  <a:pt x="232078" y="180764"/>
                  <a:pt x="231556" y="185334"/>
                </a:cubicBezTo>
                <a:cubicBezTo>
                  <a:pt x="230862" y="191119"/>
                  <a:pt x="244167" y="200142"/>
                  <a:pt x="250240" y="202688"/>
                </a:cubicBezTo>
                <a:cubicBezTo>
                  <a:pt x="253884" y="204249"/>
                  <a:pt x="264007" y="211711"/>
                  <a:pt x="263024" y="217207"/>
                </a:cubicBezTo>
                <a:cubicBezTo>
                  <a:pt x="262504" y="220041"/>
                  <a:pt x="259438" y="221545"/>
                  <a:pt x="253884" y="221834"/>
                </a:cubicBezTo>
                <a:close/>
                <a:moveTo>
                  <a:pt x="203444" y="208530"/>
                </a:moveTo>
                <a:cubicBezTo>
                  <a:pt x="212352" y="209045"/>
                  <a:pt x="221145" y="211000"/>
                  <a:pt x="229474" y="214314"/>
                </a:cubicBezTo>
                <a:cubicBezTo>
                  <a:pt x="237225" y="217519"/>
                  <a:pt x="245555" y="219318"/>
                  <a:pt x="253942" y="219636"/>
                </a:cubicBezTo>
                <a:cubicBezTo>
                  <a:pt x="258165" y="219636"/>
                  <a:pt x="260710" y="218479"/>
                  <a:pt x="261000" y="216860"/>
                </a:cubicBezTo>
                <a:cubicBezTo>
                  <a:pt x="261578" y="213389"/>
                  <a:pt x="253595" y="206563"/>
                  <a:pt x="249431" y="204828"/>
                </a:cubicBezTo>
                <a:cubicBezTo>
                  <a:pt x="245265" y="203093"/>
                  <a:pt x="228433" y="192854"/>
                  <a:pt x="229416" y="185045"/>
                </a:cubicBezTo>
                <a:cubicBezTo>
                  <a:pt x="229706" y="182558"/>
                  <a:pt x="225714" y="181401"/>
                  <a:pt x="219120" y="179608"/>
                </a:cubicBezTo>
                <a:cubicBezTo>
                  <a:pt x="213278" y="178341"/>
                  <a:pt x="207667" y="176195"/>
                  <a:pt x="202461" y="173245"/>
                </a:cubicBezTo>
                <a:cubicBezTo>
                  <a:pt x="196677" y="169485"/>
                  <a:pt x="194652" y="161676"/>
                  <a:pt x="192801" y="154503"/>
                </a:cubicBezTo>
                <a:cubicBezTo>
                  <a:pt x="190950" y="147331"/>
                  <a:pt x="188983" y="139695"/>
                  <a:pt x="183199" y="137150"/>
                </a:cubicBezTo>
                <a:cubicBezTo>
                  <a:pt x="174522" y="133101"/>
                  <a:pt x="167349" y="123152"/>
                  <a:pt x="168680" y="117078"/>
                </a:cubicBezTo>
                <a:cubicBezTo>
                  <a:pt x="169085" y="115227"/>
                  <a:pt x="170704" y="111988"/>
                  <a:pt x="177241" y="112393"/>
                </a:cubicBezTo>
                <a:cubicBezTo>
                  <a:pt x="183777" y="112797"/>
                  <a:pt x="187537" y="111409"/>
                  <a:pt x="188809" y="108749"/>
                </a:cubicBezTo>
                <a:cubicBezTo>
                  <a:pt x="190083" y="106088"/>
                  <a:pt x="187595" y="101402"/>
                  <a:pt x="182331" y="96543"/>
                </a:cubicBezTo>
                <a:cubicBezTo>
                  <a:pt x="175274" y="91789"/>
                  <a:pt x="167465" y="88266"/>
                  <a:pt x="159193" y="86131"/>
                </a:cubicBezTo>
                <a:cubicBezTo>
                  <a:pt x="144327" y="81099"/>
                  <a:pt x="128999" y="75893"/>
                  <a:pt x="127900" y="66002"/>
                </a:cubicBezTo>
                <a:cubicBezTo>
                  <a:pt x="126396" y="51367"/>
                  <a:pt x="52702" y="15041"/>
                  <a:pt x="21408" y="8157"/>
                </a:cubicBezTo>
                <a:cubicBezTo>
                  <a:pt x="15046" y="6555"/>
                  <a:pt x="8740" y="4623"/>
                  <a:pt x="2551" y="2373"/>
                </a:cubicBezTo>
                <a:lnTo>
                  <a:pt x="2551" y="172666"/>
                </a:lnTo>
                <a:cubicBezTo>
                  <a:pt x="10881" y="178231"/>
                  <a:pt x="20541" y="181395"/>
                  <a:pt x="30548" y="181806"/>
                </a:cubicBezTo>
                <a:lnTo>
                  <a:pt x="34423" y="181806"/>
                </a:lnTo>
                <a:cubicBezTo>
                  <a:pt x="54958" y="181806"/>
                  <a:pt x="57561" y="173592"/>
                  <a:pt x="59297" y="168154"/>
                </a:cubicBezTo>
                <a:cubicBezTo>
                  <a:pt x="60106" y="165551"/>
                  <a:pt x="60858" y="163122"/>
                  <a:pt x="63577" y="163122"/>
                </a:cubicBezTo>
                <a:cubicBezTo>
                  <a:pt x="66296" y="163122"/>
                  <a:pt x="69362" y="159015"/>
                  <a:pt x="72196" y="153809"/>
                </a:cubicBezTo>
                <a:cubicBezTo>
                  <a:pt x="74104" y="150142"/>
                  <a:pt x="76360" y="146659"/>
                  <a:pt x="78905" y="143397"/>
                </a:cubicBezTo>
                <a:cubicBezTo>
                  <a:pt x="82376" y="140141"/>
                  <a:pt x="87119" y="138573"/>
                  <a:pt x="91863" y="139117"/>
                </a:cubicBezTo>
                <a:cubicBezTo>
                  <a:pt x="108522" y="140071"/>
                  <a:pt x="124487" y="145977"/>
                  <a:pt x="137791" y="156065"/>
                </a:cubicBezTo>
                <a:cubicBezTo>
                  <a:pt x="145600" y="163024"/>
                  <a:pt x="152600" y="170775"/>
                  <a:pt x="158789" y="179203"/>
                </a:cubicBezTo>
                <a:cubicBezTo>
                  <a:pt x="170704" y="194069"/>
                  <a:pt x="183083" y="209455"/>
                  <a:pt x="194247" y="209455"/>
                </a:cubicBezTo>
                <a:cubicBezTo>
                  <a:pt x="195057" y="209513"/>
                  <a:pt x="195867" y="209513"/>
                  <a:pt x="196677" y="209455"/>
                </a:cubicBezTo>
                <a:cubicBezTo>
                  <a:pt x="198875" y="208923"/>
                  <a:pt x="201188" y="208611"/>
                  <a:pt x="203444" y="208530"/>
                </a:cubicBezTo>
                <a:close/>
                <a:moveTo>
                  <a:pt x="249141" y="103253"/>
                </a:moveTo>
                <a:cubicBezTo>
                  <a:pt x="231788" y="103253"/>
                  <a:pt x="212989" y="95213"/>
                  <a:pt x="206163" y="87635"/>
                </a:cubicBezTo>
                <a:cubicBezTo>
                  <a:pt x="204544" y="86155"/>
                  <a:pt x="203618" y="84055"/>
                  <a:pt x="203618" y="81851"/>
                </a:cubicBezTo>
                <a:cubicBezTo>
                  <a:pt x="204196" y="76645"/>
                  <a:pt x="210444" y="76645"/>
                  <a:pt x="212468" y="76645"/>
                </a:cubicBezTo>
                <a:cubicBezTo>
                  <a:pt x="217501" y="76859"/>
                  <a:pt x="222475" y="77414"/>
                  <a:pt x="227392" y="78322"/>
                </a:cubicBezTo>
                <a:cubicBezTo>
                  <a:pt x="234507" y="79647"/>
                  <a:pt x="241737" y="80422"/>
                  <a:pt x="248968" y="80636"/>
                </a:cubicBezTo>
                <a:cubicBezTo>
                  <a:pt x="253538" y="80775"/>
                  <a:pt x="258107" y="80029"/>
                  <a:pt x="262446" y="78438"/>
                </a:cubicBezTo>
                <a:lnTo>
                  <a:pt x="269561" y="75661"/>
                </a:lnTo>
                <a:cubicBezTo>
                  <a:pt x="284831" y="69877"/>
                  <a:pt x="294896" y="65712"/>
                  <a:pt x="294896" y="60159"/>
                </a:cubicBezTo>
                <a:cubicBezTo>
                  <a:pt x="295937" y="52865"/>
                  <a:pt x="301722" y="47196"/>
                  <a:pt x="309068" y="46392"/>
                </a:cubicBezTo>
                <a:cubicBezTo>
                  <a:pt x="311266" y="46294"/>
                  <a:pt x="313406" y="47208"/>
                  <a:pt x="314852" y="48880"/>
                </a:cubicBezTo>
                <a:cubicBezTo>
                  <a:pt x="318844" y="53449"/>
                  <a:pt x="314852" y="59696"/>
                  <a:pt x="311266" y="65192"/>
                </a:cubicBezTo>
                <a:cubicBezTo>
                  <a:pt x="309242" y="67725"/>
                  <a:pt x="307795" y="70693"/>
                  <a:pt x="307043" y="73868"/>
                </a:cubicBezTo>
                <a:cubicBezTo>
                  <a:pt x="306986" y="81851"/>
                  <a:pt x="270428" y="103253"/>
                  <a:pt x="249141" y="103253"/>
                </a:cubicBezTo>
                <a:close/>
                <a:moveTo>
                  <a:pt x="212468" y="78901"/>
                </a:moveTo>
                <a:cubicBezTo>
                  <a:pt x="206684" y="78901"/>
                  <a:pt x="205990" y="80578"/>
                  <a:pt x="205874" y="82082"/>
                </a:cubicBezTo>
                <a:cubicBezTo>
                  <a:pt x="205932" y="83644"/>
                  <a:pt x="206684" y="85102"/>
                  <a:pt x="207840" y="86131"/>
                </a:cubicBezTo>
                <a:cubicBezTo>
                  <a:pt x="214319" y="93304"/>
                  <a:pt x="232482" y="100997"/>
                  <a:pt x="249141" y="100997"/>
                </a:cubicBezTo>
                <a:cubicBezTo>
                  <a:pt x="271180" y="100997"/>
                  <a:pt x="304556" y="78843"/>
                  <a:pt x="304556" y="73868"/>
                </a:cubicBezTo>
                <a:cubicBezTo>
                  <a:pt x="305192" y="70230"/>
                  <a:pt x="306754" y="66823"/>
                  <a:pt x="309126" y="63977"/>
                </a:cubicBezTo>
                <a:cubicBezTo>
                  <a:pt x="312423" y="58887"/>
                  <a:pt x="315778" y="53681"/>
                  <a:pt x="312944" y="50384"/>
                </a:cubicBezTo>
                <a:cubicBezTo>
                  <a:pt x="311960" y="49256"/>
                  <a:pt x="310572" y="48619"/>
                  <a:pt x="309068" y="48648"/>
                </a:cubicBezTo>
                <a:cubicBezTo>
                  <a:pt x="302995" y="49441"/>
                  <a:pt x="298135" y="54149"/>
                  <a:pt x="297152" y="60217"/>
                </a:cubicBezTo>
                <a:cubicBezTo>
                  <a:pt x="297152" y="67332"/>
                  <a:pt x="287087" y="71265"/>
                  <a:pt x="270370" y="77570"/>
                </a:cubicBezTo>
                <a:lnTo>
                  <a:pt x="263313" y="80405"/>
                </a:lnTo>
                <a:cubicBezTo>
                  <a:pt x="258744" y="82088"/>
                  <a:pt x="253827" y="82869"/>
                  <a:pt x="248968" y="82719"/>
                </a:cubicBezTo>
                <a:cubicBezTo>
                  <a:pt x="241621" y="82510"/>
                  <a:pt x="234276" y="81735"/>
                  <a:pt x="227045" y="80405"/>
                </a:cubicBezTo>
                <a:cubicBezTo>
                  <a:pt x="222244" y="79566"/>
                  <a:pt x="217385" y="79063"/>
                  <a:pt x="212468" y="78901"/>
                </a:cubicBezTo>
                <a:close/>
                <a:moveTo>
                  <a:pt x="330297" y="58366"/>
                </a:moveTo>
                <a:lnTo>
                  <a:pt x="330297" y="58366"/>
                </a:lnTo>
                <a:cubicBezTo>
                  <a:pt x="326826" y="58366"/>
                  <a:pt x="326190" y="55358"/>
                  <a:pt x="325438" y="51830"/>
                </a:cubicBezTo>
                <a:cubicBezTo>
                  <a:pt x="324223" y="44136"/>
                  <a:pt x="320405" y="37091"/>
                  <a:pt x="314621" y="31873"/>
                </a:cubicBezTo>
                <a:cubicBezTo>
                  <a:pt x="306234" y="23949"/>
                  <a:pt x="305944" y="22329"/>
                  <a:pt x="306407" y="21230"/>
                </a:cubicBezTo>
                <a:cubicBezTo>
                  <a:pt x="306696" y="20588"/>
                  <a:pt x="307333" y="20195"/>
                  <a:pt x="308027" y="20247"/>
                </a:cubicBezTo>
                <a:cubicBezTo>
                  <a:pt x="308721" y="20247"/>
                  <a:pt x="310977" y="20247"/>
                  <a:pt x="324107" y="28461"/>
                </a:cubicBezTo>
                <a:cubicBezTo>
                  <a:pt x="333189" y="34245"/>
                  <a:pt x="341866" y="43674"/>
                  <a:pt x="340766" y="50788"/>
                </a:cubicBezTo>
                <a:cubicBezTo>
                  <a:pt x="340420" y="53218"/>
                  <a:pt x="338684" y="56573"/>
                  <a:pt x="332611" y="58019"/>
                </a:cubicBezTo>
                <a:cubicBezTo>
                  <a:pt x="331801" y="58250"/>
                  <a:pt x="330991" y="58366"/>
                  <a:pt x="330123" y="58366"/>
                </a:cubicBezTo>
                <a:close/>
                <a:moveTo>
                  <a:pt x="309126" y="22792"/>
                </a:moveTo>
                <a:cubicBezTo>
                  <a:pt x="311266" y="25458"/>
                  <a:pt x="313638" y="27934"/>
                  <a:pt x="316183" y="30196"/>
                </a:cubicBezTo>
                <a:cubicBezTo>
                  <a:pt x="322314" y="35731"/>
                  <a:pt x="326421" y="43199"/>
                  <a:pt x="327751" y="51367"/>
                </a:cubicBezTo>
                <a:cubicBezTo>
                  <a:pt x="328503" y="55185"/>
                  <a:pt x="328851" y="56110"/>
                  <a:pt x="330355" y="56110"/>
                </a:cubicBezTo>
                <a:lnTo>
                  <a:pt x="330355" y="56110"/>
                </a:lnTo>
                <a:cubicBezTo>
                  <a:pt x="330933" y="56174"/>
                  <a:pt x="331512" y="56174"/>
                  <a:pt x="332090" y="56110"/>
                </a:cubicBezTo>
                <a:cubicBezTo>
                  <a:pt x="336024" y="55127"/>
                  <a:pt x="338222" y="53276"/>
                  <a:pt x="338626" y="50731"/>
                </a:cubicBezTo>
                <a:cubicBezTo>
                  <a:pt x="339494" y="44946"/>
                  <a:pt x="331338" y="35922"/>
                  <a:pt x="322951" y="30716"/>
                </a:cubicBezTo>
                <a:cubicBezTo>
                  <a:pt x="318612" y="27651"/>
                  <a:pt x="313985" y="25001"/>
                  <a:pt x="309126" y="2279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19" name="Forma libre: forma 418">
            <a:extLst>
              <a:ext uri="{FF2B5EF4-FFF2-40B4-BE49-F238E27FC236}">
                <a16:creationId xmlns:a16="http://schemas.microsoft.com/office/drawing/2014/main" id="{75FC6526-073F-7928-891F-9399E50AA6EB}"/>
              </a:ext>
            </a:extLst>
          </p:cNvPr>
          <p:cNvSpPr/>
          <p:nvPr/>
        </p:nvSpPr>
        <p:spPr>
          <a:xfrm>
            <a:off x="8359884" y="4218314"/>
            <a:ext cx="59256" cy="107070"/>
          </a:xfrm>
          <a:custGeom>
            <a:avLst/>
            <a:gdLst>
              <a:gd name="connsiteX0" fmla="*/ 23789 w 59256"/>
              <a:gd name="connsiteY0" fmla="*/ 106941 h 107070"/>
              <a:gd name="connsiteX1" fmla="*/ 23789 w 59256"/>
              <a:gd name="connsiteY1" fmla="*/ 106941 h 107070"/>
              <a:gd name="connsiteX2" fmla="*/ 15402 w 59256"/>
              <a:gd name="connsiteY2" fmla="*/ 104511 h 107070"/>
              <a:gd name="connsiteX3" fmla="*/ 1808 w 59256"/>
              <a:gd name="connsiteY3" fmla="*/ 71193 h 107070"/>
              <a:gd name="connsiteX4" fmla="*/ 1172 w 59256"/>
              <a:gd name="connsiteY4" fmla="*/ 63268 h 107070"/>
              <a:gd name="connsiteX5" fmla="*/ 2850 w 59256"/>
              <a:gd name="connsiteY5" fmla="*/ 26421 h 107070"/>
              <a:gd name="connsiteX6" fmla="*/ 5626 w 59256"/>
              <a:gd name="connsiteY6" fmla="*/ 14563 h 107070"/>
              <a:gd name="connsiteX7" fmla="*/ 13493 w 59256"/>
              <a:gd name="connsiteY7" fmla="*/ -129 h 107070"/>
              <a:gd name="connsiteX8" fmla="*/ 13493 w 59256"/>
              <a:gd name="connsiteY8" fmla="*/ -129 h 107070"/>
              <a:gd name="connsiteX9" fmla="*/ 28706 w 59256"/>
              <a:gd name="connsiteY9" fmla="*/ 11440 h 107070"/>
              <a:gd name="connsiteX10" fmla="*/ 59132 w 59256"/>
              <a:gd name="connsiteY10" fmla="*/ 65004 h 107070"/>
              <a:gd name="connsiteX11" fmla="*/ 23789 w 59256"/>
              <a:gd name="connsiteY11" fmla="*/ 106941 h 107070"/>
              <a:gd name="connsiteX12" fmla="*/ 13782 w 59256"/>
              <a:gd name="connsiteY12" fmla="*/ 2127 h 107070"/>
              <a:gd name="connsiteX13" fmla="*/ 7998 w 59256"/>
              <a:gd name="connsiteY13" fmla="*/ 14910 h 107070"/>
              <a:gd name="connsiteX14" fmla="*/ 5106 w 59256"/>
              <a:gd name="connsiteY14" fmla="*/ 27231 h 107070"/>
              <a:gd name="connsiteX15" fmla="*/ 3544 w 59256"/>
              <a:gd name="connsiteY15" fmla="*/ 63037 h 107070"/>
              <a:gd name="connsiteX16" fmla="*/ 4180 w 59256"/>
              <a:gd name="connsiteY16" fmla="*/ 71019 h 107070"/>
              <a:gd name="connsiteX17" fmla="*/ 16790 w 59256"/>
              <a:gd name="connsiteY17" fmla="*/ 102603 h 107070"/>
              <a:gd name="connsiteX18" fmla="*/ 23905 w 59256"/>
              <a:gd name="connsiteY18" fmla="*/ 104685 h 107070"/>
              <a:gd name="connsiteX19" fmla="*/ 57050 w 59256"/>
              <a:gd name="connsiteY19" fmla="*/ 64715 h 107070"/>
              <a:gd name="connsiteX20" fmla="*/ 27202 w 59256"/>
              <a:gd name="connsiteY20" fmla="*/ 12655 h 107070"/>
              <a:gd name="connsiteX21" fmla="*/ 13782 w 59256"/>
              <a:gd name="connsiteY21" fmla="*/ 2127 h 10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256" h="107070">
                <a:moveTo>
                  <a:pt x="23789" y="106941"/>
                </a:moveTo>
                <a:lnTo>
                  <a:pt x="23789" y="106941"/>
                </a:lnTo>
                <a:cubicBezTo>
                  <a:pt x="20839" y="106964"/>
                  <a:pt x="17889" y="106119"/>
                  <a:pt x="15402" y="104511"/>
                </a:cubicBezTo>
                <a:cubicBezTo>
                  <a:pt x="3833" y="96818"/>
                  <a:pt x="2676" y="83803"/>
                  <a:pt x="1808" y="71193"/>
                </a:cubicBezTo>
                <a:cubicBezTo>
                  <a:pt x="1808" y="68532"/>
                  <a:pt x="1462" y="65871"/>
                  <a:pt x="1172" y="63268"/>
                </a:cubicBezTo>
                <a:cubicBezTo>
                  <a:pt x="-447" y="47419"/>
                  <a:pt x="-1142" y="37007"/>
                  <a:pt x="2850" y="26421"/>
                </a:cubicBezTo>
                <a:cubicBezTo>
                  <a:pt x="4180" y="22575"/>
                  <a:pt x="5106" y="18601"/>
                  <a:pt x="5626" y="14563"/>
                </a:cubicBezTo>
                <a:cubicBezTo>
                  <a:pt x="6841" y="7333"/>
                  <a:pt x="7998" y="449"/>
                  <a:pt x="13493" y="-129"/>
                </a:cubicBezTo>
                <a:lnTo>
                  <a:pt x="13493" y="-129"/>
                </a:lnTo>
                <a:cubicBezTo>
                  <a:pt x="17311" y="-129"/>
                  <a:pt x="25062" y="7854"/>
                  <a:pt x="28706" y="11440"/>
                </a:cubicBezTo>
                <a:cubicBezTo>
                  <a:pt x="40275" y="23472"/>
                  <a:pt x="59768" y="48287"/>
                  <a:pt x="59132" y="65004"/>
                </a:cubicBezTo>
                <a:cubicBezTo>
                  <a:pt x="58496" y="84439"/>
                  <a:pt x="39639" y="106941"/>
                  <a:pt x="23789" y="106941"/>
                </a:cubicBezTo>
                <a:close/>
                <a:moveTo>
                  <a:pt x="13782" y="2127"/>
                </a:moveTo>
                <a:cubicBezTo>
                  <a:pt x="9965" y="2532"/>
                  <a:pt x="8981" y="8258"/>
                  <a:pt x="7998" y="14910"/>
                </a:cubicBezTo>
                <a:cubicBezTo>
                  <a:pt x="7420" y="19093"/>
                  <a:pt x="6436" y="23217"/>
                  <a:pt x="5106" y="27231"/>
                </a:cubicBezTo>
                <a:cubicBezTo>
                  <a:pt x="1230" y="37354"/>
                  <a:pt x="1924" y="47477"/>
                  <a:pt x="3544" y="63037"/>
                </a:cubicBezTo>
                <a:cubicBezTo>
                  <a:pt x="3544" y="65698"/>
                  <a:pt x="4006" y="68358"/>
                  <a:pt x="4180" y="71019"/>
                </a:cubicBezTo>
                <a:cubicBezTo>
                  <a:pt x="5048" y="83629"/>
                  <a:pt x="5858" y="95545"/>
                  <a:pt x="16790" y="102603"/>
                </a:cubicBezTo>
                <a:cubicBezTo>
                  <a:pt x="18931" y="103985"/>
                  <a:pt x="21360" y="104708"/>
                  <a:pt x="23905" y="104685"/>
                </a:cubicBezTo>
                <a:cubicBezTo>
                  <a:pt x="38424" y="104685"/>
                  <a:pt x="56356" y="82993"/>
                  <a:pt x="57050" y="64715"/>
                </a:cubicBezTo>
                <a:cubicBezTo>
                  <a:pt x="57512" y="50832"/>
                  <a:pt x="41895" y="28099"/>
                  <a:pt x="27202" y="12655"/>
                </a:cubicBezTo>
                <a:cubicBezTo>
                  <a:pt x="19509" y="4961"/>
                  <a:pt x="14939" y="2127"/>
                  <a:pt x="13782" y="212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0" name="Forma libre: forma 419">
            <a:extLst>
              <a:ext uri="{FF2B5EF4-FFF2-40B4-BE49-F238E27FC236}">
                <a16:creationId xmlns:a16="http://schemas.microsoft.com/office/drawing/2014/main" id="{A71D2876-28A6-F404-7F6B-B632FD8CCF7C}"/>
              </a:ext>
            </a:extLst>
          </p:cNvPr>
          <p:cNvSpPr/>
          <p:nvPr/>
        </p:nvSpPr>
        <p:spPr>
          <a:xfrm>
            <a:off x="7346613" y="4808557"/>
            <a:ext cx="198605" cy="390983"/>
          </a:xfrm>
          <a:custGeom>
            <a:avLst/>
            <a:gdLst>
              <a:gd name="connsiteX0" fmla="*/ 61169 w 198605"/>
              <a:gd name="connsiteY0" fmla="*/ 390783 h 390983"/>
              <a:gd name="connsiteX1" fmla="*/ 22877 w 198605"/>
              <a:gd name="connsiteY1" fmla="*/ 374818 h 390983"/>
              <a:gd name="connsiteX2" fmla="*/ 11308 w 198605"/>
              <a:gd name="connsiteY2" fmla="*/ 344797 h 390983"/>
              <a:gd name="connsiteX3" fmla="*/ 4887 w 198605"/>
              <a:gd name="connsiteY3" fmla="*/ 322816 h 390983"/>
              <a:gd name="connsiteX4" fmla="*/ 15588 w 198605"/>
              <a:gd name="connsiteY4" fmla="*/ 256237 h 390983"/>
              <a:gd name="connsiteX5" fmla="*/ 21835 w 198605"/>
              <a:gd name="connsiteY5" fmla="*/ 201632 h 390983"/>
              <a:gd name="connsiteX6" fmla="*/ 18653 w 198605"/>
              <a:gd name="connsiteY6" fmla="*/ 151423 h 390983"/>
              <a:gd name="connsiteX7" fmla="*/ 23165 w 198605"/>
              <a:gd name="connsiteY7" fmla="*/ 129905 h 390983"/>
              <a:gd name="connsiteX8" fmla="*/ 30049 w 198605"/>
              <a:gd name="connsiteY8" fmla="*/ 114403 h 390983"/>
              <a:gd name="connsiteX9" fmla="*/ 31206 w 198605"/>
              <a:gd name="connsiteY9" fmla="*/ 114403 h 390983"/>
              <a:gd name="connsiteX10" fmla="*/ 33520 w 198605"/>
              <a:gd name="connsiteY10" fmla="*/ 114403 h 390983"/>
              <a:gd name="connsiteX11" fmla="*/ 46997 w 198605"/>
              <a:gd name="connsiteY11" fmla="*/ 111221 h 390983"/>
              <a:gd name="connsiteX12" fmla="*/ 62962 w 198605"/>
              <a:gd name="connsiteY12" fmla="*/ 107577 h 390983"/>
              <a:gd name="connsiteX13" fmla="*/ 65912 w 198605"/>
              <a:gd name="connsiteY13" fmla="*/ 107577 h 390983"/>
              <a:gd name="connsiteX14" fmla="*/ 67185 w 198605"/>
              <a:gd name="connsiteY14" fmla="*/ 107577 h 390983"/>
              <a:gd name="connsiteX15" fmla="*/ 85926 w 198605"/>
              <a:gd name="connsiteY15" fmla="*/ 97744 h 390983"/>
              <a:gd name="connsiteX16" fmla="*/ 103280 w 198605"/>
              <a:gd name="connsiteY16" fmla="*/ 88141 h 390983"/>
              <a:gd name="connsiteX17" fmla="*/ 122426 w 198605"/>
              <a:gd name="connsiteY17" fmla="*/ 78077 h 390983"/>
              <a:gd name="connsiteX18" fmla="*/ 122426 w 198605"/>
              <a:gd name="connsiteY18" fmla="*/ 72813 h 390983"/>
              <a:gd name="connsiteX19" fmla="*/ 122426 w 198605"/>
              <a:gd name="connsiteY19" fmla="*/ 65062 h 390983"/>
              <a:gd name="connsiteX20" fmla="*/ 123005 w 198605"/>
              <a:gd name="connsiteY20" fmla="*/ 58120 h 390983"/>
              <a:gd name="connsiteX21" fmla="*/ 123815 w 198605"/>
              <a:gd name="connsiteY21" fmla="*/ 49849 h 390983"/>
              <a:gd name="connsiteX22" fmla="*/ 137929 w 198605"/>
              <a:gd name="connsiteY22" fmla="*/ 44469 h 390983"/>
              <a:gd name="connsiteX23" fmla="*/ 138970 w 198605"/>
              <a:gd name="connsiteY23" fmla="*/ 44469 h 390983"/>
              <a:gd name="connsiteX24" fmla="*/ 150539 w 198605"/>
              <a:gd name="connsiteY24" fmla="*/ 38685 h 390983"/>
              <a:gd name="connsiteX25" fmla="*/ 152621 w 198605"/>
              <a:gd name="connsiteY25" fmla="*/ 33421 h 390983"/>
              <a:gd name="connsiteX26" fmla="*/ 157017 w 198605"/>
              <a:gd name="connsiteY26" fmla="*/ 13060 h 390983"/>
              <a:gd name="connsiteX27" fmla="*/ 159794 w 198605"/>
              <a:gd name="connsiteY27" fmla="*/ 7275 h 390983"/>
              <a:gd name="connsiteX28" fmla="*/ 164826 w 198605"/>
              <a:gd name="connsiteY28" fmla="*/ -129 h 390983"/>
              <a:gd name="connsiteX29" fmla="*/ 168586 w 198605"/>
              <a:gd name="connsiteY29" fmla="*/ 5655 h 390983"/>
              <a:gd name="connsiteX30" fmla="*/ 174718 w 198605"/>
              <a:gd name="connsiteY30" fmla="*/ 17513 h 390983"/>
              <a:gd name="connsiteX31" fmla="*/ 188022 w 198605"/>
              <a:gd name="connsiteY31" fmla="*/ 51179 h 390983"/>
              <a:gd name="connsiteX32" fmla="*/ 193806 w 198605"/>
              <a:gd name="connsiteY32" fmla="*/ 77151 h 390983"/>
              <a:gd name="connsiteX33" fmla="*/ 198434 w 198605"/>
              <a:gd name="connsiteY33" fmla="*/ 103123 h 390983"/>
              <a:gd name="connsiteX34" fmla="*/ 189815 w 198605"/>
              <a:gd name="connsiteY34" fmla="*/ 114171 h 390983"/>
              <a:gd name="connsiteX35" fmla="*/ 189815 w 198605"/>
              <a:gd name="connsiteY35" fmla="*/ 114171 h 390983"/>
              <a:gd name="connsiteX36" fmla="*/ 180965 w 198605"/>
              <a:gd name="connsiteY36" fmla="*/ 107346 h 390983"/>
              <a:gd name="connsiteX37" fmla="*/ 178073 w 198605"/>
              <a:gd name="connsiteY37" fmla="*/ 104743 h 390983"/>
              <a:gd name="connsiteX38" fmla="*/ 176164 w 198605"/>
              <a:gd name="connsiteY38" fmla="*/ 106189 h 390983"/>
              <a:gd name="connsiteX39" fmla="*/ 175701 w 198605"/>
              <a:gd name="connsiteY39" fmla="*/ 123542 h 390983"/>
              <a:gd name="connsiteX40" fmla="*/ 173792 w 198605"/>
              <a:gd name="connsiteY40" fmla="*/ 141590 h 390983"/>
              <a:gd name="connsiteX41" fmla="*/ 170958 w 198605"/>
              <a:gd name="connsiteY41" fmla="*/ 154489 h 390983"/>
              <a:gd name="connsiteX42" fmla="*/ 140994 w 198605"/>
              <a:gd name="connsiteY42" fmla="*/ 261674 h 390983"/>
              <a:gd name="connsiteX43" fmla="*/ 128037 w 198605"/>
              <a:gd name="connsiteY43" fmla="*/ 303033 h 390983"/>
              <a:gd name="connsiteX44" fmla="*/ 101197 w 198605"/>
              <a:gd name="connsiteY44" fmla="*/ 376727 h 390983"/>
              <a:gd name="connsiteX45" fmla="*/ 84828 w 198605"/>
              <a:gd name="connsiteY45" fmla="*/ 383436 h 390983"/>
              <a:gd name="connsiteX46" fmla="*/ 72911 w 198605"/>
              <a:gd name="connsiteY46" fmla="*/ 387254 h 390983"/>
              <a:gd name="connsiteX47" fmla="*/ 61169 w 198605"/>
              <a:gd name="connsiteY47" fmla="*/ 390783 h 390983"/>
              <a:gd name="connsiteX48" fmla="*/ 30049 w 198605"/>
              <a:gd name="connsiteY48" fmla="*/ 116659 h 390983"/>
              <a:gd name="connsiteX49" fmla="*/ 25421 w 198605"/>
              <a:gd name="connsiteY49" fmla="*/ 130021 h 390983"/>
              <a:gd name="connsiteX50" fmla="*/ 20678 w 198605"/>
              <a:gd name="connsiteY50" fmla="*/ 152522 h 390983"/>
              <a:gd name="connsiteX51" fmla="*/ 23975 w 198605"/>
              <a:gd name="connsiteY51" fmla="*/ 200764 h 390983"/>
              <a:gd name="connsiteX52" fmla="*/ 17323 w 198605"/>
              <a:gd name="connsiteY52" fmla="*/ 257625 h 390983"/>
              <a:gd name="connsiteX53" fmla="*/ 6969 w 198605"/>
              <a:gd name="connsiteY53" fmla="*/ 321890 h 390983"/>
              <a:gd name="connsiteX54" fmla="*/ 13506 w 198605"/>
              <a:gd name="connsiteY54" fmla="*/ 344334 h 390983"/>
              <a:gd name="connsiteX55" fmla="*/ 24554 w 198605"/>
              <a:gd name="connsiteY55" fmla="*/ 373256 h 390983"/>
              <a:gd name="connsiteX56" fmla="*/ 61169 w 198605"/>
              <a:gd name="connsiteY56" fmla="*/ 388469 h 390983"/>
              <a:gd name="connsiteX57" fmla="*/ 71408 w 198605"/>
              <a:gd name="connsiteY57" fmla="*/ 385345 h 390983"/>
              <a:gd name="connsiteX58" fmla="*/ 84885 w 198605"/>
              <a:gd name="connsiteY58" fmla="*/ 380834 h 390983"/>
              <a:gd name="connsiteX59" fmla="*/ 99578 w 198605"/>
              <a:gd name="connsiteY59" fmla="*/ 375049 h 390983"/>
              <a:gd name="connsiteX60" fmla="*/ 126013 w 198605"/>
              <a:gd name="connsiteY60" fmla="*/ 302223 h 390983"/>
              <a:gd name="connsiteX61" fmla="*/ 138970 w 198605"/>
              <a:gd name="connsiteY61" fmla="*/ 260749 h 390983"/>
              <a:gd name="connsiteX62" fmla="*/ 168818 w 198605"/>
              <a:gd name="connsiteY62" fmla="*/ 154662 h 390983"/>
              <a:gd name="connsiteX63" fmla="*/ 171883 w 198605"/>
              <a:gd name="connsiteY63" fmla="*/ 140548 h 390983"/>
              <a:gd name="connsiteX64" fmla="*/ 173734 w 198605"/>
              <a:gd name="connsiteY64" fmla="*/ 124236 h 390983"/>
              <a:gd name="connsiteX65" fmla="*/ 174370 w 198605"/>
              <a:gd name="connsiteY65" fmla="*/ 104974 h 390983"/>
              <a:gd name="connsiteX66" fmla="*/ 178188 w 198605"/>
              <a:gd name="connsiteY66" fmla="*/ 102545 h 390983"/>
              <a:gd name="connsiteX67" fmla="*/ 183047 w 198605"/>
              <a:gd name="connsiteY67" fmla="*/ 106247 h 390983"/>
              <a:gd name="connsiteX68" fmla="*/ 190683 w 198605"/>
              <a:gd name="connsiteY68" fmla="*/ 112609 h 390983"/>
              <a:gd name="connsiteX69" fmla="*/ 197104 w 198605"/>
              <a:gd name="connsiteY69" fmla="*/ 103412 h 390983"/>
              <a:gd name="connsiteX70" fmla="*/ 192534 w 198605"/>
              <a:gd name="connsiteY70" fmla="*/ 78424 h 390983"/>
              <a:gd name="connsiteX71" fmla="*/ 186749 w 198605"/>
              <a:gd name="connsiteY71" fmla="*/ 51873 h 390983"/>
              <a:gd name="connsiteX72" fmla="*/ 173792 w 198605"/>
              <a:gd name="connsiteY72" fmla="*/ 19307 h 390983"/>
              <a:gd name="connsiteX73" fmla="*/ 167429 w 198605"/>
              <a:gd name="connsiteY73" fmla="*/ 6928 h 390983"/>
              <a:gd name="connsiteX74" fmla="*/ 165694 w 198605"/>
              <a:gd name="connsiteY74" fmla="*/ 2937 h 390983"/>
              <a:gd name="connsiteX75" fmla="*/ 162859 w 198605"/>
              <a:gd name="connsiteY75" fmla="*/ 8721 h 390983"/>
              <a:gd name="connsiteX76" fmla="*/ 159621 w 198605"/>
              <a:gd name="connsiteY76" fmla="*/ 15316 h 390983"/>
              <a:gd name="connsiteX77" fmla="*/ 155861 w 198605"/>
              <a:gd name="connsiteY77" fmla="*/ 33768 h 390983"/>
              <a:gd name="connsiteX78" fmla="*/ 153257 w 198605"/>
              <a:gd name="connsiteY78" fmla="*/ 40825 h 390983"/>
              <a:gd name="connsiteX79" fmla="*/ 138449 w 198605"/>
              <a:gd name="connsiteY79" fmla="*/ 47130 h 390983"/>
              <a:gd name="connsiteX80" fmla="*/ 126475 w 198605"/>
              <a:gd name="connsiteY80" fmla="*/ 51526 h 390983"/>
              <a:gd name="connsiteX81" fmla="*/ 125955 w 198605"/>
              <a:gd name="connsiteY81" fmla="*/ 57773 h 390983"/>
              <a:gd name="connsiteX82" fmla="*/ 125087 w 198605"/>
              <a:gd name="connsiteY82" fmla="*/ 66739 h 390983"/>
              <a:gd name="connsiteX83" fmla="*/ 125087 w 198605"/>
              <a:gd name="connsiteY83" fmla="*/ 72118 h 390983"/>
              <a:gd name="connsiteX84" fmla="*/ 125087 w 198605"/>
              <a:gd name="connsiteY84" fmla="*/ 79523 h 390983"/>
              <a:gd name="connsiteX85" fmla="*/ 104147 w 198605"/>
              <a:gd name="connsiteY85" fmla="*/ 91092 h 390983"/>
              <a:gd name="connsiteX86" fmla="*/ 87720 w 198605"/>
              <a:gd name="connsiteY86" fmla="*/ 100231 h 390983"/>
              <a:gd name="connsiteX87" fmla="*/ 66028 w 198605"/>
              <a:gd name="connsiteY87" fmla="*/ 110412 h 390983"/>
              <a:gd name="connsiteX88" fmla="*/ 48154 w 198605"/>
              <a:gd name="connsiteY88" fmla="*/ 113766 h 390983"/>
              <a:gd name="connsiteX89" fmla="*/ 33924 w 198605"/>
              <a:gd name="connsiteY89" fmla="*/ 117121 h 390983"/>
              <a:gd name="connsiteX90" fmla="*/ 31264 w 198605"/>
              <a:gd name="connsiteY90" fmla="*/ 117121 h 39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98605" h="390983">
                <a:moveTo>
                  <a:pt x="61169" y="390783"/>
                </a:moveTo>
                <a:cubicBezTo>
                  <a:pt x="46939" y="390060"/>
                  <a:pt x="33404" y="384414"/>
                  <a:pt x="22877" y="374818"/>
                </a:cubicBezTo>
                <a:cubicBezTo>
                  <a:pt x="16456" y="367876"/>
                  <a:pt x="13795" y="356134"/>
                  <a:pt x="11308" y="344797"/>
                </a:cubicBezTo>
                <a:cubicBezTo>
                  <a:pt x="9862" y="337283"/>
                  <a:pt x="7721" y="329925"/>
                  <a:pt x="4887" y="322816"/>
                </a:cubicBezTo>
                <a:cubicBezTo>
                  <a:pt x="-4542" y="300401"/>
                  <a:pt x="-435" y="274562"/>
                  <a:pt x="15588" y="256237"/>
                </a:cubicBezTo>
                <a:cubicBezTo>
                  <a:pt x="34734" y="233099"/>
                  <a:pt x="29066" y="219217"/>
                  <a:pt x="21835" y="201632"/>
                </a:cubicBezTo>
                <a:cubicBezTo>
                  <a:pt x="15357" y="185725"/>
                  <a:pt x="9862" y="167272"/>
                  <a:pt x="18653" y="151423"/>
                </a:cubicBezTo>
                <a:cubicBezTo>
                  <a:pt x="21719" y="144667"/>
                  <a:pt x="23223" y="137321"/>
                  <a:pt x="23165" y="129905"/>
                </a:cubicBezTo>
                <a:cubicBezTo>
                  <a:pt x="23686" y="121576"/>
                  <a:pt x="24149" y="114403"/>
                  <a:pt x="30049" y="114403"/>
                </a:cubicBezTo>
                <a:cubicBezTo>
                  <a:pt x="30454" y="114351"/>
                  <a:pt x="30801" y="114351"/>
                  <a:pt x="31206" y="114403"/>
                </a:cubicBezTo>
                <a:lnTo>
                  <a:pt x="33520" y="114403"/>
                </a:lnTo>
                <a:cubicBezTo>
                  <a:pt x="38148" y="114079"/>
                  <a:pt x="42717" y="113009"/>
                  <a:pt x="46997" y="111221"/>
                </a:cubicBezTo>
                <a:cubicBezTo>
                  <a:pt x="52087" y="109133"/>
                  <a:pt x="57467" y="107901"/>
                  <a:pt x="62962" y="107577"/>
                </a:cubicBezTo>
                <a:cubicBezTo>
                  <a:pt x="63946" y="107513"/>
                  <a:pt x="64929" y="107513"/>
                  <a:pt x="65912" y="107577"/>
                </a:cubicBezTo>
                <a:lnTo>
                  <a:pt x="67185" y="107577"/>
                </a:lnTo>
                <a:cubicBezTo>
                  <a:pt x="72969" y="107577"/>
                  <a:pt x="79564" y="102545"/>
                  <a:pt x="85926" y="97744"/>
                </a:cubicBezTo>
                <a:cubicBezTo>
                  <a:pt x="90786" y="93087"/>
                  <a:pt x="96743" y="89779"/>
                  <a:pt x="103280" y="88141"/>
                </a:cubicBezTo>
                <a:cubicBezTo>
                  <a:pt x="110800" y="87754"/>
                  <a:pt x="117799" y="84075"/>
                  <a:pt x="122426" y="78077"/>
                </a:cubicBezTo>
                <a:cubicBezTo>
                  <a:pt x="123352" y="76451"/>
                  <a:pt x="123352" y="74438"/>
                  <a:pt x="122426" y="72813"/>
                </a:cubicBezTo>
                <a:cubicBezTo>
                  <a:pt x="120576" y="70563"/>
                  <a:pt x="120576" y="67312"/>
                  <a:pt x="122426" y="65062"/>
                </a:cubicBezTo>
                <a:cubicBezTo>
                  <a:pt x="123988" y="63077"/>
                  <a:pt x="124219" y="60336"/>
                  <a:pt x="123005" y="58120"/>
                </a:cubicBezTo>
                <a:cubicBezTo>
                  <a:pt x="121848" y="55402"/>
                  <a:pt x="122195" y="52295"/>
                  <a:pt x="123815" y="49849"/>
                </a:cubicBezTo>
                <a:cubicBezTo>
                  <a:pt x="127285" y="45794"/>
                  <a:pt x="132607" y="43775"/>
                  <a:pt x="137929" y="44469"/>
                </a:cubicBezTo>
                <a:lnTo>
                  <a:pt x="138970" y="44469"/>
                </a:lnTo>
                <a:cubicBezTo>
                  <a:pt x="143424" y="44105"/>
                  <a:pt x="147588" y="42034"/>
                  <a:pt x="150539" y="38685"/>
                </a:cubicBezTo>
                <a:cubicBezTo>
                  <a:pt x="151927" y="37308"/>
                  <a:pt x="152679" y="35393"/>
                  <a:pt x="152621" y="33421"/>
                </a:cubicBezTo>
                <a:cubicBezTo>
                  <a:pt x="151638" y="26329"/>
                  <a:pt x="153199" y="19110"/>
                  <a:pt x="157017" y="13060"/>
                </a:cubicBezTo>
                <a:cubicBezTo>
                  <a:pt x="158232" y="11284"/>
                  <a:pt x="159157" y="9329"/>
                  <a:pt x="159794" y="7275"/>
                </a:cubicBezTo>
                <a:cubicBezTo>
                  <a:pt x="161413" y="3168"/>
                  <a:pt x="162686" y="-129"/>
                  <a:pt x="164826" y="-129"/>
                </a:cubicBezTo>
                <a:cubicBezTo>
                  <a:pt x="166966" y="-129"/>
                  <a:pt x="167545" y="1549"/>
                  <a:pt x="168586" y="5655"/>
                </a:cubicBezTo>
                <a:cubicBezTo>
                  <a:pt x="170206" y="9820"/>
                  <a:pt x="172230" y="13794"/>
                  <a:pt x="174718" y="17513"/>
                </a:cubicBezTo>
                <a:cubicBezTo>
                  <a:pt x="180502" y="27000"/>
                  <a:pt x="187443" y="38743"/>
                  <a:pt x="188022" y="51179"/>
                </a:cubicBezTo>
                <a:cubicBezTo>
                  <a:pt x="188831" y="60047"/>
                  <a:pt x="190798" y="68769"/>
                  <a:pt x="193806" y="77151"/>
                </a:cubicBezTo>
                <a:cubicBezTo>
                  <a:pt x="197277" y="85359"/>
                  <a:pt x="198838" y="94227"/>
                  <a:pt x="198434" y="103123"/>
                </a:cubicBezTo>
                <a:cubicBezTo>
                  <a:pt x="197104" y="110122"/>
                  <a:pt x="193980" y="114171"/>
                  <a:pt x="189815" y="114171"/>
                </a:cubicBezTo>
                <a:lnTo>
                  <a:pt x="189815" y="114171"/>
                </a:lnTo>
                <a:cubicBezTo>
                  <a:pt x="185939" y="113408"/>
                  <a:pt x="182700" y="110880"/>
                  <a:pt x="180965" y="107346"/>
                </a:cubicBezTo>
                <a:cubicBezTo>
                  <a:pt x="179981" y="105668"/>
                  <a:pt x="178940" y="104743"/>
                  <a:pt x="178073" y="104743"/>
                </a:cubicBezTo>
                <a:cubicBezTo>
                  <a:pt x="177205" y="104743"/>
                  <a:pt x="176511" y="105611"/>
                  <a:pt x="176164" y="106189"/>
                </a:cubicBezTo>
                <a:cubicBezTo>
                  <a:pt x="173445" y="111615"/>
                  <a:pt x="173272" y="117978"/>
                  <a:pt x="175701" y="123542"/>
                </a:cubicBezTo>
                <a:cubicBezTo>
                  <a:pt x="177783" y="129541"/>
                  <a:pt x="177089" y="136164"/>
                  <a:pt x="173792" y="141590"/>
                </a:cubicBezTo>
                <a:cubicBezTo>
                  <a:pt x="171594" y="145523"/>
                  <a:pt x="170610" y="150006"/>
                  <a:pt x="170958" y="154489"/>
                </a:cubicBezTo>
                <a:cubicBezTo>
                  <a:pt x="172520" y="165711"/>
                  <a:pt x="156323" y="215688"/>
                  <a:pt x="140994" y="261674"/>
                </a:cubicBezTo>
                <a:cubicBezTo>
                  <a:pt x="136830" y="274169"/>
                  <a:pt x="132375" y="288861"/>
                  <a:pt x="128037" y="303033"/>
                </a:cubicBezTo>
                <a:cubicBezTo>
                  <a:pt x="117799" y="336814"/>
                  <a:pt x="108081" y="368686"/>
                  <a:pt x="101197" y="376727"/>
                </a:cubicBezTo>
                <a:cubicBezTo>
                  <a:pt x="97206" y="381568"/>
                  <a:pt x="91074" y="384090"/>
                  <a:pt x="84828" y="383436"/>
                </a:cubicBezTo>
                <a:cubicBezTo>
                  <a:pt x="80489" y="382847"/>
                  <a:pt x="76093" y="384246"/>
                  <a:pt x="72911" y="387254"/>
                </a:cubicBezTo>
                <a:cubicBezTo>
                  <a:pt x="69614" y="389915"/>
                  <a:pt x="65392" y="391182"/>
                  <a:pt x="61169" y="390783"/>
                </a:cubicBezTo>
                <a:close/>
                <a:moveTo>
                  <a:pt x="30049" y="116659"/>
                </a:moveTo>
                <a:cubicBezTo>
                  <a:pt x="26405" y="116659"/>
                  <a:pt x="25942" y="121749"/>
                  <a:pt x="25421" y="130021"/>
                </a:cubicBezTo>
                <a:cubicBezTo>
                  <a:pt x="25479" y="137772"/>
                  <a:pt x="23859" y="145442"/>
                  <a:pt x="20678" y="152522"/>
                </a:cubicBezTo>
                <a:cubicBezTo>
                  <a:pt x="12291" y="167562"/>
                  <a:pt x="17613" y="185378"/>
                  <a:pt x="23975" y="200764"/>
                </a:cubicBezTo>
                <a:cubicBezTo>
                  <a:pt x="31148" y="218118"/>
                  <a:pt x="37338" y="233504"/>
                  <a:pt x="17323" y="257625"/>
                </a:cubicBezTo>
                <a:cubicBezTo>
                  <a:pt x="1821" y="275285"/>
                  <a:pt x="-2228" y="300256"/>
                  <a:pt x="6969" y="321890"/>
                </a:cubicBezTo>
                <a:cubicBezTo>
                  <a:pt x="9862" y="329138"/>
                  <a:pt x="12060" y="336658"/>
                  <a:pt x="13506" y="344334"/>
                </a:cubicBezTo>
                <a:cubicBezTo>
                  <a:pt x="16051" y="355903"/>
                  <a:pt x="18538" y="366777"/>
                  <a:pt x="24554" y="373256"/>
                </a:cubicBezTo>
                <a:cubicBezTo>
                  <a:pt x="34618" y="382413"/>
                  <a:pt x="47575" y="387792"/>
                  <a:pt x="61169" y="388469"/>
                </a:cubicBezTo>
                <a:cubicBezTo>
                  <a:pt x="64872" y="388770"/>
                  <a:pt x="68516" y="387653"/>
                  <a:pt x="71408" y="385345"/>
                </a:cubicBezTo>
                <a:cubicBezTo>
                  <a:pt x="74994" y="381904"/>
                  <a:pt x="79969" y="380249"/>
                  <a:pt x="84885" y="380834"/>
                </a:cubicBezTo>
                <a:cubicBezTo>
                  <a:pt x="90438" y="381551"/>
                  <a:pt x="95992" y="379370"/>
                  <a:pt x="99578" y="375049"/>
                </a:cubicBezTo>
                <a:cubicBezTo>
                  <a:pt x="106172" y="367414"/>
                  <a:pt x="116237" y="334558"/>
                  <a:pt x="126013" y="302223"/>
                </a:cubicBezTo>
                <a:cubicBezTo>
                  <a:pt x="130293" y="287993"/>
                  <a:pt x="134805" y="273301"/>
                  <a:pt x="138970" y="260749"/>
                </a:cubicBezTo>
                <a:cubicBezTo>
                  <a:pt x="149960" y="227720"/>
                  <a:pt x="170495" y="166231"/>
                  <a:pt x="168818" y="154662"/>
                </a:cubicBezTo>
                <a:cubicBezTo>
                  <a:pt x="168412" y="149757"/>
                  <a:pt x="169512" y="144852"/>
                  <a:pt x="171883" y="140548"/>
                </a:cubicBezTo>
                <a:cubicBezTo>
                  <a:pt x="174891" y="135649"/>
                  <a:pt x="175528" y="129680"/>
                  <a:pt x="173734" y="124236"/>
                </a:cubicBezTo>
                <a:cubicBezTo>
                  <a:pt x="171074" y="118047"/>
                  <a:pt x="171304" y="110973"/>
                  <a:pt x="174370" y="104974"/>
                </a:cubicBezTo>
                <a:cubicBezTo>
                  <a:pt x="175122" y="103546"/>
                  <a:pt x="176569" y="102626"/>
                  <a:pt x="178188" y="102545"/>
                </a:cubicBezTo>
                <a:cubicBezTo>
                  <a:pt x="179923" y="102545"/>
                  <a:pt x="181601" y="103817"/>
                  <a:pt x="183047" y="106247"/>
                </a:cubicBezTo>
                <a:cubicBezTo>
                  <a:pt x="185361" y="110296"/>
                  <a:pt x="188137" y="112609"/>
                  <a:pt x="190683" y="112609"/>
                </a:cubicBezTo>
                <a:cubicBezTo>
                  <a:pt x="193228" y="112609"/>
                  <a:pt x="196004" y="109255"/>
                  <a:pt x="197104" y="103412"/>
                </a:cubicBezTo>
                <a:cubicBezTo>
                  <a:pt x="197392" y="94852"/>
                  <a:pt x="195830" y="86319"/>
                  <a:pt x="192534" y="78424"/>
                </a:cubicBezTo>
                <a:cubicBezTo>
                  <a:pt x="189468" y="69863"/>
                  <a:pt x="187501" y="60937"/>
                  <a:pt x="186749" y="51873"/>
                </a:cubicBezTo>
                <a:cubicBezTo>
                  <a:pt x="186229" y="40304"/>
                  <a:pt x="179345" y="28735"/>
                  <a:pt x="173792" y="19307"/>
                </a:cubicBezTo>
                <a:cubicBezTo>
                  <a:pt x="171189" y="15448"/>
                  <a:pt x="169048" y="11289"/>
                  <a:pt x="167429" y="6928"/>
                </a:cubicBezTo>
                <a:cubicBezTo>
                  <a:pt x="166446" y="3342"/>
                  <a:pt x="165752" y="2937"/>
                  <a:pt x="165694" y="2937"/>
                </a:cubicBezTo>
                <a:cubicBezTo>
                  <a:pt x="164479" y="4730"/>
                  <a:pt x="163554" y="6674"/>
                  <a:pt x="162859" y="8721"/>
                </a:cubicBezTo>
                <a:cubicBezTo>
                  <a:pt x="162165" y="11081"/>
                  <a:pt x="161067" y="13308"/>
                  <a:pt x="159621" y="15316"/>
                </a:cubicBezTo>
                <a:cubicBezTo>
                  <a:pt x="156265" y="20846"/>
                  <a:pt x="154935" y="27364"/>
                  <a:pt x="155861" y="33768"/>
                </a:cubicBezTo>
                <a:cubicBezTo>
                  <a:pt x="156034" y="36382"/>
                  <a:pt x="155109" y="38956"/>
                  <a:pt x="153257" y="40825"/>
                </a:cubicBezTo>
                <a:cubicBezTo>
                  <a:pt x="149498" y="44984"/>
                  <a:pt x="144060" y="47292"/>
                  <a:pt x="138449" y="47130"/>
                </a:cubicBezTo>
                <a:cubicBezTo>
                  <a:pt x="133995" y="46569"/>
                  <a:pt x="129541" y="48206"/>
                  <a:pt x="126475" y="51526"/>
                </a:cubicBezTo>
                <a:cubicBezTo>
                  <a:pt x="125261" y="53383"/>
                  <a:pt x="125029" y="55737"/>
                  <a:pt x="125955" y="57773"/>
                </a:cubicBezTo>
                <a:cubicBezTo>
                  <a:pt x="127459" y="60677"/>
                  <a:pt x="127111" y="64177"/>
                  <a:pt x="125087" y="66739"/>
                </a:cubicBezTo>
                <a:cubicBezTo>
                  <a:pt x="124046" y="68243"/>
                  <a:pt x="123410" y="69169"/>
                  <a:pt x="125087" y="72118"/>
                </a:cubicBezTo>
                <a:cubicBezTo>
                  <a:pt x="126417" y="74409"/>
                  <a:pt x="126417" y="77232"/>
                  <a:pt x="125087" y="79523"/>
                </a:cubicBezTo>
                <a:cubicBezTo>
                  <a:pt x="120228" y="86360"/>
                  <a:pt x="112535" y="90617"/>
                  <a:pt x="104147" y="91092"/>
                </a:cubicBezTo>
                <a:cubicBezTo>
                  <a:pt x="98016" y="92717"/>
                  <a:pt x="92348" y="95858"/>
                  <a:pt x="87720" y="100231"/>
                </a:cubicBezTo>
                <a:cubicBezTo>
                  <a:pt x="80489" y="105668"/>
                  <a:pt x="73027" y="111453"/>
                  <a:pt x="66028" y="110412"/>
                </a:cubicBezTo>
                <a:cubicBezTo>
                  <a:pt x="59896" y="110163"/>
                  <a:pt x="53765" y="111308"/>
                  <a:pt x="48154" y="113766"/>
                </a:cubicBezTo>
                <a:cubicBezTo>
                  <a:pt x="43642" y="115629"/>
                  <a:pt x="38842" y="116763"/>
                  <a:pt x="33924" y="117121"/>
                </a:cubicBezTo>
                <a:cubicBezTo>
                  <a:pt x="33057" y="117185"/>
                  <a:pt x="32131" y="117185"/>
                  <a:pt x="31264" y="11712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1" name="Forma libre: forma 420">
            <a:extLst>
              <a:ext uri="{FF2B5EF4-FFF2-40B4-BE49-F238E27FC236}">
                <a16:creationId xmlns:a16="http://schemas.microsoft.com/office/drawing/2014/main" id="{62995EC1-33F8-2043-6C4F-422C89EB4C4F}"/>
              </a:ext>
            </a:extLst>
          </p:cNvPr>
          <p:cNvSpPr/>
          <p:nvPr/>
        </p:nvSpPr>
        <p:spPr>
          <a:xfrm>
            <a:off x="7335498" y="3951726"/>
            <a:ext cx="326952" cy="193943"/>
          </a:xfrm>
          <a:custGeom>
            <a:avLst/>
            <a:gdLst>
              <a:gd name="connsiteX0" fmla="*/ 307306 w 326952"/>
              <a:gd name="connsiteY0" fmla="*/ 193807 h 193943"/>
              <a:gd name="connsiteX1" fmla="*/ 307306 w 326952"/>
              <a:gd name="connsiteY1" fmla="*/ 193807 h 193943"/>
              <a:gd name="connsiteX2" fmla="*/ 297125 w 326952"/>
              <a:gd name="connsiteY2" fmla="*/ 189757 h 193943"/>
              <a:gd name="connsiteX3" fmla="*/ 295390 w 326952"/>
              <a:gd name="connsiteY3" fmla="*/ 184436 h 193943"/>
              <a:gd name="connsiteX4" fmla="*/ 311875 w 326952"/>
              <a:gd name="connsiteY4" fmla="*/ 179750 h 193943"/>
              <a:gd name="connsiteX5" fmla="*/ 326452 w 326952"/>
              <a:gd name="connsiteY5" fmla="*/ 182469 h 193943"/>
              <a:gd name="connsiteX6" fmla="*/ 326799 w 326952"/>
              <a:gd name="connsiteY6" fmla="*/ 183973 h 193943"/>
              <a:gd name="connsiteX7" fmla="*/ 307306 w 326952"/>
              <a:gd name="connsiteY7" fmla="*/ 193807 h 193943"/>
              <a:gd name="connsiteX8" fmla="*/ 311875 w 326952"/>
              <a:gd name="connsiteY8" fmla="*/ 182238 h 193943"/>
              <a:gd name="connsiteX9" fmla="*/ 297472 w 326952"/>
              <a:gd name="connsiteY9" fmla="*/ 185535 h 193943"/>
              <a:gd name="connsiteX10" fmla="*/ 298802 w 326952"/>
              <a:gd name="connsiteY10" fmla="*/ 188427 h 193943"/>
              <a:gd name="connsiteX11" fmla="*/ 307306 w 326952"/>
              <a:gd name="connsiteY11" fmla="*/ 191782 h 193943"/>
              <a:gd name="connsiteX12" fmla="*/ 324659 w 326952"/>
              <a:gd name="connsiteY12" fmla="*/ 183915 h 193943"/>
              <a:gd name="connsiteX13" fmla="*/ 311875 w 326952"/>
              <a:gd name="connsiteY13" fmla="*/ 182006 h 193943"/>
              <a:gd name="connsiteX14" fmla="*/ 34628 w 326952"/>
              <a:gd name="connsiteY14" fmla="*/ 178651 h 193943"/>
              <a:gd name="connsiteX15" fmla="*/ 19877 w 326952"/>
              <a:gd name="connsiteY15" fmla="*/ 175701 h 193943"/>
              <a:gd name="connsiteX16" fmla="*/ 16985 w 326952"/>
              <a:gd name="connsiteY16" fmla="*/ 162108 h 193943"/>
              <a:gd name="connsiteX17" fmla="*/ 10449 w 326952"/>
              <a:gd name="connsiteY17" fmla="*/ 135557 h 193943"/>
              <a:gd name="connsiteX18" fmla="*/ 2292 w 326952"/>
              <a:gd name="connsiteY18" fmla="*/ 90959 h 193943"/>
              <a:gd name="connsiteX19" fmla="*/ -21 w 326952"/>
              <a:gd name="connsiteY19" fmla="*/ 74879 h 193943"/>
              <a:gd name="connsiteX20" fmla="*/ 558 w 326952"/>
              <a:gd name="connsiteY20" fmla="*/ 73433 h 193943"/>
              <a:gd name="connsiteX21" fmla="*/ 558 w 326952"/>
              <a:gd name="connsiteY21" fmla="*/ 73433 h 193943"/>
              <a:gd name="connsiteX22" fmla="*/ 12705 w 326952"/>
              <a:gd name="connsiteY22" fmla="*/ 66954 h 193943"/>
              <a:gd name="connsiteX23" fmla="*/ 12011 w 326952"/>
              <a:gd name="connsiteY23" fmla="*/ 61170 h 193943"/>
              <a:gd name="connsiteX24" fmla="*/ 12011 w 326952"/>
              <a:gd name="connsiteY24" fmla="*/ 52146 h 193943"/>
              <a:gd name="connsiteX25" fmla="*/ 24274 w 326952"/>
              <a:gd name="connsiteY25" fmla="*/ 41618 h 193943"/>
              <a:gd name="connsiteX26" fmla="*/ 31967 w 326952"/>
              <a:gd name="connsiteY26" fmla="*/ 42775 h 193943"/>
              <a:gd name="connsiteX27" fmla="*/ 41627 w 326952"/>
              <a:gd name="connsiteY27" fmla="*/ 44973 h 193943"/>
              <a:gd name="connsiteX28" fmla="*/ 44693 w 326952"/>
              <a:gd name="connsiteY28" fmla="*/ 44973 h 193943"/>
              <a:gd name="connsiteX29" fmla="*/ 53080 w 326952"/>
              <a:gd name="connsiteY29" fmla="*/ 44453 h 193943"/>
              <a:gd name="connsiteX30" fmla="*/ 79284 w 326952"/>
              <a:gd name="connsiteY30" fmla="*/ 48444 h 193943"/>
              <a:gd name="connsiteX31" fmla="*/ 90852 w 326952"/>
              <a:gd name="connsiteY31" fmla="*/ 49716 h 193943"/>
              <a:gd name="connsiteX32" fmla="*/ 117345 w 326952"/>
              <a:gd name="connsiteY32" fmla="*/ 54575 h 193943"/>
              <a:gd name="connsiteX33" fmla="*/ 134351 w 326952"/>
              <a:gd name="connsiteY33" fmla="*/ 47981 h 193943"/>
              <a:gd name="connsiteX34" fmla="*/ 177041 w 326952"/>
              <a:gd name="connsiteY34" fmla="*/ 10729 h 193943"/>
              <a:gd name="connsiteX35" fmla="*/ 198732 w 326952"/>
              <a:gd name="connsiteY35" fmla="*/ 9399 h 193943"/>
              <a:gd name="connsiteX36" fmla="*/ 231125 w 326952"/>
              <a:gd name="connsiteY36" fmla="*/ 7548 h 193943"/>
              <a:gd name="connsiteX37" fmla="*/ 257444 w 326952"/>
              <a:gd name="connsiteY37" fmla="*/ -88 h 193943"/>
              <a:gd name="connsiteX38" fmla="*/ 258775 w 326952"/>
              <a:gd name="connsiteY38" fmla="*/ 491 h 193943"/>
              <a:gd name="connsiteX39" fmla="*/ 259815 w 326952"/>
              <a:gd name="connsiteY39" fmla="*/ 2689 h 193943"/>
              <a:gd name="connsiteX40" fmla="*/ 292266 w 326952"/>
              <a:gd name="connsiteY40" fmla="*/ 69499 h 193943"/>
              <a:gd name="connsiteX41" fmla="*/ 292266 w 326952"/>
              <a:gd name="connsiteY41" fmla="*/ 70425 h 193943"/>
              <a:gd name="connsiteX42" fmla="*/ 291630 w 326952"/>
              <a:gd name="connsiteY42" fmla="*/ 71061 h 193943"/>
              <a:gd name="connsiteX43" fmla="*/ 280061 w 326952"/>
              <a:gd name="connsiteY43" fmla="*/ 74300 h 193943"/>
              <a:gd name="connsiteX44" fmla="*/ 268492 w 326952"/>
              <a:gd name="connsiteY44" fmla="*/ 79506 h 193943"/>
              <a:gd name="connsiteX45" fmla="*/ 265369 w 326952"/>
              <a:gd name="connsiteY45" fmla="*/ 86390 h 193943"/>
              <a:gd name="connsiteX46" fmla="*/ 241710 w 326952"/>
              <a:gd name="connsiteY46" fmla="*/ 107329 h 193943"/>
              <a:gd name="connsiteX47" fmla="*/ 216490 w 326952"/>
              <a:gd name="connsiteY47" fmla="*/ 114271 h 193943"/>
              <a:gd name="connsiteX48" fmla="*/ 184445 w 326952"/>
              <a:gd name="connsiteY48" fmla="*/ 125840 h 193943"/>
              <a:gd name="connsiteX49" fmla="*/ 182362 w 326952"/>
              <a:gd name="connsiteY49" fmla="*/ 127922 h 193943"/>
              <a:gd name="connsiteX50" fmla="*/ 163216 w 326952"/>
              <a:gd name="connsiteY50" fmla="*/ 140763 h 193943"/>
              <a:gd name="connsiteX51" fmla="*/ 162116 w 326952"/>
              <a:gd name="connsiteY51" fmla="*/ 140763 h 193943"/>
              <a:gd name="connsiteX52" fmla="*/ 155523 w 326952"/>
              <a:gd name="connsiteY52" fmla="*/ 140416 h 193943"/>
              <a:gd name="connsiteX53" fmla="*/ 136086 w 326952"/>
              <a:gd name="connsiteY53" fmla="*/ 144697 h 193943"/>
              <a:gd name="connsiteX54" fmla="*/ 105313 w 326952"/>
              <a:gd name="connsiteY54" fmla="*/ 159678 h 193943"/>
              <a:gd name="connsiteX55" fmla="*/ 70607 w 326952"/>
              <a:gd name="connsiteY55" fmla="*/ 170438 h 193943"/>
              <a:gd name="connsiteX56" fmla="*/ 34628 w 326952"/>
              <a:gd name="connsiteY56" fmla="*/ 178420 h 193943"/>
              <a:gd name="connsiteX57" fmla="*/ 2466 w 326952"/>
              <a:gd name="connsiteY57" fmla="*/ 75052 h 193943"/>
              <a:gd name="connsiteX58" fmla="*/ 4433 w 326952"/>
              <a:gd name="connsiteY58" fmla="*/ 91711 h 193943"/>
              <a:gd name="connsiteX59" fmla="*/ 12358 w 326952"/>
              <a:gd name="connsiteY59" fmla="*/ 134285 h 193943"/>
              <a:gd name="connsiteX60" fmla="*/ 19183 w 326952"/>
              <a:gd name="connsiteY60" fmla="*/ 161876 h 193943"/>
              <a:gd name="connsiteX61" fmla="*/ 21555 w 326952"/>
              <a:gd name="connsiteY61" fmla="*/ 174197 h 193943"/>
              <a:gd name="connsiteX62" fmla="*/ 34628 w 326952"/>
              <a:gd name="connsiteY62" fmla="*/ 176395 h 193943"/>
              <a:gd name="connsiteX63" fmla="*/ 69797 w 326952"/>
              <a:gd name="connsiteY63" fmla="*/ 168297 h 193943"/>
              <a:gd name="connsiteX64" fmla="*/ 105545 w 326952"/>
              <a:gd name="connsiteY64" fmla="*/ 157191 h 193943"/>
              <a:gd name="connsiteX65" fmla="*/ 134467 w 326952"/>
              <a:gd name="connsiteY65" fmla="*/ 143077 h 193943"/>
              <a:gd name="connsiteX66" fmla="*/ 155696 w 326952"/>
              <a:gd name="connsiteY66" fmla="*/ 137929 h 193943"/>
              <a:gd name="connsiteX67" fmla="*/ 162522 w 326952"/>
              <a:gd name="connsiteY67" fmla="*/ 138276 h 193943"/>
              <a:gd name="connsiteX68" fmla="*/ 180916 w 326952"/>
              <a:gd name="connsiteY68" fmla="*/ 126129 h 193943"/>
              <a:gd name="connsiteX69" fmla="*/ 182999 w 326952"/>
              <a:gd name="connsiteY69" fmla="*/ 124046 h 193943"/>
              <a:gd name="connsiteX70" fmla="*/ 216085 w 326952"/>
              <a:gd name="connsiteY70" fmla="*/ 111668 h 193943"/>
              <a:gd name="connsiteX71" fmla="*/ 241190 w 326952"/>
              <a:gd name="connsiteY71" fmla="*/ 104726 h 193943"/>
              <a:gd name="connsiteX72" fmla="*/ 263402 w 326952"/>
              <a:gd name="connsiteY72" fmla="*/ 85291 h 193943"/>
              <a:gd name="connsiteX73" fmla="*/ 279598 w 326952"/>
              <a:gd name="connsiteY73" fmla="*/ 71697 h 193943"/>
              <a:gd name="connsiteX74" fmla="*/ 289605 w 326952"/>
              <a:gd name="connsiteY74" fmla="*/ 68979 h 193943"/>
              <a:gd name="connsiteX75" fmla="*/ 257733 w 326952"/>
              <a:gd name="connsiteY75" fmla="*/ 3267 h 193943"/>
              <a:gd name="connsiteX76" fmla="*/ 257097 w 326952"/>
              <a:gd name="connsiteY76" fmla="*/ 1995 h 193943"/>
              <a:gd name="connsiteX77" fmla="*/ 231529 w 326952"/>
              <a:gd name="connsiteY77" fmla="*/ 9341 h 193943"/>
              <a:gd name="connsiteX78" fmla="*/ 198732 w 326952"/>
              <a:gd name="connsiteY78" fmla="*/ 11192 h 193943"/>
              <a:gd name="connsiteX79" fmla="*/ 177966 w 326952"/>
              <a:gd name="connsiteY79" fmla="*/ 12349 h 193943"/>
              <a:gd name="connsiteX80" fmla="*/ 136376 w 326952"/>
              <a:gd name="connsiteY80" fmla="*/ 48444 h 193943"/>
              <a:gd name="connsiteX81" fmla="*/ 124229 w 326952"/>
              <a:gd name="connsiteY81" fmla="*/ 59261 h 193943"/>
              <a:gd name="connsiteX82" fmla="*/ 115899 w 326952"/>
              <a:gd name="connsiteY82" fmla="*/ 55964 h 193943"/>
              <a:gd name="connsiteX83" fmla="*/ 90679 w 326952"/>
              <a:gd name="connsiteY83" fmla="*/ 51567 h 193943"/>
              <a:gd name="connsiteX84" fmla="*/ 77548 w 326952"/>
              <a:gd name="connsiteY84" fmla="*/ 49601 h 193943"/>
              <a:gd name="connsiteX85" fmla="*/ 52964 w 326952"/>
              <a:gd name="connsiteY85" fmla="*/ 46304 h 193943"/>
              <a:gd name="connsiteX86" fmla="*/ 44924 w 326952"/>
              <a:gd name="connsiteY86" fmla="*/ 46824 h 193943"/>
              <a:gd name="connsiteX87" fmla="*/ 41511 w 326952"/>
              <a:gd name="connsiteY87" fmla="*/ 46824 h 193943"/>
              <a:gd name="connsiteX88" fmla="*/ 31042 w 326952"/>
              <a:gd name="connsiteY88" fmla="*/ 44510 h 193943"/>
              <a:gd name="connsiteX89" fmla="*/ 24852 w 326952"/>
              <a:gd name="connsiteY89" fmla="*/ 43354 h 193943"/>
              <a:gd name="connsiteX90" fmla="*/ 13688 w 326952"/>
              <a:gd name="connsiteY90" fmla="*/ 53129 h 193943"/>
              <a:gd name="connsiteX91" fmla="*/ 14151 w 326952"/>
              <a:gd name="connsiteY91" fmla="*/ 60244 h 193943"/>
              <a:gd name="connsiteX92" fmla="*/ 14613 w 326952"/>
              <a:gd name="connsiteY92" fmla="*/ 67764 h 193943"/>
              <a:gd name="connsiteX93" fmla="*/ 2466 w 326952"/>
              <a:gd name="connsiteY93" fmla="*/ 74821 h 19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26952" h="193943">
                <a:moveTo>
                  <a:pt x="307306" y="193807"/>
                </a:moveTo>
                <a:lnTo>
                  <a:pt x="307306" y="193807"/>
                </a:lnTo>
                <a:cubicBezTo>
                  <a:pt x="303488" y="193940"/>
                  <a:pt x="299786" y="192470"/>
                  <a:pt x="297125" y="189757"/>
                </a:cubicBezTo>
                <a:cubicBezTo>
                  <a:pt x="295332" y="187848"/>
                  <a:pt x="294696" y="186055"/>
                  <a:pt x="295390" y="184436"/>
                </a:cubicBezTo>
                <a:cubicBezTo>
                  <a:pt x="297183" y="180155"/>
                  <a:pt x="307537" y="179750"/>
                  <a:pt x="311875" y="179750"/>
                </a:cubicBezTo>
                <a:cubicBezTo>
                  <a:pt x="316213" y="179750"/>
                  <a:pt x="324832" y="180271"/>
                  <a:pt x="326452" y="182469"/>
                </a:cubicBezTo>
                <a:cubicBezTo>
                  <a:pt x="326799" y="182891"/>
                  <a:pt x="326915" y="183447"/>
                  <a:pt x="326799" y="183973"/>
                </a:cubicBezTo>
                <a:cubicBezTo>
                  <a:pt x="325932" y="187501"/>
                  <a:pt x="315809" y="193807"/>
                  <a:pt x="307306" y="193807"/>
                </a:cubicBezTo>
                <a:close/>
                <a:moveTo>
                  <a:pt x="311875" y="182238"/>
                </a:moveTo>
                <a:cubicBezTo>
                  <a:pt x="304240" y="182238"/>
                  <a:pt x="298282" y="183568"/>
                  <a:pt x="297472" y="185535"/>
                </a:cubicBezTo>
                <a:cubicBezTo>
                  <a:pt x="297125" y="186402"/>
                  <a:pt x="297993" y="187559"/>
                  <a:pt x="298802" y="188427"/>
                </a:cubicBezTo>
                <a:cubicBezTo>
                  <a:pt x="301058" y="190665"/>
                  <a:pt x="304124" y="191880"/>
                  <a:pt x="307306" y="191782"/>
                </a:cubicBezTo>
                <a:cubicBezTo>
                  <a:pt x="313900" y="191614"/>
                  <a:pt x="320147" y="188774"/>
                  <a:pt x="324659" y="183915"/>
                </a:cubicBezTo>
                <a:cubicBezTo>
                  <a:pt x="320552" y="182440"/>
                  <a:pt x="316213" y="181792"/>
                  <a:pt x="311875" y="182006"/>
                </a:cubicBezTo>
                <a:close/>
                <a:moveTo>
                  <a:pt x="34628" y="178651"/>
                </a:moveTo>
                <a:cubicBezTo>
                  <a:pt x="30116" y="178651"/>
                  <a:pt x="22191" y="178304"/>
                  <a:pt x="19877" y="175701"/>
                </a:cubicBezTo>
                <a:cubicBezTo>
                  <a:pt x="17795" y="171484"/>
                  <a:pt x="16811" y="166811"/>
                  <a:pt x="16985" y="162108"/>
                </a:cubicBezTo>
                <a:cubicBezTo>
                  <a:pt x="16985" y="152864"/>
                  <a:pt x="14729" y="143760"/>
                  <a:pt x="10449" y="135557"/>
                </a:cubicBezTo>
                <a:cubicBezTo>
                  <a:pt x="1772" y="122716"/>
                  <a:pt x="-1120" y="100851"/>
                  <a:pt x="2292" y="90959"/>
                </a:cubicBezTo>
                <a:cubicBezTo>
                  <a:pt x="3334" y="85493"/>
                  <a:pt x="2524" y="79824"/>
                  <a:pt x="-21" y="74879"/>
                </a:cubicBezTo>
                <a:cubicBezTo>
                  <a:pt x="-252" y="74323"/>
                  <a:pt x="-21" y="73676"/>
                  <a:pt x="558" y="73433"/>
                </a:cubicBezTo>
                <a:cubicBezTo>
                  <a:pt x="558" y="73433"/>
                  <a:pt x="558" y="73433"/>
                  <a:pt x="558" y="73433"/>
                </a:cubicBezTo>
                <a:cubicBezTo>
                  <a:pt x="4838" y="71686"/>
                  <a:pt x="8887" y="69517"/>
                  <a:pt x="12705" y="66954"/>
                </a:cubicBezTo>
                <a:cubicBezTo>
                  <a:pt x="12878" y="64999"/>
                  <a:pt x="12647" y="63026"/>
                  <a:pt x="12011" y="61170"/>
                </a:cubicBezTo>
                <a:cubicBezTo>
                  <a:pt x="11201" y="57757"/>
                  <a:pt x="10391" y="54228"/>
                  <a:pt x="12011" y="52146"/>
                </a:cubicBezTo>
                <a:cubicBezTo>
                  <a:pt x="15077" y="47588"/>
                  <a:pt x="19299" y="43949"/>
                  <a:pt x="24274" y="41618"/>
                </a:cubicBezTo>
                <a:cubicBezTo>
                  <a:pt x="26876" y="41126"/>
                  <a:pt x="29595" y="41537"/>
                  <a:pt x="31967" y="42775"/>
                </a:cubicBezTo>
                <a:cubicBezTo>
                  <a:pt x="35033" y="44123"/>
                  <a:pt x="38272" y="44869"/>
                  <a:pt x="41627" y="44973"/>
                </a:cubicBezTo>
                <a:cubicBezTo>
                  <a:pt x="42668" y="45054"/>
                  <a:pt x="43651" y="45054"/>
                  <a:pt x="44693" y="44973"/>
                </a:cubicBezTo>
                <a:cubicBezTo>
                  <a:pt x="47469" y="44591"/>
                  <a:pt x="50303" y="44418"/>
                  <a:pt x="53080" y="44453"/>
                </a:cubicBezTo>
                <a:cubicBezTo>
                  <a:pt x="62162" y="44453"/>
                  <a:pt x="76854" y="46014"/>
                  <a:pt x="79284" y="48444"/>
                </a:cubicBezTo>
                <a:cubicBezTo>
                  <a:pt x="83101" y="49271"/>
                  <a:pt x="86977" y="49699"/>
                  <a:pt x="90852" y="49716"/>
                </a:cubicBezTo>
                <a:cubicBezTo>
                  <a:pt x="100686" y="50353"/>
                  <a:pt x="112891" y="51105"/>
                  <a:pt x="117345" y="54575"/>
                </a:cubicBezTo>
                <a:cubicBezTo>
                  <a:pt x="124113" y="59897"/>
                  <a:pt x="130302" y="57525"/>
                  <a:pt x="134351" y="47981"/>
                </a:cubicBezTo>
                <a:cubicBezTo>
                  <a:pt x="139384" y="36412"/>
                  <a:pt x="172933" y="12812"/>
                  <a:pt x="177041" y="10729"/>
                </a:cubicBezTo>
                <a:cubicBezTo>
                  <a:pt x="184155" y="9347"/>
                  <a:pt x="191502" y="8896"/>
                  <a:pt x="198732" y="9399"/>
                </a:cubicBezTo>
                <a:cubicBezTo>
                  <a:pt x="209549" y="9665"/>
                  <a:pt x="220424" y="9046"/>
                  <a:pt x="231125" y="7548"/>
                </a:cubicBezTo>
                <a:cubicBezTo>
                  <a:pt x="235579" y="6565"/>
                  <a:pt x="248478" y="2747"/>
                  <a:pt x="257444" y="-88"/>
                </a:cubicBezTo>
                <a:cubicBezTo>
                  <a:pt x="257965" y="-232"/>
                  <a:pt x="258543" y="11"/>
                  <a:pt x="258775" y="491"/>
                </a:cubicBezTo>
                <a:lnTo>
                  <a:pt x="259815" y="2689"/>
                </a:lnTo>
                <a:cubicBezTo>
                  <a:pt x="267104" y="17729"/>
                  <a:pt x="280292" y="45031"/>
                  <a:pt x="292266" y="69499"/>
                </a:cubicBezTo>
                <a:cubicBezTo>
                  <a:pt x="292382" y="69794"/>
                  <a:pt x="292382" y="70130"/>
                  <a:pt x="292266" y="70425"/>
                </a:cubicBezTo>
                <a:cubicBezTo>
                  <a:pt x="292151" y="70714"/>
                  <a:pt x="291919" y="70945"/>
                  <a:pt x="291630" y="71061"/>
                </a:cubicBezTo>
                <a:cubicBezTo>
                  <a:pt x="287870" y="72478"/>
                  <a:pt x="283995" y="73560"/>
                  <a:pt x="280061" y="74300"/>
                </a:cubicBezTo>
                <a:cubicBezTo>
                  <a:pt x="275665" y="74549"/>
                  <a:pt x="271558" y="76400"/>
                  <a:pt x="268492" y="79506"/>
                </a:cubicBezTo>
                <a:cubicBezTo>
                  <a:pt x="266988" y="81560"/>
                  <a:pt x="265947" y="83902"/>
                  <a:pt x="265369" y="86390"/>
                </a:cubicBezTo>
                <a:cubicBezTo>
                  <a:pt x="263287" y="93042"/>
                  <a:pt x="260741" y="101372"/>
                  <a:pt x="241710" y="107329"/>
                </a:cubicBezTo>
                <a:cubicBezTo>
                  <a:pt x="232918" y="110048"/>
                  <a:pt x="224357" y="112304"/>
                  <a:pt x="216490" y="114271"/>
                </a:cubicBezTo>
                <a:cubicBezTo>
                  <a:pt x="201855" y="117973"/>
                  <a:pt x="189246" y="121154"/>
                  <a:pt x="184445" y="125840"/>
                </a:cubicBezTo>
                <a:lnTo>
                  <a:pt x="182362" y="127922"/>
                </a:lnTo>
                <a:cubicBezTo>
                  <a:pt x="175768" y="134516"/>
                  <a:pt x="169578" y="140763"/>
                  <a:pt x="163216" y="140763"/>
                </a:cubicBezTo>
                <a:lnTo>
                  <a:pt x="162116" y="140763"/>
                </a:lnTo>
                <a:cubicBezTo>
                  <a:pt x="159918" y="140515"/>
                  <a:pt x="157721" y="140399"/>
                  <a:pt x="155523" y="140416"/>
                </a:cubicBezTo>
                <a:cubicBezTo>
                  <a:pt x="145689" y="140416"/>
                  <a:pt x="138169" y="142094"/>
                  <a:pt x="136086" y="144697"/>
                </a:cubicBezTo>
                <a:cubicBezTo>
                  <a:pt x="127931" y="153188"/>
                  <a:pt x="116998" y="158498"/>
                  <a:pt x="105313" y="159678"/>
                </a:cubicBezTo>
                <a:cubicBezTo>
                  <a:pt x="92877" y="159291"/>
                  <a:pt x="80672" y="163080"/>
                  <a:pt x="70607" y="170438"/>
                </a:cubicBezTo>
                <a:cubicBezTo>
                  <a:pt x="59443" y="176060"/>
                  <a:pt x="47122" y="178802"/>
                  <a:pt x="34628" y="178420"/>
                </a:cubicBezTo>
                <a:close/>
                <a:moveTo>
                  <a:pt x="2466" y="75052"/>
                </a:moveTo>
                <a:cubicBezTo>
                  <a:pt x="5012" y="80218"/>
                  <a:pt x="5706" y="86095"/>
                  <a:pt x="4433" y="91711"/>
                </a:cubicBezTo>
                <a:cubicBezTo>
                  <a:pt x="1194" y="100851"/>
                  <a:pt x="4433" y="122311"/>
                  <a:pt x="12358" y="134285"/>
                </a:cubicBezTo>
                <a:cubicBezTo>
                  <a:pt x="16811" y="142800"/>
                  <a:pt x="19183" y="152263"/>
                  <a:pt x="19183" y="161876"/>
                </a:cubicBezTo>
                <a:cubicBezTo>
                  <a:pt x="19125" y="166105"/>
                  <a:pt x="19935" y="170299"/>
                  <a:pt x="21555" y="174197"/>
                </a:cubicBezTo>
                <a:cubicBezTo>
                  <a:pt x="25604" y="176153"/>
                  <a:pt x="30174" y="176916"/>
                  <a:pt x="34628" y="176395"/>
                </a:cubicBezTo>
                <a:cubicBezTo>
                  <a:pt x="46833" y="176708"/>
                  <a:pt x="58922" y="173925"/>
                  <a:pt x="69797" y="168297"/>
                </a:cubicBezTo>
                <a:cubicBezTo>
                  <a:pt x="80151" y="160737"/>
                  <a:pt x="92703" y="156827"/>
                  <a:pt x="105545" y="157191"/>
                </a:cubicBezTo>
                <a:cubicBezTo>
                  <a:pt x="116535" y="155999"/>
                  <a:pt x="126773" y="151008"/>
                  <a:pt x="134467" y="143077"/>
                </a:cubicBezTo>
                <a:cubicBezTo>
                  <a:pt x="137996" y="138450"/>
                  <a:pt x="150490" y="137929"/>
                  <a:pt x="155696" y="137929"/>
                </a:cubicBezTo>
                <a:cubicBezTo>
                  <a:pt x="157952" y="137912"/>
                  <a:pt x="160266" y="138027"/>
                  <a:pt x="162522" y="138276"/>
                </a:cubicBezTo>
                <a:cubicBezTo>
                  <a:pt x="168306" y="138912"/>
                  <a:pt x="174090" y="132491"/>
                  <a:pt x="180916" y="126129"/>
                </a:cubicBezTo>
                <a:lnTo>
                  <a:pt x="182999" y="124046"/>
                </a:lnTo>
                <a:cubicBezTo>
                  <a:pt x="188262" y="118725"/>
                  <a:pt x="200352" y="115601"/>
                  <a:pt x="216085" y="111668"/>
                </a:cubicBezTo>
                <a:cubicBezTo>
                  <a:pt x="223778" y="109701"/>
                  <a:pt x="232455" y="107503"/>
                  <a:pt x="241190" y="104726"/>
                </a:cubicBezTo>
                <a:cubicBezTo>
                  <a:pt x="259121" y="98942"/>
                  <a:pt x="261377" y="91827"/>
                  <a:pt x="263402" y="85291"/>
                </a:cubicBezTo>
                <a:cubicBezTo>
                  <a:pt x="264790" y="77424"/>
                  <a:pt x="271616" y="71691"/>
                  <a:pt x="279598" y="71697"/>
                </a:cubicBezTo>
                <a:cubicBezTo>
                  <a:pt x="283011" y="71032"/>
                  <a:pt x="286366" y="70124"/>
                  <a:pt x="289605" y="68979"/>
                </a:cubicBezTo>
                <a:cubicBezTo>
                  <a:pt x="278036" y="44800"/>
                  <a:pt x="264906" y="18076"/>
                  <a:pt x="257733" y="3267"/>
                </a:cubicBezTo>
                <a:lnTo>
                  <a:pt x="257097" y="1995"/>
                </a:lnTo>
                <a:cubicBezTo>
                  <a:pt x="242867" y="6333"/>
                  <a:pt x="235001" y="8589"/>
                  <a:pt x="231529" y="9341"/>
                </a:cubicBezTo>
                <a:cubicBezTo>
                  <a:pt x="220655" y="10891"/>
                  <a:pt x="209723" y="11510"/>
                  <a:pt x="198732" y="11192"/>
                </a:cubicBezTo>
                <a:cubicBezTo>
                  <a:pt x="191790" y="10897"/>
                  <a:pt x="184849" y="11285"/>
                  <a:pt x="177966" y="12349"/>
                </a:cubicBezTo>
                <a:cubicBezTo>
                  <a:pt x="173107" y="14778"/>
                  <a:pt x="140772" y="38147"/>
                  <a:pt x="136376" y="48444"/>
                </a:cubicBezTo>
                <a:cubicBezTo>
                  <a:pt x="132558" y="57410"/>
                  <a:pt x="127641" y="59261"/>
                  <a:pt x="124229" y="59261"/>
                </a:cubicBezTo>
                <a:cubicBezTo>
                  <a:pt x="121163" y="59128"/>
                  <a:pt x="118213" y="57971"/>
                  <a:pt x="115899" y="55964"/>
                </a:cubicBezTo>
                <a:cubicBezTo>
                  <a:pt x="111966" y="52898"/>
                  <a:pt x="99645" y="52146"/>
                  <a:pt x="90679" y="51567"/>
                </a:cubicBezTo>
                <a:cubicBezTo>
                  <a:pt x="81713" y="50989"/>
                  <a:pt x="78705" y="50758"/>
                  <a:pt x="77548" y="49601"/>
                </a:cubicBezTo>
                <a:cubicBezTo>
                  <a:pt x="69623" y="47073"/>
                  <a:pt x="61294" y="45962"/>
                  <a:pt x="52964" y="46304"/>
                </a:cubicBezTo>
                <a:cubicBezTo>
                  <a:pt x="50246" y="46269"/>
                  <a:pt x="47585" y="46442"/>
                  <a:pt x="44924" y="46824"/>
                </a:cubicBezTo>
                <a:cubicBezTo>
                  <a:pt x="43767" y="46911"/>
                  <a:pt x="42668" y="46911"/>
                  <a:pt x="41511" y="46824"/>
                </a:cubicBezTo>
                <a:cubicBezTo>
                  <a:pt x="37925" y="46691"/>
                  <a:pt x="34338" y="45910"/>
                  <a:pt x="31042" y="44510"/>
                </a:cubicBezTo>
                <a:cubicBezTo>
                  <a:pt x="29190" y="43446"/>
                  <a:pt x="26992" y="43041"/>
                  <a:pt x="24852" y="43354"/>
                </a:cubicBezTo>
                <a:cubicBezTo>
                  <a:pt x="20341" y="45621"/>
                  <a:pt x="16523" y="48982"/>
                  <a:pt x="13688" y="53129"/>
                </a:cubicBezTo>
                <a:cubicBezTo>
                  <a:pt x="12763" y="54344"/>
                  <a:pt x="13688" y="57468"/>
                  <a:pt x="14151" y="60244"/>
                </a:cubicBezTo>
                <a:cubicBezTo>
                  <a:pt x="15077" y="62645"/>
                  <a:pt x="15192" y="65265"/>
                  <a:pt x="14613" y="67764"/>
                </a:cubicBezTo>
                <a:cubicBezTo>
                  <a:pt x="14382" y="68342"/>
                  <a:pt x="13919" y="69268"/>
                  <a:pt x="2466" y="7482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2" name="Forma libre: forma 421">
            <a:extLst>
              <a:ext uri="{FF2B5EF4-FFF2-40B4-BE49-F238E27FC236}">
                <a16:creationId xmlns:a16="http://schemas.microsoft.com/office/drawing/2014/main" id="{2C6FD004-73E3-5DC0-37BE-3AA9A9DC4A66}"/>
              </a:ext>
            </a:extLst>
          </p:cNvPr>
          <p:cNvSpPr/>
          <p:nvPr/>
        </p:nvSpPr>
        <p:spPr>
          <a:xfrm>
            <a:off x="10387643" y="4639692"/>
            <a:ext cx="215543" cy="151686"/>
          </a:xfrm>
          <a:custGeom>
            <a:avLst/>
            <a:gdLst>
              <a:gd name="connsiteX0" fmla="*/ 209152 w 215543"/>
              <a:gd name="connsiteY0" fmla="*/ 151557 h 151686"/>
              <a:gd name="connsiteX1" fmla="*/ 209152 w 215543"/>
              <a:gd name="connsiteY1" fmla="*/ 151557 h 151686"/>
              <a:gd name="connsiteX2" fmla="*/ 187402 w 215543"/>
              <a:gd name="connsiteY2" fmla="*/ 137501 h 151686"/>
              <a:gd name="connsiteX3" fmla="*/ 187402 w 215543"/>
              <a:gd name="connsiteY3" fmla="*/ 135708 h 151686"/>
              <a:gd name="connsiteX4" fmla="*/ 190122 w 215543"/>
              <a:gd name="connsiteY4" fmla="*/ 134667 h 151686"/>
              <a:gd name="connsiteX5" fmla="*/ 215284 w 215543"/>
              <a:gd name="connsiteY5" fmla="*/ 146236 h 151686"/>
              <a:gd name="connsiteX6" fmla="*/ 213780 w 215543"/>
              <a:gd name="connsiteY6" fmla="*/ 149995 h 151686"/>
              <a:gd name="connsiteX7" fmla="*/ 209152 w 215543"/>
              <a:gd name="connsiteY7" fmla="*/ 151557 h 151686"/>
              <a:gd name="connsiteX8" fmla="*/ 189658 w 215543"/>
              <a:gd name="connsiteY8" fmla="*/ 136980 h 151686"/>
              <a:gd name="connsiteX9" fmla="*/ 209152 w 215543"/>
              <a:gd name="connsiteY9" fmla="*/ 149301 h 151686"/>
              <a:gd name="connsiteX10" fmla="*/ 209152 w 215543"/>
              <a:gd name="connsiteY10" fmla="*/ 149301 h 151686"/>
              <a:gd name="connsiteX11" fmla="*/ 212622 w 215543"/>
              <a:gd name="connsiteY11" fmla="*/ 148318 h 151686"/>
              <a:gd name="connsiteX12" fmla="*/ 213259 w 215543"/>
              <a:gd name="connsiteY12" fmla="*/ 147103 h 151686"/>
              <a:gd name="connsiteX13" fmla="*/ 190122 w 215543"/>
              <a:gd name="connsiteY13" fmla="*/ 136922 h 151686"/>
              <a:gd name="connsiteX14" fmla="*/ 161315 w 215543"/>
              <a:gd name="connsiteY14" fmla="*/ 127957 h 151686"/>
              <a:gd name="connsiteX15" fmla="*/ 161315 w 215543"/>
              <a:gd name="connsiteY15" fmla="*/ 127957 h 151686"/>
              <a:gd name="connsiteX16" fmla="*/ 137656 w 215543"/>
              <a:gd name="connsiteY16" fmla="*/ 110603 h 151686"/>
              <a:gd name="connsiteX17" fmla="*/ 138293 w 215543"/>
              <a:gd name="connsiteY17" fmla="*/ 106901 h 151686"/>
              <a:gd name="connsiteX18" fmla="*/ 141590 w 215543"/>
              <a:gd name="connsiteY18" fmla="*/ 105629 h 151686"/>
              <a:gd name="connsiteX19" fmla="*/ 168545 w 215543"/>
              <a:gd name="connsiteY19" fmla="*/ 122982 h 151686"/>
              <a:gd name="connsiteX20" fmla="*/ 167215 w 215543"/>
              <a:gd name="connsiteY20" fmla="*/ 126453 h 151686"/>
              <a:gd name="connsiteX21" fmla="*/ 161315 w 215543"/>
              <a:gd name="connsiteY21" fmla="*/ 127957 h 151686"/>
              <a:gd name="connsiteX22" fmla="*/ 141590 w 215543"/>
              <a:gd name="connsiteY22" fmla="*/ 107942 h 151686"/>
              <a:gd name="connsiteX23" fmla="*/ 140028 w 215543"/>
              <a:gd name="connsiteY23" fmla="*/ 108405 h 151686"/>
              <a:gd name="connsiteX24" fmla="*/ 140028 w 215543"/>
              <a:gd name="connsiteY24" fmla="*/ 110198 h 151686"/>
              <a:gd name="connsiteX25" fmla="*/ 161488 w 215543"/>
              <a:gd name="connsiteY25" fmla="*/ 125643 h 151686"/>
              <a:gd name="connsiteX26" fmla="*/ 161488 w 215543"/>
              <a:gd name="connsiteY26" fmla="*/ 125643 h 151686"/>
              <a:gd name="connsiteX27" fmla="*/ 166232 w 215543"/>
              <a:gd name="connsiteY27" fmla="*/ 124601 h 151686"/>
              <a:gd name="connsiteX28" fmla="*/ 166579 w 215543"/>
              <a:gd name="connsiteY28" fmla="*/ 123676 h 151686"/>
              <a:gd name="connsiteX29" fmla="*/ 141590 w 215543"/>
              <a:gd name="connsiteY29" fmla="*/ 107942 h 151686"/>
              <a:gd name="connsiteX30" fmla="*/ 189138 w 215543"/>
              <a:gd name="connsiteY30" fmla="*/ 121247 h 151686"/>
              <a:gd name="connsiteX31" fmla="*/ 187981 w 215543"/>
              <a:gd name="connsiteY31" fmla="*/ 120148 h 151686"/>
              <a:gd name="connsiteX32" fmla="*/ 188328 w 215543"/>
              <a:gd name="connsiteY32" fmla="*/ 119280 h 151686"/>
              <a:gd name="connsiteX33" fmla="*/ 180519 w 215543"/>
              <a:gd name="connsiteY33" fmla="*/ 99092 h 151686"/>
              <a:gd name="connsiteX34" fmla="*/ 168950 w 215543"/>
              <a:gd name="connsiteY34" fmla="*/ 82838 h 151686"/>
              <a:gd name="connsiteX35" fmla="*/ 167851 w 215543"/>
              <a:gd name="connsiteY35" fmla="*/ 81739 h 151686"/>
              <a:gd name="connsiteX36" fmla="*/ 168892 w 215543"/>
              <a:gd name="connsiteY36" fmla="*/ 80582 h 151686"/>
              <a:gd name="connsiteX37" fmla="*/ 168950 w 215543"/>
              <a:gd name="connsiteY37" fmla="*/ 80582 h 151686"/>
              <a:gd name="connsiteX38" fmla="*/ 182486 w 215543"/>
              <a:gd name="connsiteY38" fmla="*/ 97935 h 151686"/>
              <a:gd name="connsiteX39" fmla="*/ 190526 w 215543"/>
              <a:gd name="connsiteY39" fmla="*/ 119280 h 151686"/>
              <a:gd name="connsiteX40" fmla="*/ 189138 w 215543"/>
              <a:gd name="connsiteY40" fmla="*/ 121247 h 151686"/>
              <a:gd name="connsiteX41" fmla="*/ 140722 w 215543"/>
              <a:gd name="connsiteY41" fmla="*/ 86193 h 151686"/>
              <a:gd name="connsiteX42" fmla="*/ 140722 w 215543"/>
              <a:gd name="connsiteY42" fmla="*/ 86193 h 151686"/>
              <a:gd name="connsiteX43" fmla="*/ 106999 w 215543"/>
              <a:gd name="connsiteY43" fmla="*/ 69187 h 151686"/>
              <a:gd name="connsiteX44" fmla="*/ 104338 w 215543"/>
              <a:gd name="connsiteY44" fmla="*/ 63402 h 151686"/>
              <a:gd name="connsiteX45" fmla="*/ 107924 w 215543"/>
              <a:gd name="connsiteY45" fmla="*/ 60799 h 151686"/>
              <a:gd name="connsiteX46" fmla="*/ 145292 w 215543"/>
              <a:gd name="connsiteY46" fmla="*/ 82086 h 151686"/>
              <a:gd name="connsiteX47" fmla="*/ 144193 w 215543"/>
              <a:gd name="connsiteY47" fmla="*/ 85036 h 151686"/>
              <a:gd name="connsiteX48" fmla="*/ 140722 w 215543"/>
              <a:gd name="connsiteY48" fmla="*/ 86193 h 151686"/>
              <a:gd name="connsiteX49" fmla="*/ 107924 w 215543"/>
              <a:gd name="connsiteY49" fmla="*/ 63345 h 151686"/>
              <a:gd name="connsiteX50" fmla="*/ 106536 w 215543"/>
              <a:gd name="connsiteY50" fmla="*/ 63865 h 151686"/>
              <a:gd name="connsiteX51" fmla="*/ 108676 w 215543"/>
              <a:gd name="connsiteY51" fmla="*/ 67683 h 151686"/>
              <a:gd name="connsiteX52" fmla="*/ 140722 w 215543"/>
              <a:gd name="connsiteY52" fmla="*/ 83879 h 151686"/>
              <a:gd name="connsiteX53" fmla="*/ 140722 w 215543"/>
              <a:gd name="connsiteY53" fmla="*/ 83879 h 151686"/>
              <a:gd name="connsiteX54" fmla="*/ 143036 w 215543"/>
              <a:gd name="connsiteY54" fmla="*/ 83416 h 151686"/>
              <a:gd name="connsiteX55" fmla="*/ 143036 w 215543"/>
              <a:gd name="connsiteY55" fmla="*/ 82954 h 151686"/>
              <a:gd name="connsiteX56" fmla="*/ 107924 w 215543"/>
              <a:gd name="connsiteY56" fmla="*/ 63345 h 151686"/>
              <a:gd name="connsiteX57" fmla="*/ 74548 w 215543"/>
              <a:gd name="connsiteY57" fmla="*/ 56172 h 151686"/>
              <a:gd name="connsiteX58" fmla="*/ 54245 w 215543"/>
              <a:gd name="connsiteY58" fmla="*/ 40901 h 151686"/>
              <a:gd name="connsiteX59" fmla="*/ 51642 w 215543"/>
              <a:gd name="connsiteY59" fmla="*/ 35695 h 151686"/>
              <a:gd name="connsiteX60" fmla="*/ 54014 w 215543"/>
              <a:gd name="connsiteY60" fmla="*/ 33902 h 151686"/>
              <a:gd name="connsiteX61" fmla="*/ 77152 w 215543"/>
              <a:gd name="connsiteY61" fmla="*/ 52643 h 151686"/>
              <a:gd name="connsiteX62" fmla="*/ 76400 w 215543"/>
              <a:gd name="connsiteY62" fmla="*/ 55651 h 151686"/>
              <a:gd name="connsiteX63" fmla="*/ 74548 w 215543"/>
              <a:gd name="connsiteY63" fmla="*/ 56403 h 151686"/>
              <a:gd name="connsiteX64" fmla="*/ 54014 w 215543"/>
              <a:gd name="connsiteY64" fmla="*/ 36158 h 151686"/>
              <a:gd name="connsiteX65" fmla="*/ 74548 w 215543"/>
              <a:gd name="connsiteY65" fmla="*/ 53916 h 151686"/>
              <a:gd name="connsiteX66" fmla="*/ 75069 w 215543"/>
              <a:gd name="connsiteY66" fmla="*/ 53916 h 151686"/>
              <a:gd name="connsiteX67" fmla="*/ 73854 w 215543"/>
              <a:gd name="connsiteY67" fmla="*/ 51371 h 151686"/>
              <a:gd name="connsiteX68" fmla="*/ 54014 w 215543"/>
              <a:gd name="connsiteY68" fmla="*/ 36158 h 151686"/>
              <a:gd name="connsiteX69" fmla="*/ 32611 w 215543"/>
              <a:gd name="connsiteY69" fmla="*/ 43330 h 151686"/>
              <a:gd name="connsiteX70" fmla="*/ 32611 w 215543"/>
              <a:gd name="connsiteY70" fmla="*/ 43330 h 151686"/>
              <a:gd name="connsiteX71" fmla="*/ 14101 w 215543"/>
              <a:gd name="connsiteY71" fmla="*/ 29043 h 151686"/>
              <a:gd name="connsiteX72" fmla="*/ -13 w 215543"/>
              <a:gd name="connsiteY72" fmla="*/ 1740 h 151686"/>
              <a:gd name="connsiteX73" fmla="*/ 2648 w 215543"/>
              <a:gd name="connsiteY73" fmla="*/ -111 h 151686"/>
              <a:gd name="connsiteX74" fmla="*/ 39379 w 215543"/>
              <a:gd name="connsiteY74" fmla="*/ 31704 h 151686"/>
              <a:gd name="connsiteX75" fmla="*/ 35561 w 215543"/>
              <a:gd name="connsiteY75" fmla="*/ 42520 h 151686"/>
              <a:gd name="connsiteX76" fmla="*/ 32611 w 215543"/>
              <a:gd name="connsiteY76" fmla="*/ 43330 h 151686"/>
              <a:gd name="connsiteX77" fmla="*/ 2648 w 215543"/>
              <a:gd name="connsiteY77" fmla="*/ 2145 h 151686"/>
              <a:gd name="connsiteX78" fmla="*/ 2185 w 215543"/>
              <a:gd name="connsiteY78" fmla="*/ 2145 h 151686"/>
              <a:gd name="connsiteX79" fmla="*/ 15894 w 215543"/>
              <a:gd name="connsiteY79" fmla="*/ 27539 h 151686"/>
              <a:gd name="connsiteX80" fmla="*/ 32611 w 215543"/>
              <a:gd name="connsiteY80" fmla="*/ 41017 h 151686"/>
              <a:gd name="connsiteX81" fmla="*/ 32611 w 215543"/>
              <a:gd name="connsiteY81" fmla="*/ 41017 h 151686"/>
              <a:gd name="connsiteX82" fmla="*/ 34347 w 215543"/>
              <a:gd name="connsiteY82" fmla="*/ 40496 h 151686"/>
              <a:gd name="connsiteX83" fmla="*/ 37239 w 215543"/>
              <a:gd name="connsiteY83" fmla="*/ 32224 h 151686"/>
              <a:gd name="connsiteX84" fmla="*/ 2648 w 215543"/>
              <a:gd name="connsiteY84" fmla="*/ 2145 h 151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15543" h="151686">
                <a:moveTo>
                  <a:pt x="209152" y="151557"/>
                </a:moveTo>
                <a:lnTo>
                  <a:pt x="209152" y="151557"/>
                </a:lnTo>
                <a:cubicBezTo>
                  <a:pt x="200244" y="151557"/>
                  <a:pt x="188502" y="139988"/>
                  <a:pt x="187402" y="137501"/>
                </a:cubicBezTo>
                <a:cubicBezTo>
                  <a:pt x="187114" y="136940"/>
                  <a:pt x="187114" y="136269"/>
                  <a:pt x="187402" y="135708"/>
                </a:cubicBezTo>
                <a:cubicBezTo>
                  <a:pt x="188096" y="134933"/>
                  <a:pt x="189080" y="134545"/>
                  <a:pt x="190122" y="134667"/>
                </a:cubicBezTo>
                <a:cubicBezTo>
                  <a:pt x="195501" y="134667"/>
                  <a:pt x="213259" y="140798"/>
                  <a:pt x="215284" y="146236"/>
                </a:cubicBezTo>
                <a:cubicBezTo>
                  <a:pt x="215746" y="147687"/>
                  <a:pt x="215110" y="149249"/>
                  <a:pt x="213780" y="149995"/>
                </a:cubicBezTo>
                <a:cubicBezTo>
                  <a:pt x="212449" y="150978"/>
                  <a:pt x="210830" y="151522"/>
                  <a:pt x="209152" y="151557"/>
                </a:cubicBezTo>
                <a:close/>
                <a:moveTo>
                  <a:pt x="189658" y="136980"/>
                </a:moveTo>
                <a:cubicBezTo>
                  <a:pt x="191394" y="139872"/>
                  <a:pt x="201748" y="149301"/>
                  <a:pt x="209152" y="149301"/>
                </a:cubicBezTo>
                <a:lnTo>
                  <a:pt x="209152" y="149301"/>
                </a:lnTo>
                <a:cubicBezTo>
                  <a:pt x="210367" y="149324"/>
                  <a:pt x="211582" y="148977"/>
                  <a:pt x="212622" y="148318"/>
                </a:cubicBezTo>
                <a:cubicBezTo>
                  <a:pt x="213432" y="147739"/>
                  <a:pt x="213316" y="147334"/>
                  <a:pt x="213259" y="147103"/>
                </a:cubicBezTo>
                <a:cubicBezTo>
                  <a:pt x="211986" y="143170"/>
                  <a:pt x="195906" y="136922"/>
                  <a:pt x="190122" y="136922"/>
                </a:cubicBezTo>
                <a:close/>
                <a:moveTo>
                  <a:pt x="161315" y="127957"/>
                </a:moveTo>
                <a:lnTo>
                  <a:pt x="161315" y="127957"/>
                </a:lnTo>
                <a:cubicBezTo>
                  <a:pt x="152869" y="127957"/>
                  <a:pt x="139797" y="121362"/>
                  <a:pt x="137656" y="110603"/>
                </a:cubicBezTo>
                <a:cubicBezTo>
                  <a:pt x="137252" y="109336"/>
                  <a:pt x="137483" y="107960"/>
                  <a:pt x="138293" y="106901"/>
                </a:cubicBezTo>
                <a:cubicBezTo>
                  <a:pt x="139103" y="105981"/>
                  <a:pt x="140375" y="105507"/>
                  <a:pt x="141590" y="105629"/>
                </a:cubicBezTo>
                <a:cubicBezTo>
                  <a:pt x="149109" y="105629"/>
                  <a:pt x="166984" y="117198"/>
                  <a:pt x="168545" y="122982"/>
                </a:cubicBezTo>
                <a:cubicBezTo>
                  <a:pt x="169008" y="124307"/>
                  <a:pt x="168430" y="125770"/>
                  <a:pt x="167215" y="126453"/>
                </a:cubicBezTo>
                <a:cubicBezTo>
                  <a:pt x="165422" y="127471"/>
                  <a:pt x="163397" y="127991"/>
                  <a:pt x="161315" y="127957"/>
                </a:cubicBezTo>
                <a:close/>
                <a:moveTo>
                  <a:pt x="141590" y="107942"/>
                </a:moveTo>
                <a:cubicBezTo>
                  <a:pt x="141069" y="107942"/>
                  <a:pt x="140317" y="107942"/>
                  <a:pt x="140028" y="108405"/>
                </a:cubicBezTo>
                <a:cubicBezTo>
                  <a:pt x="139797" y="108978"/>
                  <a:pt x="139797" y="109626"/>
                  <a:pt x="140028" y="110198"/>
                </a:cubicBezTo>
                <a:cubicBezTo>
                  <a:pt x="141937" y="119627"/>
                  <a:pt x="154026" y="125643"/>
                  <a:pt x="161488" y="125643"/>
                </a:cubicBezTo>
                <a:lnTo>
                  <a:pt x="161488" y="125643"/>
                </a:lnTo>
                <a:cubicBezTo>
                  <a:pt x="163108" y="125707"/>
                  <a:pt x="164786" y="125348"/>
                  <a:pt x="166232" y="124601"/>
                </a:cubicBezTo>
                <a:cubicBezTo>
                  <a:pt x="166232" y="124601"/>
                  <a:pt x="166694" y="124254"/>
                  <a:pt x="166579" y="123676"/>
                </a:cubicBezTo>
                <a:cubicBezTo>
                  <a:pt x="165190" y="118644"/>
                  <a:pt x="148127" y="107942"/>
                  <a:pt x="141590" y="107942"/>
                </a:cubicBezTo>
                <a:close/>
                <a:moveTo>
                  <a:pt x="189138" y="121247"/>
                </a:moveTo>
                <a:cubicBezTo>
                  <a:pt x="188502" y="121247"/>
                  <a:pt x="188039" y="120767"/>
                  <a:pt x="187981" y="120148"/>
                </a:cubicBezTo>
                <a:cubicBezTo>
                  <a:pt x="187981" y="119824"/>
                  <a:pt x="188096" y="119505"/>
                  <a:pt x="188328" y="119280"/>
                </a:cubicBezTo>
                <a:cubicBezTo>
                  <a:pt x="186592" y="112246"/>
                  <a:pt x="183990" y="105467"/>
                  <a:pt x="180519" y="99092"/>
                </a:cubicBezTo>
                <a:cubicBezTo>
                  <a:pt x="174735" y="87870"/>
                  <a:pt x="170743" y="82838"/>
                  <a:pt x="168950" y="82838"/>
                </a:cubicBezTo>
                <a:cubicBezTo>
                  <a:pt x="168372" y="82838"/>
                  <a:pt x="167851" y="82346"/>
                  <a:pt x="167851" y="81739"/>
                </a:cubicBezTo>
                <a:cubicBezTo>
                  <a:pt x="167793" y="81132"/>
                  <a:pt x="168314" y="80617"/>
                  <a:pt x="168892" y="80582"/>
                </a:cubicBezTo>
                <a:cubicBezTo>
                  <a:pt x="168892" y="80582"/>
                  <a:pt x="168950" y="80582"/>
                  <a:pt x="168950" y="80582"/>
                </a:cubicBezTo>
                <a:cubicBezTo>
                  <a:pt x="172941" y="80582"/>
                  <a:pt x="178495" y="90126"/>
                  <a:pt x="182486" y="97935"/>
                </a:cubicBezTo>
                <a:cubicBezTo>
                  <a:pt x="186130" y="104651"/>
                  <a:pt x="188848" y="111835"/>
                  <a:pt x="190526" y="119280"/>
                </a:cubicBezTo>
                <a:cubicBezTo>
                  <a:pt x="190584" y="121189"/>
                  <a:pt x="189254" y="121247"/>
                  <a:pt x="189138" y="121247"/>
                </a:cubicBezTo>
                <a:close/>
                <a:moveTo>
                  <a:pt x="140722" y="86193"/>
                </a:moveTo>
                <a:lnTo>
                  <a:pt x="140722" y="86193"/>
                </a:lnTo>
                <a:cubicBezTo>
                  <a:pt x="131988" y="86193"/>
                  <a:pt x="113478" y="76186"/>
                  <a:pt x="106999" y="69187"/>
                </a:cubicBezTo>
                <a:cubicBezTo>
                  <a:pt x="105322" y="67746"/>
                  <a:pt x="104338" y="65629"/>
                  <a:pt x="104338" y="63402"/>
                </a:cubicBezTo>
                <a:cubicBezTo>
                  <a:pt x="104338" y="62650"/>
                  <a:pt x="104858" y="60799"/>
                  <a:pt x="107924" y="60799"/>
                </a:cubicBezTo>
                <a:cubicBezTo>
                  <a:pt x="116139" y="60799"/>
                  <a:pt x="143325" y="75376"/>
                  <a:pt x="145292" y="82086"/>
                </a:cubicBezTo>
                <a:cubicBezTo>
                  <a:pt x="145697" y="83208"/>
                  <a:pt x="145234" y="84440"/>
                  <a:pt x="144193" y="85036"/>
                </a:cubicBezTo>
                <a:cubicBezTo>
                  <a:pt x="143151" y="85765"/>
                  <a:pt x="141995" y="86164"/>
                  <a:pt x="140722" y="86193"/>
                </a:cubicBezTo>
                <a:close/>
                <a:moveTo>
                  <a:pt x="107924" y="63345"/>
                </a:moveTo>
                <a:cubicBezTo>
                  <a:pt x="106594" y="63345"/>
                  <a:pt x="106594" y="63749"/>
                  <a:pt x="106536" y="63865"/>
                </a:cubicBezTo>
                <a:cubicBezTo>
                  <a:pt x="106478" y="63981"/>
                  <a:pt x="106536" y="65543"/>
                  <a:pt x="108676" y="67683"/>
                </a:cubicBezTo>
                <a:cubicBezTo>
                  <a:pt x="115213" y="74798"/>
                  <a:pt x="133202" y="83879"/>
                  <a:pt x="140722" y="83879"/>
                </a:cubicBezTo>
                <a:lnTo>
                  <a:pt x="140722" y="83879"/>
                </a:lnTo>
                <a:cubicBezTo>
                  <a:pt x="141532" y="83943"/>
                  <a:pt x="142342" y="83781"/>
                  <a:pt x="143036" y="83416"/>
                </a:cubicBezTo>
                <a:cubicBezTo>
                  <a:pt x="143036" y="83416"/>
                  <a:pt x="143036" y="83416"/>
                  <a:pt x="143036" y="82954"/>
                </a:cubicBezTo>
                <a:cubicBezTo>
                  <a:pt x="141590" y="77690"/>
                  <a:pt x="115907" y="63345"/>
                  <a:pt x="107924" y="63345"/>
                </a:cubicBezTo>
                <a:close/>
                <a:moveTo>
                  <a:pt x="74548" y="56172"/>
                </a:moveTo>
                <a:cubicBezTo>
                  <a:pt x="69400" y="56172"/>
                  <a:pt x="58583" y="46222"/>
                  <a:pt x="54245" y="40901"/>
                </a:cubicBezTo>
                <a:cubicBezTo>
                  <a:pt x="51642" y="37662"/>
                  <a:pt x="51468" y="36447"/>
                  <a:pt x="51642" y="35695"/>
                </a:cubicBezTo>
                <a:cubicBezTo>
                  <a:pt x="51874" y="34584"/>
                  <a:pt x="52856" y="33821"/>
                  <a:pt x="54014" y="33902"/>
                </a:cubicBezTo>
                <a:cubicBezTo>
                  <a:pt x="59162" y="33902"/>
                  <a:pt x="75416" y="47032"/>
                  <a:pt x="77152" y="52643"/>
                </a:cubicBezTo>
                <a:cubicBezTo>
                  <a:pt x="77672" y="53696"/>
                  <a:pt x="77325" y="54957"/>
                  <a:pt x="76400" y="55651"/>
                </a:cubicBezTo>
                <a:cubicBezTo>
                  <a:pt x="75879" y="56102"/>
                  <a:pt x="75242" y="56369"/>
                  <a:pt x="74548" y="56403"/>
                </a:cubicBezTo>
                <a:close/>
                <a:moveTo>
                  <a:pt x="54014" y="36158"/>
                </a:moveTo>
                <a:cubicBezTo>
                  <a:pt x="54014" y="38992"/>
                  <a:pt x="69400" y="53916"/>
                  <a:pt x="74548" y="53916"/>
                </a:cubicBezTo>
                <a:lnTo>
                  <a:pt x="75069" y="53916"/>
                </a:lnTo>
                <a:cubicBezTo>
                  <a:pt x="75069" y="53916"/>
                  <a:pt x="75069" y="53222"/>
                  <a:pt x="73854" y="51371"/>
                </a:cubicBezTo>
                <a:cubicBezTo>
                  <a:pt x="69516" y="45297"/>
                  <a:pt x="57484" y="36158"/>
                  <a:pt x="54014" y="36158"/>
                </a:cubicBezTo>
                <a:close/>
                <a:moveTo>
                  <a:pt x="32611" y="43330"/>
                </a:moveTo>
                <a:lnTo>
                  <a:pt x="32611" y="43330"/>
                </a:lnTo>
                <a:cubicBezTo>
                  <a:pt x="26422" y="43330"/>
                  <a:pt x="18382" y="34422"/>
                  <a:pt x="14101" y="29043"/>
                </a:cubicBezTo>
                <a:cubicBezTo>
                  <a:pt x="6523" y="19498"/>
                  <a:pt x="-1054" y="6368"/>
                  <a:pt x="-13" y="1740"/>
                </a:cubicBezTo>
                <a:cubicBezTo>
                  <a:pt x="276" y="537"/>
                  <a:pt x="1433" y="-261"/>
                  <a:pt x="2648" y="-111"/>
                </a:cubicBezTo>
                <a:cubicBezTo>
                  <a:pt x="9821" y="-111"/>
                  <a:pt x="35503" y="18284"/>
                  <a:pt x="39379" y="31704"/>
                </a:cubicBezTo>
                <a:cubicBezTo>
                  <a:pt x="40941" y="35759"/>
                  <a:pt x="39321" y="40357"/>
                  <a:pt x="35561" y="42520"/>
                </a:cubicBezTo>
                <a:cubicBezTo>
                  <a:pt x="34693" y="43082"/>
                  <a:pt x="33653" y="43365"/>
                  <a:pt x="32611" y="43330"/>
                </a:cubicBezTo>
                <a:close/>
                <a:moveTo>
                  <a:pt x="2648" y="2145"/>
                </a:moveTo>
                <a:cubicBezTo>
                  <a:pt x="2474" y="2093"/>
                  <a:pt x="2359" y="2093"/>
                  <a:pt x="2185" y="2145"/>
                </a:cubicBezTo>
                <a:cubicBezTo>
                  <a:pt x="1491" y="5153"/>
                  <a:pt x="7217" y="16664"/>
                  <a:pt x="15894" y="27539"/>
                </a:cubicBezTo>
                <a:cubicBezTo>
                  <a:pt x="22604" y="35984"/>
                  <a:pt x="28852" y="41017"/>
                  <a:pt x="32611" y="41017"/>
                </a:cubicBezTo>
                <a:lnTo>
                  <a:pt x="32611" y="41017"/>
                </a:lnTo>
                <a:cubicBezTo>
                  <a:pt x="33247" y="41028"/>
                  <a:pt x="33826" y="40849"/>
                  <a:pt x="34347" y="40496"/>
                </a:cubicBezTo>
                <a:cubicBezTo>
                  <a:pt x="37297" y="38871"/>
                  <a:pt x="38511" y="35313"/>
                  <a:pt x="37239" y="32224"/>
                </a:cubicBezTo>
                <a:cubicBezTo>
                  <a:pt x="33653" y="20135"/>
                  <a:pt x="9011" y="2145"/>
                  <a:pt x="2648" y="214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3" name="Forma libre: forma 422">
            <a:extLst>
              <a:ext uri="{FF2B5EF4-FFF2-40B4-BE49-F238E27FC236}">
                <a16:creationId xmlns:a16="http://schemas.microsoft.com/office/drawing/2014/main" id="{D1DD4F45-6830-A257-A04C-6D47A38F9085}"/>
              </a:ext>
            </a:extLst>
          </p:cNvPr>
          <p:cNvSpPr/>
          <p:nvPr/>
        </p:nvSpPr>
        <p:spPr>
          <a:xfrm>
            <a:off x="10387643" y="4639692"/>
            <a:ext cx="215543" cy="151686"/>
          </a:xfrm>
          <a:custGeom>
            <a:avLst/>
            <a:gdLst>
              <a:gd name="connsiteX0" fmla="*/ 209152 w 215543"/>
              <a:gd name="connsiteY0" fmla="*/ 151557 h 151686"/>
              <a:gd name="connsiteX1" fmla="*/ 209152 w 215543"/>
              <a:gd name="connsiteY1" fmla="*/ 151557 h 151686"/>
              <a:gd name="connsiteX2" fmla="*/ 187402 w 215543"/>
              <a:gd name="connsiteY2" fmla="*/ 137501 h 151686"/>
              <a:gd name="connsiteX3" fmla="*/ 187402 w 215543"/>
              <a:gd name="connsiteY3" fmla="*/ 135708 h 151686"/>
              <a:gd name="connsiteX4" fmla="*/ 190122 w 215543"/>
              <a:gd name="connsiteY4" fmla="*/ 134667 h 151686"/>
              <a:gd name="connsiteX5" fmla="*/ 215284 w 215543"/>
              <a:gd name="connsiteY5" fmla="*/ 146236 h 151686"/>
              <a:gd name="connsiteX6" fmla="*/ 213780 w 215543"/>
              <a:gd name="connsiteY6" fmla="*/ 149995 h 151686"/>
              <a:gd name="connsiteX7" fmla="*/ 209152 w 215543"/>
              <a:gd name="connsiteY7" fmla="*/ 151557 h 151686"/>
              <a:gd name="connsiteX8" fmla="*/ 189658 w 215543"/>
              <a:gd name="connsiteY8" fmla="*/ 136980 h 151686"/>
              <a:gd name="connsiteX9" fmla="*/ 209152 w 215543"/>
              <a:gd name="connsiteY9" fmla="*/ 149301 h 151686"/>
              <a:gd name="connsiteX10" fmla="*/ 209152 w 215543"/>
              <a:gd name="connsiteY10" fmla="*/ 149301 h 151686"/>
              <a:gd name="connsiteX11" fmla="*/ 212622 w 215543"/>
              <a:gd name="connsiteY11" fmla="*/ 148318 h 151686"/>
              <a:gd name="connsiteX12" fmla="*/ 213259 w 215543"/>
              <a:gd name="connsiteY12" fmla="*/ 147103 h 151686"/>
              <a:gd name="connsiteX13" fmla="*/ 190122 w 215543"/>
              <a:gd name="connsiteY13" fmla="*/ 136922 h 151686"/>
              <a:gd name="connsiteX14" fmla="*/ 161315 w 215543"/>
              <a:gd name="connsiteY14" fmla="*/ 127957 h 151686"/>
              <a:gd name="connsiteX15" fmla="*/ 161315 w 215543"/>
              <a:gd name="connsiteY15" fmla="*/ 127957 h 151686"/>
              <a:gd name="connsiteX16" fmla="*/ 137656 w 215543"/>
              <a:gd name="connsiteY16" fmla="*/ 110603 h 151686"/>
              <a:gd name="connsiteX17" fmla="*/ 138293 w 215543"/>
              <a:gd name="connsiteY17" fmla="*/ 106901 h 151686"/>
              <a:gd name="connsiteX18" fmla="*/ 141590 w 215543"/>
              <a:gd name="connsiteY18" fmla="*/ 105629 h 151686"/>
              <a:gd name="connsiteX19" fmla="*/ 168545 w 215543"/>
              <a:gd name="connsiteY19" fmla="*/ 122982 h 151686"/>
              <a:gd name="connsiteX20" fmla="*/ 167215 w 215543"/>
              <a:gd name="connsiteY20" fmla="*/ 126453 h 151686"/>
              <a:gd name="connsiteX21" fmla="*/ 161315 w 215543"/>
              <a:gd name="connsiteY21" fmla="*/ 127957 h 151686"/>
              <a:gd name="connsiteX22" fmla="*/ 141590 w 215543"/>
              <a:gd name="connsiteY22" fmla="*/ 107942 h 151686"/>
              <a:gd name="connsiteX23" fmla="*/ 140028 w 215543"/>
              <a:gd name="connsiteY23" fmla="*/ 108405 h 151686"/>
              <a:gd name="connsiteX24" fmla="*/ 140028 w 215543"/>
              <a:gd name="connsiteY24" fmla="*/ 110198 h 151686"/>
              <a:gd name="connsiteX25" fmla="*/ 161488 w 215543"/>
              <a:gd name="connsiteY25" fmla="*/ 125643 h 151686"/>
              <a:gd name="connsiteX26" fmla="*/ 161488 w 215543"/>
              <a:gd name="connsiteY26" fmla="*/ 125643 h 151686"/>
              <a:gd name="connsiteX27" fmla="*/ 166232 w 215543"/>
              <a:gd name="connsiteY27" fmla="*/ 124601 h 151686"/>
              <a:gd name="connsiteX28" fmla="*/ 166579 w 215543"/>
              <a:gd name="connsiteY28" fmla="*/ 123676 h 151686"/>
              <a:gd name="connsiteX29" fmla="*/ 141590 w 215543"/>
              <a:gd name="connsiteY29" fmla="*/ 107942 h 151686"/>
              <a:gd name="connsiteX30" fmla="*/ 189138 w 215543"/>
              <a:gd name="connsiteY30" fmla="*/ 121247 h 151686"/>
              <a:gd name="connsiteX31" fmla="*/ 187981 w 215543"/>
              <a:gd name="connsiteY31" fmla="*/ 120148 h 151686"/>
              <a:gd name="connsiteX32" fmla="*/ 188328 w 215543"/>
              <a:gd name="connsiteY32" fmla="*/ 119280 h 151686"/>
              <a:gd name="connsiteX33" fmla="*/ 180519 w 215543"/>
              <a:gd name="connsiteY33" fmla="*/ 99092 h 151686"/>
              <a:gd name="connsiteX34" fmla="*/ 168950 w 215543"/>
              <a:gd name="connsiteY34" fmla="*/ 82838 h 151686"/>
              <a:gd name="connsiteX35" fmla="*/ 167851 w 215543"/>
              <a:gd name="connsiteY35" fmla="*/ 81739 h 151686"/>
              <a:gd name="connsiteX36" fmla="*/ 168892 w 215543"/>
              <a:gd name="connsiteY36" fmla="*/ 80582 h 151686"/>
              <a:gd name="connsiteX37" fmla="*/ 168950 w 215543"/>
              <a:gd name="connsiteY37" fmla="*/ 80582 h 151686"/>
              <a:gd name="connsiteX38" fmla="*/ 182486 w 215543"/>
              <a:gd name="connsiteY38" fmla="*/ 97935 h 151686"/>
              <a:gd name="connsiteX39" fmla="*/ 190526 w 215543"/>
              <a:gd name="connsiteY39" fmla="*/ 119280 h 151686"/>
              <a:gd name="connsiteX40" fmla="*/ 189138 w 215543"/>
              <a:gd name="connsiteY40" fmla="*/ 121247 h 151686"/>
              <a:gd name="connsiteX41" fmla="*/ 140722 w 215543"/>
              <a:gd name="connsiteY41" fmla="*/ 86193 h 151686"/>
              <a:gd name="connsiteX42" fmla="*/ 140722 w 215543"/>
              <a:gd name="connsiteY42" fmla="*/ 86193 h 151686"/>
              <a:gd name="connsiteX43" fmla="*/ 106999 w 215543"/>
              <a:gd name="connsiteY43" fmla="*/ 69187 h 151686"/>
              <a:gd name="connsiteX44" fmla="*/ 104338 w 215543"/>
              <a:gd name="connsiteY44" fmla="*/ 63402 h 151686"/>
              <a:gd name="connsiteX45" fmla="*/ 107924 w 215543"/>
              <a:gd name="connsiteY45" fmla="*/ 60799 h 151686"/>
              <a:gd name="connsiteX46" fmla="*/ 145292 w 215543"/>
              <a:gd name="connsiteY46" fmla="*/ 82086 h 151686"/>
              <a:gd name="connsiteX47" fmla="*/ 144193 w 215543"/>
              <a:gd name="connsiteY47" fmla="*/ 85036 h 151686"/>
              <a:gd name="connsiteX48" fmla="*/ 140722 w 215543"/>
              <a:gd name="connsiteY48" fmla="*/ 86193 h 151686"/>
              <a:gd name="connsiteX49" fmla="*/ 107924 w 215543"/>
              <a:gd name="connsiteY49" fmla="*/ 63345 h 151686"/>
              <a:gd name="connsiteX50" fmla="*/ 106536 w 215543"/>
              <a:gd name="connsiteY50" fmla="*/ 63865 h 151686"/>
              <a:gd name="connsiteX51" fmla="*/ 108676 w 215543"/>
              <a:gd name="connsiteY51" fmla="*/ 67683 h 151686"/>
              <a:gd name="connsiteX52" fmla="*/ 140722 w 215543"/>
              <a:gd name="connsiteY52" fmla="*/ 83879 h 151686"/>
              <a:gd name="connsiteX53" fmla="*/ 140722 w 215543"/>
              <a:gd name="connsiteY53" fmla="*/ 83879 h 151686"/>
              <a:gd name="connsiteX54" fmla="*/ 143036 w 215543"/>
              <a:gd name="connsiteY54" fmla="*/ 83416 h 151686"/>
              <a:gd name="connsiteX55" fmla="*/ 143036 w 215543"/>
              <a:gd name="connsiteY55" fmla="*/ 82954 h 151686"/>
              <a:gd name="connsiteX56" fmla="*/ 107924 w 215543"/>
              <a:gd name="connsiteY56" fmla="*/ 63345 h 151686"/>
              <a:gd name="connsiteX57" fmla="*/ 74548 w 215543"/>
              <a:gd name="connsiteY57" fmla="*/ 56172 h 151686"/>
              <a:gd name="connsiteX58" fmla="*/ 54245 w 215543"/>
              <a:gd name="connsiteY58" fmla="*/ 40901 h 151686"/>
              <a:gd name="connsiteX59" fmla="*/ 51642 w 215543"/>
              <a:gd name="connsiteY59" fmla="*/ 35695 h 151686"/>
              <a:gd name="connsiteX60" fmla="*/ 54014 w 215543"/>
              <a:gd name="connsiteY60" fmla="*/ 33902 h 151686"/>
              <a:gd name="connsiteX61" fmla="*/ 77152 w 215543"/>
              <a:gd name="connsiteY61" fmla="*/ 52643 h 151686"/>
              <a:gd name="connsiteX62" fmla="*/ 76400 w 215543"/>
              <a:gd name="connsiteY62" fmla="*/ 55651 h 151686"/>
              <a:gd name="connsiteX63" fmla="*/ 74548 w 215543"/>
              <a:gd name="connsiteY63" fmla="*/ 56403 h 151686"/>
              <a:gd name="connsiteX64" fmla="*/ 54014 w 215543"/>
              <a:gd name="connsiteY64" fmla="*/ 36158 h 151686"/>
              <a:gd name="connsiteX65" fmla="*/ 74548 w 215543"/>
              <a:gd name="connsiteY65" fmla="*/ 53916 h 151686"/>
              <a:gd name="connsiteX66" fmla="*/ 75069 w 215543"/>
              <a:gd name="connsiteY66" fmla="*/ 53916 h 151686"/>
              <a:gd name="connsiteX67" fmla="*/ 73854 w 215543"/>
              <a:gd name="connsiteY67" fmla="*/ 51371 h 151686"/>
              <a:gd name="connsiteX68" fmla="*/ 54014 w 215543"/>
              <a:gd name="connsiteY68" fmla="*/ 36158 h 151686"/>
              <a:gd name="connsiteX69" fmla="*/ 32611 w 215543"/>
              <a:gd name="connsiteY69" fmla="*/ 43330 h 151686"/>
              <a:gd name="connsiteX70" fmla="*/ 32611 w 215543"/>
              <a:gd name="connsiteY70" fmla="*/ 43330 h 151686"/>
              <a:gd name="connsiteX71" fmla="*/ 14101 w 215543"/>
              <a:gd name="connsiteY71" fmla="*/ 29043 h 151686"/>
              <a:gd name="connsiteX72" fmla="*/ -13 w 215543"/>
              <a:gd name="connsiteY72" fmla="*/ 1740 h 151686"/>
              <a:gd name="connsiteX73" fmla="*/ 2648 w 215543"/>
              <a:gd name="connsiteY73" fmla="*/ -111 h 151686"/>
              <a:gd name="connsiteX74" fmla="*/ 39379 w 215543"/>
              <a:gd name="connsiteY74" fmla="*/ 31704 h 151686"/>
              <a:gd name="connsiteX75" fmla="*/ 35561 w 215543"/>
              <a:gd name="connsiteY75" fmla="*/ 42520 h 151686"/>
              <a:gd name="connsiteX76" fmla="*/ 32611 w 215543"/>
              <a:gd name="connsiteY76" fmla="*/ 43330 h 151686"/>
              <a:gd name="connsiteX77" fmla="*/ 2648 w 215543"/>
              <a:gd name="connsiteY77" fmla="*/ 2145 h 151686"/>
              <a:gd name="connsiteX78" fmla="*/ 2185 w 215543"/>
              <a:gd name="connsiteY78" fmla="*/ 2145 h 151686"/>
              <a:gd name="connsiteX79" fmla="*/ 15894 w 215543"/>
              <a:gd name="connsiteY79" fmla="*/ 27539 h 151686"/>
              <a:gd name="connsiteX80" fmla="*/ 32611 w 215543"/>
              <a:gd name="connsiteY80" fmla="*/ 41017 h 151686"/>
              <a:gd name="connsiteX81" fmla="*/ 32611 w 215543"/>
              <a:gd name="connsiteY81" fmla="*/ 41017 h 151686"/>
              <a:gd name="connsiteX82" fmla="*/ 34347 w 215543"/>
              <a:gd name="connsiteY82" fmla="*/ 40496 h 151686"/>
              <a:gd name="connsiteX83" fmla="*/ 37239 w 215543"/>
              <a:gd name="connsiteY83" fmla="*/ 32224 h 151686"/>
              <a:gd name="connsiteX84" fmla="*/ 2648 w 215543"/>
              <a:gd name="connsiteY84" fmla="*/ 2145 h 151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15543" h="151686">
                <a:moveTo>
                  <a:pt x="209152" y="151557"/>
                </a:moveTo>
                <a:lnTo>
                  <a:pt x="209152" y="151557"/>
                </a:lnTo>
                <a:cubicBezTo>
                  <a:pt x="200244" y="151557"/>
                  <a:pt x="188502" y="139988"/>
                  <a:pt x="187402" y="137501"/>
                </a:cubicBezTo>
                <a:cubicBezTo>
                  <a:pt x="187114" y="136940"/>
                  <a:pt x="187114" y="136269"/>
                  <a:pt x="187402" y="135708"/>
                </a:cubicBezTo>
                <a:cubicBezTo>
                  <a:pt x="188096" y="134933"/>
                  <a:pt x="189080" y="134545"/>
                  <a:pt x="190122" y="134667"/>
                </a:cubicBezTo>
                <a:cubicBezTo>
                  <a:pt x="195501" y="134667"/>
                  <a:pt x="213259" y="140798"/>
                  <a:pt x="215284" y="146236"/>
                </a:cubicBezTo>
                <a:cubicBezTo>
                  <a:pt x="215746" y="147687"/>
                  <a:pt x="215110" y="149249"/>
                  <a:pt x="213780" y="149995"/>
                </a:cubicBezTo>
                <a:cubicBezTo>
                  <a:pt x="212449" y="150978"/>
                  <a:pt x="210830" y="151522"/>
                  <a:pt x="209152" y="151557"/>
                </a:cubicBezTo>
                <a:close/>
                <a:moveTo>
                  <a:pt x="189658" y="136980"/>
                </a:moveTo>
                <a:cubicBezTo>
                  <a:pt x="191394" y="139872"/>
                  <a:pt x="201748" y="149301"/>
                  <a:pt x="209152" y="149301"/>
                </a:cubicBezTo>
                <a:lnTo>
                  <a:pt x="209152" y="149301"/>
                </a:lnTo>
                <a:cubicBezTo>
                  <a:pt x="210367" y="149324"/>
                  <a:pt x="211582" y="148977"/>
                  <a:pt x="212622" y="148318"/>
                </a:cubicBezTo>
                <a:cubicBezTo>
                  <a:pt x="213432" y="147739"/>
                  <a:pt x="213316" y="147334"/>
                  <a:pt x="213259" y="147103"/>
                </a:cubicBezTo>
                <a:cubicBezTo>
                  <a:pt x="211986" y="143170"/>
                  <a:pt x="195906" y="136922"/>
                  <a:pt x="190122" y="136922"/>
                </a:cubicBezTo>
                <a:close/>
                <a:moveTo>
                  <a:pt x="161315" y="127957"/>
                </a:moveTo>
                <a:lnTo>
                  <a:pt x="161315" y="127957"/>
                </a:lnTo>
                <a:cubicBezTo>
                  <a:pt x="152869" y="127957"/>
                  <a:pt x="139797" y="121362"/>
                  <a:pt x="137656" y="110603"/>
                </a:cubicBezTo>
                <a:cubicBezTo>
                  <a:pt x="137252" y="109336"/>
                  <a:pt x="137483" y="107960"/>
                  <a:pt x="138293" y="106901"/>
                </a:cubicBezTo>
                <a:cubicBezTo>
                  <a:pt x="139103" y="105981"/>
                  <a:pt x="140375" y="105507"/>
                  <a:pt x="141590" y="105629"/>
                </a:cubicBezTo>
                <a:cubicBezTo>
                  <a:pt x="149109" y="105629"/>
                  <a:pt x="166984" y="117198"/>
                  <a:pt x="168545" y="122982"/>
                </a:cubicBezTo>
                <a:cubicBezTo>
                  <a:pt x="169008" y="124307"/>
                  <a:pt x="168430" y="125770"/>
                  <a:pt x="167215" y="126453"/>
                </a:cubicBezTo>
                <a:cubicBezTo>
                  <a:pt x="165422" y="127471"/>
                  <a:pt x="163397" y="127991"/>
                  <a:pt x="161315" y="127957"/>
                </a:cubicBezTo>
                <a:close/>
                <a:moveTo>
                  <a:pt x="141590" y="107942"/>
                </a:moveTo>
                <a:cubicBezTo>
                  <a:pt x="141069" y="107942"/>
                  <a:pt x="140317" y="107942"/>
                  <a:pt x="140028" y="108405"/>
                </a:cubicBezTo>
                <a:cubicBezTo>
                  <a:pt x="139797" y="108978"/>
                  <a:pt x="139797" y="109626"/>
                  <a:pt x="140028" y="110198"/>
                </a:cubicBezTo>
                <a:cubicBezTo>
                  <a:pt x="141937" y="119627"/>
                  <a:pt x="154026" y="125643"/>
                  <a:pt x="161488" y="125643"/>
                </a:cubicBezTo>
                <a:lnTo>
                  <a:pt x="161488" y="125643"/>
                </a:lnTo>
                <a:cubicBezTo>
                  <a:pt x="163108" y="125707"/>
                  <a:pt x="164786" y="125348"/>
                  <a:pt x="166232" y="124601"/>
                </a:cubicBezTo>
                <a:cubicBezTo>
                  <a:pt x="166232" y="124601"/>
                  <a:pt x="166694" y="124254"/>
                  <a:pt x="166579" y="123676"/>
                </a:cubicBezTo>
                <a:cubicBezTo>
                  <a:pt x="165190" y="118644"/>
                  <a:pt x="148127" y="107942"/>
                  <a:pt x="141590" y="107942"/>
                </a:cubicBezTo>
                <a:close/>
                <a:moveTo>
                  <a:pt x="189138" y="121247"/>
                </a:moveTo>
                <a:cubicBezTo>
                  <a:pt x="188502" y="121247"/>
                  <a:pt x="188039" y="120767"/>
                  <a:pt x="187981" y="120148"/>
                </a:cubicBezTo>
                <a:cubicBezTo>
                  <a:pt x="187981" y="119824"/>
                  <a:pt x="188096" y="119505"/>
                  <a:pt x="188328" y="119280"/>
                </a:cubicBezTo>
                <a:cubicBezTo>
                  <a:pt x="186592" y="112246"/>
                  <a:pt x="183990" y="105467"/>
                  <a:pt x="180519" y="99092"/>
                </a:cubicBezTo>
                <a:cubicBezTo>
                  <a:pt x="174735" y="87870"/>
                  <a:pt x="170743" y="82838"/>
                  <a:pt x="168950" y="82838"/>
                </a:cubicBezTo>
                <a:cubicBezTo>
                  <a:pt x="168372" y="82838"/>
                  <a:pt x="167851" y="82346"/>
                  <a:pt x="167851" y="81739"/>
                </a:cubicBezTo>
                <a:cubicBezTo>
                  <a:pt x="167793" y="81132"/>
                  <a:pt x="168314" y="80617"/>
                  <a:pt x="168892" y="80582"/>
                </a:cubicBezTo>
                <a:cubicBezTo>
                  <a:pt x="168892" y="80582"/>
                  <a:pt x="168950" y="80582"/>
                  <a:pt x="168950" y="80582"/>
                </a:cubicBezTo>
                <a:cubicBezTo>
                  <a:pt x="172941" y="80582"/>
                  <a:pt x="178495" y="90126"/>
                  <a:pt x="182486" y="97935"/>
                </a:cubicBezTo>
                <a:cubicBezTo>
                  <a:pt x="186130" y="104651"/>
                  <a:pt x="188848" y="111835"/>
                  <a:pt x="190526" y="119280"/>
                </a:cubicBezTo>
                <a:cubicBezTo>
                  <a:pt x="190584" y="121189"/>
                  <a:pt x="189254" y="121247"/>
                  <a:pt x="189138" y="121247"/>
                </a:cubicBezTo>
                <a:close/>
                <a:moveTo>
                  <a:pt x="140722" y="86193"/>
                </a:moveTo>
                <a:lnTo>
                  <a:pt x="140722" y="86193"/>
                </a:lnTo>
                <a:cubicBezTo>
                  <a:pt x="131988" y="86193"/>
                  <a:pt x="113478" y="76186"/>
                  <a:pt x="106999" y="69187"/>
                </a:cubicBezTo>
                <a:cubicBezTo>
                  <a:pt x="105322" y="67746"/>
                  <a:pt x="104338" y="65629"/>
                  <a:pt x="104338" y="63402"/>
                </a:cubicBezTo>
                <a:cubicBezTo>
                  <a:pt x="104338" y="62650"/>
                  <a:pt x="104858" y="60799"/>
                  <a:pt x="107924" y="60799"/>
                </a:cubicBezTo>
                <a:cubicBezTo>
                  <a:pt x="116139" y="60799"/>
                  <a:pt x="143325" y="75376"/>
                  <a:pt x="145292" y="82086"/>
                </a:cubicBezTo>
                <a:cubicBezTo>
                  <a:pt x="145697" y="83208"/>
                  <a:pt x="145234" y="84440"/>
                  <a:pt x="144193" y="85036"/>
                </a:cubicBezTo>
                <a:cubicBezTo>
                  <a:pt x="143151" y="85765"/>
                  <a:pt x="141995" y="86164"/>
                  <a:pt x="140722" y="86193"/>
                </a:cubicBezTo>
                <a:close/>
                <a:moveTo>
                  <a:pt x="107924" y="63345"/>
                </a:moveTo>
                <a:cubicBezTo>
                  <a:pt x="106594" y="63345"/>
                  <a:pt x="106594" y="63749"/>
                  <a:pt x="106536" y="63865"/>
                </a:cubicBezTo>
                <a:cubicBezTo>
                  <a:pt x="106478" y="63981"/>
                  <a:pt x="106536" y="65543"/>
                  <a:pt x="108676" y="67683"/>
                </a:cubicBezTo>
                <a:cubicBezTo>
                  <a:pt x="115213" y="74798"/>
                  <a:pt x="133202" y="83879"/>
                  <a:pt x="140722" y="83879"/>
                </a:cubicBezTo>
                <a:lnTo>
                  <a:pt x="140722" y="83879"/>
                </a:lnTo>
                <a:cubicBezTo>
                  <a:pt x="141532" y="83943"/>
                  <a:pt x="142342" y="83781"/>
                  <a:pt x="143036" y="83416"/>
                </a:cubicBezTo>
                <a:cubicBezTo>
                  <a:pt x="143036" y="83416"/>
                  <a:pt x="143036" y="83416"/>
                  <a:pt x="143036" y="82954"/>
                </a:cubicBezTo>
                <a:cubicBezTo>
                  <a:pt x="141590" y="77690"/>
                  <a:pt x="115907" y="63345"/>
                  <a:pt x="107924" y="63345"/>
                </a:cubicBezTo>
                <a:close/>
                <a:moveTo>
                  <a:pt x="74548" y="56172"/>
                </a:moveTo>
                <a:cubicBezTo>
                  <a:pt x="69400" y="56172"/>
                  <a:pt x="58583" y="46222"/>
                  <a:pt x="54245" y="40901"/>
                </a:cubicBezTo>
                <a:cubicBezTo>
                  <a:pt x="51642" y="37662"/>
                  <a:pt x="51468" y="36447"/>
                  <a:pt x="51642" y="35695"/>
                </a:cubicBezTo>
                <a:cubicBezTo>
                  <a:pt x="51874" y="34584"/>
                  <a:pt x="52856" y="33821"/>
                  <a:pt x="54014" y="33902"/>
                </a:cubicBezTo>
                <a:cubicBezTo>
                  <a:pt x="59162" y="33902"/>
                  <a:pt x="75416" y="47032"/>
                  <a:pt x="77152" y="52643"/>
                </a:cubicBezTo>
                <a:cubicBezTo>
                  <a:pt x="77672" y="53696"/>
                  <a:pt x="77325" y="54957"/>
                  <a:pt x="76400" y="55651"/>
                </a:cubicBezTo>
                <a:cubicBezTo>
                  <a:pt x="75879" y="56102"/>
                  <a:pt x="75242" y="56369"/>
                  <a:pt x="74548" y="56403"/>
                </a:cubicBezTo>
                <a:close/>
                <a:moveTo>
                  <a:pt x="54014" y="36158"/>
                </a:moveTo>
                <a:cubicBezTo>
                  <a:pt x="54014" y="38992"/>
                  <a:pt x="69400" y="53916"/>
                  <a:pt x="74548" y="53916"/>
                </a:cubicBezTo>
                <a:lnTo>
                  <a:pt x="75069" y="53916"/>
                </a:lnTo>
                <a:cubicBezTo>
                  <a:pt x="75069" y="53916"/>
                  <a:pt x="75069" y="53222"/>
                  <a:pt x="73854" y="51371"/>
                </a:cubicBezTo>
                <a:cubicBezTo>
                  <a:pt x="69516" y="45297"/>
                  <a:pt x="57484" y="36158"/>
                  <a:pt x="54014" y="36158"/>
                </a:cubicBezTo>
                <a:close/>
                <a:moveTo>
                  <a:pt x="32611" y="43330"/>
                </a:moveTo>
                <a:lnTo>
                  <a:pt x="32611" y="43330"/>
                </a:lnTo>
                <a:cubicBezTo>
                  <a:pt x="26422" y="43330"/>
                  <a:pt x="18382" y="34422"/>
                  <a:pt x="14101" y="29043"/>
                </a:cubicBezTo>
                <a:cubicBezTo>
                  <a:pt x="6523" y="19498"/>
                  <a:pt x="-1054" y="6368"/>
                  <a:pt x="-13" y="1740"/>
                </a:cubicBezTo>
                <a:cubicBezTo>
                  <a:pt x="276" y="537"/>
                  <a:pt x="1433" y="-261"/>
                  <a:pt x="2648" y="-111"/>
                </a:cubicBezTo>
                <a:cubicBezTo>
                  <a:pt x="9821" y="-111"/>
                  <a:pt x="35503" y="18284"/>
                  <a:pt x="39379" y="31704"/>
                </a:cubicBezTo>
                <a:cubicBezTo>
                  <a:pt x="40941" y="35759"/>
                  <a:pt x="39321" y="40357"/>
                  <a:pt x="35561" y="42520"/>
                </a:cubicBezTo>
                <a:cubicBezTo>
                  <a:pt x="34693" y="43082"/>
                  <a:pt x="33653" y="43365"/>
                  <a:pt x="32611" y="43330"/>
                </a:cubicBezTo>
                <a:close/>
                <a:moveTo>
                  <a:pt x="2648" y="2145"/>
                </a:moveTo>
                <a:cubicBezTo>
                  <a:pt x="2474" y="2093"/>
                  <a:pt x="2359" y="2093"/>
                  <a:pt x="2185" y="2145"/>
                </a:cubicBezTo>
                <a:cubicBezTo>
                  <a:pt x="1491" y="5153"/>
                  <a:pt x="7217" y="16664"/>
                  <a:pt x="15894" y="27539"/>
                </a:cubicBezTo>
                <a:cubicBezTo>
                  <a:pt x="22604" y="35984"/>
                  <a:pt x="28852" y="41017"/>
                  <a:pt x="32611" y="41017"/>
                </a:cubicBezTo>
                <a:lnTo>
                  <a:pt x="32611" y="41017"/>
                </a:lnTo>
                <a:cubicBezTo>
                  <a:pt x="33247" y="41028"/>
                  <a:pt x="33826" y="40849"/>
                  <a:pt x="34347" y="40496"/>
                </a:cubicBezTo>
                <a:cubicBezTo>
                  <a:pt x="37297" y="38871"/>
                  <a:pt x="38511" y="35313"/>
                  <a:pt x="37239" y="32224"/>
                </a:cubicBezTo>
                <a:cubicBezTo>
                  <a:pt x="33653" y="20135"/>
                  <a:pt x="9011" y="2145"/>
                  <a:pt x="2648" y="214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4" name="Forma libre: forma 423">
            <a:extLst>
              <a:ext uri="{FF2B5EF4-FFF2-40B4-BE49-F238E27FC236}">
                <a16:creationId xmlns:a16="http://schemas.microsoft.com/office/drawing/2014/main" id="{5BA5D099-548A-C690-2235-103FD766257F}"/>
              </a:ext>
            </a:extLst>
          </p:cNvPr>
          <p:cNvSpPr/>
          <p:nvPr/>
        </p:nvSpPr>
        <p:spPr>
          <a:xfrm>
            <a:off x="9238030" y="4784088"/>
            <a:ext cx="1118906" cy="993885"/>
          </a:xfrm>
          <a:custGeom>
            <a:avLst/>
            <a:gdLst>
              <a:gd name="connsiteX0" fmla="*/ 922099 w 1118906"/>
              <a:gd name="connsiteY0" fmla="*/ 993696 h 993885"/>
              <a:gd name="connsiteX1" fmla="*/ 919843 w 1118906"/>
              <a:gd name="connsiteY1" fmla="*/ 993696 h 993885"/>
              <a:gd name="connsiteX2" fmla="*/ 882418 w 1118906"/>
              <a:gd name="connsiteY2" fmla="*/ 959972 h 993885"/>
              <a:gd name="connsiteX3" fmla="*/ 882822 w 1118906"/>
              <a:gd name="connsiteY3" fmla="*/ 949560 h 993885"/>
              <a:gd name="connsiteX4" fmla="*/ 874840 w 1118906"/>
              <a:gd name="connsiteY4" fmla="*/ 914854 h 993885"/>
              <a:gd name="connsiteX5" fmla="*/ 869055 w 1118906"/>
              <a:gd name="connsiteY5" fmla="*/ 895823 h 993885"/>
              <a:gd name="connsiteX6" fmla="*/ 870617 w 1118906"/>
              <a:gd name="connsiteY6" fmla="*/ 894550 h 993885"/>
              <a:gd name="connsiteX7" fmla="*/ 885772 w 1118906"/>
              <a:gd name="connsiteY7" fmla="*/ 899178 h 993885"/>
              <a:gd name="connsiteX8" fmla="*/ 917472 w 1118906"/>
              <a:gd name="connsiteY8" fmla="*/ 907797 h 993885"/>
              <a:gd name="connsiteX9" fmla="*/ 939105 w 1118906"/>
              <a:gd name="connsiteY9" fmla="*/ 900856 h 993885"/>
              <a:gd name="connsiteX10" fmla="*/ 958599 w 1118906"/>
              <a:gd name="connsiteY10" fmla="*/ 895071 h 993885"/>
              <a:gd name="connsiteX11" fmla="*/ 964383 w 1118906"/>
              <a:gd name="connsiteY11" fmla="*/ 899005 h 993885"/>
              <a:gd name="connsiteX12" fmla="*/ 968432 w 1118906"/>
              <a:gd name="connsiteY12" fmla="*/ 940305 h 993885"/>
              <a:gd name="connsiteX13" fmla="*/ 964556 w 1118906"/>
              <a:gd name="connsiteY13" fmla="*/ 942214 h 993885"/>
              <a:gd name="connsiteX14" fmla="*/ 962532 w 1118906"/>
              <a:gd name="connsiteY14" fmla="*/ 943024 h 993885"/>
              <a:gd name="connsiteX15" fmla="*/ 960623 w 1118906"/>
              <a:gd name="connsiteY15" fmla="*/ 956502 h 993885"/>
              <a:gd name="connsiteX16" fmla="*/ 957211 w 1118906"/>
              <a:gd name="connsiteY16" fmla="*/ 971773 h 993885"/>
              <a:gd name="connsiteX17" fmla="*/ 954029 w 1118906"/>
              <a:gd name="connsiteY17" fmla="*/ 972582 h 993885"/>
              <a:gd name="connsiteX18" fmla="*/ 945757 w 1118906"/>
              <a:gd name="connsiteY18" fmla="*/ 969112 h 993885"/>
              <a:gd name="connsiteX19" fmla="*/ 942344 w 1118906"/>
              <a:gd name="connsiteY19" fmla="*/ 967261 h 993885"/>
              <a:gd name="connsiteX20" fmla="*/ 942056 w 1118906"/>
              <a:gd name="connsiteY20" fmla="*/ 968013 h 993885"/>
              <a:gd name="connsiteX21" fmla="*/ 941708 w 1118906"/>
              <a:gd name="connsiteY21" fmla="*/ 973161 h 993885"/>
              <a:gd name="connsiteX22" fmla="*/ 934767 w 1118906"/>
              <a:gd name="connsiteY22" fmla="*/ 982821 h 993885"/>
              <a:gd name="connsiteX23" fmla="*/ 934362 w 1118906"/>
              <a:gd name="connsiteY23" fmla="*/ 982821 h 993885"/>
              <a:gd name="connsiteX24" fmla="*/ 930081 w 1118906"/>
              <a:gd name="connsiteY24" fmla="*/ 987101 h 993885"/>
              <a:gd name="connsiteX25" fmla="*/ 922099 w 1118906"/>
              <a:gd name="connsiteY25" fmla="*/ 993696 h 993885"/>
              <a:gd name="connsiteX26" fmla="*/ 871890 w 1118906"/>
              <a:gd name="connsiteY26" fmla="*/ 896517 h 993885"/>
              <a:gd name="connsiteX27" fmla="*/ 871253 w 1118906"/>
              <a:gd name="connsiteY27" fmla="*/ 896517 h 993885"/>
              <a:gd name="connsiteX28" fmla="*/ 877038 w 1118906"/>
              <a:gd name="connsiteY28" fmla="*/ 913871 h 993885"/>
              <a:gd name="connsiteX29" fmla="*/ 884732 w 1118906"/>
              <a:gd name="connsiteY29" fmla="*/ 950717 h 993885"/>
              <a:gd name="connsiteX30" fmla="*/ 884732 w 1118906"/>
              <a:gd name="connsiteY30" fmla="*/ 958931 h 993885"/>
              <a:gd name="connsiteX31" fmla="*/ 920421 w 1118906"/>
              <a:gd name="connsiteY31" fmla="*/ 991266 h 993885"/>
              <a:gd name="connsiteX32" fmla="*/ 928519 w 1118906"/>
              <a:gd name="connsiteY32" fmla="*/ 986002 h 993885"/>
              <a:gd name="connsiteX33" fmla="*/ 935461 w 1118906"/>
              <a:gd name="connsiteY33" fmla="*/ 980218 h 993885"/>
              <a:gd name="connsiteX34" fmla="*/ 936155 w 1118906"/>
              <a:gd name="connsiteY34" fmla="*/ 980218 h 993885"/>
              <a:gd name="connsiteX35" fmla="*/ 939972 w 1118906"/>
              <a:gd name="connsiteY35" fmla="*/ 972756 h 993885"/>
              <a:gd name="connsiteX36" fmla="*/ 940378 w 1118906"/>
              <a:gd name="connsiteY36" fmla="*/ 966972 h 993885"/>
              <a:gd name="connsiteX37" fmla="*/ 942865 w 1118906"/>
              <a:gd name="connsiteY37" fmla="*/ 964426 h 993885"/>
              <a:gd name="connsiteX38" fmla="*/ 947550 w 1118906"/>
              <a:gd name="connsiteY38" fmla="*/ 966625 h 993885"/>
              <a:gd name="connsiteX39" fmla="*/ 956632 w 1118906"/>
              <a:gd name="connsiteY39" fmla="*/ 969228 h 993885"/>
              <a:gd name="connsiteX40" fmla="*/ 958888 w 1118906"/>
              <a:gd name="connsiteY40" fmla="*/ 955981 h 993885"/>
              <a:gd name="connsiteX41" fmla="*/ 961433 w 1118906"/>
              <a:gd name="connsiteY41" fmla="*/ 940884 h 993885"/>
              <a:gd name="connsiteX42" fmla="*/ 965077 w 1118906"/>
              <a:gd name="connsiteY42" fmla="*/ 939438 h 993885"/>
              <a:gd name="connsiteX43" fmla="*/ 967102 w 1118906"/>
              <a:gd name="connsiteY43" fmla="*/ 938397 h 993885"/>
              <a:gd name="connsiteX44" fmla="*/ 962764 w 1118906"/>
              <a:gd name="connsiteY44" fmla="*/ 899120 h 993885"/>
              <a:gd name="connsiteX45" fmla="*/ 958830 w 1118906"/>
              <a:gd name="connsiteY45" fmla="*/ 896749 h 993885"/>
              <a:gd name="connsiteX46" fmla="*/ 940204 w 1118906"/>
              <a:gd name="connsiteY46" fmla="*/ 902533 h 993885"/>
              <a:gd name="connsiteX47" fmla="*/ 917934 w 1118906"/>
              <a:gd name="connsiteY47" fmla="*/ 909532 h 993885"/>
              <a:gd name="connsiteX48" fmla="*/ 885136 w 1118906"/>
              <a:gd name="connsiteY48" fmla="*/ 900798 h 993885"/>
              <a:gd name="connsiteX49" fmla="*/ 871890 w 1118906"/>
              <a:gd name="connsiteY49" fmla="*/ 896344 h 993885"/>
              <a:gd name="connsiteX50" fmla="*/ 917703 w 1118906"/>
              <a:gd name="connsiteY50" fmla="*/ 844457 h 993885"/>
              <a:gd name="connsiteX51" fmla="*/ 917703 w 1118906"/>
              <a:gd name="connsiteY51" fmla="*/ 844457 h 993885"/>
              <a:gd name="connsiteX52" fmla="*/ 908795 w 1118906"/>
              <a:gd name="connsiteY52" fmla="*/ 834624 h 993885"/>
              <a:gd name="connsiteX53" fmla="*/ 900755 w 1118906"/>
              <a:gd name="connsiteY53" fmla="*/ 828145 h 993885"/>
              <a:gd name="connsiteX54" fmla="*/ 890516 w 1118906"/>
              <a:gd name="connsiteY54" fmla="*/ 818080 h 993885"/>
              <a:gd name="connsiteX55" fmla="*/ 888376 w 1118906"/>
              <a:gd name="connsiteY55" fmla="*/ 814436 h 993885"/>
              <a:gd name="connsiteX56" fmla="*/ 885484 w 1118906"/>
              <a:gd name="connsiteY56" fmla="*/ 823229 h 993885"/>
              <a:gd name="connsiteX57" fmla="*/ 882244 w 1118906"/>
              <a:gd name="connsiteY57" fmla="*/ 826988 h 993885"/>
              <a:gd name="connsiteX58" fmla="*/ 875650 w 1118906"/>
              <a:gd name="connsiteY58" fmla="*/ 820857 h 993885"/>
              <a:gd name="connsiteX59" fmla="*/ 878889 w 1118906"/>
              <a:gd name="connsiteY59" fmla="*/ 813684 h 993885"/>
              <a:gd name="connsiteX60" fmla="*/ 880682 w 1118906"/>
              <a:gd name="connsiteY60" fmla="*/ 809866 h 993885"/>
              <a:gd name="connsiteX61" fmla="*/ 874493 w 1118906"/>
              <a:gd name="connsiteY61" fmla="*/ 805123 h 993885"/>
              <a:gd name="connsiteX62" fmla="*/ 869055 w 1118906"/>
              <a:gd name="connsiteY62" fmla="*/ 810908 h 993885"/>
              <a:gd name="connsiteX63" fmla="*/ 840133 w 1118906"/>
              <a:gd name="connsiteY63" fmla="*/ 834046 h 993885"/>
              <a:gd name="connsiteX64" fmla="*/ 832961 w 1118906"/>
              <a:gd name="connsiteY64" fmla="*/ 831674 h 993885"/>
              <a:gd name="connsiteX65" fmla="*/ 778588 w 1118906"/>
              <a:gd name="connsiteY65" fmla="*/ 812527 h 993885"/>
              <a:gd name="connsiteX66" fmla="*/ 764473 w 1118906"/>
              <a:gd name="connsiteY66" fmla="*/ 808999 h 993885"/>
              <a:gd name="connsiteX67" fmla="*/ 750244 w 1118906"/>
              <a:gd name="connsiteY67" fmla="*/ 800322 h 993885"/>
              <a:gd name="connsiteX68" fmla="*/ 734741 w 1118906"/>
              <a:gd name="connsiteY68" fmla="*/ 766021 h 993885"/>
              <a:gd name="connsiteX69" fmla="*/ 735088 w 1118906"/>
              <a:gd name="connsiteY69" fmla="*/ 763996 h 993885"/>
              <a:gd name="connsiteX70" fmla="*/ 725949 w 1118906"/>
              <a:gd name="connsiteY70" fmla="*/ 737619 h 993885"/>
              <a:gd name="connsiteX71" fmla="*/ 713107 w 1118906"/>
              <a:gd name="connsiteY71" fmla="*/ 727728 h 993885"/>
              <a:gd name="connsiteX72" fmla="*/ 705009 w 1118906"/>
              <a:gd name="connsiteY72" fmla="*/ 729463 h 993885"/>
              <a:gd name="connsiteX73" fmla="*/ 697026 w 1118906"/>
              <a:gd name="connsiteY73" fmla="*/ 731256 h 993885"/>
              <a:gd name="connsiteX74" fmla="*/ 692168 w 1118906"/>
              <a:gd name="connsiteY74" fmla="*/ 728306 h 993885"/>
              <a:gd name="connsiteX75" fmla="*/ 694828 w 1118906"/>
              <a:gd name="connsiteY75" fmla="*/ 718877 h 993885"/>
              <a:gd name="connsiteX76" fmla="*/ 695928 w 1118906"/>
              <a:gd name="connsiteY76" fmla="*/ 698227 h 993885"/>
              <a:gd name="connsiteX77" fmla="*/ 687483 w 1118906"/>
              <a:gd name="connsiteY77" fmla="*/ 691459 h 993885"/>
              <a:gd name="connsiteX78" fmla="*/ 682797 w 1118906"/>
              <a:gd name="connsiteY78" fmla="*/ 705400 h 993885"/>
              <a:gd name="connsiteX79" fmla="*/ 669088 w 1118906"/>
              <a:gd name="connsiteY79" fmla="*/ 716159 h 993885"/>
              <a:gd name="connsiteX80" fmla="*/ 656131 w 1118906"/>
              <a:gd name="connsiteY80" fmla="*/ 711589 h 993885"/>
              <a:gd name="connsiteX81" fmla="*/ 655147 w 1118906"/>
              <a:gd name="connsiteY81" fmla="*/ 707540 h 993885"/>
              <a:gd name="connsiteX82" fmla="*/ 660469 w 1118906"/>
              <a:gd name="connsiteY82" fmla="*/ 703896 h 993885"/>
              <a:gd name="connsiteX83" fmla="*/ 672038 w 1118906"/>
              <a:gd name="connsiteY83" fmla="*/ 686543 h 993885"/>
              <a:gd name="connsiteX84" fmla="*/ 682913 w 1118906"/>
              <a:gd name="connsiteY84" fmla="*/ 659356 h 993885"/>
              <a:gd name="connsiteX85" fmla="*/ 683954 w 1118906"/>
              <a:gd name="connsiteY85" fmla="*/ 648828 h 993885"/>
              <a:gd name="connsiteX86" fmla="*/ 680194 w 1118906"/>
              <a:gd name="connsiteY86" fmla="*/ 647324 h 993885"/>
              <a:gd name="connsiteX87" fmla="*/ 662841 w 1118906"/>
              <a:gd name="connsiteY87" fmla="*/ 672313 h 993885"/>
              <a:gd name="connsiteX88" fmla="*/ 652197 w 1118906"/>
              <a:gd name="connsiteY88" fmla="*/ 682667 h 993885"/>
              <a:gd name="connsiteX89" fmla="*/ 635423 w 1118906"/>
              <a:gd name="connsiteY89" fmla="*/ 693426 h 993885"/>
              <a:gd name="connsiteX90" fmla="*/ 619226 w 1118906"/>
              <a:gd name="connsiteY90" fmla="*/ 709102 h 993885"/>
              <a:gd name="connsiteX91" fmla="*/ 611070 w 1118906"/>
              <a:gd name="connsiteY91" fmla="*/ 701177 h 993885"/>
              <a:gd name="connsiteX92" fmla="*/ 609451 w 1118906"/>
              <a:gd name="connsiteY92" fmla="*/ 688393 h 993885"/>
              <a:gd name="connsiteX93" fmla="*/ 604534 w 1118906"/>
              <a:gd name="connsiteY93" fmla="*/ 671040 h 993885"/>
              <a:gd name="connsiteX94" fmla="*/ 586834 w 1118906"/>
              <a:gd name="connsiteY94" fmla="*/ 657100 h 993885"/>
              <a:gd name="connsiteX95" fmla="*/ 579198 w 1118906"/>
              <a:gd name="connsiteY95" fmla="*/ 650852 h 993885"/>
              <a:gd name="connsiteX96" fmla="*/ 580239 w 1118906"/>
              <a:gd name="connsiteY96" fmla="*/ 646688 h 993885"/>
              <a:gd name="connsiteX97" fmla="*/ 583999 w 1118906"/>
              <a:gd name="connsiteY97" fmla="*/ 634772 h 993885"/>
              <a:gd name="connsiteX98" fmla="*/ 579140 w 1118906"/>
              <a:gd name="connsiteY98" fmla="*/ 631475 h 993885"/>
              <a:gd name="connsiteX99" fmla="*/ 571100 w 1118906"/>
              <a:gd name="connsiteY99" fmla="*/ 626731 h 993885"/>
              <a:gd name="connsiteX100" fmla="*/ 563696 w 1118906"/>
              <a:gd name="connsiteY100" fmla="*/ 623666 h 993885"/>
              <a:gd name="connsiteX101" fmla="*/ 552879 w 1118906"/>
              <a:gd name="connsiteY101" fmla="*/ 621815 h 993885"/>
              <a:gd name="connsiteX102" fmla="*/ 536972 w 1118906"/>
              <a:gd name="connsiteY102" fmla="*/ 619038 h 993885"/>
              <a:gd name="connsiteX103" fmla="*/ 531592 w 1118906"/>
              <a:gd name="connsiteY103" fmla="*/ 619385 h 993885"/>
              <a:gd name="connsiteX104" fmla="*/ 529568 w 1118906"/>
              <a:gd name="connsiteY104" fmla="*/ 619385 h 993885"/>
              <a:gd name="connsiteX105" fmla="*/ 513313 w 1118906"/>
              <a:gd name="connsiteY105" fmla="*/ 610072 h 993885"/>
              <a:gd name="connsiteX106" fmla="*/ 501340 w 1118906"/>
              <a:gd name="connsiteY106" fmla="*/ 602553 h 993885"/>
              <a:gd name="connsiteX107" fmla="*/ 498505 w 1118906"/>
              <a:gd name="connsiteY107" fmla="*/ 602958 h 993885"/>
              <a:gd name="connsiteX108" fmla="*/ 474500 w 1118906"/>
              <a:gd name="connsiteY108" fmla="*/ 605445 h 993885"/>
              <a:gd name="connsiteX109" fmla="*/ 441066 w 1118906"/>
              <a:gd name="connsiteY109" fmla="*/ 610188 h 993885"/>
              <a:gd name="connsiteX110" fmla="*/ 431232 w 1118906"/>
              <a:gd name="connsiteY110" fmla="*/ 614468 h 993885"/>
              <a:gd name="connsiteX111" fmla="*/ 383337 w 1118906"/>
              <a:gd name="connsiteY111" fmla="*/ 627888 h 993885"/>
              <a:gd name="connsiteX112" fmla="*/ 380040 w 1118906"/>
              <a:gd name="connsiteY112" fmla="*/ 627888 h 993885"/>
              <a:gd name="connsiteX113" fmla="*/ 365753 w 1118906"/>
              <a:gd name="connsiteY113" fmla="*/ 627426 h 993885"/>
              <a:gd name="connsiteX114" fmla="*/ 340243 w 1118906"/>
              <a:gd name="connsiteY114" fmla="*/ 635466 h 993885"/>
              <a:gd name="connsiteX115" fmla="*/ 323237 w 1118906"/>
              <a:gd name="connsiteY115" fmla="*/ 643738 h 993885"/>
              <a:gd name="connsiteX116" fmla="*/ 304149 w 1118906"/>
              <a:gd name="connsiteY116" fmla="*/ 655596 h 993885"/>
              <a:gd name="connsiteX117" fmla="*/ 252089 w 1118906"/>
              <a:gd name="connsiteY117" fmla="*/ 677634 h 993885"/>
              <a:gd name="connsiteX118" fmla="*/ 246304 w 1118906"/>
              <a:gd name="connsiteY118" fmla="*/ 677287 h 993885"/>
              <a:gd name="connsiteX119" fmla="*/ 210961 w 1118906"/>
              <a:gd name="connsiteY119" fmla="*/ 675841 h 993885"/>
              <a:gd name="connsiteX120" fmla="*/ 182618 w 1118906"/>
              <a:gd name="connsiteY120" fmla="*/ 681626 h 993885"/>
              <a:gd name="connsiteX121" fmla="*/ 179089 w 1118906"/>
              <a:gd name="connsiteY121" fmla="*/ 686716 h 993885"/>
              <a:gd name="connsiteX122" fmla="*/ 162430 w 1118906"/>
              <a:gd name="connsiteY122" fmla="*/ 695393 h 993885"/>
              <a:gd name="connsiteX123" fmla="*/ 147448 w 1118906"/>
              <a:gd name="connsiteY123" fmla="*/ 704243 h 993885"/>
              <a:gd name="connsiteX124" fmla="*/ 135070 w 1118906"/>
              <a:gd name="connsiteY124" fmla="*/ 711763 h 993885"/>
              <a:gd name="connsiteX125" fmla="*/ 128244 w 1118906"/>
              <a:gd name="connsiteY125" fmla="*/ 711763 h 993885"/>
              <a:gd name="connsiteX126" fmla="*/ 114651 w 1118906"/>
              <a:gd name="connsiteY126" fmla="*/ 712110 h 993885"/>
              <a:gd name="connsiteX127" fmla="*/ 81159 w 1118906"/>
              <a:gd name="connsiteY127" fmla="*/ 705920 h 993885"/>
              <a:gd name="connsiteX128" fmla="*/ 70920 w 1118906"/>
              <a:gd name="connsiteY128" fmla="*/ 694930 h 993885"/>
              <a:gd name="connsiteX129" fmla="*/ 61665 w 1118906"/>
              <a:gd name="connsiteY129" fmla="*/ 688567 h 993885"/>
              <a:gd name="connsiteX130" fmla="*/ 48188 w 1118906"/>
              <a:gd name="connsiteY130" fmla="*/ 673817 h 993885"/>
              <a:gd name="connsiteX131" fmla="*/ 53972 w 1118906"/>
              <a:gd name="connsiteY131" fmla="*/ 668003 h 993885"/>
              <a:gd name="connsiteX132" fmla="*/ 54550 w 1118906"/>
              <a:gd name="connsiteY132" fmla="*/ 668032 h 993885"/>
              <a:gd name="connsiteX133" fmla="*/ 66119 w 1118906"/>
              <a:gd name="connsiteY133" fmla="*/ 663578 h 993885"/>
              <a:gd name="connsiteX134" fmla="*/ 69127 w 1118906"/>
              <a:gd name="connsiteY134" fmla="*/ 646919 h 993885"/>
              <a:gd name="connsiteX135" fmla="*/ 73292 w 1118906"/>
              <a:gd name="connsiteY135" fmla="*/ 622220 h 993885"/>
              <a:gd name="connsiteX136" fmla="*/ 75374 w 1118906"/>
              <a:gd name="connsiteY136" fmla="*/ 611056 h 993885"/>
              <a:gd name="connsiteX137" fmla="*/ 50906 w 1118906"/>
              <a:gd name="connsiteY137" fmla="*/ 548005 h 993885"/>
              <a:gd name="connsiteX138" fmla="*/ 38123 w 1118906"/>
              <a:gd name="connsiteY138" fmla="*/ 517406 h 993885"/>
              <a:gd name="connsiteX139" fmla="*/ 27884 w 1118906"/>
              <a:gd name="connsiteY139" fmla="*/ 496582 h 993885"/>
              <a:gd name="connsiteX140" fmla="*/ 10993 w 1118906"/>
              <a:gd name="connsiteY140" fmla="*/ 459041 h 993885"/>
              <a:gd name="connsiteX141" fmla="*/ 119 w 1118906"/>
              <a:gd name="connsiteY141" fmla="*/ 434341 h 993885"/>
              <a:gd name="connsiteX142" fmla="*/ 2317 w 1118906"/>
              <a:gd name="connsiteY142" fmla="*/ 432722 h 993885"/>
              <a:gd name="connsiteX143" fmla="*/ 11283 w 1118906"/>
              <a:gd name="connsiteY143" fmla="*/ 440936 h 993885"/>
              <a:gd name="connsiteX144" fmla="*/ 19265 w 1118906"/>
              <a:gd name="connsiteY144" fmla="*/ 448976 h 993885"/>
              <a:gd name="connsiteX145" fmla="*/ 19612 w 1118906"/>
              <a:gd name="connsiteY145" fmla="*/ 448976 h 993885"/>
              <a:gd name="connsiteX146" fmla="*/ 15158 w 1118906"/>
              <a:gd name="connsiteY146" fmla="*/ 438564 h 993885"/>
              <a:gd name="connsiteX147" fmla="*/ 11919 w 1118906"/>
              <a:gd name="connsiteY147" fmla="*/ 429425 h 993885"/>
              <a:gd name="connsiteX148" fmla="*/ 13249 w 1118906"/>
              <a:gd name="connsiteY148" fmla="*/ 428846 h 993885"/>
              <a:gd name="connsiteX149" fmla="*/ 19844 w 1118906"/>
              <a:gd name="connsiteY149" fmla="*/ 436192 h 993885"/>
              <a:gd name="connsiteX150" fmla="*/ 26901 w 1118906"/>
              <a:gd name="connsiteY150" fmla="*/ 444753 h 993885"/>
              <a:gd name="connsiteX151" fmla="*/ 28000 w 1118906"/>
              <a:gd name="connsiteY151" fmla="*/ 443597 h 993885"/>
              <a:gd name="connsiteX152" fmla="*/ 12382 w 1118906"/>
              <a:gd name="connsiteY152" fmla="*/ 408485 h 993885"/>
              <a:gd name="connsiteX153" fmla="*/ 17241 w 1118906"/>
              <a:gd name="connsiteY153" fmla="*/ 363540 h 993885"/>
              <a:gd name="connsiteX154" fmla="*/ 17704 w 1118906"/>
              <a:gd name="connsiteY154" fmla="*/ 347575 h 993885"/>
              <a:gd name="connsiteX155" fmla="*/ 15852 w 1118906"/>
              <a:gd name="connsiteY155" fmla="*/ 332940 h 993885"/>
              <a:gd name="connsiteX156" fmla="*/ 30313 w 1118906"/>
              <a:gd name="connsiteY156" fmla="*/ 311249 h 993885"/>
              <a:gd name="connsiteX157" fmla="*/ 31991 w 1118906"/>
              <a:gd name="connsiteY157" fmla="*/ 313331 h 993885"/>
              <a:gd name="connsiteX158" fmla="*/ 31991 w 1118906"/>
              <a:gd name="connsiteY158" fmla="*/ 315934 h 993885"/>
              <a:gd name="connsiteX159" fmla="*/ 32917 w 1118906"/>
              <a:gd name="connsiteY159" fmla="*/ 329643 h 993885"/>
              <a:gd name="connsiteX160" fmla="*/ 33205 w 1118906"/>
              <a:gd name="connsiteY160" fmla="*/ 329643 h 993885"/>
              <a:gd name="connsiteX161" fmla="*/ 36387 w 1118906"/>
              <a:gd name="connsiteY161" fmla="*/ 322991 h 993885"/>
              <a:gd name="connsiteX162" fmla="*/ 48418 w 1118906"/>
              <a:gd name="connsiteY162" fmla="*/ 309398 h 993885"/>
              <a:gd name="connsiteX163" fmla="*/ 81564 w 1118906"/>
              <a:gd name="connsiteY163" fmla="*/ 290945 h 993885"/>
              <a:gd name="connsiteX164" fmla="*/ 108288 w 1118906"/>
              <a:gd name="connsiteY164" fmla="*/ 279087 h 993885"/>
              <a:gd name="connsiteX165" fmla="*/ 116213 w 1118906"/>
              <a:gd name="connsiteY165" fmla="*/ 283541 h 993885"/>
              <a:gd name="connsiteX166" fmla="*/ 118179 w 1118906"/>
              <a:gd name="connsiteY166" fmla="*/ 285219 h 993885"/>
              <a:gd name="connsiteX167" fmla="*/ 139466 w 1118906"/>
              <a:gd name="connsiteY167" fmla="*/ 272204 h 993885"/>
              <a:gd name="connsiteX168" fmla="*/ 140449 w 1118906"/>
              <a:gd name="connsiteY168" fmla="*/ 271394 h 993885"/>
              <a:gd name="connsiteX169" fmla="*/ 153753 w 1118906"/>
              <a:gd name="connsiteY169" fmla="*/ 267229 h 993885"/>
              <a:gd name="connsiteX170" fmla="*/ 166479 w 1118906"/>
              <a:gd name="connsiteY170" fmla="*/ 263006 h 993885"/>
              <a:gd name="connsiteX171" fmla="*/ 184584 w 1118906"/>
              <a:gd name="connsiteY171" fmla="*/ 259247 h 993885"/>
              <a:gd name="connsiteX172" fmla="*/ 214837 w 1118906"/>
              <a:gd name="connsiteY172" fmla="*/ 249760 h 993885"/>
              <a:gd name="connsiteX173" fmla="*/ 254403 w 1118906"/>
              <a:gd name="connsiteY173" fmla="*/ 210773 h 993885"/>
              <a:gd name="connsiteX174" fmla="*/ 253477 w 1118906"/>
              <a:gd name="connsiteY174" fmla="*/ 203196 h 993885"/>
              <a:gd name="connsiteX175" fmla="*/ 255443 w 1118906"/>
              <a:gd name="connsiteY175" fmla="*/ 178901 h 993885"/>
              <a:gd name="connsiteX176" fmla="*/ 275053 w 1118906"/>
              <a:gd name="connsiteY176" fmla="*/ 163804 h 993885"/>
              <a:gd name="connsiteX177" fmla="*/ 278581 w 1118906"/>
              <a:gd name="connsiteY177" fmla="*/ 168720 h 993885"/>
              <a:gd name="connsiteX178" fmla="*/ 281647 w 1118906"/>
              <a:gd name="connsiteY178" fmla="*/ 181967 h 993885"/>
              <a:gd name="connsiteX179" fmla="*/ 286795 w 1118906"/>
              <a:gd name="connsiteY179" fmla="*/ 188908 h 993885"/>
              <a:gd name="connsiteX180" fmla="*/ 287547 w 1118906"/>
              <a:gd name="connsiteY180" fmla="*/ 188561 h 993885"/>
              <a:gd name="connsiteX181" fmla="*/ 291654 w 1118906"/>
              <a:gd name="connsiteY181" fmla="*/ 185611 h 993885"/>
              <a:gd name="connsiteX182" fmla="*/ 295703 w 1118906"/>
              <a:gd name="connsiteY182" fmla="*/ 175662 h 993885"/>
              <a:gd name="connsiteX183" fmla="*/ 291422 w 1118906"/>
              <a:gd name="connsiteY183" fmla="*/ 165654 h 993885"/>
              <a:gd name="connsiteX184" fmla="*/ 288762 w 1118906"/>
              <a:gd name="connsiteY184" fmla="*/ 156515 h 993885"/>
              <a:gd name="connsiteX185" fmla="*/ 292290 w 1118906"/>
              <a:gd name="connsiteY185" fmla="*/ 153739 h 993885"/>
              <a:gd name="connsiteX186" fmla="*/ 294778 w 1118906"/>
              <a:gd name="connsiteY186" fmla="*/ 153391 h 993885"/>
              <a:gd name="connsiteX187" fmla="*/ 305421 w 1118906"/>
              <a:gd name="connsiteY187" fmla="*/ 156689 h 993885"/>
              <a:gd name="connsiteX188" fmla="*/ 311205 w 1118906"/>
              <a:gd name="connsiteY188" fmla="*/ 158713 h 993885"/>
              <a:gd name="connsiteX189" fmla="*/ 311668 w 1118906"/>
              <a:gd name="connsiteY189" fmla="*/ 158713 h 993885"/>
              <a:gd name="connsiteX190" fmla="*/ 311668 w 1118906"/>
              <a:gd name="connsiteY190" fmla="*/ 156862 h 993885"/>
              <a:gd name="connsiteX191" fmla="*/ 313924 w 1118906"/>
              <a:gd name="connsiteY191" fmla="*/ 130948 h 993885"/>
              <a:gd name="connsiteX192" fmla="*/ 318204 w 1118906"/>
              <a:gd name="connsiteY192" fmla="*/ 128981 h 993885"/>
              <a:gd name="connsiteX193" fmla="*/ 325493 w 1118906"/>
              <a:gd name="connsiteY193" fmla="*/ 124180 h 993885"/>
              <a:gd name="connsiteX194" fmla="*/ 330815 w 1118906"/>
              <a:gd name="connsiteY194" fmla="*/ 119900 h 993885"/>
              <a:gd name="connsiteX195" fmla="*/ 331219 w 1118906"/>
              <a:gd name="connsiteY195" fmla="*/ 119900 h 993885"/>
              <a:gd name="connsiteX196" fmla="*/ 330930 w 1118906"/>
              <a:gd name="connsiteY196" fmla="*/ 116892 h 993885"/>
              <a:gd name="connsiteX197" fmla="*/ 331277 w 1118906"/>
              <a:gd name="connsiteY197" fmla="*/ 110182 h 993885"/>
              <a:gd name="connsiteX198" fmla="*/ 335616 w 1118906"/>
              <a:gd name="connsiteY198" fmla="*/ 107926 h 993885"/>
              <a:gd name="connsiteX199" fmla="*/ 347878 w 1118906"/>
              <a:gd name="connsiteY199" fmla="*/ 109719 h 993885"/>
              <a:gd name="connsiteX200" fmla="*/ 355630 w 1118906"/>
              <a:gd name="connsiteY200" fmla="*/ 110587 h 993885"/>
              <a:gd name="connsiteX201" fmla="*/ 355630 w 1118906"/>
              <a:gd name="connsiteY201" fmla="*/ 108620 h 993885"/>
              <a:gd name="connsiteX202" fmla="*/ 357307 w 1118906"/>
              <a:gd name="connsiteY202" fmla="*/ 97398 h 993885"/>
              <a:gd name="connsiteX203" fmla="*/ 365232 w 1118906"/>
              <a:gd name="connsiteY203" fmla="*/ 94622 h 993885"/>
              <a:gd name="connsiteX204" fmla="*/ 372404 w 1118906"/>
              <a:gd name="connsiteY204" fmla="*/ 90573 h 993885"/>
              <a:gd name="connsiteX205" fmla="*/ 380908 w 1118906"/>
              <a:gd name="connsiteY205" fmla="*/ 85540 h 993885"/>
              <a:gd name="connsiteX206" fmla="*/ 381602 w 1118906"/>
              <a:gd name="connsiteY206" fmla="*/ 85540 h 993885"/>
              <a:gd name="connsiteX207" fmla="*/ 405087 w 1118906"/>
              <a:gd name="connsiteY207" fmla="*/ 103298 h 993885"/>
              <a:gd name="connsiteX208" fmla="*/ 411565 w 1118906"/>
              <a:gd name="connsiteY208" fmla="*/ 106654 h 993885"/>
              <a:gd name="connsiteX209" fmla="*/ 420242 w 1118906"/>
              <a:gd name="connsiteY209" fmla="*/ 116545 h 993885"/>
              <a:gd name="connsiteX210" fmla="*/ 422208 w 1118906"/>
              <a:gd name="connsiteY210" fmla="*/ 125337 h 993885"/>
              <a:gd name="connsiteX211" fmla="*/ 426200 w 1118906"/>
              <a:gd name="connsiteY211" fmla="*/ 126494 h 993885"/>
              <a:gd name="connsiteX212" fmla="*/ 427126 w 1118906"/>
              <a:gd name="connsiteY212" fmla="*/ 122503 h 993885"/>
              <a:gd name="connsiteX213" fmla="*/ 429092 w 1118906"/>
              <a:gd name="connsiteY213" fmla="*/ 115272 h 993885"/>
              <a:gd name="connsiteX214" fmla="*/ 433662 w 1118906"/>
              <a:gd name="connsiteY214" fmla="*/ 113421 h 993885"/>
              <a:gd name="connsiteX215" fmla="*/ 446561 w 1118906"/>
              <a:gd name="connsiteY215" fmla="*/ 120478 h 993885"/>
              <a:gd name="connsiteX216" fmla="*/ 458998 w 1118906"/>
              <a:gd name="connsiteY216" fmla="*/ 126262 h 993885"/>
              <a:gd name="connsiteX217" fmla="*/ 461948 w 1118906"/>
              <a:gd name="connsiteY217" fmla="*/ 125106 h 993885"/>
              <a:gd name="connsiteX218" fmla="*/ 458882 w 1118906"/>
              <a:gd name="connsiteY218" fmla="*/ 118859 h 993885"/>
              <a:gd name="connsiteX219" fmla="*/ 451015 w 1118906"/>
              <a:gd name="connsiteY219" fmla="*/ 102951 h 993885"/>
              <a:gd name="connsiteX220" fmla="*/ 457898 w 1118906"/>
              <a:gd name="connsiteY220" fmla="*/ 94101 h 993885"/>
              <a:gd name="connsiteX221" fmla="*/ 463162 w 1118906"/>
              <a:gd name="connsiteY221" fmla="*/ 85540 h 993885"/>
              <a:gd name="connsiteX222" fmla="*/ 468947 w 1118906"/>
              <a:gd name="connsiteY222" fmla="*/ 74261 h 993885"/>
              <a:gd name="connsiteX223" fmla="*/ 475830 w 1118906"/>
              <a:gd name="connsiteY223" fmla="*/ 62692 h 993885"/>
              <a:gd name="connsiteX224" fmla="*/ 488614 w 1118906"/>
              <a:gd name="connsiteY224" fmla="*/ 49156 h 993885"/>
              <a:gd name="connsiteX225" fmla="*/ 489771 w 1118906"/>
              <a:gd name="connsiteY225" fmla="*/ 49156 h 993885"/>
              <a:gd name="connsiteX226" fmla="*/ 491621 w 1118906"/>
              <a:gd name="connsiteY226" fmla="*/ 48636 h 993885"/>
              <a:gd name="connsiteX227" fmla="*/ 491333 w 1118906"/>
              <a:gd name="connsiteY227" fmla="*/ 45628 h 993885"/>
              <a:gd name="connsiteX228" fmla="*/ 491333 w 1118906"/>
              <a:gd name="connsiteY228" fmla="*/ 41521 h 993885"/>
              <a:gd name="connsiteX229" fmla="*/ 497117 w 1118906"/>
              <a:gd name="connsiteY229" fmla="*/ 41521 h 993885"/>
              <a:gd name="connsiteX230" fmla="*/ 505736 w 1118906"/>
              <a:gd name="connsiteY230" fmla="*/ 42446 h 993885"/>
              <a:gd name="connsiteX231" fmla="*/ 538649 w 1118906"/>
              <a:gd name="connsiteY231" fmla="*/ 33538 h 993885"/>
              <a:gd name="connsiteX232" fmla="*/ 537724 w 1118906"/>
              <a:gd name="connsiteY232" fmla="*/ 30646 h 993885"/>
              <a:gd name="connsiteX233" fmla="*/ 531592 w 1118906"/>
              <a:gd name="connsiteY233" fmla="*/ 24515 h 993885"/>
              <a:gd name="connsiteX234" fmla="*/ 524246 w 1118906"/>
              <a:gd name="connsiteY234" fmla="*/ 14045 h 993885"/>
              <a:gd name="connsiteX235" fmla="*/ 527890 w 1118906"/>
              <a:gd name="connsiteY235" fmla="*/ 10632 h 993885"/>
              <a:gd name="connsiteX236" fmla="*/ 530204 w 1118906"/>
              <a:gd name="connsiteY236" fmla="*/ 10227 h 993885"/>
              <a:gd name="connsiteX237" fmla="*/ 539517 w 1118906"/>
              <a:gd name="connsiteY237" fmla="*/ 16705 h 993885"/>
              <a:gd name="connsiteX238" fmla="*/ 553862 w 1118906"/>
              <a:gd name="connsiteY238" fmla="*/ 26308 h 993885"/>
              <a:gd name="connsiteX239" fmla="*/ 607947 w 1118906"/>
              <a:gd name="connsiteY239" fmla="*/ 43140 h 993885"/>
              <a:gd name="connsiteX240" fmla="*/ 611186 w 1118906"/>
              <a:gd name="connsiteY240" fmla="*/ 44876 h 993885"/>
              <a:gd name="connsiteX241" fmla="*/ 622755 w 1118906"/>
              <a:gd name="connsiteY241" fmla="*/ 37819 h 993885"/>
              <a:gd name="connsiteX242" fmla="*/ 627671 w 1118906"/>
              <a:gd name="connsiteY242" fmla="*/ 34232 h 993885"/>
              <a:gd name="connsiteX243" fmla="*/ 628019 w 1118906"/>
              <a:gd name="connsiteY243" fmla="*/ 34232 h 993885"/>
              <a:gd name="connsiteX244" fmla="*/ 633803 w 1118906"/>
              <a:gd name="connsiteY244" fmla="*/ 41752 h 993885"/>
              <a:gd name="connsiteX245" fmla="*/ 638084 w 1118906"/>
              <a:gd name="connsiteY245" fmla="*/ 48867 h 993885"/>
              <a:gd name="connsiteX246" fmla="*/ 639645 w 1118906"/>
              <a:gd name="connsiteY246" fmla="*/ 45396 h 993885"/>
              <a:gd name="connsiteX247" fmla="*/ 646876 w 1118906"/>
              <a:gd name="connsiteY247" fmla="*/ 37703 h 993885"/>
              <a:gd name="connsiteX248" fmla="*/ 648958 w 1118906"/>
              <a:gd name="connsiteY248" fmla="*/ 37703 h 993885"/>
              <a:gd name="connsiteX249" fmla="*/ 660527 w 1118906"/>
              <a:gd name="connsiteY249" fmla="*/ 46611 h 993885"/>
              <a:gd name="connsiteX250" fmla="*/ 655205 w 1118906"/>
              <a:gd name="connsiteY250" fmla="*/ 53205 h 993885"/>
              <a:gd name="connsiteX251" fmla="*/ 652371 w 1118906"/>
              <a:gd name="connsiteY251" fmla="*/ 58990 h 993885"/>
              <a:gd name="connsiteX252" fmla="*/ 646240 w 1118906"/>
              <a:gd name="connsiteY252" fmla="*/ 71079 h 993885"/>
              <a:gd name="connsiteX253" fmla="*/ 634671 w 1118906"/>
              <a:gd name="connsiteY253" fmla="*/ 75880 h 993885"/>
              <a:gd name="connsiteX254" fmla="*/ 628307 w 1118906"/>
              <a:gd name="connsiteY254" fmla="*/ 79004 h 993885"/>
              <a:gd name="connsiteX255" fmla="*/ 629291 w 1118906"/>
              <a:gd name="connsiteY255" fmla="*/ 82243 h 993885"/>
              <a:gd name="connsiteX256" fmla="*/ 626573 w 1118906"/>
              <a:gd name="connsiteY256" fmla="*/ 106827 h 993885"/>
              <a:gd name="connsiteX257" fmla="*/ 623217 w 1118906"/>
              <a:gd name="connsiteY257" fmla="*/ 109199 h 993885"/>
              <a:gd name="connsiteX258" fmla="*/ 618648 w 1118906"/>
              <a:gd name="connsiteY258" fmla="*/ 113248 h 993885"/>
              <a:gd name="connsiteX259" fmla="*/ 624085 w 1118906"/>
              <a:gd name="connsiteY259" fmla="*/ 118280 h 993885"/>
              <a:gd name="connsiteX260" fmla="*/ 626861 w 1118906"/>
              <a:gd name="connsiteY260" fmla="*/ 120131 h 993885"/>
              <a:gd name="connsiteX261" fmla="*/ 642711 w 1118906"/>
              <a:gd name="connsiteY261" fmla="*/ 139393 h 993885"/>
              <a:gd name="connsiteX262" fmla="*/ 649190 w 1118906"/>
              <a:gd name="connsiteY262" fmla="*/ 144374 h 993885"/>
              <a:gd name="connsiteX263" fmla="*/ 649247 w 1118906"/>
              <a:gd name="connsiteY263" fmla="*/ 144368 h 993885"/>
              <a:gd name="connsiteX264" fmla="*/ 652429 w 1118906"/>
              <a:gd name="connsiteY264" fmla="*/ 144368 h 993885"/>
              <a:gd name="connsiteX265" fmla="*/ 656651 w 1118906"/>
              <a:gd name="connsiteY265" fmla="*/ 144368 h 993885"/>
              <a:gd name="connsiteX266" fmla="*/ 670187 w 1118906"/>
              <a:gd name="connsiteY266" fmla="*/ 148995 h 993885"/>
              <a:gd name="connsiteX267" fmla="*/ 682855 w 1118906"/>
              <a:gd name="connsiteY267" fmla="*/ 161143 h 993885"/>
              <a:gd name="connsiteX268" fmla="*/ 695986 w 1118906"/>
              <a:gd name="connsiteY268" fmla="*/ 169993 h 993885"/>
              <a:gd name="connsiteX269" fmla="*/ 719123 w 1118906"/>
              <a:gd name="connsiteY269" fmla="*/ 176934 h 993885"/>
              <a:gd name="connsiteX270" fmla="*/ 721379 w 1118906"/>
              <a:gd name="connsiteY270" fmla="*/ 182719 h 993885"/>
              <a:gd name="connsiteX271" fmla="*/ 723982 w 1118906"/>
              <a:gd name="connsiteY271" fmla="*/ 188156 h 993885"/>
              <a:gd name="connsiteX272" fmla="*/ 745385 w 1118906"/>
              <a:gd name="connsiteY272" fmla="*/ 196891 h 993885"/>
              <a:gd name="connsiteX273" fmla="*/ 753194 w 1118906"/>
              <a:gd name="connsiteY273" fmla="*/ 195560 h 993885"/>
              <a:gd name="connsiteX274" fmla="*/ 769737 w 1118906"/>
              <a:gd name="connsiteY274" fmla="*/ 175373 h 993885"/>
              <a:gd name="connsiteX275" fmla="*/ 775522 w 1118906"/>
              <a:gd name="connsiteY275" fmla="*/ 163804 h 993885"/>
              <a:gd name="connsiteX276" fmla="*/ 782810 w 1118906"/>
              <a:gd name="connsiteY276" fmla="*/ 133204 h 993885"/>
              <a:gd name="connsiteX277" fmla="*/ 783851 w 1118906"/>
              <a:gd name="connsiteY277" fmla="*/ 122561 h 993885"/>
              <a:gd name="connsiteX278" fmla="*/ 783446 w 1118906"/>
              <a:gd name="connsiteY278" fmla="*/ 102257 h 993885"/>
              <a:gd name="connsiteX279" fmla="*/ 786627 w 1118906"/>
              <a:gd name="connsiteY279" fmla="*/ 73335 h 993885"/>
              <a:gd name="connsiteX280" fmla="*/ 788594 w 1118906"/>
              <a:gd name="connsiteY280" fmla="*/ 57139 h 993885"/>
              <a:gd name="connsiteX281" fmla="*/ 790271 w 1118906"/>
              <a:gd name="connsiteY281" fmla="*/ 43025 h 993885"/>
              <a:gd name="connsiteX282" fmla="*/ 796519 w 1118906"/>
              <a:gd name="connsiteY282" fmla="*/ 22143 h 993885"/>
              <a:gd name="connsiteX283" fmla="*/ 804444 w 1118906"/>
              <a:gd name="connsiteY283" fmla="*/ 6293 h 993885"/>
              <a:gd name="connsiteX284" fmla="*/ 813699 w 1118906"/>
              <a:gd name="connsiteY284" fmla="*/ 509 h 993885"/>
              <a:gd name="connsiteX285" fmla="*/ 815955 w 1118906"/>
              <a:gd name="connsiteY285" fmla="*/ 1377 h 993885"/>
              <a:gd name="connsiteX286" fmla="*/ 820525 w 1118906"/>
              <a:gd name="connsiteY286" fmla="*/ 13813 h 993885"/>
              <a:gd name="connsiteX287" fmla="*/ 829259 w 1118906"/>
              <a:gd name="connsiteY287" fmla="*/ 34637 h 993885"/>
              <a:gd name="connsiteX288" fmla="*/ 842389 w 1118906"/>
              <a:gd name="connsiteY288" fmla="*/ 79235 h 993885"/>
              <a:gd name="connsiteX289" fmla="*/ 844645 w 1118906"/>
              <a:gd name="connsiteY289" fmla="*/ 103703 h 993885"/>
              <a:gd name="connsiteX290" fmla="*/ 849620 w 1118906"/>
              <a:gd name="connsiteY290" fmla="*/ 105265 h 993885"/>
              <a:gd name="connsiteX291" fmla="*/ 859106 w 1118906"/>
              <a:gd name="connsiteY291" fmla="*/ 103183 h 993885"/>
              <a:gd name="connsiteX292" fmla="*/ 867320 w 1118906"/>
              <a:gd name="connsiteY292" fmla="*/ 101563 h 993885"/>
              <a:gd name="connsiteX293" fmla="*/ 872005 w 1118906"/>
              <a:gd name="connsiteY293" fmla="*/ 105109 h 993885"/>
              <a:gd name="connsiteX294" fmla="*/ 872063 w 1118906"/>
              <a:gd name="connsiteY294" fmla="*/ 105670 h 993885"/>
              <a:gd name="connsiteX295" fmla="*/ 878889 w 1118906"/>
              <a:gd name="connsiteY295" fmla="*/ 112091 h 993885"/>
              <a:gd name="connsiteX296" fmla="*/ 890458 w 1118906"/>
              <a:gd name="connsiteY296" fmla="*/ 127709 h 993885"/>
              <a:gd name="connsiteX297" fmla="*/ 892251 w 1118906"/>
              <a:gd name="connsiteY297" fmla="*/ 145525 h 993885"/>
              <a:gd name="connsiteX298" fmla="*/ 894044 w 1118906"/>
              <a:gd name="connsiteY298" fmla="*/ 160969 h 993885"/>
              <a:gd name="connsiteX299" fmla="*/ 901217 w 1118906"/>
              <a:gd name="connsiteY299" fmla="*/ 173001 h 993885"/>
              <a:gd name="connsiteX300" fmla="*/ 910414 w 1118906"/>
              <a:gd name="connsiteY300" fmla="*/ 189371 h 993885"/>
              <a:gd name="connsiteX301" fmla="*/ 916720 w 1118906"/>
              <a:gd name="connsiteY301" fmla="*/ 221879 h 993885"/>
              <a:gd name="connsiteX302" fmla="*/ 918166 w 1118906"/>
              <a:gd name="connsiteY302" fmla="*/ 230672 h 993885"/>
              <a:gd name="connsiteX303" fmla="*/ 922851 w 1118906"/>
              <a:gd name="connsiteY303" fmla="*/ 240332 h 993885"/>
              <a:gd name="connsiteX304" fmla="*/ 986769 w 1118906"/>
              <a:gd name="connsiteY304" fmla="*/ 278509 h 993885"/>
              <a:gd name="connsiteX305" fmla="*/ 995388 w 1118906"/>
              <a:gd name="connsiteY305" fmla="*/ 297482 h 993885"/>
              <a:gd name="connsiteX306" fmla="*/ 1006089 w 1118906"/>
              <a:gd name="connsiteY306" fmla="*/ 318711 h 993885"/>
              <a:gd name="connsiteX307" fmla="*/ 1008055 w 1118906"/>
              <a:gd name="connsiteY307" fmla="*/ 334965 h 993885"/>
              <a:gd name="connsiteX308" fmla="*/ 1011237 w 1118906"/>
              <a:gd name="connsiteY308" fmla="*/ 336122 h 993885"/>
              <a:gd name="connsiteX309" fmla="*/ 1015633 w 1118906"/>
              <a:gd name="connsiteY309" fmla="*/ 334213 h 993885"/>
              <a:gd name="connsiteX310" fmla="*/ 1022632 w 1118906"/>
              <a:gd name="connsiteY310" fmla="*/ 331957 h 993885"/>
              <a:gd name="connsiteX311" fmla="*/ 1028417 w 1118906"/>
              <a:gd name="connsiteY311" fmla="*/ 335370 h 993885"/>
              <a:gd name="connsiteX312" fmla="*/ 1031193 w 1118906"/>
              <a:gd name="connsiteY312" fmla="*/ 336758 h 993885"/>
              <a:gd name="connsiteX313" fmla="*/ 1033623 w 1118906"/>
              <a:gd name="connsiteY313" fmla="*/ 336758 h 993885"/>
              <a:gd name="connsiteX314" fmla="*/ 1038597 w 1118906"/>
              <a:gd name="connsiteY314" fmla="*/ 337510 h 993885"/>
              <a:gd name="connsiteX315" fmla="*/ 1039523 w 1118906"/>
              <a:gd name="connsiteY315" fmla="*/ 345493 h 993885"/>
              <a:gd name="connsiteX316" fmla="*/ 1042646 w 1118906"/>
              <a:gd name="connsiteY316" fmla="*/ 371002 h 993885"/>
              <a:gd name="connsiteX317" fmla="*/ 1047910 w 1118906"/>
              <a:gd name="connsiteY317" fmla="*/ 372737 h 993885"/>
              <a:gd name="connsiteX318" fmla="*/ 1055546 w 1118906"/>
              <a:gd name="connsiteY318" fmla="*/ 379968 h 993885"/>
              <a:gd name="connsiteX319" fmla="*/ 1061330 w 1118906"/>
              <a:gd name="connsiteY319" fmla="*/ 385405 h 993885"/>
              <a:gd name="connsiteX320" fmla="*/ 1063586 w 1118906"/>
              <a:gd name="connsiteY320" fmla="*/ 385405 h 993885"/>
              <a:gd name="connsiteX321" fmla="*/ 1083831 w 1118906"/>
              <a:gd name="connsiteY321" fmla="*/ 407039 h 993885"/>
              <a:gd name="connsiteX322" fmla="*/ 1097540 w 1118906"/>
              <a:gd name="connsiteY322" fmla="*/ 429078 h 993885"/>
              <a:gd name="connsiteX323" fmla="*/ 1100144 w 1118906"/>
              <a:gd name="connsiteY323" fmla="*/ 427747 h 993885"/>
              <a:gd name="connsiteX324" fmla="*/ 1108068 w 1118906"/>
              <a:gd name="connsiteY324" fmla="*/ 421500 h 993885"/>
              <a:gd name="connsiteX325" fmla="*/ 1109514 w 1118906"/>
              <a:gd name="connsiteY325" fmla="*/ 422136 h 993885"/>
              <a:gd name="connsiteX326" fmla="*/ 1108705 w 1118906"/>
              <a:gd name="connsiteY326" fmla="*/ 434226 h 993885"/>
              <a:gd name="connsiteX327" fmla="*/ 1108358 w 1118906"/>
              <a:gd name="connsiteY327" fmla="*/ 478419 h 993885"/>
              <a:gd name="connsiteX328" fmla="*/ 1109804 w 1118906"/>
              <a:gd name="connsiteY328" fmla="*/ 478014 h 993885"/>
              <a:gd name="connsiteX329" fmla="*/ 1116861 w 1118906"/>
              <a:gd name="connsiteY329" fmla="*/ 487153 h 993885"/>
              <a:gd name="connsiteX330" fmla="*/ 1116167 w 1118906"/>
              <a:gd name="connsiteY330" fmla="*/ 500342 h 993885"/>
              <a:gd name="connsiteX331" fmla="*/ 1116745 w 1118906"/>
              <a:gd name="connsiteY331" fmla="*/ 506878 h 993885"/>
              <a:gd name="connsiteX332" fmla="*/ 1115125 w 1118906"/>
              <a:gd name="connsiteY332" fmla="*/ 525041 h 993885"/>
              <a:gd name="connsiteX333" fmla="*/ 1112059 w 1118906"/>
              <a:gd name="connsiteY333" fmla="*/ 550261 h 993885"/>
              <a:gd name="connsiteX334" fmla="*/ 1112059 w 1118906"/>
              <a:gd name="connsiteY334" fmla="*/ 551245 h 993885"/>
              <a:gd name="connsiteX335" fmla="*/ 1109861 w 1118906"/>
              <a:gd name="connsiteY335" fmla="*/ 563161 h 993885"/>
              <a:gd name="connsiteX336" fmla="*/ 1105408 w 1118906"/>
              <a:gd name="connsiteY336" fmla="*/ 586298 h 993885"/>
              <a:gd name="connsiteX337" fmla="*/ 1097483 w 1118906"/>
              <a:gd name="connsiteY337" fmla="*/ 608221 h 993885"/>
              <a:gd name="connsiteX338" fmla="*/ 1090889 w 1118906"/>
              <a:gd name="connsiteY338" fmla="*/ 624533 h 993885"/>
              <a:gd name="connsiteX339" fmla="*/ 1073535 w 1118906"/>
              <a:gd name="connsiteY339" fmla="*/ 644316 h 993885"/>
              <a:gd name="connsiteX340" fmla="*/ 1045250 w 1118906"/>
              <a:gd name="connsiteY340" fmla="*/ 702160 h 993885"/>
              <a:gd name="connsiteX341" fmla="*/ 1034433 w 1118906"/>
              <a:gd name="connsiteY341" fmla="*/ 724373 h 993885"/>
              <a:gd name="connsiteX342" fmla="*/ 1024657 w 1118906"/>
              <a:gd name="connsiteY342" fmla="*/ 743924 h 993885"/>
              <a:gd name="connsiteX343" fmla="*/ 1022806 w 1118906"/>
              <a:gd name="connsiteY343" fmla="*/ 760294 h 993885"/>
              <a:gd name="connsiteX344" fmla="*/ 1014418 w 1118906"/>
              <a:gd name="connsiteY344" fmla="*/ 800033 h 993885"/>
              <a:gd name="connsiteX345" fmla="*/ 958194 w 1118906"/>
              <a:gd name="connsiteY345" fmla="*/ 810098 h 993885"/>
              <a:gd name="connsiteX346" fmla="*/ 951715 w 1118906"/>
              <a:gd name="connsiteY346" fmla="*/ 815593 h 993885"/>
              <a:gd name="connsiteX347" fmla="*/ 931817 w 1118906"/>
              <a:gd name="connsiteY347" fmla="*/ 829071 h 993885"/>
              <a:gd name="connsiteX348" fmla="*/ 920248 w 1118906"/>
              <a:gd name="connsiteY348" fmla="*/ 843127 h 993885"/>
              <a:gd name="connsiteX349" fmla="*/ 919785 w 1118906"/>
              <a:gd name="connsiteY349" fmla="*/ 845614 h 993885"/>
              <a:gd name="connsiteX350" fmla="*/ 917703 w 1118906"/>
              <a:gd name="connsiteY350" fmla="*/ 844515 h 993885"/>
              <a:gd name="connsiteX351" fmla="*/ 888376 w 1118906"/>
              <a:gd name="connsiteY351" fmla="*/ 812180 h 993885"/>
              <a:gd name="connsiteX352" fmla="*/ 892656 w 1118906"/>
              <a:gd name="connsiteY352" fmla="*/ 817386 h 993885"/>
              <a:gd name="connsiteX353" fmla="*/ 901853 w 1118906"/>
              <a:gd name="connsiteY353" fmla="*/ 826178 h 993885"/>
              <a:gd name="connsiteX354" fmla="*/ 910704 w 1118906"/>
              <a:gd name="connsiteY354" fmla="*/ 833525 h 993885"/>
              <a:gd name="connsiteX355" fmla="*/ 917529 w 1118906"/>
              <a:gd name="connsiteY355" fmla="*/ 842144 h 993885"/>
              <a:gd name="connsiteX356" fmla="*/ 917529 w 1118906"/>
              <a:gd name="connsiteY356" fmla="*/ 840697 h 993885"/>
              <a:gd name="connsiteX357" fmla="*/ 930313 w 1118906"/>
              <a:gd name="connsiteY357" fmla="*/ 824559 h 993885"/>
              <a:gd name="connsiteX358" fmla="*/ 949517 w 1118906"/>
              <a:gd name="connsiteY358" fmla="*/ 811486 h 993885"/>
              <a:gd name="connsiteX359" fmla="*/ 956053 w 1118906"/>
              <a:gd name="connsiteY359" fmla="*/ 805702 h 993885"/>
              <a:gd name="connsiteX360" fmla="*/ 1013898 w 1118906"/>
              <a:gd name="connsiteY360" fmla="*/ 795116 h 993885"/>
              <a:gd name="connsiteX361" fmla="*/ 1020029 w 1118906"/>
              <a:gd name="connsiteY361" fmla="*/ 757402 h 993885"/>
              <a:gd name="connsiteX362" fmla="*/ 1021880 w 1118906"/>
              <a:gd name="connsiteY362" fmla="*/ 740974 h 993885"/>
              <a:gd name="connsiteX363" fmla="*/ 1032177 w 1118906"/>
              <a:gd name="connsiteY363" fmla="*/ 720323 h 993885"/>
              <a:gd name="connsiteX364" fmla="*/ 1042473 w 1118906"/>
              <a:gd name="connsiteY364" fmla="*/ 699211 h 993885"/>
              <a:gd name="connsiteX365" fmla="*/ 1072320 w 1118906"/>
              <a:gd name="connsiteY365" fmla="*/ 639515 h 993885"/>
              <a:gd name="connsiteX366" fmla="*/ 1087881 w 1118906"/>
              <a:gd name="connsiteY366" fmla="*/ 621757 h 993885"/>
              <a:gd name="connsiteX367" fmla="*/ 1094764 w 1118906"/>
              <a:gd name="connsiteY367" fmla="*/ 604404 h 993885"/>
              <a:gd name="connsiteX368" fmla="*/ 1102400 w 1118906"/>
              <a:gd name="connsiteY368" fmla="*/ 583579 h 993885"/>
              <a:gd name="connsiteX369" fmla="*/ 1106912 w 1118906"/>
              <a:gd name="connsiteY369" fmla="*/ 560037 h 993885"/>
              <a:gd name="connsiteX370" fmla="*/ 1109167 w 1118906"/>
              <a:gd name="connsiteY370" fmla="*/ 549394 h 993885"/>
              <a:gd name="connsiteX371" fmla="*/ 1108820 w 1118906"/>
              <a:gd name="connsiteY371" fmla="*/ 548410 h 993885"/>
              <a:gd name="connsiteX372" fmla="*/ 1112465 w 1118906"/>
              <a:gd name="connsiteY372" fmla="*/ 520992 h 993885"/>
              <a:gd name="connsiteX373" fmla="*/ 1113563 w 1118906"/>
              <a:gd name="connsiteY373" fmla="*/ 505143 h 993885"/>
              <a:gd name="connsiteX374" fmla="*/ 1113563 w 1118906"/>
              <a:gd name="connsiteY374" fmla="*/ 496061 h 993885"/>
              <a:gd name="connsiteX375" fmla="*/ 1113563 w 1118906"/>
              <a:gd name="connsiteY375" fmla="*/ 485418 h 993885"/>
              <a:gd name="connsiteX376" fmla="*/ 1108647 w 1118906"/>
              <a:gd name="connsiteY376" fmla="*/ 477782 h 993885"/>
              <a:gd name="connsiteX377" fmla="*/ 1108358 w 1118906"/>
              <a:gd name="connsiteY377" fmla="*/ 477782 h 993885"/>
              <a:gd name="connsiteX378" fmla="*/ 1107143 w 1118906"/>
              <a:gd name="connsiteY378" fmla="*/ 478187 h 993885"/>
              <a:gd name="connsiteX379" fmla="*/ 1105581 w 1118906"/>
              <a:gd name="connsiteY379" fmla="*/ 477377 h 993885"/>
              <a:gd name="connsiteX380" fmla="*/ 1105581 w 1118906"/>
              <a:gd name="connsiteY380" fmla="*/ 431102 h 993885"/>
              <a:gd name="connsiteX381" fmla="*/ 1106912 w 1118906"/>
              <a:gd name="connsiteY381" fmla="*/ 421095 h 993885"/>
              <a:gd name="connsiteX382" fmla="*/ 1101127 w 1118906"/>
              <a:gd name="connsiteY382" fmla="*/ 426532 h 993885"/>
              <a:gd name="connsiteX383" fmla="*/ 1096846 w 1118906"/>
              <a:gd name="connsiteY383" fmla="*/ 428615 h 993885"/>
              <a:gd name="connsiteX384" fmla="*/ 1080997 w 1118906"/>
              <a:gd name="connsiteY384" fmla="*/ 404956 h 993885"/>
              <a:gd name="connsiteX385" fmla="*/ 1062892 w 1118906"/>
              <a:gd name="connsiteY385" fmla="*/ 384942 h 993885"/>
              <a:gd name="connsiteX386" fmla="*/ 1061157 w 1118906"/>
              <a:gd name="connsiteY386" fmla="*/ 384942 h 993885"/>
              <a:gd name="connsiteX387" fmla="*/ 1059017 w 1118906"/>
              <a:gd name="connsiteY387" fmla="*/ 384942 h 993885"/>
              <a:gd name="connsiteX388" fmla="*/ 1052827 w 1118906"/>
              <a:gd name="connsiteY388" fmla="*/ 377538 h 993885"/>
              <a:gd name="connsiteX389" fmla="*/ 1047794 w 1118906"/>
              <a:gd name="connsiteY389" fmla="*/ 371754 h 993885"/>
              <a:gd name="connsiteX390" fmla="*/ 1040448 w 1118906"/>
              <a:gd name="connsiteY390" fmla="*/ 369266 h 993885"/>
              <a:gd name="connsiteX391" fmla="*/ 1036747 w 1118906"/>
              <a:gd name="connsiteY391" fmla="*/ 342022 h 993885"/>
              <a:gd name="connsiteX392" fmla="*/ 1036399 w 1118906"/>
              <a:gd name="connsiteY392" fmla="*/ 335833 h 993885"/>
              <a:gd name="connsiteX393" fmla="*/ 1035473 w 1118906"/>
              <a:gd name="connsiteY393" fmla="*/ 335486 h 993885"/>
              <a:gd name="connsiteX394" fmla="*/ 1033507 w 1118906"/>
              <a:gd name="connsiteY394" fmla="*/ 335775 h 993885"/>
              <a:gd name="connsiteX395" fmla="*/ 1030673 w 1118906"/>
              <a:gd name="connsiteY395" fmla="*/ 336180 h 993885"/>
              <a:gd name="connsiteX396" fmla="*/ 1026045 w 1118906"/>
              <a:gd name="connsiteY396" fmla="*/ 333750 h 993885"/>
              <a:gd name="connsiteX397" fmla="*/ 1022170 w 1118906"/>
              <a:gd name="connsiteY397" fmla="*/ 331321 h 993885"/>
              <a:gd name="connsiteX398" fmla="*/ 1016385 w 1118906"/>
              <a:gd name="connsiteY398" fmla="*/ 333345 h 993885"/>
              <a:gd name="connsiteX399" fmla="*/ 1011873 w 1118906"/>
              <a:gd name="connsiteY399" fmla="*/ 335370 h 993885"/>
              <a:gd name="connsiteX400" fmla="*/ 1010080 w 1118906"/>
              <a:gd name="connsiteY400" fmla="*/ 335659 h 993885"/>
              <a:gd name="connsiteX401" fmla="*/ 1006031 w 1118906"/>
              <a:gd name="connsiteY401" fmla="*/ 333403 h 993885"/>
              <a:gd name="connsiteX402" fmla="*/ 1003717 w 1118906"/>
              <a:gd name="connsiteY402" fmla="*/ 315182 h 993885"/>
              <a:gd name="connsiteX403" fmla="*/ 993826 w 1118906"/>
              <a:gd name="connsiteY403" fmla="*/ 296441 h 993885"/>
              <a:gd name="connsiteX404" fmla="*/ 984339 w 1118906"/>
              <a:gd name="connsiteY404" fmla="*/ 275443 h 993885"/>
              <a:gd name="connsiteX405" fmla="*/ 922215 w 1118906"/>
              <a:gd name="connsiteY405" fmla="*/ 239638 h 993885"/>
              <a:gd name="connsiteX406" fmla="*/ 915794 w 1118906"/>
              <a:gd name="connsiteY406" fmla="*/ 227490 h 993885"/>
              <a:gd name="connsiteX407" fmla="*/ 915042 w 1118906"/>
              <a:gd name="connsiteY407" fmla="*/ 220664 h 993885"/>
              <a:gd name="connsiteX408" fmla="*/ 907985 w 1118906"/>
              <a:gd name="connsiteY408" fmla="*/ 186479 h 993885"/>
              <a:gd name="connsiteX409" fmla="*/ 899481 w 1118906"/>
              <a:gd name="connsiteY409" fmla="*/ 171728 h 993885"/>
              <a:gd name="connsiteX410" fmla="*/ 891673 w 1118906"/>
              <a:gd name="connsiteY410" fmla="*/ 157961 h 993885"/>
              <a:gd name="connsiteX411" fmla="*/ 889880 w 1118906"/>
              <a:gd name="connsiteY411" fmla="*/ 143095 h 993885"/>
              <a:gd name="connsiteX412" fmla="*/ 888028 w 1118906"/>
              <a:gd name="connsiteY412" fmla="*/ 124585 h 993885"/>
              <a:gd name="connsiteX413" fmla="*/ 877675 w 1118906"/>
              <a:gd name="connsiteY413" fmla="*/ 111107 h 993885"/>
              <a:gd name="connsiteX414" fmla="*/ 869865 w 1118906"/>
              <a:gd name="connsiteY414" fmla="*/ 103009 h 993885"/>
              <a:gd name="connsiteX415" fmla="*/ 867320 w 1118906"/>
              <a:gd name="connsiteY415" fmla="*/ 100927 h 993885"/>
              <a:gd name="connsiteX416" fmla="*/ 859685 w 1118906"/>
              <a:gd name="connsiteY416" fmla="*/ 102489 h 993885"/>
              <a:gd name="connsiteX417" fmla="*/ 849909 w 1118906"/>
              <a:gd name="connsiteY417" fmla="*/ 104629 h 993885"/>
              <a:gd name="connsiteX418" fmla="*/ 842968 w 1118906"/>
              <a:gd name="connsiteY418" fmla="*/ 102373 h 993885"/>
              <a:gd name="connsiteX419" fmla="*/ 840191 w 1118906"/>
              <a:gd name="connsiteY419" fmla="*/ 76169 h 993885"/>
              <a:gd name="connsiteX420" fmla="*/ 827870 w 1118906"/>
              <a:gd name="connsiteY420" fmla="*/ 33480 h 993885"/>
              <a:gd name="connsiteX421" fmla="*/ 818326 w 1118906"/>
              <a:gd name="connsiteY421" fmla="*/ 11442 h 993885"/>
              <a:gd name="connsiteX422" fmla="*/ 814509 w 1118906"/>
              <a:gd name="connsiteY422" fmla="*/ 162 h 993885"/>
              <a:gd name="connsiteX423" fmla="*/ 813699 w 1118906"/>
              <a:gd name="connsiteY423" fmla="*/ -127 h 993885"/>
              <a:gd name="connsiteX424" fmla="*/ 806121 w 1118906"/>
              <a:gd name="connsiteY424" fmla="*/ 5021 h 993885"/>
              <a:gd name="connsiteX425" fmla="*/ 798775 w 1118906"/>
              <a:gd name="connsiteY425" fmla="*/ 19193 h 993885"/>
              <a:gd name="connsiteX426" fmla="*/ 791775 w 1118906"/>
              <a:gd name="connsiteY426" fmla="*/ 41926 h 993885"/>
              <a:gd name="connsiteX427" fmla="*/ 790850 w 1118906"/>
              <a:gd name="connsiteY427" fmla="*/ 54131 h 993885"/>
              <a:gd name="connsiteX428" fmla="*/ 788131 w 1118906"/>
              <a:gd name="connsiteY428" fmla="*/ 72236 h 993885"/>
              <a:gd name="connsiteX429" fmla="*/ 785702 w 1118906"/>
              <a:gd name="connsiteY429" fmla="*/ 99249 h 993885"/>
              <a:gd name="connsiteX430" fmla="*/ 786049 w 1118906"/>
              <a:gd name="connsiteY430" fmla="*/ 119958 h 993885"/>
              <a:gd name="connsiteX431" fmla="*/ 785066 w 1118906"/>
              <a:gd name="connsiteY431" fmla="*/ 130543 h 993885"/>
              <a:gd name="connsiteX432" fmla="*/ 777372 w 1118906"/>
              <a:gd name="connsiteY432" fmla="*/ 162300 h 993885"/>
              <a:gd name="connsiteX433" fmla="*/ 771588 w 1118906"/>
              <a:gd name="connsiteY433" fmla="*/ 173406 h 993885"/>
              <a:gd name="connsiteX434" fmla="*/ 753714 w 1118906"/>
              <a:gd name="connsiteY434" fmla="*/ 194808 h 993885"/>
              <a:gd name="connsiteX435" fmla="*/ 745153 w 1118906"/>
              <a:gd name="connsiteY435" fmla="*/ 196312 h 993885"/>
              <a:gd name="connsiteX436" fmla="*/ 722016 w 1118906"/>
              <a:gd name="connsiteY436" fmla="*/ 186826 h 993885"/>
              <a:gd name="connsiteX437" fmla="*/ 718834 w 1118906"/>
              <a:gd name="connsiteY437" fmla="*/ 179711 h 993885"/>
              <a:gd name="connsiteX438" fmla="*/ 717157 w 1118906"/>
              <a:gd name="connsiteY438" fmla="*/ 175720 h 993885"/>
              <a:gd name="connsiteX439" fmla="*/ 695870 w 1118906"/>
              <a:gd name="connsiteY439" fmla="*/ 169414 h 993885"/>
              <a:gd name="connsiteX440" fmla="*/ 680715 w 1118906"/>
              <a:gd name="connsiteY440" fmla="*/ 159870 h 993885"/>
              <a:gd name="connsiteX441" fmla="*/ 668336 w 1118906"/>
              <a:gd name="connsiteY441" fmla="*/ 148012 h 993885"/>
              <a:gd name="connsiteX442" fmla="*/ 656189 w 1118906"/>
              <a:gd name="connsiteY442" fmla="*/ 143847 h 993885"/>
              <a:gd name="connsiteX443" fmla="*/ 652139 w 1118906"/>
              <a:gd name="connsiteY443" fmla="*/ 143847 h 993885"/>
              <a:gd name="connsiteX444" fmla="*/ 648785 w 1118906"/>
              <a:gd name="connsiteY444" fmla="*/ 143847 h 993885"/>
              <a:gd name="connsiteX445" fmla="*/ 640108 w 1118906"/>
              <a:gd name="connsiteY445" fmla="*/ 137369 h 993885"/>
              <a:gd name="connsiteX446" fmla="*/ 625126 w 1118906"/>
              <a:gd name="connsiteY446" fmla="*/ 119206 h 993885"/>
              <a:gd name="connsiteX447" fmla="*/ 622350 w 1118906"/>
              <a:gd name="connsiteY447" fmla="*/ 117355 h 993885"/>
              <a:gd name="connsiteX448" fmla="*/ 615929 w 1118906"/>
              <a:gd name="connsiteY448" fmla="*/ 110471 h 993885"/>
              <a:gd name="connsiteX449" fmla="*/ 621714 w 1118906"/>
              <a:gd name="connsiteY449" fmla="*/ 104687 h 993885"/>
              <a:gd name="connsiteX450" fmla="*/ 625011 w 1118906"/>
              <a:gd name="connsiteY450" fmla="*/ 102315 h 993885"/>
              <a:gd name="connsiteX451" fmla="*/ 627151 w 1118906"/>
              <a:gd name="connsiteY451" fmla="*/ 80739 h 993885"/>
              <a:gd name="connsiteX452" fmla="*/ 625936 w 1118906"/>
              <a:gd name="connsiteY452" fmla="*/ 75591 h 993885"/>
              <a:gd name="connsiteX453" fmla="*/ 633745 w 1118906"/>
              <a:gd name="connsiteY453" fmla="*/ 71079 h 993885"/>
              <a:gd name="connsiteX454" fmla="*/ 645314 w 1118906"/>
              <a:gd name="connsiteY454" fmla="*/ 66452 h 993885"/>
              <a:gd name="connsiteX455" fmla="*/ 650346 w 1118906"/>
              <a:gd name="connsiteY455" fmla="*/ 56618 h 993885"/>
              <a:gd name="connsiteX456" fmla="*/ 654337 w 1118906"/>
              <a:gd name="connsiteY456" fmla="*/ 48283 h 993885"/>
              <a:gd name="connsiteX457" fmla="*/ 654511 w 1118906"/>
              <a:gd name="connsiteY457" fmla="*/ 48231 h 993885"/>
              <a:gd name="connsiteX458" fmla="*/ 658445 w 1118906"/>
              <a:gd name="connsiteY458" fmla="*/ 43950 h 993885"/>
              <a:gd name="connsiteX459" fmla="*/ 648669 w 1118906"/>
              <a:gd name="connsiteY459" fmla="*/ 37067 h 993885"/>
              <a:gd name="connsiteX460" fmla="*/ 646992 w 1118906"/>
              <a:gd name="connsiteY460" fmla="*/ 37067 h 993885"/>
              <a:gd name="connsiteX461" fmla="*/ 641959 w 1118906"/>
              <a:gd name="connsiteY461" fmla="*/ 42851 h 993885"/>
              <a:gd name="connsiteX462" fmla="*/ 638951 w 1118906"/>
              <a:gd name="connsiteY462" fmla="*/ 47941 h 993885"/>
              <a:gd name="connsiteX463" fmla="*/ 638199 w 1118906"/>
              <a:gd name="connsiteY463" fmla="*/ 47941 h 993885"/>
              <a:gd name="connsiteX464" fmla="*/ 631894 w 1118906"/>
              <a:gd name="connsiteY464" fmla="*/ 39496 h 993885"/>
              <a:gd name="connsiteX465" fmla="*/ 628365 w 1118906"/>
              <a:gd name="connsiteY465" fmla="*/ 33307 h 993885"/>
              <a:gd name="connsiteX466" fmla="*/ 624663 w 1118906"/>
              <a:gd name="connsiteY466" fmla="*/ 36373 h 993885"/>
              <a:gd name="connsiteX467" fmla="*/ 611822 w 1118906"/>
              <a:gd name="connsiteY467" fmla="*/ 44008 h 993885"/>
              <a:gd name="connsiteX468" fmla="*/ 606790 w 1118906"/>
              <a:gd name="connsiteY468" fmla="*/ 41405 h 993885"/>
              <a:gd name="connsiteX469" fmla="*/ 554209 w 1118906"/>
              <a:gd name="connsiteY469" fmla="*/ 25440 h 993885"/>
              <a:gd name="connsiteX470" fmla="*/ 538534 w 1118906"/>
              <a:gd name="connsiteY470" fmla="*/ 15086 h 993885"/>
              <a:gd name="connsiteX471" fmla="*/ 529336 w 1118906"/>
              <a:gd name="connsiteY471" fmla="*/ 9649 h 993885"/>
              <a:gd name="connsiteX472" fmla="*/ 527080 w 1118906"/>
              <a:gd name="connsiteY472" fmla="*/ 11384 h 993885"/>
              <a:gd name="connsiteX473" fmla="*/ 533790 w 1118906"/>
              <a:gd name="connsiteY473" fmla="*/ 19771 h 993885"/>
              <a:gd name="connsiteX474" fmla="*/ 540038 w 1118906"/>
              <a:gd name="connsiteY474" fmla="*/ 25961 h 993885"/>
              <a:gd name="connsiteX475" fmla="*/ 541310 w 1118906"/>
              <a:gd name="connsiteY475" fmla="*/ 31340 h 993885"/>
              <a:gd name="connsiteX476" fmla="*/ 506604 w 1118906"/>
              <a:gd name="connsiteY476" fmla="*/ 41636 h 993885"/>
              <a:gd name="connsiteX477" fmla="*/ 497291 w 1118906"/>
              <a:gd name="connsiteY477" fmla="*/ 40537 h 993885"/>
              <a:gd name="connsiteX478" fmla="*/ 493819 w 1118906"/>
              <a:gd name="connsiteY478" fmla="*/ 40017 h 993885"/>
              <a:gd name="connsiteX479" fmla="*/ 494167 w 1118906"/>
              <a:gd name="connsiteY479" fmla="*/ 42157 h 993885"/>
              <a:gd name="connsiteX480" fmla="*/ 494167 w 1118906"/>
              <a:gd name="connsiteY480" fmla="*/ 47132 h 993885"/>
              <a:gd name="connsiteX481" fmla="*/ 490523 w 1118906"/>
              <a:gd name="connsiteY481" fmla="*/ 48520 h 993885"/>
              <a:gd name="connsiteX482" fmla="*/ 489366 w 1118906"/>
              <a:gd name="connsiteY482" fmla="*/ 48520 h 993885"/>
              <a:gd name="connsiteX483" fmla="*/ 478606 w 1118906"/>
              <a:gd name="connsiteY483" fmla="*/ 60725 h 993885"/>
              <a:gd name="connsiteX484" fmla="*/ 471319 w 1118906"/>
              <a:gd name="connsiteY484" fmla="*/ 72988 h 993885"/>
              <a:gd name="connsiteX485" fmla="*/ 466459 w 1118906"/>
              <a:gd name="connsiteY485" fmla="*/ 83169 h 993885"/>
              <a:gd name="connsiteX486" fmla="*/ 460154 w 1118906"/>
              <a:gd name="connsiteY486" fmla="*/ 93176 h 993885"/>
              <a:gd name="connsiteX487" fmla="*/ 454370 w 1118906"/>
              <a:gd name="connsiteY487" fmla="*/ 100406 h 993885"/>
              <a:gd name="connsiteX488" fmla="*/ 461658 w 1118906"/>
              <a:gd name="connsiteY488" fmla="*/ 114520 h 993885"/>
              <a:gd name="connsiteX489" fmla="*/ 465071 w 1118906"/>
              <a:gd name="connsiteY489" fmla="*/ 123197 h 993885"/>
              <a:gd name="connsiteX490" fmla="*/ 460097 w 1118906"/>
              <a:gd name="connsiteY490" fmla="*/ 125684 h 993885"/>
              <a:gd name="connsiteX491" fmla="*/ 446098 w 1118906"/>
              <a:gd name="connsiteY491" fmla="*/ 119090 h 993885"/>
              <a:gd name="connsiteX492" fmla="*/ 431811 w 1118906"/>
              <a:gd name="connsiteY492" fmla="*/ 113884 h 993885"/>
              <a:gd name="connsiteX493" fmla="*/ 430480 w 1118906"/>
              <a:gd name="connsiteY493" fmla="*/ 119669 h 993885"/>
              <a:gd name="connsiteX494" fmla="*/ 428976 w 1118906"/>
              <a:gd name="connsiteY494" fmla="*/ 125453 h 993885"/>
              <a:gd name="connsiteX495" fmla="*/ 421977 w 1118906"/>
              <a:gd name="connsiteY495" fmla="*/ 124793 h 993885"/>
              <a:gd name="connsiteX496" fmla="*/ 421572 w 1118906"/>
              <a:gd name="connsiteY496" fmla="*/ 124238 h 993885"/>
              <a:gd name="connsiteX497" fmla="*/ 419143 w 1118906"/>
              <a:gd name="connsiteY497" fmla="*/ 113652 h 993885"/>
              <a:gd name="connsiteX498" fmla="*/ 412143 w 1118906"/>
              <a:gd name="connsiteY498" fmla="*/ 106364 h 993885"/>
              <a:gd name="connsiteX499" fmla="*/ 404046 w 1118906"/>
              <a:gd name="connsiteY499" fmla="*/ 101505 h 993885"/>
              <a:gd name="connsiteX500" fmla="*/ 382701 w 1118906"/>
              <a:gd name="connsiteY500" fmla="*/ 85251 h 993885"/>
              <a:gd name="connsiteX501" fmla="*/ 382180 w 1118906"/>
              <a:gd name="connsiteY501" fmla="*/ 85251 h 993885"/>
              <a:gd name="connsiteX502" fmla="*/ 375182 w 1118906"/>
              <a:gd name="connsiteY502" fmla="*/ 89532 h 993885"/>
              <a:gd name="connsiteX503" fmla="*/ 366331 w 1118906"/>
              <a:gd name="connsiteY503" fmla="*/ 94333 h 993885"/>
              <a:gd name="connsiteX504" fmla="*/ 360084 w 1118906"/>
              <a:gd name="connsiteY504" fmla="*/ 96357 h 993885"/>
              <a:gd name="connsiteX505" fmla="*/ 358927 w 1118906"/>
              <a:gd name="connsiteY505" fmla="*/ 105786 h 993885"/>
              <a:gd name="connsiteX506" fmla="*/ 358233 w 1118906"/>
              <a:gd name="connsiteY506" fmla="*/ 109546 h 993885"/>
              <a:gd name="connsiteX507" fmla="*/ 348168 w 1118906"/>
              <a:gd name="connsiteY507" fmla="*/ 109546 h 993885"/>
              <a:gd name="connsiteX508" fmla="*/ 336599 w 1118906"/>
              <a:gd name="connsiteY508" fmla="*/ 107868 h 993885"/>
              <a:gd name="connsiteX509" fmla="*/ 333765 w 1118906"/>
              <a:gd name="connsiteY509" fmla="*/ 109141 h 993885"/>
              <a:gd name="connsiteX510" fmla="*/ 333765 w 1118906"/>
              <a:gd name="connsiteY510" fmla="*/ 114115 h 993885"/>
              <a:gd name="connsiteX511" fmla="*/ 333765 w 1118906"/>
              <a:gd name="connsiteY511" fmla="*/ 118917 h 993885"/>
              <a:gd name="connsiteX512" fmla="*/ 331798 w 1118906"/>
              <a:gd name="connsiteY512" fmla="*/ 120016 h 993885"/>
              <a:gd name="connsiteX513" fmla="*/ 328038 w 1118906"/>
              <a:gd name="connsiteY513" fmla="*/ 123313 h 993885"/>
              <a:gd name="connsiteX514" fmla="*/ 318898 w 1118906"/>
              <a:gd name="connsiteY514" fmla="*/ 129097 h 993885"/>
              <a:gd name="connsiteX515" fmla="*/ 316296 w 1118906"/>
              <a:gd name="connsiteY515" fmla="*/ 130312 h 993885"/>
              <a:gd name="connsiteX516" fmla="*/ 314560 w 1118906"/>
              <a:gd name="connsiteY516" fmla="*/ 154433 h 993885"/>
              <a:gd name="connsiteX517" fmla="*/ 313924 w 1118906"/>
              <a:gd name="connsiteY517" fmla="*/ 158077 h 993885"/>
              <a:gd name="connsiteX518" fmla="*/ 311784 w 1118906"/>
              <a:gd name="connsiteY518" fmla="*/ 158945 h 993885"/>
              <a:gd name="connsiteX519" fmla="*/ 305305 w 1118906"/>
              <a:gd name="connsiteY519" fmla="*/ 156689 h 993885"/>
              <a:gd name="connsiteX520" fmla="*/ 295646 w 1118906"/>
              <a:gd name="connsiteY520" fmla="*/ 153623 h 993885"/>
              <a:gd name="connsiteX521" fmla="*/ 293794 w 1118906"/>
              <a:gd name="connsiteY521" fmla="*/ 153623 h 993885"/>
              <a:gd name="connsiteX522" fmla="*/ 291712 w 1118906"/>
              <a:gd name="connsiteY522" fmla="*/ 155011 h 993885"/>
              <a:gd name="connsiteX523" fmla="*/ 294257 w 1118906"/>
              <a:gd name="connsiteY523" fmla="*/ 162242 h 993885"/>
              <a:gd name="connsiteX524" fmla="*/ 298827 w 1118906"/>
              <a:gd name="connsiteY524" fmla="*/ 172885 h 993885"/>
              <a:gd name="connsiteX525" fmla="*/ 293621 w 1118906"/>
              <a:gd name="connsiteY525" fmla="*/ 185264 h 993885"/>
              <a:gd name="connsiteX526" fmla="*/ 290034 w 1118906"/>
              <a:gd name="connsiteY526" fmla="*/ 187809 h 993885"/>
              <a:gd name="connsiteX527" fmla="*/ 287663 w 1118906"/>
              <a:gd name="connsiteY527" fmla="*/ 188850 h 993885"/>
              <a:gd name="connsiteX528" fmla="*/ 280433 w 1118906"/>
              <a:gd name="connsiteY528" fmla="*/ 180520 h 993885"/>
              <a:gd name="connsiteX529" fmla="*/ 277193 w 1118906"/>
              <a:gd name="connsiteY529" fmla="*/ 166406 h 993885"/>
              <a:gd name="connsiteX530" fmla="*/ 275921 w 1118906"/>
              <a:gd name="connsiteY530" fmla="*/ 163746 h 993885"/>
              <a:gd name="connsiteX531" fmla="*/ 257931 w 1118906"/>
              <a:gd name="connsiteY531" fmla="*/ 178091 h 993885"/>
              <a:gd name="connsiteX532" fmla="*/ 256485 w 1118906"/>
              <a:gd name="connsiteY532" fmla="*/ 200246 h 993885"/>
              <a:gd name="connsiteX533" fmla="*/ 256485 w 1118906"/>
              <a:gd name="connsiteY533" fmla="*/ 210368 h 993885"/>
              <a:gd name="connsiteX534" fmla="*/ 217382 w 1118906"/>
              <a:gd name="connsiteY534" fmla="*/ 248892 h 993885"/>
              <a:gd name="connsiteX535" fmla="*/ 185568 w 1118906"/>
              <a:gd name="connsiteY535" fmla="*/ 259189 h 993885"/>
              <a:gd name="connsiteX536" fmla="*/ 168793 w 1118906"/>
              <a:gd name="connsiteY536" fmla="*/ 262428 h 993885"/>
              <a:gd name="connsiteX537" fmla="*/ 154852 w 1118906"/>
              <a:gd name="connsiteY537" fmla="*/ 267171 h 993885"/>
              <a:gd name="connsiteX538" fmla="*/ 142705 w 1118906"/>
              <a:gd name="connsiteY538" fmla="*/ 270873 h 993885"/>
              <a:gd name="connsiteX539" fmla="*/ 141779 w 1118906"/>
              <a:gd name="connsiteY539" fmla="*/ 271625 h 993885"/>
              <a:gd name="connsiteX540" fmla="*/ 119047 w 1118906"/>
              <a:gd name="connsiteY540" fmla="*/ 285161 h 993885"/>
              <a:gd name="connsiteX541" fmla="*/ 114882 w 1118906"/>
              <a:gd name="connsiteY541" fmla="*/ 281748 h 993885"/>
              <a:gd name="connsiteX542" fmla="*/ 109098 w 1118906"/>
              <a:gd name="connsiteY542" fmla="*/ 279029 h 993885"/>
              <a:gd name="connsiteX543" fmla="*/ 84051 w 1118906"/>
              <a:gd name="connsiteY543" fmla="*/ 290193 h 993885"/>
              <a:gd name="connsiteX544" fmla="*/ 49344 w 1118906"/>
              <a:gd name="connsiteY544" fmla="*/ 309340 h 993885"/>
              <a:gd name="connsiteX545" fmla="*/ 39337 w 1118906"/>
              <a:gd name="connsiteY545" fmla="*/ 321429 h 993885"/>
              <a:gd name="connsiteX546" fmla="*/ 35519 w 1118906"/>
              <a:gd name="connsiteY546" fmla="*/ 329007 h 993885"/>
              <a:gd name="connsiteX547" fmla="*/ 32338 w 1118906"/>
              <a:gd name="connsiteY547" fmla="*/ 329175 h 993885"/>
              <a:gd name="connsiteX548" fmla="*/ 32165 w 1118906"/>
              <a:gd name="connsiteY548" fmla="*/ 329007 h 993885"/>
              <a:gd name="connsiteX549" fmla="*/ 30545 w 1118906"/>
              <a:gd name="connsiteY549" fmla="*/ 313678 h 993885"/>
              <a:gd name="connsiteX550" fmla="*/ 30545 w 1118906"/>
              <a:gd name="connsiteY550" fmla="*/ 311654 h 993885"/>
              <a:gd name="connsiteX551" fmla="*/ 18976 w 1118906"/>
              <a:gd name="connsiteY551" fmla="*/ 331436 h 993885"/>
              <a:gd name="connsiteX552" fmla="*/ 20769 w 1118906"/>
              <a:gd name="connsiteY552" fmla="*/ 344451 h 993885"/>
              <a:gd name="connsiteX553" fmla="*/ 20075 w 1118906"/>
              <a:gd name="connsiteY553" fmla="*/ 362615 h 993885"/>
              <a:gd name="connsiteX554" fmla="*/ 15216 w 1118906"/>
              <a:gd name="connsiteY554" fmla="*/ 404899 h 993885"/>
              <a:gd name="connsiteX555" fmla="*/ 31008 w 1118906"/>
              <a:gd name="connsiteY555" fmla="*/ 442440 h 993885"/>
              <a:gd name="connsiteX556" fmla="*/ 27884 w 1118906"/>
              <a:gd name="connsiteY556" fmla="*/ 444811 h 993885"/>
              <a:gd name="connsiteX557" fmla="*/ 18918 w 1118906"/>
              <a:gd name="connsiteY557" fmla="*/ 435209 h 993885"/>
              <a:gd name="connsiteX558" fmla="*/ 14233 w 1118906"/>
              <a:gd name="connsiteY558" fmla="*/ 428904 h 993885"/>
              <a:gd name="connsiteX559" fmla="*/ 17935 w 1118906"/>
              <a:gd name="connsiteY559" fmla="*/ 435035 h 993885"/>
              <a:gd name="connsiteX560" fmla="*/ 22504 w 1118906"/>
              <a:gd name="connsiteY560" fmla="*/ 448050 h 993885"/>
              <a:gd name="connsiteX561" fmla="*/ 20248 w 1118906"/>
              <a:gd name="connsiteY561" fmla="*/ 449265 h 993885"/>
              <a:gd name="connsiteX562" fmla="*/ 10473 w 1118906"/>
              <a:gd name="connsiteY562" fmla="*/ 440415 h 993885"/>
              <a:gd name="connsiteX563" fmla="*/ 3300 w 1118906"/>
              <a:gd name="connsiteY563" fmla="*/ 433069 h 993885"/>
              <a:gd name="connsiteX564" fmla="*/ 14059 w 1118906"/>
              <a:gd name="connsiteY564" fmla="*/ 455744 h 993885"/>
              <a:gd name="connsiteX565" fmla="*/ 31413 w 1118906"/>
              <a:gd name="connsiteY565" fmla="*/ 494326 h 993885"/>
              <a:gd name="connsiteX566" fmla="*/ 41246 w 1118906"/>
              <a:gd name="connsiteY566" fmla="*/ 513935 h 993885"/>
              <a:gd name="connsiteX567" fmla="*/ 54435 w 1118906"/>
              <a:gd name="connsiteY567" fmla="*/ 545923 h 993885"/>
              <a:gd name="connsiteX568" fmla="*/ 78498 w 1118906"/>
              <a:gd name="connsiteY568" fmla="*/ 607585 h 993885"/>
              <a:gd name="connsiteX569" fmla="*/ 76704 w 1118906"/>
              <a:gd name="connsiteY569" fmla="*/ 620831 h 993885"/>
              <a:gd name="connsiteX570" fmla="*/ 72598 w 1118906"/>
              <a:gd name="connsiteY570" fmla="*/ 644374 h 993885"/>
              <a:gd name="connsiteX571" fmla="*/ 69069 w 1118906"/>
              <a:gd name="connsiteY571" fmla="*/ 662826 h 993885"/>
              <a:gd name="connsiteX572" fmla="*/ 55765 w 1118906"/>
              <a:gd name="connsiteY572" fmla="*/ 668090 h 993885"/>
              <a:gd name="connsiteX573" fmla="*/ 51658 w 1118906"/>
              <a:gd name="connsiteY573" fmla="*/ 671052 h 993885"/>
              <a:gd name="connsiteX574" fmla="*/ 51600 w 1118906"/>
              <a:gd name="connsiteY574" fmla="*/ 671677 h 993885"/>
              <a:gd name="connsiteX575" fmla="*/ 63169 w 1118906"/>
              <a:gd name="connsiteY575" fmla="*/ 684055 h 993885"/>
              <a:gd name="connsiteX576" fmla="*/ 74102 w 1118906"/>
              <a:gd name="connsiteY576" fmla="*/ 691459 h 993885"/>
              <a:gd name="connsiteX577" fmla="*/ 83704 w 1118906"/>
              <a:gd name="connsiteY577" fmla="*/ 701813 h 993885"/>
              <a:gd name="connsiteX578" fmla="*/ 115923 w 1118906"/>
              <a:gd name="connsiteY578" fmla="*/ 707598 h 993885"/>
              <a:gd name="connsiteX579" fmla="*/ 129400 w 1118906"/>
              <a:gd name="connsiteY579" fmla="*/ 707251 h 993885"/>
              <a:gd name="connsiteX580" fmla="*/ 136342 w 1118906"/>
              <a:gd name="connsiteY580" fmla="*/ 707251 h 993885"/>
              <a:gd name="connsiteX581" fmla="*/ 147101 w 1118906"/>
              <a:gd name="connsiteY581" fmla="*/ 700425 h 993885"/>
              <a:gd name="connsiteX582" fmla="*/ 163587 w 1118906"/>
              <a:gd name="connsiteY582" fmla="*/ 690881 h 993885"/>
              <a:gd name="connsiteX583" fmla="*/ 178453 w 1118906"/>
              <a:gd name="connsiteY583" fmla="*/ 683245 h 993885"/>
              <a:gd name="connsiteX584" fmla="*/ 182154 w 1118906"/>
              <a:gd name="connsiteY584" fmla="*/ 677981 h 993885"/>
              <a:gd name="connsiteX585" fmla="*/ 212234 w 1118906"/>
              <a:gd name="connsiteY585" fmla="*/ 671561 h 993885"/>
              <a:gd name="connsiteX586" fmla="*/ 247692 w 1118906"/>
              <a:gd name="connsiteY586" fmla="*/ 673007 h 993885"/>
              <a:gd name="connsiteX587" fmla="*/ 253477 w 1118906"/>
              <a:gd name="connsiteY587" fmla="*/ 673354 h 993885"/>
              <a:gd name="connsiteX588" fmla="*/ 303223 w 1118906"/>
              <a:gd name="connsiteY588" fmla="*/ 652819 h 993885"/>
              <a:gd name="connsiteX589" fmla="*/ 323700 w 1118906"/>
              <a:gd name="connsiteY589" fmla="*/ 639573 h 993885"/>
              <a:gd name="connsiteX590" fmla="*/ 339838 w 1118906"/>
              <a:gd name="connsiteY590" fmla="*/ 631822 h 993885"/>
              <a:gd name="connsiteX591" fmla="*/ 366909 w 1118906"/>
              <a:gd name="connsiteY591" fmla="*/ 623145 h 993885"/>
              <a:gd name="connsiteX592" fmla="*/ 381313 w 1118906"/>
              <a:gd name="connsiteY592" fmla="*/ 623608 h 993885"/>
              <a:gd name="connsiteX593" fmla="*/ 431464 w 1118906"/>
              <a:gd name="connsiteY593" fmla="*/ 610477 h 993885"/>
              <a:gd name="connsiteX594" fmla="*/ 441355 w 1118906"/>
              <a:gd name="connsiteY594" fmla="*/ 606197 h 993885"/>
              <a:gd name="connsiteX595" fmla="*/ 475541 w 1118906"/>
              <a:gd name="connsiteY595" fmla="*/ 601280 h 993885"/>
              <a:gd name="connsiteX596" fmla="*/ 499084 w 1118906"/>
              <a:gd name="connsiteY596" fmla="*/ 598850 h 993885"/>
              <a:gd name="connsiteX597" fmla="*/ 502496 w 1118906"/>
              <a:gd name="connsiteY597" fmla="*/ 598388 h 993885"/>
              <a:gd name="connsiteX598" fmla="*/ 516090 w 1118906"/>
              <a:gd name="connsiteY598" fmla="*/ 606602 h 993885"/>
              <a:gd name="connsiteX599" fmla="*/ 532518 w 1118906"/>
              <a:gd name="connsiteY599" fmla="*/ 615163 h 993885"/>
              <a:gd name="connsiteX600" fmla="*/ 538302 w 1118906"/>
              <a:gd name="connsiteY600" fmla="*/ 614816 h 993885"/>
              <a:gd name="connsiteX601" fmla="*/ 554846 w 1118906"/>
              <a:gd name="connsiteY601" fmla="*/ 617650 h 993885"/>
              <a:gd name="connsiteX602" fmla="*/ 564852 w 1118906"/>
              <a:gd name="connsiteY602" fmla="*/ 619443 h 993885"/>
              <a:gd name="connsiteX603" fmla="*/ 574049 w 1118906"/>
              <a:gd name="connsiteY603" fmla="*/ 623203 h 993885"/>
              <a:gd name="connsiteX604" fmla="*/ 580933 w 1118906"/>
              <a:gd name="connsiteY604" fmla="*/ 627310 h 993885"/>
              <a:gd name="connsiteX605" fmla="*/ 587470 w 1118906"/>
              <a:gd name="connsiteY605" fmla="*/ 631995 h 993885"/>
              <a:gd name="connsiteX606" fmla="*/ 583421 w 1118906"/>
              <a:gd name="connsiteY606" fmla="*/ 645994 h 993885"/>
              <a:gd name="connsiteX607" fmla="*/ 582669 w 1118906"/>
              <a:gd name="connsiteY607" fmla="*/ 648365 h 993885"/>
              <a:gd name="connsiteX608" fmla="*/ 589205 w 1118906"/>
              <a:gd name="connsiteY608" fmla="*/ 653108 h 993885"/>
              <a:gd name="connsiteX609" fmla="*/ 607657 w 1118906"/>
              <a:gd name="connsiteY609" fmla="*/ 667743 h 993885"/>
              <a:gd name="connsiteX610" fmla="*/ 612979 w 1118906"/>
              <a:gd name="connsiteY610" fmla="*/ 686774 h 993885"/>
              <a:gd name="connsiteX611" fmla="*/ 614425 w 1118906"/>
              <a:gd name="connsiteY611" fmla="*/ 698343 h 993885"/>
              <a:gd name="connsiteX612" fmla="*/ 620557 w 1118906"/>
              <a:gd name="connsiteY612" fmla="*/ 705052 h 993885"/>
              <a:gd name="connsiteX613" fmla="*/ 634902 w 1118906"/>
              <a:gd name="connsiteY613" fmla="*/ 690302 h 993885"/>
              <a:gd name="connsiteX614" fmla="*/ 653007 w 1118906"/>
              <a:gd name="connsiteY614" fmla="*/ 678733 h 993885"/>
              <a:gd name="connsiteX615" fmla="*/ 661915 w 1118906"/>
              <a:gd name="connsiteY615" fmla="*/ 670288 h 993885"/>
              <a:gd name="connsiteX616" fmla="*/ 681640 w 1118906"/>
              <a:gd name="connsiteY616" fmla="*/ 643333 h 993885"/>
              <a:gd name="connsiteX617" fmla="*/ 686846 w 1118906"/>
              <a:gd name="connsiteY617" fmla="*/ 645357 h 993885"/>
              <a:gd name="connsiteX618" fmla="*/ 686268 w 1118906"/>
              <a:gd name="connsiteY618" fmla="*/ 658835 h 993885"/>
              <a:gd name="connsiteX619" fmla="*/ 675682 w 1118906"/>
              <a:gd name="connsiteY619" fmla="*/ 685212 h 993885"/>
              <a:gd name="connsiteX620" fmla="*/ 661857 w 1118906"/>
              <a:gd name="connsiteY620" fmla="*/ 704474 h 993885"/>
              <a:gd name="connsiteX621" fmla="*/ 658734 w 1118906"/>
              <a:gd name="connsiteY621" fmla="*/ 706383 h 993885"/>
              <a:gd name="connsiteX622" fmla="*/ 659313 w 1118906"/>
              <a:gd name="connsiteY622" fmla="*/ 708523 h 993885"/>
              <a:gd name="connsiteX623" fmla="*/ 670476 w 1118906"/>
              <a:gd name="connsiteY623" fmla="*/ 712225 h 993885"/>
              <a:gd name="connsiteX624" fmla="*/ 682045 w 1118906"/>
              <a:gd name="connsiteY624" fmla="*/ 703722 h 993885"/>
              <a:gd name="connsiteX625" fmla="*/ 688929 w 1118906"/>
              <a:gd name="connsiteY625" fmla="*/ 687526 h 993885"/>
              <a:gd name="connsiteX626" fmla="*/ 699167 w 1118906"/>
              <a:gd name="connsiteY626" fmla="*/ 695161 h 993885"/>
              <a:gd name="connsiteX627" fmla="*/ 698242 w 1118906"/>
              <a:gd name="connsiteY627" fmla="*/ 718299 h 993885"/>
              <a:gd name="connsiteX628" fmla="*/ 695696 w 1118906"/>
              <a:gd name="connsiteY628" fmla="*/ 725761 h 993885"/>
              <a:gd name="connsiteX629" fmla="*/ 698473 w 1118906"/>
              <a:gd name="connsiteY629" fmla="*/ 727323 h 993885"/>
              <a:gd name="connsiteX630" fmla="*/ 705761 w 1118906"/>
              <a:gd name="connsiteY630" fmla="*/ 725645 h 993885"/>
              <a:gd name="connsiteX631" fmla="*/ 714727 w 1118906"/>
              <a:gd name="connsiteY631" fmla="*/ 723794 h 993885"/>
              <a:gd name="connsiteX632" fmla="*/ 729246 w 1118906"/>
              <a:gd name="connsiteY632" fmla="*/ 734611 h 993885"/>
              <a:gd name="connsiteX633" fmla="*/ 738791 w 1118906"/>
              <a:gd name="connsiteY633" fmla="*/ 762781 h 993885"/>
              <a:gd name="connsiteX634" fmla="*/ 738385 w 1118906"/>
              <a:gd name="connsiteY634" fmla="*/ 764748 h 993885"/>
              <a:gd name="connsiteX635" fmla="*/ 752673 w 1118906"/>
              <a:gd name="connsiteY635" fmla="*/ 796620 h 993885"/>
              <a:gd name="connsiteX636" fmla="*/ 767250 w 1118906"/>
              <a:gd name="connsiteY636" fmla="*/ 805528 h 993885"/>
              <a:gd name="connsiteX637" fmla="*/ 780034 w 1118906"/>
              <a:gd name="connsiteY637" fmla="*/ 808594 h 993885"/>
              <a:gd name="connsiteX638" fmla="*/ 835911 w 1118906"/>
              <a:gd name="connsiteY638" fmla="*/ 828319 h 993885"/>
              <a:gd name="connsiteX639" fmla="*/ 841695 w 1118906"/>
              <a:gd name="connsiteY639" fmla="*/ 830112 h 993885"/>
              <a:gd name="connsiteX640" fmla="*/ 868709 w 1118906"/>
              <a:gd name="connsiteY640" fmla="*/ 808825 h 993885"/>
              <a:gd name="connsiteX641" fmla="*/ 876344 w 1118906"/>
              <a:gd name="connsiteY641" fmla="*/ 801595 h 993885"/>
              <a:gd name="connsiteX642" fmla="*/ 884732 w 1118906"/>
              <a:gd name="connsiteY642" fmla="*/ 808016 h 993885"/>
              <a:gd name="connsiteX643" fmla="*/ 881897 w 1118906"/>
              <a:gd name="connsiteY643" fmla="*/ 814378 h 993885"/>
              <a:gd name="connsiteX644" fmla="*/ 879699 w 1118906"/>
              <a:gd name="connsiteY644" fmla="*/ 818948 h 993885"/>
              <a:gd name="connsiteX645" fmla="*/ 884095 w 1118906"/>
              <a:gd name="connsiteY645" fmla="*/ 823460 h 993885"/>
              <a:gd name="connsiteX646" fmla="*/ 885078 w 1118906"/>
              <a:gd name="connsiteY646" fmla="*/ 821783 h 993885"/>
              <a:gd name="connsiteX647" fmla="*/ 888376 w 1118906"/>
              <a:gd name="connsiteY647" fmla="*/ 812238 h 993885"/>
              <a:gd name="connsiteX648" fmla="*/ 656999 w 1118906"/>
              <a:gd name="connsiteY648" fmla="*/ 744849 h 993885"/>
              <a:gd name="connsiteX649" fmla="*/ 656999 w 1118906"/>
              <a:gd name="connsiteY649" fmla="*/ 744849 h 993885"/>
              <a:gd name="connsiteX650" fmla="*/ 643000 w 1118906"/>
              <a:gd name="connsiteY650" fmla="*/ 740974 h 993885"/>
              <a:gd name="connsiteX651" fmla="*/ 642248 w 1118906"/>
              <a:gd name="connsiteY651" fmla="*/ 738198 h 993885"/>
              <a:gd name="connsiteX652" fmla="*/ 668452 w 1118906"/>
              <a:gd name="connsiteY652" fmla="*/ 730909 h 993885"/>
              <a:gd name="connsiteX653" fmla="*/ 677360 w 1118906"/>
              <a:gd name="connsiteY653" fmla="*/ 733396 h 993885"/>
              <a:gd name="connsiteX654" fmla="*/ 677360 w 1118906"/>
              <a:gd name="connsiteY654" fmla="*/ 736404 h 993885"/>
              <a:gd name="connsiteX655" fmla="*/ 657057 w 1118906"/>
              <a:gd name="connsiteY655" fmla="*/ 744965 h 993885"/>
              <a:gd name="connsiteX656" fmla="*/ 644330 w 1118906"/>
              <a:gd name="connsiteY656" fmla="*/ 739065 h 993885"/>
              <a:gd name="connsiteX657" fmla="*/ 644330 w 1118906"/>
              <a:gd name="connsiteY657" fmla="*/ 739065 h 993885"/>
              <a:gd name="connsiteX658" fmla="*/ 656825 w 1118906"/>
              <a:gd name="connsiteY658" fmla="*/ 742362 h 993885"/>
              <a:gd name="connsiteX659" fmla="*/ 675277 w 1118906"/>
              <a:gd name="connsiteY659" fmla="*/ 735247 h 993885"/>
              <a:gd name="connsiteX660" fmla="*/ 675277 w 1118906"/>
              <a:gd name="connsiteY660" fmla="*/ 734437 h 993885"/>
              <a:gd name="connsiteX661" fmla="*/ 668220 w 1118906"/>
              <a:gd name="connsiteY661" fmla="*/ 732991 h 993885"/>
              <a:gd name="connsiteX662" fmla="*/ 644100 w 1118906"/>
              <a:gd name="connsiteY662" fmla="*/ 738776 h 993885"/>
              <a:gd name="connsiteX663" fmla="*/ 480574 w 1118906"/>
              <a:gd name="connsiteY663" fmla="*/ 34290 h 993885"/>
              <a:gd name="connsiteX664" fmla="*/ 480574 w 1118906"/>
              <a:gd name="connsiteY664" fmla="*/ 34290 h 993885"/>
              <a:gd name="connsiteX665" fmla="*/ 471607 w 1118906"/>
              <a:gd name="connsiteY665" fmla="*/ 32323 h 993885"/>
              <a:gd name="connsiteX666" fmla="*/ 470103 w 1118906"/>
              <a:gd name="connsiteY666" fmla="*/ 28217 h 993885"/>
              <a:gd name="connsiteX667" fmla="*/ 499026 w 1118906"/>
              <a:gd name="connsiteY667" fmla="*/ 19019 h 993885"/>
              <a:gd name="connsiteX668" fmla="*/ 508512 w 1118906"/>
              <a:gd name="connsiteY668" fmla="*/ 22721 h 993885"/>
              <a:gd name="connsiteX669" fmla="*/ 507298 w 1118906"/>
              <a:gd name="connsiteY669" fmla="*/ 26308 h 993885"/>
              <a:gd name="connsiteX670" fmla="*/ 480632 w 1118906"/>
              <a:gd name="connsiteY670" fmla="*/ 34348 h 993885"/>
              <a:gd name="connsiteX671" fmla="*/ 499141 w 1118906"/>
              <a:gd name="connsiteY671" fmla="*/ 21275 h 993885"/>
              <a:gd name="connsiteX672" fmla="*/ 472244 w 1118906"/>
              <a:gd name="connsiteY672" fmla="*/ 28968 h 993885"/>
              <a:gd name="connsiteX673" fmla="*/ 473054 w 1118906"/>
              <a:gd name="connsiteY673" fmla="*/ 30530 h 993885"/>
              <a:gd name="connsiteX674" fmla="*/ 480574 w 1118906"/>
              <a:gd name="connsiteY674" fmla="*/ 32034 h 993885"/>
              <a:gd name="connsiteX675" fmla="*/ 505736 w 1118906"/>
              <a:gd name="connsiteY675" fmla="*/ 24862 h 993885"/>
              <a:gd name="connsiteX676" fmla="*/ 506372 w 1118906"/>
              <a:gd name="connsiteY676" fmla="*/ 23126 h 993885"/>
              <a:gd name="connsiteX677" fmla="*/ 499199 w 1118906"/>
              <a:gd name="connsiteY677" fmla="*/ 21333 h 993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Lst>
            <a:rect l="l" t="t" r="r" b="b"/>
            <a:pathLst>
              <a:path w="1118906" h="993885">
                <a:moveTo>
                  <a:pt x="922099" y="993696"/>
                </a:moveTo>
                <a:cubicBezTo>
                  <a:pt x="921347" y="993776"/>
                  <a:pt x="920595" y="993776"/>
                  <a:pt x="919843" y="993696"/>
                </a:cubicBezTo>
                <a:cubicBezTo>
                  <a:pt x="910183" y="992250"/>
                  <a:pt x="887682" y="973161"/>
                  <a:pt x="882418" y="959972"/>
                </a:cubicBezTo>
                <a:cubicBezTo>
                  <a:pt x="880624" y="956693"/>
                  <a:pt x="880798" y="952696"/>
                  <a:pt x="882822" y="949560"/>
                </a:cubicBezTo>
                <a:cubicBezTo>
                  <a:pt x="887276" y="943776"/>
                  <a:pt x="880104" y="927175"/>
                  <a:pt x="874840" y="914854"/>
                </a:cubicBezTo>
                <a:cubicBezTo>
                  <a:pt x="870328" y="904442"/>
                  <a:pt x="867899" y="898426"/>
                  <a:pt x="869055" y="895823"/>
                </a:cubicBezTo>
                <a:cubicBezTo>
                  <a:pt x="869345" y="895181"/>
                  <a:pt x="869923" y="894712"/>
                  <a:pt x="870617" y="894550"/>
                </a:cubicBezTo>
                <a:cubicBezTo>
                  <a:pt x="875997" y="894834"/>
                  <a:pt x="881203" y="896425"/>
                  <a:pt x="885772" y="899178"/>
                </a:cubicBezTo>
                <a:cubicBezTo>
                  <a:pt x="895548" y="903401"/>
                  <a:pt x="907927" y="908838"/>
                  <a:pt x="917472" y="907797"/>
                </a:cubicBezTo>
                <a:cubicBezTo>
                  <a:pt x="924933" y="906380"/>
                  <a:pt x="932222" y="904049"/>
                  <a:pt x="939105" y="900856"/>
                </a:cubicBezTo>
                <a:cubicBezTo>
                  <a:pt x="945237" y="897928"/>
                  <a:pt x="951831" y="895979"/>
                  <a:pt x="958599" y="895071"/>
                </a:cubicBezTo>
                <a:cubicBezTo>
                  <a:pt x="961202" y="894938"/>
                  <a:pt x="963573" y="896546"/>
                  <a:pt x="964383" y="899005"/>
                </a:cubicBezTo>
                <a:cubicBezTo>
                  <a:pt x="966060" y="904789"/>
                  <a:pt x="973985" y="932843"/>
                  <a:pt x="968432" y="940305"/>
                </a:cubicBezTo>
                <a:cubicBezTo>
                  <a:pt x="967506" y="941526"/>
                  <a:pt x="966060" y="942237"/>
                  <a:pt x="964556" y="942214"/>
                </a:cubicBezTo>
                <a:cubicBezTo>
                  <a:pt x="963804" y="942191"/>
                  <a:pt x="963052" y="942486"/>
                  <a:pt x="962532" y="943024"/>
                </a:cubicBezTo>
                <a:cubicBezTo>
                  <a:pt x="960450" y="945106"/>
                  <a:pt x="960565" y="951180"/>
                  <a:pt x="960623" y="956502"/>
                </a:cubicBezTo>
                <a:cubicBezTo>
                  <a:pt x="960623" y="963385"/>
                  <a:pt x="960623" y="969806"/>
                  <a:pt x="957211" y="971773"/>
                </a:cubicBezTo>
                <a:cubicBezTo>
                  <a:pt x="956227" y="972322"/>
                  <a:pt x="955128" y="972606"/>
                  <a:pt x="954029" y="972582"/>
                </a:cubicBezTo>
                <a:cubicBezTo>
                  <a:pt x="951021" y="972235"/>
                  <a:pt x="948129" y="971032"/>
                  <a:pt x="945757" y="969112"/>
                </a:cubicBezTo>
                <a:cubicBezTo>
                  <a:pt x="944774" y="968279"/>
                  <a:pt x="943617" y="967648"/>
                  <a:pt x="942344" y="967261"/>
                </a:cubicBezTo>
                <a:cubicBezTo>
                  <a:pt x="942344" y="967261"/>
                  <a:pt x="942344" y="967261"/>
                  <a:pt x="942056" y="968013"/>
                </a:cubicBezTo>
                <a:cubicBezTo>
                  <a:pt x="941766" y="969713"/>
                  <a:pt x="941650" y="971437"/>
                  <a:pt x="941708" y="973161"/>
                </a:cubicBezTo>
                <a:cubicBezTo>
                  <a:pt x="941708" y="977731"/>
                  <a:pt x="941708" y="983342"/>
                  <a:pt x="934767" y="982821"/>
                </a:cubicBezTo>
                <a:lnTo>
                  <a:pt x="934362" y="982821"/>
                </a:lnTo>
                <a:cubicBezTo>
                  <a:pt x="932048" y="982821"/>
                  <a:pt x="931296" y="984383"/>
                  <a:pt x="930081" y="987101"/>
                </a:cubicBezTo>
                <a:cubicBezTo>
                  <a:pt x="928867" y="989820"/>
                  <a:pt x="927247" y="993696"/>
                  <a:pt x="922099" y="993696"/>
                </a:cubicBezTo>
                <a:close/>
                <a:moveTo>
                  <a:pt x="871890" y="896517"/>
                </a:moveTo>
                <a:lnTo>
                  <a:pt x="871253" y="896517"/>
                </a:lnTo>
                <a:cubicBezTo>
                  <a:pt x="870271" y="898426"/>
                  <a:pt x="873799" y="906582"/>
                  <a:pt x="877038" y="913871"/>
                </a:cubicBezTo>
                <a:cubicBezTo>
                  <a:pt x="882822" y="927927"/>
                  <a:pt x="889996" y="943950"/>
                  <a:pt x="884732" y="950717"/>
                </a:cubicBezTo>
                <a:cubicBezTo>
                  <a:pt x="883228" y="953251"/>
                  <a:pt x="883228" y="956398"/>
                  <a:pt x="884732" y="958931"/>
                </a:cubicBezTo>
                <a:cubicBezTo>
                  <a:pt x="889938" y="972062"/>
                  <a:pt x="912150" y="989994"/>
                  <a:pt x="920421" y="991266"/>
                </a:cubicBezTo>
                <a:cubicBezTo>
                  <a:pt x="925801" y="992076"/>
                  <a:pt x="927073" y="989299"/>
                  <a:pt x="928519" y="986002"/>
                </a:cubicBezTo>
                <a:cubicBezTo>
                  <a:pt x="929966" y="982705"/>
                  <a:pt x="931065" y="980218"/>
                  <a:pt x="935461" y="980218"/>
                </a:cubicBezTo>
                <a:lnTo>
                  <a:pt x="936155" y="980218"/>
                </a:lnTo>
                <a:cubicBezTo>
                  <a:pt x="939568" y="980218"/>
                  <a:pt x="939915" y="978078"/>
                  <a:pt x="939972" y="972756"/>
                </a:cubicBezTo>
                <a:cubicBezTo>
                  <a:pt x="939915" y="970818"/>
                  <a:pt x="940030" y="968881"/>
                  <a:pt x="940378" y="966972"/>
                </a:cubicBezTo>
                <a:cubicBezTo>
                  <a:pt x="940782" y="964773"/>
                  <a:pt x="942113" y="964426"/>
                  <a:pt x="942865" y="964426"/>
                </a:cubicBezTo>
                <a:cubicBezTo>
                  <a:pt x="944600" y="964739"/>
                  <a:pt x="946220" y="965497"/>
                  <a:pt x="947550" y="966625"/>
                </a:cubicBezTo>
                <a:cubicBezTo>
                  <a:pt x="950443" y="968591"/>
                  <a:pt x="953971" y="970674"/>
                  <a:pt x="956632" y="969228"/>
                </a:cubicBezTo>
                <a:cubicBezTo>
                  <a:pt x="959293" y="967782"/>
                  <a:pt x="958946" y="961592"/>
                  <a:pt x="958888" y="955981"/>
                </a:cubicBezTo>
                <a:cubicBezTo>
                  <a:pt x="958830" y="950370"/>
                  <a:pt x="958888" y="943660"/>
                  <a:pt x="961433" y="940884"/>
                </a:cubicBezTo>
                <a:cubicBezTo>
                  <a:pt x="962416" y="939912"/>
                  <a:pt x="963689" y="939386"/>
                  <a:pt x="965077" y="939438"/>
                </a:cubicBezTo>
                <a:cubicBezTo>
                  <a:pt x="965887" y="939461"/>
                  <a:pt x="966639" y="939068"/>
                  <a:pt x="967102" y="938397"/>
                </a:cubicBezTo>
                <a:cubicBezTo>
                  <a:pt x="971209" y="932612"/>
                  <a:pt x="966060" y="910284"/>
                  <a:pt x="962764" y="899120"/>
                </a:cubicBezTo>
                <a:cubicBezTo>
                  <a:pt x="962416" y="898021"/>
                  <a:pt x="961722" y="896749"/>
                  <a:pt x="958830" y="896749"/>
                </a:cubicBezTo>
                <a:cubicBezTo>
                  <a:pt x="952351" y="897697"/>
                  <a:pt x="946046" y="899652"/>
                  <a:pt x="940204" y="902533"/>
                </a:cubicBezTo>
                <a:cubicBezTo>
                  <a:pt x="933089" y="905772"/>
                  <a:pt x="925627" y="908126"/>
                  <a:pt x="917934" y="909532"/>
                </a:cubicBezTo>
                <a:cubicBezTo>
                  <a:pt x="907985" y="910631"/>
                  <a:pt x="895143" y="905136"/>
                  <a:pt x="885136" y="900798"/>
                </a:cubicBezTo>
                <a:cubicBezTo>
                  <a:pt x="880972" y="898692"/>
                  <a:pt x="876517" y="897194"/>
                  <a:pt x="871890" y="896344"/>
                </a:cubicBezTo>
                <a:close/>
                <a:moveTo>
                  <a:pt x="917703" y="844457"/>
                </a:moveTo>
                <a:lnTo>
                  <a:pt x="917703" y="844457"/>
                </a:lnTo>
                <a:cubicBezTo>
                  <a:pt x="915100" y="844457"/>
                  <a:pt x="911398" y="839136"/>
                  <a:pt x="908795" y="834624"/>
                </a:cubicBezTo>
                <a:cubicBezTo>
                  <a:pt x="906770" y="831766"/>
                  <a:pt x="903994" y="829528"/>
                  <a:pt x="900755" y="828145"/>
                </a:cubicBezTo>
                <a:cubicBezTo>
                  <a:pt x="896127" y="826318"/>
                  <a:pt x="892425" y="822685"/>
                  <a:pt x="890516" y="818080"/>
                </a:cubicBezTo>
                <a:cubicBezTo>
                  <a:pt x="889359" y="814552"/>
                  <a:pt x="888376" y="814436"/>
                  <a:pt x="888376" y="814436"/>
                </a:cubicBezTo>
                <a:cubicBezTo>
                  <a:pt x="888376" y="814436"/>
                  <a:pt x="885888" y="817444"/>
                  <a:pt x="885484" y="823229"/>
                </a:cubicBezTo>
                <a:cubicBezTo>
                  <a:pt x="885484" y="826699"/>
                  <a:pt x="882938" y="826988"/>
                  <a:pt x="882244" y="826988"/>
                </a:cubicBezTo>
                <a:cubicBezTo>
                  <a:pt x="879063" y="826410"/>
                  <a:pt x="876460" y="824015"/>
                  <a:pt x="875650" y="820857"/>
                </a:cubicBezTo>
                <a:cubicBezTo>
                  <a:pt x="874840" y="817999"/>
                  <a:pt x="876229" y="814974"/>
                  <a:pt x="878889" y="813684"/>
                </a:cubicBezTo>
                <a:cubicBezTo>
                  <a:pt x="880393" y="813048"/>
                  <a:pt x="881145" y="811411"/>
                  <a:pt x="880682" y="809866"/>
                </a:cubicBezTo>
                <a:cubicBezTo>
                  <a:pt x="879815" y="807165"/>
                  <a:pt x="877327" y="805285"/>
                  <a:pt x="874493" y="805123"/>
                </a:cubicBezTo>
                <a:cubicBezTo>
                  <a:pt x="872005" y="805123"/>
                  <a:pt x="870097" y="807032"/>
                  <a:pt x="869055" y="810908"/>
                </a:cubicBezTo>
                <a:cubicBezTo>
                  <a:pt x="864428" y="823385"/>
                  <a:pt x="853322" y="832293"/>
                  <a:pt x="840133" y="834046"/>
                </a:cubicBezTo>
                <a:cubicBezTo>
                  <a:pt x="837530" y="834167"/>
                  <a:pt x="834986" y="833322"/>
                  <a:pt x="832961" y="831674"/>
                </a:cubicBezTo>
                <a:cubicBezTo>
                  <a:pt x="824342" y="824327"/>
                  <a:pt x="793164" y="812527"/>
                  <a:pt x="778588" y="812527"/>
                </a:cubicBezTo>
                <a:cubicBezTo>
                  <a:pt x="769506" y="812527"/>
                  <a:pt x="768349" y="811949"/>
                  <a:pt x="764473" y="808999"/>
                </a:cubicBezTo>
                <a:cubicBezTo>
                  <a:pt x="760019" y="805638"/>
                  <a:pt x="755276" y="802729"/>
                  <a:pt x="750244" y="800322"/>
                </a:cubicBezTo>
                <a:cubicBezTo>
                  <a:pt x="729940" y="790142"/>
                  <a:pt x="732370" y="777879"/>
                  <a:pt x="734741" y="766021"/>
                </a:cubicBezTo>
                <a:lnTo>
                  <a:pt x="735088" y="763996"/>
                </a:lnTo>
                <a:cubicBezTo>
                  <a:pt x="735377" y="754377"/>
                  <a:pt x="732138" y="744988"/>
                  <a:pt x="725949" y="737619"/>
                </a:cubicBezTo>
                <a:cubicBezTo>
                  <a:pt x="723056" y="732818"/>
                  <a:pt x="718487" y="729284"/>
                  <a:pt x="713107" y="727728"/>
                </a:cubicBezTo>
                <a:cubicBezTo>
                  <a:pt x="710331" y="727820"/>
                  <a:pt x="707612" y="728410"/>
                  <a:pt x="705009" y="729463"/>
                </a:cubicBezTo>
                <a:cubicBezTo>
                  <a:pt x="702464" y="730429"/>
                  <a:pt x="699746" y="731031"/>
                  <a:pt x="697026" y="731256"/>
                </a:cubicBezTo>
                <a:cubicBezTo>
                  <a:pt x="694944" y="731482"/>
                  <a:pt x="692920" y="730273"/>
                  <a:pt x="692168" y="728306"/>
                </a:cubicBezTo>
                <a:cubicBezTo>
                  <a:pt x="691069" y="725587"/>
                  <a:pt x="692804" y="722522"/>
                  <a:pt x="694828" y="718877"/>
                </a:cubicBezTo>
                <a:cubicBezTo>
                  <a:pt x="698184" y="713093"/>
                  <a:pt x="702002" y="706152"/>
                  <a:pt x="695928" y="698227"/>
                </a:cubicBezTo>
                <a:cubicBezTo>
                  <a:pt x="691358" y="692442"/>
                  <a:pt x="688697" y="691459"/>
                  <a:pt x="687483" y="691459"/>
                </a:cubicBezTo>
                <a:cubicBezTo>
                  <a:pt x="684591" y="691459"/>
                  <a:pt x="682797" y="696839"/>
                  <a:pt x="682797" y="705400"/>
                </a:cubicBezTo>
                <a:cubicBezTo>
                  <a:pt x="682797" y="713961"/>
                  <a:pt x="675740" y="716159"/>
                  <a:pt x="669088" y="716159"/>
                </a:cubicBezTo>
                <a:cubicBezTo>
                  <a:pt x="664345" y="716483"/>
                  <a:pt x="659659" y="714828"/>
                  <a:pt x="656131" y="711589"/>
                </a:cubicBezTo>
                <a:cubicBezTo>
                  <a:pt x="655147" y="710479"/>
                  <a:pt x="654801" y="708969"/>
                  <a:pt x="655147" y="707540"/>
                </a:cubicBezTo>
                <a:cubicBezTo>
                  <a:pt x="655957" y="704011"/>
                  <a:pt x="658445" y="703953"/>
                  <a:pt x="660469" y="703896"/>
                </a:cubicBezTo>
                <a:cubicBezTo>
                  <a:pt x="663940" y="703896"/>
                  <a:pt x="668683" y="703896"/>
                  <a:pt x="672038" y="686543"/>
                </a:cubicBezTo>
                <a:cubicBezTo>
                  <a:pt x="673831" y="676853"/>
                  <a:pt x="677533" y="667616"/>
                  <a:pt x="682913" y="659356"/>
                </a:cubicBezTo>
                <a:cubicBezTo>
                  <a:pt x="686557" y="653571"/>
                  <a:pt x="687425" y="651778"/>
                  <a:pt x="683954" y="648828"/>
                </a:cubicBezTo>
                <a:cubicBezTo>
                  <a:pt x="682913" y="647891"/>
                  <a:pt x="681583" y="647359"/>
                  <a:pt x="680194" y="647324"/>
                </a:cubicBezTo>
                <a:cubicBezTo>
                  <a:pt x="673253" y="647324"/>
                  <a:pt x="664229" y="660166"/>
                  <a:pt x="662841" y="672313"/>
                </a:cubicBezTo>
                <a:cubicBezTo>
                  <a:pt x="661857" y="680353"/>
                  <a:pt x="657403" y="681452"/>
                  <a:pt x="652197" y="682667"/>
                </a:cubicBezTo>
                <a:cubicBezTo>
                  <a:pt x="645372" y="683760"/>
                  <a:pt x="639298" y="687659"/>
                  <a:pt x="635423" y="693426"/>
                </a:cubicBezTo>
                <a:cubicBezTo>
                  <a:pt x="627961" y="703838"/>
                  <a:pt x="623449" y="709102"/>
                  <a:pt x="619226" y="709102"/>
                </a:cubicBezTo>
                <a:cubicBezTo>
                  <a:pt x="616276" y="709102"/>
                  <a:pt x="613846" y="706730"/>
                  <a:pt x="611070" y="701177"/>
                </a:cubicBezTo>
                <a:cubicBezTo>
                  <a:pt x="608988" y="697255"/>
                  <a:pt x="608409" y="692709"/>
                  <a:pt x="609451" y="688393"/>
                </a:cubicBezTo>
                <a:cubicBezTo>
                  <a:pt x="610723" y="682152"/>
                  <a:pt x="608930" y="675673"/>
                  <a:pt x="604534" y="671040"/>
                </a:cubicBezTo>
                <a:cubicBezTo>
                  <a:pt x="599791" y="665065"/>
                  <a:pt x="593775" y="660287"/>
                  <a:pt x="586834" y="657100"/>
                </a:cubicBezTo>
                <a:cubicBezTo>
                  <a:pt x="582726" y="654902"/>
                  <a:pt x="579777" y="653340"/>
                  <a:pt x="579198" y="650852"/>
                </a:cubicBezTo>
                <a:cubicBezTo>
                  <a:pt x="578909" y="649377"/>
                  <a:pt x="579256" y="647845"/>
                  <a:pt x="580239" y="646688"/>
                </a:cubicBezTo>
                <a:cubicBezTo>
                  <a:pt x="583710" y="641655"/>
                  <a:pt x="585040" y="637432"/>
                  <a:pt x="583999" y="634772"/>
                </a:cubicBezTo>
                <a:cubicBezTo>
                  <a:pt x="583074" y="632921"/>
                  <a:pt x="581223" y="631677"/>
                  <a:pt x="579140" y="631475"/>
                </a:cubicBezTo>
                <a:cubicBezTo>
                  <a:pt x="576017" y="630804"/>
                  <a:pt x="573182" y="629138"/>
                  <a:pt x="571100" y="626731"/>
                </a:cubicBezTo>
                <a:cubicBezTo>
                  <a:pt x="569364" y="624481"/>
                  <a:pt x="566530" y="623318"/>
                  <a:pt x="563696" y="623666"/>
                </a:cubicBezTo>
                <a:cubicBezTo>
                  <a:pt x="559994" y="623648"/>
                  <a:pt x="556350" y="623024"/>
                  <a:pt x="552879" y="621815"/>
                </a:cubicBezTo>
                <a:cubicBezTo>
                  <a:pt x="547731" y="620045"/>
                  <a:pt x="542409" y="619108"/>
                  <a:pt x="536972" y="619038"/>
                </a:cubicBezTo>
                <a:cubicBezTo>
                  <a:pt x="535178" y="619044"/>
                  <a:pt x="533386" y="619160"/>
                  <a:pt x="531592" y="619385"/>
                </a:cubicBezTo>
                <a:lnTo>
                  <a:pt x="529568" y="619385"/>
                </a:lnTo>
                <a:cubicBezTo>
                  <a:pt x="523031" y="618830"/>
                  <a:pt x="517073" y="615423"/>
                  <a:pt x="513313" y="610072"/>
                </a:cubicBezTo>
                <a:cubicBezTo>
                  <a:pt x="510594" y="605977"/>
                  <a:pt x="506198" y="603247"/>
                  <a:pt x="501340" y="602553"/>
                </a:cubicBezTo>
                <a:cubicBezTo>
                  <a:pt x="500356" y="602553"/>
                  <a:pt x="499431" y="602691"/>
                  <a:pt x="498505" y="602958"/>
                </a:cubicBezTo>
                <a:cubicBezTo>
                  <a:pt x="490581" y="604479"/>
                  <a:pt x="482540" y="605306"/>
                  <a:pt x="474500" y="605445"/>
                </a:cubicBezTo>
                <a:cubicBezTo>
                  <a:pt x="463162" y="605393"/>
                  <a:pt x="451940" y="606995"/>
                  <a:pt x="441066" y="610188"/>
                </a:cubicBezTo>
                <a:cubicBezTo>
                  <a:pt x="438058" y="611403"/>
                  <a:pt x="434703" y="612849"/>
                  <a:pt x="431232" y="614468"/>
                </a:cubicBezTo>
                <a:cubicBezTo>
                  <a:pt x="417870" y="620253"/>
                  <a:pt x="401211" y="627888"/>
                  <a:pt x="383337" y="627888"/>
                </a:cubicBezTo>
                <a:lnTo>
                  <a:pt x="380040" y="627888"/>
                </a:lnTo>
                <a:cubicBezTo>
                  <a:pt x="373620" y="627888"/>
                  <a:pt x="369339" y="627426"/>
                  <a:pt x="365753" y="627426"/>
                </a:cubicBezTo>
                <a:cubicBezTo>
                  <a:pt x="352795" y="627426"/>
                  <a:pt x="346838" y="629335"/>
                  <a:pt x="340243" y="635466"/>
                </a:cubicBezTo>
                <a:cubicBezTo>
                  <a:pt x="335153" y="639301"/>
                  <a:pt x="329369" y="642107"/>
                  <a:pt x="323237" y="643738"/>
                </a:cubicBezTo>
                <a:cubicBezTo>
                  <a:pt x="314965" y="646630"/>
                  <a:pt x="306405" y="649522"/>
                  <a:pt x="304149" y="655596"/>
                </a:cubicBezTo>
                <a:cubicBezTo>
                  <a:pt x="298364" y="671792"/>
                  <a:pt x="281011" y="679196"/>
                  <a:pt x="252089" y="677634"/>
                </a:cubicBezTo>
                <a:lnTo>
                  <a:pt x="246304" y="677287"/>
                </a:lnTo>
                <a:cubicBezTo>
                  <a:pt x="233520" y="676535"/>
                  <a:pt x="221431" y="675841"/>
                  <a:pt x="210961" y="675841"/>
                </a:cubicBezTo>
                <a:cubicBezTo>
                  <a:pt x="194823" y="675841"/>
                  <a:pt x="185568" y="677634"/>
                  <a:pt x="182618" y="681626"/>
                </a:cubicBezTo>
                <a:cubicBezTo>
                  <a:pt x="181172" y="683535"/>
                  <a:pt x="180072" y="685212"/>
                  <a:pt x="179089" y="686716"/>
                </a:cubicBezTo>
                <a:cubicBezTo>
                  <a:pt x="175676" y="691980"/>
                  <a:pt x="173767" y="694930"/>
                  <a:pt x="162430" y="695393"/>
                </a:cubicBezTo>
                <a:cubicBezTo>
                  <a:pt x="156414" y="696122"/>
                  <a:pt x="150977" y="699332"/>
                  <a:pt x="147448" y="704243"/>
                </a:cubicBezTo>
                <a:cubicBezTo>
                  <a:pt x="144614" y="708437"/>
                  <a:pt x="140102" y="711178"/>
                  <a:pt x="135070" y="711763"/>
                </a:cubicBezTo>
                <a:lnTo>
                  <a:pt x="128244" y="711763"/>
                </a:lnTo>
                <a:cubicBezTo>
                  <a:pt x="124426" y="711763"/>
                  <a:pt x="119625" y="712110"/>
                  <a:pt x="114651" y="712110"/>
                </a:cubicBezTo>
                <a:cubicBezTo>
                  <a:pt x="98338" y="712110"/>
                  <a:pt x="87406" y="710085"/>
                  <a:pt x="81159" y="705920"/>
                </a:cubicBezTo>
                <a:cubicBezTo>
                  <a:pt x="76878" y="703178"/>
                  <a:pt x="73350" y="699396"/>
                  <a:pt x="70920" y="694930"/>
                </a:cubicBezTo>
                <a:cubicBezTo>
                  <a:pt x="69416" y="691124"/>
                  <a:pt x="65772" y="688608"/>
                  <a:pt x="61665" y="688567"/>
                </a:cubicBezTo>
                <a:cubicBezTo>
                  <a:pt x="54203" y="687520"/>
                  <a:pt x="48534" y="681331"/>
                  <a:pt x="48188" y="673817"/>
                </a:cubicBezTo>
                <a:cubicBezTo>
                  <a:pt x="48188" y="670624"/>
                  <a:pt x="50732" y="668021"/>
                  <a:pt x="53972" y="668003"/>
                </a:cubicBezTo>
                <a:cubicBezTo>
                  <a:pt x="54146" y="668003"/>
                  <a:pt x="54377" y="668009"/>
                  <a:pt x="54550" y="668032"/>
                </a:cubicBezTo>
                <a:cubicBezTo>
                  <a:pt x="58889" y="668293"/>
                  <a:pt x="63111" y="666673"/>
                  <a:pt x="66119" y="663578"/>
                </a:cubicBezTo>
                <a:cubicBezTo>
                  <a:pt x="69474" y="658713"/>
                  <a:pt x="70573" y="652646"/>
                  <a:pt x="69127" y="646919"/>
                </a:cubicBezTo>
                <a:cubicBezTo>
                  <a:pt x="68433" y="638468"/>
                  <a:pt x="69821" y="629971"/>
                  <a:pt x="73292" y="622220"/>
                </a:cubicBezTo>
                <a:cubicBezTo>
                  <a:pt x="75085" y="617303"/>
                  <a:pt x="76647" y="613022"/>
                  <a:pt x="75374" y="611056"/>
                </a:cubicBezTo>
                <a:cubicBezTo>
                  <a:pt x="75374" y="610651"/>
                  <a:pt x="49576" y="571953"/>
                  <a:pt x="50906" y="548005"/>
                </a:cubicBezTo>
                <a:cubicBezTo>
                  <a:pt x="51600" y="536437"/>
                  <a:pt x="44428" y="526198"/>
                  <a:pt x="38123" y="517406"/>
                </a:cubicBezTo>
                <a:cubicBezTo>
                  <a:pt x="32859" y="511540"/>
                  <a:pt x="29330" y="504333"/>
                  <a:pt x="27884" y="496582"/>
                </a:cubicBezTo>
                <a:cubicBezTo>
                  <a:pt x="27884" y="488599"/>
                  <a:pt x="18398" y="472229"/>
                  <a:pt x="10993" y="459041"/>
                </a:cubicBezTo>
                <a:cubicBezTo>
                  <a:pt x="2953" y="444753"/>
                  <a:pt x="-1154" y="437176"/>
                  <a:pt x="119" y="434341"/>
                </a:cubicBezTo>
                <a:cubicBezTo>
                  <a:pt x="466" y="433404"/>
                  <a:pt x="1334" y="432762"/>
                  <a:pt x="2317" y="432722"/>
                </a:cubicBezTo>
                <a:cubicBezTo>
                  <a:pt x="4631" y="432722"/>
                  <a:pt x="7175" y="435845"/>
                  <a:pt x="11283" y="440936"/>
                </a:cubicBezTo>
                <a:cubicBezTo>
                  <a:pt x="13944" y="444291"/>
                  <a:pt x="17646" y="448976"/>
                  <a:pt x="19265" y="448976"/>
                </a:cubicBezTo>
                <a:cubicBezTo>
                  <a:pt x="19265" y="448976"/>
                  <a:pt x="19265" y="448976"/>
                  <a:pt x="19612" y="448976"/>
                </a:cubicBezTo>
                <a:cubicBezTo>
                  <a:pt x="21174" y="446662"/>
                  <a:pt x="17819" y="442150"/>
                  <a:pt x="15158" y="438564"/>
                </a:cubicBezTo>
                <a:cubicBezTo>
                  <a:pt x="12497" y="434977"/>
                  <a:pt x="9837" y="431507"/>
                  <a:pt x="11919" y="429425"/>
                </a:cubicBezTo>
                <a:cubicBezTo>
                  <a:pt x="12266" y="429066"/>
                  <a:pt x="12729" y="428858"/>
                  <a:pt x="13249" y="428846"/>
                </a:cubicBezTo>
                <a:cubicBezTo>
                  <a:pt x="15158" y="428846"/>
                  <a:pt x="16778" y="431391"/>
                  <a:pt x="19844" y="436192"/>
                </a:cubicBezTo>
                <a:cubicBezTo>
                  <a:pt x="21984" y="439605"/>
                  <a:pt x="25166" y="444753"/>
                  <a:pt x="26901" y="444753"/>
                </a:cubicBezTo>
                <a:cubicBezTo>
                  <a:pt x="27364" y="444753"/>
                  <a:pt x="27768" y="444117"/>
                  <a:pt x="28000" y="443597"/>
                </a:cubicBezTo>
                <a:cubicBezTo>
                  <a:pt x="31991" y="435672"/>
                  <a:pt x="24414" y="424566"/>
                  <a:pt x="12382" y="408485"/>
                </a:cubicBezTo>
                <a:cubicBezTo>
                  <a:pt x="-1154" y="390380"/>
                  <a:pt x="8622" y="376150"/>
                  <a:pt x="17241" y="363540"/>
                </a:cubicBezTo>
                <a:cubicBezTo>
                  <a:pt x="20827" y="358872"/>
                  <a:pt x="21000" y="352440"/>
                  <a:pt x="17704" y="347575"/>
                </a:cubicBezTo>
                <a:cubicBezTo>
                  <a:pt x="15043" y="343173"/>
                  <a:pt x="14406" y="337863"/>
                  <a:pt x="15852" y="332940"/>
                </a:cubicBezTo>
                <a:cubicBezTo>
                  <a:pt x="19150" y="322991"/>
                  <a:pt x="27016" y="311249"/>
                  <a:pt x="30313" y="311249"/>
                </a:cubicBezTo>
                <a:cubicBezTo>
                  <a:pt x="31065" y="311249"/>
                  <a:pt x="31991" y="311827"/>
                  <a:pt x="31991" y="313331"/>
                </a:cubicBezTo>
                <a:cubicBezTo>
                  <a:pt x="31991" y="314835"/>
                  <a:pt x="31991" y="314835"/>
                  <a:pt x="31991" y="315934"/>
                </a:cubicBezTo>
                <a:cubicBezTo>
                  <a:pt x="31355" y="320521"/>
                  <a:pt x="31644" y="325189"/>
                  <a:pt x="32917" y="329643"/>
                </a:cubicBezTo>
                <a:cubicBezTo>
                  <a:pt x="32917" y="329643"/>
                  <a:pt x="32917" y="329643"/>
                  <a:pt x="33205" y="329643"/>
                </a:cubicBezTo>
                <a:cubicBezTo>
                  <a:pt x="34709" y="327671"/>
                  <a:pt x="35809" y="325409"/>
                  <a:pt x="36387" y="322991"/>
                </a:cubicBezTo>
                <a:cubicBezTo>
                  <a:pt x="38412" y="317207"/>
                  <a:pt x="40957" y="309803"/>
                  <a:pt x="48418" y="309398"/>
                </a:cubicBezTo>
                <a:cubicBezTo>
                  <a:pt x="61203" y="307078"/>
                  <a:pt x="72887" y="300588"/>
                  <a:pt x="81564" y="290945"/>
                </a:cubicBezTo>
                <a:cubicBezTo>
                  <a:pt x="88794" y="283975"/>
                  <a:pt x="98280" y="279775"/>
                  <a:pt x="108288" y="279087"/>
                </a:cubicBezTo>
                <a:cubicBezTo>
                  <a:pt x="114072" y="279087"/>
                  <a:pt x="115807" y="281922"/>
                  <a:pt x="116213" y="283541"/>
                </a:cubicBezTo>
                <a:cubicBezTo>
                  <a:pt x="116617" y="285161"/>
                  <a:pt x="117022" y="285219"/>
                  <a:pt x="118179" y="285219"/>
                </a:cubicBezTo>
                <a:cubicBezTo>
                  <a:pt x="122980" y="285219"/>
                  <a:pt x="133334" y="277063"/>
                  <a:pt x="139466" y="272204"/>
                </a:cubicBezTo>
                <a:lnTo>
                  <a:pt x="140449" y="271394"/>
                </a:lnTo>
                <a:cubicBezTo>
                  <a:pt x="144325" y="268669"/>
                  <a:pt x="149010" y="267218"/>
                  <a:pt x="153753" y="267229"/>
                </a:cubicBezTo>
                <a:cubicBezTo>
                  <a:pt x="158323" y="267293"/>
                  <a:pt x="162835" y="265806"/>
                  <a:pt x="166479" y="263006"/>
                </a:cubicBezTo>
                <a:cubicBezTo>
                  <a:pt x="170181" y="259825"/>
                  <a:pt x="176891" y="259536"/>
                  <a:pt x="184584" y="259247"/>
                </a:cubicBezTo>
                <a:cubicBezTo>
                  <a:pt x="195401" y="258842"/>
                  <a:pt x="207722" y="258379"/>
                  <a:pt x="214837" y="249760"/>
                </a:cubicBezTo>
                <a:cubicBezTo>
                  <a:pt x="226869" y="235640"/>
                  <a:pt x="240115" y="222596"/>
                  <a:pt x="254403" y="210773"/>
                </a:cubicBezTo>
                <a:cubicBezTo>
                  <a:pt x="255559" y="210079"/>
                  <a:pt x="254403" y="206724"/>
                  <a:pt x="253477" y="203196"/>
                </a:cubicBezTo>
                <a:cubicBezTo>
                  <a:pt x="251279" y="196081"/>
                  <a:pt x="248271" y="186421"/>
                  <a:pt x="255443" y="178901"/>
                </a:cubicBezTo>
                <a:cubicBezTo>
                  <a:pt x="265046" y="168720"/>
                  <a:pt x="271466" y="163804"/>
                  <a:pt x="275053" y="163804"/>
                </a:cubicBezTo>
                <a:cubicBezTo>
                  <a:pt x="276325" y="163804"/>
                  <a:pt x="278581" y="164440"/>
                  <a:pt x="278581" y="168720"/>
                </a:cubicBezTo>
                <a:cubicBezTo>
                  <a:pt x="278813" y="173284"/>
                  <a:pt x="279854" y="177773"/>
                  <a:pt x="281647" y="181967"/>
                </a:cubicBezTo>
                <a:cubicBezTo>
                  <a:pt x="283671" y="186710"/>
                  <a:pt x="285754" y="188908"/>
                  <a:pt x="286795" y="188908"/>
                </a:cubicBezTo>
                <a:cubicBezTo>
                  <a:pt x="287084" y="188902"/>
                  <a:pt x="287374" y="188775"/>
                  <a:pt x="287547" y="188561"/>
                </a:cubicBezTo>
                <a:cubicBezTo>
                  <a:pt x="288762" y="187410"/>
                  <a:pt x="290150" y="186421"/>
                  <a:pt x="291654" y="185611"/>
                </a:cubicBezTo>
                <a:cubicBezTo>
                  <a:pt x="294951" y="183702"/>
                  <a:pt x="297438" y="182314"/>
                  <a:pt x="295703" y="175662"/>
                </a:cubicBezTo>
                <a:cubicBezTo>
                  <a:pt x="294778" y="172145"/>
                  <a:pt x="293332" y="168772"/>
                  <a:pt x="291422" y="165654"/>
                </a:cubicBezTo>
                <a:cubicBezTo>
                  <a:pt x="289340" y="161895"/>
                  <a:pt x="287778" y="158887"/>
                  <a:pt x="288762" y="156515"/>
                </a:cubicBezTo>
                <a:cubicBezTo>
                  <a:pt x="289456" y="155098"/>
                  <a:pt x="290728" y="154074"/>
                  <a:pt x="292290" y="153739"/>
                </a:cubicBezTo>
                <a:cubicBezTo>
                  <a:pt x="293100" y="153502"/>
                  <a:pt x="293910" y="153386"/>
                  <a:pt x="294778" y="153391"/>
                </a:cubicBezTo>
                <a:cubicBezTo>
                  <a:pt x="298538" y="153750"/>
                  <a:pt x="302124" y="154873"/>
                  <a:pt x="305421" y="156689"/>
                </a:cubicBezTo>
                <a:cubicBezTo>
                  <a:pt x="307214" y="157690"/>
                  <a:pt x="309181" y="158372"/>
                  <a:pt x="311205" y="158713"/>
                </a:cubicBezTo>
                <a:cubicBezTo>
                  <a:pt x="311379" y="158765"/>
                  <a:pt x="311495" y="158765"/>
                  <a:pt x="311668" y="158713"/>
                </a:cubicBezTo>
                <a:cubicBezTo>
                  <a:pt x="311842" y="158112"/>
                  <a:pt x="311842" y="157470"/>
                  <a:pt x="311668" y="156862"/>
                </a:cubicBezTo>
                <a:cubicBezTo>
                  <a:pt x="310627" y="149285"/>
                  <a:pt x="309586" y="135865"/>
                  <a:pt x="313924" y="130948"/>
                </a:cubicBezTo>
                <a:cubicBezTo>
                  <a:pt x="314965" y="129670"/>
                  <a:pt x="316527" y="128947"/>
                  <a:pt x="318204" y="128981"/>
                </a:cubicBezTo>
                <a:cubicBezTo>
                  <a:pt x="321328" y="128883"/>
                  <a:pt x="324162" y="127026"/>
                  <a:pt x="325493" y="124180"/>
                </a:cubicBezTo>
                <a:cubicBezTo>
                  <a:pt x="326534" y="122023"/>
                  <a:pt x="328501" y="120449"/>
                  <a:pt x="330815" y="119900"/>
                </a:cubicBezTo>
                <a:cubicBezTo>
                  <a:pt x="330815" y="119900"/>
                  <a:pt x="331161" y="119900"/>
                  <a:pt x="331219" y="119900"/>
                </a:cubicBezTo>
                <a:cubicBezTo>
                  <a:pt x="331277" y="119900"/>
                  <a:pt x="331219" y="117991"/>
                  <a:pt x="330930" y="116892"/>
                </a:cubicBezTo>
                <a:cubicBezTo>
                  <a:pt x="330121" y="114705"/>
                  <a:pt x="330236" y="112276"/>
                  <a:pt x="331277" y="110182"/>
                </a:cubicBezTo>
                <a:cubicBezTo>
                  <a:pt x="332319" y="108828"/>
                  <a:pt x="333881" y="108001"/>
                  <a:pt x="335616" y="107926"/>
                </a:cubicBezTo>
                <a:cubicBezTo>
                  <a:pt x="339780" y="107781"/>
                  <a:pt x="343945" y="108389"/>
                  <a:pt x="347878" y="109719"/>
                </a:cubicBezTo>
                <a:cubicBezTo>
                  <a:pt x="351465" y="110645"/>
                  <a:pt x="354878" y="111454"/>
                  <a:pt x="355630" y="110587"/>
                </a:cubicBezTo>
                <a:cubicBezTo>
                  <a:pt x="356382" y="109719"/>
                  <a:pt x="355977" y="109603"/>
                  <a:pt x="355630" y="108620"/>
                </a:cubicBezTo>
                <a:cubicBezTo>
                  <a:pt x="354531" y="104814"/>
                  <a:pt x="355109" y="100707"/>
                  <a:pt x="357307" y="97398"/>
                </a:cubicBezTo>
                <a:cubicBezTo>
                  <a:pt x="359389" y="95357"/>
                  <a:pt x="362340" y="94338"/>
                  <a:pt x="365232" y="94622"/>
                </a:cubicBezTo>
                <a:cubicBezTo>
                  <a:pt x="368124" y="94523"/>
                  <a:pt x="370843" y="93014"/>
                  <a:pt x="372404" y="90573"/>
                </a:cubicBezTo>
                <a:cubicBezTo>
                  <a:pt x="374372" y="87761"/>
                  <a:pt x="377495" y="85928"/>
                  <a:pt x="380908" y="85540"/>
                </a:cubicBezTo>
                <a:lnTo>
                  <a:pt x="381602" y="85540"/>
                </a:lnTo>
                <a:cubicBezTo>
                  <a:pt x="390337" y="85540"/>
                  <a:pt x="402600" y="96646"/>
                  <a:pt x="405087" y="103298"/>
                </a:cubicBezTo>
                <a:cubicBezTo>
                  <a:pt x="405896" y="105497"/>
                  <a:pt x="408615" y="106075"/>
                  <a:pt x="411565" y="106654"/>
                </a:cubicBezTo>
                <a:cubicBezTo>
                  <a:pt x="415961" y="107637"/>
                  <a:pt x="421514" y="108794"/>
                  <a:pt x="420242" y="116545"/>
                </a:cubicBezTo>
                <a:cubicBezTo>
                  <a:pt x="419548" y="119622"/>
                  <a:pt x="420300" y="122844"/>
                  <a:pt x="422208" y="125337"/>
                </a:cubicBezTo>
                <a:cubicBezTo>
                  <a:pt x="423539" y="126899"/>
                  <a:pt x="425274" y="127477"/>
                  <a:pt x="426200" y="126494"/>
                </a:cubicBezTo>
                <a:cubicBezTo>
                  <a:pt x="427010" y="125337"/>
                  <a:pt x="427356" y="123903"/>
                  <a:pt x="427126" y="122503"/>
                </a:cubicBezTo>
                <a:cubicBezTo>
                  <a:pt x="426778" y="119923"/>
                  <a:pt x="427472" y="117308"/>
                  <a:pt x="429092" y="115272"/>
                </a:cubicBezTo>
                <a:cubicBezTo>
                  <a:pt x="430307" y="114063"/>
                  <a:pt x="431926" y="113392"/>
                  <a:pt x="433662" y="113421"/>
                </a:cubicBezTo>
                <a:cubicBezTo>
                  <a:pt x="438694" y="114081"/>
                  <a:pt x="443322" y="116597"/>
                  <a:pt x="446561" y="120478"/>
                </a:cubicBezTo>
                <a:cubicBezTo>
                  <a:pt x="449858" y="123833"/>
                  <a:pt x="454312" y="125886"/>
                  <a:pt x="458998" y="126262"/>
                </a:cubicBezTo>
                <a:cubicBezTo>
                  <a:pt x="460559" y="126262"/>
                  <a:pt x="461601" y="125858"/>
                  <a:pt x="461948" y="125106"/>
                </a:cubicBezTo>
                <a:cubicBezTo>
                  <a:pt x="462295" y="124354"/>
                  <a:pt x="462526" y="122908"/>
                  <a:pt x="458882" y="118859"/>
                </a:cubicBezTo>
                <a:cubicBezTo>
                  <a:pt x="453098" y="112148"/>
                  <a:pt x="450436" y="107290"/>
                  <a:pt x="451015" y="102951"/>
                </a:cubicBezTo>
                <a:cubicBezTo>
                  <a:pt x="451882" y="99122"/>
                  <a:pt x="454428" y="95883"/>
                  <a:pt x="457898" y="94101"/>
                </a:cubicBezTo>
                <a:cubicBezTo>
                  <a:pt x="460964" y="92285"/>
                  <a:pt x="462931" y="89086"/>
                  <a:pt x="463162" y="85540"/>
                </a:cubicBezTo>
                <a:cubicBezTo>
                  <a:pt x="463914" y="81277"/>
                  <a:pt x="465939" y="77344"/>
                  <a:pt x="468947" y="74261"/>
                </a:cubicBezTo>
                <a:cubicBezTo>
                  <a:pt x="471781" y="70755"/>
                  <a:pt x="474095" y="66862"/>
                  <a:pt x="475830" y="62692"/>
                </a:cubicBezTo>
                <a:cubicBezTo>
                  <a:pt x="479128" y="55693"/>
                  <a:pt x="482251" y="49156"/>
                  <a:pt x="488614" y="49156"/>
                </a:cubicBezTo>
                <a:lnTo>
                  <a:pt x="489771" y="49156"/>
                </a:lnTo>
                <a:cubicBezTo>
                  <a:pt x="490754" y="49156"/>
                  <a:pt x="491390" y="49156"/>
                  <a:pt x="491621" y="48636"/>
                </a:cubicBezTo>
                <a:cubicBezTo>
                  <a:pt x="491853" y="48115"/>
                  <a:pt x="491621" y="46784"/>
                  <a:pt x="491333" y="45628"/>
                </a:cubicBezTo>
                <a:cubicBezTo>
                  <a:pt x="491043" y="44471"/>
                  <a:pt x="490465" y="42620"/>
                  <a:pt x="491333" y="41521"/>
                </a:cubicBezTo>
                <a:cubicBezTo>
                  <a:pt x="492200" y="40422"/>
                  <a:pt x="493993" y="40248"/>
                  <a:pt x="497117" y="41521"/>
                </a:cubicBezTo>
                <a:cubicBezTo>
                  <a:pt x="499951" y="42238"/>
                  <a:pt x="502844" y="42550"/>
                  <a:pt x="505736" y="42446"/>
                </a:cubicBezTo>
                <a:cubicBezTo>
                  <a:pt x="518867" y="42446"/>
                  <a:pt x="536509" y="38513"/>
                  <a:pt x="538649" y="33538"/>
                </a:cubicBezTo>
                <a:cubicBezTo>
                  <a:pt x="538649" y="32960"/>
                  <a:pt x="539054" y="32034"/>
                  <a:pt x="537724" y="30646"/>
                </a:cubicBezTo>
                <a:cubicBezTo>
                  <a:pt x="536394" y="29258"/>
                  <a:pt x="533501" y="26308"/>
                  <a:pt x="531592" y="24515"/>
                </a:cubicBezTo>
                <a:cubicBezTo>
                  <a:pt x="526849" y="19945"/>
                  <a:pt x="523667" y="16937"/>
                  <a:pt x="524246" y="14045"/>
                </a:cubicBezTo>
                <a:cubicBezTo>
                  <a:pt x="524246" y="12599"/>
                  <a:pt x="525750" y="11500"/>
                  <a:pt x="527890" y="10632"/>
                </a:cubicBezTo>
                <a:cubicBezTo>
                  <a:pt x="528642" y="10360"/>
                  <a:pt x="529394" y="10221"/>
                  <a:pt x="530204" y="10227"/>
                </a:cubicBezTo>
                <a:cubicBezTo>
                  <a:pt x="533674" y="10227"/>
                  <a:pt x="536394" y="13235"/>
                  <a:pt x="539517" y="16705"/>
                </a:cubicBezTo>
                <a:cubicBezTo>
                  <a:pt x="542987" y="21536"/>
                  <a:pt x="548077" y="24948"/>
                  <a:pt x="553862" y="26308"/>
                </a:cubicBezTo>
                <a:cubicBezTo>
                  <a:pt x="565836" y="27927"/>
                  <a:pt x="601353" y="34522"/>
                  <a:pt x="607947" y="43140"/>
                </a:cubicBezTo>
                <a:cubicBezTo>
                  <a:pt x="608699" y="44210"/>
                  <a:pt x="609913" y="44858"/>
                  <a:pt x="611186" y="44876"/>
                </a:cubicBezTo>
                <a:cubicBezTo>
                  <a:pt x="614714" y="44876"/>
                  <a:pt x="619226" y="40827"/>
                  <a:pt x="622755" y="37819"/>
                </a:cubicBezTo>
                <a:cubicBezTo>
                  <a:pt x="626283" y="34811"/>
                  <a:pt x="626515" y="34464"/>
                  <a:pt x="627671" y="34232"/>
                </a:cubicBezTo>
                <a:lnTo>
                  <a:pt x="628019" y="34232"/>
                </a:lnTo>
                <a:cubicBezTo>
                  <a:pt x="630043" y="34232"/>
                  <a:pt x="631373" y="36951"/>
                  <a:pt x="633803" y="41752"/>
                </a:cubicBezTo>
                <a:cubicBezTo>
                  <a:pt x="634844" y="44066"/>
                  <a:pt x="637042" y="48867"/>
                  <a:pt x="638084" y="48867"/>
                </a:cubicBezTo>
                <a:cubicBezTo>
                  <a:pt x="639124" y="48867"/>
                  <a:pt x="639240" y="46958"/>
                  <a:pt x="639645" y="45396"/>
                </a:cubicBezTo>
                <a:cubicBezTo>
                  <a:pt x="640397" y="42157"/>
                  <a:pt x="641496" y="37703"/>
                  <a:pt x="646876" y="37703"/>
                </a:cubicBezTo>
                <a:lnTo>
                  <a:pt x="648958" y="37703"/>
                </a:lnTo>
                <a:cubicBezTo>
                  <a:pt x="655321" y="38918"/>
                  <a:pt x="660180" y="42678"/>
                  <a:pt x="660527" y="46611"/>
                </a:cubicBezTo>
                <a:cubicBezTo>
                  <a:pt x="660527" y="48231"/>
                  <a:pt x="660180" y="51239"/>
                  <a:pt x="655205" y="53205"/>
                </a:cubicBezTo>
                <a:cubicBezTo>
                  <a:pt x="651793" y="54594"/>
                  <a:pt x="652024" y="56329"/>
                  <a:pt x="652371" y="58990"/>
                </a:cubicBezTo>
                <a:cubicBezTo>
                  <a:pt x="653701" y="63993"/>
                  <a:pt x="651041" y="69194"/>
                  <a:pt x="646240" y="71079"/>
                </a:cubicBezTo>
                <a:cubicBezTo>
                  <a:pt x="642538" y="73069"/>
                  <a:pt x="638662" y="74677"/>
                  <a:pt x="634671" y="75880"/>
                </a:cubicBezTo>
                <a:cubicBezTo>
                  <a:pt x="631373" y="76921"/>
                  <a:pt x="628886" y="77789"/>
                  <a:pt x="628307" y="79004"/>
                </a:cubicBezTo>
                <a:cubicBezTo>
                  <a:pt x="628192" y="80172"/>
                  <a:pt x="628539" y="81347"/>
                  <a:pt x="629291" y="82243"/>
                </a:cubicBezTo>
                <a:cubicBezTo>
                  <a:pt x="635654" y="92540"/>
                  <a:pt x="634729" y="100811"/>
                  <a:pt x="626573" y="106827"/>
                </a:cubicBezTo>
                <a:lnTo>
                  <a:pt x="623217" y="109199"/>
                </a:lnTo>
                <a:cubicBezTo>
                  <a:pt x="620672" y="110992"/>
                  <a:pt x="618648" y="112380"/>
                  <a:pt x="618648" y="113248"/>
                </a:cubicBezTo>
                <a:cubicBezTo>
                  <a:pt x="618648" y="114115"/>
                  <a:pt x="621424" y="116429"/>
                  <a:pt x="624085" y="118280"/>
                </a:cubicBezTo>
                <a:lnTo>
                  <a:pt x="626861" y="120131"/>
                </a:lnTo>
                <a:cubicBezTo>
                  <a:pt x="634555" y="124117"/>
                  <a:pt x="640282" y="131075"/>
                  <a:pt x="642711" y="139393"/>
                </a:cubicBezTo>
                <a:cubicBezTo>
                  <a:pt x="643116" y="142563"/>
                  <a:pt x="646008" y="144790"/>
                  <a:pt x="649190" y="144374"/>
                </a:cubicBezTo>
                <a:cubicBezTo>
                  <a:pt x="649190" y="144374"/>
                  <a:pt x="649247" y="144368"/>
                  <a:pt x="649247" y="144368"/>
                </a:cubicBezTo>
                <a:cubicBezTo>
                  <a:pt x="650289" y="144420"/>
                  <a:pt x="651388" y="144420"/>
                  <a:pt x="652429" y="144368"/>
                </a:cubicBezTo>
                <a:cubicBezTo>
                  <a:pt x="653759" y="144368"/>
                  <a:pt x="655205" y="144368"/>
                  <a:pt x="656651" y="144368"/>
                </a:cubicBezTo>
                <a:cubicBezTo>
                  <a:pt x="661568" y="144281"/>
                  <a:pt x="666369" y="145918"/>
                  <a:pt x="670187" y="148995"/>
                </a:cubicBezTo>
                <a:cubicBezTo>
                  <a:pt x="674757" y="152663"/>
                  <a:pt x="678979" y="156729"/>
                  <a:pt x="682855" y="161143"/>
                </a:cubicBezTo>
                <a:cubicBezTo>
                  <a:pt x="687887" y="166927"/>
                  <a:pt x="691532" y="170514"/>
                  <a:pt x="695986" y="169993"/>
                </a:cubicBezTo>
                <a:cubicBezTo>
                  <a:pt x="704315" y="169102"/>
                  <a:pt x="712645" y="171607"/>
                  <a:pt x="719123" y="176934"/>
                </a:cubicBezTo>
                <a:cubicBezTo>
                  <a:pt x="720685" y="178433"/>
                  <a:pt x="721552" y="180549"/>
                  <a:pt x="721379" y="182719"/>
                </a:cubicBezTo>
                <a:cubicBezTo>
                  <a:pt x="721495" y="184801"/>
                  <a:pt x="722420" y="186750"/>
                  <a:pt x="723982" y="188156"/>
                </a:cubicBezTo>
                <a:cubicBezTo>
                  <a:pt x="729767" y="193674"/>
                  <a:pt x="737402" y="196792"/>
                  <a:pt x="745385" y="196891"/>
                </a:cubicBezTo>
                <a:cubicBezTo>
                  <a:pt x="748046" y="196902"/>
                  <a:pt x="750706" y="196451"/>
                  <a:pt x="753194" y="195560"/>
                </a:cubicBezTo>
                <a:cubicBezTo>
                  <a:pt x="762565" y="192031"/>
                  <a:pt x="766209" y="183528"/>
                  <a:pt x="769737" y="175373"/>
                </a:cubicBezTo>
                <a:cubicBezTo>
                  <a:pt x="771299" y="171346"/>
                  <a:pt x="773266" y="167471"/>
                  <a:pt x="775522" y="163804"/>
                </a:cubicBezTo>
                <a:cubicBezTo>
                  <a:pt x="780959" y="156168"/>
                  <a:pt x="781884" y="145004"/>
                  <a:pt x="782810" y="133204"/>
                </a:cubicBezTo>
                <a:cubicBezTo>
                  <a:pt x="782810" y="129675"/>
                  <a:pt x="783388" y="126089"/>
                  <a:pt x="783851" y="122561"/>
                </a:cubicBezTo>
                <a:cubicBezTo>
                  <a:pt x="784256" y="115793"/>
                  <a:pt x="784140" y="109002"/>
                  <a:pt x="783446" y="102257"/>
                </a:cubicBezTo>
                <a:cubicBezTo>
                  <a:pt x="782521" y="89705"/>
                  <a:pt x="781711" y="77905"/>
                  <a:pt x="786627" y="73335"/>
                </a:cubicBezTo>
                <a:cubicBezTo>
                  <a:pt x="790098" y="70154"/>
                  <a:pt x="789346" y="63559"/>
                  <a:pt x="788594" y="57139"/>
                </a:cubicBezTo>
                <a:cubicBezTo>
                  <a:pt x="787842" y="50718"/>
                  <a:pt x="787322" y="45570"/>
                  <a:pt x="790271" y="43025"/>
                </a:cubicBezTo>
                <a:cubicBezTo>
                  <a:pt x="795304" y="37316"/>
                  <a:pt x="797618" y="29686"/>
                  <a:pt x="796519" y="22143"/>
                </a:cubicBezTo>
                <a:cubicBezTo>
                  <a:pt x="797213" y="16098"/>
                  <a:pt x="800048" y="10493"/>
                  <a:pt x="804444" y="6293"/>
                </a:cubicBezTo>
                <a:cubicBezTo>
                  <a:pt x="806064" y="4500"/>
                  <a:pt x="810228" y="509"/>
                  <a:pt x="813699" y="509"/>
                </a:cubicBezTo>
                <a:cubicBezTo>
                  <a:pt x="814509" y="497"/>
                  <a:pt x="815318" y="810"/>
                  <a:pt x="815955" y="1377"/>
                </a:cubicBezTo>
                <a:cubicBezTo>
                  <a:pt x="818499" y="5079"/>
                  <a:pt x="820061" y="9353"/>
                  <a:pt x="820525" y="13813"/>
                </a:cubicBezTo>
                <a:cubicBezTo>
                  <a:pt x="822375" y="21449"/>
                  <a:pt x="824573" y="31166"/>
                  <a:pt x="829259" y="34637"/>
                </a:cubicBezTo>
                <a:cubicBezTo>
                  <a:pt x="838051" y="41579"/>
                  <a:pt x="843662" y="64716"/>
                  <a:pt x="842389" y="79235"/>
                </a:cubicBezTo>
                <a:cubicBezTo>
                  <a:pt x="841579" y="89011"/>
                  <a:pt x="840943" y="99712"/>
                  <a:pt x="844645" y="103703"/>
                </a:cubicBezTo>
                <a:cubicBezTo>
                  <a:pt x="845918" y="105057"/>
                  <a:pt x="847827" y="105647"/>
                  <a:pt x="849620" y="105265"/>
                </a:cubicBezTo>
                <a:cubicBezTo>
                  <a:pt x="852859" y="104825"/>
                  <a:pt x="855983" y="104126"/>
                  <a:pt x="859106" y="103183"/>
                </a:cubicBezTo>
                <a:cubicBezTo>
                  <a:pt x="861768" y="102321"/>
                  <a:pt x="864544" y="101777"/>
                  <a:pt x="867320" y="101563"/>
                </a:cubicBezTo>
                <a:cubicBezTo>
                  <a:pt x="869576" y="101245"/>
                  <a:pt x="871717" y="102830"/>
                  <a:pt x="872005" y="105109"/>
                </a:cubicBezTo>
                <a:cubicBezTo>
                  <a:pt x="872063" y="105294"/>
                  <a:pt x="872063" y="105485"/>
                  <a:pt x="872063" y="105670"/>
                </a:cubicBezTo>
                <a:cubicBezTo>
                  <a:pt x="872063" y="107868"/>
                  <a:pt x="875477" y="109950"/>
                  <a:pt x="878889" y="112091"/>
                </a:cubicBezTo>
                <a:cubicBezTo>
                  <a:pt x="884268" y="115561"/>
                  <a:pt x="891036" y="119842"/>
                  <a:pt x="890458" y="127709"/>
                </a:cubicBezTo>
                <a:cubicBezTo>
                  <a:pt x="890111" y="133707"/>
                  <a:pt x="890690" y="139717"/>
                  <a:pt x="892251" y="145525"/>
                </a:cubicBezTo>
                <a:cubicBezTo>
                  <a:pt x="893582" y="150563"/>
                  <a:pt x="894160" y="155763"/>
                  <a:pt x="894044" y="160969"/>
                </a:cubicBezTo>
                <a:cubicBezTo>
                  <a:pt x="894044" y="165712"/>
                  <a:pt x="897226" y="169067"/>
                  <a:pt x="901217" y="173001"/>
                </a:cubicBezTo>
                <a:cubicBezTo>
                  <a:pt x="906481" y="176911"/>
                  <a:pt x="909778" y="182857"/>
                  <a:pt x="910414" y="189371"/>
                </a:cubicBezTo>
                <a:cubicBezTo>
                  <a:pt x="910414" y="202791"/>
                  <a:pt x="912323" y="218293"/>
                  <a:pt x="916720" y="221879"/>
                </a:cubicBezTo>
                <a:cubicBezTo>
                  <a:pt x="919091" y="223962"/>
                  <a:pt x="918628" y="227664"/>
                  <a:pt x="918166" y="230672"/>
                </a:cubicBezTo>
                <a:cubicBezTo>
                  <a:pt x="917472" y="235935"/>
                  <a:pt x="917298" y="239175"/>
                  <a:pt x="922851" y="240332"/>
                </a:cubicBezTo>
                <a:cubicBezTo>
                  <a:pt x="932453" y="242356"/>
                  <a:pt x="987463" y="269254"/>
                  <a:pt x="986769" y="278509"/>
                </a:cubicBezTo>
                <a:cubicBezTo>
                  <a:pt x="985207" y="286034"/>
                  <a:pt x="988678" y="293699"/>
                  <a:pt x="995388" y="297482"/>
                </a:cubicBezTo>
                <a:cubicBezTo>
                  <a:pt x="1004295" y="304018"/>
                  <a:pt x="1008171" y="311769"/>
                  <a:pt x="1006089" y="318711"/>
                </a:cubicBezTo>
                <a:cubicBezTo>
                  <a:pt x="1004816" y="324189"/>
                  <a:pt x="1005511" y="329956"/>
                  <a:pt x="1008055" y="334965"/>
                </a:cubicBezTo>
                <a:cubicBezTo>
                  <a:pt x="1008634" y="336122"/>
                  <a:pt x="1010023" y="336631"/>
                  <a:pt x="1011237" y="336122"/>
                </a:cubicBezTo>
                <a:cubicBezTo>
                  <a:pt x="1012741" y="335566"/>
                  <a:pt x="1014187" y="334930"/>
                  <a:pt x="1015633" y="334213"/>
                </a:cubicBezTo>
                <a:cubicBezTo>
                  <a:pt x="1017773" y="332969"/>
                  <a:pt x="1020145" y="332200"/>
                  <a:pt x="1022632" y="331957"/>
                </a:cubicBezTo>
                <a:cubicBezTo>
                  <a:pt x="1025004" y="332003"/>
                  <a:pt x="1027202" y="333299"/>
                  <a:pt x="1028417" y="335370"/>
                </a:cubicBezTo>
                <a:cubicBezTo>
                  <a:pt x="1028995" y="336313"/>
                  <a:pt x="1030094" y="336845"/>
                  <a:pt x="1031193" y="336758"/>
                </a:cubicBezTo>
                <a:cubicBezTo>
                  <a:pt x="1032003" y="336839"/>
                  <a:pt x="1032813" y="336839"/>
                  <a:pt x="1033623" y="336758"/>
                </a:cubicBezTo>
                <a:cubicBezTo>
                  <a:pt x="1035647" y="336353"/>
                  <a:pt x="1037556" y="336295"/>
                  <a:pt x="1038597" y="337510"/>
                </a:cubicBezTo>
                <a:cubicBezTo>
                  <a:pt x="1039639" y="338725"/>
                  <a:pt x="1040043" y="341270"/>
                  <a:pt x="1039523" y="345493"/>
                </a:cubicBezTo>
                <a:cubicBezTo>
                  <a:pt x="1038019" y="357061"/>
                  <a:pt x="1039523" y="367126"/>
                  <a:pt x="1042646" y="371002"/>
                </a:cubicBezTo>
                <a:cubicBezTo>
                  <a:pt x="1043919" y="372535"/>
                  <a:pt x="1045944" y="373206"/>
                  <a:pt x="1047910" y="372737"/>
                </a:cubicBezTo>
                <a:cubicBezTo>
                  <a:pt x="1053695" y="371696"/>
                  <a:pt x="1054736" y="376324"/>
                  <a:pt x="1055546" y="379968"/>
                </a:cubicBezTo>
                <a:cubicBezTo>
                  <a:pt x="1056355" y="383612"/>
                  <a:pt x="1057339" y="386331"/>
                  <a:pt x="1061330" y="385405"/>
                </a:cubicBezTo>
                <a:cubicBezTo>
                  <a:pt x="1062082" y="385347"/>
                  <a:pt x="1062834" y="385347"/>
                  <a:pt x="1063586" y="385405"/>
                </a:cubicBezTo>
                <a:cubicBezTo>
                  <a:pt x="1073940" y="385405"/>
                  <a:pt x="1082212" y="401486"/>
                  <a:pt x="1083831" y="407039"/>
                </a:cubicBezTo>
                <a:cubicBezTo>
                  <a:pt x="1086029" y="414212"/>
                  <a:pt x="1092161" y="429078"/>
                  <a:pt x="1097540" y="429078"/>
                </a:cubicBezTo>
                <a:cubicBezTo>
                  <a:pt x="1098524" y="428996"/>
                  <a:pt x="1099508" y="428517"/>
                  <a:pt x="1100144" y="427747"/>
                </a:cubicBezTo>
                <a:cubicBezTo>
                  <a:pt x="1104656" y="423235"/>
                  <a:pt x="1106506" y="421500"/>
                  <a:pt x="1108068" y="421500"/>
                </a:cubicBezTo>
                <a:cubicBezTo>
                  <a:pt x="1108647" y="421494"/>
                  <a:pt x="1109167" y="421726"/>
                  <a:pt x="1109514" y="422136"/>
                </a:cubicBezTo>
                <a:cubicBezTo>
                  <a:pt x="1110382" y="423235"/>
                  <a:pt x="1110498" y="425318"/>
                  <a:pt x="1108705" y="434226"/>
                </a:cubicBezTo>
                <a:cubicBezTo>
                  <a:pt x="1105870" y="448571"/>
                  <a:pt x="1106044" y="475353"/>
                  <a:pt x="1108358" y="478419"/>
                </a:cubicBezTo>
                <a:cubicBezTo>
                  <a:pt x="1108762" y="478147"/>
                  <a:pt x="1109283" y="478002"/>
                  <a:pt x="1109804" y="478014"/>
                </a:cubicBezTo>
                <a:cubicBezTo>
                  <a:pt x="1112753" y="478014"/>
                  <a:pt x="1115588" y="482757"/>
                  <a:pt x="1116861" y="487153"/>
                </a:cubicBezTo>
                <a:cubicBezTo>
                  <a:pt x="1118133" y="491549"/>
                  <a:pt x="1119175" y="498086"/>
                  <a:pt x="1116167" y="500342"/>
                </a:cubicBezTo>
                <a:cubicBezTo>
                  <a:pt x="1114894" y="501267"/>
                  <a:pt x="1115530" y="503465"/>
                  <a:pt x="1116745" y="506878"/>
                </a:cubicBezTo>
                <a:cubicBezTo>
                  <a:pt x="1119984" y="512691"/>
                  <a:pt x="1119348" y="519893"/>
                  <a:pt x="1115125" y="525041"/>
                </a:cubicBezTo>
                <a:cubicBezTo>
                  <a:pt x="1107085" y="533602"/>
                  <a:pt x="1110555" y="545287"/>
                  <a:pt x="1112059" y="550261"/>
                </a:cubicBezTo>
                <a:lnTo>
                  <a:pt x="1112059" y="551245"/>
                </a:lnTo>
                <a:cubicBezTo>
                  <a:pt x="1112175" y="555328"/>
                  <a:pt x="1111423" y="559383"/>
                  <a:pt x="1109861" y="563161"/>
                </a:cubicBezTo>
                <a:cubicBezTo>
                  <a:pt x="1107316" y="570634"/>
                  <a:pt x="1105812" y="578420"/>
                  <a:pt x="1105408" y="586298"/>
                </a:cubicBezTo>
                <a:cubicBezTo>
                  <a:pt x="1104656" y="594153"/>
                  <a:pt x="1101937" y="601696"/>
                  <a:pt x="1097483" y="608221"/>
                </a:cubicBezTo>
                <a:cubicBezTo>
                  <a:pt x="1094128" y="613132"/>
                  <a:pt x="1091930" y="618691"/>
                  <a:pt x="1090889" y="624533"/>
                </a:cubicBezTo>
                <a:cubicBezTo>
                  <a:pt x="1089789" y="634095"/>
                  <a:pt x="1082848" y="641973"/>
                  <a:pt x="1073535" y="644316"/>
                </a:cubicBezTo>
                <a:cubicBezTo>
                  <a:pt x="1069139" y="645762"/>
                  <a:pt x="1047679" y="681915"/>
                  <a:pt x="1045250" y="702160"/>
                </a:cubicBezTo>
                <a:cubicBezTo>
                  <a:pt x="1044034" y="710513"/>
                  <a:pt x="1040275" y="718276"/>
                  <a:pt x="1034433" y="724373"/>
                </a:cubicBezTo>
                <a:cubicBezTo>
                  <a:pt x="1029227" y="729723"/>
                  <a:pt x="1025814" y="736555"/>
                  <a:pt x="1024657" y="743924"/>
                </a:cubicBezTo>
                <a:cubicBezTo>
                  <a:pt x="1024020" y="748609"/>
                  <a:pt x="1023442" y="754278"/>
                  <a:pt x="1022806" y="760294"/>
                </a:cubicBezTo>
                <a:cubicBezTo>
                  <a:pt x="1019682" y="790084"/>
                  <a:pt x="1018004" y="800033"/>
                  <a:pt x="1014418" y="800033"/>
                </a:cubicBezTo>
                <a:cubicBezTo>
                  <a:pt x="1008634" y="800033"/>
                  <a:pt x="968143" y="802000"/>
                  <a:pt x="958194" y="810098"/>
                </a:cubicBezTo>
                <a:lnTo>
                  <a:pt x="951715" y="815593"/>
                </a:lnTo>
                <a:cubicBezTo>
                  <a:pt x="945931" y="821256"/>
                  <a:pt x="939220" y="825820"/>
                  <a:pt x="931817" y="829071"/>
                </a:cubicBezTo>
                <a:cubicBezTo>
                  <a:pt x="921752" y="832831"/>
                  <a:pt x="920248" y="838557"/>
                  <a:pt x="920248" y="843127"/>
                </a:cubicBezTo>
                <a:cubicBezTo>
                  <a:pt x="920306" y="843977"/>
                  <a:pt x="920132" y="844827"/>
                  <a:pt x="919785" y="845614"/>
                </a:cubicBezTo>
                <a:cubicBezTo>
                  <a:pt x="918918" y="845747"/>
                  <a:pt x="918050" y="845302"/>
                  <a:pt x="917703" y="844515"/>
                </a:cubicBezTo>
                <a:close/>
                <a:moveTo>
                  <a:pt x="888376" y="812180"/>
                </a:moveTo>
                <a:cubicBezTo>
                  <a:pt x="890111" y="812180"/>
                  <a:pt x="891499" y="813915"/>
                  <a:pt x="892656" y="817386"/>
                </a:cubicBezTo>
                <a:cubicBezTo>
                  <a:pt x="894449" y="821424"/>
                  <a:pt x="897747" y="824594"/>
                  <a:pt x="901853" y="826178"/>
                </a:cubicBezTo>
                <a:cubicBezTo>
                  <a:pt x="905440" y="827735"/>
                  <a:pt x="908506" y="830286"/>
                  <a:pt x="910704" y="833525"/>
                </a:cubicBezTo>
                <a:cubicBezTo>
                  <a:pt x="912266" y="836897"/>
                  <a:pt x="914637" y="839847"/>
                  <a:pt x="917529" y="842144"/>
                </a:cubicBezTo>
                <a:cubicBezTo>
                  <a:pt x="917645" y="841669"/>
                  <a:pt x="917645" y="841172"/>
                  <a:pt x="917529" y="840697"/>
                </a:cubicBezTo>
                <a:cubicBezTo>
                  <a:pt x="917472" y="832987"/>
                  <a:pt x="922793" y="826271"/>
                  <a:pt x="930313" y="824559"/>
                </a:cubicBezTo>
                <a:cubicBezTo>
                  <a:pt x="937428" y="821395"/>
                  <a:pt x="943964" y="816964"/>
                  <a:pt x="949517" y="811486"/>
                </a:cubicBezTo>
                <a:lnTo>
                  <a:pt x="956053" y="805702"/>
                </a:lnTo>
                <a:cubicBezTo>
                  <a:pt x="967622" y="796389"/>
                  <a:pt x="1013261" y="795116"/>
                  <a:pt x="1013898" y="795116"/>
                </a:cubicBezTo>
                <a:cubicBezTo>
                  <a:pt x="1016212" y="793670"/>
                  <a:pt x="1018525" y="771978"/>
                  <a:pt x="1020029" y="757402"/>
                </a:cubicBezTo>
                <a:cubicBezTo>
                  <a:pt x="1020666" y="751617"/>
                  <a:pt x="1021244" y="745833"/>
                  <a:pt x="1021880" y="740974"/>
                </a:cubicBezTo>
                <a:cubicBezTo>
                  <a:pt x="1023095" y="733200"/>
                  <a:pt x="1026681" y="725986"/>
                  <a:pt x="1032177" y="720323"/>
                </a:cubicBezTo>
                <a:cubicBezTo>
                  <a:pt x="1037729" y="714533"/>
                  <a:pt x="1041316" y="707152"/>
                  <a:pt x="1042473" y="699211"/>
                </a:cubicBezTo>
                <a:cubicBezTo>
                  <a:pt x="1044844" y="679485"/>
                  <a:pt x="1065958" y="641366"/>
                  <a:pt x="1072320" y="639515"/>
                </a:cubicBezTo>
                <a:cubicBezTo>
                  <a:pt x="1075791" y="638358"/>
                  <a:pt x="1087245" y="633731"/>
                  <a:pt x="1087881" y="621757"/>
                </a:cubicBezTo>
                <a:cubicBezTo>
                  <a:pt x="1088864" y="615533"/>
                  <a:pt x="1091235" y="609604"/>
                  <a:pt x="1094764" y="604404"/>
                </a:cubicBezTo>
                <a:cubicBezTo>
                  <a:pt x="1098986" y="598209"/>
                  <a:pt x="1101648" y="591047"/>
                  <a:pt x="1102400" y="583579"/>
                </a:cubicBezTo>
                <a:cubicBezTo>
                  <a:pt x="1102862" y="575568"/>
                  <a:pt x="1104366" y="567649"/>
                  <a:pt x="1106912" y="560037"/>
                </a:cubicBezTo>
                <a:cubicBezTo>
                  <a:pt x="1108242" y="556630"/>
                  <a:pt x="1108994" y="553038"/>
                  <a:pt x="1109167" y="549394"/>
                </a:cubicBezTo>
                <a:lnTo>
                  <a:pt x="1108820" y="548410"/>
                </a:lnTo>
                <a:cubicBezTo>
                  <a:pt x="1107258" y="543031"/>
                  <a:pt x="1103498" y="530536"/>
                  <a:pt x="1112465" y="520992"/>
                </a:cubicBezTo>
                <a:cubicBezTo>
                  <a:pt x="1117323" y="515844"/>
                  <a:pt x="1115357" y="510175"/>
                  <a:pt x="1113563" y="505143"/>
                </a:cubicBezTo>
                <a:cubicBezTo>
                  <a:pt x="1112291" y="501498"/>
                  <a:pt x="1111076" y="498028"/>
                  <a:pt x="1113563" y="496061"/>
                </a:cubicBezTo>
                <a:cubicBezTo>
                  <a:pt x="1115125" y="494847"/>
                  <a:pt x="1115067" y="490277"/>
                  <a:pt x="1113563" y="485418"/>
                </a:cubicBezTo>
                <a:cubicBezTo>
                  <a:pt x="1112059" y="480559"/>
                  <a:pt x="1109630" y="477782"/>
                  <a:pt x="1108647" y="477782"/>
                </a:cubicBezTo>
                <a:cubicBezTo>
                  <a:pt x="1108531" y="477742"/>
                  <a:pt x="1108473" y="477742"/>
                  <a:pt x="1108358" y="477782"/>
                </a:cubicBezTo>
                <a:cubicBezTo>
                  <a:pt x="1108010" y="478043"/>
                  <a:pt x="1107606" y="478187"/>
                  <a:pt x="1107143" y="478187"/>
                </a:cubicBezTo>
                <a:cubicBezTo>
                  <a:pt x="1106506" y="478176"/>
                  <a:pt x="1105928" y="477881"/>
                  <a:pt x="1105581" y="477377"/>
                </a:cubicBezTo>
                <a:cubicBezTo>
                  <a:pt x="1102052" y="473097"/>
                  <a:pt x="1102862" y="443712"/>
                  <a:pt x="1105581" y="431102"/>
                </a:cubicBezTo>
                <a:cubicBezTo>
                  <a:pt x="1106449" y="427834"/>
                  <a:pt x="1106854" y="424473"/>
                  <a:pt x="1106912" y="421095"/>
                </a:cubicBezTo>
                <a:cubicBezTo>
                  <a:pt x="1104829" y="422726"/>
                  <a:pt x="1102862" y="424548"/>
                  <a:pt x="1101127" y="426532"/>
                </a:cubicBezTo>
                <a:cubicBezTo>
                  <a:pt x="1100086" y="427811"/>
                  <a:pt x="1098524" y="428568"/>
                  <a:pt x="1096846" y="428615"/>
                </a:cubicBezTo>
                <a:cubicBezTo>
                  <a:pt x="1088170" y="428615"/>
                  <a:pt x="1081286" y="405940"/>
                  <a:pt x="1080997" y="404956"/>
                </a:cubicBezTo>
                <a:cubicBezTo>
                  <a:pt x="1079262" y="399172"/>
                  <a:pt x="1071395" y="384942"/>
                  <a:pt x="1062892" y="384942"/>
                </a:cubicBezTo>
                <a:cubicBezTo>
                  <a:pt x="1062313" y="384856"/>
                  <a:pt x="1061735" y="384856"/>
                  <a:pt x="1061157" y="384942"/>
                </a:cubicBezTo>
                <a:cubicBezTo>
                  <a:pt x="1060463" y="385018"/>
                  <a:pt x="1059711" y="385018"/>
                  <a:pt x="1059017" y="384942"/>
                </a:cubicBezTo>
                <a:cubicBezTo>
                  <a:pt x="1054504" y="384942"/>
                  <a:pt x="1053579" y="380835"/>
                  <a:pt x="1052827" y="377538"/>
                </a:cubicBezTo>
                <a:cubicBezTo>
                  <a:pt x="1052075" y="374241"/>
                  <a:pt x="1051208" y="371407"/>
                  <a:pt x="1047794" y="371754"/>
                </a:cubicBezTo>
                <a:cubicBezTo>
                  <a:pt x="1045076" y="372379"/>
                  <a:pt x="1042241" y="371413"/>
                  <a:pt x="1040448" y="369266"/>
                </a:cubicBezTo>
                <a:cubicBezTo>
                  <a:pt x="1034664" y="362788"/>
                  <a:pt x="1036168" y="346765"/>
                  <a:pt x="1036747" y="342022"/>
                </a:cubicBezTo>
                <a:cubicBezTo>
                  <a:pt x="1037325" y="337279"/>
                  <a:pt x="1036747" y="336238"/>
                  <a:pt x="1036399" y="335833"/>
                </a:cubicBezTo>
                <a:cubicBezTo>
                  <a:pt x="1036052" y="335428"/>
                  <a:pt x="1036052" y="335486"/>
                  <a:pt x="1035473" y="335486"/>
                </a:cubicBezTo>
                <a:cubicBezTo>
                  <a:pt x="1034837" y="335537"/>
                  <a:pt x="1034143" y="335636"/>
                  <a:pt x="1033507" y="335775"/>
                </a:cubicBezTo>
                <a:cubicBezTo>
                  <a:pt x="1032581" y="336000"/>
                  <a:pt x="1031656" y="336139"/>
                  <a:pt x="1030673" y="336180"/>
                </a:cubicBezTo>
                <a:cubicBezTo>
                  <a:pt x="1028822" y="336261"/>
                  <a:pt x="1027028" y="335329"/>
                  <a:pt x="1026045" y="333750"/>
                </a:cubicBezTo>
                <a:cubicBezTo>
                  <a:pt x="1024484" y="331610"/>
                  <a:pt x="1023153" y="331321"/>
                  <a:pt x="1022170" y="331321"/>
                </a:cubicBezTo>
                <a:cubicBezTo>
                  <a:pt x="1020145" y="331616"/>
                  <a:pt x="1018178" y="332304"/>
                  <a:pt x="1016385" y="333345"/>
                </a:cubicBezTo>
                <a:cubicBezTo>
                  <a:pt x="1014939" y="334109"/>
                  <a:pt x="1013435" y="334785"/>
                  <a:pt x="1011873" y="335370"/>
                </a:cubicBezTo>
                <a:cubicBezTo>
                  <a:pt x="1011295" y="335572"/>
                  <a:pt x="1010717" y="335671"/>
                  <a:pt x="1010080" y="335659"/>
                </a:cubicBezTo>
                <a:cubicBezTo>
                  <a:pt x="1008461" y="335630"/>
                  <a:pt x="1006899" y="334785"/>
                  <a:pt x="1006031" y="333403"/>
                </a:cubicBezTo>
                <a:cubicBezTo>
                  <a:pt x="1003081" y="327809"/>
                  <a:pt x="1002271" y="321337"/>
                  <a:pt x="1003717" y="315182"/>
                </a:cubicBezTo>
                <a:cubicBezTo>
                  <a:pt x="1005568" y="309398"/>
                  <a:pt x="1001924" y="302341"/>
                  <a:pt x="993826" y="296441"/>
                </a:cubicBezTo>
                <a:cubicBezTo>
                  <a:pt x="986537" y="292160"/>
                  <a:pt x="982719" y="283744"/>
                  <a:pt x="984339" y="275443"/>
                </a:cubicBezTo>
                <a:cubicBezTo>
                  <a:pt x="984802" y="268907"/>
                  <a:pt x="934304" y="242183"/>
                  <a:pt x="922215" y="239638"/>
                </a:cubicBezTo>
                <a:cubicBezTo>
                  <a:pt x="914348" y="238018"/>
                  <a:pt x="915158" y="231944"/>
                  <a:pt x="915794" y="227490"/>
                </a:cubicBezTo>
                <a:cubicBezTo>
                  <a:pt x="916141" y="224656"/>
                  <a:pt x="916546" y="221706"/>
                  <a:pt x="915042" y="220664"/>
                </a:cubicBezTo>
                <a:cubicBezTo>
                  <a:pt x="909836" y="216095"/>
                  <a:pt x="907985" y="200014"/>
                  <a:pt x="907985" y="186479"/>
                </a:cubicBezTo>
                <a:cubicBezTo>
                  <a:pt x="907349" y="180584"/>
                  <a:pt x="904283" y="175228"/>
                  <a:pt x="899481" y="171728"/>
                </a:cubicBezTo>
                <a:cubicBezTo>
                  <a:pt x="894970" y="168512"/>
                  <a:pt x="892136" y="163474"/>
                  <a:pt x="891673" y="157961"/>
                </a:cubicBezTo>
                <a:cubicBezTo>
                  <a:pt x="891673" y="152952"/>
                  <a:pt x="891094" y="147954"/>
                  <a:pt x="889880" y="143095"/>
                </a:cubicBezTo>
                <a:cubicBezTo>
                  <a:pt x="888260" y="137068"/>
                  <a:pt x="887624" y="130815"/>
                  <a:pt x="888028" y="124585"/>
                </a:cubicBezTo>
                <a:cubicBezTo>
                  <a:pt x="888665" y="118107"/>
                  <a:pt x="882822" y="114404"/>
                  <a:pt x="877675" y="111107"/>
                </a:cubicBezTo>
                <a:cubicBezTo>
                  <a:pt x="873625" y="108504"/>
                  <a:pt x="870155" y="106306"/>
                  <a:pt x="869865" y="103009"/>
                </a:cubicBezTo>
                <a:cubicBezTo>
                  <a:pt x="869865" y="101447"/>
                  <a:pt x="869055" y="100927"/>
                  <a:pt x="867320" y="100927"/>
                </a:cubicBezTo>
                <a:cubicBezTo>
                  <a:pt x="864717" y="101135"/>
                  <a:pt x="862172" y="101661"/>
                  <a:pt x="859685" y="102489"/>
                </a:cubicBezTo>
                <a:cubicBezTo>
                  <a:pt x="856504" y="103437"/>
                  <a:pt x="853206" y="104149"/>
                  <a:pt x="849909" y="104629"/>
                </a:cubicBezTo>
                <a:cubicBezTo>
                  <a:pt x="847364" y="105080"/>
                  <a:pt x="844761" y="104235"/>
                  <a:pt x="842968" y="102373"/>
                </a:cubicBezTo>
                <a:cubicBezTo>
                  <a:pt x="838687" y="97687"/>
                  <a:pt x="839208" y="86871"/>
                  <a:pt x="840191" y="76169"/>
                </a:cubicBezTo>
                <a:cubicBezTo>
                  <a:pt x="841348" y="62287"/>
                  <a:pt x="835911" y="39843"/>
                  <a:pt x="827870" y="33480"/>
                </a:cubicBezTo>
                <a:cubicBezTo>
                  <a:pt x="822607" y="29373"/>
                  <a:pt x="820351" y="19829"/>
                  <a:pt x="818326" y="11442"/>
                </a:cubicBezTo>
                <a:cubicBezTo>
                  <a:pt x="817805" y="7468"/>
                  <a:pt x="816475" y="3639"/>
                  <a:pt x="814509" y="162"/>
                </a:cubicBezTo>
                <a:cubicBezTo>
                  <a:pt x="814277" y="-40"/>
                  <a:pt x="813988" y="-144"/>
                  <a:pt x="813699" y="-127"/>
                </a:cubicBezTo>
                <a:cubicBezTo>
                  <a:pt x="810691" y="700"/>
                  <a:pt x="808030" y="2511"/>
                  <a:pt x="806121" y="5021"/>
                </a:cubicBezTo>
                <a:cubicBezTo>
                  <a:pt x="802130" y="8775"/>
                  <a:pt x="799527" y="13773"/>
                  <a:pt x="798775" y="19193"/>
                </a:cubicBezTo>
                <a:cubicBezTo>
                  <a:pt x="799874" y="27430"/>
                  <a:pt x="797329" y="35730"/>
                  <a:pt x="791775" y="41926"/>
                </a:cubicBezTo>
                <a:cubicBezTo>
                  <a:pt x="789693" y="43834"/>
                  <a:pt x="790214" y="48809"/>
                  <a:pt x="790850" y="54131"/>
                </a:cubicBezTo>
                <a:cubicBezTo>
                  <a:pt x="791602" y="60783"/>
                  <a:pt x="792470" y="68303"/>
                  <a:pt x="788131" y="72236"/>
                </a:cubicBezTo>
                <a:cubicBezTo>
                  <a:pt x="783793" y="76169"/>
                  <a:pt x="784892" y="87796"/>
                  <a:pt x="785702" y="99249"/>
                </a:cubicBezTo>
                <a:cubicBezTo>
                  <a:pt x="786454" y="106127"/>
                  <a:pt x="786570" y="113057"/>
                  <a:pt x="786049" y="119958"/>
                </a:cubicBezTo>
                <a:cubicBezTo>
                  <a:pt x="785644" y="123486"/>
                  <a:pt x="785355" y="127072"/>
                  <a:pt x="785066" y="130543"/>
                </a:cubicBezTo>
                <a:cubicBezTo>
                  <a:pt x="784082" y="142690"/>
                  <a:pt x="783157" y="154143"/>
                  <a:pt x="777372" y="162300"/>
                </a:cubicBezTo>
                <a:cubicBezTo>
                  <a:pt x="775058" y="165799"/>
                  <a:pt x="773150" y="169519"/>
                  <a:pt x="771588" y="173406"/>
                </a:cubicBezTo>
                <a:cubicBezTo>
                  <a:pt x="767886" y="182024"/>
                  <a:pt x="764011" y="190759"/>
                  <a:pt x="753714" y="194808"/>
                </a:cubicBezTo>
                <a:cubicBezTo>
                  <a:pt x="750996" y="195820"/>
                  <a:pt x="748103" y="196330"/>
                  <a:pt x="745153" y="196312"/>
                </a:cubicBezTo>
                <a:cubicBezTo>
                  <a:pt x="736477" y="196254"/>
                  <a:pt x="728205" y="192859"/>
                  <a:pt x="722016" y="186826"/>
                </a:cubicBezTo>
                <a:cubicBezTo>
                  <a:pt x="719991" y="185004"/>
                  <a:pt x="718834" y="182424"/>
                  <a:pt x="718834" y="179711"/>
                </a:cubicBezTo>
                <a:cubicBezTo>
                  <a:pt x="718892" y="178201"/>
                  <a:pt x="718256" y="176738"/>
                  <a:pt x="717157" y="175720"/>
                </a:cubicBezTo>
                <a:cubicBezTo>
                  <a:pt x="711141" y="170924"/>
                  <a:pt x="703505" y="168662"/>
                  <a:pt x="695870" y="169414"/>
                </a:cubicBezTo>
                <a:cubicBezTo>
                  <a:pt x="690085" y="170224"/>
                  <a:pt x="686037" y="165712"/>
                  <a:pt x="680715" y="159870"/>
                </a:cubicBezTo>
                <a:cubicBezTo>
                  <a:pt x="676955" y="155538"/>
                  <a:pt x="672848" y="151569"/>
                  <a:pt x="668336" y="148012"/>
                </a:cubicBezTo>
                <a:cubicBezTo>
                  <a:pt x="664923" y="145218"/>
                  <a:pt x="660585" y="143743"/>
                  <a:pt x="656189" y="143847"/>
                </a:cubicBezTo>
                <a:cubicBezTo>
                  <a:pt x="654743" y="143847"/>
                  <a:pt x="653412" y="143847"/>
                  <a:pt x="652139" y="143847"/>
                </a:cubicBezTo>
                <a:cubicBezTo>
                  <a:pt x="650867" y="143847"/>
                  <a:pt x="649826" y="143847"/>
                  <a:pt x="648785" y="143847"/>
                </a:cubicBezTo>
                <a:cubicBezTo>
                  <a:pt x="644678" y="144171"/>
                  <a:pt x="640976" y="141400"/>
                  <a:pt x="640108" y="137369"/>
                </a:cubicBezTo>
                <a:cubicBezTo>
                  <a:pt x="637852" y="129508"/>
                  <a:pt x="632415" y="122937"/>
                  <a:pt x="625126" y="119206"/>
                </a:cubicBezTo>
                <a:lnTo>
                  <a:pt x="622350" y="117355"/>
                </a:lnTo>
                <a:cubicBezTo>
                  <a:pt x="618012" y="114347"/>
                  <a:pt x="615929" y="112553"/>
                  <a:pt x="615929" y="110471"/>
                </a:cubicBezTo>
                <a:cubicBezTo>
                  <a:pt x="615929" y="108389"/>
                  <a:pt x="617896" y="107058"/>
                  <a:pt x="621714" y="104687"/>
                </a:cubicBezTo>
                <a:lnTo>
                  <a:pt x="625011" y="102315"/>
                </a:lnTo>
                <a:cubicBezTo>
                  <a:pt x="632241" y="96993"/>
                  <a:pt x="632935" y="90168"/>
                  <a:pt x="627151" y="80739"/>
                </a:cubicBezTo>
                <a:cubicBezTo>
                  <a:pt x="625936" y="79322"/>
                  <a:pt x="625473" y="77402"/>
                  <a:pt x="625936" y="75591"/>
                </a:cubicBezTo>
                <a:cubicBezTo>
                  <a:pt x="626804" y="73277"/>
                  <a:pt x="629696" y="72352"/>
                  <a:pt x="633745" y="71079"/>
                </a:cubicBezTo>
                <a:cubicBezTo>
                  <a:pt x="637736" y="69940"/>
                  <a:pt x="641612" y="68389"/>
                  <a:pt x="645314" y="66452"/>
                </a:cubicBezTo>
                <a:cubicBezTo>
                  <a:pt x="649305" y="65006"/>
                  <a:pt x="651503" y="60708"/>
                  <a:pt x="650346" y="56618"/>
                </a:cubicBezTo>
                <a:cubicBezTo>
                  <a:pt x="649132" y="53211"/>
                  <a:pt x="650925" y="49480"/>
                  <a:pt x="654337" y="48283"/>
                </a:cubicBezTo>
                <a:cubicBezTo>
                  <a:pt x="654395" y="48266"/>
                  <a:pt x="654453" y="48248"/>
                  <a:pt x="654511" y="48231"/>
                </a:cubicBezTo>
                <a:cubicBezTo>
                  <a:pt x="656420" y="47479"/>
                  <a:pt x="658676" y="46090"/>
                  <a:pt x="658445" y="43950"/>
                </a:cubicBezTo>
                <a:cubicBezTo>
                  <a:pt x="658213" y="41810"/>
                  <a:pt x="654453" y="38166"/>
                  <a:pt x="648669" y="37067"/>
                </a:cubicBezTo>
                <a:lnTo>
                  <a:pt x="646992" y="37067"/>
                </a:lnTo>
                <a:cubicBezTo>
                  <a:pt x="643636" y="37067"/>
                  <a:pt x="642769" y="39439"/>
                  <a:pt x="641959" y="42851"/>
                </a:cubicBezTo>
                <a:cubicBezTo>
                  <a:pt x="641380" y="45165"/>
                  <a:pt x="640860" y="47305"/>
                  <a:pt x="638951" y="47941"/>
                </a:cubicBezTo>
                <a:lnTo>
                  <a:pt x="638199" y="47941"/>
                </a:lnTo>
                <a:cubicBezTo>
                  <a:pt x="635712" y="47941"/>
                  <a:pt x="633919" y="44008"/>
                  <a:pt x="631894" y="39496"/>
                </a:cubicBezTo>
                <a:cubicBezTo>
                  <a:pt x="630853" y="37298"/>
                  <a:pt x="629233" y="33712"/>
                  <a:pt x="628365" y="33307"/>
                </a:cubicBezTo>
                <a:cubicBezTo>
                  <a:pt x="627035" y="34221"/>
                  <a:pt x="625821" y="35245"/>
                  <a:pt x="624663" y="36373"/>
                </a:cubicBezTo>
                <a:cubicBezTo>
                  <a:pt x="621309" y="40242"/>
                  <a:pt x="616797" y="42921"/>
                  <a:pt x="611822" y="44008"/>
                </a:cubicBezTo>
                <a:cubicBezTo>
                  <a:pt x="609798" y="44002"/>
                  <a:pt x="607947" y="43036"/>
                  <a:pt x="606790" y="41405"/>
                </a:cubicBezTo>
                <a:cubicBezTo>
                  <a:pt x="601005" y="34059"/>
                  <a:pt x="568323" y="27349"/>
                  <a:pt x="554209" y="25440"/>
                </a:cubicBezTo>
                <a:cubicBezTo>
                  <a:pt x="547904" y="24017"/>
                  <a:pt x="542293" y="20332"/>
                  <a:pt x="538534" y="15086"/>
                </a:cubicBezTo>
                <a:cubicBezTo>
                  <a:pt x="535178" y="11442"/>
                  <a:pt x="532460" y="8434"/>
                  <a:pt x="529336" y="9649"/>
                </a:cubicBezTo>
                <a:cubicBezTo>
                  <a:pt x="528411" y="9996"/>
                  <a:pt x="527254" y="10632"/>
                  <a:pt x="527080" y="11384"/>
                </a:cubicBezTo>
                <a:cubicBezTo>
                  <a:pt x="526907" y="12136"/>
                  <a:pt x="530146" y="16301"/>
                  <a:pt x="533790" y="19771"/>
                </a:cubicBezTo>
                <a:cubicBezTo>
                  <a:pt x="535699" y="21564"/>
                  <a:pt x="537897" y="23647"/>
                  <a:pt x="540038" y="25961"/>
                </a:cubicBezTo>
                <a:cubicBezTo>
                  <a:pt x="541599" y="27285"/>
                  <a:pt x="542120" y="29460"/>
                  <a:pt x="541310" y="31340"/>
                </a:cubicBezTo>
                <a:cubicBezTo>
                  <a:pt x="538592" y="37703"/>
                  <a:pt x="519097" y="41636"/>
                  <a:pt x="506604" y="41636"/>
                </a:cubicBezTo>
                <a:cubicBezTo>
                  <a:pt x="503480" y="41717"/>
                  <a:pt x="500298" y="41347"/>
                  <a:pt x="497291" y="40537"/>
                </a:cubicBezTo>
                <a:cubicBezTo>
                  <a:pt x="496191" y="40162"/>
                  <a:pt x="494977" y="39988"/>
                  <a:pt x="493819" y="40017"/>
                </a:cubicBezTo>
                <a:cubicBezTo>
                  <a:pt x="493819" y="40017"/>
                  <a:pt x="493819" y="41463"/>
                  <a:pt x="494167" y="42157"/>
                </a:cubicBezTo>
                <a:cubicBezTo>
                  <a:pt x="494919" y="43730"/>
                  <a:pt x="494919" y="45558"/>
                  <a:pt x="494167" y="47132"/>
                </a:cubicBezTo>
                <a:cubicBezTo>
                  <a:pt x="493241" y="48155"/>
                  <a:pt x="491911" y="48670"/>
                  <a:pt x="490523" y="48520"/>
                </a:cubicBezTo>
                <a:lnTo>
                  <a:pt x="489366" y="48520"/>
                </a:lnTo>
                <a:cubicBezTo>
                  <a:pt x="484391" y="48520"/>
                  <a:pt x="481730" y="54304"/>
                  <a:pt x="478606" y="60725"/>
                </a:cubicBezTo>
                <a:cubicBezTo>
                  <a:pt x="476814" y="65168"/>
                  <a:pt x="474384" y="69303"/>
                  <a:pt x="471319" y="72988"/>
                </a:cubicBezTo>
                <a:cubicBezTo>
                  <a:pt x="468657" y="75793"/>
                  <a:pt x="466980" y="79351"/>
                  <a:pt x="466459" y="83169"/>
                </a:cubicBezTo>
                <a:cubicBezTo>
                  <a:pt x="466055" y="87322"/>
                  <a:pt x="463741" y="91041"/>
                  <a:pt x="460154" y="93176"/>
                </a:cubicBezTo>
                <a:cubicBezTo>
                  <a:pt x="457262" y="94610"/>
                  <a:pt x="455122" y="97260"/>
                  <a:pt x="454370" y="100406"/>
                </a:cubicBezTo>
                <a:cubicBezTo>
                  <a:pt x="453907" y="103935"/>
                  <a:pt x="456221" y="108389"/>
                  <a:pt x="461658" y="114520"/>
                </a:cubicBezTo>
                <a:cubicBezTo>
                  <a:pt x="464897" y="118107"/>
                  <a:pt x="466055" y="121057"/>
                  <a:pt x="465071" y="123197"/>
                </a:cubicBezTo>
                <a:cubicBezTo>
                  <a:pt x="464088" y="124961"/>
                  <a:pt x="462121" y="125944"/>
                  <a:pt x="460097" y="125684"/>
                </a:cubicBezTo>
                <a:cubicBezTo>
                  <a:pt x="454775" y="125291"/>
                  <a:pt x="449800" y="122942"/>
                  <a:pt x="446098" y="119090"/>
                </a:cubicBezTo>
                <a:cubicBezTo>
                  <a:pt x="440314" y="113305"/>
                  <a:pt x="434529" y="111223"/>
                  <a:pt x="431811" y="113884"/>
                </a:cubicBezTo>
                <a:cubicBezTo>
                  <a:pt x="430538" y="115538"/>
                  <a:pt x="430076" y="117638"/>
                  <a:pt x="430480" y="119669"/>
                </a:cubicBezTo>
                <a:cubicBezTo>
                  <a:pt x="430828" y="121722"/>
                  <a:pt x="430249" y="123827"/>
                  <a:pt x="428976" y="125453"/>
                </a:cubicBezTo>
                <a:cubicBezTo>
                  <a:pt x="426836" y="127206"/>
                  <a:pt x="423712" y="126910"/>
                  <a:pt x="421977" y="124793"/>
                </a:cubicBezTo>
                <a:cubicBezTo>
                  <a:pt x="421804" y="124620"/>
                  <a:pt x="421688" y="124435"/>
                  <a:pt x="421572" y="124238"/>
                </a:cubicBezTo>
                <a:cubicBezTo>
                  <a:pt x="419259" y="121224"/>
                  <a:pt x="418391" y="117366"/>
                  <a:pt x="419143" y="113652"/>
                </a:cubicBezTo>
                <a:cubicBezTo>
                  <a:pt x="420011" y="108273"/>
                  <a:pt x="417061" y="107348"/>
                  <a:pt x="412143" y="106364"/>
                </a:cubicBezTo>
                <a:cubicBezTo>
                  <a:pt x="408962" y="105670"/>
                  <a:pt x="405260" y="104860"/>
                  <a:pt x="404046" y="101505"/>
                </a:cubicBezTo>
                <a:cubicBezTo>
                  <a:pt x="401732" y="95142"/>
                  <a:pt x="389816" y="85251"/>
                  <a:pt x="382701" y="85251"/>
                </a:cubicBezTo>
                <a:lnTo>
                  <a:pt x="382180" y="85251"/>
                </a:lnTo>
                <a:cubicBezTo>
                  <a:pt x="379346" y="85592"/>
                  <a:pt x="376801" y="87154"/>
                  <a:pt x="375182" y="89532"/>
                </a:cubicBezTo>
                <a:cubicBezTo>
                  <a:pt x="373156" y="92453"/>
                  <a:pt x="369860" y="94240"/>
                  <a:pt x="366331" y="94333"/>
                </a:cubicBezTo>
                <a:cubicBezTo>
                  <a:pt x="364075" y="94078"/>
                  <a:pt x="361761" y="94818"/>
                  <a:pt x="360084" y="96357"/>
                </a:cubicBezTo>
                <a:cubicBezTo>
                  <a:pt x="358407" y="99215"/>
                  <a:pt x="358001" y="102616"/>
                  <a:pt x="358927" y="105786"/>
                </a:cubicBezTo>
                <a:cubicBezTo>
                  <a:pt x="359274" y="107081"/>
                  <a:pt x="358985" y="108452"/>
                  <a:pt x="358233" y="109546"/>
                </a:cubicBezTo>
                <a:cubicBezTo>
                  <a:pt x="356671" y="111339"/>
                  <a:pt x="352969" y="110645"/>
                  <a:pt x="348168" y="109546"/>
                </a:cubicBezTo>
                <a:cubicBezTo>
                  <a:pt x="344466" y="108250"/>
                  <a:pt x="340532" y="107683"/>
                  <a:pt x="336599" y="107868"/>
                </a:cubicBezTo>
                <a:cubicBezTo>
                  <a:pt x="335500" y="107914"/>
                  <a:pt x="334517" y="108372"/>
                  <a:pt x="333765" y="109141"/>
                </a:cubicBezTo>
                <a:cubicBezTo>
                  <a:pt x="333187" y="110749"/>
                  <a:pt x="333187" y="112507"/>
                  <a:pt x="333765" y="114115"/>
                </a:cubicBezTo>
                <a:cubicBezTo>
                  <a:pt x="334169" y="115966"/>
                  <a:pt x="334575" y="117702"/>
                  <a:pt x="333765" y="118917"/>
                </a:cubicBezTo>
                <a:cubicBezTo>
                  <a:pt x="333302" y="119547"/>
                  <a:pt x="332607" y="119946"/>
                  <a:pt x="331798" y="120016"/>
                </a:cubicBezTo>
                <a:cubicBezTo>
                  <a:pt x="330294" y="120016"/>
                  <a:pt x="329369" y="121404"/>
                  <a:pt x="328038" y="123313"/>
                </a:cubicBezTo>
                <a:cubicBezTo>
                  <a:pt x="326303" y="126778"/>
                  <a:pt x="322774" y="128999"/>
                  <a:pt x="318898" y="129097"/>
                </a:cubicBezTo>
                <a:cubicBezTo>
                  <a:pt x="317916" y="129086"/>
                  <a:pt x="316932" y="129531"/>
                  <a:pt x="316296" y="130312"/>
                </a:cubicBezTo>
                <a:cubicBezTo>
                  <a:pt x="313577" y="133378"/>
                  <a:pt x="312941" y="142228"/>
                  <a:pt x="314560" y="154433"/>
                </a:cubicBezTo>
                <a:cubicBezTo>
                  <a:pt x="314850" y="155682"/>
                  <a:pt x="314618" y="157007"/>
                  <a:pt x="313924" y="158077"/>
                </a:cubicBezTo>
                <a:cubicBezTo>
                  <a:pt x="313404" y="158667"/>
                  <a:pt x="312594" y="158985"/>
                  <a:pt x="311784" y="158945"/>
                </a:cubicBezTo>
                <a:cubicBezTo>
                  <a:pt x="309528" y="158598"/>
                  <a:pt x="307330" y="157834"/>
                  <a:pt x="305305" y="156689"/>
                </a:cubicBezTo>
                <a:cubicBezTo>
                  <a:pt x="302297" y="155046"/>
                  <a:pt x="299058" y="154005"/>
                  <a:pt x="295646" y="153623"/>
                </a:cubicBezTo>
                <a:cubicBezTo>
                  <a:pt x="295009" y="153531"/>
                  <a:pt x="294430" y="153531"/>
                  <a:pt x="293794" y="153623"/>
                </a:cubicBezTo>
                <a:cubicBezTo>
                  <a:pt x="292638" y="153970"/>
                  <a:pt x="291944" y="154433"/>
                  <a:pt x="291712" y="155011"/>
                </a:cubicBezTo>
                <a:cubicBezTo>
                  <a:pt x="291134" y="156457"/>
                  <a:pt x="292638" y="159292"/>
                  <a:pt x="294257" y="162242"/>
                </a:cubicBezTo>
                <a:cubicBezTo>
                  <a:pt x="296224" y="165568"/>
                  <a:pt x="297786" y="169148"/>
                  <a:pt x="298827" y="172885"/>
                </a:cubicBezTo>
                <a:cubicBezTo>
                  <a:pt x="300735" y="181099"/>
                  <a:pt x="297149" y="183239"/>
                  <a:pt x="293621" y="185264"/>
                </a:cubicBezTo>
                <a:cubicBezTo>
                  <a:pt x="292348" y="185987"/>
                  <a:pt x="291134" y="186837"/>
                  <a:pt x="290034" y="187809"/>
                </a:cubicBezTo>
                <a:cubicBezTo>
                  <a:pt x="289398" y="188463"/>
                  <a:pt x="288588" y="188838"/>
                  <a:pt x="287663" y="188850"/>
                </a:cubicBezTo>
                <a:cubicBezTo>
                  <a:pt x="284423" y="188850"/>
                  <a:pt x="281879" y="183644"/>
                  <a:pt x="280433" y="180520"/>
                </a:cubicBezTo>
                <a:cubicBezTo>
                  <a:pt x="278465" y="176061"/>
                  <a:pt x="277367" y="171271"/>
                  <a:pt x="277193" y="166406"/>
                </a:cubicBezTo>
                <a:cubicBezTo>
                  <a:pt x="277193" y="163746"/>
                  <a:pt x="276267" y="163746"/>
                  <a:pt x="275921" y="163746"/>
                </a:cubicBezTo>
                <a:cubicBezTo>
                  <a:pt x="274301" y="163746"/>
                  <a:pt x="269789" y="165597"/>
                  <a:pt x="257931" y="178091"/>
                </a:cubicBezTo>
                <a:cubicBezTo>
                  <a:pt x="251741" y="184685"/>
                  <a:pt x="254345" y="193304"/>
                  <a:pt x="256485" y="200246"/>
                </a:cubicBezTo>
                <a:cubicBezTo>
                  <a:pt x="257989" y="204989"/>
                  <a:pt x="259146" y="208749"/>
                  <a:pt x="256485" y="210368"/>
                </a:cubicBezTo>
                <a:cubicBezTo>
                  <a:pt x="242428" y="222099"/>
                  <a:pt x="229298" y="234987"/>
                  <a:pt x="217382" y="248892"/>
                </a:cubicBezTo>
                <a:cubicBezTo>
                  <a:pt x="209573" y="258263"/>
                  <a:pt x="196269" y="258784"/>
                  <a:pt x="185568" y="259189"/>
                </a:cubicBezTo>
                <a:cubicBezTo>
                  <a:pt x="179783" y="258657"/>
                  <a:pt x="173941" y="259779"/>
                  <a:pt x="168793" y="262428"/>
                </a:cubicBezTo>
                <a:cubicBezTo>
                  <a:pt x="164801" y="265540"/>
                  <a:pt x="159885" y="267212"/>
                  <a:pt x="154852" y="267171"/>
                </a:cubicBezTo>
                <a:cubicBezTo>
                  <a:pt x="150514" y="267102"/>
                  <a:pt x="146291" y="268392"/>
                  <a:pt x="142705" y="270873"/>
                </a:cubicBezTo>
                <a:lnTo>
                  <a:pt x="141779" y="271625"/>
                </a:lnTo>
                <a:cubicBezTo>
                  <a:pt x="132698" y="278740"/>
                  <a:pt x="124426" y="285161"/>
                  <a:pt x="119047" y="285161"/>
                </a:cubicBezTo>
                <a:cubicBezTo>
                  <a:pt x="116965" y="285271"/>
                  <a:pt x="115171" y="283790"/>
                  <a:pt x="114882" y="281748"/>
                </a:cubicBezTo>
                <a:cubicBezTo>
                  <a:pt x="114361" y="279492"/>
                  <a:pt x="111527" y="279029"/>
                  <a:pt x="109098" y="279029"/>
                </a:cubicBezTo>
                <a:cubicBezTo>
                  <a:pt x="99726" y="279724"/>
                  <a:pt x="90877" y="283674"/>
                  <a:pt x="84051" y="290193"/>
                </a:cubicBezTo>
                <a:cubicBezTo>
                  <a:pt x="74912" y="300224"/>
                  <a:pt x="62707" y="306957"/>
                  <a:pt x="49344" y="309340"/>
                </a:cubicBezTo>
                <a:cubicBezTo>
                  <a:pt x="43560" y="309687"/>
                  <a:pt x="41246" y="315934"/>
                  <a:pt x="39337" y="321429"/>
                </a:cubicBezTo>
                <a:cubicBezTo>
                  <a:pt x="38643" y="324218"/>
                  <a:pt x="37371" y="326815"/>
                  <a:pt x="35519" y="329007"/>
                </a:cubicBezTo>
                <a:cubicBezTo>
                  <a:pt x="34709" y="329932"/>
                  <a:pt x="33263" y="330008"/>
                  <a:pt x="32338" y="329175"/>
                </a:cubicBezTo>
                <a:cubicBezTo>
                  <a:pt x="32280" y="329122"/>
                  <a:pt x="32223" y="329065"/>
                  <a:pt x="32165" y="329007"/>
                </a:cubicBezTo>
                <a:cubicBezTo>
                  <a:pt x="30313" y="327156"/>
                  <a:pt x="30313" y="320677"/>
                  <a:pt x="30545" y="313678"/>
                </a:cubicBezTo>
                <a:cubicBezTo>
                  <a:pt x="30545" y="312868"/>
                  <a:pt x="30545" y="312232"/>
                  <a:pt x="30545" y="311654"/>
                </a:cubicBezTo>
                <a:cubicBezTo>
                  <a:pt x="25281" y="317305"/>
                  <a:pt x="21290" y="324067"/>
                  <a:pt x="18976" y="331436"/>
                </a:cubicBezTo>
                <a:cubicBezTo>
                  <a:pt x="17704" y="335833"/>
                  <a:pt x="18340" y="340564"/>
                  <a:pt x="20769" y="344451"/>
                </a:cubicBezTo>
                <a:cubicBezTo>
                  <a:pt x="24356" y="350051"/>
                  <a:pt x="24124" y="357310"/>
                  <a:pt x="20075" y="362615"/>
                </a:cubicBezTo>
                <a:cubicBezTo>
                  <a:pt x="11514" y="375167"/>
                  <a:pt x="2722" y="388124"/>
                  <a:pt x="15216" y="404899"/>
                </a:cubicBezTo>
                <a:cubicBezTo>
                  <a:pt x="27710" y="421673"/>
                  <a:pt x="35577" y="433300"/>
                  <a:pt x="31008" y="442440"/>
                </a:cubicBezTo>
                <a:cubicBezTo>
                  <a:pt x="30545" y="443799"/>
                  <a:pt x="29330" y="444742"/>
                  <a:pt x="27884" y="444811"/>
                </a:cubicBezTo>
                <a:cubicBezTo>
                  <a:pt x="24934" y="444811"/>
                  <a:pt x="22100" y="440126"/>
                  <a:pt x="18918" y="435209"/>
                </a:cubicBezTo>
                <a:cubicBezTo>
                  <a:pt x="17704" y="432883"/>
                  <a:pt x="16084" y="430761"/>
                  <a:pt x="14233" y="428904"/>
                </a:cubicBezTo>
                <a:cubicBezTo>
                  <a:pt x="13770" y="429540"/>
                  <a:pt x="16373" y="432953"/>
                  <a:pt x="17935" y="435035"/>
                </a:cubicBezTo>
                <a:cubicBezTo>
                  <a:pt x="21232" y="439432"/>
                  <a:pt x="24934" y="444349"/>
                  <a:pt x="22504" y="448050"/>
                </a:cubicBezTo>
                <a:cubicBezTo>
                  <a:pt x="21984" y="448814"/>
                  <a:pt x="21174" y="449271"/>
                  <a:pt x="20248" y="449265"/>
                </a:cubicBezTo>
                <a:cubicBezTo>
                  <a:pt x="17761" y="449265"/>
                  <a:pt x="14869" y="445968"/>
                  <a:pt x="10473" y="440415"/>
                </a:cubicBezTo>
                <a:cubicBezTo>
                  <a:pt x="8159" y="437523"/>
                  <a:pt x="4689" y="433069"/>
                  <a:pt x="3300" y="433069"/>
                </a:cubicBezTo>
                <a:cubicBezTo>
                  <a:pt x="2433" y="434977"/>
                  <a:pt x="9085" y="446489"/>
                  <a:pt x="14059" y="455744"/>
                </a:cubicBezTo>
                <a:cubicBezTo>
                  <a:pt x="21984" y="469800"/>
                  <a:pt x="30892" y="485765"/>
                  <a:pt x="31413" y="494326"/>
                </a:cubicBezTo>
                <a:cubicBezTo>
                  <a:pt x="32917" y="501614"/>
                  <a:pt x="36271" y="508382"/>
                  <a:pt x="41246" y="513935"/>
                </a:cubicBezTo>
                <a:cubicBezTo>
                  <a:pt x="47782" y="522959"/>
                  <a:pt x="55129" y="533255"/>
                  <a:pt x="54435" y="545923"/>
                </a:cubicBezTo>
                <a:cubicBezTo>
                  <a:pt x="53162" y="569061"/>
                  <a:pt x="78266" y="607238"/>
                  <a:pt x="78498" y="607585"/>
                </a:cubicBezTo>
                <a:cubicBezTo>
                  <a:pt x="80464" y="610535"/>
                  <a:pt x="78498" y="615047"/>
                  <a:pt x="76704" y="620831"/>
                </a:cubicBezTo>
                <a:cubicBezTo>
                  <a:pt x="73408" y="628218"/>
                  <a:pt x="72019" y="636305"/>
                  <a:pt x="72598" y="644374"/>
                </a:cubicBezTo>
                <a:cubicBezTo>
                  <a:pt x="74218" y="650743"/>
                  <a:pt x="72945" y="657499"/>
                  <a:pt x="69069" y="662826"/>
                </a:cubicBezTo>
                <a:cubicBezTo>
                  <a:pt x="65657" y="666476"/>
                  <a:pt x="60739" y="668408"/>
                  <a:pt x="55765" y="668090"/>
                </a:cubicBezTo>
                <a:cubicBezTo>
                  <a:pt x="53798" y="667772"/>
                  <a:pt x="51948" y="669096"/>
                  <a:pt x="51658" y="671052"/>
                </a:cubicBezTo>
                <a:cubicBezTo>
                  <a:pt x="51600" y="671260"/>
                  <a:pt x="51600" y="671468"/>
                  <a:pt x="51600" y="671677"/>
                </a:cubicBezTo>
                <a:cubicBezTo>
                  <a:pt x="52063" y="678005"/>
                  <a:pt x="56864" y="683153"/>
                  <a:pt x="63169" y="684055"/>
                </a:cubicBezTo>
                <a:cubicBezTo>
                  <a:pt x="67970" y="684171"/>
                  <a:pt x="72250" y="687063"/>
                  <a:pt x="74102" y="691459"/>
                </a:cubicBezTo>
                <a:cubicBezTo>
                  <a:pt x="76416" y="695653"/>
                  <a:pt x="79712" y="699211"/>
                  <a:pt x="83704" y="701813"/>
                </a:cubicBezTo>
                <a:cubicBezTo>
                  <a:pt x="89489" y="705689"/>
                  <a:pt x="100074" y="707598"/>
                  <a:pt x="115923" y="707598"/>
                </a:cubicBezTo>
                <a:cubicBezTo>
                  <a:pt x="120840" y="707598"/>
                  <a:pt x="125583" y="707598"/>
                  <a:pt x="129400" y="707251"/>
                </a:cubicBezTo>
                <a:lnTo>
                  <a:pt x="136342" y="707251"/>
                </a:lnTo>
                <a:cubicBezTo>
                  <a:pt x="140681" y="707251"/>
                  <a:pt x="143631" y="704069"/>
                  <a:pt x="147101" y="700425"/>
                </a:cubicBezTo>
                <a:cubicBezTo>
                  <a:pt x="151035" y="695063"/>
                  <a:pt x="156992" y="691598"/>
                  <a:pt x="163587" y="690881"/>
                </a:cubicBezTo>
                <a:cubicBezTo>
                  <a:pt x="173767" y="690476"/>
                  <a:pt x="175156" y="688162"/>
                  <a:pt x="178453" y="683245"/>
                </a:cubicBezTo>
                <a:cubicBezTo>
                  <a:pt x="179494" y="681684"/>
                  <a:pt x="180593" y="679948"/>
                  <a:pt x="182154" y="677981"/>
                </a:cubicBezTo>
                <a:cubicBezTo>
                  <a:pt x="185626" y="673528"/>
                  <a:pt x="194939" y="671561"/>
                  <a:pt x="212234" y="671561"/>
                </a:cubicBezTo>
                <a:cubicBezTo>
                  <a:pt x="222761" y="671561"/>
                  <a:pt x="234851" y="672255"/>
                  <a:pt x="247692" y="673007"/>
                </a:cubicBezTo>
                <a:lnTo>
                  <a:pt x="253477" y="673354"/>
                </a:lnTo>
                <a:cubicBezTo>
                  <a:pt x="281011" y="674916"/>
                  <a:pt x="297728" y="667974"/>
                  <a:pt x="303223" y="652819"/>
                </a:cubicBezTo>
                <a:cubicBezTo>
                  <a:pt x="305768" y="645762"/>
                  <a:pt x="314792" y="642639"/>
                  <a:pt x="323700" y="639573"/>
                </a:cubicBezTo>
                <a:cubicBezTo>
                  <a:pt x="329542" y="638017"/>
                  <a:pt x="334979" y="635391"/>
                  <a:pt x="339838" y="631822"/>
                </a:cubicBezTo>
                <a:cubicBezTo>
                  <a:pt x="346953" y="625170"/>
                  <a:pt x="353316" y="623145"/>
                  <a:pt x="366909" y="623145"/>
                </a:cubicBezTo>
                <a:cubicBezTo>
                  <a:pt x="370554" y="623145"/>
                  <a:pt x="374834" y="623145"/>
                  <a:pt x="381313" y="623608"/>
                </a:cubicBezTo>
                <a:cubicBezTo>
                  <a:pt x="399938" y="624591"/>
                  <a:pt x="417465" y="616724"/>
                  <a:pt x="431464" y="610477"/>
                </a:cubicBezTo>
                <a:cubicBezTo>
                  <a:pt x="434992" y="608915"/>
                  <a:pt x="438289" y="607411"/>
                  <a:pt x="441355" y="606197"/>
                </a:cubicBezTo>
                <a:cubicBezTo>
                  <a:pt x="452461" y="602865"/>
                  <a:pt x="463972" y="601211"/>
                  <a:pt x="475541" y="601280"/>
                </a:cubicBezTo>
                <a:cubicBezTo>
                  <a:pt x="483466" y="601141"/>
                  <a:pt x="491333" y="600326"/>
                  <a:pt x="499084" y="598850"/>
                </a:cubicBezTo>
                <a:cubicBezTo>
                  <a:pt x="500183" y="598561"/>
                  <a:pt x="501340" y="598405"/>
                  <a:pt x="502496" y="598388"/>
                </a:cubicBezTo>
                <a:cubicBezTo>
                  <a:pt x="507992" y="599041"/>
                  <a:pt x="512966" y="602038"/>
                  <a:pt x="516090" y="606602"/>
                </a:cubicBezTo>
                <a:cubicBezTo>
                  <a:pt x="520428" y="611229"/>
                  <a:pt x="524998" y="615972"/>
                  <a:pt x="532518" y="615163"/>
                </a:cubicBezTo>
                <a:cubicBezTo>
                  <a:pt x="534426" y="614925"/>
                  <a:pt x="536394" y="614810"/>
                  <a:pt x="538302" y="614816"/>
                </a:cubicBezTo>
                <a:cubicBezTo>
                  <a:pt x="543913" y="614885"/>
                  <a:pt x="549524" y="615845"/>
                  <a:pt x="554846" y="617650"/>
                </a:cubicBezTo>
                <a:cubicBezTo>
                  <a:pt x="558027" y="618859"/>
                  <a:pt x="561440" y="619466"/>
                  <a:pt x="564852" y="619443"/>
                </a:cubicBezTo>
                <a:cubicBezTo>
                  <a:pt x="568381" y="618980"/>
                  <a:pt x="571852" y="620409"/>
                  <a:pt x="574049" y="623203"/>
                </a:cubicBezTo>
                <a:cubicBezTo>
                  <a:pt x="575843" y="625280"/>
                  <a:pt x="578273" y="626720"/>
                  <a:pt x="580933" y="627310"/>
                </a:cubicBezTo>
                <a:cubicBezTo>
                  <a:pt x="583768" y="627645"/>
                  <a:pt x="586255" y="629415"/>
                  <a:pt x="587470" y="631995"/>
                </a:cubicBezTo>
                <a:cubicBezTo>
                  <a:pt x="588280" y="637034"/>
                  <a:pt x="586834" y="642176"/>
                  <a:pt x="583421" y="645994"/>
                </a:cubicBezTo>
                <a:cubicBezTo>
                  <a:pt x="582900" y="646659"/>
                  <a:pt x="582611" y="647509"/>
                  <a:pt x="582669" y="648365"/>
                </a:cubicBezTo>
                <a:cubicBezTo>
                  <a:pt x="583074" y="649869"/>
                  <a:pt x="585792" y="651315"/>
                  <a:pt x="589205" y="653108"/>
                </a:cubicBezTo>
                <a:cubicBezTo>
                  <a:pt x="596436" y="656435"/>
                  <a:pt x="602799" y="661455"/>
                  <a:pt x="607657" y="667743"/>
                </a:cubicBezTo>
                <a:cubicBezTo>
                  <a:pt x="612400" y="672839"/>
                  <a:pt x="614425" y="679942"/>
                  <a:pt x="612979" y="686774"/>
                </a:cubicBezTo>
                <a:cubicBezTo>
                  <a:pt x="611996" y="690673"/>
                  <a:pt x="612516" y="694803"/>
                  <a:pt x="614425" y="698343"/>
                </a:cubicBezTo>
                <a:cubicBezTo>
                  <a:pt x="616739" y="702970"/>
                  <a:pt x="618648" y="705052"/>
                  <a:pt x="620557" y="705052"/>
                </a:cubicBezTo>
                <a:cubicBezTo>
                  <a:pt x="623738" y="705052"/>
                  <a:pt x="628250" y="699673"/>
                  <a:pt x="634902" y="690302"/>
                </a:cubicBezTo>
                <a:cubicBezTo>
                  <a:pt x="639067" y="684119"/>
                  <a:pt x="645661" y="679937"/>
                  <a:pt x="653007" y="678733"/>
                </a:cubicBezTo>
                <a:cubicBezTo>
                  <a:pt x="658097" y="677519"/>
                  <a:pt x="661105" y="676824"/>
                  <a:pt x="661915" y="670288"/>
                </a:cubicBezTo>
                <a:cubicBezTo>
                  <a:pt x="663477" y="658141"/>
                  <a:pt x="672848" y="643333"/>
                  <a:pt x="681640" y="643333"/>
                </a:cubicBezTo>
                <a:cubicBezTo>
                  <a:pt x="683549" y="643350"/>
                  <a:pt x="685400" y="644067"/>
                  <a:pt x="686846" y="645357"/>
                </a:cubicBezTo>
                <a:cubicBezTo>
                  <a:pt x="691936" y="649696"/>
                  <a:pt x="689681" y="653340"/>
                  <a:pt x="686268" y="658835"/>
                </a:cubicBezTo>
                <a:cubicBezTo>
                  <a:pt x="681004" y="666841"/>
                  <a:pt x="677418" y="675807"/>
                  <a:pt x="675682" y="685212"/>
                </a:cubicBezTo>
                <a:cubicBezTo>
                  <a:pt x="672270" y="702854"/>
                  <a:pt x="666948" y="704416"/>
                  <a:pt x="661857" y="704474"/>
                </a:cubicBezTo>
                <a:cubicBezTo>
                  <a:pt x="659891" y="704474"/>
                  <a:pt x="659139" y="704474"/>
                  <a:pt x="658734" y="706383"/>
                </a:cubicBezTo>
                <a:cubicBezTo>
                  <a:pt x="658561" y="707146"/>
                  <a:pt x="658792" y="707951"/>
                  <a:pt x="659313" y="708523"/>
                </a:cubicBezTo>
                <a:cubicBezTo>
                  <a:pt x="662436" y="711149"/>
                  <a:pt x="666427" y="712474"/>
                  <a:pt x="670476" y="712225"/>
                </a:cubicBezTo>
                <a:cubicBezTo>
                  <a:pt x="673195" y="712225"/>
                  <a:pt x="682045" y="711647"/>
                  <a:pt x="682045" y="703722"/>
                </a:cubicBezTo>
                <a:cubicBezTo>
                  <a:pt x="682045" y="693310"/>
                  <a:pt x="684475" y="687526"/>
                  <a:pt x="688929" y="687526"/>
                </a:cubicBezTo>
                <a:cubicBezTo>
                  <a:pt x="691821" y="687526"/>
                  <a:pt x="695176" y="690013"/>
                  <a:pt x="699167" y="695161"/>
                </a:cubicBezTo>
                <a:cubicBezTo>
                  <a:pt x="706166" y="704243"/>
                  <a:pt x="701596" y="712515"/>
                  <a:pt x="698242" y="718299"/>
                </a:cubicBezTo>
                <a:cubicBezTo>
                  <a:pt x="696506" y="721365"/>
                  <a:pt x="695002" y="724083"/>
                  <a:pt x="695696" y="725761"/>
                </a:cubicBezTo>
                <a:cubicBezTo>
                  <a:pt x="696390" y="727438"/>
                  <a:pt x="696564" y="727323"/>
                  <a:pt x="698473" y="727323"/>
                </a:cubicBezTo>
                <a:cubicBezTo>
                  <a:pt x="700960" y="727080"/>
                  <a:pt x="703390" y="726518"/>
                  <a:pt x="705761" y="725645"/>
                </a:cubicBezTo>
                <a:cubicBezTo>
                  <a:pt x="708595" y="724488"/>
                  <a:pt x="711661" y="723864"/>
                  <a:pt x="714727" y="723794"/>
                </a:cubicBezTo>
                <a:cubicBezTo>
                  <a:pt x="720801" y="725385"/>
                  <a:pt x="726007" y="729260"/>
                  <a:pt x="729246" y="734611"/>
                </a:cubicBezTo>
                <a:cubicBezTo>
                  <a:pt x="735031" y="742247"/>
                  <a:pt x="740352" y="754278"/>
                  <a:pt x="738791" y="762781"/>
                </a:cubicBezTo>
                <a:lnTo>
                  <a:pt x="738385" y="764748"/>
                </a:lnTo>
                <a:cubicBezTo>
                  <a:pt x="736013" y="776837"/>
                  <a:pt x="733931" y="787249"/>
                  <a:pt x="752673" y="796620"/>
                </a:cubicBezTo>
                <a:cubicBezTo>
                  <a:pt x="757821" y="799078"/>
                  <a:pt x="762738" y="802063"/>
                  <a:pt x="767250" y="805528"/>
                </a:cubicBezTo>
                <a:cubicBezTo>
                  <a:pt x="770663" y="808073"/>
                  <a:pt x="771415" y="808594"/>
                  <a:pt x="780034" y="808594"/>
                </a:cubicBezTo>
                <a:cubicBezTo>
                  <a:pt x="794957" y="808594"/>
                  <a:pt x="827061" y="820684"/>
                  <a:pt x="835911" y="828319"/>
                </a:cubicBezTo>
                <a:cubicBezTo>
                  <a:pt x="837530" y="829620"/>
                  <a:pt x="839613" y="830262"/>
                  <a:pt x="841695" y="830112"/>
                </a:cubicBezTo>
                <a:cubicBezTo>
                  <a:pt x="853958" y="828585"/>
                  <a:pt x="864370" y="820388"/>
                  <a:pt x="868709" y="808825"/>
                </a:cubicBezTo>
                <a:cubicBezTo>
                  <a:pt x="870559" y="802520"/>
                  <a:pt x="874493" y="801595"/>
                  <a:pt x="876344" y="801595"/>
                </a:cubicBezTo>
                <a:cubicBezTo>
                  <a:pt x="880220" y="801791"/>
                  <a:pt x="883516" y="804342"/>
                  <a:pt x="884732" y="808016"/>
                </a:cubicBezTo>
                <a:cubicBezTo>
                  <a:pt x="885426" y="810543"/>
                  <a:pt x="884268" y="813221"/>
                  <a:pt x="881897" y="814378"/>
                </a:cubicBezTo>
                <a:cubicBezTo>
                  <a:pt x="880104" y="815101"/>
                  <a:pt x="879121" y="817086"/>
                  <a:pt x="879699" y="818948"/>
                </a:cubicBezTo>
                <a:cubicBezTo>
                  <a:pt x="880335" y="821320"/>
                  <a:pt x="882649" y="823460"/>
                  <a:pt x="884095" y="823460"/>
                </a:cubicBezTo>
                <a:cubicBezTo>
                  <a:pt x="884095" y="823460"/>
                  <a:pt x="884963" y="823460"/>
                  <a:pt x="885078" y="821783"/>
                </a:cubicBezTo>
                <a:cubicBezTo>
                  <a:pt x="883516" y="819122"/>
                  <a:pt x="884905" y="812238"/>
                  <a:pt x="888376" y="812238"/>
                </a:cubicBezTo>
                <a:close/>
                <a:moveTo>
                  <a:pt x="656999" y="744849"/>
                </a:moveTo>
                <a:lnTo>
                  <a:pt x="656999" y="744849"/>
                </a:lnTo>
                <a:cubicBezTo>
                  <a:pt x="652024" y="745231"/>
                  <a:pt x="647050" y="743860"/>
                  <a:pt x="643000" y="740974"/>
                </a:cubicBezTo>
                <a:cubicBezTo>
                  <a:pt x="642132" y="740326"/>
                  <a:pt x="641844" y="739186"/>
                  <a:pt x="642248" y="738198"/>
                </a:cubicBezTo>
                <a:cubicBezTo>
                  <a:pt x="643810" y="734033"/>
                  <a:pt x="659255" y="730909"/>
                  <a:pt x="668452" y="730909"/>
                </a:cubicBezTo>
                <a:cubicBezTo>
                  <a:pt x="673368" y="730909"/>
                  <a:pt x="676261" y="731719"/>
                  <a:pt x="677360" y="733396"/>
                </a:cubicBezTo>
                <a:cubicBezTo>
                  <a:pt x="677880" y="734328"/>
                  <a:pt x="677880" y="735473"/>
                  <a:pt x="677360" y="736404"/>
                </a:cubicBezTo>
                <a:cubicBezTo>
                  <a:pt x="675104" y="742247"/>
                  <a:pt x="665212" y="744965"/>
                  <a:pt x="657057" y="744965"/>
                </a:cubicBezTo>
                <a:close/>
                <a:moveTo>
                  <a:pt x="644330" y="739065"/>
                </a:moveTo>
                <a:lnTo>
                  <a:pt x="644330" y="739065"/>
                </a:lnTo>
                <a:cubicBezTo>
                  <a:pt x="647975" y="741547"/>
                  <a:pt x="652429" y="742704"/>
                  <a:pt x="656825" y="742362"/>
                </a:cubicBezTo>
                <a:cubicBezTo>
                  <a:pt x="664460" y="742362"/>
                  <a:pt x="673253" y="739933"/>
                  <a:pt x="675277" y="735247"/>
                </a:cubicBezTo>
                <a:cubicBezTo>
                  <a:pt x="675277" y="734727"/>
                  <a:pt x="675277" y="734495"/>
                  <a:pt x="675277" y="734437"/>
                </a:cubicBezTo>
                <a:cubicBezTo>
                  <a:pt x="675277" y="734380"/>
                  <a:pt x="672732" y="732991"/>
                  <a:pt x="668220" y="732991"/>
                </a:cubicBezTo>
                <a:cubicBezTo>
                  <a:pt x="657519" y="732991"/>
                  <a:pt x="644215" y="736867"/>
                  <a:pt x="644100" y="738776"/>
                </a:cubicBezTo>
                <a:close/>
                <a:moveTo>
                  <a:pt x="480574" y="34290"/>
                </a:moveTo>
                <a:lnTo>
                  <a:pt x="480574" y="34290"/>
                </a:lnTo>
                <a:cubicBezTo>
                  <a:pt x="477450" y="34556"/>
                  <a:pt x="474326" y="33874"/>
                  <a:pt x="471607" y="32323"/>
                </a:cubicBezTo>
                <a:cubicBezTo>
                  <a:pt x="470277" y="31438"/>
                  <a:pt x="469641" y="29767"/>
                  <a:pt x="470103" y="28217"/>
                </a:cubicBezTo>
                <a:cubicBezTo>
                  <a:pt x="471955" y="22953"/>
                  <a:pt x="488961" y="19019"/>
                  <a:pt x="499026" y="19019"/>
                </a:cubicBezTo>
                <a:cubicBezTo>
                  <a:pt x="504810" y="19019"/>
                  <a:pt x="508050" y="20292"/>
                  <a:pt x="508512" y="22721"/>
                </a:cubicBezTo>
                <a:cubicBezTo>
                  <a:pt x="508686" y="24040"/>
                  <a:pt x="508223" y="25359"/>
                  <a:pt x="507298" y="26308"/>
                </a:cubicBezTo>
                <a:cubicBezTo>
                  <a:pt x="503596" y="30935"/>
                  <a:pt x="490118" y="34348"/>
                  <a:pt x="480632" y="34348"/>
                </a:cubicBezTo>
                <a:close/>
                <a:moveTo>
                  <a:pt x="499141" y="21275"/>
                </a:moveTo>
                <a:cubicBezTo>
                  <a:pt x="488267" y="21275"/>
                  <a:pt x="473459" y="25498"/>
                  <a:pt x="472244" y="28968"/>
                </a:cubicBezTo>
                <a:cubicBezTo>
                  <a:pt x="472244" y="28968"/>
                  <a:pt x="472244" y="29663"/>
                  <a:pt x="473054" y="30530"/>
                </a:cubicBezTo>
                <a:cubicBezTo>
                  <a:pt x="475368" y="31757"/>
                  <a:pt x="477970" y="32283"/>
                  <a:pt x="480574" y="32034"/>
                </a:cubicBezTo>
                <a:cubicBezTo>
                  <a:pt x="490175" y="32034"/>
                  <a:pt x="502612" y="28448"/>
                  <a:pt x="505736" y="24862"/>
                </a:cubicBezTo>
                <a:cubicBezTo>
                  <a:pt x="506198" y="24410"/>
                  <a:pt x="506430" y="23774"/>
                  <a:pt x="506372" y="23126"/>
                </a:cubicBezTo>
                <a:cubicBezTo>
                  <a:pt x="506256" y="22259"/>
                  <a:pt x="504000" y="21333"/>
                  <a:pt x="499199" y="2133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5" name="Forma libre: forma 424">
            <a:extLst>
              <a:ext uri="{FF2B5EF4-FFF2-40B4-BE49-F238E27FC236}">
                <a16:creationId xmlns:a16="http://schemas.microsoft.com/office/drawing/2014/main" id="{E8B5FEBD-E6F7-1994-EE71-95CAEC69D986}"/>
              </a:ext>
            </a:extLst>
          </p:cNvPr>
          <p:cNvSpPr/>
          <p:nvPr/>
        </p:nvSpPr>
        <p:spPr>
          <a:xfrm>
            <a:off x="10711522" y="5489052"/>
            <a:ext cx="332837" cy="391938"/>
          </a:xfrm>
          <a:custGeom>
            <a:avLst/>
            <a:gdLst>
              <a:gd name="connsiteX0" fmla="*/ 60426 w 332837"/>
              <a:gd name="connsiteY0" fmla="*/ 391810 h 391938"/>
              <a:gd name="connsiteX1" fmla="*/ 60426 w 332837"/>
              <a:gd name="connsiteY1" fmla="*/ 391810 h 391938"/>
              <a:gd name="connsiteX2" fmla="*/ 47122 w 332837"/>
              <a:gd name="connsiteY2" fmla="*/ 387125 h 391938"/>
              <a:gd name="connsiteX3" fmla="*/ 40297 w 332837"/>
              <a:gd name="connsiteY3" fmla="*/ 384290 h 391938"/>
              <a:gd name="connsiteX4" fmla="*/ 27918 w 332837"/>
              <a:gd name="connsiteY4" fmla="*/ 379489 h 391938"/>
              <a:gd name="connsiteX5" fmla="*/ 16927 w 332837"/>
              <a:gd name="connsiteY5" fmla="*/ 375382 h 391938"/>
              <a:gd name="connsiteX6" fmla="*/ 2987 w 332837"/>
              <a:gd name="connsiteY6" fmla="*/ 368441 h 391938"/>
              <a:gd name="connsiteX7" fmla="*/ 5359 w 332837"/>
              <a:gd name="connsiteY7" fmla="*/ 347501 h 391938"/>
              <a:gd name="connsiteX8" fmla="*/ 10044 w 332837"/>
              <a:gd name="connsiteY8" fmla="*/ 338073 h 391938"/>
              <a:gd name="connsiteX9" fmla="*/ 26530 w 332837"/>
              <a:gd name="connsiteY9" fmla="*/ 320719 h 391938"/>
              <a:gd name="connsiteX10" fmla="*/ 44751 w 332837"/>
              <a:gd name="connsiteY10" fmla="*/ 304639 h 391938"/>
              <a:gd name="connsiteX11" fmla="*/ 73037 w 332837"/>
              <a:gd name="connsiteY11" fmla="*/ 286880 h 391938"/>
              <a:gd name="connsiteX12" fmla="*/ 119833 w 332837"/>
              <a:gd name="connsiteY12" fmla="*/ 254950 h 391938"/>
              <a:gd name="connsiteX13" fmla="*/ 131402 w 332837"/>
              <a:gd name="connsiteY13" fmla="*/ 232796 h 391938"/>
              <a:gd name="connsiteX14" fmla="*/ 142623 w 332837"/>
              <a:gd name="connsiteY14" fmla="*/ 216484 h 391938"/>
              <a:gd name="connsiteX15" fmla="*/ 149738 w 332837"/>
              <a:gd name="connsiteY15" fmla="*/ 204452 h 391938"/>
              <a:gd name="connsiteX16" fmla="*/ 156622 w 332837"/>
              <a:gd name="connsiteY16" fmla="*/ 192883 h 391938"/>
              <a:gd name="connsiteX17" fmla="*/ 162406 w 332837"/>
              <a:gd name="connsiteY17" fmla="*/ 190570 h 391938"/>
              <a:gd name="connsiteX18" fmla="*/ 173570 w 332837"/>
              <a:gd name="connsiteY18" fmla="*/ 198032 h 391938"/>
              <a:gd name="connsiteX19" fmla="*/ 183461 w 332837"/>
              <a:gd name="connsiteY19" fmla="*/ 203816 h 391938"/>
              <a:gd name="connsiteX20" fmla="*/ 190518 w 332837"/>
              <a:gd name="connsiteY20" fmla="*/ 199420 h 391938"/>
              <a:gd name="connsiteX21" fmla="*/ 200063 w 332837"/>
              <a:gd name="connsiteY21" fmla="*/ 194966 h 391938"/>
              <a:gd name="connsiteX22" fmla="*/ 206367 w 332837"/>
              <a:gd name="connsiteY22" fmla="*/ 197222 h 391938"/>
              <a:gd name="connsiteX23" fmla="*/ 209607 w 332837"/>
              <a:gd name="connsiteY23" fmla="*/ 208790 h 391938"/>
              <a:gd name="connsiteX24" fmla="*/ 210359 w 332837"/>
              <a:gd name="connsiteY24" fmla="*/ 220359 h 391938"/>
              <a:gd name="connsiteX25" fmla="*/ 200815 w 332837"/>
              <a:gd name="connsiteY25" fmla="*/ 239159 h 391938"/>
              <a:gd name="connsiteX26" fmla="*/ 189246 w 332837"/>
              <a:gd name="connsiteY26" fmla="*/ 256512 h 391938"/>
              <a:gd name="connsiteX27" fmla="*/ 178660 w 332837"/>
              <a:gd name="connsiteY27" fmla="*/ 271725 h 391938"/>
              <a:gd name="connsiteX28" fmla="*/ 171083 w 332837"/>
              <a:gd name="connsiteY28" fmla="*/ 281790 h 391938"/>
              <a:gd name="connsiteX29" fmla="*/ 173685 w 332837"/>
              <a:gd name="connsiteY29" fmla="*/ 289136 h 391938"/>
              <a:gd name="connsiteX30" fmla="*/ 174785 w 332837"/>
              <a:gd name="connsiteY30" fmla="*/ 294921 h 391938"/>
              <a:gd name="connsiteX31" fmla="*/ 160902 w 332837"/>
              <a:gd name="connsiteY31" fmla="*/ 297582 h 391938"/>
              <a:gd name="connsiteX32" fmla="*/ 132500 w 332837"/>
              <a:gd name="connsiteY32" fmla="*/ 314067 h 391938"/>
              <a:gd name="connsiteX33" fmla="*/ 131575 w 332837"/>
              <a:gd name="connsiteY33" fmla="*/ 315745 h 391938"/>
              <a:gd name="connsiteX34" fmla="*/ 127410 w 332837"/>
              <a:gd name="connsiteY34" fmla="*/ 326677 h 391938"/>
              <a:gd name="connsiteX35" fmla="*/ 117229 w 332837"/>
              <a:gd name="connsiteY35" fmla="*/ 344667 h 391938"/>
              <a:gd name="connsiteX36" fmla="*/ 113759 w 332837"/>
              <a:gd name="connsiteY36" fmla="*/ 351608 h 391938"/>
              <a:gd name="connsiteX37" fmla="*/ 99240 w 332837"/>
              <a:gd name="connsiteY37" fmla="*/ 376076 h 391938"/>
              <a:gd name="connsiteX38" fmla="*/ 60426 w 332837"/>
              <a:gd name="connsiteY38" fmla="*/ 391810 h 391938"/>
              <a:gd name="connsiteX39" fmla="*/ 162290 w 332837"/>
              <a:gd name="connsiteY39" fmla="*/ 193057 h 391938"/>
              <a:gd name="connsiteX40" fmla="*/ 157836 w 332837"/>
              <a:gd name="connsiteY40" fmla="*/ 194850 h 391938"/>
              <a:gd name="connsiteX41" fmla="*/ 152052 w 332837"/>
              <a:gd name="connsiteY41" fmla="*/ 204973 h 391938"/>
              <a:gd name="connsiteX42" fmla="*/ 144185 w 332837"/>
              <a:gd name="connsiteY42" fmla="*/ 218450 h 391938"/>
              <a:gd name="connsiteX43" fmla="*/ 133600 w 332837"/>
              <a:gd name="connsiteY43" fmla="*/ 233837 h 391938"/>
              <a:gd name="connsiteX44" fmla="*/ 122031 w 332837"/>
              <a:gd name="connsiteY44" fmla="*/ 256396 h 391938"/>
              <a:gd name="connsiteX45" fmla="*/ 74367 w 332837"/>
              <a:gd name="connsiteY45" fmla="*/ 289136 h 391938"/>
              <a:gd name="connsiteX46" fmla="*/ 47007 w 332837"/>
              <a:gd name="connsiteY46" fmla="*/ 306027 h 391938"/>
              <a:gd name="connsiteX47" fmla="*/ 28208 w 332837"/>
              <a:gd name="connsiteY47" fmla="*/ 322802 h 391938"/>
              <a:gd name="connsiteX48" fmla="*/ 12647 w 332837"/>
              <a:gd name="connsiteY48" fmla="*/ 338188 h 391938"/>
              <a:gd name="connsiteX49" fmla="*/ 7557 w 332837"/>
              <a:gd name="connsiteY49" fmla="*/ 348832 h 391938"/>
              <a:gd name="connsiteX50" fmla="*/ 5185 w 332837"/>
              <a:gd name="connsiteY50" fmla="*/ 367168 h 391938"/>
              <a:gd name="connsiteX51" fmla="*/ 17506 w 332837"/>
              <a:gd name="connsiteY51" fmla="*/ 372953 h 391938"/>
              <a:gd name="connsiteX52" fmla="*/ 29827 w 332837"/>
              <a:gd name="connsiteY52" fmla="*/ 377754 h 391938"/>
              <a:gd name="connsiteX53" fmla="*/ 40759 w 332837"/>
              <a:gd name="connsiteY53" fmla="*/ 381803 h 391938"/>
              <a:gd name="connsiteX54" fmla="*/ 49436 w 332837"/>
              <a:gd name="connsiteY54" fmla="*/ 385910 h 391938"/>
              <a:gd name="connsiteX55" fmla="*/ 61005 w 332837"/>
              <a:gd name="connsiteY55" fmla="*/ 389381 h 391938"/>
              <a:gd name="connsiteX56" fmla="*/ 98199 w 332837"/>
              <a:gd name="connsiteY56" fmla="*/ 374110 h 391938"/>
              <a:gd name="connsiteX57" fmla="*/ 112024 w 332837"/>
              <a:gd name="connsiteY57" fmla="*/ 350972 h 391938"/>
              <a:gd name="connsiteX58" fmla="*/ 116535 w 332837"/>
              <a:gd name="connsiteY58" fmla="*/ 342411 h 391938"/>
              <a:gd name="connsiteX59" fmla="*/ 125733 w 332837"/>
              <a:gd name="connsiteY59" fmla="*/ 325694 h 391938"/>
              <a:gd name="connsiteX60" fmla="*/ 130071 w 332837"/>
              <a:gd name="connsiteY60" fmla="*/ 314414 h 391938"/>
              <a:gd name="connsiteX61" fmla="*/ 130938 w 332837"/>
              <a:gd name="connsiteY61" fmla="*/ 312794 h 391938"/>
              <a:gd name="connsiteX62" fmla="*/ 161364 w 332837"/>
              <a:gd name="connsiteY62" fmla="*/ 295037 h 391938"/>
              <a:gd name="connsiteX63" fmla="*/ 173339 w 332837"/>
              <a:gd name="connsiteY63" fmla="*/ 293475 h 391938"/>
              <a:gd name="connsiteX64" fmla="*/ 172123 w 332837"/>
              <a:gd name="connsiteY64" fmla="*/ 289830 h 391938"/>
              <a:gd name="connsiteX65" fmla="*/ 169289 w 332837"/>
              <a:gd name="connsiteY65" fmla="*/ 281732 h 391938"/>
              <a:gd name="connsiteX66" fmla="*/ 177793 w 332837"/>
              <a:gd name="connsiteY66" fmla="*/ 269585 h 391938"/>
              <a:gd name="connsiteX67" fmla="*/ 187452 w 332837"/>
              <a:gd name="connsiteY67" fmla="*/ 256223 h 391938"/>
              <a:gd name="connsiteX68" fmla="*/ 199715 w 332837"/>
              <a:gd name="connsiteY68" fmla="*/ 237134 h 391938"/>
              <a:gd name="connsiteX69" fmla="*/ 208797 w 332837"/>
              <a:gd name="connsiteY69" fmla="*/ 220996 h 391938"/>
              <a:gd name="connsiteX70" fmla="*/ 207871 w 332837"/>
              <a:gd name="connsiteY70" fmla="*/ 207981 h 391938"/>
              <a:gd name="connsiteX71" fmla="*/ 205500 w 332837"/>
              <a:gd name="connsiteY71" fmla="*/ 198899 h 391938"/>
              <a:gd name="connsiteX72" fmla="*/ 200525 w 332837"/>
              <a:gd name="connsiteY72" fmla="*/ 197048 h 391938"/>
              <a:gd name="connsiteX73" fmla="*/ 192312 w 332837"/>
              <a:gd name="connsiteY73" fmla="*/ 201040 h 391938"/>
              <a:gd name="connsiteX74" fmla="*/ 184850 w 332837"/>
              <a:gd name="connsiteY74" fmla="*/ 205725 h 391938"/>
              <a:gd name="connsiteX75" fmla="*/ 182189 w 332837"/>
              <a:gd name="connsiteY75" fmla="*/ 206303 h 391938"/>
              <a:gd name="connsiteX76" fmla="*/ 172413 w 332837"/>
              <a:gd name="connsiteY76" fmla="*/ 199593 h 391938"/>
              <a:gd name="connsiteX77" fmla="*/ 162290 w 332837"/>
              <a:gd name="connsiteY77" fmla="*/ 193057 h 391938"/>
              <a:gd name="connsiteX78" fmla="*/ 243272 w 332837"/>
              <a:gd name="connsiteY78" fmla="*/ 219492 h 391938"/>
              <a:gd name="connsiteX79" fmla="*/ 227827 w 332837"/>
              <a:gd name="connsiteY79" fmla="*/ 213707 h 391938"/>
              <a:gd name="connsiteX80" fmla="*/ 232109 w 332837"/>
              <a:gd name="connsiteY80" fmla="*/ 199304 h 391938"/>
              <a:gd name="connsiteX81" fmla="*/ 235926 w 332837"/>
              <a:gd name="connsiteY81" fmla="*/ 170382 h 391938"/>
              <a:gd name="connsiteX82" fmla="*/ 219845 w 332837"/>
              <a:gd name="connsiteY82" fmla="*/ 160259 h 391938"/>
              <a:gd name="connsiteX83" fmla="*/ 197749 w 332837"/>
              <a:gd name="connsiteY83" fmla="*/ 141980 h 391938"/>
              <a:gd name="connsiteX84" fmla="*/ 199484 w 332837"/>
              <a:gd name="connsiteY84" fmla="*/ 136196 h 391938"/>
              <a:gd name="connsiteX85" fmla="*/ 211053 w 332837"/>
              <a:gd name="connsiteY85" fmla="*/ 127693 h 391938"/>
              <a:gd name="connsiteX86" fmla="*/ 221754 w 332837"/>
              <a:gd name="connsiteY86" fmla="*/ 112017 h 391938"/>
              <a:gd name="connsiteX87" fmla="*/ 225745 w 332837"/>
              <a:gd name="connsiteY87" fmla="*/ 89400 h 391938"/>
              <a:gd name="connsiteX88" fmla="*/ 226787 w 332837"/>
              <a:gd name="connsiteY88" fmla="*/ 72509 h 391938"/>
              <a:gd name="connsiteX89" fmla="*/ 209433 w 332837"/>
              <a:gd name="connsiteY89" fmla="*/ 49372 h 391938"/>
              <a:gd name="connsiteX90" fmla="*/ 200351 w 332837"/>
              <a:gd name="connsiteY90" fmla="*/ 39249 h 391938"/>
              <a:gd name="connsiteX91" fmla="*/ 190923 w 332837"/>
              <a:gd name="connsiteY91" fmla="*/ 30861 h 391938"/>
              <a:gd name="connsiteX92" fmla="*/ 178024 w 332837"/>
              <a:gd name="connsiteY92" fmla="*/ 2691 h 391938"/>
              <a:gd name="connsiteX93" fmla="*/ 183288 w 332837"/>
              <a:gd name="connsiteY93" fmla="*/ -85 h 391938"/>
              <a:gd name="connsiteX94" fmla="*/ 218342 w 332837"/>
              <a:gd name="connsiteY94" fmla="*/ 25887 h 391938"/>
              <a:gd name="connsiteX95" fmla="*/ 223489 w 332837"/>
              <a:gd name="connsiteY95" fmla="*/ 38555 h 391938"/>
              <a:gd name="connsiteX96" fmla="*/ 228637 w 332837"/>
              <a:gd name="connsiteY96" fmla="*/ 50702 h 391938"/>
              <a:gd name="connsiteX97" fmla="*/ 237835 w 332837"/>
              <a:gd name="connsiteY97" fmla="*/ 68345 h 391938"/>
              <a:gd name="connsiteX98" fmla="*/ 244024 w 332837"/>
              <a:gd name="connsiteY98" fmla="*/ 72625 h 391938"/>
              <a:gd name="connsiteX99" fmla="*/ 246743 w 332837"/>
              <a:gd name="connsiteY99" fmla="*/ 75112 h 391938"/>
              <a:gd name="connsiteX100" fmla="*/ 247842 w 332837"/>
              <a:gd name="connsiteY100" fmla="*/ 74245 h 391938"/>
              <a:gd name="connsiteX101" fmla="*/ 246338 w 332837"/>
              <a:gd name="connsiteY101" fmla="*/ 67477 h 391938"/>
              <a:gd name="connsiteX102" fmla="*/ 244892 w 332837"/>
              <a:gd name="connsiteY102" fmla="*/ 60651 h 391938"/>
              <a:gd name="connsiteX103" fmla="*/ 249288 w 332837"/>
              <a:gd name="connsiteY103" fmla="*/ 58684 h 391938"/>
              <a:gd name="connsiteX104" fmla="*/ 249982 w 332837"/>
              <a:gd name="connsiteY104" fmla="*/ 58684 h 391938"/>
              <a:gd name="connsiteX105" fmla="*/ 262592 w 332837"/>
              <a:gd name="connsiteY105" fmla="*/ 81822 h 391938"/>
              <a:gd name="connsiteX106" fmla="*/ 276128 w 332837"/>
              <a:gd name="connsiteY106" fmla="*/ 97035 h 391938"/>
              <a:gd name="connsiteX107" fmla="*/ 277805 w 332837"/>
              <a:gd name="connsiteY107" fmla="*/ 97035 h 391938"/>
              <a:gd name="connsiteX108" fmla="*/ 289895 w 332837"/>
              <a:gd name="connsiteY108" fmla="*/ 100390 h 391938"/>
              <a:gd name="connsiteX109" fmla="*/ 298630 w 332837"/>
              <a:gd name="connsiteY109" fmla="*/ 102993 h 391938"/>
              <a:gd name="connsiteX110" fmla="*/ 303488 w 332837"/>
              <a:gd name="connsiteY110" fmla="*/ 100043 h 391938"/>
              <a:gd name="connsiteX111" fmla="*/ 324196 w 332837"/>
              <a:gd name="connsiteY111" fmla="*/ 90557 h 391938"/>
              <a:gd name="connsiteX112" fmla="*/ 331947 w 332837"/>
              <a:gd name="connsiteY112" fmla="*/ 93507 h 391938"/>
              <a:gd name="connsiteX113" fmla="*/ 331947 w 332837"/>
              <a:gd name="connsiteY113" fmla="*/ 99812 h 391938"/>
              <a:gd name="connsiteX114" fmla="*/ 329171 w 332837"/>
              <a:gd name="connsiteY114" fmla="*/ 113290 h 391938"/>
              <a:gd name="connsiteX115" fmla="*/ 321767 w 332837"/>
              <a:gd name="connsiteY115" fmla="*/ 124858 h 391938"/>
              <a:gd name="connsiteX116" fmla="*/ 316272 w 332837"/>
              <a:gd name="connsiteY116" fmla="*/ 132957 h 391938"/>
              <a:gd name="connsiteX117" fmla="*/ 310487 w 332837"/>
              <a:gd name="connsiteY117" fmla="*/ 141228 h 391938"/>
              <a:gd name="connsiteX118" fmla="*/ 307306 w 332837"/>
              <a:gd name="connsiteY118" fmla="*/ 141228 h 391938"/>
              <a:gd name="connsiteX119" fmla="*/ 293250 w 332837"/>
              <a:gd name="connsiteY119" fmla="*/ 147013 h 391938"/>
              <a:gd name="connsiteX120" fmla="*/ 291167 w 332837"/>
              <a:gd name="connsiteY120" fmla="*/ 157193 h 391938"/>
              <a:gd name="connsiteX121" fmla="*/ 284631 w 332837"/>
              <a:gd name="connsiteY121" fmla="*/ 175704 h 391938"/>
              <a:gd name="connsiteX122" fmla="*/ 273988 w 332837"/>
              <a:gd name="connsiteY122" fmla="*/ 193057 h 391938"/>
              <a:gd name="connsiteX123" fmla="*/ 253857 w 332837"/>
              <a:gd name="connsiteY123" fmla="*/ 218335 h 391938"/>
              <a:gd name="connsiteX124" fmla="*/ 243098 w 332837"/>
              <a:gd name="connsiteY124" fmla="*/ 219318 h 391938"/>
              <a:gd name="connsiteX125" fmla="*/ 183346 w 332837"/>
              <a:gd name="connsiteY125" fmla="*/ 2460 h 391938"/>
              <a:gd name="connsiteX126" fmla="*/ 180106 w 332837"/>
              <a:gd name="connsiteY126" fmla="*/ 3906 h 391938"/>
              <a:gd name="connsiteX127" fmla="*/ 192716 w 332837"/>
              <a:gd name="connsiteY127" fmla="*/ 29704 h 391938"/>
              <a:gd name="connsiteX128" fmla="*/ 201798 w 332837"/>
              <a:gd name="connsiteY128" fmla="*/ 37803 h 391938"/>
              <a:gd name="connsiteX129" fmla="*/ 211747 w 332837"/>
              <a:gd name="connsiteY129" fmla="*/ 49892 h 391938"/>
              <a:gd name="connsiteX130" fmla="*/ 227307 w 332837"/>
              <a:gd name="connsiteY130" fmla="*/ 70543 h 391938"/>
              <a:gd name="connsiteX131" fmla="*/ 227770 w 332837"/>
              <a:gd name="connsiteY131" fmla="*/ 90152 h 391938"/>
              <a:gd name="connsiteX132" fmla="*/ 223837 w 332837"/>
              <a:gd name="connsiteY132" fmla="*/ 112190 h 391938"/>
              <a:gd name="connsiteX133" fmla="*/ 211920 w 332837"/>
              <a:gd name="connsiteY133" fmla="*/ 129891 h 391938"/>
              <a:gd name="connsiteX134" fmla="*/ 201219 w 332837"/>
              <a:gd name="connsiteY134" fmla="*/ 137815 h 391938"/>
              <a:gd name="connsiteX135" fmla="*/ 199947 w 332837"/>
              <a:gd name="connsiteY135" fmla="*/ 141749 h 391938"/>
              <a:gd name="connsiteX136" fmla="*/ 221002 w 332837"/>
              <a:gd name="connsiteY136" fmla="*/ 158466 h 391938"/>
              <a:gd name="connsiteX137" fmla="*/ 237372 w 332837"/>
              <a:gd name="connsiteY137" fmla="*/ 168820 h 391938"/>
              <a:gd name="connsiteX138" fmla="*/ 234133 w 332837"/>
              <a:gd name="connsiteY138" fmla="*/ 200577 h 391938"/>
              <a:gd name="connsiteX139" fmla="*/ 229795 w 332837"/>
              <a:gd name="connsiteY139" fmla="*/ 212782 h 391938"/>
              <a:gd name="connsiteX140" fmla="*/ 243272 w 332837"/>
              <a:gd name="connsiteY140" fmla="*/ 217236 h 391938"/>
              <a:gd name="connsiteX141" fmla="*/ 253337 w 332837"/>
              <a:gd name="connsiteY141" fmla="*/ 215905 h 391938"/>
              <a:gd name="connsiteX142" fmla="*/ 272021 w 332837"/>
              <a:gd name="connsiteY142" fmla="*/ 191784 h 391938"/>
              <a:gd name="connsiteX143" fmla="*/ 283185 w 332837"/>
              <a:gd name="connsiteY143" fmla="*/ 173737 h 391938"/>
              <a:gd name="connsiteX144" fmla="*/ 288969 w 332837"/>
              <a:gd name="connsiteY144" fmla="*/ 156904 h 391938"/>
              <a:gd name="connsiteX145" fmla="*/ 291514 w 332837"/>
              <a:gd name="connsiteY145" fmla="*/ 145335 h 391938"/>
              <a:gd name="connsiteX146" fmla="*/ 307363 w 332837"/>
              <a:gd name="connsiteY146" fmla="*/ 138799 h 391938"/>
              <a:gd name="connsiteX147" fmla="*/ 310545 w 332837"/>
              <a:gd name="connsiteY147" fmla="*/ 138799 h 391938"/>
              <a:gd name="connsiteX148" fmla="*/ 314363 w 332837"/>
              <a:gd name="connsiteY148" fmla="*/ 132205 h 391938"/>
              <a:gd name="connsiteX149" fmla="*/ 322056 w 332837"/>
              <a:gd name="connsiteY149" fmla="*/ 122371 h 391938"/>
              <a:gd name="connsiteX150" fmla="*/ 327262 w 332837"/>
              <a:gd name="connsiteY150" fmla="*/ 112942 h 391938"/>
              <a:gd name="connsiteX151" fmla="*/ 330154 w 332837"/>
              <a:gd name="connsiteY151" fmla="*/ 98886 h 391938"/>
              <a:gd name="connsiteX152" fmla="*/ 330154 w 332837"/>
              <a:gd name="connsiteY152" fmla="*/ 94664 h 391938"/>
              <a:gd name="connsiteX153" fmla="*/ 324370 w 332837"/>
              <a:gd name="connsiteY153" fmla="*/ 92697 h 391938"/>
              <a:gd name="connsiteX154" fmla="*/ 305628 w 332837"/>
              <a:gd name="connsiteY154" fmla="*/ 101084 h 391938"/>
              <a:gd name="connsiteX155" fmla="*/ 298803 w 332837"/>
              <a:gd name="connsiteY155" fmla="*/ 105134 h 391938"/>
              <a:gd name="connsiteX156" fmla="*/ 289201 w 332837"/>
              <a:gd name="connsiteY156" fmla="*/ 102357 h 391938"/>
              <a:gd name="connsiteX157" fmla="*/ 277979 w 332837"/>
              <a:gd name="connsiteY157" fmla="*/ 99175 h 391938"/>
              <a:gd name="connsiteX158" fmla="*/ 260625 w 332837"/>
              <a:gd name="connsiteY158" fmla="*/ 83118 h 391938"/>
              <a:gd name="connsiteX159" fmla="*/ 260625 w 332837"/>
              <a:gd name="connsiteY159" fmla="*/ 81822 h 391938"/>
              <a:gd name="connsiteX160" fmla="*/ 250271 w 332837"/>
              <a:gd name="connsiteY160" fmla="*/ 61172 h 391938"/>
              <a:gd name="connsiteX161" fmla="*/ 249693 w 332837"/>
              <a:gd name="connsiteY161" fmla="*/ 61172 h 391938"/>
              <a:gd name="connsiteX162" fmla="*/ 247090 w 332837"/>
              <a:gd name="connsiteY162" fmla="*/ 61982 h 391938"/>
              <a:gd name="connsiteX163" fmla="*/ 248652 w 332837"/>
              <a:gd name="connsiteY163" fmla="*/ 66667 h 391938"/>
              <a:gd name="connsiteX164" fmla="*/ 249924 w 332837"/>
              <a:gd name="connsiteY164" fmla="*/ 75807 h 391938"/>
              <a:gd name="connsiteX165" fmla="*/ 247032 w 332837"/>
              <a:gd name="connsiteY165" fmla="*/ 77600 h 391938"/>
              <a:gd name="connsiteX166" fmla="*/ 242578 w 332837"/>
              <a:gd name="connsiteY166" fmla="*/ 74245 h 391938"/>
              <a:gd name="connsiteX167" fmla="*/ 238124 w 332837"/>
              <a:gd name="connsiteY167" fmla="*/ 70832 h 391938"/>
              <a:gd name="connsiteX168" fmla="*/ 226555 w 332837"/>
              <a:gd name="connsiteY168" fmla="*/ 50934 h 391938"/>
              <a:gd name="connsiteX169" fmla="*/ 221986 w 332837"/>
              <a:gd name="connsiteY169" fmla="*/ 40232 h 391938"/>
              <a:gd name="connsiteX170" fmla="*/ 216201 w 332837"/>
              <a:gd name="connsiteY170" fmla="*/ 26118 h 391938"/>
              <a:gd name="connsiteX171" fmla="*/ 183172 w 332837"/>
              <a:gd name="connsiteY171" fmla="*/ 2460 h 39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332837" h="391938">
                <a:moveTo>
                  <a:pt x="60426" y="391810"/>
                </a:moveTo>
                <a:lnTo>
                  <a:pt x="60426" y="391810"/>
                </a:lnTo>
                <a:cubicBezTo>
                  <a:pt x="53658" y="391810"/>
                  <a:pt x="48858" y="390075"/>
                  <a:pt x="47122" y="387125"/>
                </a:cubicBezTo>
                <a:cubicBezTo>
                  <a:pt x="45387" y="384174"/>
                  <a:pt x="43536" y="384406"/>
                  <a:pt x="40297" y="384290"/>
                </a:cubicBezTo>
                <a:cubicBezTo>
                  <a:pt x="35669" y="384504"/>
                  <a:pt x="31157" y="382757"/>
                  <a:pt x="27918" y="379489"/>
                </a:cubicBezTo>
                <a:cubicBezTo>
                  <a:pt x="24910" y="376782"/>
                  <a:pt x="20977" y="375313"/>
                  <a:pt x="16927" y="375382"/>
                </a:cubicBezTo>
                <a:cubicBezTo>
                  <a:pt x="11433" y="375556"/>
                  <a:pt x="6168" y="372953"/>
                  <a:pt x="2987" y="368441"/>
                </a:cubicBezTo>
                <a:cubicBezTo>
                  <a:pt x="-3318" y="359591"/>
                  <a:pt x="1310" y="353170"/>
                  <a:pt x="5359" y="347501"/>
                </a:cubicBezTo>
                <a:cubicBezTo>
                  <a:pt x="7730" y="344840"/>
                  <a:pt x="9350" y="341578"/>
                  <a:pt x="10044" y="338073"/>
                </a:cubicBezTo>
                <a:cubicBezTo>
                  <a:pt x="10391" y="332288"/>
                  <a:pt x="17853" y="327082"/>
                  <a:pt x="26530" y="320719"/>
                </a:cubicBezTo>
                <a:cubicBezTo>
                  <a:pt x="33529" y="316474"/>
                  <a:pt x="39661" y="311030"/>
                  <a:pt x="44751" y="304639"/>
                </a:cubicBezTo>
                <a:cubicBezTo>
                  <a:pt x="48221" y="298854"/>
                  <a:pt x="59732" y="293070"/>
                  <a:pt x="73037" y="286880"/>
                </a:cubicBezTo>
                <a:cubicBezTo>
                  <a:pt x="90968" y="278088"/>
                  <a:pt x="111330" y="268197"/>
                  <a:pt x="119833" y="254950"/>
                </a:cubicBezTo>
                <a:cubicBezTo>
                  <a:pt x="124460" y="247986"/>
                  <a:pt x="128336" y="240564"/>
                  <a:pt x="131402" y="232796"/>
                </a:cubicBezTo>
                <a:cubicBezTo>
                  <a:pt x="133426" y="226369"/>
                  <a:pt x="137360" y="220695"/>
                  <a:pt x="142623" y="216484"/>
                </a:cubicBezTo>
                <a:cubicBezTo>
                  <a:pt x="146672" y="213736"/>
                  <a:pt x="149275" y="209323"/>
                  <a:pt x="149738" y="204452"/>
                </a:cubicBezTo>
                <a:cubicBezTo>
                  <a:pt x="150027" y="199721"/>
                  <a:pt x="152630" y="195423"/>
                  <a:pt x="156622" y="192883"/>
                </a:cubicBezTo>
                <a:cubicBezTo>
                  <a:pt x="158241" y="191461"/>
                  <a:pt x="160266" y="190645"/>
                  <a:pt x="162406" y="190570"/>
                </a:cubicBezTo>
                <a:cubicBezTo>
                  <a:pt x="166802" y="190570"/>
                  <a:pt x="170273" y="194329"/>
                  <a:pt x="173570" y="198032"/>
                </a:cubicBezTo>
                <a:cubicBezTo>
                  <a:pt x="176867" y="201734"/>
                  <a:pt x="180106" y="205146"/>
                  <a:pt x="183461" y="203816"/>
                </a:cubicBezTo>
                <a:cubicBezTo>
                  <a:pt x="185948" y="202584"/>
                  <a:pt x="188320" y="201109"/>
                  <a:pt x="190518" y="199420"/>
                </a:cubicBezTo>
                <a:cubicBezTo>
                  <a:pt x="193121" y="196932"/>
                  <a:pt x="196476" y="195365"/>
                  <a:pt x="200063" y="194966"/>
                </a:cubicBezTo>
                <a:cubicBezTo>
                  <a:pt x="202319" y="195047"/>
                  <a:pt x="204575" y="195833"/>
                  <a:pt x="206367" y="197222"/>
                </a:cubicBezTo>
                <a:cubicBezTo>
                  <a:pt x="210185" y="199726"/>
                  <a:pt x="211574" y="204666"/>
                  <a:pt x="209607" y="208790"/>
                </a:cubicBezTo>
                <a:cubicBezTo>
                  <a:pt x="208219" y="212585"/>
                  <a:pt x="208508" y="216773"/>
                  <a:pt x="210359" y="220359"/>
                </a:cubicBezTo>
                <a:cubicBezTo>
                  <a:pt x="213598" y="226491"/>
                  <a:pt x="207409" y="232622"/>
                  <a:pt x="200815" y="239159"/>
                </a:cubicBezTo>
                <a:cubicBezTo>
                  <a:pt x="195030" y="244943"/>
                  <a:pt x="189246" y="250728"/>
                  <a:pt x="189246" y="256512"/>
                </a:cubicBezTo>
                <a:cubicBezTo>
                  <a:pt x="189246" y="264032"/>
                  <a:pt x="183461" y="268081"/>
                  <a:pt x="178660" y="271725"/>
                </a:cubicBezTo>
                <a:cubicBezTo>
                  <a:pt x="173859" y="275369"/>
                  <a:pt x="170562" y="277510"/>
                  <a:pt x="171083" y="281790"/>
                </a:cubicBezTo>
                <a:cubicBezTo>
                  <a:pt x="171545" y="284370"/>
                  <a:pt x="172413" y="286851"/>
                  <a:pt x="173685" y="289136"/>
                </a:cubicBezTo>
                <a:cubicBezTo>
                  <a:pt x="174843" y="291334"/>
                  <a:pt x="175826" y="293301"/>
                  <a:pt x="174785" y="294921"/>
                </a:cubicBezTo>
                <a:cubicBezTo>
                  <a:pt x="173743" y="296540"/>
                  <a:pt x="169983" y="297582"/>
                  <a:pt x="160902" y="297582"/>
                </a:cubicBezTo>
                <a:cubicBezTo>
                  <a:pt x="141061" y="297582"/>
                  <a:pt x="136896" y="305622"/>
                  <a:pt x="132500" y="314067"/>
                </a:cubicBezTo>
                <a:lnTo>
                  <a:pt x="131575" y="315745"/>
                </a:lnTo>
                <a:cubicBezTo>
                  <a:pt x="129898" y="319267"/>
                  <a:pt x="128509" y="322923"/>
                  <a:pt x="127410" y="326677"/>
                </a:cubicBezTo>
                <a:cubicBezTo>
                  <a:pt x="125097" y="333850"/>
                  <a:pt x="122667" y="341312"/>
                  <a:pt x="117229" y="344667"/>
                </a:cubicBezTo>
                <a:cubicBezTo>
                  <a:pt x="114627" y="346286"/>
                  <a:pt x="114279" y="348253"/>
                  <a:pt x="113759" y="351608"/>
                </a:cubicBezTo>
                <a:cubicBezTo>
                  <a:pt x="112949" y="356814"/>
                  <a:pt x="111734" y="364739"/>
                  <a:pt x="99240" y="376076"/>
                </a:cubicBezTo>
                <a:cubicBezTo>
                  <a:pt x="88597" y="385777"/>
                  <a:pt x="74830" y="391359"/>
                  <a:pt x="60426" y="391810"/>
                </a:cubicBezTo>
                <a:close/>
                <a:moveTo>
                  <a:pt x="162290" y="193057"/>
                </a:moveTo>
                <a:cubicBezTo>
                  <a:pt x="160670" y="193132"/>
                  <a:pt x="159051" y="193762"/>
                  <a:pt x="157836" y="194850"/>
                </a:cubicBezTo>
                <a:cubicBezTo>
                  <a:pt x="154423" y="197123"/>
                  <a:pt x="152283" y="200878"/>
                  <a:pt x="152052" y="204973"/>
                </a:cubicBezTo>
                <a:cubicBezTo>
                  <a:pt x="151531" y="210410"/>
                  <a:pt x="148697" y="215350"/>
                  <a:pt x="144185" y="218450"/>
                </a:cubicBezTo>
                <a:cubicBezTo>
                  <a:pt x="139210" y="222436"/>
                  <a:pt x="135566" y="227781"/>
                  <a:pt x="133600" y="233837"/>
                </a:cubicBezTo>
                <a:cubicBezTo>
                  <a:pt x="130592" y="241750"/>
                  <a:pt x="126716" y="249316"/>
                  <a:pt x="122031" y="256396"/>
                </a:cubicBezTo>
                <a:cubicBezTo>
                  <a:pt x="113180" y="270163"/>
                  <a:pt x="92588" y="280228"/>
                  <a:pt x="74367" y="289136"/>
                </a:cubicBezTo>
                <a:cubicBezTo>
                  <a:pt x="61352" y="295441"/>
                  <a:pt x="50188" y="300705"/>
                  <a:pt x="47007" y="306027"/>
                </a:cubicBezTo>
                <a:cubicBezTo>
                  <a:pt x="41801" y="312708"/>
                  <a:pt x="35438" y="318394"/>
                  <a:pt x="28208" y="322802"/>
                </a:cubicBezTo>
                <a:cubicBezTo>
                  <a:pt x="20340" y="328586"/>
                  <a:pt x="12937" y="333561"/>
                  <a:pt x="12647" y="338188"/>
                </a:cubicBezTo>
                <a:cubicBezTo>
                  <a:pt x="11953" y="342133"/>
                  <a:pt x="10217" y="345818"/>
                  <a:pt x="7557" y="348832"/>
                </a:cubicBezTo>
                <a:cubicBezTo>
                  <a:pt x="3566" y="354616"/>
                  <a:pt x="-194" y="359591"/>
                  <a:pt x="5185" y="367168"/>
                </a:cubicBezTo>
                <a:cubicBezTo>
                  <a:pt x="8077" y="371044"/>
                  <a:pt x="12705" y="373219"/>
                  <a:pt x="17506" y="372953"/>
                </a:cubicBezTo>
                <a:cubicBezTo>
                  <a:pt x="22076" y="372941"/>
                  <a:pt x="26472" y="374659"/>
                  <a:pt x="29827" y="377754"/>
                </a:cubicBezTo>
                <a:cubicBezTo>
                  <a:pt x="32719" y="380594"/>
                  <a:pt x="36710" y="382069"/>
                  <a:pt x="40759" y="381803"/>
                </a:cubicBezTo>
                <a:cubicBezTo>
                  <a:pt x="43999" y="381803"/>
                  <a:pt x="47411" y="381803"/>
                  <a:pt x="49436" y="385910"/>
                </a:cubicBezTo>
                <a:cubicBezTo>
                  <a:pt x="50593" y="387992"/>
                  <a:pt x="55220" y="389381"/>
                  <a:pt x="61005" y="389381"/>
                </a:cubicBezTo>
                <a:cubicBezTo>
                  <a:pt x="74830" y="388900"/>
                  <a:pt x="88018" y="383486"/>
                  <a:pt x="98199" y="374110"/>
                </a:cubicBezTo>
                <a:cubicBezTo>
                  <a:pt x="109768" y="363293"/>
                  <a:pt x="111214" y="356178"/>
                  <a:pt x="112024" y="350972"/>
                </a:cubicBezTo>
                <a:cubicBezTo>
                  <a:pt x="112024" y="347548"/>
                  <a:pt x="113701" y="344337"/>
                  <a:pt x="116535" y="342411"/>
                </a:cubicBezTo>
                <a:cubicBezTo>
                  <a:pt x="121279" y="339519"/>
                  <a:pt x="123535" y="332520"/>
                  <a:pt x="125733" y="325694"/>
                </a:cubicBezTo>
                <a:cubicBezTo>
                  <a:pt x="126832" y="321812"/>
                  <a:pt x="128278" y="318041"/>
                  <a:pt x="130071" y="314414"/>
                </a:cubicBezTo>
                <a:lnTo>
                  <a:pt x="130938" y="312794"/>
                </a:lnTo>
                <a:cubicBezTo>
                  <a:pt x="135450" y="304060"/>
                  <a:pt x="140194" y="295037"/>
                  <a:pt x="161364" y="295037"/>
                </a:cubicBezTo>
                <a:cubicBezTo>
                  <a:pt x="168653" y="295037"/>
                  <a:pt x="172933" y="294516"/>
                  <a:pt x="173339" y="293475"/>
                </a:cubicBezTo>
                <a:cubicBezTo>
                  <a:pt x="173743" y="292433"/>
                  <a:pt x="172933" y="291450"/>
                  <a:pt x="172123" y="289830"/>
                </a:cubicBezTo>
                <a:cubicBezTo>
                  <a:pt x="170677" y="287331"/>
                  <a:pt x="169694" y="284584"/>
                  <a:pt x="169289" y="281732"/>
                </a:cubicBezTo>
                <a:cubicBezTo>
                  <a:pt x="168653" y="275948"/>
                  <a:pt x="173281" y="272824"/>
                  <a:pt x="177793" y="269585"/>
                </a:cubicBezTo>
                <a:cubicBezTo>
                  <a:pt x="182304" y="266346"/>
                  <a:pt x="187452" y="262586"/>
                  <a:pt x="187452" y="256223"/>
                </a:cubicBezTo>
                <a:cubicBezTo>
                  <a:pt x="187452" y="249860"/>
                  <a:pt x="193700" y="243150"/>
                  <a:pt x="199715" y="237134"/>
                </a:cubicBezTo>
                <a:cubicBezTo>
                  <a:pt x="205731" y="231118"/>
                  <a:pt x="211284" y="225565"/>
                  <a:pt x="208797" y="220996"/>
                </a:cubicBezTo>
                <a:cubicBezTo>
                  <a:pt x="206830" y="216941"/>
                  <a:pt x="206483" y="212273"/>
                  <a:pt x="207871" y="207981"/>
                </a:cubicBezTo>
                <a:cubicBezTo>
                  <a:pt x="208797" y="204221"/>
                  <a:pt x="209375" y="201676"/>
                  <a:pt x="205500" y="198899"/>
                </a:cubicBezTo>
                <a:cubicBezTo>
                  <a:pt x="204054" y="197789"/>
                  <a:pt x="202319" y="197141"/>
                  <a:pt x="200525" y="197048"/>
                </a:cubicBezTo>
                <a:cubicBezTo>
                  <a:pt x="197459" y="197522"/>
                  <a:pt x="194567" y="198911"/>
                  <a:pt x="192312" y="201040"/>
                </a:cubicBezTo>
                <a:cubicBezTo>
                  <a:pt x="189998" y="202827"/>
                  <a:pt x="187452" y="204400"/>
                  <a:pt x="184850" y="205725"/>
                </a:cubicBezTo>
                <a:cubicBezTo>
                  <a:pt x="184040" y="206112"/>
                  <a:pt x="183114" y="206315"/>
                  <a:pt x="182189" y="206303"/>
                </a:cubicBezTo>
                <a:cubicBezTo>
                  <a:pt x="178545" y="206303"/>
                  <a:pt x="175537" y="203064"/>
                  <a:pt x="172413" y="199593"/>
                </a:cubicBezTo>
                <a:cubicBezTo>
                  <a:pt x="169289" y="196123"/>
                  <a:pt x="165703" y="193057"/>
                  <a:pt x="162290" y="193057"/>
                </a:cubicBezTo>
                <a:close/>
                <a:moveTo>
                  <a:pt x="243272" y="219492"/>
                </a:moveTo>
                <a:cubicBezTo>
                  <a:pt x="237488" y="220065"/>
                  <a:pt x="231819" y="217924"/>
                  <a:pt x="227827" y="213707"/>
                </a:cubicBezTo>
                <a:cubicBezTo>
                  <a:pt x="226208" y="210989"/>
                  <a:pt x="228695" y="206072"/>
                  <a:pt x="232109" y="199304"/>
                </a:cubicBezTo>
                <a:cubicBezTo>
                  <a:pt x="237256" y="189181"/>
                  <a:pt x="243677" y="176629"/>
                  <a:pt x="235926" y="170382"/>
                </a:cubicBezTo>
                <a:cubicBezTo>
                  <a:pt x="230835" y="166587"/>
                  <a:pt x="225456" y="163204"/>
                  <a:pt x="219845" y="160259"/>
                </a:cubicBezTo>
                <a:cubicBezTo>
                  <a:pt x="209028" y="154128"/>
                  <a:pt x="198848" y="148343"/>
                  <a:pt x="197749" y="141980"/>
                </a:cubicBezTo>
                <a:cubicBezTo>
                  <a:pt x="197344" y="139886"/>
                  <a:pt x="197980" y="137729"/>
                  <a:pt x="199484" y="136196"/>
                </a:cubicBezTo>
                <a:cubicBezTo>
                  <a:pt x="202723" y="132586"/>
                  <a:pt x="206657" y="129688"/>
                  <a:pt x="211053" y="127693"/>
                </a:cubicBezTo>
                <a:cubicBezTo>
                  <a:pt x="216838" y="124511"/>
                  <a:pt x="221754" y="121908"/>
                  <a:pt x="221754" y="112017"/>
                </a:cubicBezTo>
                <a:cubicBezTo>
                  <a:pt x="222159" y="104341"/>
                  <a:pt x="223489" y="96746"/>
                  <a:pt x="225745" y="89400"/>
                </a:cubicBezTo>
                <a:cubicBezTo>
                  <a:pt x="227943" y="81244"/>
                  <a:pt x="229910" y="73551"/>
                  <a:pt x="226787" y="72509"/>
                </a:cubicBezTo>
                <a:cubicBezTo>
                  <a:pt x="218978" y="69906"/>
                  <a:pt x="208971" y="55156"/>
                  <a:pt x="209433" y="49372"/>
                </a:cubicBezTo>
                <a:cubicBezTo>
                  <a:pt x="209722" y="46653"/>
                  <a:pt x="204979" y="42893"/>
                  <a:pt x="200351" y="39249"/>
                </a:cubicBezTo>
                <a:cubicBezTo>
                  <a:pt x="196939" y="36802"/>
                  <a:pt x="193758" y="33991"/>
                  <a:pt x="190923" y="30861"/>
                </a:cubicBezTo>
                <a:cubicBezTo>
                  <a:pt x="190923" y="30861"/>
                  <a:pt x="174379" y="10443"/>
                  <a:pt x="178024" y="2691"/>
                </a:cubicBezTo>
                <a:cubicBezTo>
                  <a:pt x="179007" y="742"/>
                  <a:pt x="181147" y="-369"/>
                  <a:pt x="183288" y="-85"/>
                </a:cubicBezTo>
                <a:cubicBezTo>
                  <a:pt x="195319" y="-85"/>
                  <a:pt x="218342" y="10905"/>
                  <a:pt x="218342" y="25887"/>
                </a:cubicBezTo>
                <a:cubicBezTo>
                  <a:pt x="218168" y="30653"/>
                  <a:pt x="220019" y="35269"/>
                  <a:pt x="223489" y="38555"/>
                </a:cubicBezTo>
                <a:cubicBezTo>
                  <a:pt x="226845" y="41696"/>
                  <a:pt x="228695" y="46109"/>
                  <a:pt x="228637" y="50702"/>
                </a:cubicBezTo>
                <a:cubicBezTo>
                  <a:pt x="228637" y="61577"/>
                  <a:pt x="233381" y="68345"/>
                  <a:pt x="237835" y="68345"/>
                </a:cubicBezTo>
                <a:cubicBezTo>
                  <a:pt x="240496" y="68345"/>
                  <a:pt x="242346" y="70600"/>
                  <a:pt x="244024" y="72625"/>
                </a:cubicBezTo>
                <a:cubicBezTo>
                  <a:pt x="244950" y="73724"/>
                  <a:pt x="246049" y="75112"/>
                  <a:pt x="246743" y="75112"/>
                </a:cubicBezTo>
                <a:cubicBezTo>
                  <a:pt x="247437" y="75112"/>
                  <a:pt x="247437" y="75112"/>
                  <a:pt x="247842" y="74245"/>
                </a:cubicBezTo>
                <a:cubicBezTo>
                  <a:pt x="248999" y="72683"/>
                  <a:pt x="247842" y="70022"/>
                  <a:pt x="246338" y="67477"/>
                </a:cubicBezTo>
                <a:cubicBezTo>
                  <a:pt x="244834" y="64932"/>
                  <a:pt x="243793" y="62502"/>
                  <a:pt x="244892" y="60651"/>
                </a:cubicBezTo>
                <a:cubicBezTo>
                  <a:pt x="245991" y="58800"/>
                  <a:pt x="246974" y="58800"/>
                  <a:pt x="249288" y="58684"/>
                </a:cubicBezTo>
                <a:lnTo>
                  <a:pt x="249982" y="58684"/>
                </a:lnTo>
                <a:cubicBezTo>
                  <a:pt x="259295" y="58684"/>
                  <a:pt x="262592" y="70253"/>
                  <a:pt x="262592" y="81822"/>
                </a:cubicBezTo>
                <a:cubicBezTo>
                  <a:pt x="262129" y="89764"/>
                  <a:pt x="268203" y="96573"/>
                  <a:pt x="276128" y="97035"/>
                </a:cubicBezTo>
                <a:cubicBezTo>
                  <a:pt x="276706" y="97070"/>
                  <a:pt x="277227" y="97070"/>
                  <a:pt x="277805" y="97035"/>
                </a:cubicBezTo>
                <a:cubicBezTo>
                  <a:pt x="282028" y="97353"/>
                  <a:pt x="286135" y="98493"/>
                  <a:pt x="289895" y="100390"/>
                </a:cubicBezTo>
                <a:cubicBezTo>
                  <a:pt x="292614" y="101756"/>
                  <a:pt x="295564" y="102635"/>
                  <a:pt x="298630" y="102993"/>
                </a:cubicBezTo>
                <a:cubicBezTo>
                  <a:pt x="300712" y="103045"/>
                  <a:pt x="302563" y="101894"/>
                  <a:pt x="303488" y="100043"/>
                </a:cubicBezTo>
                <a:cubicBezTo>
                  <a:pt x="308694" y="94004"/>
                  <a:pt x="316214" y="90534"/>
                  <a:pt x="324196" y="90557"/>
                </a:cubicBezTo>
                <a:cubicBezTo>
                  <a:pt x="327088" y="90204"/>
                  <a:pt x="329981" y="91309"/>
                  <a:pt x="331947" y="93507"/>
                </a:cubicBezTo>
                <a:cubicBezTo>
                  <a:pt x="332989" y="95474"/>
                  <a:pt x="332989" y="97845"/>
                  <a:pt x="331947" y="99812"/>
                </a:cubicBezTo>
                <a:cubicBezTo>
                  <a:pt x="330444" y="104162"/>
                  <a:pt x="329518" y="108697"/>
                  <a:pt x="329171" y="113290"/>
                </a:cubicBezTo>
                <a:cubicBezTo>
                  <a:pt x="328535" y="119479"/>
                  <a:pt x="327956" y="124858"/>
                  <a:pt x="321767" y="124858"/>
                </a:cubicBezTo>
                <a:cubicBezTo>
                  <a:pt x="318412" y="124858"/>
                  <a:pt x="317429" y="128098"/>
                  <a:pt x="316272" y="132957"/>
                </a:cubicBezTo>
                <a:cubicBezTo>
                  <a:pt x="315115" y="137815"/>
                  <a:pt x="314305" y="141228"/>
                  <a:pt x="310487" y="141228"/>
                </a:cubicBezTo>
                <a:lnTo>
                  <a:pt x="307306" y="141228"/>
                </a:lnTo>
                <a:cubicBezTo>
                  <a:pt x="301926" y="140459"/>
                  <a:pt x="296547" y="142675"/>
                  <a:pt x="293250" y="147013"/>
                </a:cubicBezTo>
                <a:cubicBezTo>
                  <a:pt x="291630" y="150154"/>
                  <a:pt x="290936" y="153676"/>
                  <a:pt x="291167" y="157193"/>
                </a:cubicBezTo>
                <a:cubicBezTo>
                  <a:pt x="291862" y="164031"/>
                  <a:pt x="289432" y="170810"/>
                  <a:pt x="284631" y="175704"/>
                </a:cubicBezTo>
                <a:cubicBezTo>
                  <a:pt x="280119" y="180834"/>
                  <a:pt x="276533" y="186706"/>
                  <a:pt x="273988" y="193057"/>
                </a:cubicBezTo>
                <a:cubicBezTo>
                  <a:pt x="268203" y="204626"/>
                  <a:pt x="262419" y="216195"/>
                  <a:pt x="253857" y="218335"/>
                </a:cubicBezTo>
                <a:cubicBezTo>
                  <a:pt x="250329" y="219127"/>
                  <a:pt x="246685" y="219457"/>
                  <a:pt x="243098" y="219318"/>
                </a:cubicBezTo>
                <a:close/>
                <a:moveTo>
                  <a:pt x="183346" y="2460"/>
                </a:moveTo>
                <a:cubicBezTo>
                  <a:pt x="180800" y="2460"/>
                  <a:pt x="180280" y="3559"/>
                  <a:pt x="180106" y="3906"/>
                </a:cubicBezTo>
                <a:cubicBezTo>
                  <a:pt x="178082" y="8302"/>
                  <a:pt x="186238" y="21954"/>
                  <a:pt x="192716" y="29704"/>
                </a:cubicBezTo>
                <a:cubicBezTo>
                  <a:pt x="195435" y="32707"/>
                  <a:pt x="198501" y="35420"/>
                  <a:pt x="201798" y="37803"/>
                </a:cubicBezTo>
                <a:cubicBezTo>
                  <a:pt x="207582" y="42199"/>
                  <a:pt x="212210" y="45959"/>
                  <a:pt x="211747" y="49892"/>
                </a:cubicBezTo>
                <a:cubicBezTo>
                  <a:pt x="211168" y="54867"/>
                  <a:pt x="220540" y="68287"/>
                  <a:pt x="227307" y="70543"/>
                </a:cubicBezTo>
                <a:cubicBezTo>
                  <a:pt x="232513" y="72278"/>
                  <a:pt x="230431" y="80145"/>
                  <a:pt x="227770" y="90152"/>
                </a:cubicBezTo>
                <a:cubicBezTo>
                  <a:pt x="225572" y="97307"/>
                  <a:pt x="224241" y="104711"/>
                  <a:pt x="223837" y="112190"/>
                </a:cubicBezTo>
                <a:cubicBezTo>
                  <a:pt x="223837" y="123470"/>
                  <a:pt x="218052" y="126594"/>
                  <a:pt x="211920" y="129891"/>
                </a:cubicBezTo>
                <a:cubicBezTo>
                  <a:pt x="207871" y="131771"/>
                  <a:pt x="204227" y="134466"/>
                  <a:pt x="201219" y="137815"/>
                </a:cubicBezTo>
                <a:cubicBezTo>
                  <a:pt x="200236" y="138857"/>
                  <a:pt x="199715" y="140309"/>
                  <a:pt x="199947" y="141749"/>
                </a:cubicBezTo>
                <a:cubicBezTo>
                  <a:pt x="200873" y="147071"/>
                  <a:pt x="211111" y="152855"/>
                  <a:pt x="221002" y="158466"/>
                </a:cubicBezTo>
                <a:cubicBezTo>
                  <a:pt x="226729" y="161480"/>
                  <a:pt x="232224" y="164939"/>
                  <a:pt x="237372" y="168820"/>
                </a:cubicBezTo>
                <a:cubicBezTo>
                  <a:pt x="246454" y="176282"/>
                  <a:pt x="239339" y="190338"/>
                  <a:pt x="234133" y="200577"/>
                </a:cubicBezTo>
                <a:cubicBezTo>
                  <a:pt x="231530" y="205782"/>
                  <a:pt x="228753" y="211104"/>
                  <a:pt x="229795" y="212782"/>
                </a:cubicBezTo>
                <a:cubicBezTo>
                  <a:pt x="233439" y="216183"/>
                  <a:pt x="238356" y="217809"/>
                  <a:pt x="243272" y="217236"/>
                </a:cubicBezTo>
                <a:cubicBezTo>
                  <a:pt x="246685" y="217201"/>
                  <a:pt x="250040" y="216756"/>
                  <a:pt x="253337" y="215905"/>
                </a:cubicBezTo>
                <a:cubicBezTo>
                  <a:pt x="261146" y="213823"/>
                  <a:pt x="266930" y="202139"/>
                  <a:pt x="272021" y="191784"/>
                </a:cubicBezTo>
                <a:cubicBezTo>
                  <a:pt x="274682" y="185179"/>
                  <a:pt x="278441" y="179076"/>
                  <a:pt x="283185" y="173737"/>
                </a:cubicBezTo>
                <a:cubicBezTo>
                  <a:pt x="287465" y="169248"/>
                  <a:pt x="289605" y="163094"/>
                  <a:pt x="288969" y="156904"/>
                </a:cubicBezTo>
                <a:cubicBezTo>
                  <a:pt x="288622" y="152878"/>
                  <a:pt x="289548" y="148847"/>
                  <a:pt x="291514" y="145335"/>
                </a:cubicBezTo>
                <a:cubicBezTo>
                  <a:pt x="295274" y="140517"/>
                  <a:pt x="301290" y="138035"/>
                  <a:pt x="307363" y="138799"/>
                </a:cubicBezTo>
                <a:lnTo>
                  <a:pt x="310545" y="138799"/>
                </a:lnTo>
                <a:cubicBezTo>
                  <a:pt x="312627" y="138799"/>
                  <a:pt x="313379" y="136254"/>
                  <a:pt x="314363" y="132205"/>
                </a:cubicBezTo>
                <a:cubicBezTo>
                  <a:pt x="315346" y="128156"/>
                  <a:pt x="316677" y="122371"/>
                  <a:pt x="322056" y="122371"/>
                </a:cubicBezTo>
                <a:cubicBezTo>
                  <a:pt x="326048" y="122371"/>
                  <a:pt x="326510" y="119479"/>
                  <a:pt x="327262" y="112942"/>
                </a:cubicBezTo>
                <a:cubicBezTo>
                  <a:pt x="327552" y="108147"/>
                  <a:pt x="328535" y="103416"/>
                  <a:pt x="330154" y="98886"/>
                </a:cubicBezTo>
                <a:cubicBezTo>
                  <a:pt x="330791" y="97556"/>
                  <a:pt x="330791" y="95994"/>
                  <a:pt x="330154" y="94664"/>
                </a:cubicBezTo>
                <a:cubicBezTo>
                  <a:pt x="328592" y="93177"/>
                  <a:pt x="326510" y="92460"/>
                  <a:pt x="324370" y="92697"/>
                </a:cubicBezTo>
                <a:cubicBezTo>
                  <a:pt x="317197" y="92680"/>
                  <a:pt x="310371" y="95734"/>
                  <a:pt x="305628" y="101084"/>
                </a:cubicBezTo>
                <a:cubicBezTo>
                  <a:pt x="304298" y="103612"/>
                  <a:pt x="301637" y="105180"/>
                  <a:pt x="298803" y="105134"/>
                </a:cubicBezTo>
                <a:cubicBezTo>
                  <a:pt x="295448" y="104781"/>
                  <a:pt x="292208" y="103844"/>
                  <a:pt x="289201" y="102357"/>
                </a:cubicBezTo>
                <a:cubicBezTo>
                  <a:pt x="285672" y="100581"/>
                  <a:pt x="281912" y="99505"/>
                  <a:pt x="277979" y="99175"/>
                </a:cubicBezTo>
                <a:cubicBezTo>
                  <a:pt x="268782" y="99534"/>
                  <a:pt x="260973" y="92344"/>
                  <a:pt x="260625" y="83118"/>
                </a:cubicBezTo>
                <a:cubicBezTo>
                  <a:pt x="260625" y="82690"/>
                  <a:pt x="260625" y="82256"/>
                  <a:pt x="260625" y="81822"/>
                </a:cubicBezTo>
                <a:cubicBezTo>
                  <a:pt x="260625" y="78410"/>
                  <a:pt x="260105" y="61172"/>
                  <a:pt x="250271" y="61172"/>
                </a:cubicBezTo>
                <a:lnTo>
                  <a:pt x="249693" y="61172"/>
                </a:lnTo>
                <a:cubicBezTo>
                  <a:pt x="248767" y="61097"/>
                  <a:pt x="247842" y="61386"/>
                  <a:pt x="247090" y="61982"/>
                </a:cubicBezTo>
                <a:cubicBezTo>
                  <a:pt x="246627" y="62792"/>
                  <a:pt x="247726" y="64932"/>
                  <a:pt x="248652" y="66667"/>
                </a:cubicBezTo>
                <a:cubicBezTo>
                  <a:pt x="250156" y="69733"/>
                  <a:pt x="251949" y="73146"/>
                  <a:pt x="249924" y="75807"/>
                </a:cubicBezTo>
                <a:cubicBezTo>
                  <a:pt x="249346" y="76853"/>
                  <a:pt x="248247" y="77524"/>
                  <a:pt x="247032" y="77600"/>
                </a:cubicBezTo>
                <a:cubicBezTo>
                  <a:pt x="245297" y="77600"/>
                  <a:pt x="243966" y="75980"/>
                  <a:pt x="242578" y="74245"/>
                </a:cubicBezTo>
                <a:cubicBezTo>
                  <a:pt x="241190" y="72509"/>
                  <a:pt x="239744" y="70832"/>
                  <a:pt x="238124" y="70832"/>
                </a:cubicBezTo>
                <a:cubicBezTo>
                  <a:pt x="232340" y="70832"/>
                  <a:pt x="226555" y="63370"/>
                  <a:pt x="226555" y="50934"/>
                </a:cubicBezTo>
                <a:cubicBezTo>
                  <a:pt x="226613" y="46879"/>
                  <a:pt x="224935" y="42992"/>
                  <a:pt x="221986" y="40232"/>
                </a:cubicBezTo>
                <a:cubicBezTo>
                  <a:pt x="218110" y="36577"/>
                  <a:pt x="216028" y="31434"/>
                  <a:pt x="216201" y="26118"/>
                </a:cubicBezTo>
                <a:cubicBezTo>
                  <a:pt x="215970" y="13566"/>
                  <a:pt x="195551" y="2460"/>
                  <a:pt x="183172" y="2460"/>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6" name="Forma libre: forma 425">
            <a:extLst>
              <a:ext uri="{FF2B5EF4-FFF2-40B4-BE49-F238E27FC236}">
                <a16:creationId xmlns:a16="http://schemas.microsoft.com/office/drawing/2014/main" id="{DFDD5E3B-1F84-C133-77F6-C053CE9E04FD}"/>
              </a:ext>
            </a:extLst>
          </p:cNvPr>
          <p:cNvSpPr/>
          <p:nvPr/>
        </p:nvSpPr>
        <p:spPr>
          <a:xfrm>
            <a:off x="7618445" y="3229996"/>
            <a:ext cx="388429" cy="244266"/>
          </a:xfrm>
          <a:custGeom>
            <a:avLst/>
            <a:gdLst>
              <a:gd name="connsiteX0" fmla="*/ 274130 w 388429"/>
              <a:gd name="connsiteY0" fmla="*/ 244138 h 244266"/>
              <a:gd name="connsiteX1" fmla="*/ 265511 w 388429"/>
              <a:gd name="connsiteY1" fmla="*/ 239568 h 244266"/>
              <a:gd name="connsiteX2" fmla="*/ 253596 w 388429"/>
              <a:gd name="connsiteY2" fmla="*/ 235693 h 244266"/>
              <a:gd name="connsiteX3" fmla="*/ 246538 w 388429"/>
              <a:gd name="connsiteY3" fmla="*/ 234825 h 244266"/>
              <a:gd name="connsiteX4" fmla="*/ 241911 w 388429"/>
              <a:gd name="connsiteY4" fmla="*/ 235403 h 244266"/>
              <a:gd name="connsiteX5" fmla="*/ 240985 w 388429"/>
              <a:gd name="connsiteY5" fmla="*/ 235403 h 244266"/>
              <a:gd name="connsiteX6" fmla="*/ 240349 w 388429"/>
              <a:gd name="connsiteY6" fmla="*/ 234709 h 244266"/>
              <a:gd name="connsiteX7" fmla="*/ 235374 w 388429"/>
              <a:gd name="connsiteY7" fmla="*/ 200928 h 244266"/>
              <a:gd name="connsiteX8" fmla="*/ 224268 w 388429"/>
              <a:gd name="connsiteY8" fmla="*/ 198383 h 244266"/>
              <a:gd name="connsiteX9" fmla="*/ 217269 w 388429"/>
              <a:gd name="connsiteY9" fmla="*/ 198788 h 244266"/>
              <a:gd name="connsiteX10" fmla="*/ 216633 w 388429"/>
              <a:gd name="connsiteY10" fmla="*/ 198788 h 244266"/>
              <a:gd name="connsiteX11" fmla="*/ 206741 w 388429"/>
              <a:gd name="connsiteY11" fmla="*/ 190632 h 244266"/>
              <a:gd name="connsiteX12" fmla="*/ 198586 w 388429"/>
              <a:gd name="connsiteY12" fmla="*/ 183401 h 244266"/>
              <a:gd name="connsiteX13" fmla="*/ 185339 w 388429"/>
              <a:gd name="connsiteY13" fmla="*/ 172585 h 244266"/>
              <a:gd name="connsiteX14" fmla="*/ 165730 w 388429"/>
              <a:gd name="connsiteY14" fmla="*/ 166337 h 244266"/>
              <a:gd name="connsiteX15" fmla="*/ 163185 w 388429"/>
              <a:gd name="connsiteY15" fmla="*/ 166337 h 244266"/>
              <a:gd name="connsiteX16" fmla="*/ 152657 w 388429"/>
              <a:gd name="connsiteY16" fmla="*/ 161768 h 244266"/>
              <a:gd name="connsiteX17" fmla="*/ 150054 w 388429"/>
              <a:gd name="connsiteY17" fmla="*/ 159859 h 244266"/>
              <a:gd name="connsiteX18" fmla="*/ 129057 w 388429"/>
              <a:gd name="connsiteY18" fmla="*/ 150604 h 244266"/>
              <a:gd name="connsiteX19" fmla="*/ 111703 w 388429"/>
              <a:gd name="connsiteY19" fmla="*/ 146613 h 244266"/>
              <a:gd name="connsiteX20" fmla="*/ 99209 w 388429"/>
              <a:gd name="connsiteY20" fmla="*/ 149678 h 244266"/>
              <a:gd name="connsiteX21" fmla="*/ 90474 w 388429"/>
              <a:gd name="connsiteY21" fmla="*/ 153496 h 244266"/>
              <a:gd name="connsiteX22" fmla="*/ 84690 w 388429"/>
              <a:gd name="connsiteY22" fmla="*/ 153033 h 244266"/>
              <a:gd name="connsiteX23" fmla="*/ 78905 w 388429"/>
              <a:gd name="connsiteY23" fmla="*/ 152571 h 244266"/>
              <a:gd name="connsiteX24" fmla="*/ 55768 w 388429"/>
              <a:gd name="connsiteY24" fmla="*/ 169056 h 244266"/>
              <a:gd name="connsiteX25" fmla="*/ 32283 w 388429"/>
              <a:gd name="connsiteY25" fmla="*/ 173799 h 244266"/>
              <a:gd name="connsiteX26" fmla="*/ 32283 w 388429"/>
              <a:gd name="connsiteY26" fmla="*/ 173799 h 244266"/>
              <a:gd name="connsiteX27" fmla="*/ 31184 w 388429"/>
              <a:gd name="connsiteY27" fmla="*/ 172758 h 244266"/>
              <a:gd name="connsiteX28" fmla="*/ 30779 w 388429"/>
              <a:gd name="connsiteY28" fmla="*/ 165643 h 244266"/>
              <a:gd name="connsiteX29" fmla="*/ 31184 w 388429"/>
              <a:gd name="connsiteY29" fmla="*/ 135853 h 244266"/>
              <a:gd name="connsiteX30" fmla="*/ 28812 w 388429"/>
              <a:gd name="connsiteY30" fmla="*/ 121797 h 244266"/>
              <a:gd name="connsiteX31" fmla="*/ 25457 w 388429"/>
              <a:gd name="connsiteY31" fmla="*/ 114567 h 244266"/>
              <a:gd name="connsiteX32" fmla="*/ 20078 w 388429"/>
              <a:gd name="connsiteY32" fmla="*/ 112137 h 244266"/>
              <a:gd name="connsiteX33" fmla="*/ 14930 w 388429"/>
              <a:gd name="connsiteY33" fmla="*/ 112542 h 244266"/>
              <a:gd name="connsiteX34" fmla="*/ 11170 w 388429"/>
              <a:gd name="connsiteY34" fmla="*/ 112542 h 244266"/>
              <a:gd name="connsiteX35" fmla="*/ 8162 w 388429"/>
              <a:gd name="connsiteY35" fmla="*/ 111212 h 244266"/>
              <a:gd name="connsiteX36" fmla="*/ 10418 w 388429"/>
              <a:gd name="connsiteY36" fmla="*/ 106758 h 244266"/>
              <a:gd name="connsiteX37" fmla="*/ 17243 w 388429"/>
              <a:gd name="connsiteY37" fmla="*/ 93974 h 244266"/>
              <a:gd name="connsiteX38" fmla="*/ 11459 w 388429"/>
              <a:gd name="connsiteY38" fmla="*/ 91661 h 244266"/>
              <a:gd name="connsiteX39" fmla="*/ 10013 w 388429"/>
              <a:gd name="connsiteY39" fmla="*/ 91661 h 244266"/>
              <a:gd name="connsiteX40" fmla="*/ 1452 w 388429"/>
              <a:gd name="connsiteY40" fmla="*/ 88768 h 244266"/>
              <a:gd name="connsiteX41" fmla="*/ 2782 w 388429"/>
              <a:gd name="connsiteY41" fmla="*/ 68985 h 244266"/>
              <a:gd name="connsiteX42" fmla="*/ 3187 w 388429"/>
              <a:gd name="connsiteY42" fmla="*/ 67597 h 244266"/>
              <a:gd name="connsiteX43" fmla="*/ 11286 w 388429"/>
              <a:gd name="connsiteY43" fmla="*/ 61003 h 244266"/>
              <a:gd name="connsiteX44" fmla="*/ 23838 w 388429"/>
              <a:gd name="connsiteY44" fmla="*/ 64647 h 244266"/>
              <a:gd name="connsiteX45" fmla="*/ 29622 w 388429"/>
              <a:gd name="connsiteY45" fmla="*/ 66845 h 244266"/>
              <a:gd name="connsiteX46" fmla="*/ 33324 w 388429"/>
              <a:gd name="connsiteY46" fmla="*/ 67481 h 244266"/>
              <a:gd name="connsiteX47" fmla="*/ 43794 w 388429"/>
              <a:gd name="connsiteY47" fmla="*/ 64416 h 244266"/>
              <a:gd name="connsiteX48" fmla="*/ 56809 w 388429"/>
              <a:gd name="connsiteY48" fmla="*/ 61119 h 244266"/>
              <a:gd name="connsiteX49" fmla="*/ 57388 w 388429"/>
              <a:gd name="connsiteY49" fmla="*/ 61119 h 244266"/>
              <a:gd name="connsiteX50" fmla="*/ 59123 w 388429"/>
              <a:gd name="connsiteY50" fmla="*/ 60077 h 244266"/>
              <a:gd name="connsiteX51" fmla="*/ 43678 w 388429"/>
              <a:gd name="connsiteY51" fmla="*/ 47178 h 244266"/>
              <a:gd name="connsiteX52" fmla="*/ 36101 w 388429"/>
              <a:gd name="connsiteY52" fmla="*/ 36766 h 244266"/>
              <a:gd name="connsiteX53" fmla="*/ 22681 w 388429"/>
              <a:gd name="connsiteY53" fmla="*/ 22132 h 244266"/>
              <a:gd name="connsiteX54" fmla="*/ 11112 w 388429"/>
              <a:gd name="connsiteY54" fmla="*/ 26528 h 244266"/>
              <a:gd name="connsiteX55" fmla="*/ 10071 w 388429"/>
              <a:gd name="connsiteY55" fmla="*/ 27106 h 244266"/>
              <a:gd name="connsiteX56" fmla="*/ 9088 w 388429"/>
              <a:gd name="connsiteY56" fmla="*/ 26412 h 244266"/>
              <a:gd name="connsiteX57" fmla="*/ 9088 w 388429"/>
              <a:gd name="connsiteY57" fmla="*/ 17388 h 244266"/>
              <a:gd name="connsiteX58" fmla="*/ 38010 w 388429"/>
              <a:gd name="connsiteY58" fmla="*/ 9927 h 244266"/>
              <a:gd name="connsiteX59" fmla="*/ 72369 w 388429"/>
              <a:gd name="connsiteY59" fmla="*/ 36246 h 244266"/>
              <a:gd name="connsiteX60" fmla="*/ 83186 w 388429"/>
              <a:gd name="connsiteY60" fmla="*/ 42956 h 244266"/>
              <a:gd name="connsiteX61" fmla="*/ 89838 w 388429"/>
              <a:gd name="connsiteY61" fmla="*/ 40584 h 244266"/>
              <a:gd name="connsiteX62" fmla="*/ 91053 w 388429"/>
              <a:gd name="connsiteY62" fmla="*/ 40584 h 244266"/>
              <a:gd name="connsiteX63" fmla="*/ 109852 w 388429"/>
              <a:gd name="connsiteY63" fmla="*/ 45038 h 244266"/>
              <a:gd name="connsiteX64" fmla="*/ 116388 w 388429"/>
              <a:gd name="connsiteY64" fmla="*/ 43418 h 244266"/>
              <a:gd name="connsiteX65" fmla="*/ 118356 w 388429"/>
              <a:gd name="connsiteY65" fmla="*/ 34395 h 244266"/>
              <a:gd name="connsiteX66" fmla="*/ 118356 w 388429"/>
              <a:gd name="connsiteY66" fmla="*/ 33238 h 244266"/>
              <a:gd name="connsiteX67" fmla="*/ 138948 w 388429"/>
              <a:gd name="connsiteY67" fmla="*/ 17562 h 244266"/>
              <a:gd name="connsiteX68" fmla="*/ 145600 w 388429"/>
              <a:gd name="connsiteY68" fmla="*/ 11026 h 244266"/>
              <a:gd name="connsiteX69" fmla="*/ 148550 w 388429"/>
              <a:gd name="connsiteY69" fmla="*/ 7092 h 244266"/>
              <a:gd name="connsiteX70" fmla="*/ 158847 w 388429"/>
              <a:gd name="connsiteY70" fmla="*/ 2002 h 244266"/>
              <a:gd name="connsiteX71" fmla="*/ 163647 w 388429"/>
              <a:gd name="connsiteY71" fmla="*/ -81 h 244266"/>
              <a:gd name="connsiteX72" fmla="*/ 180075 w 388429"/>
              <a:gd name="connsiteY72" fmla="*/ 6629 h 244266"/>
              <a:gd name="connsiteX73" fmla="*/ 197428 w 388429"/>
              <a:gd name="connsiteY73" fmla="*/ 12876 h 244266"/>
              <a:gd name="connsiteX74" fmla="*/ 200552 w 388429"/>
              <a:gd name="connsiteY74" fmla="*/ 13571 h 244266"/>
              <a:gd name="connsiteX75" fmla="*/ 211079 w 388429"/>
              <a:gd name="connsiteY75" fmla="*/ 43765 h 244266"/>
              <a:gd name="connsiteX76" fmla="*/ 240812 w 388429"/>
              <a:gd name="connsiteY76" fmla="*/ 47062 h 244266"/>
              <a:gd name="connsiteX77" fmla="*/ 250530 w 388429"/>
              <a:gd name="connsiteY77" fmla="*/ 47525 h 244266"/>
              <a:gd name="connsiteX78" fmla="*/ 257760 w 388429"/>
              <a:gd name="connsiteY78" fmla="*/ 56375 h 244266"/>
              <a:gd name="connsiteX79" fmla="*/ 262561 w 388429"/>
              <a:gd name="connsiteY79" fmla="*/ 65688 h 244266"/>
              <a:gd name="connsiteX80" fmla="*/ 274593 w 388429"/>
              <a:gd name="connsiteY80" fmla="*/ 88016 h 244266"/>
              <a:gd name="connsiteX81" fmla="*/ 274593 w 388429"/>
              <a:gd name="connsiteY81" fmla="*/ 88537 h 244266"/>
              <a:gd name="connsiteX82" fmla="*/ 286682 w 388429"/>
              <a:gd name="connsiteY82" fmla="*/ 97329 h 244266"/>
              <a:gd name="connsiteX83" fmla="*/ 301953 w 388429"/>
              <a:gd name="connsiteY83" fmla="*/ 108551 h 244266"/>
              <a:gd name="connsiteX84" fmla="*/ 332900 w 388429"/>
              <a:gd name="connsiteY84" fmla="*/ 126656 h 244266"/>
              <a:gd name="connsiteX85" fmla="*/ 348865 w 388429"/>
              <a:gd name="connsiteY85" fmla="*/ 137705 h 244266"/>
              <a:gd name="connsiteX86" fmla="*/ 360434 w 388429"/>
              <a:gd name="connsiteY86" fmla="*/ 145224 h 244266"/>
              <a:gd name="connsiteX87" fmla="*/ 361764 w 388429"/>
              <a:gd name="connsiteY87" fmla="*/ 145224 h 244266"/>
              <a:gd name="connsiteX88" fmla="*/ 385596 w 388429"/>
              <a:gd name="connsiteY88" fmla="*/ 153438 h 244266"/>
              <a:gd name="connsiteX89" fmla="*/ 386232 w 388429"/>
              <a:gd name="connsiteY89" fmla="*/ 154306 h 244266"/>
              <a:gd name="connsiteX90" fmla="*/ 388314 w 388429"/>
              <a:gd name="connsiteY90" fmla="*/ 172353 h 244266"/>
              <a:gd name="connsiteX91" fmla="*/ 387389 w 388429"/>
              <a:gd name="connsiteY91" fmla="*/ 173568 h 244266"/>
              <a:gd name="connsiteX92" fmla="*/ 384324 w 388429"/>
              <a:gd name="connsiteY92" fmla="*/ 173857 h 244266"/>
              <a:gd name="connsiteX93" fmla="*/ 373911 w 388429"/>
              <a:gd name="connsiteY93" fmla="*/ 171081 h 244266"/>
              <a:gd name="connsiteX94" fmla="*/ 366739 w 388429"/>
              <a:gd name="connsiteY94" fmla="*/ 168709 h 244266"/>
              <a:gd name="connsiteX95" fmla="*/ 358120 w 388429"/>
              <a:gd name="connsiteY95" fmla="*/ 174493 h 244266"/>
              <a:gd name="connsiteX96" fmla="*/ 347535 w 388429"/>
              <a:gd name="connsiteY96" fmla="*/ 181782 h 244266"/>
              <a:gd name="connsiteX97" fmla="*/ 344931 w 388429"/>
              <a:gd name="connsiteY97" fmla="*/ 181319 h 244266"/>
              <a:gd name="connsiteX98" fmla="*/ 343485 w 388429"/>
              <a:gd name="connsiteY98" fmla="*/ 181319 h 244266"/>
              <a:gd name="connsiteX99" fmla="*/ 331396 w 388429"/>
              <a:gd name="connsiteY99" fmla="*/ 203878 h 244266"/>
              <a:gd name="connsiteX100" fmla="*/ 330239 w 388429"/>
              <a:gd name="connsiteY100" fmla="*/ 207870 h 244266"/>
              <a:gd name="connsiteX101" fmla="*/ 309994 w 388429"/>
              <a:gd name="connsiteY101" fmla="*/ 219091 h 244266"/>
              <a:gd name="connsiteX102" fmla="*/ 291425 w 388429"/>
              <a:gd name="connsiteY102" fmla="*/ 230082 h 244266"/>
              <a:gd name="connsiteX103" fmla="*/ 288707 w 388429"/>
              <a:gd name="connsiteY103" fmla="*/ 237833 h 244266"/>
              <a:gd name="connsiteX104" fmla="*/ 274130 w 388429"/>
              <a:gd name="connsiteY104" fmla="*/ 244138 h 244266"/>
              <a:gd name="connsiteX105" fmla="*/ 255678 w 388429"/>
              <a:gd name="connsiteY105" fmla="*/ 233379 h 244266"/>
              <a:gd name="connsiteX106" fmla="*/ 267709 w 388429"/>
              <a:gd name="connsiteY106" fmla="*/ 239163 h 244266"/>
              <a:gd name="connsiteX107" fmla="*/ 274130 w 388429"/>
              <a:gd name="connsiteY107" fmla="*/ 242056 h 244266"/>
              <a:gd name="connsiteX108" fmla="*/ 287029 w 388429"/>
              <a:gd name="connsiteY108" fmla="*/ 236965 h 244266"/>
              <a:gd name="connsiteX109" fmla="*/ 289169 w 388429"/>
              <a:gd name="connsiteY109" fmla="*/ 230892 h 244266"/>
              <a:gd name="connsiteX110" fmla="*/ 309300 w 388429"/>
              <a:gd name="connsiteY110" fmla="*/ 217530 h 244266"/>
              <a:gd name="connsiteX111" fmla="*/ 328041 w 388429"/>
              <a:gd name="connsiteY111" fmla="*/ 207870 h 244266"/>
              <a:gd name="connsiteX112" fmla="*/ 329198 w 388429"/>
              <a:gd name="connsiteY112" fmla="*/ 203936 h 244266"/>
              <a:gd name="connsiteX113" fmla="*/ 343485 w 388429"/>
              <a:gd name="connsiteY113" fmla="*/ 179699 h 244266"/>
              <a:gd name="connsiteX114" fmla="*/ 345741 w 388429"/>
              <a:gd name="connsiteY114" fmla="*/ 180104 h 244266"/>
              <a:gd name="connsiteX115" fmla="*/ 356442 w 388429"/>
              <a:gd name="connsiteY115" fmla="*/ 173915 h 244266"/>
              <a:gd name="connsiteX116" fmla="*/ 367086 w 388429"/>
              <a:gd name="connsiteY116" fmla="*/ 167147 h 244266"/>
              <a:gd name="connsiteX117" fmla="*/ 374837 w 388429"/>
              <a:gd name="connsiteY117" fmla="*/ 169635 h 244266"/>
              <a:gd name="connsiteX118" fmla="*/ 385943 w 388429"/>
              <a:gd name="connsiteY118" fmla="*/ 172122 h 244266"/>
              <a:gd name="connsiteX119" fmla="*/ 384092 w 388429"/>
              <a:gd name="connsiteY119" fmla="*/ 155810 h 244266"/>
              <a:gd name="connsiteX120" fmla="*/ 360954 w 388429"/>
              <a:gd name="connsiteY120" fmla="*/ 148116 h 244266"/>
              <a:gd name="connsiteX121" fmla="*/ 360318 w 388429"/>
              <a:gd name="connsiteY121" fmla="*/ 148116 h 244266"/>
              <a:gd name="connsiteX122" fmla="*/ 347419 w 388429"/>
              <a:gd name="connsiteY122" fmla="*/ 140018 h 244266"/>
              <a:gd name="connsiteX123" fmla="*/ 332148 w 388429"/>
              <a:gd name="connsiteY123" fmla="*/ 129433 h 244266"/>
              <a:gd name="connsiteX124" fmla="*/ 300044 w 388429"/>
              <a:gd name="connsiteY124" fmla="*/ 110460 h 244266"/>
              <a:gd name="connsiteX125" fmla="*/ 285583 w 388429"/>
              <a:gd name="connsiteY125" fmla="*/ 99932 h 244266"/>
              <a:gd name="connsiteX126" fmla="*/ 272510 w 388429"/>
              <a:gd name="connsiteY126" fmla="*/ 90099 h 244266"/>
              <a:gd name="connsiteX127" fmla="*/ 272510 w 388429"/>
              <a:gd name="connsiteY127" fmla="*/ 89520 h 244266"/>
              <a:gd name="connsiteX128" fmla="*/ 260941 w 388429"/>
              <a:gd name="connsiteY128" fmla="*/ 67713 h 244266"/>
              <a:gd name="connsiteX129" fmla="*/ 255851 w 388429"/>
              <a:gd name="connsiteY129" fmla="*/ 57822 h 244266"/>
              <a:gd name="connsiteX130" fmla="*/ 250066 w 388429"/>
              <a:gd name="connsiteY130" fmla="*/ 50360 h 244266"/>
              <a:gd name="connsiteX131" fmla="*/ 240639 w 388429"/>
              <a:gd name="connsiteY131" fmla="*/ 49955 h 244266"/>
              <a:gd name="connsiteX132" fmla="*/ 208708 w 388429"/>
              <a:gd name="connsiteY132" fmla="*/ 44170 h 244266"/>
              <a:gd name="connsiteX133" fmla="*/ 199916 w 388429"/>
              <a:gd name="connsiteY133" fmla="*/ 16174 h 244266"/>
              <a:gd name="connsiteX134" fmla="*/ 196792 w 388429"/>
              <a:gd name="connsiteY134" fmla="*/ 15537 h 244266"/>
              <a:gd name="connsiteX135" fmla="*/ 178398 w 388429"/>
              <a:gd name="connsiteY135" fmla="*/ 8654 h 244266"/>
              <a:gd name="connsiteX136" fmla="*/ 163647 w 388429"/>
              <a:gd name="connsiteY136" fmla="*/ 2638 h 244266"/>
              <a:gd name="connsiteX137" fmla="*/ 160813 w 388429"/>
              <a:gd name="connsiteY137" fmla="*/ 3622 h 244266"/>
              <a:gd name="connsiteX138" fmla="*/ 148550 w 388429"/>
              <a:gd name="connsiteY138" fmla="*/ 9811 h 244266"/>
              <a:gd name="connsiteX139" fmla="*/ 147740 w 388429"/>
              <a:gd name="connsiteY139" fmla="*/ 12182 h 244266"/>
              <a:gd name="connsiteX140" fmla="*/ 138716 w 388429"/>
              <a:gd name="connsiteY140" fmla="*/ 20281 h 244266"/>
              <a:gd name="connsiteX141" fmla="*/ 137907 w 388429"/>
              <a:gd name="connsiteY141" fmla="*/ 20281 h 244266"/>
              <a:gd name="connsiteX142" fmla="*/ 120554 w 388429"/>
              <a:gd name="connsiteY142" fmla="*/ 33758 h 244266"/>
              <a:gd name="connsiteX143" fmla="*/ 120554 w 388429"/>
              <a:gd name="connsiteY143" fmla="*/ 34915 h 244266"/>
              <a:gd name="connsiteX144" fmla="*/ 117950 w 388429"/>
              <a:gd name="connsiteY144" fmla="*/ 45559 h 244266"/>
              <a:gd name="connsiteX145" fmla="*/ 109621 w 388429"/>
              <a:gd name="connsiteY145" fmla="*/ 47814 h 244266"/>
              <a:gd name="connsiteX146" fmla="*/ 90648 w 388429"/>
              <a:gd name="connsiteY146" fmla="*/ 43418 h 244266"/>
              <a:gd name="connsiteX147" fmla="*/ 83128 w 388429"/>
              <a:gd name="connsiteY147" fmla="*/ 45848 h 244266"/>
              <a:gd name="connsiteX148" fmla="*/ 70460 w 388429"/>
              <a:gd name="connsiteY148" fmla="*/ 38270 h 244266"/>
              <a:gd name="connsiteX149" fmla="*/ 37952 w 388429"/>
              <a:gd name="connsiteY149" fmla="*/ 12819 h 244266"/>
              <a:gd name="connsiteX150" fmla="*/ 10823 w 388429"/>
              <a:gd name="connsiteY150" fmla="*/ 19297 h 244266"/>
              <a:gd name="connsiteX151" fmla="*/ 10128 w 388429"/>
              <a:gd name="connsiteY151" fmla="*/ 24156 h 244266"/>
              <a:gd name="connsiteX152" fmla="*/ 20193 w 388429"/>
              <a:gd name="connsiteY152" fmla="*/ 20454 h 244266"/>
              <a:gd name="connsiteX153" fmla="*/ 22565 w 388429"/>
              <a:gd name="connsiteY153" fmla="*/ 20454 h 244266"/>
              <a:gd name="connsiteX154" fmla="*/ 38010 w 388429"/>
              <a:gd name="connsiteY154" fmla="*/ 36882 h 244266"/>
              <a:gd name="connsiteX155" fmla="*/ 43794 w 388429"/>
              <a:gd name="connsiteY155" fmla="*/ 45501 h 244266"/>
              <a:gd name="connsiteX156" fmla="*/ 61148 w 388429"/>
              <a:gd name="connsiteY156" fmla="*/ 60772 h 244266"/>
              <a:gd name="connsiteX157" fmla="*/ 57156 w 388429"/>
              <a:gd name="connsiteY157" fmla="*/ 63953 h 244266"/>
              <a:gd name="connsiteX158" fmla="*/ 56346 w 388429"/>
              <a:gd name="connsiteY158" fmla="*/ 63953 h 244266"/>
              <a:gd name="connsiteX159" fmla="*/ 44430 w 388429"/>
              <a:gd name="connsiteY159" fmla="*/ 67077 h 244266"/>
              <a:gd name="connsiteX160" fmla="*/ 32862 w 388429"/>
              <a:gd name="connsiteY160" fmla="*/ 70316 h 244266"/>
              <a:gd name="connsiteX161" fmla="*/ 28407 w 388429"/>
              <a:gd name="connsiteY161" fmla="*/ 69564 h 244266"/>
              <a:gd name="connsiteX162" fmla="*/ 22623 w 388429"/>
              <a:gd name="connsiteY162" fmla="*/ 67308 h 244266"/>
              <a:gd name="connsiteX163" fmla="*/ 11054 w 388429"/>
              <a:gd name="connsiteY163" fmla="*/ 63837 h 244266"/>
              <a:gd name="connsiteX164" fmla="*/ 5270 w 388429"/>
              <a:gd name="connsiteY164" fmla="*/ 68812 h 244266"/>
              <a:gd name="connsiteX165" fmla="*/ 4865 w 388429"/>
              <a:gd name="connsiteY165" fmla="*/ 70200 h 244266"/>
              <a:gd name="connsiteX166" fmla="*/ 3187 w 388429"/>
              <a:gd name="connsiteY166" fmla="*/ 88016 h 244266"/>
              <a:gd name="connsiteX167" fmla="*/ 9782 w 388429"/>
              <a:gd name="connsiteY167" fmla="*/ 89983 h 244266"/>
              <a:gd name="connsiteX168" fmla="*/ 11402 w 388429"/>
              <a:gd name="connsiteY168" fmla="*/ 89983 h 244266"/>
              <a:gd name="connsiteX169" fmla="*/ 19557 w 388429"/>
              <a:gd name="connsiteY169" fmla="*/ 93685 h 244266"/>
              <a:gd name="connsiteX170" fmla="*/ 12269 w 388429"/>
              <a:gd name="connsiteY170" fmla="*/ 108956 h 244266"/>
              <a:gd name="connsiteX171" fmla="*/ 10650 w 388429"/>
              <a:gd name="connsiteY171" fmla="*/ 110807 h 244266"/>
              <a:gd name="connsiteX172" fmla="*/ 14930 w 388429"/>
              <a:gd name="connsiteY172" fmla="*/ 110807 h 244266"/>
              <a:gd name="connsiteX173" fmla="*/ 20309 w 388429"/>
              <a:gd name="connsiteY173" fmla="*/ 110402 h 244266"/>
              <a:gd name="connsiteX174" fmla="*/ 27945 w 388429"/>
              <a:gd name="connsiteY174" fmla="*/ 114625 h 244266"/>
              <a:gd name="connsiteX175" fmla="*/ 30953 w 388429"/>
              <a:gd name="connsiteY175" fmla="*/ 121045 h 244266"/>
              <a:gd name="connsiteX176" fmla="*/ 33556 w 388429"/>
              <a:gd name="connsiteY176" fmla="*/ 136895 h 244266"/>
              <a:gd name="connsiteX177" fmla="*/ 33556 w 388429"/>
              <a:gd name="connsiteY177" fmla="*/ 165817 h 244266"/>
              <a:gd name="connsiteX178" fmla="*/ 33902 w 388429"/>
              <a:gd name="connsiteY178" fmla="*/ 171601 h 244266"/>
              <a:gd name="connsiteX179" fmla="*/ 54437 w 388429"/>
              <a:gd name="connsiteY179" fmla="*/ 167783 h 244266"/>
              <a:gd name="connsiteX180" fmla="*/ 79542 w 388429"/>
              <a:gd name="connsiteY180" fmla="*/ 150430 h 244266"/>
              <a:gd name="connsiteX181" fmla="*/ 85673 w 388429"/>
              <a:gd name="connsiteY181" fmla="*/ 150951 h 244266"/>
              <a:gd name="connsiteX182" fmla="*/ 91168 w 388429"/>
              <a:gd name="connsiteY182" fmla="*/ 151356 h 244266"/>
              <a:gd name="connsiteX183" fmla="*/ 98052 w 388429"/>
              <a:gd name="connsiteY183" fmla="*/ 148521 h 244266"/>
              <a:gd name="connsiteX184" fmla="*/ 112397 w 388429"/>
              <a:gd name="connsiteY184" fmla="*/ 144472 h 244266"/>
              <a:gd name="connsiteX185" fmla="*/ 131313 w 388429"/>
              <a:gd name="connsiteY185" fmla="*/ 149215 h 244266"/>
              <a:gd name="connsiteX186" fmla="*/ 150632 w 388429"/>
              <a:gd name="connsiteY186" fmla="*/ 157719 h 244266"/>
              <a:gd name="connsiteX187" fmla="*/ 154855 w 388429"/>
              <a:gd name="connsiteY187" fmla="*/ 160322 h 244266"/>
              <a:gd name="connsiteX188" fmla="*/ 163532 w 388429"/>
              <a:gd name="connsiteY188" fmla="*/ 164197 h 244266"/>
              <a:gd name="connsiteX189" fmla="*/ 166308 w 388429"/>
              <a:gd name="connsiteY189" fmla="*/ 164197 h 244266"/>
              <a:gd name="connsiteX190" fmla="*/ 188173 w 388429"/>
              <a:gd name="connsiteY190" fmla="*/ 172700 h 244266"/>
              <a:gd name="connsiteX191" fmla="*/ 199164 w 388429"/>
              <a:gd name="connsiteY191" fmla="*/ 181261 h 244266"/>
              <a:gd name="connsiteX192" fmla="*/ 209113 w 388429"/>
              <a:gd name="connsiteY192" fmla="*/ 189417 h 244266"/>
              <a:gd name="connsiteX193" fmla="*/ 217211 w 388429"/>
              <a:gd name="connsiteY193" fmla="*/ 196590 h 244266"/>
              <a:gd name="connsiteX194" fmla="*/ 217558 w 388429"/>
              <a:gd name="connsiteY194" fmla="*/ 196590 h 244266"/>
              <a:gd name="connsiteX195" fmla="*/ 224846 w 388429"/>
              <a:gd name="connsiteY195" fmla="*/ 196185 h 244266"/>
              <a:gd name="connsiteX196" fmla="*/ 238209 w 388429"/>
              <a:gd name="connsiteY196" fmla="*/ 200986 h 244266"/>
              <a:gd name="connsiteX197" fmla="*/ 242663 w 388429"/>
              <a:gd name="connsiteY197" fmla="*/ 232858 h 244266"/>
              <a:gd name="connsiteX198" fmla="*/ 248447 w 388429"/>
              <a:gd name="connsiteY198" fmla="*/ 232858 h 244266"/>
              <a:gd name="connsiteX199" fmla="*/ 252322 w 388429"/>
              <a:gd name="connsiteY199" fmla="*/ 233379 h 24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388429" h="244266">
                <a:moveTo>
                  <a:pt x="274130" y="244138"/>
                </a:moveTo>
                <a:cubicBezTo>
                  <a:pt x="269561" y="244138"/>
                  <a:pt x="266379" y="242460"/>
                  <a:pt x="265511" y="239568"/>
                </a:cubicBezTo>
                <a:cubicBezTo>
                  <a:pt x="264412" y="235577"/>
                  <a:pt x="258628" y="235577"/>
                  <a:pt x="253596" y="235693"/>
                </a:cubicBezTo>
                <a:cubicBezTo>
                  <a:pt x="251224" y="236017"/>
                  <a:pt x="248794" y="235716"/>
                  <a:pt x="246538" y="234825"/>
                </a:cubicBezTo>
                <a:cubicBezTo>
                  <a:pt x="244977" y="234304"/>
                  <a:pt x="243299" y="234519"/>
                  <a:pt x="241911" y="235403"/>
                </a:cubicBezTo>
                <a:cubicBezTo>
                  <a:pt x="241621" y="235548"/>
                  <a:pt x="241275" y="235548"/>
                  <a:pt x="240985" y="235403"/>
                </a:cubicBezTo>
                <a:cubicBezTo>
                  <a:pt x="240696" y="235265"/>
                  <a:pt x="240465" y="235016"/>
                  <a:pt x="240349" y="234709"/>
                </a:cubicBezTo>
                <a:cubicBezTo>
                  <a:pt x="237341" y="223690"/>
                  <a:pt x="235663" y="212347"/>
                  <a:pt x="235374" y="200928"/>
                </a:cubicBezTo>
                <a:cubicBezTo>
                  <a:pt x="235374" y="199887"/>
                  <a:pt x="232424" y="198383"/>
                  <a:pt x="224268" y="198383"/>
                </a:cubicBezTo>
                <a:cubicBezTo>
                  <a:pt x="221954" y="198366"/>
                  <a:pt x="219583" y="198499"/>
                  <a:pt x="217269" y="198788"/>
                </a:cubicBezTo>
                <a:lnTo>
                  <a:pt x="216633" y="198788"/>
                </a:lnTo>
                <a:cubicBezTo>
                  <a:pt x="212989" y="198788"/>
                  <a:pt x="209923" y="194797"/>
                  <a:pt x="206741" y="190632"/>
                </a:cubicBezTo>
                <a:cubicBezTo>
                  <a:pt x="203560" y="186467"/>
                  <a:pt x="200957" y="183401"/>
                  <a:pt x="198586" y="183401"/>
                </a:cubicBezTo>
                <a:cubicBezTo>
                  <a:pt x="192049" y="183743"/>
                  <a:pt x="186323" y="179063"/>
                  <a:pt x="185339" y="172585"/>
                </a:cubicBezTo>
                <a:cubicBezTo>
                  <a:pt x="185339" y="169635"/>
                  <a:pt x="174869" y="166337"/>
                  <a:pt x="165730" y="166337"/>
                </a:cubicBezTo>
                <a:lnTo>
                  <a:pt x="163185" y="166337"/>
                </a:lnTo>
                <a:cubicBezTo>
                  <a:pt x="159135" y="166696"/>
                  <a:pt x="155145" y="164972"/>
                  <a:pt x="152657" y="161768"/>
                </a:cubicBezTo>
                <a:cubicBezTo>
                  <a:pt x="151674" y="160726"/>
                  <a:pt x="150806" y="159859"/>
                  <a:pt x="150054" y="159859"/>
                </a:cubicBezTo>
                <a:cubicBezTo>
                  <a:pt x="142303" y="158841"/>
                  <a:pt x="135015" y="155630"/>
                  <a:pt x="129057" y="150604"/>
                </a:cubicBezTo>
                <a:cubicBezTo>
                  <a:pt x="123793" y="147521"/>
                  <a:pt x="117777" y="146127"/>
                  <a:pt x="111703" y="146613"/>
                </a:cubicBezTo>
                <a:cubicBezTo>
                  <a:pt x="107307" y="146028"/>
                  <a:pt x="102853" y="147127"/>
                  <a:pt x="99209" y="149678"/>
                </a:cubicBezTo>
                <a:cubicBezTo>
                  <a:pt x="97127" y="152327"/>
                  <a:pt x="93830" y="153762"/>
                  <a:pt x="90474" y="153496"/>
                </a:cubicBezTo>
                <a:cubicBezTo>
                  <a:pt x="88566" y="153455"/>
                  <a:pt x="86599" y="153305"/>
                  <a:pt x="84690" y="153033"/>
                </a:cubicBezTo>
                <a:cubicBezTo>
                  <a:pt x="82781" y="152767"/>
                  <a:pt x="80815" y="152617"/>
                  <a:pt x="78905" y="152571"/>
                </a:cubicBezTo>
                <a:cubicBezTo>
                  <a:pt x="72311" y="152571"/>
                  <a:pt x="59701" y="163445"/>
                  <a:pt x="55768" y="169056"/>
                </a:cubicBezTo>
                <a:cubicBezTo>
                  <a:pt x="53570" y="172122"/>
                  <a:pt x="45934" y="173684"/>
                  <a:pt x="32283" y="173799"/>
                </a:cubicBezTo>
                <a:lnTo>
                  <a:pt x="32283" y="173799"/>
                </a:lnTo>
                <a:cubicBezTo>
                  <a:pt x="31704" y="173799"/>
                  <a:pt x="31242" y="173342"/>
                  <a:pt x="31184" y="172758"/>
                </a:cubicBezTo>
                <a:cubicBezTo>
                  <a:pt x="31184" y="170502"/>
                  <a:pt x="31184" y="168131"/>
                  <a:pt x="30779" y="165643"/>
                </a:cubicBezTo>
                <a:cubicBezTo>
                  <a:pt x="29680" y="155735"/>
                  <a:pt x="29796" y="145728"/>
                  <a:pt x="31184" y="135853"/>
                </a:cubicBezTo>
                <a:cubicBezTo>
                  <a:pt x="32919" y="131076"/>
                  <a:pt x="31994" y="125742"/>
                  <a:pt x="28812" y="121797"/>
                </a:cubicBezTo>
                <a:cubicBezTo>
                  <a:pt x="27193" y="119645"/>
                  <a:pt x="26094" y="117181"/>
                  <a:pt x="25457" y="114567"/>
                </a:cubicBezTo>
                <a:cubicBezTo>
                  <a:pt x="25457" y="113526"/>
                  <a:pt x="24474" y="112137"/>
                  <a:pt x="20078" y="112137"/>
                </a:cubicBezTo>
                <a:cubicBezTo>
                  <a:pt x="18343" y="112184"/>
                  <a:pt x="16665" y="112317"/>
                  <a:pt x="14930" y="112542"/>
                </a:cubicBezTo>
                <a:cubicBezTo>
                  <a:pt x="13542" y="112542"/>
                  <a:pt x="12211" y="112542"/>
                  <a:pt x="11170" y="112542"/>
                </a:cubicBezTo>
                <a:cubicBezTo>
                  <a:pt x="10128" y="112542"/>
                  <a:pt x="8740" y="112542"/>
                  <a:pt x="8162" y="111212"/>
                </a:cubicBezTo>
                <a:cubicBezTo>
                  <a:pt x="7584" y="109881"/>
                  <a:pt x="8914" y="108262"/>
                  <a:pt x="10418" y="106758"/>
                </a:cubicBezTo>
                <a:cubicBezTo>
                  <a:pt x="15624" y="101552"/>
                  <a:pt x="18285" y="96577"/>
                  <a:pt x="17243" y="93974"/>
                </a:cubicBezTo>
                <a:cubicBezTo>
                  <a:pt x="16202" y="91371"/>
                  <a:pt x="13484" y="91661"/>
                  <a:pt x="11459" y="91661"/>
                </a:cubicBezTo>
                <a:lnTo>
                  <a:pt x="10013" y="91661"/>
                </a:lnTo>
                <a:cubicBezTo>
                  <a:pt x="6832" y="92285"/>
                  <a:pt x="3592" y="91186"/>
                  <a:pt x="1452" y="88768"/>
                </a:cubicBezTo>
                <a:cubicBezTo>
                  <a:pt x="-1729" y="84546"/>
                  <a:pt x="585" y="76621"/>
                  <a:pt x="2782" y="68985"/>
                </a:cubicBezTo>
                <a:lnTo>
                  <a:pt x="3187" y="67597"/>
                </a:lnTo>
                <a:cubicBezTo>
                  <a:pt x="3824" y="63681"/>
                  <a:pt x="7294" y="60858"/>
                  <a:pt x="11286" y="61003"/>
                </a:cubicBezTo>
                <a:cubicBezTo>
                  <a:pt x="15682" y="61454"/>
                  <a:pt x="19905" y="62692"/>
                  <a:pt x="23838" y="64647"/>
                </a:cubicBezTo>
                <a:cubicBezTo>
                  <a:pt x="25805" y="65399"/>
                  <a:pt x="27771" y="66267"/>
                  <a:pt x="29622" y="66845"/>
                </a:cubicBezTo>
                <a:cubicBezTo>
                  <a:pt x="30837" y="67268"/>
                  <a:pt x="32052" y="67481"/>
                  <a:pt x="33324" y="67481"/>
                </a:cubicBezTo>
                <a:cubicBezTo>
                  <a:pt x="36968" y="67175"/>
                  <a:pt x="40555" y="66134"/>
                  <a:pt x="43794" y="64416"/>
                </a:cubicBezTo>
                <a:cubicBezTo>
                  <a:pt x="47785" y="62281"/>
                  <a:pt x="52239" y="61148"/>
                  <a:pt x="56809" y="61119"/>
                </a:cubicBezTo>
                <a:lnTo>
                  <a:pt x="57388" y="61119"/>
                </a:lnTo>
                <a:cubicBezTo>
                  <a:pt x="59065" y="61119"/>
                  <a:pt x="59123" y="60424"/>
                  <a:pt x="59123" y="60077"/>
                </a:cubicBezTo>
                <a:cubicBezTo>
                  <a:pt x="56636" y="53356"/>
                  <a:pt x="50735" y="48456"/>
                  <a:pt x="43678" y="47178"/>
                </a:cubicBezTo>
                <a:cubicBezTo>
                  <a:pt x="38414" y="46773"/>
                  <a:pt x="37258" y="41683"/>
                  <a:pt x="36101" y="36766"/>
                </a:cubicBezTo>
                <a:cubicBezTo>
                  <a:pt x="34597" y="29998"/>
                  <a:pt x="32977" y="22999"/>
                  <a:pt x="22681" y="22132"/>
                </a:cubicBezTo>
                <a:cubicBezTo>
                  <a:pt x="16897" y="21611"/>
                  <a:pt x="12963" y="23057"/>
                  <a:pt x="11112" y="26528"/>
                </a:cubicBezTo>
                <a:cubicBezTo>
                  <a:pt x="10880" y="26886"/>
                  <a:pt x="10476" y="27106"/>
                  <a:pt x="10071" y="27106"/>
                </a:cubicBezTo>
                <a:cubicBezTo>
                  <a:pt x="9666" y="27066"/>
                  <a:pt x="9261" y="26800"/>
                  <a:pt x="9088" y="26412"/>
                </a:cubicBezTo>
                <a:cubicBezTo>
                  <a:pt x="7526" y="23612"/>
                  <a:pt x="7526" y="20188"/>
                  <a:pt x="9088" y="17388"/>
                </a:cubicBezTo>
                <a:cubicBezTo>
                  <a:pt x="13484" y="10679"/>
                  <a:pt x="27771" y="9927"/>
                  <a:pt x="38010" y="9927"/>
                </a:cubicBezTo>
                <a:cubicBezTo>
                  <a:pt x="47207" y="9927"/>
                  <a:pt x="62652" y="23346"/>
                  <a:pt x="72369" y="36246"/>
                </a:cubicBezTo>
                <a:cubicBezTo>
                  <a:pt x="74683" y="40110"/>
                  <a:pt x="78732" y="42609"/>
                  <a:pt x="83186" y="42956"/>
                </a:cubicBezTo>
                <a:cubicBezTo>
                  <a:pt x="85616" y="42921"/>
                  <a:pt x="87929" y="42088"/>
                  <a:pt x="89838" y="40584"/>
                </a:cubicBezTo>
                <a:cubicBezTo>
                  <a:pt x="90243" y="40376"/>
                  <a:pt x="90648" y="40376"/>
                  <a:pt x="91053" y="40584"/>
                </a:cubicBezTo>
                <a:cubicBezTo>
                  <a:pt x="97011" y="43198"/>
                  <a:pt x="103373" y="44708"/>
                  <a:pt x="109852" y="45038"/>
                </a:cubicBezTo>
                <a:cubicBezTo>
                  <a:pt x="112166" y="45472"/>
                  <a:pt x="114538" y="44882"/>
                  <a:pt x="116388" y="43418"/>
                </a:cubicBezTo>
                <a:cubicBezTo>
                  <a:pt x="118124" y="40752"/>
                  <a:pt x="118818" y="37541"/>
                  <a:pt x="118356" y="34395"/>
                </a:cubicBezTo>
                <a:lnTo>
                  <a:pt x="118356" y="33238"/>
                </a:lnTo>
                <a:cubicBezTo>
                  <a:pt x="118356" y="26990"/>
                  <a:pt x="129924" y="16636"/>
                  <a:pt x="138948" y="17562"/>
                </a:cubicBezTo>
                <a:cubicBezTo>
                  <a:pt x="143055" y="17967"/>
                  <a:pt x="144328" y="15017"/>
                  <a:pt x="145600" y="11026"/>
                </a:cubicBezTo>
                <a:cubicBezTo>
                  <a:pt x="146294" y="8885"/>
                  <a:pt x="146872" y="7092"/>
                  <a:pt x="148550" y="7092"/>
                </a:cubicBezTo>
                <a:cubicBezTo>
                  <a:pt x="152541" y="6918"/>
                  <a:pt x="156301" y="5068"/>
                  <a:pt x="158847" y="2002"/>
                </a:cubicBezTo>
                <a:cubicBezTo>
                  <a:pt x="159945" y="463"/>
                  <a:pt x="161797" y="-341"/>
                  <a:pt x="163647" y="-81"/>
                </a:cubicBezTo>
                <a:cubicBezTo>
                  <a:pt x="169663" y="382"/>
                  <a:pt x="175448" y="2725"/>
                  <a:pt x="180075" y="6629"/>
                </a:cubicBezTo>
                <a:cubicBezTo>
                  <a:pt x="185281" y="10083"/>
                  <a:pt x="191239" y="12223"/>
                  <a:pt x="197428" y="12876"/>
                </a:cubicBezTo>
                <a:lnTo>
                  <a:pt x="200552" y="13571"/>
                </a:lnTo>
                <a:cubicBezTo>
                  <a:pt x="209113" y="15480"/>
                  <a:pt x="211079" y="40121"/>
                  <a:pt x="211079" y="43765"/>
                </a:cubicBezTo>
                <a:cubicBezTo>
                  <a:pt x="212179" y="46253"/>
                  <a:pt x="232945" y="46831"/>
                  <a:pt x="240812" y="47062"/>
                </a:cubicBezTo>
                <a:cubicBezTo>
                  <a:pt x="245324" y="47062"/>
                  <a:pt x="248910" y="47062"/>
                  <a:pt x="250530" y="47525"/>
                </a:cubicBezTo>
                <a:cubicBezTo>
                  <a:pt x="254463" y="48046"/>
                  <a:pt x="255967" y="51921"/>
                  <a:pt x="257760" y="56375"/>
                </a:cubicBezTo>
                <a:cubicBezTo>
                  <a:pt x="258917" y="59684"/>
                  <a:pt x="260537" y="62819"/>
                  <a:pt x="262561" y="65688"/>
                </a:cubicBezTo>
                <a:cubicBezTo>
                  <a:pt x="267478" y="72618"/>
                  <a:pt x="271527" y="80115"/>
                  <a:pt x="274593" y="88016"/>
                </a:cubicBezTo>
                <a:lnTo>
                  <a:pt x="274593" y="88537"/>
                </a:lnTo>
                <a:cubicBezTo>
                  <a:pt x="277948" y="92285"/>
                  <a:pt x="282055" y="95281"/>
                  <a:pt x="286682" y="97329"/>
                </a:cubicBezTo>
                <a:cubicBezTo>
                  <a:pt x="292409" y="100083"/>
                  <a:pt x="297615" y="103889"/>
                  <a:pt x="301953" y="108551"/>
                </a:cubicBezTo>
                <a:cubicBezTo>
                  <a:pt x="306580" y="115434"/>
                  <a:pt x="321505" y="122607"/>
                  <a:pt x="332900" y="126656"/>
                </a:cubicBezTo>
                <a:cubicBezTo>
                  <a:pt x="338858" y="129369"/>
                  <a:pt x="344237" y="133112"/>
                  <a:pt x="348865" y="137705"/>
                </a:cubicBezTo>
                <a:cubicBezTo>
                  <a:pt x="353319" y="141580"/>
                  <a:pt x="357484" y="145224"/>
                  <a:pt x="360434" y="145224"/>
                </a:cubicBezTo>
                <a:lnTo>
                  <a:pt x="361764" y="145224"/>
                </a:lnTo>
                <a:cubicBezTo>
                  <a:pt x="370093" y="146734"/>
                  <a:pt x="378134" y="149505"/>
                  <a:pt x="385596" y="153438"/>
                </a:cubicBezTo>
                <a:cubicBezTo>
                  <a:pt x="385943" y="153612"/>
                  <a:pt x="386174" y="153936"/>
                  <a:pt x="386232" y="154306"/>
                </a:cubicBezTo>
                <a:lnTo>
                  <a:pt x="388314" y="172353"/>
                </a:lnTo>
                <a:cubicBezTo>
                  <a:pt x="388372" y="172943"/>
                  <a:pt x="387968" y="173481"/>
                  <a:pt x="387389" y="173568"/>
                </a:cubicBezTo>
                <a:cubicBezTo>
                  <a:pt x="386406" y="173776"/>
                  <a:pt x="385364" y="173875"/>
                  <a:pt x="384324" y="173857"/>
                </a:cubicBezTo>
                <a:cubicBezTo>
                  <a:pt x="380679" y="173695"/>
                  <a:pt x="377151" y="172747"/>
                  <a:pt x="373911" y="171081"/>
                </a:cubicBezTo>
                <a:cubicBezTo>
                  <a:pt x="371655" y="169953"/>
                  <a:pt x="369226" y="169154"/>
                  <a:pt x="366739" y="168709"/>
                </a:cubicBezTo>
                <a:cubicBezTo>
                  <a:pt x="363731" y="168362"/>
                  <a:pt x="360954" y="171486"/>
                  <a:pt x="358120" y="174493"/>
                </a:cubicBezTo>
                <a:cubicBezTo>
                  <a:pt x="355286" y="177501"/>
                  <a:pt x="351699" y="181782"/>
                  <a:pt x="347535" y="181782"/>
                </a:cubicBezTo>
                <a:cubicBezTo>
                  <a:pt x="346667" y="181770"/>
                  <a:pt x="345741" y="181614"/>
                  <a:pt x="344931" y="181319"/>
                </a:cubicBezTo>
                <a:cubicBezTo>
                  <a:pt x="344469" y="181238"/>
                  <a:pt x="343948" y="181238"/>
                  <a:pt x="343485" y="181319"/>
                </a:cubicBezTo>
                <a:cubicBezTo>
                  <a:pt x="337701" y="181319"/>
                  <a:pt x="333941" y="194912"/>
                  <a:pt x="331396" y="203878"/>
                </a:cubicBezTo>
                <a:lnTo>
                  <a:pt x="330239" y="207870"/>
                </a:lnTo>
                <a:cubicBezTo>
                  <a:pt x="328504" y="213654"/>
                  <a:pt x="319480" y="216257"/>
                  <a:pt x="309994" y="219091"/>
                </a:cubicBezTo>
                <a:cubicBezTo>
                  <a:pt x="300507" y="221926"/>
                  <a:pt x="290963" y="224876"/>
                  <a:pt x="291425" y="230082"/>
                </a:cubicBezTo>
                <a:cubicBezTo>
                  <a:pt x="291657" y="232939"/>
                  <a:pt x="290673" y="235768"/>
                  <a:pt x="288707" y="237833"/>
                </a:cubicBezTo>
                <a:cubicBezTo>
                  <a:pt x="284889" y="241772"/>
                  <a:pt x="279626" y="244040"/>
                  <a:pt x="274130" y="244138"/>
                </a:cubicBezTo>
                <a:close/>
                <a:moveTo>
                  <a:pt x="255678" y="233379"/>
                </a:moveTo>
                <a:cubicBezTo>
                  <a:pt x="259091" y="233379"/>
                  <a:pt x="266089" y="233379"/>
                  <a:pt x="267709" y="239163"/>
                </a:cubicBezTo>
                <a:cubicBezTo>
                  <a:pt x="268230" y="240957"/>
                  <a:pt x="270601" y="242056"/>
                  <a:pt x="274130" y="242056"/>
                </a:cubicBezTo>
                <a:cubicBezTo>
                  <a:pt x="278931" y="242084"/>
                  <a:pt x="283559" y="240257"/>
                  <a:pt x="287029" y="236965"/>
                </a:cubicBezTo>
                <a:cubicBezTo>
                  <a:pt x="288591" y="235351"/>
                  <a:pt x="289401" y="233130"/>
                  <a:pt x="289169" y="230892"/>
                </a:cubicBezTo>
                <a:cubicBezTo>
                  <a:pt x="288533" y="223719"/>
                  <a:pt x="298656" y="220711"/>
                  <a:pt x="309300" y="217530"/>
                </a:cubicBezTo>
                <a:cubicBezTo>
                  <a:pt x="317861" y="214984"/>
                  <a:pt x="326653" y="212382"/>
                  <a:pt x="328041" y="207870"/>
                </a:cubicBezTo>
                <a:cubicBezTo>
                  <a:pt x="328446" y="206655"/>
                  <a:pt x="328793" y="205325"/>
                  <a:pt x="329198" y="203936"/>
                </a:cubicBezTo>
                <a:cubicBezTo>
                  <a:pt x="332264" y="193119"/>
                  <a:pt x="336139" y="179699"/>
                  <a:pt x="343485" y="179699"/>
                </a:cubicBezTo>
                <a:cubicBezTo>
                  <a:pt x="344237" y="179694"/>
                  <a:pt x="345047" y="179832"/>
                  <a:pt x="345741" y="180104"/>
                </a:cubicBezTo>
                <a:cubicBezTo>
                  <a:pt x="349559" y="181550"/>
                  <a:pt x="353087" y="177733"/>
                  <a:pt x="356442" y="173915"/>
                </a:cubicBezTo>
                <a:cubicBezTo>
                  <a:pt x="359798" y="170097"/>
                  <a:pt x="362921" y="166453"/>
                  <a:pt x="367086" y="167147"/>
                </a:cubicBezTo>
                <a:cubicBezTo>
                  <a:pt x="369747" y="167633"/>
                  <a:pt x="372349" y="168472"/>
                  <a:pt x="374837" y="169635"/>
                </a:cubicBezTo>
                <a:cubicBezTo>
                  <a:pt x="378250" y="171468"/>
                  <a:pt x="382068" y="172330"/>
                  <a:pt x="385943" y="172122"/>
                </a:cubicBezTo>
                <a:lnTo>
                  <a:pt x="384092" y="155810"/>
                </a:lnTo>
                <a:cubicBezTo>
                  <a:pt x="381084" y="154364"/>
                  <a:pt x="366739" y="147596"/>
                  <a:pt x="360954" y="148116"/>
                </a:cubicBezTo>
                <a:lnTo>
                  <a:pt x="360318" y="148116"/>
                </a:lnTo>
                <a:cubicBezTo>
                  <a:pt x="356616" y="148116"/>
                  <a:pt x="352335" y="144357"/>
                  <a:pt x="347419" y="140018"/>
                </a:cubicBezTo>
                <a:cubicBezTo>
                  <a:pt x="342965" y="135645"/>
                  <a:pt x="337817" y="132065"/>
                  <a:pt x="332148" y="129433"/>
                </a:cubicBezTo>
                <a:cubicBezTo>
                  <a:pt x="319885" y="125095"/>
                  <a:pt x="304961" y="117864"/>
                  <a:pt x="300044" y="110460"/>
                </a:cubicBezTo>
                <a:cubicBezTo>
                  <a:pt x="295937" y="106087"/>
                  <a:pt x="291021" y="102518"/>
                  <a:pt x="285583" y="99932"/>
                </a:cubicBezTo>
                <a:cubicBezTo>
                  <a:pt x="279278" y="96346"/>
                  <a:pt x="274014" y="93222"/>
                  <a:pt x="272510" y="90099"/>
                </a:cubicBezTo>
                <a:lnTo>
                  <a:pt x="272510" y="89520"/>
                </a:lnTo>
                <a:cubicBezTo>
                  <a:pt x="269561" y="81804"/>
                  <a:pt x="265685" y="74481"/>
                  <a:pt x="260941" y="67713"/>
                </a:cubicBezTo>
                <a:cubicBezTo>
                  <a:pt x="258743" y="64688"/>
                  <a:pt x="257066" y="61356"/>
                  <a:pt x="255851" y="57822"/>
                </a:cubicBezTo>
                <a:cubicBezTo>
                  <a:pt x="254116" y="53425"/>
                  <a:pt x="252901" y="50707"/>
                  <a:pt x="250066" y="50360"/>
                </a:cubicBezTo>
                <a:cubicBezTo>
                  <a:pt x="248620" y="50360"/>
                  <a:pt x="244919" y="50070"/>
                  <a:pt x="240639" y="49955"/>
                </a:cubicBezTo>
                <a:cubicBezTo>
                  <a:pt x="219004" y="49318"/>
                  <a:pt x="208708" y="48335"/>
                  <a:pt x="208708" y="44170"/>
                </a:cubicBezTo>
                <a:cubicBezTo>
                  <a:pt x="208708" y="38097"/>
                  <a:pt x="205989" y="17504"/>
                  <a:pt x="199916" y="16174"/>
                </a:cubicBezTo>
                <a:lnTo>
                  <a:pt x="196792" y="15537"/>
                </a:lnTo>
                <a:cubicBezTo>
                  <a:pt x="190198" y="14774"/>
                  <a:pt x="183893" y="12408"/>
                  <a:pt x="178398" y="8654"/>
                </a:cubicBezTo>
                <a:cubicBezTo>
                  <a:pt x="174233" y="5166"/>
                  <a:pt x="169084" y="3066"/>
                  <a:pt x="163647" y="2638"/>
                </a:cubicBezTo>
                <a:cubicBezTo>
                  <a:pt x="162606" y="2638"/>
                  <a:pt x="161276" y="2638"/>
                  <a:pt x="160813" y="3622"/>
                </a:cubicBezTo>
                <a:cubicBezTo>
                  <a:pt x="157863" y="7387"/>
                  <a:pt x="153351" y="9655"/>
                  <a:pt x="148550" y="9811"/>
                </a:cubicBezTo>
                <a:cubicBezTo>
                  <a:pt x="148550" y="9811"/>
                  <a:pt x="148030" y="11257"/>
                  <a:pt x="147740" y="12182"/>
                </a:cubicBezTo>
                <a:cubicBezTo>
                  <a:pt x="146642" y="15595"/>
                  <a:pt x="144906" y="20975"/>
                  <a:pt x="138716" y="20281"/>
                </a:cubicBezTo>
                <a:lnTo>
                  <a:pt x="137907" y="20281"/>
                </a:lnTo>
                <a:cubicBezTo>
                  <a:pt x="130619" y="20281"/>
                  <a:pt x="120554" y="28899"/>
                  <a:pt x="120554" y="33758"/>
                </a:cubicBezTo>
                <a:lnTo>
                  <a:pt x="120554" y="34915"/>
                </a:lnTo>
                <a:cubicBezTo>
                  <a:pt x="121074" y="38663"/>
                  <a:pt x="120148" y="42470"/>
                  <a:pt x="117950" y="45559"/>
                </a:cubicBezTo>
                <a:cubicBezTo>
                  <a:pt x="115636" y="47514"/>
                  <a:pt x="112571" y="48341"/>
                  <a:pt x="109621" y="47814"/>
                </a:cubicBezTo>
                <a:cubicBezTo>
                  <a:pt x="103085" y="47462"/>
                  <a:pt x="96664" y="45975"/>
                  <a:pt x="90648" y="43418"/>
                </a:cubicBezTo>
                <a:cubicBezTo>
                  <a:pt x="88450" y="44963"/>
                  <a:pt x="85847" y="45813"/>
                  <a:pt x="83128" y="45848"/>
                </a:cubicBezTo>
                <a:cubicBezTo>
                  <a:pt x="77923" y="45507"/>
                  <a:pt x="73237" y="42684"/>
                  <a:pt x="70460" y="38270"/>
                </a:cubicBezTo>
                <a:cubicBezTo>
                  <a:pt x="61321" y="26007"/>
                  <a:pt x="46339" y="12819"/>
                  <a:pt x="37952" y="12819"/>
                </a:cubicBezTo>
                <a:cubicBezTo>
                  <a:pt x="32167" y="12819"/>
                  <a:pt x="14814" y="12819"/>
                  <a:pt x="10823" y="19297"/>
                </a:cubicBezTo>
                <a:cubicBezTo>
                  <a:pt x="9898" y="20732"/>
                  <a:pt x="9608" y="22513"/>
                  <a:pt x="10128" y="24156"/>
                </a:cubicBezTo>
                <a:cubicBezTo>
                  <a:pt x="12790" y="21518"/>
                  <a:pt x="16434" y="20171"/>
                  <a:pt x="20193" y="20454"/>
                </a:cubicBezTo>
                <a:lnTo>
                  <a:pt x="22565" y="20454"/>
                </a:lnTo>
                <a:cubicBezTo>
                  <a:pt x="34539" y="21495"/>
                  <a:pt x="36506" y="29998"/>
                  <a:pt x="38010" y="36882"/>
                </a:cubicBezTo>
                <a:cubicBezTo>
                  <a:pt x="39224" y="42204"/>
                  <a:pt x="40092" y="45269"/>
                  <a:pt x="43794" y="45501"/>
                </a:cubicBezTo>
                <a:cubicBezTo>
                  <a:pt x="52297" y="46195"/>
                  <a:pt x="61494" y="55971"/>
                  <a:pt x="61148" y="60772"/>
                </a:cubicBezTo>
                <a:cubicBezTo>
                  <a:pt x="61148" y="61524"/>
                  <a:pt x="60742" y="63953"/>
                  <a:pt x="57156" y="63953"/>
                </a:cubicBezTo>
                <a:lnTo>
                  <a:pt x="56346" y="63953"/>
                </a:lnTo>
                <a:cubicBezTo>
                  <a:pt x="52181" y="63976"/>
                  <a:pt x="48075" y="65052"/>
                  <a:pt x="44430" y="67077"/>
                </a:cubicBezTo>
                <a:cubicBezTo>
                  <a:pt x="40844" y="68957"/>
                  <a:pt x="36910" y="70056"/>
                  <a:pt x="32862" y="70316"/>
                </a:cubicBezTo>
                <a:cubicBezTo>
                  <a:pt x="31358" y="70333"/>
                  <a:pt x="29854" y="70079"/>
                  <a:pt x="28407" y="69564"/>
                </a:cubicBezTo>
                <a:cubicBezTo>
                  <a:pt x="26499" y="68928"/>
                  <a:pt x="24474" y="68118"/>
                  <a:pt x="22623" y="67308"/>
                </a:cubicBezTo>
                <a:cubicBezTo>
                  <a:pt x="18979" y="65497"/>
                  <a:pt x="15103" y="64323"/>
                  <a:pt x="11054" y="63837"/>
                </a:cubicBezTo>
                <a:cubicBezTo>
                  <a:pt x="8162" y="63808"/>
                  <a:pt x="5674" y="65937"/>
                  <a:pt x="5270" y="68812"/>
                </a:cubicBezTo>
                <a:lnTo>
                  <a:pt x="4865" y="70200"/>
                </a:lnTo>
                <a:cubicBezTo>
                  <a:pt x="2840" y="77315"/>
                  <a:pt x="700" y="84661"/>
                  <a:pt x="3187" y="88016"/>
                </a:cubicBezTo>
                <a:cubicBezTo>
                  <a:pt x="4923" y="89723"/>
                  <a:pt x="7410" y="90463"/>
                  <a:pt x="9782" y="89983"/>
                </a:cubicBezTo>
                <a:lnTo>
                  <a:pt x="11402" y="89983"/>
                </a:lnTo>
                <a:cubicBezTo>
                  <a:pt x="15797" y="89983"/>
                  <a:pt x="18516" y="91256"/>
                  <a:pt x="19557" y="93685"/>
                </a:cubicBezTo>
                <a:cubicBezTo>
                  <a:pt x="21061" y="97271"/>
                  <a:pt x="18343" y="102824"/>
                  <a:pt x="12269" y="108956"/>
                </a:cubicBezTo>
                <a:cubicBezTo>
                  <a:pt x="11632" y="109505"/>
                  <a:pt x="11112" y="110124"/>
                  <a:pt x="10650" y="110807"/>
                </a:cubicBezTo>
                <a:cubicBezTo>
                  <a:pt x="12096" y="110894"/>
                  <a:pt x="13484" y="110894"/>
                  <a:pt x="14930" y="110807"/>
                </a:cubicBezTo>
                <a:cubicBezTo>
                  <a:pt x="16723" y="110581"/>
                  <a:pt x="18516" y="110448"/>
                  <a:pt x="20309" y="110402"/>
                </a:cubicBezTo>
                <a:cubicBezTo>
                  <a:pt x="21987" y="110402"/>
                  <a:pt x="27077" y="110402"/>
                  <a:pt x="27945" y="114625"/>
                </a:cubicBezTo>
                <a:cubicBezTo>
                  <a:pt x="28465" y="116956"/>
                  <a:pt x="29507" y="119148"/>
                  <a:pt x="30953" y="121045"/>
                </a:cubicBezTo>
                <a:cubicBezTo>
                  <a:pt x="34481" y="125528"/>
                  <a:pt x="35464" y="131515"/>
                  <a:pt x="33556" y="136895"/>
                </a:cubicBezTo>
                <a:cubicBezTo>
                  <a:pt x="32399" y="146503"/>
                  <a:pt x="32399" y="156209"/>
                  <a:pt x="33556" y="165817"/>
                </a:cubicBezTo>
                <a:cubicBezTo>
                  <a:pt x="33556" y="167899"/>
                  <a:pt x="33556" y="169924"/>
                  <a:pt x="33902" y="171601"/>
                </a:cubicBezTo>
                <a:cubicBezTo>
                  <a:pt x="49579" y="171312"/>
                  <a:pt x="53512" y="169114"/>
                  <a:pt x="54437" y="167783"/>
                </a:cubicBezTo>
                <a:cubicBezTo>
                  <a:pt x="58718" y="161999"/>
                  <a:pt x="71791" y="150430"/>
                  <a:pt x="79542" y="150430"/>
                </a:cubicBezTo>
                <a:cubicBezTo>
                  <a:pt x="81567" y="150482"/>
                  <a:pt x="83649" y="150656"/>
                  <a:pt x="85673" y="150951"/>
                </a:cubicBezTo>
                <a:cubicBezTo>
                  <a:pt x="87524" y="151194"/>
                  <a:pt x="89318" y="151327"/>
                  <a:pt x="91168" y="151356"/>
                </a:cubicBezTo>
                <a:cubicBezTo>
                  <a:pt x="93772" y="151657"/>
                  <a:pt x="96375" y="150586"/>
                  <a:pt x="98052" y="148521"/>
                </a:cubicBezTo>
                <a:cubicBezTo>
                  <a:pt x="100713" y="144877"/>
                  <a:pt x="108985" y="144472"/>
                  <a:pt x="112397" y="144472"/>
                </a:cubicBezTo>
                <a:cubicBezTo>
                  <a:pt x="119802" y="144472"/>
                  <a:pt x="128709" y="146092"/>
                  <a:pt x="131313" y="149215"/>
                </a:cubicBezTo>
                <a:cubicBezTo>
                  <a:pt x="136866" y="153745"/>
                  <a:pt x="143518" y="156689"/>
                  <a:pt x="150632" y="157719"/>
                </a:cubicBezTo>
                <a:cubicBezTo>
                  <a:pt x="152368" y="157962"/>
                  <a:pt x="153872" y="158905"/>
                  <a:pt x="154855" y="160322"/>
                </a:cubicBezTo>
                <a:cubicBezTo>
                  <a:pt x="156879" y="163029"/>
                  <a:pt x="160177" y="164492"/>
                  <a:pt x="163532" y="164197"/>
                </a:cubicBezTo>
                <a:cubicBezTo>
                  <a:pt x="164457" y="164139"/>
                  <a:pt x="165383" y="164139"/>
                  <a:pt x="166308" y="164197"/>
                </a:cubicBezTo>
                <a:cubicBezTo>
                  <a:pt x="174175" y="164197"/>
                  <a:pt x="188173" y="167032"/>
                  <a:pt x="188173" y="172700"/>
                </a:cubicBezTo>
                <a:cubicBezTo>
                  <a:pt x="188173" y="177096"/>
                  <a:pt x="193495" y="181261"/>
                  <a:pt x="199164" y="181261"/>
                </a:cubicBezTo>
                <a:cubicBezTo>
                  <a:pt x="202866" y="181261"/>
                  <a:pt x="206047" y="185368"/>
                  <a:pt x="209113" y="189417"/>
                </a:cubicBezTo>
                <a:cubicBezTo>
                  <a:pt x="212179" y="193466"/>
                  <a:pt x="214897" y="196590"/>
                  <a:pt x="217211" y="196590"/>
                </a:cubicBezTo>
                <a:lnTo>
                  <a:pt x="217558" y="196590"/>
                </a:lnTo>
                <a:cubicBezTo>
                  <a:pt x="219988" y="196335"/>
                  <a:pt x="222417" y="196197"/>
                  <a:pt x="224846" y="196185"/>
                </a:cubicBezTo>
                <a:cubicBezTo>
                  <a:pt x="233697" y="196185"/>
                  <a:pt x="238209" y="197805"/>
                  <a:pt x="238209" y="200986"/>
                </a:cubicBezTo>
                <a:cubicBezTo>
                  <a:pt x="238498" y="211739"/>
                  <a:pt x="240002" y="222429"/>
                  <a:pt x="242663" y="232858"/>
                </a:cubicBezTo>
                <a:cubicBezTo>
                  <a:pt x="244514" y="231962"/>
                  <a:pt x="246596" y="231962"/>
                  <a:pt x="248447" y="232858"/>
                </a:cubicBezTo>
                <a:cubicBezTo>
                  <a:pt x="249720" y="233292"/>
                  <a:pt x="250992" y="233466"/>
                  <a:pt x="252322" y="23337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7" name="Forma libre: forma 426">
            <a:extLst>
              <a:ext uri="{FF2B5EF4-FFF2-40B4-BE49-F238E27FC236}">
                <a16:creationId xmlns:a16="http://schemas.microsoft.com/office/drawing/2014/main" id="{25E7D9C2-4021-9A2B-6F0F-0BCEF9486F52}"/>
              </a:ext>
            </a:extLst>
          </p:cNvPr>
          <p:cNvSpPr/>
          <p:nvPr/>
        </p:nvSpPr>
        <p:spPr>
          <a:xfrm>
            <a:off x="7378770" y="3320474"/>
            <a:ext cx="533234" cy="457297"/>
          </a:xfrm>
          <a:custGeom>
            <a:avLst/>
            <a:gdLst>
              <a:gd name="connsiteX0" fmla="*/ 488643 w 533234"/>
              <a:gd name="connsiteY0" fmla="*/ 456533 h 457297"/>
              <a:gd name="connsiteX1" fmla="*/ 488643 w 533234"/>
              <a:gd name="connsiteY1" fmla="*/ 456533 h 457297"/>
              <a:gd name="connsiteX2" fmla="*/ 459721 w 533234"/>
              <a:gd name="connsiteY2" fmla="*/ 454045 h 457297"/>
              <a:gd name="connsiteX3" fmla="*/ 430278 w 533234"/>
              <a:gd name="connsiteY3" fmla="*/ 449649 h 457297"/>
              <a:gd name="connsiteX4" fmla="*/ 363815 w 533234"/>
              <a:gd name="connsiteY4" fmla="*/ 435882 h 457297"/>
              <a:gd name="connsiteX5" fmla="*/ 359129 w 533234"/>
              <a:gd name="connsiteY5" fmla="*/ 422462 h 457297"/>
              <a:gd name="connsiteX6" fmla="*/ 343512 w 533234"/>
              <a:gd name="connsiteY6" fmla="*/ 400308 h 457297"/>
              <a:gd name="connsiteX7" fmla="*/ 338421 w 533234"/>
              <a:gd name="connsiteY7" fmla="*/ 399845 h 457297"/>
              <a:gd name="connsiteX8" fmla="*/ 318407 w 533234"/>
              <a:gd name="connsiteY8" fmla="*/ 406440 h 457297"/>
              <a:gd name="connsiteX9" fmla="*/ 299607 w 533234"/>
              <a:gd name="connsiteY9" fmla="*/ 412224 h 457297"/>
              <a:gd name="connsiteX10" fmla="*/ 236673 w 533234"/>
              <a:gd name="connsiteY10" fmla="*/ 388045 h 457297"/>
              <a:gd name="connsiteX11" fmla="*/ 215097 w 533234"/>
              <a:gd name="connsiteY11" fmla="*/ 376071 h 457297"/>
              <a:gd name="connsiteX12" fmla="*/ 203528 w 533234"/>
              <a:gd name="connsiteY12" fmla="*/ 371675 h 457297"/>
              <a:gd name="connsiteX13" fmla="*/ 191613 w 533234"/>
              <a:gd name="connsiteY13" fmla="*/ 355710 h 457297"/>
              <a:gd name="connsiteX14" fmla="*/ 187332 w 533234"/>
              <a:gd name="connsiteY14" fmla="*/ 346166 h 457297"/>
              <a:gd name="connsiteX15" fmla="*/ 160608 w 533234"/>
              <a:gd name="connsiteY15" fmla="*/ 303997 h 457297"/>
              <a:gd name="connsiteX16" fmla="*/ 155112 w 533234"/>
              <a:gd name="connsiteY16" fmla="*/ 305270 h 457297"/>
              <a:gd name="connsiteX17" fmla="*/ 147246 w 533234"/>
              <a:gd name="connsiteY17" fmla="*/ 306890 h 457297"/>
              <a:gd name="connsiteX18" fmla="*/ 140767 w 533234"/>
              <a:gd name="connsiteY18" fmla="*/ 304576 h 457297"/>
              <a:gd name="connsiteX19" fmla="*/ 136197 w 533234"/>
              <a:gd name="connsiteY19" fmla="*/ 304576 h 457297"/>
              <a:gd name="connsiteX20" fmla="*/ 128967 w 533234"/>
              <a:gd name="connsiteY20" fmla="*/ 307873 h 457297"/>
              <a:gd name="connsiteX21" fmla="*/ 122662 w 533234"/>
              <a:gd name="connsiteY21" fmla="*/ 308972 h 457297"/>
              <a:gd name="connsiteX22" fmla="*/ 121563 w 533234"/>
              <a:gd name="connsiteY22" fmla="*/ 308972 h 457297"/>
              <a:gd name="connsiteX23" fmla="*/ 120290 w 533234"/>
              <a:gd name="connsiteY23" fmla="*/ 307699 h 457297"/>
              <a:gd name="connsiteX24" fmla="*/ 105829 w 533234"/>
              <a:gd name="connsiteY24" fmla="*/ 286586 h 457297"/>
              <a:gd name="connsiteX25" fmla="*/ 100566 w 533234"/>
              <a:gd name="connsiteY25" fmla="*/ 275364 h 457297"/>
              <a:gd name="connsiteX26" fmla="*/ 96169 w 533234"/>
              <a:gd name="connsiteY26" fmla="*/ 268597 h 457297"/>
              <a:gd name="connsiteX27" fmla="*/ 97904 w 533234"/>
              <a:gd name="connsiteY27" fmla="*/ 260036 h 457297"/>
              <a:gd name="connsiteX28" fmla="*/ 98598 w 533234"/>
              <a:gd name="connsiteY28" fmla="*/ 250838 h 457297"/>
              <a:gd name="connsiteX29" fmla="*/ 94434 w 533234"/>
              <a:gd name="connsiteY29" fmla="*/ 244013 h 457297"/>
              <a:gd name="connsiteX30" fmla="*/ 86336 w 533234"/>
              <a:gd name="connsiteY30" fmla="*/ 234989 h 457297"/>
              <a:gd name="connsiteX31" fmla="*/ 55158 w 533234"/>
              <a:gd name="connsiteY31" fmla="*/ 213182 h 457297"/>
              <a:gd name="connsiteX32" fmla="*/ 42779 w 533234"/>
              <a:gd name="connsiteY32" fmla="*/ 199299 h 457297"/>
              <a:gd name="connsiteX33" fmla="*/ 36474 w 533234"/>
              <a:gd name="connsiteY33" fmla="*/ 181946 h 457297"/>
              <a:gd name="connsiteX34" fmla="*/ 39540 w 533234"/>
              <a:gd name="connsiteY34" fmla="*/ 172517 h 457297"/>
              <a:gd name="connsiteX35" fmla="*/ 43646 w 533234"/>
              <a:gd name="connsiteY35" fmla="*/ 162568 h 457297"/>
              <a:gd name="connsiteX36" fmla="*/ 50877 w 533234"/>
              <a:gd name="connsiteY36" fmla="*/ 150999 h 457297"/>
              <a:gd name="connsiteX37" fmla="*/ 52497 w 533234"/>
              <a:gd name="connsiteY37" fmla="*/ 150479 h 457297"/>
              <a:gd name="connsiteX38" fmla="*/ 52497 w 533234"/>
              <a:gd name="connsiteY38" fmla="*/ 144694 h 457297"/>
              <a:gd name="connsiteX39" fmla="*/ 52497 w 533234"/>
              <a:gd name="connsiteY39" fmla="*/ 135728 h 457297"/>
              <a:gd name="connsiteX40" fmla="*/ 51976 w 533234"/>
              <a:gd name="connsiteY40" fmla="*/ 131274 h 457297"/>
              <a:gd name="connsiteX41" fmla="*/ 42779 w 533234"/>
              <a:gd name="connsiteY41" fmla="*/ 127515 h 457297"/>
              <a:gd name="connsiteX42" fmla="*/ 26583 w 533234"/>
              <a:gd name="connsiteY42" fmla="*/ 110161 h 457297"/>
              <a:gd name="connsiteX43" fmla="*/ 20798 w 533234"/>
              <a:gd name="connsiteY43" fmla="*/ 97204 h 457297"/>
              <a:gd name="connsiteX44" fmla="*/ 17038 w 533234"/>
              <a:gd name="connsiteY44" fmla="*/ 88238 h 457297"/>
              <a:gd name="connsiteX45" fmla="*/ 13336 w 533234"/>
              <a:gd name="connsiteY45" fmla="*/ 78810 h 457297"/>
              <a:gd name="connsiteX46" fmla="*/ 4891 w 533234"/>
              <a:gd name="connsiteY46" fmla="*/ 68108 h 457297"/>
              <a:gd name="connsiteX47" fmla="*/ 3561 w 533234"/>
              <a:gd name="connsiteY47" fmla="*/ 51044 h 457297"/>
              <a:gd name="connsiteX48" fmla="*/ 4197 w 533234"/>
              <a:gd name="connsiteY48" fmla="*/ 38376 h 457297"/>
              <a:gd name="connsiteX49" fmla="*/ 900 w 533234"/>
              <a:gd name="connsiteY49" fmla="*/ 15933 h 457297"/>
              <a:gd name="connsiteX50" fmla="*/ 4081 w 533234"/>
              <a:gd name="connsiteY50" fmla="*/ 14140 h 457297"/>
              <a:gd name="connsiteX51" fmla="*/ 5759 w 533234"/>
              <a:gd name="connsiteY51" fmla="*/ 9165 h 457297"/>
              <a:gd name="connsiteX52" fmla="*/ 11543 w 533234"/>
              <a:gd name="connsiteY52" fmla="*/ -90 h 457297"/>
              <a:gd name="connsiteX53" fmla="*/ 13799 w 533234"/>
              <a:gd name="connsiteY53" fmla="*/ -90 h 457297"/>
              <a:gd name="connsiteX54" fmla="*/ 22823 w 533234"/>
              <a:gd name="connsiteY54" fmla="*/ 10033 h 457297"/>
              <a:gd name="connsiteX55" fmla="*/ 30227 w 533234"/>
              <a:gd name="connsiteY55" fmla="*/ 20503 h 457297"/>
              <a:gd name="connsiteX56" fmla="*/ 35607 w 533234"/>
              <a:gd name="connsiteY56" fmla="*/ 26923 h 457297"/>
              <a:gd name="connsiteX57" fmla="*/ 48216 w 533234"/>
              <a:gd name="connsiteY57" fmla="*/ 31146 h 457297"/>
              <a:gd name="connsiteX58" fmla="*/ 53133 w 533234"/>
              <a:gd name="connsiteY58" fmla="*/ 31493 h 457297"/>
              <a:gd name="connsiteX59" fmla="*/ 90790 w 533234"/>
              <a:gd name="connsiteY59" fmla="*/ 15181 h 457297"/>
              <a:gd name="connsiteX60" fmla="*/ 102358 w 533234"/>
              <a:gd name="connsiteY60" fmla="*/ 7545 h 457297"/>
              <a:gd name="connsiteX61" fmla="*/ 110688 w 533234"/>
              <a:gd name="connsiteY61" fmla="*/ 8876 h 457297"/>
              <a:gd name="connsiteX62" fmla="*/ 109300 w 533234"/>
              <a:gd name="connsiteY62" fmla="*/ 33865 h 457297"/>
              <a:gd name="connsiteX63" fmla="*/ 109300 w 533234"/>
              <a:gd name="connsiteY63" fmla="*/ 34443 h 457297"/>
              <a:gd name="connsiteX64" fmla="*/ 128158 w 533234"/>
              <a:gd name="connsiteY64" fmla="*/ 46475 h 457297"/>
              <a:gd name="connsiteX65" fmla="*/ 128910 w 533234"/>
              <a:gd name="connsiteY65" fmla="*/ 47458 h 457297"/>
              <a:gd name="connsiteX66" fmla="*/ 160781 w 533234"/>
              <a:gd name="connsiteY66" fmla="*/ 78636 h 457297"/>
              <a:gd name="connsiteX67" fmla="*/ 187448 w 533234"/>
              <a:gd name="connsiteY67" fmla="*/ 94543 h 457297"/>
              <a:gd name="connsiteX68" fmla="*/ 209949 w 533234"/>
              <a:gd name="connsiteY68" fmla="*/ 108599 h 457297"/>
              <a:gd name="connsiteX69" fmla="*/ 210817 w 533234"/>
              <a:gd name="connsiteY69" fmla="*/ 108599 h 457297"/>
              <a:gd name="connsiteX70" fmla="*/ 268661 w 533234"/>
              <a:gd name="connsiteY70" fmla="*/ 96221 h 457297"/>
              <a:gd name="connsiteX71" fmla="*/ 269355 w 533234"/>
              <a:gd name="connsiteY71" fmla="*/ 82569 h 457297"/>
              <a:gd name="connsiteX72" fmla="*/ 269644 w 533234"/>
              <a:gd name="connsiteY72" fmla="*/ 81760 h 457297"/>
              <a:gd name="connsiteX73" fmla="*/ 270454 w 533234"/>
              <a:gd name="connsiteY73" fmla="*/ 81355 h 457297"/>
              <a:gd name="connsiteX74" fmla="*/ 292088 w 533234"/>
              <a:gd name="connsiteY74" fmla="*/ 77537 h 457297"/>
              <a:gd name="connsiteX75" fmla="*/ 317192 w 533234"/>
              <a:gd name="connsiteY75" fmla="*/ 60184 h 457297"/>
              <a:gd name="connsiteX76" fmla="*/ 323324 w 533234"/>
              <a:gd name="connsiteY76" fmla="*/ 60704 h 457297"/>
              <a:gd name="connsiteX77" fmla="*/ 328819 w 533234"/>
              <a:gd name="connsiteY77" fmla="*/ 61109 h 457297"/>
              <a:gd name="connsiteX78" fmla="*/ 335703 w 533234"/>
              <a:gd name="connsiteY78" fmla="*/ 58275 h 457297"/>
              <a:gd name="connsiteX79" fmla="*/ 350048 w 533234"/>
              <a:gd name="connsiteY79" fmla="*/ 54226 h 457297"/>
              <a:gd name="connsiteX80" fmla="*/ 368963 w 533234"/>
              <a:gd name="connsiteY80" fmla="*/ 58969 h 457297"/>
              <a:gd name="connsiteX81" fmla="*/ 388283 w 533234"/>
              <a:gd name="connsiteY81" fmla="*/ 67472 h 457297"/>
              <a:gd name="connsiteX82" fmla="*/ 392506 w 533234"/>
              <a:gd name="connsiteY82" fmla="*/ 70075 h 457297"/>
              <a:gd name="connsiteX83" fmla="*/ 401182 w 533234"/>
              <a:gd name="connsiteY83" fmla="*/ 73951 h 457297"/>
              <a:gd name="connsiteX84" fmla="*/ 403959 w 533234"/>
              <a:gd name="connsiteY84" fmla="*/ 73951 h 457297"/>
              <a:gd name="connsiteX85" fmla="*/ 425824 w 533234"/>
              <a:gd name="connsiteY85" fmla="*/ 82454 h 457297"/>
              <a:gd name="connsiteX86" fmla="*/ 436815 w 533234"/>
              <a:gd name="connsiteY86" fmla="*/ 91015 h 457297"/>
              <a:gd name="connsiteX87" fmla="*/ 446764 w 533234"/>
              <a:gd name="connsiteY87" fmla="*/ 99171 h 457297"/>
              <a:gd name="connsiteX88" fmla="*/ 454862 w 533234"/>
              <a:gd name="connsiteY88" fmla="*/ 106344 h 457297"/>
              <a:gd name="connsiteX89" fmla="*/ 455209 w 533234"/>
              <a:gd name="connsiteY89" fmla="*/ 106344 h 457297"/>
              <a:gd name="connsiteX90" fmla="*/ 462497 w 533234"/>
              <a:gd name="connsiteY90" fmla="*/ 105939 h 457297"/>
              <a:gd name="connsiteX91" fmla="*/ 475859 w 533234"/>
              <a:gd name="connsiteY91" fmla="*/ 110740 h 457297"/>
              <a:gd name="connsiteX92" fmla="*/ 480718 w 533234"/>
              <a:gd name="connsiteY92" fmla="*/ 143827 h 457297"/>
              <a:gd name="connsiteX93" fmla="*/ 480140 w 533234"/>
              <a:gd name="connsiteY93" fmla="*/ 145157 h 457297"/>
              <a:gd name="connsiteX94" fmla="*/ 474702 w 533234"/>
              <a:gd name="connsiteY94" fmla="*/ 156726 h 457297"/>
              <a:gd name="connsiteX95" fmla="*/ 467183 w 533234"/>
              <a:gd name="connsiteY95" fmla="*/ 174079 h 457297"/>
              <a:gd name="connsiteX96" fmla="*/ 463885 w 533234"/>
              <a:gd name="connsiteY96" fmla="*/ 178765 h 457297"/>
              <a:gd name="connsiteX97" fmla="*/ 462613 w 533234"/>
              <a:gd name="connsiteY97" fmla="*/ 182698 h 457297"/>
              <a:gd name="connsiteX98" fmla="*/ 460473 w 533234"/>
              <a:gd name="connsiteY98" fmla="*/ 201613 h 457297"/>
              <a:gd name="connsiteX99" fmla="*/ 460473 w 533234"/>
              <a:gd name="connsiteY99" fmla="*/ 213818 h 457297"/>
              <a:gd name="connsiteX100" fmla="*/ 460473 w 533234"/>
              <a:gd name="connsiteY100" fmla="*/ 231171 h 457297"/>
              <a:gd name="connsiteX101" fmla="*/ 463943 w 533234"/>
              <a:gd name="connsiteY101" fmla="*/ 253904 h 457297"/>
              <a:gd name="connsiteX102" fmla="*/ 464753 w 533234"/>
              <a:gd name="connsiteY102" fmla="*/ 262407 h 457297"/>
              <a:gd name="connsiteX103" fmla="*/ 472215 w 533234"/>
              <a:gd name="connsiteY103" fmla="*/ 264952 h 457297"/>
              <a:gd name="connsiteX104" fmla="*/ 491767 w 533234"/>
              <a:gd name="connsiteY104" fmla="*/ 276521 h 457297"/>
              <a:gd name="connsiteX105" fmla="*/ 473661 w 533234"/>
              <a:gd name="connsiteY105" fmla="*/ 304807 h 457297"/>
              <a:gd name="connsiteX106" fmla="*/ 463769 w 533234"/>
              <a:gd name="connsiteY106" fmla="*/ 315913 h 457297"/>
              <a:gd name="connsiteX107" fmla="*/ 471926 w 533234"/>
              <a:gd name="connsiteY107" fmla="*/ 326846 h 457297"/>
              <a:gd name="connsiteX108" fmla="*/ 482048 w 533234"/>
              <a:gd name="connsiteY108" fmla="*/ 339109 h 457297"/>
              <a:gd name="connsiteX109" fmla="*/ 509467 w 533234"/>
              <a:gd name="connsiteY109" fmla="*/ 362247 h 457297"/>
              <a:gd name="connsiteX110" fmla="*/ 519358 w 533234"/>
              <a:gd name="connsiteY110" fmla="*/ 382781 h 457297"/>
              <a:gd name="connsiteX111" fmla="*/ 522308 w 533234"/>
              <a:gd name="connsiteY111" fmla="*/ 392384 h 457297"/>
              <a:gd name="connsiteX112" fmla="*/ 533125 w 533234"/>
              <a:gd name="connsiteY112" fmla="*/ 410373 h 457297"/>
              <a:gd name="connsiteX113" fmla="*/ 528555 w 533234"/>
              <a:gd name="connsiteY113" fmla="*/ 415116 h 457297"/>
              <a:gd name="connsiteX114" fmla="*/ 504145 w 533234"/>
              <a:gd name="connsiteY114" fmla="*/ 422578 h 457297"/>
              <a:gd name="connsiteX115" fmla="*/ 487486 w 533234"/>
              <a:gd name="connsiteY115" fmla="*/ 449476 h 457297"/>
              <a:gd name="connsiteX116" fmla="*/ 487486 w 533234"/>
              <a:gd name="connsiteY116" fmla="*/ 450112 h 457297"/>
              <a:gd name="connsiteX117" fmla="*/ 488122 w 533234"/>
              <a:gd name="connsiteY117" fmla="*/ 456301 h 457297"/>
              <a:gd name="connsiteX118" fmla="*/ 488122 w 533234"/>
              <a:gd name="connsiteY118" fmla="*/ 457169 h 457297"/>
              <a:gd name="connsiteX119" fmla="*/ 488643 w 533234"/>
              <a:gd name="connsiteY119" fmla="*/ 456533 h 457297"/>
              <a:gd name="connsiteX120" fmla="*/ 338248 w 533234"/>
              <a:gd name="connsiteY120" fmla="*/ 397589 h 457297"/>
              <a:gd name="connsiteX121" fmla="*/ 344032 w 533234"/>
              <a:gd name="connsiteY121" fmla="*/ 398110 h 457297"/>
              <a:gd name="connsiteX122" fmla="*/ 361385 w 533234"/>
              <a:gd name="connsiteY122" fmla="*/ 422000 h 457297"/>
              <a:gd name="connsiteX123" fmla="*/ 365666 w 533234"/>
              <a:gd name="connsiteY123" fmla="*/ 434436 h 457297"/>
              <a:gd name="connsiteX124" fmla="*/ 430625 w 533234"/>
              <a:gd name="connsiteY124" fmla="*/ 447394 h 457297"/>
              <a:gd name="connsiteX125" fmla="*/ 460415 w 533234"/>
              <a:gd name="connsiteY125" fmla="*/ 451905 h 457297"/>
              <a:gd name="connsiteX126" fmla="*/ 487428 w 533234"/>
              <a:gd name="connsiteY126" fmla="*/ 454277 h 457297"/>
              <a:gd name="connsiteX127" fmla="*/ 486907 w 533234"/>
              <a:gd name="connsiteY127" fmla="*/ 449302 h 457297"/>
              <a:gd name="connsiteX128" fmla="*/ 486907 w 533234"/>
              <a:gd name="connsiteY128" fmla="*/ 448724 h 457297"/>
              <a:gd name="connsiteX129" fmla="*/ 504839 w 533234"/>
              <a:gd name="connsiteY129" fmla="*/ 419802 h 457297"/>
              <a:gd name="connsiteX130" fmla="*/ 529944 w 533234"/>
              <a:gd name="connsiteY130" fmla="*/ 412108 h 457297"/>
              <a:gd name="connsiteX131" fmla="*/ 532604 w 533234"/>
              <a:gd name="connsiteY131" fmla="*/ 409390 h 457297"/>
              <a:gd name="connsiteX132" fmla="*/ 523291 w 533234"/>
              <a:gd name="connsiteY132" fmla="*/ 393830 h 457297"/>
              <a:gd name="connsiteX133" fmla="*/ 518837 w 533234"/>
              <a:gd name="connsiteY133" fmla="*/ 382261 h 457297"/>
              <a:gd name="connsiteX134" fmla="*/ 510276 w 533234"/>
              <a:gd name="connsiteY134" fmla="*/ 363577 h 457297"/>
              <a:gd name="connsiteX135" fmla="*/ 481354 w 533234"/>
              <a:gd name="connsiteY135" fmla="*/ 339225 h 457297"/>
              <a:gd name="connsiteX136" fmla="*/ 471752 w 533234"/>
              <a:gd name="connsiteY136" fmla="*/ 327656 h 457297"/>
              <a:gd name="connsiteX137" fmla="*/ 462960 w 533234"/>
              <a:gd name="connsiteY137" fmla="*/ 314641 h 457297"/>
              <a:gd name="connsiteX138" fmla="*/ 473488 w 533234"/>
              <a:gd name="connsiteY138" fmla="*/ 302320 h 457297"/>
              <a:gd name="connsiteX139" fmla="*/ 490841 w 533234"/>
              <a:gd name="connsiteY139" fmla="*/ 276406 h 457297"/>
              <a:gd name="connsiteX140" fmla="*/ 472967 w 533234"/>
              <a:gd name="connsiteY140" fmla="*/ 266341 h 457297"/>
              <a:gd name="connsiteX141" fmla="*/ 463943 w 533234"/>
              <a:gd name="connsiteY141" fmla="*/ 262523 h 457297"/>
              <a:gd name="connsiteX142" fmla="*/ 462960 w 533234"/>
              <a:gd name="connsiteY142" fmla="*/ 253037 h 457297"/>
              <a:gd name="connsiteX143" fmla="*/ 459605 w 533234"/>
              <a:gd name="connsiteY143" fmla="*/ 231229 h 457297"/>
              <a:gd name="connsiteX144" fmla="*/ 459605 w 533234"/>
              <a:gd name="connsiteY144" fmla="*/ 212603 h 457297"/>
              <a:gd name="connsiteX145" fmla="*/ 459605 w 533234"/>
              <a:gd name="connsiteY145" fmla="*/ 202249 h 457297"/>
              <a:gd name="connsiteX146" fmla="*/ 461456 w 533234"/>
              <a:gd name="connsiteY146" fmla="*/ 181310 h 457297"/>
              <a:gd name="connsiteX147" fmla="*/ 462671 w 533234"/>
              <a:gd name="connsiteY147" fmla="*/ 177608 h 457297"/>
              <a:gd name="connsiteX148" fmla="*/ 466489 w 533234"/>
              <a:gd name="connsiteY148" fmla="*/ 171823 h 457297"/>
              <a:gd name="connsiteX149" fmla="*/ 473430 w 533234"/>
              <a:gd name="connsiteY149" fmla="*/ 156321 h 457297"/>
              <a:gd name="connsiteX150" fmla="*/ 479214 w 533234"/>
              <a:gd name="connsiteY150" fmla="*/ 143248 h 457297"/>
              <a:gd name="connsiteX151" fmla="*/ 474529 w 533234"/>
              <a:gd name="connsiteY151" fmla="*/ 110335 h 457297"/>
              <a:gd name="connsiteX152" fmla="*/ 463423 w 533234"/>
              <a:gd name="connsiteY152" fmla="*/ 107790 h 457297"/>
              <a:gd name="connsiteX153" fmla="*/ 456424 w 533234"/>
              <a:gd name="connsiteY153" fmla="*/ 108195 h 457297"/>
              <a:gd name="connsiteX154" fmla="*/ 455787 w 533234"/>
              <a:gd name="connsiteY154" fmla="*/ 108195 h 457297"/>
              <a:gd name="connsiteX155" fmla="*/ 445896 w 533234"/>
              <a:gd name="connsiteY155" fmla="*/ 100039 h 457297"/>
              <a:gd name="connsiteX156" fmla="*/ 437740 w 533234"/>
              <a:gd name="connsiteY156" fmla="*/ 92808 h 457297"/>
              <a:gd name="connsiteX157" fmla="*/ 424494 w 533234"/>
              <a:gd name="connsiteY157" fmla="*/ 81991 h 457297"/>
              <a:gd name="connsiteX158" fmla="*/ 404884 w 533234"/>
              <a:gd name="connsiteY158" fmla="*/ 75744 h 457297"/>
              <a:gd name="connsiteX159" fmla="*/ 402339 w 533234"/>
              <a:gd name="connsiteY159" fmla="*/ 75744 h 457297"/>
              <a:gd name="connsiteX160" fmla="*/ 391812 w 533234"/>
              <a:gd name="connsiteY160" fmla="*/ 71174 h 457297"/>
              <a:gd name="connsiteX161" fmla="*/ 389209 w 533234"/>
              <a:gd name="connsiteY161" fmla="*/ 69265 h 457297"/>
              <a:gd name="connsiteX162" fmla="*/ 368211 w 533234"/>
              <a:gd name="connsiteY162" fmla="*/ 60010 h 457297"/>
              <a:gd name="connsiteX163" fmla="*/ 350858 w 533234"/>
              <a:gd name="connsiteY163" fmla="*/ 56019 h 457297"/>
              <a:gd name="connsiteX164" fmla="*/ 338363 w 533234"/>
              <a:gd name="connsiteY164" fmla="*/ 59085 h 457297"/>
              <a:gd name="connsiteX165" fmla="*/ 329629 w 533234"/>
              <a:gd name="connsiteY165" fmla="*/ 62902 h 457297"/>
              <a:gd name="connsiteX166" fmla="*/ 323844 w 533234"/>
              <a:gd name="connsiteY166" fmla="*/ 62440 h 457297"/>
              <a:gd name="connsiteX167" fmla="*/ 318060 w 533234"/>
              <a:gd name="connsiteY167" fmla="*/ 61977 h 457297"/>
              <a:gd name="connsiteX168" fmla="*/ 294922 w 533234"/>
              <a:gd name="connsiteY168" fmla="*/ 78463 h 457297"/>
              <a:gd name="connsiteX169" fmla="*/ 272595 w 533234"/>
              <a:gd name="connsiteY169" fmla="*/ 83206 h 457297"/>
              <a:gd name="connsiteX170" fmla="*/ 271495 w 533234"/>
              <a:gd name="connsiteY170" fmla="*/ 97030 h 457297"/>
              <a:gd name="connsiteX171" fmla="*/ 211626 w 533234"/>
              <a:gd name="connsiteY171" fmla="*/ 110450 h 457297"/>
              <a:gd name="connsiteX172" fmla="*/ 186522 w 533234"/>
              <a:gd name="connsiteY172" fmla="*/ 95642 h 457297"/>
              <a:gd name="connsiteX173" fmla="*/ 161533 w 533234"/>
              <a:gd name="connsiteY173" fmla="*/ 80545 h 457297"/>
              <a:gd name="connsiteX174" fmla="*/ 127463 w 533234"/>
              <a:gd name="connsiteY174" fmla="*/ 47979 h 457297"/>
              <a:gd name="connsiteX175" fmla="*/ 107912 w 533234"/>
              <a:gd name="connsiteY175" fmla="*/ 34906 h 457297"/>
              <a:gd name="connsiteX176" fmla="*/ 107912 w 533234"/>
              <a:gd name="connsiteY176" fmla="*/ 32534 h 457297"/>
              <a:gd name="connsiteX177" fmla="*/ 109415 w 533234"/>
              <a:gd name="connsiteY177" fmla="*/ 9743 h 457297"/>
              <a:gd name="connsiteX178" fmla="*/ 104036 w 533234"/>
              <a:gd name="connsiteY178" fmla="*/ 9223 h 457297"/>
              <a:gd name="connsiteX179" fmla="*/ 92467 w 533234"/>
              <a:gd name="connsiteY179" fmla="*/ 16685 h 457297"/>
              <a:gd name="connsiteX180" fmla="*/ 53538 w 533234"/>
              <a:gd name="connsiteY180" fmla="*/ 33402 h 457297"/>
              <a:gd name="connsiteX181" fmla="*/ 48332 w 533234"/>
              <a:gd name="connsiteY181" fmla="*/ 33055 h 457297"/>
              <a:gd name="connsiteX182" fmla="*/ 33755 w 533234"/>
              <a:gd name="connsiteY182" fmla="*/ 26461 h 457297"/>
              <a:gd name="connsiteX183" fmla="*/ 29706 w 533234"/>
              <a:gd name="connsiteY183" fmla="*/ 22180 h 457297"/>
              <a:gd name="connsiteX184" fmla="*/ 21550 w 533234"/>
              <a:gd name="connsiteY184" fmla="*/ 10495 h 457297"/>
              <a:gd name="connsiteX185" fmla="*/ 14320 w 533234"/>
              <a:gd name="connsiteY185" fmla="*/ 2050 h 457297"/>
              <a:gd name="connsiteX186" fmla="*/ 8535 w 533234"/>
              <a:gd name="connsiteY186" fmla="*/ 8818 h 457297"/>
              <a:gd name="connsiteX187" fmla="*/ 4601 w 533234"/>
              <a:gd name="connsiteY187" fmla="*/ 16048 h 457297"/>
              <a:gd name="connsiteX188" fmla="*/ 3329 w 533234"/>
              <a:gd name="connsiteY188" fmla="*/ 16800 h 457297"/>
              <a:gd name="connsiteX189" fmla="*/ 6685 w 533234"/>
              <a:gd name="connsiteY189" fmla="*/ 37046 h 457297"/>
              <a:gd name="connsiteX190" fmla="*/ 6337 w 533234"/>
              <a:gd name="connsiteY190" fmla="*/ 50986 h 457297"/>
              <a:gd name="connsiteX191" fmla="*/ 5990 w 533234"/>
              <a:gd name="connsiteY191" fmla="*/ 65563 h 457297"/>
              <a:gd name="connsiteX192" fmla="*/ 15882 w 533234"/>
              <a:gd name="connsiteY192" fmla="*/ 77132 h 457297"/>
              <a:gd name="connsiteX193" fmla="*/ 19699 w 533234"/>
              <a:gd name="connsiteY193" fmla="*/ 88412 h 457297"/>
              <a:gd name="connsiteX194" fmla="*/ 23228 w 533234"/>
              <a:gd name="connsiteY194" fmla="*/ 95353 h 457297"/>
              <a:gd name="connsiteX195" fmla="*/ 29475 w 533234"/>
              <a:gd name="connsiteY195" fmla="*/ 109583 h 457297"/>
              <a:gd name="connsiteX196" fmla="*/ 43415 w 533234"/>
              <a:gd name="connsiteY196" fmla="*/ 124680 h 457297"/>
              <a:gd name="connsiteX197" fmla="*/ 54463 w 533234"/>
              <a:gd name="connsiteY197" fmla="*/ 129365 h 457297"/>
              <a:gd name="connsiteX198" fmla="*/ 55273 w 533234"/>
              <a:gd name="connsiteY198" fmla="*/ 135844 h 457297"/>
              <a:gd name="connsiteX199" fmla="*/ 55273 w 533234"/>
              <a:gd name="connsiteY199" fmla="*/ 143827 h 457297"/>
              <a:gd name="connsiteX200" fmla="*/ 54406 w 533234"/>
              <a:gd name="connsiteY200" fmla="*/ 151520 h 457297"/>
              <a:gd name="connsiteX201" fmla="*/ 51109 w 533234"/>
              <a:gd name="connsiteY201" fmla="*/ 152792 h 457297"/>
              <a:gd name="connsiteX202" fmla="*/ 46076 w 533234"/>
              <a:gd name="connsiteY202" fmla="*/ 162799 h 457297"/>
              <a:gd name="connsiteX203" fmla="*/ 40928 w 533234"/>
              <a:gd name="connsiteY203" fmla="*/ 174368 h 457297"/>
              <a:gd name="connsiteX204" fmla="*/ 38961 w 533234"/>
              <a:gd name="connsiteY204" fmla="*/ 181715 h 457297"/>
              <a:gd name="connsiteX205" fmla="*/ 44052 w 533234"/>
              <a:gd name="connsiteY205" fmla="*/ 197217 h 457297"/>
              <a:gd name="connsiteX206" fmla="*/ 57587 w 533234"/>
              <a:gd name="connsiteY206" fmla="*/ 213471 h 457297"/>
              <a:gd name="connsiteX207" fmla="*/ 86857 w 533234"/>
              <a:gd name="connsiteY207" fmla="*/ 232733 h 457297"/>
              <a:gd name="connsiteX208" fmla="*/ 96748 w 533234"/>
              <a:gd name="connsiteY208" fmla="*/ 242972 h 457297"/>
              <a:gd name="connsiteX209" fmla="*/ 100450 w 533234"/>
              <a:gd name="connsiteY209" fmla="*/ 249161 h 457297"/>
              <a:gd name="connsiteX210" fmla="*/ 100450 w 533234"/>
              <a:gd name="connsiteY210" fmla="*/ 260730 h 457297"/>
              <a:gd name="connsiteX211" fmla="*/ 98830 w 533234"/>
              <a:gd name="connsiteY211" fmla="*/ 268018 h 457297"/>
              <a:gd name="connsiteX212" fmla="*/ 102648 w 533234"/>
              <a:gd name="connsiteY212" fmla="*/ 273803 h 457297"/>
              <a:gd name="connsiteX213" fmla="*/ 108432 w 533234"/>
              <a:gd name="connsiteY213" fmla="*/ 286876 h 457297"/>
              <a:gd name="connsiteX214" fmla="*/ 122257 w 533234"/>
              <a:gd name="connsiteY214" fmla="*/ 306138 h 457297"/>
              <a:gd name="connsiteX215" fmla="*/ 123067 w 533234"/>
              <a:gd name="connsiteY215" fmla="*/ 306947 h 457297"/>
              <a:gd name="connsiteX216" fmla="*/ 129314 w 533234"/>
              <a:gd name="connsiteY216" fmla="*/ 305906 h 457297"/>
              <a:gd name="connsiteX217" fmla="*/ 135099 w 533234"/>
              <a:gd name="connsiteY217" fmla="*/ 303245 h 457297"/>
              <a:gd name="connsiteX218" fmla="*/ 138859 w 533234"/>
              <a:gd name="connsiteY218" fmla="*/ 301163 h 457297"/>
              <a:gd name="connsiteX219" fmla="*/ 142734 w 533234"/>
              <a:gd name="connsiteY219" fmla="*/ 302956 h 457297"/>
              <a:gd name="connsiteX220" fmla="*/ 147709 w 533234"/>
              <a:gd name="connsiteY220" fmla="*/ 304749 h 457297"/>
              <a:gd name="connsiteX221" fmla="*/ 154939 w 533234"/>
              <a:gd name="connsiteY221" fmla="*/ 303245 h 457297"/>
              <a:gd name="connsiteX222" fmla="*/ 160724 w 533234"/>
              <a:gd name="connsiteY222" fmla="*/ 301857 h 457297"/>
              <a:gd name="connsiteX223" fmla="*/ 160724 w 533234"/>
              <a:gd name="connsiteY223" fmla="*/ 301857 h 457297"/>
              <a:gd name="connsiteX224" fmla="*/ 189646 w 533234"/>
              <a:gd name="connsiteY224" fmla="*/ 345298 h 457297"/>
              <a:gd name="connsiteX225" fmla="*/ 193984 w 533234"/>
              <a:gd name="connsiteY225" fmla="*/ 354958 h 457297"/>
              <a:gd name="connsiteX226" fmla="*/ 205032 w 533234"/>
              <a:gd name="connsiteY226" fmla="*/ 369882 h 457297"/>
              <a:gd name="connsiteX227" fmla="*/ 215676 w 533234"/>
              <a:gd name="connsiteY227" fmla="*/ 374047 h 457297"/>
              <a:gd name="connsiteX228" fmla="*/ 238293 w 533234"/>
              <a:gd name="connsiteY228" fmla="*/ 386599 h 457297"/>
              <a:gd name="connsiteX229" fmla="*/ 299723 w 533234"/>
              <a:gd name="connsiteY229" fmla="*/ 410084 h 457297"/>
              <a:gd name="connsiteX230" fmla="*/ 317076 w 533234"/>
              <a:gd name="connsiteY230" fmla="*/ 404300 h 457297"/>
              <a:gd name="connsiteX231" fmla="*/ 338421 w 533234"/>
              <a:gd name="connsiteY231" fmla="*/ 397589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533234" h="457297">
                <a:moveTo>
                  <a:pt x="488643" y="456533"/>
                </a:moveTo>
                <a:lnTo>
                  <a:pt x="488643" y="456533"/>
                </a:lnTo>
                <a:cubicBezTo>
                  <a:pt x="478925" y="456649"/>
                  <a:pt x="469265" y="455816"/>
                  <a:pt x="459721" y="454045"/>
                </a:cubicBezTo>
                <a:cubicBezTo>
                  <a:pt x="455440" y="452831"/>
                  <a:pt x="443756" y="451385"/>
                  <a:pt x="430278" y="449649"/>
                </a:cubicBezTo>
                <a:cubicBezTo>
                  <a:pt x="395572" y="445253"/>
                  <a:pt x="368326" y="441435"/>
                  <a:pt x="363815" y="435882"/>
                </a:cubicBezTo>
                <a:cubicBezTo>
                  <a:pt x="361270" y="431805"/>
                  <a:pt x="359708" y="427223"/>
                  <a:pt x="359129" y="422462"/>
                </a:cubicBezTo>
                <a:cubicBezTo>
                  <a:pt x="357047" y="412687"/>
                  <a:pt x="354907" y="402564"/>
                  <a:pt x="343512" y="400308"/>
                </a:cubicBezTo>
                <a:cubicBezTo>
                  <a:pt x="341834" y="400013"/>
                  <a:pt x="340156" y="399857"/>
                  <a:pt x="338421" y="399845"/>
                </a:cubicBezTo>
                <a:cubicBezTo>
                  <a:pt x="331307" y="400331"/>
                  <a:pt x="324423" y="402599"/>
                  <a:pt x="318407" y="406440"/>
                </a:cubicBezTo>
                <a:cubicBezTo>
                  <a:pt x="312796" y="410078"/>
                  <a:pt x="306317" y="412085"/>
                  <a:pt x="299607" y="412224"/>
                </a:cubicBezTo>
                <a:cubicBezTo>
                  <a:pt x="285494" y="411472"/>
                  <a:pt x="250498" y="402275"/>
                  <a:pt x="236673" y="388045"/>
                </a:cubicBezTo>
                <a:cubicBezTo>
                  <a:pt x="230888" y="381908"/>
                  <a:pt x="223369" y="377720"/>
                  <a:pt x="215097" y="376071"/>
                </a:cubicBezTo>
                <a:cubicBezTo>
                  <a:pt x="210990" y="375285"/>
                  <a:pt x="207114" y="373798"/>
                  <a:pt x="203528" y="371675"/>
                </a:cubicBezTo>
                <a:cubicBezTo>
                  <a:pt x="197744" y="367985"/>
                  <a:pt x="193521" y="362310"/>
                  <a:pt x="191613" y="355710"/>
                </a:cubicBezTo>
                <a:cubicBezTo>
                  <a:pt x="190513" y="352992"/>
                  <a:pt x="189183" y="349926"/>
                  <a:pt x="187332" y="346166"/>
                </a:cubicBezTo>
                <a:cubicBezTo>
                  <a:pt x="175416" y="321756"/>
                  <a:pt x="164194" y="303997"/>
                  <a:pt x="160608" y="303997"/>
                </a:cubicBezTo>
                <a:cubicBezTo>
                  <a:pt x="158757" y="304240"/>
                  <a:pt x="156906" y="304663"/>
                  <a:pt x="155112" y="305270"/>
                </a:cubicBezTo>
                <a:cubicBezTo>
                  <a:pt x="152568" y="306207"/>
                  <a:pt x="149964" y="306751"/>
                  <a:pt x="147246" y="306890"/>
                </a:cubicBezTo>
                <a:cubicBezTo>
                  <a:pt x="144874" y="306953"/>
                  <a:pt x="142561" y="306132"/>
                  <a:pt x="140767" y="304576"/>
                </a:cubicBezTo>
                <a:cubicBezTo>
                  <a:pt x="138685" y="302783"/>
                  <a:pt x="137991" y="303014"/>
                  <a:pt x="136197" y="304576"/>
                </a:cubicBezTo>
                <a:cubicBezTo>
                  <a:pt x="134347" y="306658"/>
                  <a:pt x="131744" y="307856"/>
                  <a:pt x="128967" y="307873"/>
                </a:cubicBezTo>
                <a:cubicBezTo>
                  <a:pt x="126827" y="307960"/>
                  <a:pt x="124686" y="308330"/>
                  <a:pt x="122662" y="308972"/>
                </a:cubicBezTo>
                <a:cubicBezTo>
                  <a:pt x="122315" y="309157"/>
                  <a:pt x="121910" y="309157"/>
                  <a:pt x="121563" y="308972"/>
                </a:cubicBezTo>
                <a:lnTo>
                  <a:pt x="120290" y="307699"/>
                </a:lnTo>
                <a:cubicBezTo>
                  <a:pt x="112887" y="300006"/>
                  <a:pt x="105193" y="292024"/>
                  <a:pt x="105829" y="286586"/>
                </a:cubicBezTo>
                <a:cubicBezTo>
                  <a:pt x="105887" y="282242"/>
                  <a:pt x="103920" y="278112"/>
                  <a:pt x="100566" y="275364"/>
                </a:cubicBezTo>
                <a:cubicBezTo>
                  <a:pt x="98541" y="273531"/>
                  <a:pt x="97037" y="271200"/>
                  <a:pt x="96169" y="268597"/>
                </a:cubicBezTo>
                <a:cubicBezTo>
                  <a:pt x="95996" y="265641"/>
                  <a:pt x="96574" y="262691"/>
                  <a:pt x="97904" y="260036"/>
                </a:cubicBezTo>
                <a:cubicBezTo>
                  <a:pt x="99293" y="256334"/>
                  <a:pt x="100624" y="252805"/>
                  <a:pt x="98598" y="250838"/>
                </a:cubicBezTo>
                <a:cubicBezTo>
                  <a:pt x="96864" y="248797"/>
                  <a:pt x="95475" y="246494"/>
                  <a:pt x="94434" y="244013"/>
                </a:cubicBezTo>
                <a:cubicBezTo>
                  <a:pt x="92525" y="239848"/>
                  <a:pt x="90501" y="235568"/>
                  <a:pt x="86336" y="234989"/>
                </a:cubicBezTo>
                <a:cubicBezTo>
                  <a:pt x="78758" y="233890"/>
                  <a:pt x="53885" y="221859"/>
                  <a:pt x="55158" y="213182"/>
                </a:cubicBezTo>
                <a:cubicBezTo>
                  <a:pt x="55967" y="207398"/>
                  <a:pt x="48910" y="202307"/>
                  <a:pt x="42779" y="199299"/>
                </a:cubicBezTo>
                <a:cubicBezTo>
                  <a:pt x="39482" y="197622"/>
                  <a:pt x="36995" y="188714"/>
                  <a:pt x="36474" y="181946"/>
                </a:cubicBezTo>
                <a:cubicBezTo>
                  <a:pt x="36474" y="178533"/>
                  <a:pt x="36474" y="174195"/>
                  <a:pt x="39540" y="172517"/>
                </a:cubicBezTo>
                <a:cubicBezTo>
                  <a:pt x="42606" y="170840"/>
                  <a:pt x="42663" y="166733"/>
                  <a:pt x="43646" y="162568"/>
                </a:cubicBezTo>
                <a:cubicBezTo>
                  <a:pt x="45035" y="156784"/>
                  <a:pt x="46481" y="150999"/>
                  <a:pt x="50877" y="150999"/>
                </a:cubicBezTo>
                <a:cubicBezTo>
                  <a:pt x="52034" y="150999"/>
                  <a:pt x="52381" y="150594"/>
                  <a:pt x="52497" y="150479"/>
                </a:cubicBezTo>
                <a:cubicBezTo>
                  <a:pt x="52613" y="150363"/>
                  <a:pt x="53017" y="147008"/>
                  <a:pt x="52497" y="144694"/>
                </a:cubicBezTo>
                <a:cubicBezTo>
                  <a:pt x="51861" y="141738"/>
                  <a:pt x="51861" y="138684"/>
                  <a:pt x="52497" y="135728"/>
                </a:cubicBezTo>
                <a:cubicBezTo>
                  <a:pt x="53075" y="134253"/>
                  <a:pt x="52902" y="132570"/>
                  <a:pt x="51976" y="131274"/>
                </a:cubicBezTo>
                <a:cubicBezTo>
                  <a:pt x="49605" y="128764"/>
                  <a:pt x="46250" y="127393"/>
                  <a:pt x="42779" y="127515"/>
                </a:cubicBezTo>
                <a:cubicBezTo>
                  <a:pt x="34276" y="125704"/>
                  <a:pt x="27797" y="118774"/>
                  <a:pt x="26583" y="110161"/>
                </a:cubicBezTo>
                <a:cubicBezTo>
                  <a:pt x="25773" y="105435"/>
                  <a:pt x="23748" y="100987"/>
                  <a:pt x="20798" y="97204"/>
                </a:cubicBezTo>
                <a:cubicBezTo>
                  <a:pt x="18253" y="93155"/>
                  <a:pt x="16402" y="90205"/>
                  <a:pt x="17038" y="88238"/>
                </a:cubicBezTo>
                <a:cubicBezTo>
                  <a:pt x="16518" y="84854"/>
                  <a:pt x="15245" y="81632"/>
                  <a:pt x="13336" y="78810"/>
                </a:cubicBezTo>
                <a:cubicBezTo>
                  <a:pt x="11543" y="74552"/>
                  <a:pt x="8593" y="70856"/>
                  <a:pt x="4891" y="68108"/>
                </a:cubicBezTo>
                <a:cubicBezTo>
                  <a:pt x="1652" y="67299"/>
                  <a:pt x="2288" y="61109"/>
                  <a:pt x="3561" y="51044"/>
                </a:cubicBezTo>
                <a:cubicBezTo>
                  <a:pt x="4429" y="46880"/>
                  <a:pt x="4601" y="42605"/>
                  <a:pt x="4197" y="38376"/>
                </a:cubicBezTo>
                <a:cubicBezTo>
                  <a:pt x="2577" y="35253"/>
                  <a:pt x="-2166" y="21023"/>
                  <a:pt x="900" y="15933"/>
                </a:cubicBezTo>
                <a:cubicBezTo>
                  <a:pt x="1536" y="14799"/>
                  <a:pt x="2751" y="14111"/>
                  <a:pt x="4081" y="14140"/>
                </a:cubicBezTo>
                <a:cubicBezTo>
                  <a:pt x="5469" y="14140"/>
                  <a:pt x="5759" y="12867"/>
                  <a:pt x="5759" y="9165"/>
                </a:cubicBezTo>
                <a:cubicBezTo>
                  <a:pt x="5759" y="5463"/>
                  <a:pt x="5759" y="-90"/>
                  <a:pt x="11543" y="-90"/>
                </a:cubicBezTo>
                <a:cubicBezTo>
                  <a:pt x="12295" y="-142"/>
                  <a:pt x="13047" y="-142"/>
                  <a:pt x="13799" y="-90"/>
                </a:cubicBezTo>
                <a:cubicBezTo>
                  <a:pt x="20509" y="1125"/>
                  <a:pt x="21666" y="5694"/>
                  <a:pt x="22823" y="10033"/>
                </a:cubicBezTo>
                <a:cubicBezTo>
                  <a:pt x="23286" y="14568"/>
                  <a:pt x="26120" y="18530"/>
                  <a:pt x="30227" y="20503"/>
                </a:cubicBezTo>
                <a:cubicBezTo>
                  <a:pt x="35433" y="22874"/>
                  <a:pt x="35722" y="24899"/>
                  <a:pt x="35607" y="26923"/>
                </a:cubicBezTo>
                <a:cubicBezTo>
                  <a:pt x="35491" y="28948"/>
                  <a:pt x="35607" y="29411"/>
                  <a:pt x="48216" y="31146"/>
                </a:cubicBezTo>
                <a:cubicBezTo>
                  <a:pt x="49836" y="31377"/>
                  <a:pt x="51514" y="31493"/>
                  <a:pt x="53133" y="31493"/>
                </a:cubicBezTo>
                <a:cubicBezTo>
                  <a:pt x="67884" y="31493"/>
                  <a:pt x="80551" y="22469"/>
                  <a:pt x="90790" y="15181"/>
                </a:cubicBezTo>
                <a:cubicBezTo>
                  <a:pt x="94434" y="12364"/>
                  <a:pt x="98310" y="9813"/>
                  <a:pt x="102358" y="7545"/>
                </a:cubicBezTo>
                <a:cubicBezTo>
                  <a:pt x="106061" y="5694"/>
                  <a:pt x="109011" y="6215"/>
                  <a:pt x="110688" y="8876"/>
                </a:cubicBezTo>
                <a:cubicBezTo>
                  <a:pt x="114448" y="14660"/>
                  <a:pt x="110688" y="30857"/>
                  <a:pt x="109300" y="33865"/>
                </a:cubicBezTo>
                <a:cubicBezTo>
                  <a:pt x="109300" y="33865"/>
                  <a:pt x="109300" y="34327"/>
                  <a:pt x="109300" y="34443"/>
                </a:cubicBezTo>
                <a:cubicBezTo>
                  <a:pt x="110283" y="37162"/>
                  <a:pt x="118324" y="42773"/>
                  <a:pt x="128158" y="46475"/>
                </a:cubicBezTo>
                <a:cubicBezTo>
                  <a:pt x="128562" y="46660"/>
                  <a:pt x="128852" y="47024"/>
                  <a:pt x="128910" y="47458"/>
                </a:cubicBezTo>
                <a:cubicBezTo>
                  <a:pt x="130240" y="64372"/>
                  <a:pt x="143833" y="77699"/>
                  <a:pt x="160781" y="78636"/>
                </a:cubicBezTo>
                <a:cubicBezTo>
                  <a:pt x="173970" y="78636"/>
                  <a:pt x="180796" y="86734"/>
                  <a:pt x="187448" y="94543"/>
                </a:cubicBezTo>
                <a:cubicBezTo>
                  <a:pt x="194099" y="102352"/>
                  <a:pt x="199421" y="108599"/>
                  <a:pt x="209949" y="108599"/>
                </a:cubicBezTo>
                <a:lnTo>
                  <a:pt x="210817" y="108599"/>
                </a:lnTo>
                <a:cubicBezTo>
                  <a:pt x="236558" y="107674"/>
                  <a:pt x="265306" y="101542"/>
                  <a:pt x="268661" y="96221"/>
                </a:cubicBezTo>
                <a:cubicBezTo>
                  <a:pt x="269587" y="91732"/>
                  <a:pt x="269818" y="87128"/>
                  <a:pt x="269355" y="82569"/>
                </a:cubicBezTo>
                <a:cubicBezTo>
                  <a:pt x="269297" y="82269"/>
                  <a:pt x="269413" y="81968"/>
                  <a:pt x="269644" y="81760"/>
                </a:cubicBezTo>
                <a:cubicBezTo>
                  <a:pt x="269876" y="81534"/>
                  <a:pt x="270165" y="81390"/>
                  <a:pt x="270454" y="81355"/>
                </a:cubicBezTo>
                <a:cubicBezTo>
                  <a:pt x="287056" y="81355"/>
                  <a:pt x="291162" y="78925"/>
                  <a:pt x="292088" y="77537"/>
                </a:cubicBezTo>
                <a:cubicBezTo>
                  <a:pt x="296368" y="71753"/>
                  <a:pt x="309441" y="60184"/>
                  <a:pt x="317192" y="60184"/>
                </a:cubicBezTo>
                <a:cubicBezTo>
                  <a:pt x="319217" y="60236"/>
                  <a:pt x="321299" y="60409"/>
                  <a:pt x="323324" y="60704"/>
                </a:cubicBezTo>
                <a:cubicBezTo>
                  <a:pt x="325175" y="60947"/>
                  <a:pt x="326968" y="61080"/>
                  <a:pt x="328819" y="61109"/>
                </a:cubicBezTo>
                <a:cubicBezTo>
                  <a:pt x="331422" y="61410"/>
                  <a:pt x="334025" y="60340"/>
                  <a:pt x="335703" y="58275"/>
                </a:cubicBezTo>
                <a:cubicBezTo>
                  <a:pt x="338363" y="54631"/>
                  <a:pt x="346635" y="54226"/>
                  <a:pt x="350048" y="54226"/>
                </a:cubicBezTo>
                <a:cubicBezTo>
                  <a:pt x="357452" y="54226"/>
                  <a:pt x="366360" y="55845"/>
                  <a:pt x="368963" y="58969"/>
                </a:cubicBezTo>
                <a:cubicBezTo>
                  <a:pt x="374516" y="63498"/>
                  <a:pt x="381168" y="66442"/>
                  <a:pt x="388283" y="67472"/>
                </a:cubicBezTo>
                <a:cubicBezTo>
                  <a:pt x="390018" y="67715"/>
                  <a:pt x="391522" y="68658"/>
                  <a:pt x="392506" y="70075"/>
                </a:cubicBezTo>
                <a:cubicBezTo>
                  <a:pt x="394530" y="72782"/>
                  <a:pt x="397828" y="74246"/>
                  <a:pt x="401182" y="73951"/>
                </a:cubicBezTo>
                <a:cubicBezTo>
                  <a:pt x="402108" y="73893"/>
                  <a:pt x="403033" y="73893"/>
                  <a:pt x="403959" y="73951"/>
                </a:cubicBezTo>
                <a:cubicBezTo>
                  <a:pt x="411825" y="73951"/>
                  <a:pt x="425824" y="76785"/>
                  <a:pt x="425824" y="82454"/>
                </a:cubicBezTo>
                <a:cubicBezTo>
                  <a:pt x="425824" y="86850"/>
                  <a:pt x="431146" y="91015"/>
                  <a:pt x="436815" y="91015"/>
                </a:cubicBezTo>
                <a:cubicBezTo>
                  <a:pt x="440517" y="91015"/>
                  <a:pt x="443698" y="95122"/>
                  <a:pt x="446764" y="99171"/>
                </a:cubicBezTo>
                <a:cubicBezTo>
                  <a:pt x="449829" y="103220"/>
                  <a:pt x="452548" y="106344"/>
                  <a:pt x="454862" y="106344"/>
                </a:cubicBezTo>
                <a:lnTo>
                  <a:pt x="455209" y="106344"/>
                </a:lnTo>
                <a:cubicBezTo>
                  <a:pt x="457638" y="106089"/>
                  <a:pt x="460068" y="105950"/>
                  <a:pt x="462497" y="105939"/>
                </a:cubicBezTo>
                <a:cubicBezTo>
                  <a:pt x="471347" y="105939"/>
                  <a:pt x="475859" y="107558"/>
                  <a:pt x="475859" y="110740"/>
                </a:cubicBezTo>
                <a:cubicBezTo>
                  <a:pt x="476148" y="121921"/>
                  <a:pt x="477826" y="133027"/>
                  <a:pt x="480718" y="143827"/>
                </a:cubicBezTo>
                <a:cubicBezTo>
                  <a:pt x="480892" y="144353"/>
                  <a:pt x="480660" y="144920"/>
                  <a:pt x="480140" y="145157"/>
                </a:cubicBezTo>
                <a:cubicBezTo>
                  <a:pt x="475975" y="147413"/>
                  <a:pt x="473777" y="152098"/>
                  <a:pt x="474702" y="156726"/>
                </a:cubicBezTo>
                <a:cubicBezTo>
                  <a:pt x="474760" y="163320"/>
                  <a:pt x="472042" y="169631"/>
                  <a:pt x="467183" y="174079"/>
                </a:cubicBezTo>
                <a:cubicBezTo>
                  <a:pt x="465795" y="175433"/>
                  <a:pt x="464695" y="177018"/>
                  <a:pt x="463885" y="178765"/>
                </a:cubicBezTo>
                <a:cubicBezTo>
                  <a:pt x="463885" y="179748"/>
                  <a:pt x="463133" y="181136"/>
                  <a:pt x="462613" y="182698"/>
                </a:cubicBezTo>
                <a:cubicBezTo>
                  <a:pt x="460646" y="188078"/>
                  <a:pt x="457407" y="197043"/>
                  <a:pt x="460473" y="201613"/>
                </a:cubicBezTo>
                <a:cubicBezTo>
                  <a:pt x="462208" y="205500"/>
                  <a:pt x="462208" y="209931"/>
                  <a:pt x="460473" y="213818"/>
                </a:cubicBezTo>
                <a:cubicBezTo>
                  <a:pt x="458390" y="219418"/>
                  <a:pt x="458390" y="225572"/>
                  <a:pt x="460473" y="231171"/>
                </a:cubicBezTo>
                <a:cubicBezTo>
                  <a:pt x="463191" y="238419"/>
                  <a:pt x="464406" y="246165"/>
                  <a:pt x="463943" y="253904"/>
                </a:cubicBezTo>
                <a:cubicBezTo>
                  <a:pt x="463712" y="256762"/>
                  <a:pt x="464001" y="259637"/>
                  <a:pt x="464753" y="262407"/>
                </a:cubicBezTo>
                <a:cubicBezTo>
                  <a:pt x="465273" y="263506"/>
                  <a:pt x="468802" y="264258"/>
                  <a:pt x="472215" y="264952"/>
                </a:cubicBezTo>
                <a:cubicBezTo>
                  <a:pt x="479214" y="266456"/>
                  <a:pt x="488816" y="268481"/>
                  <a:pt x="491767" y="276521"/>
                </a:cubicBezTo>
                <a:cubicBezTo>
                  <a:pt x="494717" y="284562"/>
                  <a:pt x="483032" y="295841"/>
                  <a:pt x="473661" y="304807"/>
                </a:cubicBezTo>
                <a:cubicBezTo>
                  <a:pt x="469728" y="307908"/>
                  <a:pt x="466373" y="311667"/>
                  <a:pt x="463769" y="315913"/>
                </a:cubicBezTo>
                <a:cubicBezTo>
                  <a:pt x="463307" y="318805"/>
                  <a:pt x="467703" y="322913"/>
                  <a:pt x="471926" y="326846"/>
                </a:cubicBezTo>
                <a:cubicBezTo>
                  <a:pt x="476148" y="330160"/>
                  <a:pt x="479619" y="334343"/>
                  <a:pt x="482048" y="339109"/>
                </a:cubicBezTo>
                <a:cubicBezTo>
                  <a:pt x="485230" y="347612"/>
                  <a:pt x="495758" y="356462"/>
                  <a:pt x="509467" y="362247"/>
                </a:cubicBezTo>
                <a:cubicBezTo>
                  <a:pt x="517623" y="365660"/>
                  <a:pt x="518606" y="375146"/>
                  <a:pt x="519358" y="382781"/>
                </a:cubicBezTo>
                <a:cubicBezTo>
                  <a:pt x="519879" y="387409"/>
                  <a:pt x="520283" y="391747"/>
                  <a:pt x="522308" y="392384"/>
                </a:cubicBezTo>
                <a:cubicBezTo>
                  <a:pt x="528786" y="396126"/>
                  <a:pt x="532836" y="402917"/>
                  <a:pt x="533125" y="410373"/>
                </a:cubicBezTo>
                <a:cubicBezTo>
                  <a:pt x="533068" y="412889"/>
                  <a:pt x="531042" y="414937"/>
                  <a:pt x="528555" y="415116"/>
                </a:cubicBezTo>
                <a:cubicBezTo>
                  <a:pt x="520053" y="416105"/>
                  <a:pt x="511780" y="418633"/>
                  <a:pt x="504145" y="422578"/>
                </a:cubicBezTo>
                <a:cubicBezTo>
                  <a:pt x="493849" y="427535"/>
                  <a:pt x="487312" y="438028"/>
                  <a:pt x="487486" y="449476"/>
                </a:cubicBezTo>
                <a:lnTo>
                  <a:pt x="487486" y="450112"/>
                </a:lnTo>
                <a:cubicBezTo>
                  <a:pt x="487486" y="451732"/>
                  <a:pt x="487891" y="453872"/>
                  <a:pt x="488122" y="456301"/>
                </a:cubicBezTo>
                <a:cubicBezTo>
                  <a:pt x="488238" y="456573"/>
                  <a:pt x="488238" y="456897"/>
                  <a:pt x="488122" y="457169"/>
                </a:cubicBezTo>
                <a:cubicBezTo>
                  <a:pt x="488180" y="456897"/>
                  <a:pt x="488411" y="456666"/>
                  <a:pt x="488643" y="456533"/>
                </a:cubicBezTo>
                <a:close/>
                <a:moveTo>
                  <a:pt x="338248" y="397589"/>
                </a:moveTo>
                <a:cubicBezTo>
                  <a:pt x="340214" y="397578"/>
                  <a:pt x="342123" y="397751"/>
                  <a:pt x="344032" y="398110"/>
                </a:cubicBezTo>
                <a:cubicBezTo>
                  <a:pt x="356873" y="400655"/>
                  <a:pt x="359361" y="412513"/>
                  <a:pt x="361385" y="422000"/>
                </a:cubicBezTo>
                <a:cubicBezTo>
                  <a:pt x="361906" y="426407"/>
                  <a:pt x="363352" y="430653"/>
                  <a:pt x="365666" y="434436"/>
                </a:cubicBezTo>
                <a:cubicBezTo>
                  <a:pt x="369888" y="439758"/>
                  <a:pt x="406157" y="444386"/>
                  <a:pt x="430625" y="447394"/>
                </a:cubicBezTo>
                <a:cubicBezTo>
                  <a:pt x="444218" y="449129"/>
                  <a:pt x="455961" y="450633"/>
                  <a:pt x="460415" y="451905"/>
                </a:cubicBezTo>
                <a:cubicBezTo>
                  <a:pt x="469323" y="453496"/>
                  <a:pt x="478346" y="454288"/>
                  <a:pt x="487428" y="454277"/>
                </a:cubicBezTo>
                <a:cubicBezTo>
                  <a:pt x="487428" y="452368"/>
                  <a:pt x="487081" y="450690"/>
                  <a:pt x="486907" y="449302"/>
                </a:cubicBezTo>
                <a:lnTo>
                  <a:pt x="486907" y="448724"/>
                </a:lnTo>
                <a:cubicBezTo>
                  <a:pt x="486792" y="436426"/>
                  <a:pt x="493791" y="425158"/>
                  <a:pt x="504839" y="419802"/>
                </a:cubicBezTo>
                <a:cubicBezTo>
                  <a:pt x="512706" y="415753"/>
                  <a:pt x="521209" y="413150"/>
                  <a:pt x="529944" y="412108"/>
                </a:cubicBezTo>
                <a:cubicBezTo>
                  <a:pt x="531448" y="412079"/>
                  <a:pt x="532604" y="410871"/>
                  <a:pt x="532604" y="409390"/>
                </a:cubicBezTo>
                <a:cubicBezTo>
                  <a:pt x="532200" y="402998"/>
                  <a:pt x="528729" y="397196"/>
                  <a:pt x="523291" y="393830"/>
                </a:cubicBezTo>
                <a:cubicBezTo>
                  <a:pt x="519879" y="392673"/>
                  <a:pt x="519358" y="388045"/>
                  <a:pt x="518837" y="382261"/>
                </a:cubicBezTo>
                <a:cubicBezTo>
                  <a:pt x="518085" y="374857"/>
                  <a:pt x="517218" y="366469"/>
                  <a:pt x="510276" y="363577"/>
                </a:cubicBezTo>
                <a:cubicBezTo>
                  <a:pt x="496047" y="357792"/>
                  <a:pt x="485056" y="348306"/>
                  <a:pt x="481354" y="339225"/>
                </a:cubicBezTo>
                <a:cubicBezTo>
                  <a:pt x="478983" y="334742"/>
                  <a:pt x="475744" y="330803"/>
                  <a:pt x="471752" y="327656"/>
                </a:cubicBezTo>
                <a:cubicBezTo>
                  <a:pt x="466893" y="323086"/>
                  <a:pt x="462265" y="318748"/>
                  <a:pt x="462960" y="314641"/>
                </a:cubicBezTo>
                <a:cubicBezTo>
                  <a:pt x="463365" y="312038"/>
                  <a:pt x="467009" y="308451"/>
                  <a:pt x="473488" y="302320"/>
                </a:cubicBezTo>
                <a:cubicBezTo>
                  <a:pt x="481933" y="294222"/>
                  <a:pt x="493502" y="283174"/>
                  <a:pt x="490841" y="276406"/>
                </a:cubicBezTo>
                <a:cubicBezTo>
                  <a:pt x="488180" y="269638"/>
                  <a:pt x="479850" y="267787"/>
                  <a:pt x="472967" y="266341"/>
                </a:cubicBezTo>
                <a:cubicBezTo>
                  <a:pt x="468339" y="265357"/>
                  <a:pt x="464985" y="264605"/>
                  <a:pt x="463943" y="262523"/>
                </a:cubicBezTo>
                <a:cubicBezTo>
                  <a:pt x="463017" y="259457"/>
                  <a:pt x="462671" y="256235"/>
                  <a:pt x="462960" y="253037"/>
                </a:cubicBezTo>
                <a:cubicBezTo>
                  <a:pt x="463365" y="245615"/>
                  <a:pt x="462208" y="238182"/>
                  <a:pt x="459605" y="231229"/>
                </a:cubicBezTo>
                <a:cubicBezTo>
                  <a:pt x="457465" y="225208"/>
                  <a:pt x="457465" y="218625"/>
                  <a:pt x="459605" y="212603"/>
                </a:cubicBezTo>
                <a:cubicBezTo>
                  <a:pt x="460646" y="208439"/>
                  <a:pt x="461571" y="204794"/>
                  <a:pt x="459605" y="202249"/>
                </a:cubicBezTo>
                <a:cubicBezTo>
                  <a:pt x="455845" y="196465"/>
                  <a:pt x="459200" y="187441"/>
                  <a:pt x="461456" y="181310"/>
                </a:cubicBezTo>
                <a:cubicBezTo>
                  <a:pt x="461977" y="179748"/>
                  <a:pt x="462439" y="178475"/>
                  <a:pt x="462671" y="177608"/>
                </a:cubicBezTo>
                <a:cubicBezTo>
                  <a:pt x="463481" y="175427"/>
                  <a:pt x="464811" y="173449"/>
                  <a:pt x="466489" y="171823"/>
                </a:cubicBezTo>
                <a:cubicBezTo>
                  <a:pt x="470885" y="167849"/>
                  <a:pt x="473372" y="162233"/>
                  <a:pt x="473430" y="156321"/>
                </a:cubicBezTo>
                <a:cubicBezTo>
                  <a:pt x="472620" y="151207"/>
                  <a:pt x="474876" y="146094"/>
                  <a:pt x="479214" y="143248"/>
                </a:cubicBezTo>
                <a:cubicBezTo>
                  <a:pt x="476438" y="132489"/>
                  <a:pt x="474818" y="121447"/>
                  <a:pt x="474529" y="110335"/>
                </a:cubicBezTo>
                <a:cubicBezTo>
                  <a:pt x="474529" y="109293"/>
                  <a:pt x="471579" y="107790"/>
                  <a:pt x="463423" y="107790"/>
                </a:cubicBezTo>
                <a:cubicBezTo>
                  <a:pt x="461109" y="107772"/>
                  <a:pt x="458737" y="107905"/>
                  <a:pt x="456424" y="108195"/>
                </a:cubicBezTo>
                <a:lnTo>
                  <a:pt x="455787" y="108195"/>
                </a:lnTo>
                <a:cubicBezTo>
                  <a:pt x="452143" y="108195"/>
                  <a:pt x="449077" y="104203"/>
                  <a:pt x="445896" y="100039"/>
                </a:cubicBezTo>
                <a:cubicBezTo>
                  <a:pt x="442715" y="95874"/>
                  <a:pt x="440111" y="92808"/>
                  <a:pt x="437740" y="92808"/>
                </a:cubicBezTo>
                <a:cubicBezTo>
                  <a:pt x="431203" y="93149"/>
                  <a:pt x="425477" y="88470"/>
                  <a:pt x="424494" y="81991"/>
                </a:cubicBezTo>
                <a:cubicBezTo>
                  <a:pt x="424494" y="79041"/>
                  <a:pt x="414024" y="75744"/>
                  <a:pt x="404884" y="75744"/>
                </a:cubicBezTo>
                <a:lnTo>
                  <a:pt x="402339" y="75744"/>
                </a:lnTo>
                <a:cubicBezTo>
                  <a:pt x="398290" y="76103"/>
                  <a:pt x="394298" y="74379"/>
                  <a:pt x="391812" y="71174"/>
                </a:cubicBezTo>
                <a:cubicBezTo>
                  <a:pt x="390828" y="70133"/>
                  <a:pt x="389960" y="69265"/>
                  <a:pt x="389209" y="69265"/>
                </a:cubicBezTo>
                <a:cubicBezTo>
                  <a:pt x="381457" y="68247"/>
                  <a:pt x="374169" y="65037"/>
                  <a:pt x="368211" y="60010"/>
                </a:cubicBezTo>
                <a:cubicBezTo>
                  <a:pt x="362947" y="56927"/>
                  <a:pt x="356931" y="55533"/>
                  <a:pt x="350858" y="56019"/>
                </a:cubicBezTo>
                <a:cubicBezTo>
                  <a:pt x="346462" y="55440"/>
                  <a:pt x="342008" y="56534"/>
                  <a:pt x="338363" y="59085"/>
                </a:cubicBezTo>
                <a:cubicBezTo>
                  <a:pt x="336281" y="61734"/>
                  <a:pt x="332984" y="63168"/>
                  <a:pt x="329629" y="62902"/>
                </a:cubicBezTo>
                <a:cubicBezTo>
                  <a:pt x="327720" y="62862"/>
                  <a:pt x="325753" y="62712"/>
                  <a:pt x="323844" y="62440"/>
                </a:cubicBezTo>
                <a:cubicBezTo>
                  <a:pt x="321936" y="62174"/>
                  <a:pt x="319969" y="62023"/>
                  <a:pt x="318060" y="61977"/>
                </a:cubicBezTo>
                <a:cubicBezTo>
                  <a:pt x="311466" y="61977"/>
                  <a:pt x="298855" y="72852"/>
                  <a:pt x="294922" y="78463"/>
                </a:cubicBezTo>
                <a:cubicBezTo>
                  <a:pt x="292840" y="81413"/>
                  <a:pt x="285494" y="82974"/>
                  <a:pt x="272595" y="83206"/>
                </a:cubicBezTo>
                <a:cubicBezTo>
                  <a:pt x="273404" y="87833"/>
                  <a:pt x="272999" y="92588"/>
                  <a:pt x="271495" y="97030"/>
                </a:cubicBezTo>
                <a:cubicBezTo>
                  <a:pt x="266752" y="104203"/>
                  <a:pt x="233434" y="109698"/>
                  <a:pt x="211626" y="110450"/>
                </a:cubicBezTo>
                <a:cubicBezTo>
                  <a:pt x="199421" y="110913"/>
                  <a:pt x="192885" y="103162"/>
                  <a:pt x="186522" y="95642"/>
                </a:cubicBezTo>
                <a:cubicBezTo>
                  <a:pt x="180159" y="88123"/>
                  <a:pt x="173681" y="80545"/>
                  <a:pt x="161533" y="80545"/>
                </a:cubicBezTo>
                <a:cubicBezTo>
                  <a:pt x="143717" y="79556"/>
                  <a:pt x="129256" y="65737"/>
                  <a:pt x="127463" y="47979"/>
                </a:cubicBezTo>
                <a:cubicBezTo>
                  <a:pt x="118902" y="44624"/>
                  <a:pt x="109473" y="38955"/>
                  <a:pt x="107912" y="34906"/>
                </a:cubicBezTo>
                <a:cubicBezTo>
                  <a:pt x="107565" y="34160"/>
                  <a:pt x="107565" y="33280"/>
                  <a:pt x="107912" y="32534"/>
                </a:cubicBezTo>
                <a:cubicBezTo>
                  <a:pt x="109358" y="29584"/>
                  <a:pt x="112539" y="14776"/>
                  <a:pt x="109415" y="9743"/>
                </a:cubicBezTo>
                <a:cubicBezTo>
                  <a:pt x="108317" y="8008"/>
                  <a:pt x="106581" y="7892"/>
                  <a:pt x="104036" y="9223"/>
                </a:cubicBezTo>
                <a:cubicBezTo>
                  <a:pt x="99987" y="11415"/>
                  <a:pt x="96112" y="13908"/>
                  <a:pt x="92467" y="16685"/>
                </a:cubicBezTo>
                <a:cubicBezTo>
                  <a:pt x="82055" y="24147"/>
                  <a:pt x="68982" y="33402"/>
                  <a:pt x="53538" y="33402"/>
                </a:cubicBezTo>
                <a:cubicBezTo>
                  <a:pt x="51803" y="33402"/>
                  <a:pt x="50068" y="33286"/>
                  <a:pt x="48332" y="33055"/>
                </a:cubicBezTo>
                <a:cubicBezTo>
                  <a:pt x="34855" y="31204"/>
                  <a:pt x="33524" y="29642"/>
                  <a:pt x="33755" y="26461"/>
                </a:cubicBezTo>
                <a:cubicBezTo>
                  <a:pt x="33755" y="25304"/>
                  <a:pt x="33755" y="24147"/>
                  <a:pt x="29706" y="22180"/>
                </a:cubicBezTo>
                <a:cubicBezTo>
                  <a:pt x="25194" y="19878"/>
                  <a:pt x="22186" y="15499"/>
                  <a:pt x="21550" y="10495"/>
                </a:cubicBezTo>
                <a:cubicBezTo>
                  <a:pt x="20451" y="6273"/>
                  <a:pt x="19642" y="2976"/>
                  <a:pt x="14320" y="2050"/>
                </a:cubicBezTo>
                <a:cubicBezTo>
                  <a:pt x="8998" y="1125"/>
                  <a:pt x="8535" y="3265"/>
                  <a:pt x="8535" y="8818"/>
                </a:cubicBezTo>
                <a:cubicBezTo>
                  <a:pt x="8535" y="12057"/>
                  <a:pt x="8535" y="16048"/>
                  <a:pt x="4601" y="16048"/>
                </a:cubicBezTo>
                <a:cubicBezTo>
                  <a:pt x="4081" y="16020"/>
                  <a:pt x="3561" y="16315"/>
                  <a:pt x="3329" y="16800"/>
                </a:cubicBezTo>
                <a:cubicBezTo>
                  <a:pt x="1189" y="20213"/>
                  <a:pt x="4659" y="32939"/>
                  <a:pt x="6685" y="37046"/>
                </a:cubicBezTo>
                <a:cubicBezTo>
                  <a:pt x="7552" y="41662"/>
                  <a:pt x="7437" y="46417"/>
                  <a:pt x="6337" y="50986"/>
                </a:cubicBezTo>
                <a:cubicBezTo>
                  <a:pt x="5759" y="55267"/>
                  <a:pt x="4486" y="65216"/>
                  <a:pt x="5990" y="65563"/>
                </a:cubicBezTo>
                <a:cubicBezTo>
                  <a:pt x="9692" y="66547"/>
                  <a:pt x="14840" y="75570"/>
                  <a:pt x="15882" y="77132"/>
                </a:cubicBezTo>
                <a:cubicBezTo>
                  <a:pt x="16922" y="78694"/>
                  <a:pt x="20509" y="85924"/>
                  <a:pt x="19699" y="88412"/>
                </a:cubicBezTo>
                <a:cubicBezTo>
                  <a:pt x="19699" y="89337"/>
                  <a:pt x="21608" y="92866"/>
                  <a:pt x="23228" y="95353"/>
                </a:cubicBezTo>
                <a:cubicBezTo>
                  <a:pt x="26467" y="99483"/>
                  <a:pt x="28665" y="104382"/>
                  <a:pt x="29475" y="109583"/>
                </a:cubicBezTo>
                <a:cubicBezTo>
                  <a:pt x="30689" y="116958"/>
                  <a:pt x="36185" y="122899"/>
                  <a:pt x="43415" y="124680"/>
                </a:cubicBezTo>
                <a:cubicBezTo>
                  <a:pt x="47580" y="124553"/>
                  <a:pt x="51629" y="126265"/>
                  <a:pt x="54463" y="129365"/>
                </a:cubicBezTo>
                <a:cubicBezTo>
                  <a:pt x="55794" y="131251"/>
                  <a:pt x="56083" y="133686"/>
                  <a:pt x="55273" y="135844"/>
                </a:cubicBezTo>
                <a:cubicBezTo>
                  <a:pt x="54695" y="138476"/>
                  <a:pt x="54695" y="141195"/>
                  <a:pt x="55273" y="143827"/>
                </a:cubicBezTo>
                <a:cubicBezTo>
                  <a:pt x="55621" y="147066"/>
                  <a:pt x="55909" y="149611"/>
                  <a:pt x="54406" y="151520"/>
                </a:cubicBezTo>
                <a:cubicBezTo>
                  <a:pt x="53538" y="152422"/>
                  <a:pt x="52323" y="152885"/>
                  <a:pt x="51109" y="152792"/>
                </a:cubicBezTo>
                <a:cubicBezTo>
                  <a:pt x="48506" y="152792"/>
                  <a:pt x="47291" y="157883"/>
                  <a:pt x="46076" y="162799"/>
                </a:cubicBezTo>
                <a:cubicBezTo>
                  <a:pt x="44862" y="167716"/>
                  <a:pt x="43762" y="172460"/>
                  <a:pt x="40928" y="174368"/>
                </a:cubicBezTo>
                <a:cubicBezTo>
                  <a:pt x="39540" y="175178"/>
                  <a:pt x="38788" y="177897"/>
                  <a:pt x="38961" y="181715"/>
                </a:cubicBezTo>
                <a:cubicBezTo>
                  <a:pt x="38846" y="187314"/>
                  <a:pt x="40639" y="192792"/>
                  <a:pt x="44052" y="197217"/>
                </a:cubicBezTo>
                <a:cubicBezTo>
                  <a:pt x="53712" y="202018"/>
                  <a:pt x="58397" y="207629"/>
                  <a:pt x="57587" y="213471"/>
                </a:cubicBezTo>
                <a:cubicBezTo>
                  <a:pt x="56777" y="219313"/>
                  <a:pt x="78700" y="231518"/>
                  <a:pt x="86857" y="232733"/>
                </a:cubicBezTo>
                <a:cubicBezTo>
                  <a:pt x="92236" y="233485"/>
                  <a:pt x="94665" y="238518"/>
                  <a:pt x="96748" y="242972"/>
                </a:cubicBezTo>
                <a:cubicBezTo>
                  <a:pt x="97673" y="245216"/>
                  <a:pt x="98888" y="247304"/>
                  <a:pt x="100450" y="249161"/>
                </a:cubicBezTo>
                <a:cubicBezTo>
                  <a:pt x="103458" y="252169"/>
                  <a:pt x="101722" y="256739"/>
                  <a:pt x="100450" y="260730"/>
                </a:cubicBezTo>
                <a:cubicBezTo>
                  <a:pt x="99293" y="262992"/>
                  <a:pt x="98772" y="265491"/>
                  <a:pt x="98830" y="268018"/>
                </a:cubicBezTo>
                <a:cubicBezTo>
                  <a:pt x="99582" y="270239"/>
                  <a:pt x="100912" y="272229"/>
                  <a:pt x="102648" y="273803"/>
                </a:cubicBezTo>
                <a:cubicBezTo>
                  <a:pt x="106466" y="277036"/>
                  <a:pt x="108606" y="281861"/>
                  <a:pt x="108432" y="286876"/>
                </a:cubicBezTo>
                <a:cubicBezTo>
                  <a:pt x="107912" y="291214"/>
                  <a:pt x="115895" y="299486"/>
                  <a:pt x="122257" y="306138"/>
                </a:cubicBezTo>
                <a:lnTo>
                  <a:pt x="123067" y="306947"/>
                </a:lnTo>
                <a:cubicBezTo>
                  <a:pt x="125092" y="306317"/>
                  <a:pt x="127174" y="305964"/>
                  <a:pt x="129314" y="305906"/>
                </a:cubicBezTo>
                <a:cubicBezTo>
                  <a:pt x="131570" y="305929"/>
                  <a:pt x="133652" y="304952"/>
                  <a:pt x="135099" y="303245"/>
                </a:cubicBezTo>
                <a:cubicBezTo>
                  <a:pt x="136024" y="302094"/>
                  <a:pt x="137412" y="301348"/>
                  <a:pt x="138859" y="301163"/>
                </a:cubicBezTo>
                <a:cubicBezTo>
                  <a:pt x="140305" y="301285"/>
                  <a:pt x="141693" y="301921"/>
                  <a:pt x="142734" y="302956"/>
                </a:cubicBezTo>
                <a:cubicBezTo>
                  <a:pt x="144122" y="304171"/>
                  <a:pt x="145857" y="304813"/>
                  <a:pt x="147709" y="304749"/>
                </a:cubicBezTo>
                <a:cubicBezTo>
                  <a:pt x="150196" y="304599"/>
                  <a:pt x="152626" y="304096"/>
                  <a:pt x="154939" y="303245"/>
                </a:cubicBezTo>
                <a:cubicBezTo>
                  <a:pt x="156790" y="302592"/>
                  <a:pt x="158757" y="302129"/>
                  <a:pt x="160724" y="301857"/>
                </a:cubicBezTo>
                <a:lnTo>
                  <a:pt x="160724" y="301857"/>
                </a:lnTo>
                <a:cubicBezTo>
                  <a:pt x="167954" y="301857"/>
                  <a:pt x="184671" y="335118"/>
                  <a:pt x="189646" y="345298"/>
                </a:cubicBezTo>
                <a:cubicBezTo>
                  <a:pt x="191555" y="349116"/>
                  <a:pt x="192827" y="352240"/>
                  <a:pt x="193984" y="354958"/>
                </a:cubicBezTo>
                <a:cubicBezTo>
                  <a:pt x="195719" y="361119"/>
                  <a:pt x="199653" y="366429"/>
                  <a:pt x="205032" y="369882"/>
                </a:cubicBezTo>
                <a:cubicBezTo>
                  <a:pt x="208330" y="371843"/>
                  <a:pt x="211916" y="373248"/>
                  <a:pt x="215676" y="374047"/>
                </a:cubicBezTo>
                <a:cubicBezTo>
                  <a:pt x="224353" y="375788"/>
                  <a:pt x="232219" y="380173"/>
                  <a:pt x="238293" y="386599"/>
                </a:cubicBezTo>
                <a:cubicBezTo>
                  <a:pt x="251713" y="400424"/>
                  <a:pt x="285898" y="409332"/>
                  <a:pt x="299723" y="410084"/>
                </a:cubicBezTo>
                <a:cubicBezTo>
                  <a:pt x="305913" y="409783"/>
                  <a:pt x="311928" y="407782"/>
                  <a:pt x="317076" y="404300"/>
                </a:cubicBezTo>
                <a:cubicBezTo>
                  <a:pt x="323497" y="400268"/>
                  <a:pt x="330843" y="397954"/>
                  <a:pt x="338421" y="39758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8" name="Forma libre: forma 427">
            <a:extLst>
              <a:ext uri="{FF2B5EF4-FFF2-40B4-BE49-F238E27FC236}">
                <a16:creationId xmlns:a16="http://schemas.microsoft.com/office/drawing/2014/main" id="{239753CD-705E-3355-733C-5664D5599B46}"/>
              </a:ext>
            </a:extLst>
          </p:cNvPr>
          <p:cNvSpPr/>
          <p:nvPr/>
        </p:nvSpPr>
        <p:spPr>
          <a:xfrm>
            <a:off x="7447631" y="2779588"/>
            <a:ext cx="1113054" cy="519291"/>
          </a:xfrm>
          <a:custGeom>
            <a:avLst/>
            <a:gdLst>
              <a:gd name="connsiteX0" fmla="*/ 609454 w 1113054"/>
              <a:gd name="connsiteY0" fmla="*/ 519163 h 519291"/>
              <a:gd name="connsiteX1" fmla="*/ 604536 w 1113054"/>
              <a:gd name="connsiteY1" fmla="*/ 514014 h 519291"/>
              <a:gd name="connsiteX2" fmla="*/ 582788 w 1113054"/>
              <a:gd name="connsiteY2" fmla="*/ 500942 h 519291"/>
              <a:gd name="connsiteX3" fmla="*/ 573706 w 1113054"/>
              <a:gd name="connsiteY3" fmla="*/ 500247 h 519291"/>
              <a:gd name="connsiteX4" fmla="*/ 572896 w 1113054"/>
              <a:gd name="connsiteY4" fmla="*/ 500247 h 519291"/>
              <a:gd name="connsiteX5" fmla="*/ 558146 w 1113054"/>
              <a:gd name="connsiteY5" fmla="*/ 493538 h 519291"/>
              <a:gd name="connsiteX6" fmla="*/ 551204 w 1113054"/>
              <a:gd name="connsiteY6" fmla="*/ 480870 h 519291"/>
              <a:gd name="connsiteX7" fmla="*/ 543049 w 1113054"/>
              <a:gd name="connsiteY7" fmla="*/ 465425 h 519291"/>
              <a:gd name="connsiteX8" fmla="*/ 543049 w 1113054"/>
              <a:gd name="connsiteY8" fmla="*/ 456922 h 519291"/>
              <a:gd name="connsiteX9" fmla="*/ 537669 w 1113054"/>
              <a:gd name="connsiteY9" fmla="*/ 440494 h 519291"/>
              <a:gd name="connsiteX10" fmla="*/ 526100 w 1113054"/>
              <a:gd name="connsiteY10" fmla="*/ 431586 h 519291"/>
              <a:gd name="connsiteX11" fmla="*/ 516324 w 1113054"/>
              <a:gd name="connsiteY11" fmla="*/ 424356 h 519291"/>
              <a:gd name="connsiteX12" fmla="*/ 460909 w 1113054"/>
              <a:gd name="connsiteY12" fmla="*/ 422158 h 519291"/>
              <a:gd name="connsiteX13" fmla="*/ 459290 w 1113054"/>
              <a:gd name="connsiteY13" fmla="*/ 422158 h 519291"/>
              <a:gd name="connsiteX14" fmla="*/ 446969 w 1113054"/>
              <a:gd name="connsiteY14" fmla="*/ 424182 h 519291"/>
              <a:gd name="connsiteX15" fmla="*/ 431004 w 1113054"/>
              <a:gd name="connsiteY15" fmla="*/ 426670 h 519291"/>
              <a:gd name="connsiteX16" fmla="*/ 424641 w 1113054"/>
              <a:gd name="connsiteY16" fmla="*/ 423777 h 519291"/>
              <a:gd name="connsiteX17" fmla="*/ 393058 w 1113054"/>
              <a:gd name="connsiteY17" fmla="*/ 389418 h 519291"/>
              <a:gd name="connsiteX18" fmla="*/ 392653 w 1113054"/>
              <a:gd name="connsiteY18" fmla="*/ 388261 h 519291"/>
              <a:gd name="connsiteX19" fmla="*/ 384960 w 1113054"/>
              <a:gd name="connsiteY19" fmla="*/ 358413 h 519291"/>
              <a:gd name="connsiteX20" fmla="*/ 379175 w 1113054"/>
              <a:gd name="connsiteY20" fmla="*/ 353844 h 519291"/>
              <a:gd name="connsiteX21" fmla="*/ 376283 w 1113054"/>
              <a:gd name="connsiteY21" fmla="*/ 352687 h 519291"/>
              <a:gd name="connsiteX22" fmla="*/ 375647 w 1113054"/>
              <a:gd name="connsiteY22" fmla="*/ 345688 h 519291"/>
              <a:gd name="connsiteX23" fmla="*/ 375184 w 1113054"/>
              <a:gd name="connsiteY23" fmla="*/ 338804 h 519291"/>
              <a:gd name="connsiteX24" fmla="*/ 372581 w 1113054"/>
              <a:gd name="connsiteY24" fmla="*/ 337705 h 519291"/>
              <a:gd name="connsiteX25" fmla="*/ 365177 w 1113054"/>
              <a:gd name="connsiteY25" fmla="*/ 346208 h 519291"/>
              <a:gd name="connsiteX26" fmla="*/ 362054 w 1113054"/>
              <a:gd name="connsiteY26" fmla="*/ 350893 h 519291"/>
              <a:gd name="connsiteX27" fmla="*/ 360723 w 1113054"/>
              <a:gd name="connsiteY27" fmla="*/ 350431 h 519291"/>
              <a:gd name="connsiteX28" fmla="*/ 359682 w 1113054"/>
              <a:gd name="connsiteY28" fmla="*/ 349621 h 519291"/>
              <a:gd name="connsiteX29" fmla="*/ 346609 w 1113054"/>
              <a:gd name="connsiteY29" fmla="*/ 343836 h 519291"/>
              <a:gd name="connsiteX30" fmla="*/ 337238 w 1113054"/>
              <a:gd name="connsiteY30" fmla="*/ 349621 h 519291"/>
              <a:gd name="connsiteX31" fmla="*/ 335156 w 1113054"/>
              <a:gd name="connsiteY31" fmla="*/ 353959 h 519291"/>
              <a:gd name="connsiteX32" fmla="*/ 334346 w 1113054"/>
              <a:gd name="connsiteY32" fmla="*/ 354653 h 519291"/>
              <a:gd name="connsiteX33" fmla="*/ 266090 w 1113054"/>
              <a:gd name="connsiteY33" fmla="*/ 372817 h 519291"/>
              <a:gd name="connsiteX34" fmla="*/ 262851 w 1113054"/>
              <a:gd name="connsiteY34" fmla="*/ 492843 h 519291"/>
              <a:gd name="connsiteX35" fmla="*/ 262504 w 1113054"/>
              <a:gd name="connsiteY35" fmla="*/ 493595 h 519291"/>
              <a:gd name="connsiteX36" fmla="*/ 254058 w 1113054"/>
              <a:gd name="connsiteY36" fmla="*/ 496719 h 519291"/>
              <a:gd name="connsiteX37" fmla="*/ 241391 w 1113054"/>
              <a:gd name="connsiteY37" fmla="*/ 489141 h 519291"/>
              <a:gd name="connsiteX38" fmla="*/ 208882 w 1113054"/>
              <a:gd name="connsiteY38" fmla="*/ 463690 h 519291"/>
              <a:gd name="connsiteX39" fmla="*/ 181753 w 1113054"/>
              <a:gd name="connsiteY39" fmla="*/ 470168 h 519291"/>
              <a:gd name="connsiteX40" fmla="*/ 181753 w 1113054"/>
              <a:gd name="connsiteY40" fmla="*/ 476994 h 519291"/>
              <a:gd name="connsiteX41" fmla="*/ 181753 w 1113054"/>
              <a:gd name="connsiteY41" fmla="*/ 478035 h 519291"/>
              <a:gd name="connsiteX42" fmla="*/ 179728 w 1113054"/>
              <a:gd name="connsiteY42" fmla="*/ 488447 h 519291"/>
              <a:gd name="connsiteX43" fmla="*/ 178340 w 1113054"/>
              <a:gd name="connsiteY43" fmla="*/ 496488 h 519291"/>
              <a:gd name="connsiteX44" fmla="*/ 176142 w 1113054"/>
              <a:gd name="connsiteY44" fmla="*/ 497991 h 519291"/>
              <a:gd name="connsiteX45" fmla="*/ 168680 w 1113054"/>
              <a:gd name="connsiteY45" fmla="*/ 489373 h 519291"/>
              <a:gd name="connsiteX46" fmla="*/ 167639 w 1113054"/>
              <a:gd name="connsiteY46" fmla="*/ 462128 h 519291"/>
              <a:gd name="connsiteX47" fmla="*/ 170358 w 1113054"/>
              <a:gd name="connsiteY47" fmla="*/ 454319 h 519291"/>
              <a:gd name="connsiteX48" fmla="*/ 158268 w 1113054"/>
              <a:gd name="connsiteY48" fmla="*/ 450154 h 519291"/>
              <a:gd name="connsiteX49" fmla="*/ 155665 w 1113054"/>
              <a:gd name="connsiteY49" fmla="*/ 450154 h 519291"/>
              <a:gd name="connsiteX50" fmla="*/ 143402 w 1113054"/>
              <a:gd name="connsiteY50" fmla="*/ 443039 h 519291"/>
              <a:gd name="connsiteX51" fmla="*/ 136461 w 1113054"/>
              <a:gd name="connsiteY51" fmla="*/ 438817 h 519291"/>
              <a:gd name="connsiteX52" fmla="*/ 134610 w 1113054"/>
              <a:gd name="connsiteY52" fmla="*/ 438817 h 519291"/>
              <a:gd name="connsiteX53" fmla="*/ 126222 w 1113054"/>
              <a:gd name="connsiteY53" fmla="*/ 416431 h 519291"/>
              <a:gd name="connsiteX54" fmla="*/ 106266 w 1113054"/>
              <a:gd name="connsiteY54" fmla="*/ 399830 h 519291"/>
              <a:gd name="connsiteX55" fmla="*/ 101176 w 1113054"/>
              <a:gd name="connsiteY55" fmla="*/ 395572 h 519291"/>
              <a:gd name="connsiteX56" fmla="*/ 101176 w 1113054"/>
              <a:gd name="connsiteY56" fmla="*/ 394971 h 519291"/>
              <a:gd name="connsiteX57" fmla="*/ 111530 w 1113054"/>
              <a:gd name="connsiteY57" fmla="*/ 386179 h 519291"/>
              <a:gd name="connsiteX58" fmla="*/ 120554 w 1113054"/>
              <a:gd name="connsiteY58" fmla="*/ 388839 h 519291"/>
              <a:gd name="connsiteX59" fmla="*/ 128016 w 1113054"/>
              <a:gd name="connsiteY59" fmla="*/ 390748 h 519291"/>
              <a:gd name="connsiteX60" fmla="*/ 123908 w 1113054"/>
              <a:gd name="connsiteY60" fmla="*/ 376808 h 519291"/>
              <a:gd name="connsiteX61" fmla="*/ 123041 w 1113054"/>
              <a:gd name="connsiteY61" fmla="*/ 374899 h 519291"/>
              <a:gd name="connsiteX62" fmla="*/ 123446 w 1113054"/>
              <a:gd name="connsiteY62" fmla="*/ 370618 h 519291"/>
              <a:gd name="connsiteX63" fmla="*/ 153814 w 1113054"/>
              <a:gd name="connsiteY63" fmla="*/ 360958 h 519291"/>
              <a:gd name="connsiteX64" fmla="*/ 158153 w 1113054"/>
              <a:gd name="connsiteY64" fmla="*/ 360958 h 519291"/>
              <a:gd name="connsiteX65" fmla="*/ 168275 w 1113054"/>
              <a:gd name="connsiteY65" fmla="*/ 361653 h 519291"/>
              <a:gd name="connsiteX66" fmla="*/ 183488 w 1113054"/>
              <a:gd name="connsiteY66" fmla="*/ 358008 h 519291"/>
              <a:gd name="connsiteX67" fmla="*/ 183488 w 1113054"/>
              <a:gd name="connsiteY67" fmla="*/ 355232 h 519291"/>
              <a:gd name="connsiteX68" fmla="*/ 183199 w 1113054"/>
              <a:gd name="connsiteY68" fmla="*/ 340366 h 519291"/>
              <a:gd name="connsiteX69" fmla="*/ 180365 w 1113054"/>
              <a:gd name="connsiteY69" fmla="*/ 315146 h 519291"/>
              <a:gd name="connsiteX70" fmla="*/ 164226 w 1113054"/>
              <a:gd name="connsiteY70" fmla="*/ 309361 h 519291"/>
              <a:gd name="connsiteX71" fmla="*/ 155145 w 1113054"/>
              <a:gd name="connsiteY71" fmla="*/ 309361 h 519291"/>
              <a:gd name="connsiteX72" fmla="*/ 139179 w 1113054"/>
              <a:gd name="connsiteY72" fmla="*/ 307626 h 519291"/>
              <a:gd name="connsiteX73" fmla="*/ 129924 w 1113054"/>
              <a:gd name="connsiteY73" fmla="*/ 306469 h 519291"/>
              <a:gd name="connsiteX74" fmla="*/ 82897 w 1113054"/>
              <a:gd name="connsiteY74" fmla="*/ 325905 h 519291"/>
              <a:gd name="connsiteX75" fmla="*/ 77807 w 1113054"/>
              <a:gd name="connsiteY75" fmla="*/ 329665 h 519291"/>
              <a:gd name="connsiteX76" fmla="*/ 76534 w 1113054"/>
              <a:gd name="connsiteY76" fmla="*/ 329665 h 519291"/>
              <a:gd name="connsiteX77" fmla="*/ 67916 w 1113054"/>
              <a:gd name="connsiteY77" fmla="*/ 324517 h 519291"/>
              <a:gd name="connsiteX78" fmla="*/ 56347 w 1113054"/>
              <a:gd name="connsiteY78" fmla="*/ 314741 h 519291"/>
              <a:gd name="connsiteX79" fmla="*/ 61842 w 1113054"/>
              <a:gd name="connsiteY79" fmla="*/ 310229 h 519291"/>
              <a:gd name="connsiteX80" fmla="*/ 65775 w 1113054"/>
              <a:gd name="connsiteY80" fmla="*/ 307742 h 519291"/>
              <a:gd name="connsiteX81" fmla="*/ 57677 w 1113054"/>
              <a:gd name="connsiteY81" fmla="*/ 295132 h 519291"/>
              <a:gd name="connsiteX82" fmla="*/ 49694 w 1113054"/>
              <a:gd name="connsiteY82" fmla="*/ 284488 h 519291"/>
              <a:gd name="connsiteX83" fmla="*/ 41538 w 1113054"/>
              <a:gd name="connsiteY83" fmla="*/ 276101 h 519291"/>
              <a:gd name="connsiteX84" fmla="*/ 37778 w 1113054"/>
              <a:gd name="connsiteY84" fmla="*/ 276101 h 519291"/>
              <a:gd name="connsiteX85" fmla="*/ 32746 w 1113054"/>
              <a:gd name="connsiteY85" fmla="*/ 276101 h 519291"/>
              <a:gd name="connsiteX86" fmla="*/ 22507 w 1113054"/>
              <a:gd name="connsiteY86" fmla="*/ 277547 h 519291"/>
              <a:gd name="connsiteX87" fmla="*/ 16723 w 1113054"/>
              <a:gd name="connsiteY87" fmla="*/ 276679 h 519291"/>
              <a:gd name="connsiteX88" fmla="*/ 16145 w 1113054"/>
              <a:gd name="connsiteY88" fmla="*/ 261871 h 519291"/>
              <a:gd name="connsiteX89" fmla="*/ 7410 w 1113054"/>
              <a:gd name="connsiteY89" fmla="*/ 254872 h 519291"/>
              <a:gd name="connsiteX90" fmla="*/ 585 w 1113054"/>
              <a:gd name="connsiteY90" fmla="*/ 251633 h 519291"/>
              <a:gd name="connsiteX91" fmla="*/ 585 w 1113054"/>
              <a:gd name="connsiteY91" fmla="*/ 244981 h 519291"/>
              <a:gd name="connsiteX92" fmla="*/ 7237 w 1113054"/>
              <a:gd name="connsiteY92" fmla="*/ 233065 h 519291"/>
              <a:gd name="connsiteX93" fmla="*/ 16318 w 1113054"/>
              <a:gd name="connsiteY93" fmla="*/ 225603 h 519291"/>
              <a:gd name="connsiteX94" fmla="*/ 13137 w 1113054"/>
              <a:gd name="connsiteY94" fmla="*/ 223115 h 519291"/>
              <a:gd name="connsiteX95" fmla="*/ 7989 w 1113054"/>
              <a:gd name="connsiteY95" fmla="*/ 211547 h 519291"/>
              <a:gd name="connsiteX96" fmla="*/ 16260 w 1113054"/>
              <a:gd name="connsiteY96" fmla="*/ 203448 h 519291"/>
              <a:gd name="connsiteX97" fmla="*/ 22392 w 1113054"/>
              <a:gd name="connsiteY97" fmla="*/ 195177 h 519291"/>
              <a:gd name="connsiteX98" fmla="*/ 33035 w 1113054"/>
              <a:gd name="connsiteY98" fmla="*/ 182104 h 519291"/>
              <a:gd name="connsiteX99" fmla="*/ 39918 w 1113054"/>
              <a:gd name="connsiteY99" fmla="*/ 184533 h 519291"/>
              <a:gd name="connsiteX100" fmla="*/ 48190 w 1113054"/>
              <a:gd name="connsiteY100" fmla="*/ 194078 h 519291"/>
              <a:gd name="connsiteX101" fmla="*/ 60627 w 1113054"/>
              <a:gd name="connsiteY101" fmla="*/ 202581 h 519291"/>
              <a:gd name="connsiteX102" fmla="*/ 64908 w 1113054"/>
              <a:gd name="connsiteY102" fmla="*/ 199168 h 519291"/>
              <a:gd name="connsiteX103" fmla="*/ 63577 w 1113054"/>
              <a:gd name="connsiteY103" fmla="*/ 190318 h 519291"/>
              <a:gd name="connsiteX104" fmla="*/ 62362 w 1113054"/>
              <a:gd name="connsiteY104" fmla="*/ 186963 h 519291"/>
              <a:gd name="connsiteX105" fmla="*/ 62362 w 1113054"/>
              <a:gd name="connsiteY105" fmla="*/ 186269 h 519291"/>
              <a:gd name="connsiteX106" fmla="*/ 62362 w 1113054"/>
              <a:gd name="connsiteY106" fmla="*/ 175799 h 519291"/>
              <a:gd name="connsiteX107" fmla="*/ 70460 w 1113054"/>
              <a:gd name="connsiteY107" fmla="*/ 171056 h 519291"/>
              <a:gd name="connsiteX108" fmla="*/ 77980 w 1113054"/>
              <a:gd name="connsiteY108" fmla="*/ 163767 h 519291"/>
              <a:gd name="connsiteX109" fmla="*/ 85211 w 1113054"/>
              <a:gd name="connsiteY109" fmla="*/ 157694 h 519291"/>
              <a:gd name="connsiteX110" fmla="*/ 108869 w 1113054"/>
              <a:gd name="connsiteY110" fmla="*/ 147282 h 519291"/>
              <a:gd name="connsiteX111" fmla="*/ 113786 w 1113054"/>
              <a:gd name="connsiteY111" fmla="*/ 144447 h 519291"/>
              <a:gd name="connsiteX112" fmla="*/ 115232 w 1113054"/>
              <a:gd name="connsiteY112" fmla="*/ 143695 h 519291"/>
              <a:gd name="connsiteX113" fmla="*/ 132123 w 1113054"/>
              <a:gd name="connsiteY113" fmla="*/ 137911 h 519291"/>
              <a:gd name="connsiteX114" fmla="*/ 135419 w 1113054"/>
              <a:gd name="connsiteY114" fmla="*/ 138605 h 519291"/>
              <a:gd name="connsiteX115" fmla="*/ 138196 w 1113054"/>
              <a:gd name="connsiteY115" fmla="*/ 140167 h 519291"/>
              <a:gd name="connsiteX116" fmla="*/ 144386 w 1113054"/>
              <a:gd name="connsiteY116" fmla="*/ 142828 h 519291"/>
              <a:gd name="connsiteX117" fmla="*/ 148376 w 1113054"/>
              <a:gd name="connsiteY117" fmla="*/ 139126 h 519291"/>
              <a:gd name="connsiteX118" fmla="*/ 158384 w 1113054"/>
              <a:gd name="connsiteY118" fmla="*/ 133341 h 519291"/>
              <a:gd name="connsiteX119" fmla="*/ 169953 w 1113054"/>
              <a:gd name="connsiteY119" fmla="*/ 139126 h 519291"/>
              <a:gd name="connsiteX120" fmla="*/ 183893 w 1113054"/>
              <a:gd name="connsiteY120" fmla="*/ 143348 h 519291"/>
              <a:gd name="connsiteX121" fmla="*/ 201246 w 1113054"/>
              <a:gd name="connsiteY121" fmla="*/ 148149 h 519291"/>
              <a:gd name="connsiteX122" fmla="*/ 204254 w 1113054"/>
              <a:gd name="connsiteY122" fmla="*/ 150174 h 519291"/>
              <a:gd name="connsiteX123" fmla="*/ 224731 w 1113054"/>
              <a:gd name="connsiteY123" fmla="*/ 168453 h 519291"/>
              <a:gd name="connsiteX124" fmla="*/ 226408 w 1113054"/>
              <a:gd name="connsiteY124" fmla="*/ 172791 h 519291"/>
              <a:gd name="connsiteX125" fmla="*/ 229012 w 1113054"/>
              <a:gd name="connsiteY125" fmla="*/ 174873 h 519291"/>
              <a:gd name="connsiteX126" fmla="*/ 229822 w 1113054"/>
              <a:gd name="connsiteY126" fmla="*/ 172155 h 519291"/>
              <a:gd name="connsiteX127" fmla="*/ 234507 w 1113054"/>
              <a:gd name="connsiteY127" fmla="*/ 165503 h 519291"/>
              <a:gd name="connsiteX128" fmla="*/ 247233 w 1113054"/>
              <a:gd name="connsiteY128" fmla="*/ 171287 h 519291"/>
              <a:gd name="connsiteX129" fmla="*/ 259206 w 1113054"/>
              <a:gd name="connsiteY129" fmla="*/ 174584 h 519291"/>
              <a:gd name="connsiteX130" fmla="*/ 270775 w 1113054"/>
              <a:gd name="connsiteY130" fmla="*/ 169378 h 519291"/>
              <a:gd name="connsiteX131" fmla="*/ 292698 w 1113054"/>
              <a:gd name="connsiteY131" fmla="*/ 158619 h 519291"/>
              <a:gd name="connsiteX132" fmla="*/ 299177 w 1113054"/>
              <a:gd name="connsiteY132" fmla="*/ 160470 h 519291"/>
              <a:gd name="connsiteX133" fmla="*/ 300970 w 1113054"/>
              <a:gd name="connsiteY133" fmla="*/ 161974 h 519291"/>
              <a:gd name="connsiteX134" fmla="*/ 307159 w 1113054"/>
              <a:gd name="connsiteY134" fmla="*/ 165560 h 519291"/>
              <a:gd name="connsiteX135" fmla="*/ 313406 w 1113054"/>
              <a:gd name="connsiteY135" fmla="*/ 161743 h 519291"/>
              <a:gd name="connsiteX136" fmla="*/ 328041 w 1113054"/>
              <a:gd name="connsiteY136" fmla="*/ 156537 h 519291"/>
              <a:gd name="connsiteX137" fmla="*/ 341924 w 1113054"/>
              <a:gd name="connsiteY137" fmla="*/ 163362 h 519291"/>
              <a:gd name="connsiteX138" fmla="*/ 359277 w 1113054"/>
              <a:gd name="connsiteY138" fmla="*/ 171114 h 519291"/>
              <a:gd name="connsiteX139" fmla="*/ 367896 w 1113054"/>
              <a:gd name="connsiteY139" fmla="*/ 176898 h 519291"/>
              <a:gd name="connsiteX140" fmla="*/ 371251 w 1113054"/>
              <a:gd name="connsiteY140" fmla="*/ 179964 h 519291"/>
              <a:gd name="connsiteX141" fmla="*/ 372061 w 1113054"/>
              <a:gd name="connsiteY141" fmla="*/ 179964 h 519291"/>
              <a:gd name="connsiteX142" fmla="*/ 375531 w 1113054"/>
              <a:gd name="connsiteY142" fmla="*/ 173716 h 519291"/>
              <a:gd name="connsiteX143" fmla="*/ 381316 w 1113054"/>
              <a:gd name="connsiteY143" fmla="*/ 166428 h 519291"/>
              <a:gd name="connsiteX144" fmla="*/ 382357 w 1113054"/>
              <a:gd name="connsiteY144" fmla="*/ 166428 h 519291"/>
              <a:gd name="connsiteX145" fmla="*/ 389761 w 1113054"/>
              <a:gd name="connsiteY145" fmla="*/ 170072 h 519291"/>
              <a:gd name="connsiteX146" fmla="*/ 402718 w 1113054"/>
              <a:gd name="connsiteY146" fmla="*/ 174873 h 519291"/>
              <a:gd name="connsiteX147" fmla="*/ 418568 w 1113054"/>
              <a:gd name="connsiteY147" fmla="*/ 166370 h 519291"/>
              <a:gd name="connsiteX148" fmla="*/ 412436 w 1113054"/>
              <a:gd name="connsiteY148" fmla="*/ 148091 h 519291"/>
              <a:gd name="connsiteX149" fmla="*/ 403123 w 1113054"/>
              <a:gd name="connsiteY149" fmla="*/ 145141 h 519291"/>
              <a:gd name="connsiteX150" fmla="*/ 393058 w 1113054"/>
              <a:gd name="connsiteY150" fmla="*/ 142018 h 519291"/>
              <a:gd name="connsiteX151" fmla="*/ 381489 w 1113054"/>
              <a:gd name="connsiteY151" fmla="*/ 131664 h 519291"/>
              <a:gd name="connsiteX152" fmla="*/ 385133 w 1113054"/>
              <a:gd name="connsiteY152" fmla="*/ 125301 h 519291"/>
              <a:gd name="connsiteX153" fmla="*/ 401272 w 1113054"/>
              <a:gd name="connsiteY153" fmla="*/ 115062 h 519291"/>
              <a:gd name="connsiteX154" fmla="*/ 401272 w 1113054"/>
              <a:gd name="connsiteY154" fmla="*/ 112228 h 519291"/>
              <a:gd name="connsiteX155" fmla="*/ 400520 w 1113054"/>
              <a:gd name="connsiteY155" fmla="*/ 95337 h 519291"/>
              <a:gd name="connsiteX156" fmla="*/ 407057 w 1113054"/>
              <a:gd name="connsiteY156" fmla="*/ 91346 h 519291"/>
              <a:gd name="connsiteX157" fmla="*/ 417006 w 1113054"/>
              <a:gd name="connsiteY157" fmla="*/ 90479 h 519291"/>
              <a:gd name="connsiteX158" fmla="*/ 435227 w 1113054"/>
              <a:gd name="connsiteY158" fmla="*/ 87760 h 519291"/>
              <a:gd name="connsiteX159" fmla="*/ 426319 w 1113054"/>
              <a:gd name="connsiteY159" fmla="*/ 84058 h 519291"/>
              <a:gd name="connsiteX160" fmla="*/ 411105 w 1113054"/>
              <a:gd name="connsiteY160" fmla="*/ 76075 h 519291"/>
              <a:gd name="connsiteX161" fmla="*/ 410180 w 1113054"/>
              <a:gd name="connsiteY161" fmla="*/ 51549 h 519291"/>
              <a:gd name="connsiteX162" fmla="*/ 415560 w 1113054"/>
              <a:gd name="connsiteY162" fmla="*/ 50450 h 519291"/>
              <a:gd name="connsiteX163" fmla="*/ 420824 w 1113054"/>
              <a:gd name="connsiteY163" fmla="*/ 50450 h 519291"/>
              <a:gd name="connsiteX164" fmla="*/ 427013 w 1113054"/>
              <a:gd name="connsiteY164" fmla="*/ 50740 h 519291"/>
              <a:gd name="connsiteX165" fmla="*/ 433549 w 1113054"/>
              <a:gd name="connsiteY165" fmla="*/ 49930 h 519291"/>
              <a:gd name="connsiteX166" fmla="*/ 438813 w 1113054"/>
              <a:gd name="connsiteY166" fmla="*/ 49293 h 519291"/>
              <a:gd name="connsiteX167" fmla="*/ 445060 w 1113054"/>
              <a:gd name="connsiteY167" fmla="*/ 49640 h 519291"/>
              <a:gd name="connsiteX168" fmla="*/ 452580 w 1113054"/>
              <a:gd name="connsiteY168" fmla="*/ 49988 h 519291"/>
              <a:gd name="connsiteX169" fmla="*/ 465884 w 1113054"/>
              <a:gd name="connsiteY169" fmla="*/ 46459 h 519291"/>
              <a:gd name="connsiteX170" fmla="*/ 507763 w 1113054"/>
              <a:gd name="connsiteY170" fmla="*/ 37782 h 519291"/>
              <a:gd name="connsiteX171" fmla="*/ 524249 w 1113054"/>
              <a:gd name="connsiteY171" fmla="*/ 33155 h 519291"/>
              <a:gd name="connsiteX172" fmla="*/ 535471 w 1113054"/>
              <a:gd name="connsiteY172" fmla="*/ 29337 h 519291"/>
              <a:gd name="connsiteX173" fmla="*/ 573995 w 1113054"/>
              <a:gd name="connsiteY173" fmla="*/ 22107 h 519291"/>
              <a:gd name="connsiteX174" fmla="*/ 585159 w 1113054"/>
              <a:gd name="connsiteY174" fmla="*/ 19272 h 519291"/>
              <a:gd name="connsiteX175" fmla="*/ 613271 w 1113054"/>
              <a:gd name="connsiteY175" fmla="*/ 9612 h 519291"/>
              <a:gd name="connsiteX176" fmla="*/ 642193 w 1113054"/>
              <a:gd name="connsiteY176" fmla="*/ -106 h 519291"/>
              <a:gd name="connsiteX177" fmla="*/ 649077 w 1113054"/>
              <a:gd name="connsiteY177" fmla="*/ 936 h 519291"/>
              <a:gd name="connsiteX178" fmla="*/ 664116 w 1113054"/>
              <a:gd name="connsiteY178" fmla="*/ 4869 h 519291"/>
              <a:gd name="connsiteX179" fmla="*/ 669380 w 1113054"/>
              <a:gd name="connsiteY179" fmla="*/ 3943 h 519291"/>
              <a:gd name="connsiteX180" fmla="*/ 686734 w 1113054"/>
              <a:gd name="connsiteY180" fmla="*/ 9728 h 519291"/>
              <a:gd name="connsiteX181" fmla="*/ 688758 w 1113054"/>
              <a:gd name="connsiteY181" fmla="*/ 16033 h 519291"/>
              <a:gd name="connsiteX182" fmla="*/ 691246 w 1113054"/>
              <a:gd name="connsiteY182" fmla="*/ 26329 h 519291"/>
              <a:gd name="connsiteX183" fmla="*/ 693617 w 1113054"/>
              <a:gd name="connsiteY183" fmla="*/ 35295 h 519291"/>
              <a:gd name="connsiteX184" fmla="*/ 690956 w 1113054"/>
              <a:gd name="connsiteY184" fmla="*/ 41079 h 519291"/>
              <a:gd name="connsiteX185" fmla="*/ 690320 w 1113054"/>
              <a:gd name="connsiteY185" fmla="*/ 45880 h 519291"/>
              <a:gd name="connsiteX186" fmla="*/ 696104 w 1113054"/>
              <a:gd name="connsiteY186" fmla="*/ 47500 h 519291"/>
              <a:gd name="connsiteX187" fmla="*/ 713458 w 1113054"/>
              <a:gd name="connsiteY187" fmla="*/ 41716 h 519291"/>
              <a:gd name="connsiteX188" fmla="*/ 717854 w 1113054"/>
              <a:gd name="connsiteY188" fmla="*/ 39518 h 519291"/>
              <a:gd name="connsiteX189" fmla="*/ 725721 w 1113054"/>
              <a:gd name="connsiteY189" fmla="*/ 49120 h 519291"/>
              <a:gd name="connsiteX190" fmla="*/ 727109 w 1113054"/>
              <a:gd name="connsiteY190" fmla="*/ 51607 h 519291"/>
              <a:gd name="connsiteX191" fmla="*/ 729885 w 1113054"/>
              <a:gd name="connsiteY191" fmla="*/ 52764 h 519291"/>
              <a:gd name="connsiteX192" fmla="*/ 731331 w 1113054"/>
              <a:gd name="connsiteY192" fmla="*/ 50971 h 519291"/>
              <a:gd name="connsiteX193" fmla="*/ 734976 w 1113054"/>
              <a:gd name="connsiteY193" fmla="*/ 47014 h 519291"/>
              <a:gd name="connsiteX194" fmla="*/ 735612 w 1113054"/>
              <a:gd name="connsiteY194" fmla="*/ 47037 h 519291"/>
              <a:gd name="connsiteX195" fmla="*/ 746082 w 1113054"/>
              <a:gd name="connsiteY195" fmla="*/ 52070 h 519291"/>
              <a:gd name="connsiteX196" fmla="*/ 752560 w 1113054"/>
              <a:gd name="connsiteY196" fmla="*/ 52070 h 519291"/>
              <a:gd name="connsiteX197" fmla="*/ 757188 w 1113054"/>
              <a:gd name="connsiteY197" fmla="*/ 51260 h 519291"/>
              <a:gd name="connsiteX198" fmla="*/ 760890 w 1113054"/>
              <a:gd name="connsiteY198" fmla="*/ 53984 h 519291"/>
              <a:gd name="connsiteX199" fmla="*/ 760890 w 1113054"/>
              <a:gd name="connsiteY199" fmla="*/ 54789 h 519291"/>
              <a:gd name="connsiteX200" fmla="*/ 754701 w 1113054"/>
              <a:gd name="connsiteY200" fmla="*/ 62713 h 519291"/>
              <a:gd name="connsiteX201" fmla="*/ 749379 w 1113054"/>
              <a:gd name="connsiteY201" fmla="*/ 68903 h 519291"/>
              <a:gd name="connsiteX202" fmla="*/ 750767 w 1113054"/>
              <a:gd name="connsiteY202" fmla="*/ 71506 h 519291"/>
              <a:gd name="connsiteX203" fmla="*/ 753891 w 1113054"/>
              <a:gd name="connsiteY203" fmla="*/ 72952 h 519291"/>
              <a:gd name="connsiteX204" fmla="*/ 759675 w 1113054"/>
              <a:gd name="connsiteY204" fmla="*/ 70002 h 519291"/>
              <a:gd name="connsiteX205" fmla="*/ 768410 w 1113054"/>
              <a:gd name="connsiteY205" fmla="*/ 65952 h 519291"/>
              <a:gd name="connsiteX206" fmla="*/ 771302 w 1113054"/>
              <a:gd name="connsiteY206" fmla="*/ 66415 h 519291"/>
              <a:gd name="connsiteX207" fmla="*/ 788655 w 1113054"/>
              <a:gd name="connsiteY207" fmla="*/ 60168 h 519291"/>
              <a:gd name="connsiteX208" fmla="*/ 800224 w 1113054"/>
              <a:gd name="connsiteY208" fmla="*/ 54384 h 519291"/>
              <a:gd name="connsiteX209" fmla="*/ 817577 w 1113054"/>
              <a:gd name="connsiteY209" fmla="*/ 45186 h 519291"/>
              <a:gd name="connsiteX210" fmla="*/ 824634 w 1113054"/>
              <a:gd name="connsiteY210" fmla="*/ 40617 h 519291"/>
              <a:gd name="connsiteX211" fmla="*/ 836666 w 1113054"/>
              <a:gd name="connsiteY211" fmla="*/ 37840 h 519291"/>
              <a:gd name="connsiteX212" fmla="*/ 845285 w 1113054"/>
              <a:gd name="connsiteY212" fmla="*/ 40732 h 519291"/>
              <a:gd name="connsiteX213" fmla="*/ 844186 w 1113054"/>
              <a:gd name="connsiteY213" fmla="*/ 44203 h 519291"/>
              <a:gd name="connsiteX214" fmla="*/ 839963 w 1113054"/>
              <a:gd name="connsiteY214" fmla="*/ 53689 h 519291"/>
              <a:gd name="connsiteX215" fmla="*/ 851532 w 1113054"/>
              <a:gd name="connsiteY215" fmla="*/ 62945 h 519291"/>
              <a:gd name="connsiteX216" fmla="*/ 897807 w 1113054"/>
              <a:gd name="connsiteY216" fmla="*/ 115641 h 519291"/>
              <a:gd name="connsiteX217" fmla="*/ 902377 w 1113054"/>
              <a:gd name="connsiteY217" fmla="*/ 122698 h 519291"/>
              <a:gd name="connsiteX218" fmla="*/ 916144 w 1113054"/>
              <a:gd name="connsiteY218" fmla="*/ 148670 h 519291"/>
              <a:gd name="connsiteX219" fmla="*/ 929853 w 1113054"/>
              <a:gd name="connsiteY219" fmla="*/ 171287 h 519291"/>
              <a:gd name="connsiteX220" fmla="*/ 935638 w 1113054"/>
              <a:gd name="connsiteY220" fmla="*/ 164172 h 519291"/>
              <a:gd name="connsiteX221" fmla="*/ 945182 w 1113054"/>
              <a:gd name="connsiteY221" fmla="*/ 153760 h 519291"/>
              <a:gd name="connsiteX222" fmla="*/ 946743 w 1113054"/>
              <a:gd name="connsiteY222" fmla="*/ 153760 h 519291"/>
              <a:gd name="connsiteX223" fmla="*/ 957387 w 1113054"/>
              <a:gd name="connsiteY223" fmla="*/ 161396 h 519291"/>
              <a:gd name="connsiteX224" fmla="*/ 966873 w 1113054"/>
              <a:gd name="connsiteY224" fmla="*/ 169031 h 519291"/>
              <a:gd name="connsiteX225" fmla="*/ 974277 w 1113054"/>
              <a:gd name="connsiteY225" fmla="*/ 170998 h 519291"/>
              <a:gd name="connsiteX226" fmla="*/ 988912 w 1113054"/>
              <a:gd name="connsiteY226" fmla="*/ 173948 h 519291"/>
              <a:gd name="connsiteX227" fmla="*/ 992903 w 1113054"/>
              <a:gd name="connsiteY227" fmla="*/ 173312 h 519291"/>
              <a:gd name="connsiteX228" fmla="*/ 998687 w 1113054"/>
              <a:gd name="connsiteY228" fmla="*/ 170766 h 519291"/>
              <a:gd name="connsiteX229" fmla="*/ 1017256 w 1113054"/>
              <a:gd name="connsiteY229" fmla="*/ 164982 h 519291"/>
              <a:gd name="connsiteX230" fmla="*/ 1020842 w 1113054"/>
              <a:gd name="connsiteY230" fmla="*/ 165792 h 519291"/>
              <a:gd name="connsiteX231" fmla="*/ 1024717 w 1113054"/>
              <a:gd name="connsiteY231" fmla="*/ 167527 h 519291"/>
              <a:gd name="connsiteX232" fmla="*/ 1038948 w 1113054"/>
              <a:gd name="connsiteY232" fmla="*/ 180831 h 519291"/>
              <a:gd name="connsiteX233" fmla="*/ 1054855 w 1113054"/>
              <a:gd name="connsiteY233" fmla="*/ 194135 h 519291"/>
              <a:gd name="connsiteX234" fmla="*/ 1061854 w 1113054"/>
              <a:gd name="connsiteY234" fmla="*/ 205704 h 519291"/>
              <a:gd name="connsiteX235" fmla="*/ 1074406 w 1113054"/>
              <a:gd name="connsiteY235" fmla="*/ 215885 h 519291"/>
              <a:gd name="connsiteX236" fmla="*/ 1095635 w 1113054"/>
              <a:gd name="connsiteY236" fmla="*/ 212009 h 519291"/>
              <a:gd name="connsiteX237" fmla="*/ 1102807 w 1113054"/>
              <a:gd name="connsiteY237" fmla="*/ 209233 h 519291"/>
              <a:gd name="connsiteX238" fmla="*/ 1107030 w 1113054"/>
              <a:gd name="connsiteY238" fmla="*/ 213629 h 519291"/>
              <a:gd name="connsiteX239" fmla="*/ 1112815 w 1113054"/>
              <a:gd name="connsiteY239" fmla="*/ 223289 h 519291"/>
              <a:gd name="connsiteX240" fmla="*/ 1112815 w 1113054"/>
              <a:gd name="connsiteY240" fmla="*/ 224330 h 519291"/>
              <a:gd name="connsiteX241" fmla="*/ 1107435 w 1113054"/>
              <a:gd name="connsiteY241" fmla="*/ 233701 h 519291"/>
              <a:gd name="connsiteX242" fmla="*/ 1103443 w 1113054"/>
              <a:gd name="connsiteY242" fmla="*/ 241626 h 519291"/>
              <a:gd name="connsiteX243" fmla="*/ 1090544 w 1113054"/>
              <a:gd name="connsiteY243" fmla="*/ 257822 h 519291"/>
              <a:gd name="connsiteX244" fmla="*/ 1073770 w 1113054"/>
              <a:gd name="connsiteY244" fmla="*/ 277431 h 519291"/>
              <a:gd name="connsiteX245" fmla="*/ 1076951 w 1113054"/>
              <a:gd name="connsiteY245" fmla="*/ 290967 h 519291"/>
              <a:gd name="connsiteX246" fmla="*/ 1077529 w 1113054"/>
              <a:gd name="connsiteY246" fmla="*/ 299817 h 519291"/>
              <a:gd name="connsiteX247" fmla="*/ 1054392 w 1113054"/>
              <a:gd name="connsiteY247" fmla="*/ 310518 h 519291"/>
              <a:gd name="connsiteX248" fmla="*/ 1054392 w 1113054"/>
              <a:gd name="connsiteY248" fmla="*/ 310518 h 519291"/>
              <a:gd name="connsiteX249" fmla="*/ 1050285 w 1113054"/>
              <a:gd name="connsiteY249" fmla="*/ 309766 h 519291"/>
              <a:gd name="connsiteX250" fmla="*/ 1036228 w 1113054"/>
              <a:gd name="connsiteY250" fmla="*/ 308089 h 519291"/>
              <a:gd name="connsiteX251" fmla="*/ 1025469 w 1113054"/>
              <a:gd name="connsiteY251" fmla="*/ 307626 h 519291"/>
              <a:gd name="connsiteX252" fmla="*/ 1016620 w 1113054"/>
              <a:gd name="connsiteY252" fmla="*/ 304040 h 519291"/>
              <a:gd name="connsiteX253" fmla="*/ 1011472 w 1113054"/>
              <a:gd name="connsiteY253" fmla="*/ 301899 h 519291"/>
              <a:gd name="connsiteX254" fmla="*/ 1008290 w 1113054"/>
              <a:gd name="connsiteY254" fmla="*/ 306758 h 519291"/>
              <a:gd name="connsiteX255" fmla="*/ 1000481 w 1113054"/>
              <a:gd name="connsiteY255" fmla="*/ 328045 h 519291"/>
              <a:gd name="connsiteX256" fmla="*/ 991168 w 1113054"/>
              <a:gd name="connsiteY256" fmla="*/ 358182 h 519291"/>
              <a:gd name="connsiteX257" fmla="*/ 995911 w 1113054"/>
              <a:gd name="connsiteY257" fmla="*/ 369751 h 519291"/>
              <a:gd name="connsiteX258" fmla="*/ 990416 w 1113054"/>
              <a:gd name="connsiteY258" fmla="*/ 372817 h 519291"/>
              <a:gd name="connsiteX259" fmla="*/ 970055 w 1113054"/>
              <a:gd name="connsiteY259" fmla="*/ 367495 h 519291"/>
              <a:gd name="connsiteX260" fmla="*/ 959122 w 1113054"/>
              <a:gd name="connsiteY260" fmla="*/ 369404 h 519291"/>
              <a:gd name="connsiteX261" fmla="*/ 945066 w 1113054"/>
              <a:gd name="connsiteY261" fmla="*/ 372817 h 519291"/>
              <a:gd name="connsiteX262" fmla="*/ 945066 w 1113054"/>
              <a:gd name="connsiteY262" fmla="*/ 372817 h 519291"/>
              <a:gd name="connsiteX263" fmla="*/ 929332 w 1113054"/>
              <a:gd name="connsiteY263" fmla="*/ 380741 h 519291"/>
              <a:gd name="connsiteX264" fmla="*/ 929911 w 1113054"/>
              <a:gd name="connsiteY264" fmla="*/ 381377 h 519291"/>
              <a:gd name="connsiteX265" fmla="*/ 936621 w 1113054"/>
              <a:gd name="connsiteY265" fmla="*/ 406019 h 519291"/>
              <a:gd name="connsiteX266" fmla="*/ 941537 w 1113054"/>
              <a:gd name="connsiteY266" fmla="*/ 418051 h 519291"/>
              <a:gd name="connsiteX267" fmla="*/ 947322 w 1113054"/>
              <a:gd name="connsiteY267" fmla="*/ 436734 h 519291"/>
              <a:gd name="connsiteX268" fmla="*/ 940785 w 1113054"/>
              <a:gd name="connsiteY268" fmla="*/ 444890 h 519291"/>
              <a:gd name="connsiteX269" fmla="*/ 932919 w 1113054"/>
              <a:gd name="connsiteY269" fmla="*/ 456922 h 519291"/>
              <a:gd name="connsiteX270" fmla="*/ 933266 w 1113054"/>
              <a:gd name="connsiteY270" fmla="*/ 463574 h 519291"/>
              <a:gd name="connsiteX271" fmla="*/ 933266 w 1113054"/>
              <a:gd name="connsiteY271" fmla="*/ 467623 h 519291"/>
              <a:gd name="connsiteX272" fmla="*/ 933266 w 1113054"/>
              <a:gd name="connsiteY272" fmla="*/ 468028 h 519291"/>
              <a:gd name="connsiteX273" fmla="*/ 932167 w 1113054"/>
              <a:gd name="connsiteY273" fmla="*/ 469127 h 519291"/>
              <a:gd name="connsiteX274" fmla="*/ 932167 w 1113054"/>
              <a:gd name="connsiteY274" fmla="*/ 469127 h 519291"/>
              <a:gd name="connsiteX275" fmla="*/ 931472 w 1113054"/>
              <a:gd name="connsiteY275" fmla="*/ 469127 h 519291"/>
              <a:gd name="connsiteX276" fmla="*/ 922160 w 1113054"/>
              <a:gd name="connsiteY276" fmla="*/ 465830 h 519291"/>
              <a:gd name="connsiteX277" fmla="*/ 919846 w 1113054"/>
              <a:gd name="connsiteY277" fmla="*/ 465830 h 519291"/>
              <a:gd name="connsiteX278" fmla="*/ 908277 w 1113054"/>
              <a:gd name="connsiteY278" fmla="*/ 460046 h 519291"/>
              <a:gd name="connsiteX279" fmla="*/ 893989 w 1113054"/>
              <a:gd name="connsiteY279" fmla="*/ 453683 h 519291"/>
              <a:gd name="connsiteX280" fmla="*/ 889477 w 1113054"/>
              <a:gd name="connsiteY280" fmla="*/ 453972 h 519291"/>
              <a:gd name="connsiteX281" fmla="*/ 882999 w 1113054"/>
              <a:gd name="connsiteY281" fmla="*/ 453104 h 519291"/>
              <a:gd name="connsiteX282" fmla="*/ 827816 w 1113054"/>
              <a:gd name="connsiteY282" fmla="*/ 447320 h 519291"/>
              <a:gd name="connsiteX283" fmla="*/ 813471 w 1113054"/>
              <a:gd name="connsiteY283" fmla="*/ 448766 h 519291"/>
              <a:gd name="connsiteX284" fmla="*/ 808033 w 1113054"/>
              <a:gd name="connsiteY284" fmla="*/ 449749 h 519291"/>
              <a:gd name="connsiteX285" fmla="*/ 778243 w 1113054"/>
              <a:gd name="connsiteY285" fmla="*/ 439280 h 519291"/>
              <a:gd name="connsiteX286" fmla="*/ 776161 w 1113054"/>
              <a:gd name="connsiteY286" fmla="*/ 438238 h 519291"/>
              <a:gd name="connsiteX287" fmla="*/ 749552 w 1113054"/>
              <a:gd name="connsiteY287" fmla="*/ 448650 h 519291"/>
              <a:gd name="connsiteX288" fmla="*/ 740066 w 1113054"/>
              <a:gd name="connsiteY288" fmla="*/ 458715 h 519291"/>
              <a:gd name="connsiteX289" fmla="*/ 723696 w 1113054"/>
              <a:gd name="connsiteY289" fmla="*/ 453567 h 519291"/>
              <a:gd name="connsiteX290" fmla="*/ 701079 w 1113054"/>
              <a:gd name="connsiteY290" fmla="*/ 448361 h 519291"/>
              <a:gd name="connsiteX291" fmla="*/ 688180 w 1113054"/>
              <a:gd name="connsiteY291" fmla="*/ 453509 h 519291"/>
              <a:gd name="connsiteX292" fmla="*/ 670826 w 1113054"/>
              <a:gd name="connsiteY292" fmla="*/ 473003 h 519291"/>
              <a:gd name="connsiteX293" fmla="*/ 663191 w 1113054"/>
              <a:gd name="connsiteY293" fmla="*/ 487580 h 519291"/>
              <a:gd name="connsiteX294" fmla="*/ 661802 w 1113054"/>
              <a:gd name="connsiteY294" fmla="*/ 488227 h 519291"/>
              <a:gd name="connsiteX295" fmla="*/ 661745 w 1113054"/>
              <a:gd name="connsiteY295" fmla="*/ 488216 h 519291"/>
              <a:gd name="connsiteX296" fmla="*/ 646763 w 1113054"/>
              <a:gd name="connsiteY296" fmla="*/ 489720 h 519291"/>
              <a:gd name="connsiteX297" fmla="*/ 619403 w 1113054"/>
              <a:gd name="connsiteY297" fmla="*/ 510428 h 519291"/>
              <a:gd name="connsiteX298" fmla="*/ 609454 w 1113054"/>
              <a:gd name="connsiteY298" fmla="*/ 519163 h 519291"/>
              <a:gd name="connsiteX299" fmla="*/ 573706 w 1113054"/>
              <a:gd name="connsiteY299" fmla="*/ 497991 h 519291"/>
              <a:gd name="connsiteX300" fmla="*/ 583308 w 1113054"/>
              <a:gd name="connsiteY300" fmla="*/ 498743 h 519291"/>
              <a:gd name="connsiteX301" fmla="*/ 606792 w 1113054"/>
              <a:gd name="connsiteY301" fmla="*/ 513725 h 519291"/>
              <a:gd name="connsiteX302" fmla="*/ 609454 w 1113054"/>
              <a:gd name="connsiteY302" fmla="*/ 516907 h 519291"/>
              <a:gd name="connsiteX303" fmla="*/ 617494 w 1113054"/>
              <a:gd name="connsiteY303" fmla="*/ 509329 h 519291"/>
              <a:gd name="connsiteX304" fmla="*/ 646416 w 1113054"/>
              <a:gd name="connsiteY304" fmla="*/ 486943 h 519291"/>
              <a:gd name="connsiteX305" fmla="*/ 661918 w 1113054"/>
              <a:gd name="connsiteY305" fmla="*/ 485092 h 519291"/>
              <a:gd name="connsiteX306" fmla="*/ 670363 w 1113054"/>
              <a:gd name="connsiteY306" fmla="*/ 470226 h 519291"/>
              <a:gd name="connsiteX307" fmla="*/ 686676 w 1113054"/>
              <a:gd name="connsiteY307" fmla="*/ 452584 h 519291"/>
              <a:gd name="connsiteX308" fmla="*/ 701831 w 1113054"/>
              <a:gd name="connsiteY308" fmla="*/ 445411 h 519291"/>
              <a:gd name="connsiteX309" fmla="*/ 725431 w 1113054"/>
              <a:gd name="connsiteY309" fmla="*/ 450848 h 519291"/>
              <a:gd name="connsiteX310" fmla="*/ 748048 w 1113054"/>
              <a:gd name="connsiteY310" fmla="*/ 447783 h 519291"/>
              <a:gd name="connsiteX311" fmla="*/ 770666 w 1113054"/>
              <a:gd name="connsiteY311" fmla="*/ 434189 h 519291"/>
              <a:gd name="connsiteX312" fmla="*/ 777954 w 1113054"/>
              <a:gd name="connsiteY312" fmla="*/ 435520 h 519291"/>
              <a:gd name="connsiteX313" fmla="*/ 780036 w 1113054"/>
              <a:gd name="connsiteY313" fmla="*/ 436561 h 519291"/>
              <a:gd name="connsiteX314" fmla="*/ 808959 w 1113054"/>
              <a:gd name="connsiteY314" fmla="*/ 446742 h 519291"/>
              <a:gd name="connsiteX315" fmla="*/ 813528 w 1113054"/>
              <a:gd name="connsiteY315" fmla="*/ 445990 h 519291"/>
              <a:gd name="connsiteX316" fmla="*/ 828741 w 1113054"/>
              <a:gd name="connsiteY316" fmla="*/ 444370 h 519291"/>
              <a:gd name="connsiteX317" fmla="*/ 884503 w 1113054"/>
              <a:gd name="connsiteY317" fmla="*/ 450154 h 519291"/>
              <a:gd name="connsiteX318" fmla="*/ 894684 w 1113054"/>
              <a:gd name="connsiteY318" fmla="*/ 450675 h 519291"/>
              <a:gd name="connsiteX319" fmla="*/ 910938 w 1113054"/>
              <a:gd name="connsiteY319" fmla="*/ 457790 h 519291"/>
              <a:gd name="connsiteX320" fmla="*/ 920656 w 1113054"/>
              <a:gd name="connsiteY320" fmla="*/ 462707 h 519291"/>
              <a:gd name="connsiteX321" fmla="*/ 922969 w 1113054"/>
              <a:gd name="connsiteY321" fmla="*/ 462707 h 519291"/>
              <a:gd name="connsiteX322" fmla="*/ 931704 w 1113054"/>
              <a:gd name="connsiteY322" fmla="*/ 465136 h 519291"/>
              <a:gd name="connsiteX323" fmla="*/ 931704 w 1113054"/>
              <a:gd name="connsiteY323" fmla="*/ 463169 h 519291"/>
              <a:gd name="connsiteX324" fmla="*/ 931357 w 1113054"/>
              <a:gd name="connsiteY324" fmla="*/ 456344 h 519291"/>
              <a:gd name="connsiteX325" fmla="*/ 939918 w 1113054"/>
              <a:gd name="connsiteY325" fmla="*/ 442692 h 519291"/>
              <a:gd name="connsiteX326" fmla="*/ 945703 w 1113054"/>
              <a:gd name="connsiteY326" fmla="*/ 435346 h 519291"/>
              <a:gd name="connsiteX327" fmla="*/ 939918 w 1113054"/>
              <a:gd name="connsiteY327" fmla="*/ 418456 h 519291"/>
              <a:gd name="connsiteX328" fmla="*/ 934770 w 1113054"/>
              <a:gd name="connsiteY328" fmla="*/ 405441 h 519291"/>
              <a:gd name="connsiteX329" fmla="*/ 929332 w 1113054"/>
              <a:gd name="connsiteY329" fmla="*/ 382823 h 519291"/>
              <a:gd name="connsiteX330" fmla="*/ 927539 w 1113054"/>
              <a:gd name="connsiteY330" fmla="*/ 379642 h 519291"/>
              <a:gd name="connsiteX331" fmla="*/ 945355 w 1113054"/>
              <a:gd name="connsiteY331" fmla="*/ 369982 h 519291"/>
              <a:gd name="connsiteX332" fmla="*/ 946165 w 1113054"/>
              <a:gd name="connsiteY332" fmla="*/ 369982 h 519291"/>
              <a:gd name="connsiteX333" fmla="*/ 958718 w 1113054"/>
              <a:gd name="connsiteY333" fmla="*/ 366685 h 519291"/>
              <a:gd name="connsiteX334" fmla="*/ 968493 w 1113054"/>
              <a:gd name="connsiteY334" fmla="*/ 363966 h 519291"/>
              <a:gd name="connsiteX335" fmla="*/ 972021 w 1113054"/>
              <a:gd name="connsiteY335" fmla="*/ 365239 h 519291"/>
              <a:gd name="connsiteX336" fmla="*/ 990821 w 1113054"/>
              <a:gd name="connsiteY336" fmla="*/ 369924 h 519291"/>
              <a:gd name="connsiteX337" fmla="*/ 994176 w 1113054"/>
              <a:gd name="connsiteY337" fmla="*/ 368362 h 519291"/>
              <a:gd name="connsiteX338" fmla="*/ 990069 w 1113054"/>
              <a:gd name="connsiteY338" fmla="*/ 359107 h 519291"/>
              <a:gd name="connsiteX339" fmla="*/ 998745 w 1113054"/>
              <a:gd name="connsiteY339" fmla="*/ 326368 h 519291"/>
              <a:gd name="connsiteX340" fmla="*/ 1006439 w 1113054"/>
              <a:gd name="connsiteY340" fmla="*/ 305428 h 519291"/>
              <a:gd name="connsiteX341" fmla="*/ 1011876 w 1113054"/>
              <a:gd name="connsiteY341" fmla="*/ 298834 h 519291"/>
              <a:gd name="connsiteX342" fmla="*/ 1018123 w 1113054"/>
              <a:gd name="connsiteY342" fmla="*/ 301263 h 519291"/>
              <a:gd name="connsiteX343" fmla="*/ 1026163 w 1113054"/>
              <a:gd name="connsiteY343" fmla="*/ 304560 h 519291"/>
              <a:gd name="connsiteX344" fmla="*/ 1036692 w 1113054"/>
              <a:gd name="connsiteY344" fmla="*/ 305023 h 519291"/>
              <a:gd name="connsiteX345" fmla="*/ 1051673 w 1113054"/>
              <a:gd name="connsiteY345" fmla="*/ 306932 h 519291"/>
              <a:gd name="connsiteX346" fmla="*/ 1054797 w 1113054"/>
              <a:gd name="connsiteY346" fmla="*/ 307452 h 519291"/>
              <a:gd name="connsiteX347" fmla="*/ 1075967 w 1113054"/>
              <a:gd name="connsiteY347" fmla="*/ 297792 h 519291"/>
              <a:gd name="connsiteX348" fmla="*/ 1075331 w 1113054"/>
              <a:gd name="connsiteY348" fmla="*/ 291198 h 519291"/>
              <a:gd name="connsiteX349" fmla="*/ 1071861 w 1113054"/>
              <a:gd name="connsiteY349" fmla="*/ 276564 h 519291"/>
              <a:gd name="connsiteX350" fmla="*/ 1090892 w 1113054"/>
              <a:gd name="connsiteY350" fmla="*/ 254756 h 519291"/>
              <a:gd name="connsiteX351" fmla="*/ 1101535 w 1113054"/>
              <a:gd name="connsiteY351" fmla="*/ 240816 h 519291"/>
              <a:gd name="connsiteX352" fmla="*/ 1105989 w 1113054"/>
              <a:gd name="connsiteY352" fmla="*/ 231503 h 519291"/>
              <a:gd name="connsiteX353" fmla="*/ 1110790 w 1113054"/>
              <a:gd name="connsiteY353" fmla="*/ 223520 h 519291"/>
              <a:gd name="connsiteX354" fmla="*/ 1105005 w 1113054"/>
              <a:gd name="connsiteY354" fmla="*/ 213108 h 519291"/>
              <a:gd name="connsiteX355" fmla="*/ 1103039 w 1113054"/>
              <a:gd name="connsiteY355" fmla="*/ 210679 h 519291"/>
              <a:gd name="connsiteX356" fmla="*/ 1097254 w 1113054"/>
              <a:gd name="connsiteY356" fmla="*/ 213108 h 519291"/>
              <a:gd name="connsiteX357" fmla="*/ 1074869 w 1113054"/>
              <a:gd name="connsiteY357" fmla="*/ 217331 h 519291"/>
              <a:gd name="connsiteX358" fmla="*/ 1060060 w 1113054"/>
              <a:gd name="connsiteY358" fmla="*/ 204895 h 519291"/>
              <a:gd name="connsiteX359" fmla="*/ 1055317 w 1113054"/>
              <a:gd name="connsiteY359" fmla="*/ 195755 h 519291"/>
              <a:gd name="connsiteX360" fmla="*/ 1037328 w 1113054"/>
              <a:gd name="connsiteY360" fmla="*/ 181120 h 519291"/>
              <a:gd name="connsiteX361" fmla="*/ 1024313 w 1113054"/>
              <a:gd name="connsiteY361" fmla="*/ 168973 h 519291"/>
              <a:gd name="connsiteX362" fmla="*/ 1020206 w 1113054"/>
              <a:gd name="connsiteY362" fmla="*/ 167122 h 519291"/>
              <a:gd name="connsiteX363" fmla="*/ 1017718 w 1113054"/>
              <a:gd name="connsiteY363" fmla="*/ 166602 h 519291"/>
              <a:gd name="connsiteX364" fmla="*/ 1000365 w 1113054"/>
              <a:gd name="connsiteY364" fmla="*/ 172386 h 519291"/>
              <a:gd name="connsiteX365" fmla="*/ 994176 w 1113054"/>
              <a:gd name="connsiteY365" fmla="*/ 174989 h 519291"/>
              <a:gd name="connsiteX366" fmla="*/ 989433 w 1113054"/>
              <a:gd name="connsiteY366" fmla="*/ 175741 h 519291"/>
              <a:gd name="connsiteX367" fmla="*/ 974162 w 1113054"/>
              <a:gd name="connsiteY367" fmla="*/ 172675 h 519291"/>
              <a:gd name="connsiteX368" fmla="*/ 966931 w 1113054"/>
              <a:gd name="connsiteY368" fmla="*/ 170824 h 519291"/>
              <a:gd name="connsiteX369" fmla="*/ 956230 w 1113054"/>
              <a:gd name="connsiteY369" fmla="*/ 162379 h 519291"/>
              <a:gd name="connsiteX370" fmla="*/ 946223 w 1113054"/>
              <a:gd name="connsiteY370" fmla="*/ 155669 h 519291"/>
              <a:gd name="connsiteX371" fmla="*/ 938183 w 1113054"/>
              <a:gd name="connsiteY371" fmla="*/ 164982 h 519291"/>
              <a:gd name="connsiteX372" fmla="*/ 930142 w 1113054"/>
              <a:gd name="connsiteY372" fmla="*/ 173254 h 519291"/>
              <a:gd name="connsiteX373" fmla="*/ 914409 w 1113054"/>
              <a:gd name="connsiteY373" fmla="*/ 149364 h 519291"/>
              <a:gd name="connsiteX374" fmla="*/ 900757 w 1113054"/>
              <a:gd name="connsiteY374" fmla="*/ 123681 h 519291"/>
              <a:gd name="connsiteX375" fmla="*/ 896188 w 1113054"/>
              <a:gd name="connsiteY375" fmla="*/ 116566 h 519291"/>
              <a:gd name="connsiteX376" fmla="*/ 851069 w 1113054"/>
              <a:gd name="connsiteY376" fmla="*/ 64506 h 519291"/>
              <a:gd name="connsiteX377" fmla="*/ 837939 w 1113054"/>
              <a:gd name="connsiteY377" fmla="*/ 53632 h 519291"/>
              <a:gd name="connsiteX378" fmla="*/ 842797 w 1113054"/>
              <a:gd name="connsiteY378" fmla="*/ 42063 h 519291"/>
              <a:gd name="connsiteX379" fmla="*/ 843318 w 1113054"/>
              <a:gd name="connsiteY379" fmla="*/ 41079 h 519291"/>
              <a:gd name="connsiteX380" fmla="*/ 836839 w 1113054"/>
              <a:gd name="connsiteY380" fmla="*/ 39575 h 519291"/>
              <a:gd name="connsiteX381" fmla="*/ 825965 w 1113054"/>
              <a:gd name="connsiteY381" fmla="*/ 42005 h 519291"/>
              <a:gd name="connsiteX382" fmla="*/ 819023 w 1113054"/>
              <a:gd name="connsiteY382" fmla="*/ 46517 h 519291"/>
              <a:gd name="connsiteX383" fmla="*/ 800802 w 1113054"/>
              <a:gd name="connsiteY383" fmla="*/ 56119 h 519291"/>
              <a:gd name="connsiteX384" fmla="*/ 789986 w 1113054"/>
              <a:gd name="connsiteY384" fmla="*/ 61903 h 519291"/>
              <a:gd name="connsiteX385" fmla="*/ 773731 w 1113054"/>
              <a:gd name="connsiteY385" fmla="*/ 68903 h 519291"/>
              <a:gd name="connsiteX386" fmla="*/ 770550 w 1113054"/>
              <a:gd name="connsiteY386" fmla="*/ 68382 h 519291"/>
              <a:gd name="connsiteX387" fmla="*/ 761006 w 1113054"/>
              <a:gd name="connsiteY387" fmla="*/ 71621 h 519291"/>
              <a:gd name="connsiteX388" fmla="*/ 754122 w 1113054"/>
              <a:gd name="connsiteY388" fmla="*/ 75034 h 519291"/>
              <a:gd name="connsiteX389" fmla="*/ 749495 w 1113054"/>
              <a:gd name="connsiteY389" fmla="*/ 73009 h 519291"/>
              <a:gd name="connsiteX390" fmla="*/ 747354 w 1113054"/>
              <a:gd name="connsiteY390" fmla="*/ 68613 h 519291"/>
              <a:gd name="connsiteX391" fmla="*/ 753543 w 1113054"/>
              <a:gd name="connsiteY391" fmla="*/ 60746 h 519291"/>
              <a:gd name="connsiteX392" fmla="*/ 758865 w 1113054"/>
              <a:gd name="connsiteY392" fmla="*/ 54615 h 519291"/>
              <a:gd name="connsiteX393" fmla="*/ 757419 w 1113054"/>
              <a:gd name="connsiteY393" fmla="*/ 53342 h 519291"/>
              <a:gd name="connsiteX394" fmla="*/ 753312 w 1113054"/>
              <a:gd name="connsiteY394" fmla="*/ 54094 h 519291"/>
              <a:gd name="connsiteX395" fmla="*/ 748164 w 1113054"/>
              <a:gd name="connsiteY395" fmla="*/ 54904 h 519291"/>
              <a:gd name="connsiteX396" fmla="*/ 744578 w 1113054"/>
              <a:gd name="connsiteY396" fmla="*/ 53516 h 519291"/>
              <a:gd name="connsiteX397" fmla="*/ 735843 w 1113054"/>
              <a:gd name="connsiteY397" fmla="*/ 49293 h 519291"/>
              <a:gd name="connsiteX398" fmla="*/ 733819 w 1113054"/>
              <a:gd name="connsiteY398" fmla="*/ 50971 h 519291"/>
              <a:gd name="connsiteX399" fmla="*/ 730579 w 1113054"/>
              <a:gd name="connsiteY399" fmla="*/ 54997 h 519291"/>
              <a:gd name="connsiteX400" fmla="*/ 730117 w 1113054"/>
              <a:gd name="connsiteY400" fmla="*/ 55020 h 519291"/>
              <a:gd name="connsiteX401" fmla="*/ 725894 w 1113054"/>
              <a:gd name="connsiteY401" fmla="*/ 53342 h 519291"/>
              <a:gd name="connsiteX402" fmla="*/ 723696 w 1113054"/>
              <a:gd name="connsiteY402" fmla="*/ 49120 h 519291"/>
              <a:gd name="connsiteX403" fmla="*/ 717912 w 1113054"/>
              <a:gd name="connsiteY403" fmla="*/ 41774 h 519291"/>
              <a:gd name="connsiteX404" fmla="*/ 715250 w 1113054"/>
              <a:gd name="connsiteY404" fmla="*/ 43220 h 519291"/>
              <a:gd name="connsiteX405" fmla="*/ 696336 w 1113054"/>
              <a:gd name="connsiteY405" fmla="*/ 49872 h 519291"/>
              <a:gd name="connsiteX406" fmla="*/ 688642 w 1113054"/>
              <a:gd name="connsiteY406" fmla="*/ 47500 h 519291"/>
              <a:gd name="connsiteX407" fmla="*/ 689163 w 1113054"/>
              <a:gd name="connsiteY407" fmla="*/ 39865 h 519291"/>
              <a:gd name="connsiteX408" fmla="*/ 691419 w 1113054"/>
              <a:gd name="connsiteY408" fmla="*/ 35064 h 519291"/>
              <a:gd name="connsiteX409" fmla="*/ 689221 w 1113054"/>
              <a:gd name="connsiteY409" fmla="*/ 27255 h 519291"/>
              <a:gd name="connsiteX410" fmla="*/ 686618 w 1113054"/>
              <a:gd name="connsiteY410" fmla="*/ 15686 h 519291"/>
              <a:gd name="connsiteX411" fmla="*/ 685056 w 1113054"/>
              <a:gd name="connsiteY411" fmla="*/ 11232 h 519291"/>
              <a:gd name="connsiteX412" fmla="*/ 673082 w 1113054"/>
              <a:gd name="connsiteY412" fmla="*/ 5447 h 519291"/>
              <a:gd name="connsiteX413" fmla="*/ 670595 w 1113054"/>
              <a:gd name="connsiteY413" fmla="*/ 5852 h 519291"/>
              <a:gd name="connsiteX414" fmla="*/ 664464 w 1113054"/>
              <a:gd name="connsiteY414" fmla="*/ 6951 h 519291"/>
              <a:gd name="connsiteX415" fmla="*/ 648499 w 1113054"/>
              <a:gd name="connsiteY415" fmla="*/ 2844 h 519291"/>
              <a:gd name="connsiteX416" fmla="*/ 642714 w 1113054"/>
              <a:gd name="connsiteY416" fmla="*/ 1977 h 519291"/>
              <a:gd name="connsiteX417" fmla="*/ 616279 w 1113054"/>
              <a:gd name="connsiteY417" fmla="*/ 9901 h 519291"/>
              <a:gd name="connsiteX418" fmla="*/ 586489 w 1113054"/>
              <a:gd name="connsiteY418" fmla="*/ 21470 h 519291"/>
              <a:gd name="connsiteX419" fmla="*/ 575672 w 1113054"/>
              <a:gd name="connsiteY419" fmla="*/ 24189 h 519291"/>
              <a:gd name="connsiteX420" fmla="*/ 536627 w 1113054"/>
              <a:gd name="connsiteY420" fmla="*/ 31535 h 519291"/>
              <a:gd name="connsiteX421" fmla="*/ 525984 w 1113054"/>
              <a:gd name="connsiteY421" fmla="*/ 35237 h 519291"/>
              <a:gd name="connsiteX422" fmla="*/ 508631 w 1113054"/>
              <a:gd name="connsiteY422" fmla="*/ 40038 h 519291"/>
              <a:gd name="connsiteX423" fmla="*/ 468140 w 1113054"/>
              <a:gd name="connsiteY423" fmla="*/ 48252 h 519291"/>
              <a:gd name="connsiteX424" fmla="*/ 453447 w 1113054"/>
              <a:gd name="connsiteY424" fmla="*/ 52243 h 519291"/>
              <a:gd name="connsiteX425" fmla="*/ 445754 w 1113054"/>
              <a:gd name="connsiteY425" fmla="*/ 51839 h 519291"/>
              <a:gd name="connsiteX426" fmla="*/ 439970 w 1113054"/>
              <a:gd name="connsiteY426" fmla="*/ 51549 h 519291"/>
              <a:gd name="connsiteX427" fmla="*/ 435400 w 1113054"/>
              <a:gd name="connsiteY427" fmla="*/ 52070 h 519291"/>
              <a:gd name="connsiteX428" fmla="*/ 428169 w 1113054"/>
              <a:gd name="connsiteY428" fmla="*/ 52995 h 519291"/>
              <a:gd name="connsiteX429" fmla="*/ 421807 w 1113054"/>
              <a:gd name="connsiteY429" fmla="*/ 52706 h 519291"/>
              <a:gd name="connsiteX430" fmla="*/ 416716 w 1113054"/>
              <a:gd name="connsiteY430" fmla="*/ 52706 h 519291"/>
              <a:gd name="connsiteX431" fmla="*/ 412609 w 1113054"/>
              <a:gd name="connsiteY431" fmla="*/ 53400 h 519291"/>
              <a:gd name="connsiteX432" fmla="*/ 414171 w 1113054"/>
              <a:gd name="connsiteY432" fmla="*/ 74918 h 519291"/>
              <a:gd name="connsiteX433" fmla="*/ 428227 w 1113054"/>
              <a:gd name="connsiteY433" fmla="*/ 81918 h 519291"/>
              <a:gd name="connsiteX434" fmla="*/ 438524 w 1113054"/>
              <a:gd name="connsiteY434" fmla="*/ 87239 h 519291"/>
              <a:gd name="connsiteX435" fmla="*/ 438524 w 1113054"/>
              <a:gd name="connsiteY435" fmla="*/ 89032 h 519291"/>
              <a:gd name="connsiteX436" fmla="*/ 418626 w 1113054"/>
              <a:gd name="connsiteY436" fmla="*/ 92734 h 519291"/>
              <a:gd name="connsiteX437" fmla="*/ 408792 w 1113054"/>
              <a:gd name="connsiteY437" fmla="*/ 93544 h 519291"/>
              <a:gd name="connsiteX438" fmla="*/ 403933 w 1113054"/>
              <a:gd name="connsiteY438" fmla="*/ 96436 h 519291"/>
              <a:gd name="connsiteX439" fmla="*/ 404859 w 1113054"/>
              <a:gd name="connsiteY439" fmla="*/ 111418 h 519291"/>
              <a:gd name="connsiteX440" fmla="*/ 404859 w 1113054"/>
              <a:gd name="connsiteY440" fmla="*/ 116046 h 519291"/>
              <a:gd name="connsiteX441" fmla="*/ 387505 w 1113054"/>
              <a:gd name="connsiteY441" fmla="*/ 127614 h 519291"/>
              <a:gd name="connsiteX442" fmla="*/ 385307 w 1113054"/>
              <a:gd name="connsiteY442" fmla="*/ 131438 h 519291"/>
              <a:gd name="connsiteX443" fmla="*/ 385307 w 1113054"/>
              <a:gd name="connsiteY443" fmla="*/ 131490 h 519291"/>
              <a:gd name="connsiteX444" fmla="*/ 394446 w 1113054"/>
              <a:gd name="connsiteY444" fmla="*/ 139935 h 519291"/>
              <a:gd name="connsiteX445" fmla="*/ 405495 w 1113054"/>
              <a:gd name="connsiteY445" fmla="*/ 143290 h 519291"/>
              <a:gd name="connsiteX446" fmla="*/ 413824 w 1113054"/>
              <a:gd name="connsiteY446" fmla="*/ 146009 h 519291"/>
              <a:gd name="connsiteX447" fmla="*/ 422154 w 1113054"/>
              <a:gd name="connsiteY447" fmla="*/ 166544 h 519291"/>
              <a:gd name="connsiteX448" fmla="*/ 404107 w 1113054"/>
              <a:gd name="connsiteY448" fmla="*/ 177361 h 519291"/>
              <a:gd name="connsiteX449" fmla="*/ 389934 w 1113054"/>
              <a:gd name="connsiteY449" fmla="*/ 172155 h 519291"/>
              <a:gd name="connsiteX450" fmla="*/ 383282 w 1113054"/>
              <a:gd name="connsiteY450" fmla="*/ 168857 h 519291"/>
              <a:gd name="connsiteX451" fmla="*/ 378887 w 1113054"/>
              <a:gd name="connsiteY451" fmla="*/ 174642 h 519291"/>
              <a:gd name="connsiteX452" fmla="*/ 374317 w 1113054"/>
              <a:gd name="connsiteY452" fmla="*/ 182162 h 519291"/>
              <a:gd name="connsiteX453" fmla="*/ 372465 w 1113054"/>
              <a:gd name="connsiteY453" fmla="*/ 182682 h 519291"/>
              <a:gd name="connsiteX454" fmla="*/ 367260 w 1113054"/>
              <a:gd name="connsiteY454" fmla="*/ 178691 h 519291"/>
              <a:gd name="connsiteX455" fmla="*/ 360492 w 1113054"/>
              <a:gd name="connsiteY455" fmla="*/ 173832 h 519291"/>
              <a:gd name="connsiteX456" fmla="*/ 341230 w 1113054"/>
              <a:gd name="connsiteY456" fmla="*/ 164577 h 519291"/>
              <a:gd name="connsiteX457" fmla="*/ 329661 w 1113054"/>
              <a:gd name="connsiteY457" fmla="*/ 159255 h 519291"/>
              <a:gd name="connsiteX458" fmla="*/ 316646 w 1113054"/>
              <a:gd name="connsiteY458" fmla="*/ 163825 h 519291"/>
              <a:gd name="connsiteX459" fmla="*/ 308779 w 1113054"/>
              <a:gd name="connsiteY459" fmla="*/ 168279 h 519291"/>
              <a:gd name="connsiteX460" fmla="*/ 301143 w 1113054"/>
              <a:gd name="connsiteY460" fmla="*/ 164172 h 519291"/>
              <a:gd name="connsiteX461" fmla="*/ 299351 w 1113054"/>
              <a:gd name="connsiteY461" fmla="*/ 162668 h 519291"/>
              <a:gd name="connsiteX462" fmla="*/ 294318 w 1113054"/>
              <a:gd name="connsiteY462" fmla="*/ 161338 h 519291"/>
              <a:gd name="connsiteX463" fmla="*/ 274477 w 1113054"/>
              <a:gd name="connsiteY463" fmla="*/ 170709 h 519291"/>
              <a:gd name="connsiteX464" fmla="*/ 260537 w 1113054"/>
              <a:gd name="connsiteY464" fmla="*/ 177303 h 519291"/>
              <a:gd name="connsiteX465" fmla="*/ 247406 w 1113054"/>
              <a:gd name="connsiteY465" fmla="*/ 173659 h 519291"/>
              <a:gd name="connsiteX466" fmla="*/ 235837 w 1113054"/>
              <a:gd name="connsiteY466" fmla="*/ 168337 h 519291"/>
              <a:gd name="connsiteX467" fmla="*/ 233350 w 1113054"/>
              <a:gd name="connsiteY467" fmla="*/ 172733 h 519291"/>
              <a:gd name="connsiteX468" fmla="*/ 230342 w 1113054"/>
              <a:gd name="connsiteY468" fmla="*/ 177708 h 519291"/>
              <a:gd name="connsiteX469" fmla="*/ 225946 w 1113054"/>
              <a:gd name="connsiteY469" fmla="*/ 174700 h 519291"/>
              <a:gd name="connsiteX470" fmla="*/ 223806 w 1113054"/>
              <a:gd name="connsiteY470" fmla="*/ 168915 h 519291"/>
              <a:gd name="connsiteX471" fmla="*/ 204370 w 1113054"/>
              <a:gd name="connsiteY471" fmla="*/ 152545 h 519291"/>
              <a:gd name="connsiteX472" fmla="*/ 201362 w 1113054"/>
              <a:gd name="connsiteY472" fmla="*/ 150521 h 519291"/>
              <a:gd name="connsiteX473" fmla="*/ 185050 w 1113054"/>
              <a:gd name="connsiteY473" fmla="*/ 146067 h 519291"/>
              <a:gd name="connsiteX474" fmla="*/ 169316 w 1113054"/>
              <a:gd name="connsiteY474" fmla="*/ 140282 h 519291"/>
              <a:gd name="connsiteX475" fmla="*/ 160003 w 1113054"/>
              <a:gd name="connsiteY475" fmla="*/ 136002 h 519291"/>
              <a:gd name="connsiteX476" fmla="*/ 152079 w 1113054"/>
              <a:gd name="connsiteY476" fmla="*/ 140456 h 519291"/>
              <a:gd name="connsiteX477" fmla="*/ 146005 w 1113054"/>
              <a:gd name="connsiteY477" fmla="*/ 145488 h 519291"/>
              <a:gd name="connsiteX478" fmla="*/ 138659 w 1113054"/>
              <a:gd name="connsiteY478" fmla="*/ 142538 h 519291"/>
              <a:gd name="connsiteX479" fmla="*/ 135998 w 1113054"/>
              <a:gd name="connsiteY479" fmla="*/ 140977 h 519291"/>
              <a:gd name="connsiteX480" fmla="*/ 133742 w 1113054"/>
              <a:gd name="connsiteY480" fmla="*/ 140572 h 519291"/>
              <a:gd name="connsiteX481" fmla="*/ 117893 w 1113054"/>
              <a:gd name="connsiteY481" fmla="*/ 146356 h 519291"/>
              <a:gd name="connsiteX482" fmla="*/ 116447 w 1113054"/>
              <a:gd name="connsiteY482" fmla="*/ 147108 h 519291"/>
              <a:gd name="connsiteX483" fmla="*/ 111645 w 1113054"/>
              <a:gd name="connsiteY483" fmla="*/ 149827 h 519291"/>
              <a:gd name="connsiteX484" fmla="*/ 86830 w 1113054"/>
              <a:gd name="connsiteY484" fmla="*/ 160586 h 519291"/>
              <a:gd name="connsiteX485" fmla="*/ 81683 w 1113054"/>
              <a:gd name="connsiteY485" fmla="*/ 165271 h 519291"/>
              <a:gd name="connsiteX486" fmla="*/ 72601 w 1113054"/>
              <a:gd name="connsiteY486" fmla="*/ 173890 h 519291"/>
              <a:gd name="connsiteX487" fmla="*/ 65948 w 1113054"/>
              <a:gd name="connsiteY487" fmla="*/ 177650 h 519291"/>
              <a:gd name="connsiteX488" fmla="*/ 65948 w 1113054"/>
              <a:gd name="connsiteY488" fmla="*/ 186327 h 519291"/>
              <a:gd name="connsiteX489" fmla="*/ 65948 w 1113054"/>
              <a:gd name="connsiteY489" fmla="*/ 187021 h 519291"/>
              <a:gd name="connsiteX490" fmla="*/ 67048 w 1113054"/>
              <a:gd name="connsiteY490" fmla="*/ 190144 h 519291"/>
              <a:gd name="connsiteX491" fmla="*/ 68378 w 1113054"/>
              <a:gd name="connsiteY491" fmla="*/ 200730 h 519291"/>
              <a:gd name="connsiteX492" fmla="*/ 59644 w 1113054"/>
              <a:gd name="connsiteY492" fmla="*/ 205936 h 519291"/>
              <a:gd name="connsiteX493" fmla="*/ 47728 w 1113054"/>
              <a:gd name="connsiteY493" fmla="*/ 195986 h 519291"/>
              <a:gd name="connsiteX494" fmla="*/ 39976 w 1113054"/>
              <a:gd name="connsiteY494" fmla="*/ 186963 h 519291"/>
              <a:gd name="connsiteX495" fmla="*/ 34192 w 1113054"/>
              <a:gd name="connsiteY495" fmla="*/ 184996 h 519291"/>
              <a:gd name="connsiteX496" fmla="*/ 25805 w 1113054"/>
              <a:gd name="connsiteY496" fmla="*/ 195813 h 519291"/>
              <a:gd name="connsiteX497" fmla="*/ 18690 w 1113054"/>
              <a:gd name="connsiteY497" fmla="*/ 205994 h 519291"/>
              <a:gd name="connsiteX498" fmla="*/ 11112 w 1113054"/>
              <a:gd name="connsiteY498" fmla="*/ 213282 h 519291"/>
              <a:gd name="connsiteX499" fmla="*/ 15393 w 1113054"/>
              <a:gd name="connsiteY499" fmla="*/ 221611 h 519291"/>
              <a:gd name="connsiteX500" fmla="*/ 19731 w 1113054"/>
              <a:gd name="connsiteY500" fmla="*/ 226066 h 519291"/>
              <a:gd name="connsiteX501" fmla="*/ 9492 w 1113054"/>
              <a:gd name="connsiteY501" fmla="*/ 235494 h 519291"/>
              <a:gd name="connsiteX502" fmla="*/ 3708 w 1113054"/>
              <a:gd name="connsiteY502" fmla="*/ 246022 h 519291"/>
              <a:gd name="connsiteX503" fmla="*/ 3708 w 1113054"/>
              <a:gd name="connsiteY503" fmla="*/ 250881 h 519291"/>
              <a:gd name="connsiteX504" fmla="*/ 9492 w 1113054"/>
              <a:gd name="connsiteY504" fmla="*/ 253195 h 519291"/>
              <a:gd name="connsiteX505" fmla="*/ 19847 w 1113054"/>
              <a:gd name="connsiteY505" fmla="*/ 262565 h 519291"/>
              <a:gd name="connsiteX506" fmla="*/ 19847 w 1113054"/>
              <a:gd name="connsiteY506" fmla="*/ 275638 h 519291"/>
              <a:gd name="connsiteX507" fmla="*/ 23144 w 1113054"/>
              <a:gd name="connsiteY507" fmla="*/ 275638 h 519291"/>
              <a:gd name="connsiteX508" fmla="*/ 34134 w 1113054"/>
              <a:gd name="connsiteY508" fmla="*/ 274076 h 519291"/>
              <a:gd name="connsiteX509" fmla="*/ 39282 w 1113054"/>
              <a:gd name="connsiteY509" fmla="*/ 274076 h 519291"/>
              <a:gd name="connsiteX510" fmla="*/ 42926 w 1113054"/>
              <a:gd name="connsiteY510" fmla="*/ 274076 h 519291"/>
              <a:gd name="connsiteX511" fmla="*/ 52933 w 1113054"/>
              <a:gd name="connsiteY511" fmla="*/ 283447 h 519291"/>
              <a:gd name="connsiteX512" fmla="*/ 60743 w 1113054"/>
              <a:gd name="connsiteY512" fmla="*/ 293859 h 519291"/>
              <a:gd name="connsiteX513" fmla="*/ 69362 w 1113054"/>
              <a:gd name="connsiteY513" fmla="*/ 308609 h 519291"/>
              <a:gd name="connsiteX514" fmla="*/ 63577 w 1113054"/>
              <a:gd name="connsiteY514" fmla="*/ 312658 h 519291"/>
              <a:gd name="connsiteX515" fmla="*/ 59701 w 1113054"/>
              <a:gd name="connsiteY515" fmla="*/ 315146 h 519291"/>
              <a:gd name="connsiteX516" fmla="*/ 69766 w 1113054"/>
              <a:gd name="connsiteY516" fmla="*/ 322665 h 519291"/>
              <a:gd name="connsiteX517" fmla="*/ 78153 w 1113054"/>
              <a:gd name="connsiteY517" fmla="*/ 327582 h 519291"/>
              <a:gd name="connsiteX518" fmla="*/ 82319 w 1113054"/>
              <a:gd name="connsiteY518" fmla="*/ 324459 h 519291"/>
              <a:gd name="connsiteX519" fmla="*/ 130850 w 1113054"/>
              <a:gd name="connsiteY519" fmla="*/ 304445 h 519291"/>
              <a:gd name="connsiteX520" fmla="*/ 140683 w 1113054"/>
              <a:gd name="connsiteY520" fmla="*/ 305659 h 519291"/>
              <a:gd name="connsiteX521" fmla="*/ 156070 w 1113054"/>
              <a:gd name="connsiteY521" fmla="*/ 307337 h 519291"/>
              <a:gd name="connsiteX522" fmla="*/ 165325 w 1113054"/>
              <a:gd name="connsiteY522" fmla="*/ 307337 h 519291"/>
              <a:gd name="connsiteX523" fmla="*/ 183315 w 1113054"/>
              <a:gd name="connsiteY523" fmla="*/ 314278 h 519291"/>
              <a:gd name="connsiteX524" fmla="*/ 186554 w 1113054"/>
              <a:gd name="connsiteY524" fmla="*/ 341060 h 519291"/>
              <a:gd name="connsiteX525" fmla="*/ 186554 w 1113054"/>
              <a:gd name="connsiteY525" fmla="*/ 354885 h 519291"/>
              <a:gd name="connsiteX526" fmla="*/ 186207 w 1113054"/>
              <a:gd name="connsiteY526" fmla="*/ 359744 h 519291"/>
              <a:gd name="connsiteX527" fmla="*/ 168854 w 1113054"/>
              <a:gd name="connsiteY527" fmla="*/ 364371 h 519291"/>
              <a:gd name="connsiteX528" fmla="*/ 158441 w 1113054"/>
              <a:gd name="connsiteY528" fmla="*/ 363677 h 519291"/>
              <a:gd name="connsiteX529" fmla="*/ 154393 w 1113054"/>
              <a:gd name="connsiteY529" fmla="*/ 363677 h 519291"/>
              <a:gd name="connsiteX530" fmla="*/ 125933 w 1113054"/>
              <a:gd name="connsiteY530" fmla="*/ 372296 h 519291"/>
              <a:gd name="connsiteX531" fmla="*/ 125933 w 1113054"/>
              <a:gd name="connsiteY531" fmla="*/ 374436 h 519291"/>
              <a:gd name="connsiteX532" fmla="*/ 126801 w 1113054"/>
              <a:gd name="connsiteY532" fmla="*/ 376345 h 519291"/>
              <a:gd name="connsiteX533" fmla="*/ 130734 w 1113054"/>
              <a:gd name="connsiteY533" fmla="*/ 392426 h 519291"/>
              <a:gd name="connsiteX534" fmla="*/ 127726 w 1113054"/>
              <a:gd name="connsiteY534" fmla="*/ 393930 h 519291"/>
              <a:gd name="connsiteX535" fmla="*/ 120264 w 1113054"/>
              <a:gd name="connsiteY535" fmla="*/ 391269 h 519291"/>
              <a:gd name="connsiteX536" fmla="*/ 112340 w 1113054"/>
              <a:gd name="connsiteY536" fmla="*/ 388897 h 519291"/>
              <a:gd name="connsiteX537" fmla="*/ 104241 w 1113054"/>
              <a:gd name="connsiteY537" fmla="*/ 395434 h 519291"/>
              <a:gd name="connsiteX538" fmla="*/ 107076 w 1113054"/>
              <a:gd name="connsiteY538" fmla="*/ 398037 h 519291"/>
              <a:gd name="connsiteX539" fmla="*/ 129230 w 1113054"/>
              <a:gd name="connsiteY539" fmla="*/ 416894 h 519291"/>
              <a:gd name="connsiteX540" fmla="*/ 135419 w 1113054"/>
              <a:gd name="connsiteY540" fmla="*/ 437024 h 519291"/>
              <a:gd name="connsiteX541" fmla="*/ 136635 w 1113054"/>
              <a:gd name="connsiteY541" fmla="*/ 437024 h 519291"/>
              <a:gd name="connsiteX542" fmla="*/ 138717 w 1113054"/>
              <a:gd name="connsiteY542" fmla="*/ 436677 h 519291"/>
              <a:gd name="connsiteX543" fmla="*/ 146063 w 1113054"/>
              <a:gd name="connsiteY543" fmla="*/ 441998 h 519291"/>
              <a:gd name="connsiteX544" fmla="*/ 155145 w 1113054"/>
              <a:gd name="connsiteY544" fmla="*/ 447262 h 519291"/>
              <a:gd name="connsiteX545" fmla="*/ 157921 w 1113054"/>
              <a:gd name="connsiteY545" fmla="*/ 447262 h 519291"/>
              <a:gd name="connsiteX546" fmla="*/ 172035 w 1113054"/>
              <a:gd name="connsiteY546" fmla="*/ 453047 h 519291"/>
              <a:gd name="connsiteX547" fmla="*/ 169027 w 1113054"/>
              <a:gd name="connsiteY547" fmla="*/ 463227 h 519291"/>
              <a:gd name="connsiteX548" fmla="*/ 170415 w 1113054"/>
              <a:gd name="connsiteY548" fmla="*/ 488100 h 519291"/>
              <a:gd name="connsiteX549" fmla="*/ 175795 w 1113054"/>
              <a:gd name="connsiteY549" fmla="*/ 495389 h 519291"/>
              <a:gd name="connsiteX550" fmla="*/ 175795 w 1113054"/>
              <a:gd name="connsiteY550" fmla="*/ 495099 h 519291"/>
              <a:gd name="connsiteX551" fmla="*/ 176952 w 1113054"/>
              <a:gd name="connsiteY551" fmla="*/ 487985 h 519291"/>
              <a:gd name="connsiteX552" fmla="*/ 179034 w 1113054"/>
              <a:gd name="connsiteY552" fmla="*/ 477052 h 519291"/>
              <a:gd name="connsiteX553" fmla="*/ 179497 w 1113054"/>
              <a:gd name="connsiteY553" fmla="*/ 468549 h 519291"/>
              <a:gd name="connsiteX554" fmla="*/ 208419 w 1113054"/>
              <a:gd name="connsiteY554" fmla="*/ 461087 h 519291"/>
              <a:gd name="connsiteX555" fmla="*/ 242779 w 1113054"/>
              <a:gd name="connsiteY555" fmla="*/ 487406 h 519291"/>
              <a:gd name="connsiteX556" fmla="*/ 253596 w 1113054"/>
              <a:gd name="connsiteY556" fmla="*/ 494116 h 519291"/>
              <a:gd name="connsiteX557" fmla="*/ 260132 w 1113054"/>
              <a:gd name="connsiteY557" fmla="*/ 491860 h 519291"/>
              <a:gd name="connsiteX558" fmla="*/ 263371 w 1113054"/>
              <a:gd name="connsiteY558" fmla="*/ 371602 h 519291"/>
              <a:gd name="connsiteX559" fmla="*/ 264239 w 1113054"/>
              <a:gd name="connsiteY559" fmla="*/ 370503 h 519291"/>
              <a:gd name="connsiteX560" fmla="*/ 332784 w 1113054"/>
              <a:gd name="connsiteY560" fmla="*/ 352282 h 519291"/>
              <a:gd name="connsiteX561" fmla="*/ 334924 w 1113054"/>
              <a:gd name="connsiteY561" fmla="*/ 348001 h 519291"/>
              <a:gd name="connsiteX562" fmla="*/ 346146 w 1113054"/>
              <a:gd name="connsiteY562" fmla="*/ 341234 h 519291"/>
              <a:gd name="connsiteX563" fmla="*/ 360550 w 1113054"/>
              <a:gd name="connsiteY563" fmla="*/ 347770 h 519291"/>
              <a:gd name="connsiteX564" fmla="*/ 361590 w 1113054"/>
              <a:gd name="connsiteY564" fmla="*/ 348522 h 519291"/>
              <a:gd name="connsiteX565" fmla="*/ 362516 w 1113054"/>
              <a:gd name="connsiteY565" fmla="*/ 345514 h 519291"/>
              <a:gd name="connsiteX566" fmla="*/ 371540 w 1113054"/>
              <a:gd name="connsiteY566" fmla="*/ 335333 h 519291"/>
              <a:gd name="connsiteX567" fmla="*/ 372350 w 1113054"/>
              <a:gd name="connsiteY567" fmla="*/ 335333 h 519291"/>
              <a:gd name="connsiteX568" fmla="*/ 376515 w 1113054"/>
              <a:gd name="connsiteY568" fmla="*/ 337242 h 519291"/>
              <a:gd name="connsiteX569" fmla="*/ 377383 w 1113054"/>
              <a:gd name="connsiteY569" fmla="*/ 345861 h 519291"/>
              <a:gd name="connsiteX570" fmla="*/ 377383 w 1113054"/>
              <a:gd name="connsiteY570" fmla="*/ 351067 h 519291"/>
              <a:gd name="connsiteX571" fmla="*/ 378597 w 1113054"/>
              <a:gd name="connsiteY571" fmla="*/ 351472 h 519291"/>
              <a:gd name="connsiteX572" fmla="*/ 386117 w 1113054"/>
              <a:gd name="connsiteY572" fmla="*/ 356909 h 519291"/>
              <a:gd name="connsiteX573" fmla="*/ 394388 w 1113054"/>
              <a:gd name="connsiteY573" fmla="*/ 388030 h 519291"/>
              <a:gd name="connsiteX574" fmla="*/ 426145 w 1113054"/>
              <a:gd name="connsiteY574" fmla="*/ 422736 h 519291"/>
              <a:gd name="connsiteX575" fmla="*/ 430367 w 1113054"/>
              <a:gd name="connsiteY575" fmla="*/ 424066 h 519291"/>
              <a:gd name="connsiteX576" fmla="*/ 445870 w 1113054"/>
              <a:gd name="connsiteY576" fmla="*/ 421637 h 519291"/>
              <a:gd name="connsiteX577" fmla="*/ 461083 w 1113054"/>
              <a:gd name="connsiteY577" fmla="*/ 419902 h 519291"/>
              <a:gd name="connsiteX578" fmla="*/ 515688 w 1113054"/>
              <a:gd name="connsiteY578" fmla="*/ 421926 h 519291"/>
              <a:gd name="connsiteX579" fmla="*/ 527257 w 1113054"/>
              <a:gd name="connsiteY579" fmla="*/ 429909 h 519291"/>
              <a:gd name="connsiteX580" fmla="*/ 537669 w 1113054"/>
              <a:gd name="connsiteY580" fmla="*/ 438123 h 519291"/>
              <a:gd name="connsiteX581" fmla="*/ 544726 w 1113054"/>
              <a:gd name="connsiteY581" fmla="*/ 456749 h 519291"/>
              <a:gd name="connsiteX582" fmla="*/ 544726 w 1113054"/>
              <a:gd name="connsiteY582" fmla="*/ 465020 h 519291"/>
              <a:gd name="connsiteX583" fmla="*/ 552419 w 1113054"/>
              <a:gd name="connsiteY583" fmla="*/ 479366 h 519291"/>
              <a:gd name="connsiteX584" fmla="*/ 559823 w 1113054"/>
              <a:gd name="connsiteY584" fmla="*/ 493075 h 519291"/>
              <a:gd name="connsiteX585" fmla="*/ 572317 w 1113054"/>
              <a:gd name="connsiteY585" fmla="*/ 497818 h 519291"/>
              <a:gd name="connsiteX586" fmla="*/ 765286 w 1113054"/>
              <a:gd name="connsiteY586" fmla="*/ 374725 h 519291"/>
              <a:gd name="connsiteX587" fmla="*/ 758055 w 1113054"/>
              <a:gd name="connsiteY587" fmla="*/ 367842 h 519291"/>
              <a:gd name="connsiteX588" fmla="*/ 761931 w 1113054"/>
              <a:gd name="connsiteY588" fmla="*/ 328276 h 519291"/>
              <a:gd name="connsiteX589" fmla="*/ 811215 w 1113054"/>
              <a:gd name="connsiteY589" fmla="*/ 315088 h 519291"/>
              <a:gd name="connsiteX590" fmla="*/ 833253 w 1113054"/>
              <a:gd name="connsiteY590" fmla="*/ 317517 h 519291"/>
              <a:gd name="connsiteX591" fmla="*/ 849623 w 1113054"/>
              <a:gd name="connsiteY591" fmla="*/ 319137 h 519291"/>
              <a:gd name="connsiteX592" fmla="*/ 885544 w 1113054"/>
              <a:gd name="connsiteY592" fmla="*/ 315724 h 519291"/>
              <a:gd name="connsiteX593" fmla="*/ 901972 w 1113054"/>
              <a:gd name="connsiteY593" fmla="*/ 314278 h 519291"/>
              <a:gd name="connsiteX594" fmla="*/ 904170 w 1113054"/>
              <a:gd name="connsiteY594" fmla="*/ 317332 h 519291"/>
              <a:gd name="connsiteX595" fmla="*/ 904170 w 1113054"/>
              <a:gd name="connsiteY595" fmla="*/ 317344 h 519291"/>
              <a:gd name="connsiteX596" fmla="*/ 873339 w 1113054"/>
              <a:gd name="connsiteY596" fmla="*/ 329433 h 519291"/>
              <a:gd name="connsiteX597" fmla="*/ 854424 w 1113054"/>
              <a:gd name="connsiteY597" fmla="*/ 328219 h 519291"/>
              <a:gd name="connsiteX598" fmla="*/ 825040 w 1113054"/>
              <a:gd name="connsiteY598" fmla="*/ 326483 h 519291"/>
              <a:gd name="connsiteX599" fmla="*/ 781309 w 1113054"/>
              <a:gd name="connsiteY599" fmla="*/ 339556 h 519291"/>
              <a:gd name="connsiteX600" fmla="*/ 770203 w 1113054"/>
              <a:gd name="connsiteY600" fmla="*/ 367032 h 519291"/>
              <a:gd name="connsiteX601" fmla="*/ 766154 w 1113054"/>
              <a:gd name="connsiteY601" fmla="*/ 374668 h 519291"/>
              <a:gd name="connsiteX602" fmla="*/ 811215 w 1113054"/>
              <a:gd name="connsiteY602" fmla="*/ 317344 h 519291"/>
              <a:gd name="connsiteX603" fmla="*/ 763493 w 1113054"/>
              <a:gd name="connsiteY603" fmla="*/ 329896 h 519291"/>
              <a:gd name="connsiteX604" fmla="*/ 760196 w 1113054"/>
              <a:gd name="connsiteY604" fmla="*/ 366974 h 519291"/>
              <a:gd name="connsiteX605" fmla="*/ 765980 w 1113054"/>
              <a:gd name="connsiteY605" fmla="*/ 372469 h 519291"/>
              <a:gd name="connsiteX606" fmla="*/ 768178 w 1113054"/>
              <a:gd name="connsiteY606" fmla="*/ 367206 h 519291"/>
              <a:gd name="connsiteX607" fmla="*/ 779747 w 1113054"/>
              <a:gd name="connsiteY607" fmla="*/ 337994 h 519291"/>
              <a:gd name="connsiteX608" fmla="*/ 825155 w 1113054"/>
              <a:gd name="connsiteY608" fmla="*/ 324227 h 519291"/>
              <a:gd name="connsiteX609" fmla="*/ 854771 w 1113054"/>
              <a:gd name="connsiteY609" fmla="*/ 325963 h 519291"/>
              <a:gd name="connsiteX610" fmla="*/ 873455 w 1113054"/>
              <a:gd name="connsiteY610" fmla="*/ 327177 h 519291"/>
              <a:gd name="connsiteX611" fmla="*/ 902088 w 1113054"/>
              <a:gd name="connsiteY611" fmla="*/ 317055 h 519291"/>
              <a:gd name="connsiteX612" fmla="*/ 901452 w 1113054"/>
              <a:gd name="connsiteY612" fmla="*/ 316476 h 519291"/>
              <a:gd name="connsiteX613" fmla="*/ 900005 w 1113054"/>
              <a:gd name="connsiteY613" fmla="*/ 316476 h 519291"/>
              <a:gd name="connsiteX614" fmla="*/ 885949 w 1113054"/>
              <a:gd name="connsiteY614" fmla="*/ 318096 h 519291"/>
              <a:gd name="connsiteX615" fmla="*/ 849738 w 1113054"/>
              <a:gd name="connsiteY615" fmla="*/ 321566 h 519291"/>
              <a:gd name="connsiteX616" fmla="*/ 832848 w 1113054"/>
              <a:gd name="connsiteY616" fmla="*/ 319831 h 519291"/>
              <a:gd name="connsiteX617" fmla="*/ 811215 w 1113054"/>
              <a:gd name="connsiteY617" fmla="*/ 317344 h 519291"/>
              <a:gd name="connsiteX618" fmla="*/ 409949 w 1113054"/>
              <a:gd name="connsiteY618" fmla="*/ 333540 h 519291"/>
              <a:gd name="connsiteX619" fmla="*/ 375821 w 1113054"/>
              <a:gd name="connsiteY619" fmla="*/ 321277 h 519291"/>
              <a:gd name="connsiteX620" fmla="*/ 375821 w 1113054"/>
              <a:gd name="connsiteY620" fmla="*/ 318964 h 519291"/>
              <a:gd name="connsiteX621" fmla="*/ 383225 w 1113054"/>
              <a:gd name="connsiteY621" fmla="*/ 316997 h 519291"/>
              <a:gd name="connsiteX622" fmla="*/ 415906 w 1113054"/>
              <a:gd name="connsiteY622" fmla="*/ 327351 h 519291"/>
              <a:gd name="connsiteX623" fmla="*/ 415444 w 1113054"/>
              <a:gd name="connsiteY623" fmla="*/ 331863 h 519291"/>
              <a:gd name="connsiteX624" fmla="*/ 409949 w 1113054"/>
              <a:gd name="connsiteY624" fmla="*/ 333540 h 519291"/>
              <a:gd name="connsiteX625" fmla="*/ 383398 w 1113054"/>
              <a:gd name="connsiteY625" fmla="*/ 319253 h 519291"/>
              <a:gd name="connsiteX626" fmla="*/ 377613 w 1113054"/>
              <a:gd name="connsiteY626" fmla="*/ 320294 h 519291"/>
              <a:gd name="connsiteX627" fmla="*/ 409659 w 1113054"/>
              <a:gd name="connsiteY627" fmla="*/ 331284 h 519291"/>
              <a:gd name="connsiteX628" fmla="*/ 413535 w 1113054"/>
              <a:gd name="connsiteY628" fmla="*/ 330532 h 519291"/>
              <a:gd name="connsiteX629" fmla="*/ 413535 w 1113054"/>
              <a:gd name="connsiteY629" fmla="*/ 328392 h 519291"/>
              <a:gd name="connsiteX630" fmla="*/ 383398 w 1113054"/>
              <a:gd name="connsiteY630" fmla="*/ 319253 h 519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Lst>
            <a:rect l="l" t="t" r="r" b="b"/>
            <a:pathLst>
              <a:path w="1113054" h="519291">
                <a:moveTo>
                  <a:pt x="609454" y="519163"/>
                </a:moveTo>
                <a:cubicBezTo>
                  <a:pt x="608181" y="519163"/>
                  <a:pt x="605115" y="518642"/>
                  <a:pt x="604536" y="514014"/>
                </a:cubicBezTo>
                <a:cubicBezTo>
                  <a:pt x="603554" y="506148"/>
                  <a:pt x="591059" y="503024"/>
                  <a:pt x="582788" y="500942"/>
                </a:cubicBezTo>
                <a:cubicBezTo>
                  <a:pt x="579780" y="500363"/>
                  <a:pt x="576772" y="500132"/>
                  <a:pt x="573706" y="500247"/>
                </a:cubicBezTo>
                <a:lnTo>
                  <a:pt x="572896" y="500247"/>
                </a:lnTo>
                <a:cubicBezTo>
                  <a:pt x="566417" y="500247"/>
                  <a:pt x="559013" y="500247"/>
                  <a:pt x="558146" y="493538"/>
                </a:cubicBezTo>
                <a:cubicBezTo>
                  <a:pt x="556815" y="488841"/>
                  <a:pt x="554444" y="484508"/>
                  <a:pt x="551204" y="480870"/>
                </a:cubicBezTo>
                <a:cubicBezTo>
                  <a:pt x="547271" y="476473"/>
                  <a:pt x="544437" y="471169"/>
                  <a:pt x="543049" y="465425"/>
                </a:cubicBezTo>
                <a:cubicBezTo>
                  <a:pt x="542875" y="462591"/>
                  <a:pt x="542875" y="459756"/>
                  <a:pt x="543049" y="456922"/>
                </a:cubicBezTo>
                <a:cubicBezTo>
                  <a:pt x="543049" y="449171"/>
                  <a:pt x="543049" y="441883"/>
                  <a:pt x="537669" y="440494"/>
                </a:cubicBezTo>
                <a:cubicBezTo>
                  <a:pt x="533041" y="438713"/>
                  <a:pt x="528992" y="435618"/>
                  <a:pt x="526100" y="431586"/>
                </a:cubicBezTo>
                <a:cubicBezTo>
                  <a:pt x="522803" y="427884"/>
                  <a:pt x="519679" y="424356"/>
                  <a:pt x="516324" y="424356"/>
                </a:cubicBezTo>
                <a:cubicBezTo>
                  <a:pt x="497698" y="424356"/>
                  <a:pt x="465768" y="424066"/>
                  <a:pt x="460909" y="422158"/>
                </a:cubicBezTo>
                <a:cubicBezTo>
                  <a:pt x="460389" y="422088"/>
                  <a:pt x="459811" y="422088"/>
                  <a:pt x="459290" y="422158"/>
                </a:cubicBezTo>
                <a:cubicBezTo>
                  <a:pt x="455125" y="422487"/>
                  <a:pt x="451018" y="423170"/>
                  <a:pt x="446969" y="424182"/>
                </a:cubicBezTo>
                <a:cubicBezTo>
                  <a:pt x="441705" y="425495"/>
                  <a:pt x="436383" y="426328"/>
                  <a:pt x="431004" y="426670"/>
                </a:cubicBezTo>
                <a:cubicBezTo>
                  <a:pt x="429673" y="426670"/>
                  <a:pt x="425624" y="426670"/>
                  <a:pt x="424641" y="423777"/>
                </a:cubicBezTo>
                <a:cubicBezTo>
                  <a:pt x="423079" y="419092"/>
                  <a:pt x="404164" y="398557"/>
                  <a:pt x="393058" y="389418"/>
                </a:cubicBezTo>
                <a:cubicBezTo>
                  <a:pt x="392711" y="389152"/>
                  <a:pt x="392538" y="388695"/>
                  <a:pt x="392653" y="388261"/>
                </a:cubicBezTo>
                <a:cubicBezTo>
                  <a:pt x="394388" y="377675"/>
                  <a:pt x="391612" y="366847"/>
                  <a:pt x="384960" y="358413"/>
                </a:cubicBezTo>
                <a:cubicBezTo>
                  <a:pt x="382357" y="355058"/>
                  <a:pt x="380217" y="353844"/>
                  <a:pt x="379175" y="353844"/>
                </a:cubicBezTo>
                <a:cubicBezTo>
                  <a:pt x="378077" y="353913"/>
                  <a:pt x="377035" y="353485"/>
                  <a:pt x="376283" y="352687"/>
                </a:cubicBezTo>
                <a:cubicBezTo>
                  <a:pt x="374895" y="351125"/>
                  <a:pt x="375242" y="348464"/>
                  <a:pt x="375647" y="345688"/>
                </a:cubicBezTo>
                <a:cubicBezTo>
                  <a:pt x="376051" y="342911"/>
                  <a:pt x="376341" y="339903"/>
                  <a:pt x="375184" y="338804"/>
                </a:cubicBezTo>
                <a:cubicBezTo>
                  <a:pt x="374490" y="338093"/>
                  <a:pt x="373565" y="337694"/>
                  <a:pt x="372581" y="337705"/>
                </a:cubicBezTo>
                <a:cubicBezTo>
                  <a:pt x="368127" y="337358"/>
                  <a:pt x="366797" y="341291"/>
                  <a:pt x="365177" y="346208"/>
                </a:cubicBezTo>
                <a:cubicBezTo>
                  <a:pt x="364425" y="348811"/>
                  <a:pt x="363846" y="350893"/>
                  <a:pt x="362054" y="350893"/>
                </a:cubicBezTo>
                <a:cubicBezTo>
                  <a:pt x="361590" y="350859"/>
                  <a:pt x="361128" y="350703"/>
                  <a:pt x="360723" y="350431"/>
                </a:cubicBezTo>
                <a:lnTo>
                  <a:pt x="359682" y="349621"/>
                </a:lnTo>
                <a:cubicBezTo>
                  <a:pt x="356038" y="346411"/>
                  <a:pt x="351468" y="344392"/>
                  <a:pt x="346609" y="343836"/>
                </a:cubicBezTo>
                <a:cubicBezTo>
                  <a:pt x="342734" y="344056"/>
                  <a:pt x="339205" y="346237"/>
                  <a:pt x="337238" y="349621"/>
                </a:cubicBezTo>
                <a:cubicBezTo>
                  <a:pt x="336370" y="350986"/>
                  <a:pt x="335676" y="352438"/>
                  <a:pt x="335156" y="353959"/>
                </a:cubicBezTo>
                <a:cubicBezTo>
                  <a:pt x="334982" y="354289"/>
                  <a:pt x="334693" y="354538"/>
                  <a:pt x="334346" y="354653"/>
                </a:cubicBezTo>
                <a:lnTo>
                  <a:pt x="266090" y="372817"/>
                </a:lnTo>
                <a:lnTo>
                  <a:pt x="262851" y="492843"/>
                </a:lnTo>
                <a:cubicBezTo>
                  <a:pt x="262851" y="493133"/>
                  <a:pt x="262735" y="493416"/>
                  <a:pt x="262504" y="493595"/>
                </a:cubicBezTo>
                <a:cubicBezTo>
                  <a:pt x="260132" y="495568"/>
                  <a:pt x="257124" y="496667"/>
                  <a:pt x="254058" y="496719"/>
                </a:cubicBezTo>
                <a:cubicBezTo>
                  <a:pt x="248852" y="496395"/>
                  <a:pt x="244109" y="493572"/>
                  <a:pt x="241391" y="489141"/>
                </a:cubicBezTo>
                <a:cubicBezTo>
                  <a:pt x="232251" y="476878"/>
                  <a:pt x="217269" y="463690"/>
                  <a:pt x="208882" y="463690"/>
                </a:cubicBezTo>
                <a:cubicBezTo>
                  <a:pt x="203098" y="463690"/>
                  <a:pt x="185744" y="463690"/>
                  <a:pt x="181753" y="470168"/>
                </a:cubicBezTo>
                <a:cubicBezTo>
                  <a:pt x="180538" y="472285"/>
                  <a:pt x="180538" y="474877"/>
                  <a:pt x="181753" y="476994"/>
                </a:cubicBezTo>
                <a:cubicBezTo>
                  <a:pt x="181926" y="477318"/>
                  <a:pt x="181926" y="477711"/>
                  <a:pt x="181753" y="478035"/>
                </a:cubicBezTo>
                <a:cubicBezTo>
                  <a:pt x="180307" y="481315"/>
                  <a:pt x="179613" y="484873"/>
                  <a:pt x="179728" y="488447"/>
                </a:cubicBezTo>
                <a:cubicBezTo>
                  <a:pt x="179786" y="491189"/>
                  <a:pt x="179324" y="493919"/>
                  <a:pt x="178340" y="496488"/>
                </a:cubicBezTo>
                <a:cubicBezTo>
                  <a:pt x="177993" y="497390"/>
                  <a:pt x="177126" y="497986"/>
                  <a:pt x="176142" y="497991"/>
                </a:cubicBezTo>
                <a:cubicBezTo>
                  <a:pt x="173018" y="497991"/>
                  <a:pt x="169895" y="492207"/>
                  <a:pt x="168680" y="489373"/>
                </a:cubicBezTo>
                <a:cubicBezTo>
                  <a:pt x="164457" y="480233"/>
                  <a:pt x="162433" y="468260"/>
                  <a:pt x="167639" y="462128"/>
                </a:cubicBezTo>
                <a:cubicBezTo>
                  <a:pt x="169490" y="459930"/>
                  <a:pt x="171456" y="456749"/>
                  <a:pt x="170358" y="454319"/>
                </a:cubicBezTo>
                <a:cubicBezTo>
                  <a:pt x="169258" y="451890"/>
                  <a:pt x="164573" y="450154"/>
                  <a:pt x="158268" y="450154"/>
                </a:cubicBezTo>
                <a:lnTo>
                  <a:pt x="155665" y="450154"/>
                </a:lnTo>
                <a:cubicBezTo>
                  <a:pt x="150517" y="450351"/>
                  <a:pt x="145774" y="447580"/>
                  <a:pt x="143402" y="443039"/>
                </a:cubicBezTo>
                <a:cubicBezTo>
                  <a:pt x="140973" y="439685"/>
                  <a:pt x="139411" y="437949"/>
                  <a:pt x="136461" y="438817"/>
                </a:cubicBezTo>
                <a:cubicBezTo>
                  <a:pt x="135825" y="438898"/>
                  <a:pt x="135246" y="438898"/>
                  <a:pt x="134610" y="438817"/>
                </a:cubicBezTo>
                <a:cubicBezTo>
                  <a:pt x="127668" y="438817"/>
                  <a:pt x="126222" y="426670"/>
                  <a:pt x="126222" y="416431"/>
                </a:cubicBezTo>
                <a:cubicBezTo>
                  <a:pt x="126222" y="409779"/>
                  <a:pt x="114306" y="399830"/>
                  <a:pt x="106266" y="399830"/>
                </a:cubicBezTo>
                <a:cubicBezTo>
                  <a:pt x="103663" y="400055"/>
                  <a:pt x="101407" y="398147"/>
                  <a:pt x="101176" y="395572"/>
                </a:cubicBezTo>
                <a:cubicBezTo>
                  <a:pt x="101176" y="395370"/>
                  <a:pt x="101176" y="395173"/>
                  <a:pt x="101176" y="394971"/>
                </a:cubicBezTo>
                <a:cubicBezTo>
                  <a:pt x="101639" y="389713"/>
                  <a:pt x="106266" y="385808"/>
                  <a:pt x="111530" y="386179"/>
                </a:cubicBezTo>
                <a:cubicBezTo>
                  <a:pt x="114711" y="386271"/>
                  <a:pt x="117835" y="387185"/>
                  <a:pt x="120554" y="388839"/>
                </a:cubicBezTo>
                <a:cubicBezTo>
                  <a:pt x="127264" y="392484"/>
                  <a:pt x="127842" y="390980"/>
                  <a:pt x="128016" y="390748"/>
                </a:cubicBezTo>
                <a:cubicBezTo>
                  <a:pt x="129346" y="388666"/>
                  <a:pt x="125818" y="380973"/>
                  <a:pt x="123908" y="376808"/>
                </a:cubicBezTo>
                <a:lnTo>
                  <a:pt x="123041" y="374899"/>
                </a:lnTo>
                <a:cubicBezTo>
                  <a:pt x="122404" y="373499"/>
                  <a:pt x="122578" y="371879"/>
                  <a:pt x="123446" y="370618"/>
                </a:cubicBezTo>
                <a:cubicBezTo>
                  <a:pt x="126974" y="365181"/>
                  <a:pt x="142650" y="360958"/>
                  <a:pt x="153814" y="360958"/>
                </a:cubicBezTo>
                <a:cubicBezTo>
                  <a:pt x="155260" y="360866"/>
                  <a:pt x="156706" y="360866"/>
                  <a:pt x="158153" y="360958"/>
                </a:cubicBezTo>
                <a:cubicBezTo>
                  <a:pt x="161507" y="361421"/>
                  <a:pt x="164863" y="361653"/>
                  <a:pt x="168275" y="361653"/>
                </a:cubicBezTo>
                <a:cubicBezTo>
                  <a:pt x="176258" y="361653"/>
                  <a:pt x="181926" y="360264"/>
                  <a:pt x="183488" y="358008"/>
                </a:cubicBezTo>
                <a:cubicBezTo>
                  <a:pt x="183951" y="357141"/>
                  <a:pt x="183951" y="356099"/>
                  <a:pt x="183488" y="355232"/>
                </a:cubicBezTo>
                <a:cubicBezTo>
                  <a:pt x="182389" y="350350"/>
                  <a:pt x="182273" y="345288"/>
                  <a:pt x="183199" y="340366"/>
                </a:cubicBezTo>
                <a:cubicBezTo>
                  <a:pt x="184009" y="331516"/>
                  <a:pt x="184992" y="321566"/>
                  <a:pt x="180365" y="315146"/>
                </a:cubicBezTo>
                <a:cubicBezTo>
                  <a:pt x="176778" y="310113"/>
                  <a:pt x="171746" y="309361"/>
                  <a:pt x="164226" y="309361"/>
                </a:cubicBezTo>
                <a:lnTo>
                  <a:pt x="155145" y="309361"/>
                </a:lnTo>
                <a:cubicBezTo>
                  <a:pt x="149765" y="309465"/>
                  <a:pt x="144386" y="308881"/>
                  <a:pt x="139179" y="307626"/>
                </a:cubicBezTo>
                <a:cubicBezTo>
                  <a:pt x="136171" y="306845"/>
                  <a:pt x="133048" y="306452"/>
                  <a:pt x="129924" y="306469"/>
                </a:cubicBezTo>
                <a:cubicBezTo>
                  <a:pt x="112513" y="307597"/>
                  <a:pt x="96028" y="314429"/>
                  <a:pt x="82897" y="325905"/>
                </a:cubicBezTo>
                <a:cubicBezTo>
                  <a:pt x="81277" y="327287"/>
                  <a:pt x="79600" y="328543"/>
                  <a:pt x="77807" y="329665"/>
                </a:cubicBezTo>
                <a:cubicBezTo>
                  <a:pt x="77402" y="329919"/>
                  <a:pt x="76939" y="329919"/>
                  <a:pt x="76534" y="329665"/>
                </a:cubicBezTo>
                <a:cubicBezTo>
                  <a:pt x="73873" y="327640"/>
                  <a:pt x="70981" y="325911"/>
                  <a:pt x="67916" y="324517"/>
                </a:cubicBezTo>
                <a:cubicBezTo>
                  <a:pt x="60164" y="321046"/>
                  <a:pt x="56347" y="317749"/>
                  <a:pt x="56347" y="314741"/>
                </a:cubicBezTo>
                <a:cubicBezTo>
                  <a:pt x="56347" y="312774"/>
                  <a:pt x="58313" y="311270"/>
                  <a:pt x="61842" y="310229"/>
                </a:cubicBezTo>
                <a:cubicBezTo>
                  <a:pt x="64156" y="309593"/>
                  <a:pt x="65486" y="308725"/>
                  <a:pt x="65775" y="307742"/>
                </a:cubicBezTo>
                <a:cubicBezTo>
                  <a:pt x="66469" y="305370"/>
                  <a:pt x="62652" y="300858"/>
                  <a:pt x="57677" y="295132"/>
                </a:cubicBezTo>
                <a:cubicBezTo>
                  <a:pt x="54785" y="291759"/>
                  <a:pt x="52123" y="288202"/>
                  <a:pt x="49694" y="284488"/>
                </a:cubicBezTo>
                <a:cubicBezTo>
                  <a:pt x="46455" y="279803"/>
                  <a:pt x="43910" y="276101"/>
                  <a:pt x="41538" y="276101"/>
                </a:cubicBezTo>
                <a:lnTo>
                  <a:pt x="37778" y="276101"/>
                </a:lnTo>
                <a:cubicBezTo>
                  <a:pt x="36216" y="276101"/>
                  <a:pt x="34539" y="276101"/>
                  <a:pt x="32746" y="276101"/>
                </a:cubicBezTo>
                <a:cubicBezTo>
                  <a:pt x="29275" y="276026"/>
                  <a:pt x="25805" y="276517"/>
                  <a:pt x="22507" y="277547"/>
                </a:cubicBezTo>
                <a:cubicBezTo>
                  <a:pt x="20599" y="278559"/>
                  <a:pt x="18227" y="278206"/>
                  <a:pt x="16723" y="276679"/>
                </a:cubicBezTo>
                <a:cubicBezTo>
                  <a:pt x="14410" y="274018"/>
                  <a:pt x="15277" y="268118"/>
                  <a:pt x="16145" y="261871"/>
                </a:cubicBezTo>
                <a:cubicBezTo>
                  <a:pt x="16723" y="257764"/>
                  <a:pt x="12906" y="256376"/>
                  <a:pt x="7410" y="254872"/>
                </a:cubicBezTo>
                <a:cubicBezTo>
                  <a:pt x="4865" y="254589"/>
                  <a:pt x="2435" y="253443"/>
                  <a:pt x="585" y="251633"/>
                </a:cubicBezTo>
                <a:cubicBezTo>
                  <a:pt x="-341" y="249510"/>
                  <a:pt x="-341" y="247104"/>
                  <a:pt x="585" y="244981"/>
                </a:cubicBezTo>
                <a:cubicBezTo>
                  <a:pt x="1626" y="240457"/>
                  <a:pt x="3939" y="236327"/>
                  <a:pt x="7237" y="233065"/>
                </a:cubicBezTo>
                <a:cubicBezTo>
                  <a:pt x="14756" y="229305"/>
                  <a:pt x="16318" y="226933"/>
                  <a:pt x="16318" y="225603"/>
                </a:cubicBezTo>
                <a:cubicBezTo>
                  <a:pt x="16318" y="224272"/>
                  <a:pt x="14525" y="223925"/>
                  <a:pt x="13137" y="223115"/>
                </a:cubicBezTo>
                <a:cubicBezTo>
                  <a:pt x="9608" y="221091"/>
                  <a:pt x="4345" y="218083"/>
                  <a:pt x="7989" y="211547"/>
                </a:cubicBezTo>
                <a:cubicBezTo>
                  <a:pt x="10071" y="208238"/>
                  <a:pt x="12906" y="205461"/>
                  <a:pt x="16260" y="203448"/>
                </a:cubicBezTo>
                <a:cubicBezTo>
                  <a:pt x="19673" y="201135"/>
                  <a:pt x="22392" y="199284"/>
                  <a:pt x="22392" y="195177"/>
                </a:cubicBezTo>
                <a:cubicBezTo>
                  <a:pt x="21813" y="188658"/>
                  <a:pt x="26557" y="182862"/>
                  <a:pt x="33035" y="182104"/>
                </a:cubicBezTo>
                <a:cubicBezTo>
                  <a:pt x="35522" y="182167"/>
                  <a:pt x="37952" y="183018"/>
                  <a:pt x="39918" y="184533"/>
                </a:cubicBezTo>
                <a:cubicBezTo>
                  <a:pt x="43216" y="187229"/>
                  <a:pt x="45992" y="190457"/>
                  <a:pt x="48190" y="194078"/>
                </a:cubicBezTo>
                <a:cubicBezTo>
                  <a:pt x="51951" y="199862"/>
                  <a:pt x="55479" y="204547"/>
                  <a:pt x="60627" y="202581"/>
                </a:cubicBezTo>
                <a:cubicBezTo>
                  <a:pt x="62478" y="202072"/>
                  <a:pt x="63982" y="200840"/>
                  <a:pt x="64908" y="199168"/>
                </a:cubicBezTo>
                <a:cubicBezTo>
                  <a:pt x="65602" y="196154"/>
                  <a:pt x="65081" y="192996"/>
                  <a:pt x="63577" y="190318"/>
                </a:cubicBezTo>
                <a:cubicBezTo>
                  <a:pt x="63114" y="189103"/>
                  <a:pt x="62652" y="188004"/>
                  <a:pt x="62362" y="186963"/>
                </a:cubicBezTo>
                <a:lnTo>
                  <a:pt x="62362" y="186269"/>
                </a:lnTo>
                <a:cubicBezTo>
                  <a:pt x="60916" y="182925"/>
                  <a:pt x="60916" y="179142"/>
                  <a:pt x="62362" y="175799"/>
                </a:cubicBezTo>
                <a:cubicBezTo>
                  <a:pt x="64271" y="173179"/>
                  <a:pt x="67221" y="171461"/>
                  <a:pt x="70460" y="171056"/>
                </a:cubicBezTo>
                <a:cubicBezTo>
                  <a:pt x="74163" y="170298"/>
                  <a:pt x="77113" y="167458"/>
                  <a:pt x="77980" y="163767"/>
                </a:cubicBezTo>
                <a:cubicBezTo>
                  <a:pt x="79079" y="160933"/>
                  <a:pt x="80409" y="157694"/>
                  <a:pt x="85211" y="157694"/>
                </a:cubicBezTo>
                <a:cubicBezTo>
                  <a:pt x="91458" y="157694"/>
                  <a:pt x="102564" y="151157"/>
                  <a:pt x="108869" y="147282"/>
                </a:cubicBezTo>
                <a:cubicBezTo>
                  <a:pt x="111009" y="146009"/>
                  <a:pt x="112629" y="145026"/>
                  <a:pt x="113786" y="144447"/>
                </a:cubicBezTo>
                <a:lnTo>
                  <a:pt x="115232" y="143695"/>
                </a:lnTo>
                <a:cubicBezTo>
                  <a:pt x="120438" y="140687"/>
                  <a:pt x="126164" y="138726"/>
                  <a:pt x="132123" y="137911"/>
                </a:cubicBezTo>
                <a:cubicBezTo>
                  <a:pt x="133279" y="137882"/>
                  <a:pt x="134379" y="138119"/>
                  <a:pt x="135419" y="138605"/>
                </a:cubicBezTo>
                <a:cubicBezTo>
                  <a:pt x="136403" y="139074"/>
                  <a:pt x="137329" y="139594"/>
                  <a:pt x="138196" y="140167"/>
                </a:cubicBezTo>
                <a:cubicBezTo>
                  <a:pt x="139989" y="141555"/>
                  <a:pt x="142130" y="142469"/>
                  <a:pt x="144386" y="142828"/>
                </a:cubicBezTo>
                <a:cubicBezTo>
                  <a:pt x="145426" y="142828"/>
                  <a:pt x="146988" y="142423"/>
                  <a:pt x="148376" y="139126"/>
                </a:cubicBezTo>
                <a:cubicBezTo>
                  <a:pt x="150228" y="135331"/>
                  <a:pt x="154161" y="133040"/>
                  <a:pt x="158384" y="133341"/>
                </a:cubicBezTo>
                <a:cubicBezTo>
                  <a:pt x="163243" y="133341"/>
                  <a:pt x="169027" y="135771"/>
                  <a:pt x="169953" y="139126"/>
                </a:cubicBezTo>
                <a:cubicBezTo>
                  <a:pt x="170415" y="140977"/>
                  <a:pt x="178224" y="142365"/>
                  <a:pt x="183893" y="143348"/>
                </a:cubicBezTo>
                <a:cubicBezTo>
                  <a:pt x="189909" y="143967"/>
                  <a:pt x="195751" y="145587"/>
                  <a:pt x="201246" y="148149"/>
                </a:cubicBezTo>
                <a:lnTo>
                  <a:pt x="204254" y="150174"/>
                </a:lnTo>
                <a:cubicBezTo>
                  <a:pt x="215476" y="157520"/>
                  <a:pt x="224731" y="163999"/>
                  <a:pt x="224731" y="168453"/>
                </a:cubicBezTo>
                <a:cubicBezTo>
                  <a:pt x="224847" y="170026"/>
                  <a:pt x="225425" y="171536"/>
                  <a:pt x="226408" y="172791"/>
                </a:cubicBezTo>
                <a:cubicBezTo>
                  <a:pt x="227450" y="174179"/>
                  <a:pt x="228491" y="174873"/>
                  <a:pt x="229012" y="174873"/>
                </a:cubicBezTo>
                <a:cubicBezTo>
                  <a:pt x="229532" y="174873"/>
                  <a:pt x="229822" y="173948"/>
                  <a:pt x="229822" y="172155"/>
                </a:cubicBezTo>
                <a:cubicBezTo>
                  <a:pt x="229822" y="166659"/>
                  <a:pt x="232366" y="165503"/>
                  <a:pt x="234507" y="165503"/>
                </a:cubicBezTo>
                <a:cubicBezTo>
                  <a:pt x="239135" y="166388"/>
                  <a:pt x="243531" y="168372"/>
                  <a:pt x="247233" y="171287"/>
                </a:cubicBezTo>
                <a:cubicBezTo>
                  <a:pt x="250877" y="173456"/>
                  <a:pt x="254984" y="174596"/>
                  <a:pt x="259206" y="174584"/>
                </a:cubicBezTo>
                <a:cubicBezTo>
                  <a:pt x="263718" y="175041"/>
                  <a:pt x="268115" y="173057"/>
                  <a:pt x="270775" y="169378"/>
                </a:cubicBezTo>
                <a:cubicBezTo>
                  <a:pt x="272800" y="164288"/>
                  <a:pt x="284253" y="158619"/>
                  <a:pt x="292698" y="158619"/>
                </a:cubicBezTo>
                <a:cubicBezTo>
                  <a:pt x="295012" y="158492"/>
                  <a:pt x="297268" y="159146"/>
                  <a:pt x="299177" y="160470"/>
                </a:cubicBezTo>
                <a:lnTo>
                  <a:pt x="300970" y="161974"/>
                </a:lnTo>
                <a:cubicBezTo>
                  <a:pt x="303457" y="164056"/>
                  <a:pt x="305250" y="165560"/>
                  <a:pt x="307159" y="165560"/>
                </a:cubicBezTo>
                <a:cubicBezTo>
                  <a:pt x="309646" y="165121"/>
                  <a:pt x="311902" y="163756"/>
                  <a:pt x="313406" y="161743"/>
                </a:cubicBezTo>
                <a:cubicBezTo>
                  <a:pt x="317456" y="158214"/>
                  <a:pt x="322661" y="156357"/>
                  <a:pt x="328041" y="156537"/>
                </a:cubicBezTo>
                <a:cubicBezTo>
                  <a:pt x="335098" y="156537"/>
                  <a:pt x="340536" y="159198"/>
                  <a:pt x="341924" y="163362"/>
                </a:cubicBezTo>
                <a:cubicBezTo>
                  <a:pt x="343659" y="168626"/>
                  <a:pt x="349154" y="171114"/>
                  <a:pt x="359277" y="171114"/>
                </a:cubicBezTo>
                <a:cubicBezTo>
                  <a:pt x="362921" y="171490"/>
                  <a:pt x="366160" y="173659"/>
                  <a:pt x="367896" y="176898"/>
                </a:cubicBezTo>
                <a:cubicBezTo>
                  <a:pt x="369053" y="178460"/>
                  <a:pt x="370152" y="179964"/>
                  <a:pt x="371251" y="179964"/>
                </a:cubicBezTo>
                <a:cubicBezTo>
                  <a:pt x="371540" y="180010"/>
                  <a:pt x="371771" y="180010"/>
                  <a:pt x="372061" y="179964"/>
                </a:cubicBezTo>
                <a:cubicBezTo>
                  <a:pt x="373796" y="179096"/>
                  <a:pt x="374721" y="176319"/>
                  <a:pt x="375531" y="173716"/>
                </a:cubicBezTo>
                <a:cubicBezTo>
                  <a:pt x="376631" y="170246"/>
                  <a:pt x="377903" y="166428"/>
                  <a:pt x="381316" y="166428"/>
                </a:cubicBezTo>
                <a:lnTo>
                  <a:pt x="382357" y="166428"/>
                </a:lnTo>
                <a:cubicBezTo>
                  <a:pt x="385018" y="167192"/>
                  <a:pt x="387505" y="168424"/>
                  <a:pt x="389761" y="170072"/>
                </a:cubicBezTo>
                <a:cubicBezTo>
                  <a:pt x="393463" y="172982"/>
                  <a:pt x="398033" y="174659"/>
                  <a:pt x="402718" y="174873"/>
                </a:cubicBezTo>
                <a:cubicBezTo>
                  <a:pt x="413188" y="174873"/>
                  <a:pt x="418568" y="172039"/>
                  <a:pt x="418568" y="166370"/>
                </a:cubicBezTo>
                <a:cubicBezTo>
                  <a:pt x="418568" y="157925"/>
                  <a:pt x="416948" y="148091"/>
                  <a:pt x="412436" y="148091"/>
                </a:cubicBezTo>
                <a:cubicBezTo>
                  <a:pt x="409139" y="147837"/>
                  <a:pt x="405957" y="146830"/>
                  <a:pt x="403123" y="145141"/>
                </a:cubicBezTo>
                <a:cubicBezTo>
                  <a:pt x="400057" y="143383"/>
                  <a:pt x="396587" y="142319"/>
                  <a:pt x="393058" y="142018"/>
                </a:cubicBezTo>
                <a:cubicBezTo>
                  <a:pt x="387389" y="141439"/>
                  <a:pt x="382704" y="137257"/>
                  <a:pt x="381489" y="131664"/>
                </a:cubicBezTo>
                <a:cubicBezTo>
                  <a:pt x="380795" y="128910"/>
                  <a:pt x="382415" y="126111"/>
                  <a:pt x="385133" y="125301"/>
                </a:cubicBezTo>
                <a:cubicBezTo>
                  <a:pt x="391438" y="123681"/>
                  <a:pt x="397107" y="120101"/>
                  <a:pt x="401272" y="115062"/>
                </a:cubicBezTo>
                <a:cubicBezTo>
                  <a:pt x="401735" y="114166"/>
                  <a:pt x="401735" y="113124"/>
                  <a:pt x="401272" y="112228"/>
                </a:cubicBezTo>
                <a:cubicBezTo>
                  <a:pt x="400578" y="110435"/>
                  <a:pt x="397165" y="101006"/>
                  <a:pt x="400520" y="95337"/>
                </a:cubicBezTo>
                <a:cubicBezTo>
                  <a:pt x="401908" y="93012"/>
                  <a:pt x="404337" y="91520"/>
                  <a:pt x="407057" y="91346"/>
                </a:cubicBezTo>
                <a:cubicBezTo>
                  <a:pt x="409775" y="90999"/>
                  <a:pt x="413304" y="90710"/>
                  <a:pt x="417006" y="90479"/>
                </a:cubicBezTo>
                <a:cubicBezTo>
                  <a:pt x="423484" y="90016"/>
                  <a:pt x="434359" y="89264"/>
                  <a:pt x="435227" y="87760"/>
                </a:cubicBezTo>
                <a:cubicBezTo>
                  <a:pt x="432450" y="86094"/>
                  <a:pt x="429442" y="84845"/>
                  <a:pt x="426319" y="84058"/>
                </a:cubicBezTo>
                <a:cubicBezTo>
                  <a:pt x="420245" y="82033"/>
                  <a:pt x="413304" y="79777"/>
                  <a:pt x="411105" y="76075"/>
                </a:cubicBezTo>
                <a:cubicBezTo>
                  <a:pt x="407461" y="70002"/>
                  <a:pt x="405668" y="54557"/>
                  <a:pt x="410180" y="51549"/>
                </a:cubicBezTo>
                <a:cubicBezTo>
                  <a:pt x="411800" y="50670"/>
                  <a:pt x="413708" y="50283"/>
                  <a:pt x="415560" y="50450"/>
                </a:cubicBezTo>
                <a:cubicBezTo>
                  <a:pt x="417122" y="50450"/>
                  <a:pt x="418914" y="50450"/>
                  <a:pt x="420824" y="50450"/>
                </a:cubicBezTo>
                <a:cubicBezTo>
                  <a:pt x="422732" y="50450"/>
                  <a:pt x="424988" y="50740"/>
                  <a:pt x="427013" y="50740"/>
                </a:cubicBezTo>
                <a:cubicBezTo>
                  <a:pt x="429211" y="50826"/>
                  <a:pt x="431409" y="50549"/>
                  <a:pt x="433549" y="49930"/>
                </a:cubicBezTo>
                <a:cubicBezTo>
                  <a:pt x="435285" y="49461"/>
                  <a:pt x="437020" y="49247"/>
                  <a:pt x="438813" y="49293"/>
                </a:cubicBezTo>
                <a:cubicBezTo>
                  <a:pt x="440722" y="49293"/>
                  <a:pt x="442862" y="49293"/>
                  <a:pt x="445060" y="49640"/>
                </a:cubicBezTo>
                <a:cubicBezTo>
                  <a:pt x="447258" y="49988"/>
                  <a:pt x="450035" y="49988"/>
                  <a:pt x="452580" y="49988"/>
                </a:cubicBezTo>
                <a:cubicBezTo>
                  <a:pt x="457265" y="50335"/>
                  <a:pt x="461951" y="49091"/>
                  <a:pt x="465884" y="46459"/>
                </a:cubicBezTo>
                <a:cubicBezTo>
                  <a:pt x="476412" y="38650"/>
                  <a:pt x="498682" y="37782"/>
                  <a:pt x="507763" y="37782"/>
                </a:cubicBezTo>
                <a:cubicBezTo>
                  <a:pt x="513547" y="37435"/>
                  <a:pt x="519159" y="35856"/>
                  <a:pt x="524249" y="33155"/>
                </a:cubicBezTo>
                <a:cubicBezTo>
                  <a:pt x="527778" y="31367"/>
                  <a:pt x="531595" y="30083"/>
                  <a:pt x="535471" y="29337"/>
                </a:cubicBezTo>
                <a:cubicBezTo>
                  <a:pt x="548428" y="27706"/>
                  <a:pt x="561327" y="25288"/>
                  <a:pt x="573995" y="22107"/>
                </a:cubicBezTo>
                <a:cubicBezTo>
                  <a:pt x="577639" y="20955"/>
                  <a:pt x="581399" y="20013"/>
                  <a:pt x="585159" y="19272"/>
                </a:cubicBezTo>
                <a:cubicBezTo>
                  <a:pt x="594761" y="17132"/>
                  <a:pt x="612577" y="13141"/>
                  <a:pt x="613271" y="9612"/>
                </a:cubicBezTo>
                <a:cubicBezTo>
                  <a:pt x="614486" y="3828"/>
                  <a:pt x="632476" y="-106"/>
                  <a:pt x="642193" y="-106"/>
                </a:cubicBezTo>
                <a:cubicBezTo>
                  <a:pt x="644507" y="-227"/>
                  <a:pt x="646879" y="126"/>
                  <a:pt x="649077" y="936"/>
                </a:cubicBezTo>
                <a:cubicBezTo>
                  <a:pt x="653762" y="3244"/>
                  <a:pt x="658910" y="4580"/>
                  <a:pt x="664116" y="4869"/>
                </a:cubicBezTo>
                <a:cubicBezTo>
                  <a:pt x="665910" y="4886"/>
                  <a:pt x="667703" y="4568"/>
                  <a:pt x="669380" y="3943"/>
                </a:cubicBezTo>
                <a:cubicBezTo>
                  <a:pt x="675801" y="2596"/>
                  <a:pt x="682395" y="4805"/>
                  <a:pt x="686734" y="9728"/>
                </a:cubicBezTo>
                <a:cubicBezTo>
                  <a:pt x="688353" y="11411"/>
                  <a:pt x="689105" y="13731"/>
                  <a:pt x="688758" y="16033"/>
                </a:cubicBezTo>
                <a:cubicBezTo>
                  <a:pt x="688584" y="19631"/>
                  <a:pt x="689452" y="23200"/>
                  <a:pt x="691246" y="26329"/>
                </a:cubicBezTo>
                <a:cubicBezTo>
                  <a:pt x="692807" y="29065"/>
                  <a:pt x="693617" y="32154"/>
                  <a:pt x="693617" y="35295"/>
                </a:cubicBezTo>
                <a:cubicBezTo>
                  <a:pt x="693270" y="37424"/>
                  <a:pt x="692344" y="39419"/>
                  <a:pt x="690956" y="41079"/>
                </a:cubicBezTo>
                <a:cubicBezTo>
                  <a:pt x="689336" y="43335"/>
                  <a:pt x="688816" y="44145"/>
                  <a:pt x="690320" y="45880"/>
                </a:cubicBezTo>
                <a:cubicBezTo>
                  <a:pt x="691998" y="47136"/>
                  <a:pt x="694022" y="47714"/>
                  <a:pt x="696104" y="47500"/>
                </a:cubicBezTo>
                <a:cubicBezTo>
                  <a:pt x="702409" y="47668"/>
                  <a:pt x="708541" y="45620"/>
                  <a:pt x="713458" y="41716"/>
                </a:cubicBezTo>
                <a:cubicBezTo>
                  <a:pt x="714498" y="40368"/>
                  <a:pt x="716118" y="39558"/>
                  <a:pt x="717854" y="39518"/>
                </a:cubicBezTo>
                <a:cubicBezTo>
                  <a:pt x="722192" y="39518"/>
                  <a:pt x="725721" y="45302"/>
                  <a:pt x="725721" y="49120"/>
                </a:cubicBezTo>
                <a:cubicBezTo>
                  <a:pt x="725779" y="50115"/>
                  <a:pt x="726299" y="51023"/>
                  <a:pt x="727109" y="51607"/>
                </a:cubicBezTo>
                <a:cubicBezTo>
                  <a:pt x="727861" y="52313"/>
                  <a:pt x="728844" y="52724"/>
                  <a:pt x="729885" y="52764"/>
                </a:cubicBezTo>
                <a:cubicBezTo>
                  <a:pt x="730579" y="52764"/>
                  <a:pt x="731331" y="52764"/>
                  <a:pt x="731331" y="50971"/>
                </a:cubicBezTo>
                <a:cubicBezTo>
                  <a:pt x="731273" y="48865"/>
                  <a:pt x="732893" y="47089"/>
                  <a:pt x="734976" y="47014"/>
                </a:cubicBezTo>
                <a:cubicBezTo>
                  <a:pt x="735207" y="47003"/>
                  <a:pt x="735438" y="47014"/>
                  <a:pt x="735612" y="47037"/>
                </a:cubicBezTo>
                <a:cubicBezTo>
                  <a:pt x="739603" y="47361"/>
                  <a:pt x="743306" y="49155"/>
                  <a:pt x="746082" y="52070"/>
                </a:cubicBezTo>
                <a:cubicBezTo>
                  <a:pt x="746892" y="53053"/>
                  <a:pt x="749784" y="52533"/>
                  <a:pt x="752560" y="52070"/>
                </a:cubicBezTo>
                <a:cubicBezTo>
                  <a:pt x="754064" y="51630"/>
                  <a:pt x="755626" y="51358"/>
                  <a:pt x="757188" y="51260"/>
                </a:cubicBezTo>
                <a:cubicBezTo>
                  <a:pt x="758981" y="50994"/>
                  <a:pt x="760601" y="52214"/>
                  <a:pt x="760890" y="53984"/>
                </a:cubicBezTo>
                <a:cubicBezTo>
                  <a:pt x="760890" y="54251"/>
                  <a:pt x="760890" y="54523"/>
                  <a:pt x="760890" y="54789"/>
                </a:cubicBezTo>
                <a:cubicBezTo>
                  <a:pt x="760890" y="57797"/>
                  <a:pt x="757767" y="60284"/>
                  <a:pt x="754701" y="62713"/>
                </a:cubicBezTo>
                <a:cubicBezTo>
                  <a:pt x="751635" y="65143"/>
                  <a:pt x="749437" y="66936"/>
                  <a:pt x="749379" y="68903"/>
                </a:cubicBezTo>
                <a:cubicBezTo>
                  <a:pt x="749437" y="69932"/>
                  <a:pt x="749957" y="70887"/>
                  <a:pt x="750767" y="71506"/>
                </a:cubicBezTo>
                <a:cubicBezTo>
                  <a:pt x="751577" y="72356"/>
                  <a:pt x="752734" y="72871"/>
                  <a:pt x="753891" y="72952"/>
                </a:cubicBezTo>
                <a:cubicBezTo>
                  <a:pt x="756089" y="72628"/>
                  <a:pt x="758113" y="71592"/>
                  <a:pt x="759675" y="70002"/>
                </a:cubicBezTo>
                <a:cubicBezTo>
                  <a:pt x="762047" y="67717"/>
                  <a:pt x="765112" y="66294"/>
                  <a:pt x="768410" y="65952"/>
                </a:cubicBezTo>
                <a:cubicBezTo>
                  <a:pt x="769393" y="65929"/>
                  <a:pt x="770376" y="66091"/>
                  <a:pt x="771302" y="66415"/>
                </a:cubicBezTo>
                <a:cubicBezTo>
                  <a:pt x="776161" y="68035"/>
                  <a:pt x="782871" y="64044"/>
                  <a:pt x="788655" y="60168"/>
                </a:cubicBezTo>
                <a:cubicBezTo>
                  <a:pt x="792184" y="57611"/>
                  <a:pt x="796059" y="55656"/>
                  <a:pt x="800224" y="54384"/>
                </a:cubicBezTo>
                <a:cubicBezTo>
                  <a:pt x="806529" y="52382"/>
                  <a:pt x="812371" y="49264"/>
                  <a:pt x="817577" y="45186"/>
                </a:cubicBezTo>
                <a:cubicBezTo>
                  <a:pt x="820064" y="43509"/>
                  <a:pt x="822436" y="41889"/>
                  <a:pt x="824634" y="40617"/>
                </a:cubicBezTo>
                <a:cubicBezTo>
                  <a:pt x="828336" y="38702"/>
                  <a:pt x="832501" y="37742"/>
                  <a:pt x="836666" y="37840"/>
                </a:cubicBezTo>
                <a:cubicBezTo>
                  <a:pt x="838864" y="37840"/>
                  <a:pt x="844186" y="38129"/>
                  <a:pt x="845285" y="40732"/>
                </a:cubicBezTo>
                <a:cubicBezTo>
                  <a:pt x="845690" y="42005"/>
                  <a:pt x="845227" y="43393"/>
                  <a:pt x="844186" y="44203"/>
                </a:cubicBezTo>
                <a:cubicBezTo>
                  <a:pt x="841293" y="46482"/>
                  <a:pt x="839731" y="50028"/>
                  <a:pt x="839963" y="53689"/>
                </a:cubicBezTo>
                <a:cubicBezTo>
                  <a:pt x="840715" y="57218"/>
                  <a:pt x="844706" y="60342"/>
                  <a:pt x="851532" y="62945"/>
                </a:cubicBezTo>
                <a:cubicBezTo>
                  <a:pt x="867786" y="68729"/>
                  <a:pt x="885833" y="97015"/>
                  <a:pt x="897807" y="115641"/>
                </a:cubicBezTo>
                <a:cubicBezTo>
                  <a:pt x="899427" y="118186"/>
                  <a:pt x="900988" y="120615"/>
                  <a:pt x="902377" y="122698"/>
                </a:cubicBezTo>
                <a:cubicBezTo>
                  <a:pt x="907468" y="131079"/>
                  <a:pt x="912037" y="139756"/>
                  <a:pt x="916144" y="148670"/>
                </a:cubicBezTo>
                <a:cubicBezTo>
                  <a:pt x="921234" y="159255"/>
                  <a:pt x="927076" y="171287"/>
                  <a:pt x="929853" y="171287"/>
                </a:cubicBezTo>
                <a:cubicBezTo>
                  <a:pt x="932630" y="171287"/>
                  <a:pt x="933960" y="167816"/>
                  <a:pt x="935638" y="164172"/>
                </a:cubicBezTo>
                <a:cubicBezTo>
                  <a:pt x="937315" y="160528"/>
                  <a:pt x="940612" y="154801"/>
                  <a:pt x="945182" y="153760"/>
                </a:cubicBezTo>
                <a:lnTo>
                  <a:pt x="946743" y="153760"/>
                </a:lnTo>
                <a:cubicBezTo>
                  <a:pt x="950908" y="153760"/>
                  <a:pt x="954032" y="157462"/>
                  <a:pt x="957387" y="161396"/>
                </a:cubicBezTo>
                <a:cubicBezTo>
                  <a:pt x="959700" y="164820"/>
                  <a:pt x="962998" y="167481"/>
                  <a:pt x="966873" y="169031"/>
                </a:cubicBezTo>
                <a:cubicBezTo>
                  <a:pt x="969187" y="169552"/>
                  <a:pt x="971675" y="170246"/>
                  <a:pt x="974277" y="170998"/>
                </a:cubicBezTo>
                <a:cubicBezTo>
                  <a:pt x="979021" y="172594"/>
                  <a:pt x="983938" y="173589"/>
                  <a:pt x="988912" y="173948"/>
                </a:cubicBezTo>
                <a:cubicBezTo>
                  <a:pt x="990242" y="173971"/>
                  <a:pt x="991631" y="173757"/>
                  <a:pt x="992903" y="173312"/>
                </a:cubicBezTo>
                <a:cubicBezTo>
                  <a:pt x="994465" y="172733"/>
                  <a:pt x="996547" y="171808"/>
                  <a:pt x="998687" y="170766"/>
                </a:cubicBezTo>
                <a:cubicBezTo>
                  <a:pt x="1004472" y="167782"/>
                  <a:pt x="1010777" y="165827"/>
                  <a:pt x="1017256" y="164982"/>
                </a:cubicBezTo>
                <a:cubicBezTo>
                  <a:pt x="1018528" y="164941"/>
                  <a:pt x="1019743" y="165219"/>
                  <a:pt x="1020842" y="165792"/>
                </a:cubicBezTo>
                <a:cubicBezTo>
                  <a:pt x="1022115" y="166440"/>
                  <a:pt x="1023387" y="167018"/>
                  <a:pt x="1024717" y="167527"/>
                </a:cubicBezTo>
                <a:cubicBezTo>
                  <a:pt x="1031312" y="169436"/>
                  <a:pt x="1036576" y="174382"/>
                  <a:pt x="1038948" y="180831"/>
                </a:cubicBezTo>
                <a:cubicBezTo>
                  <a:pt x="1043748" y="192400"/>
                  <a:pt x="1050979" y="194135"/>
                  <a:pt x="1054855" y="194135"/>
                </a:cubicBezTo>
                <a:cubicBezTo>
                  <a:pt x="1058730" y="194135"/>
                  <a:pt x="1061854" y="196102"/>
                  <a:pt x="1061854" y="205704"/>
                </a:cubicBezTo>
                <a:cubicBezTo>
                  <a:pt x="1061854" y="209811"/>
                  <a:pt x="1070068" y="215885"/>
                  <a:pt x="1074406" y="215885"/>
                </a:cubicBezTo>
                <a:cubicBezTo>
                  <a:pt x="1081637" y="215775"/>
                  <a:pt x="1088809" y="214462"/>
                  <a:pt x="1095635" y="212009"/>
                </a:cubicBezTo>
                <a:cubicBezTo>
                  <a:pt x="1097775" y="210505"/>
                  <a:pt x="1100204" y="209551"/>
                  <a:pt x="1102807" y="209233"/>
                </a:cubicBezTo>
                <a:cubicBezTo>
                  <a:pt x="1104138" y="209233"/>
                  <a:pt x="1106509" y="209753"/>
                  <a:pt x="1107030" y="213629"/>
                </a:cubicBezTo>
                <a:cubicBezTo>
                  <a:pt x="1108013" y="217325"/>
                  <a:pt x="1110038" y="220669"/>
                  <a:pt x="1112815" y="223289"/>
                </a:cubicBezTo>
                <a:cubicBezTo>
                  <a:pt x="1112988" y="223619"/>
                  <a:pt x="1112988" y="224001"/>
                  <a:pt x="1112815" y="224330"/>
                </a:cubicBezTo>
                <a:cubicBezTo>
                  <a:pt x="1111658" y="227789"/>
                  <a:pt x="1109865" y="230977"/>
                  <a:pt x="1107435" y="233701"/>
                </a:cubicBezTo>
                <a:cubicBezTo>
                  <a:pt x="1105237" y="235824"/>
                  <a:pt x="1103849" y="238612"/>
                  <a:pt x="1103443" y="241626"/>
                </a:cubicBezTo>
                <a:cubicBezTo>
                  <a:pt x="1103443" y="249087"/>
                  <a:pt x="1100031" y="257822"/>
                  <a:pt x="1090544" y="257822"/>
                </a:cubicBezTo>
                <a:cubicBezTo>
                  <a:pt x="1083198" y="257822"/>
                  <a:pt x="1074348" y="262970"/>
                  <a:pt x="1073770" y="277431"/>
                </a:cubicBezTo>
                <a:cubicBezTo>
                  <a:pt x="1073480" y="282157"/>
                  <a:pt x="1074579" y="286866"/>
                  <a:pt x="1076951" y="290967"/>
                </a:cubicBezTo>
                <a:cubicBezTo>
                  <a:pt x="1079033" y="293489"/>
                  <a:pt x="1079265" y="297046"/>
                  <a:pt x="1077529" y="299817"/>
                </a:cubicBezTo>
                <a:cubicBezTo>
                  <a:pt x="1071514" y="306267"/>
                  <a:pt x="1063184" y="310108"/>
                  <a:pt x="1054392" y="310518"/>
                </a:cubicBezTo>
                <a:lnTo>
                  <a:pt x="1054392" y="310518"/>
                </a:lnTo>
                <a:cubicBezTo>
                  <a:pt x="1053003" y="310582"/>
                  <a:pt x="1051557" y="310327"/>
                  <a:pt x="1050285" y="309766"/>
                </a:cubicBezTo>
                <a:cubicBezTo>
                  <a:pt x="1045773" y="308262"/>
                  <a:pt x="1040972" y="307690"/>
                  <a:pt x="1036228" y="308089"/>
                </a:cubicBezTo>
                <a:cubicBezTo>
                  <a:pt x="1032700" y="308089"/>
                  <a:pt x="1028998" y="308089"/>
                  <a:pt x="1025469" y="307626"/>
                </a:cubicBezTo>
                <a:cubicBezTo>
                  <a:pt x="1022288" y="307007"/>
                  <a:pt x="1019338" y="305792"/>
                  <a:pt x="1016620" y="304040"/>
                </a:cubicBezTo>
                <a:cubicBezTo>
                  <a:pt x="1015058" y="302969"/>
                  <a:pt x="1013322" y="302241"/>
                  <a:pt x="1011472" y="301899"/>
                </a:cubicBezTo>
                <a:cubicBezTo>
                  <a:pt x="1010893" y="301899"/>
                  <a:pt x="1009389" y="301899"/>
                  <a:pt x="1008290" y="306758"/>
                </a:cubicBezTo>
                <a:cubicBezTo>
                  <a:pt x="1006092" y="313995"/>
                  <a:pt x="1003489" y="321104"/>
                  <a:pt x="1000481" y="328045"/>
                </a:cubicBezTo>
                <a:cubicBezTo>
                  <a:pt x="996143" y="338573"/>
                  <a:pt x="988912" y="356273"/>
                  <a:pt x="991168" y="358182"/>
                </a:cubicBezTo>
                <a:cubicBezTo>
                  <a:pt x="994639" y="360941"/>
                  <a:pt x="996489" y="365331"/>
                  <a:pt x="995911" y="369751"/>
                </a:cubicBezTo>
                <a:cubicBezTo>
                  <a:pt x="994985" y="371902"/>
                  <a:pt x="992730" y="373164"/>
                  <a:pt x="990416" y="372817"/>
                </a:cubicBezTo>
                <a:cubicBezTo>
                  <a:pt x="980467" y="372817"/>
                  <a:pt x="973583" y="371023"/>
                  <a:pt x="970055" y="367495"/>
                </a:cubicBezTo>
                <a:cubicBezTo>
                  <a:pt x="968551" y="365991"/>
                  <a:pt x="963981" y="367495"/>
                  <a:pt x="959122" y="369404"/>
                </a:cubicBezTo>
                <a:cubicBezTo>
                  <a:pt x="954668" y="371428"/>
                  <a:pt x="949925" y="372585"/>
                  <a:pt x="945066" y="372817"/>
                </a:cubicBezTo>
                <a:lnTo>
                  <a:pt x="945066" y="372817"/>
                </a:lnTo>
                <a:cubicBezTo>
                  <a:pt x="941191" y="372817"/>
                  <a:pt x="929911" y="378138"/>
                  <a:pt x="929332" y="380741"/>
                </a:cubicBezTo>
                <a:cubicBezTo>
                  <a:pt x="929332" y="380741"/>
                  <a:pt x="929332" y="381030"/>
                  <a:pt x="929911" y="381377"/>
                </a:cubicBezTo>
                <a:cubicBezTo>
                  <a:pt x="936621" y="384732"/>
                  <a:pt x="936621" y="399656"/>
                  <a:pt x="936621" y="406019"/>
                </a:cubicBezTo>
                <a:cubicBezTo>
                  <a:pt x="937604" y="410259"/>
                  <a:pt x="939282" y="414320"/>
                  <a:pt x="941537" y="418051"/>
                </a:cubicBezTo>
                <a:cubicBezTo>
                  <a:pt x="945239" y="425281"/>
                  <a:pt x="949057" y="432801"/>
                  <a:pt x="947322" y="436734"/>
                </a:cubicBezTo>
                <a:cubicBezTo>
                  <a:pt x="945645" y="439835"/>
                  <a:pt x="943447" y="442600"/>
                  <a:pt x="940785" y="444890"/>
                </a:cubicBezTo>
                <a:cubicBezTo>
                  <a:pt x="936910" y="448708"/>
                  <a:pt x="932919" y="452699"/>
                  <a:pt x="932919" y="456922"/>
                </a:cubicBezTo>
                <a:cubicBezTo>
                  <a:pt x="932919" y="459236"/>
                  <a:pt x="932919" y="461434"/>
                  <a:pt x="933266" y="463574"/>
                </a:cubicBezTo>
                <a:cubicBezTo>
                  <a:pt x="933613" y="465714"/>
                  <a:pt x="933266" y="466409"/>
                  <a:pt x="933266" y="467623"/>
                </a:cubicBezTo>
                <a:cubicBezTo>
                  <a:pt x="933266" y="467756"/>
                  <a:pt x="933266" y="467895"/>
                  <a:pt x="933266" y="468028"/>
                </a:cubicBezTo>
                <a:cubicBezTo>
                  <a:pt x="933266" y="468636"/>
                  <a:pt x="932746" y="469127"/>
                  <a:pt x="932167" y="469127"/>
                </a:cubicBezTo>
                <a:lnTo>
                  <a:pt x="932167" y="469127"/>
                </a:lnTo>
                <a:cubicBezTo>
                  <a:pt x="931936" y="469220"/>
                  <a:pt x="931704" y="469220"/>
                  <a:pt x="931472" y="469127"/>
                </a:cubicBezTo>
                <a:cubicBezTo>
                  <a:pt x="928928" y="466871"/>
                  <a:pt x="925572" y="465691"/>
                  <a:pt x="922160" y="465830"/>
                </a:cubicBezTo>
                <a:lnTo>
                  <a:pt x="919846" y="465830"/>
                </a:lnTo>
                <a:cubicBezTo>
                  <a:pt x="915276" y="465986"/>
                  <a:pt x="910880" y="463811"/>
                  <a:pt x="908277" y="460046"/>
                </a:cubicBezTo>
                <a:cubicBezTo>
                  <a:pt x="901972" y="452699"/>
                  <a:pt x="898559" y="453162"/>
                  <a:pt x="893989" y="453683"/>
                </a:cubicBezTo>
                <a:cubicBezTo>
                  <a:pt x="892659" y="453683"/>
                  <a:pt x="891155" y="453972"/>
                  <a:pt x="889477" y="453972"/>
                </a:cubicBezTo>
                <a:cubicBezTo>
                  <a:pt x="887279" y="453966"/>
                  <a:pt x="885139" y="453677"/>
                  <a:pt x="882999" y="453104"/>
                </a:cubicBezTo>
                <a:cubicBezTo>
                  <a:pt x="864836" y="449524"/>
                  <a:pt x="846326" y="447586"/>
                  <a:pt x="827816" y="447320"/>
                </a:cubicBezTo>
                <a:cubicBezTo>
                  <a:pt x="823014" y="446996"/>
                  <a:pt x="818156" y="447482"/>
                  <a:pt x="813471" y="448766"/>
                </a:cubicBezTo>
                <a:cubicBezTo>
                  <a:pt x="811735" y="449449"/>
                  <a:pt x="809884" y="449784"/>
                  <a:pt x="808033" y="449749"/>
                </a:cubicBezTo>
                <a:cubicBezTo>
                  <a:pt x="798431" y="449749"/>
                  <a:pt x="784895" y="442692"/>
                  <a:pt x="778243" y="439280"/>
                </a:cubicBezTo>
                <a:lnTo>
                  <a:pt x="776161" y="438238"/>
                </a:lnTo>
                <a:cubicBezTo>
                  <a:pt x="770376" y="435462"/>
                  <a:pt x="750247" y="438238"/>
                  <a:pt x="749552" y="448650"/>
                </a:cubicBezTo>
                <a:cubicBezTo>
                  <a:pt x="748974" y="456980"/>
                  <a:pt x="744058" y="458715"/>
                  <a:pt x="740066" y="458715"/>
                </a:cubicBezTo>
                <a:cubicBezTo>
                  <a:pt x="734281" y="458224"/>
                  <a:pt x="728729" y="456465"/>
                  <a:pt x="723696" y="453567"/>
                </a:cubicBezTo>
                <a:cubicBezTo>
                  <a:pt x="716639" y="450177"/>
                  <a:pt x="708888" y="448402"/>
                  <a:pt x="701079" y="448361"/>
                </a:cubicBezTo>
                <a:cubicBezTo>
                  <a:pt x="693559" y="448361"/>
                  <a:pt x="688469" y="450386"/>
                  <a:pt x="688180" y="453509"/>
                </a:cubicBezTo>
                <a:cubicBezTo>
                  <a:pt x="687254" y="462302"/>
                  <a:pt x="676206" y="470515"/>
                  <a:pt x="670826" y="473003"/>
                </a:cubicBezTo>
                <a:cubicBezTo>
                  <a:pt x="670074" y="473292"/>
                  <a:pt x="667934" y="475317"/>
                  <a:pt x="663191" y="487580"/>
                </a:cubicBezTo>
                <a:cubicBezTo>
                  <a:pt x="662960" y="488146"/>
                  <a:pt x="662324" y="488441"/>
                  <a:pt x="661802" y="488227"/>
                </a:cubicBezTo>
                <a:cubicBezTo>
                  <a:pt x="661745" y="488227"/>
                  <a:pt x="661745" y="488222"/>
                  <a:pt x="661745" y="488216"/>
                </a:cubicBezTo>
                <a:cubicBezTo>
                  <a:pt x="656712" y="486804"/>
                  <a:pt x="651391" y="487342"/>
                  <a:pt x="646763" y="489720"/>
                </a:cubicBezTo>
                <a:cubicBezTo>
                  <a:pt x="631724" y="495504"/>
                  <a:pt x="620444" y="504239"/>
                  <a:pt x="619403" y="510428"/>
                </a:cubicBezTo>
                <a:cubicBezTo>
                  <a:pt x="618130" y="515056"/>
                  <a:pt x="614197" y="518486"/>
                  <a:pt x="609454" y="519163"/>
                </a:cubicBezTo>
                <a:close/>
                <a:moveTo>
                  <a:pt x="573706" y="497991"/>
                </a:moveTo>
                <a:cubicBezTo>
                  <a:pt x="576945" y="497870"/>
                  <a:pt x="580126" y="498125"/>
                  <a:pt x="583308" y="498743"/>
                </a:cubicBezTo>
                <a:cubicBezTo>
                  <a:pt x="592216" y="500999"/>
                  <a:pt x="605578" y="504528"/>
                  <a:pt x="606792" y="513725"/>
                </a:cubicBezTo>
                <a:cubicBezTo>
                  <a:pt x="607198" y="516907"/>
                  <a:pt x="608875" y="516907"/>
                  <a:pt x="609454" y="516907"/>
                </a:cubicBezTo>
                <a:cubicBezTo>
                  <a:pt x="613387" y="516184"/>
                  <a:pt x="616511" y="513216"/>
                  <a:pt x="617494" y="509329"/>
                </a:cubicBezTo>
                <a:cubicBezTo>
                  <a:pt x="618651" y="502214"/>
                  <a:pt x="629988" y="493422"/>
                  <a:pt x="646416" y="486943"/>
                </a:cubicBezTo>
                <a:cubicBezTo>
                  <a:pt x="651217" y="484549"/>
                  <a:pt x="656712" y="483895"/>
                  <a:pt x="661918" y="485092"/>
                </a:cubicBezTo>
                <a:cubicBezTo>
                  <a:pt x="666662" y="473119"/>
                  <a:pt x="668917" y="470862"/>
                  <a:pt x="670363" y="470226"/>
                </a:cubicBezTo>
                <a:cubicBezTo>
                  <a:pt x="675801" y="467855"/>
                  <a:pt x="685924" y="459988"/>
                  <a:pt x="686676" y="452584"/>
                </a:cubicBezTo>
                <a:cubicBezTo>
                  <a:pt x="687080" y="448072"/>
                  <a:pt x="692749" y="445411"/>
                  <a:pt x="701831" y="445411"/>
                </a:cubicBezTo>
                <a:cubicBezTo>
                  <a:pt x="709987" y="445463"/>
                  <a:pt x="718085" y="447320"/>
                  <a:pt x="725431" y="450848"/>
                </a:cubicBezTo>
                <a:cubicBezTo>
                  <a:pt x="740124" y="458195"/>
                  <a:pt x="747354" y="457616"/>
                  <a:pt x="748048" y="447783"/>
                </a:cubicBezTo>
                <a:cubicBezTo>
                  <a:pt x="748743" y="437949"/>
                  <a:pt x="761642" y="434189"/>
                  <a:pt x="770666" y="434189"/>
                </a:cubicBezTo>
                <a:cubicBezTo>
                  <a:pt x="773153" y="434103"/>
                  <a:pt x="775640" y="434559"/>
                  <a:pt x="777954" y="435520"/>
                </a:cubicBezTo>
                <a:lnTo>
                  <a:pt x="780036" y="436561"/>
                </a:lnTo>
                <a:cubicBezTo>
                  <a:pt x="786399" y="439916"/>
                  <a:pt x="799704" y="446742"/>
                  <a:pt x="808959" y="446742"/>
                </a:cubicBezTo>
                <a:cubicBezTo>
                  <a:pt x="810521" y="446788"/>
                  <a:pt x="812082" y="446533"/>
                  <a:pt x="813528" y="445990"/>
                </a:cubicBezTo>
                <a:cubicBezTo>
                  <a:pt x="818445" y="444601"/>
                  <a:pt x="823593" y="444052"/>
                  <a:pt x="828741" y="444370"/>
                </a:cubicBezTo>
                <a:cubicBezTo>
                  <a:pt x="847482" y="444636"/>
                  <a:pt x="866109" y="446574"/>
                  <a:pt x="884503" y="450154"/>
                </a:cubicBezTo>
                <a:cubicBezTo>
                  <a:pt x="887858" y="450953"/>
                  <a:pt x="891271" y="451126"/>
                  <a:pt x="894684" y="450675"/>
                </a:cubicBezTo>
                <a:cubicBezTo>
                  <a:pt x="899948" y="450154"/>
                  <a:pt x="903996" y="449807"/>
                  <a:pt x="910938" y="457790"/>
                </a:cubicBezTo>
                <a:cubicBezTo>
                  <a:pt x="913078" y="461012"/>
                  <a:pt x="916780" y="462880"/>
                  <a:pt x="920656" y="462707"/>
                </a:cubicBezTo>
                <a:lnTo>
                  <a:pt x="922969" y="462707"/>
                </a:lnTo>
                <a:cubicBezTo>
                  <a:pt x="926035" y="462597"/>
                  <a:pt x="929101" y="463441"/>
                  <a:pt x="931704" y="465136"/>
                </a:cubicBezTo>
                <a:lnTo>
                  <a:pt x="931704" y="463169"/>
                </a:lnTo>
                <a:cubicBezTo>
                  <a:pt x="931704" y="461087"/>
                  <a:pt x="931357" y="458715"/>
                  <a:pt x="931357" y="456344"/>
                </a:cubicBezTo>
                <a:cubicBezTo>
                  <a:pt x="931357" y="451195"/>
                  <a:pt x="935869" y="446684"/>
                  <a:pt x="939918" y="442692"/>
                </a:cubicBezTo>
                <a:cubicBezTo>
                  <a:pt x="942231" y="440564"/>
                  <a:pt x="944199" y="438082"/>
                  <a:pt x="945703" y="435346"/>
                </a:cubicBezTo>
                <a:cubicBezTo>
                  <a:pt x="946917" y="432338"/>
                  <a:pt x="942983" y="424645"/>
                  <a:pt x="939918" y="418456"/>
                </a:cubicBezTo>
                <a:cubicBezTo>
                  <a:pt x="937431" y="414464"/>
                  <a:pt x="935695" y="410051"/>
                  <a:pt x="934770" y="405441"/>
                </a:cubicBezTo>
                <a:cubicBezTo>
                  <a:pt x="934770" y="400003"/>
                  <a:pt x="934770" y="385542"/>
                  <a:pt x="929332" y="382823"/>
                </a:cubicBezTo>
                <a:cubicBezTo>
                  <a:pt x="927250" y="381782"/>
                  <a:pt x="927366" y="380278"/>
                  <a:pt x="927539" y="379642"/>
                </a:cubicBezTo>
                <a:cubicBezTo>
                  <a:pt x="928580" y="375246"/>
                  <a:pt x="941653" y="369982"/>
                  <a:pt x="945355" y="369982"/>
                </a:cubicBezTo>
                <a:lnTo>
                  <a:pt x="946165" y="369982"/>
                </a:lnTo>
                <a:cubicBezTo>
                  <a:pt x="950503" y="369560"/>
                  <a:pt x="954726" y="368443"/>
                  <a:pt x="958718" y="366685"/>
                </a:cubicBezTo>
                <a:cubicBezTo>
                  <a:pt x="961841" y="365274"/>
                  <a:pt x="965138" y="364360"/>
                  <a:pt x="968493" y="363966"/>
                </a:cubicBezTo>
                <a:cubicBezTo>
                  <a:pt x="969823" y="363874"/>
                  <a:pt x="971096" y="364337"/>
                  <a:pt x="972021" y="365239"/>
                </a:cubicBezTo>
                <a:cubicBezTo>
                  <a:pt x="975145" y="368362"/>
                  <a:pt x="981508" y="369924"/>
                  <a:pt x="990821" y="369924"/>
                </a:cubicBezTo>
                <a:cubicBezTo>
                  <a:pt x="992672" y="369924"/>
                  <a:pt x="993771" y="369404"/>
                  <a:pt x="994176" y="368362"/>
                </a:cubicBezTo>
                <a:cubicBezTo>
                  <a:pt x="994407" y="364788"/>
                  <a:pt x="992903" y="361323"/>
                  <a:pt x="990069" y="359107"/>
                </a:cubicBezTo>
                <a:cubicBezTo>
                  <a:pt x="986888" y="356331"/>
                  <a:pt x="991226" y="344878"/>
                  <a:pt x="998745" y="326368"/>
                </a:cubicBezTo>
                <a:cubicBezTo>
                  <a:pt x="1001753" y="319571"/>
                  <a:pt x="1004357" y="312572"/>
                  <a:pt x="1006439" y="305428"/>
                </a:cubicBezTo>
                <a:cubicBezTo>
                  <a:pt x="1007133" y="302593"/>
                  <a:pt x="1008348" y="298834"/>
                  <a:pt x="1011876" y="298834"/>
                </a:cubicBezTo>
                <a:cubicBezTo>
                  <a:pt x="1014132" y="299140"/>
                  <a:pt x="1016272" y="299973"/>
                  <a:pt x="1018123" y="301263"/>
                </a:cubicBezTo>
                <a:cubicBezTo>
                  <a:pt x="1020553" y="302877"/>
                  <a:pt x="1023271" y="303999"/>
                  <a:pt x="1026163" y="304560"/>
                </a:cubicBezTo>
                <a:cubicBezTo>
                  <a:pt x="1029635" y="304890"/>
                  <a:pt x="1033163" y="305046"/>
                  <a:pt x="1036692" y="305023"/>
                </a:cubicBezTo>
                <a:cubicBezTo>
                  <a:pt x="1041782" y="304595"/>
                  <a:pt x="1046872" y="305243"/>
                  <a:pt x="1051673" y="306932"/>
                </a:cubicBezTo>
                <a:cubicBezTo>
                  <a:pt x="1052657" y="307319"/>
                  <a:pt x="1053755" y="307493"/>
                  <a:pt x="1054797" y="307452"/>
                </a:cubicBezTo>
                <a:cubicBezTo>
                  <a:pt x="1062837" y="307001"/>
                  <a:pt x="1070357" y="303554"/>
                  <a:pt x="1075967" y="297792"/>
                </a:cubicBezTo>
                <a:cubicBezTo>
                  <a:pt x="1077529" y="295363"/>
                  <a:pt x="1076777" y="293975"/>
                  <a:pt x="1075331" y="291198"/>
                </a:cubicBezTo>
                <a:cubicBezTo>
                  <a:pt x="1072786" y="286761"/>
                  <a:pt x="1071572" y="281677"/>
                  <a:pt x="1071861" y="276564"/>
                </a:cubicBezTo>
                <a:cubicBezTo>
                  <a:pt x="1072497" y="261524"/>
                  <a:pt x="1081868" y="254756"/>
                  <a:pt x="1090892" y="254756"/>
                </a:cubicBezTo>
                <a:cubicBezTo>
                  <a:pt x="1101014" y="254756"/>
                  <a:pt x="1101535" y="243187"/>
                  <a:pt x="1101535" y="240816"/>
                </a:cubicBezTo>
                <a:cubicBezTo>
                  <a:pt x="1101882" y="237293"/>
                  <a:pt x="1103501" y="234002"/>
                  <a:pt x="1105989" y="231503"/>
                </a:cubicBezTo>
                <a:cubicBezTo>
                  <a:pt x="1108071" y="229154"/>
                  <a:pt x="1109691" y="226453"/>
                  <a:pt x="1110790" y="223520"/>
                </a:cubicBezTo>
                <a:cubicBezTo>
                  <a:pt x="1108013" y="220617"/>
                  <a:pt x="1105989" y="217024"/>
                  <a:pt x="1105005" y="213108"/>
                </a:cubicBezTo>
                <a:cubicBezTo>
                  <a:pt x="1104659" y="210679"/>
                  <a:pt x="1103559" y="210679"/>
                  <a:pt x="1103039" y="210679"/>
                </a:cubicBezTo>
                <a:cubicBezTo>
                  <a:pt x="1100956" y="211061"/>
                  <a:pt x="1098990" y="211888"/>
                  <a:pt x="1097254" y="213108"/>
                </a:cubicBezTo>
                <a:cubicBezTo>
                  <a:pt x="1090082" y="215816"/>
                  <a:pt x="1082504" y="217244"/>
                  <a:pt x="1074869" y="217331"/>
                </a:cubicBezTo>
                <a:cubicBezTo>
                  <a:pt x="1069836" y="217331"/>
                  <a:pt x="1060060" y="210621"/>
                  <a:pt x="1060060" y="204895"/>
                </a:cubicBezTo>
                <a:cubicBezTo>
                  <a:pt x="1060060" y="199168"/>
                  <a:pt x="1058441" y="195755"/>
                  <a:pt x="1055317" y="195755"/>
                </a:cubicBezTo>
                <a:cubicBezTo>
                  <a:pt x="1050863" y="195755"/>
                  <a:pt x="1042650" y="193846"/>
                  <a:pt x="1037328" y="181120"/>
                </a:cubicBezTo>
                <a:cubicBezTo>
                  <a:pt x="1035188" y="175203"/>
                  <a:pt x="1030387" y="170680"/>
                  <a:pt x="1024313" y="168973"/>
                </a:cubicBezTo>
                <a:cubicBezTo>
                  <a:pt x="1022925" y="168441"/>
                  <a:pt x="1021536" y="167822"/>
                  <a:pt x="1020206" y="167122"/>
                </a:cubicBezTo>
                <a:cubicBezTo>
                  <a:pt x="1019454" y="166735"/>
                  <a:pt x="1018586" y="166555"/>
                  <a:pt x="1017718" y="166602"/>
                </a:cubicBezTo>
                <a:cubicBezTo>
                  <a:pt x="1011645" y="167550"/>
                  <a:pt x="1005803" y="169505"/>
                  <a:pt x="1000365" y="172386"/>
                </a:cubicBezTo>
                <a:cubicBezTo>
                  <a:pt x="997935" y="173427"/>
                  <a:pt x="995853" y="174353"/>
                  <a:pt x="994176" y="174989"/>
                </a:cubicBezTo>
                <a:cubicBezTo>
                  <a:pt x="992672" y="175533"/>
                  <a:pt x="991052" y="175787"/>
                  <a:pt x="989433" y="175741"/>
                </a:cubicBezTo>
                <a:cubicBezTo>
                  <a:pt x="984226" y="175388"/>
                  <a:pt x="979078" y="174359"/>
                  <a:pt x="974162" y="172675"/>
                </a:cubicBezTo>
                <a:cubicBezTo>
                  <a:pt x="971617" y="171981"/>
                  <a:pt x="969187" y="171287"/>
                  <a:pt x="966931" y="170824"/>
                </a:cubicBezTo>
                <a:cubicBezTo>
                  <a:pt x="962535" y="169222"/>
                  <a:pt x="958833" y="166260"/>
                  <a:pt x="956230" y="162379"/>
                </a:cubicBezTo>
                <a:cubicBezTo>
                  <a:pt x="952875" y="158446"/>
                  <a:pt x="949636" y="154859"/>
                  <a:pt x="946223" y="155669"/>
                </a:cubicBezTo>
                <a:cubicBezTo>
                  <a:pt x="942810" y="156479"/>
                  <a:pt x="940439" y="160759"/>
                  <a:pt x="938183" y="164982"/>
                </a:cubicBezTo>
                <a:cubicBezTo>
                  <a:pt x="935927" y="169205"/>
                  <a:pt x="933786" y="173254"/>
                  <a:pt x="930142" y="173254"/>
                </a:cubicBezTo>
                <a:cubicBezTo>
                  <a:pt x="926498" y="173254"/>
                  <a:pt x="921755" y="164635"/>
                  <a:pt x="914409" y="149364"/>
                </a:cubicBezTo>
                <a:cubicBezTo>
                  <a:pt x="910360" y="140531"/>
                  <a:pt x="905848" y="131953"/>
                  <a:pt x="900757" y="123681"/>
                </a:cubicBezTo>
                <a:cubicBezTo>
                  <a:pt x="899369" y="121541"/>
                  <a:pt x="897865" y="119111"/>
                  <a:pt x="896188" y="116566"/>
                </a:cubicBezTo>
                <a:cubicBezTo>
                  <a:pt x="884619" y="98230"/>
                  <a:pt x="866687" y="70291"/>
                  <a:pt x="851069" y="64506"/>
                </a:cubicBezTo>
                <a:cubicBezTo>
                  <a:pt x="843318" y="61672"/>
                  <a:pt x="838864" y="58028"/>
                  <a:pt x="837939" y="53632"/>
                </a:cubicBezTo>
                <a:cubicBezTo>
                  <a:pt x="837418" y="49195"/>
                  <a:pt x="839269" y="44810"/>
                  <a:pt x="842797" y="42063"/>
                </a:cubicBezTo>
                <a:cubicBezTo>
                  <a:pt x="843260" y="41600"/>
                  <a:pt x="843434" y="41253"/>
                  <a:pt x="843318" y="41079"/>
                </a:cubicBezTo>
                <a:cubicBezTo>
                  <a:pt x="843202" y="40906"/>
                  <a:pt x="840831" y="39575"/>
                  <a:pt x="836839" y="39575"/>
                </a:cubicBezTo>
                <a:cubicBezTo>
                  <a:pt x="833079" y="39489"/>
                  <a:pt x="829320" y="40322"/>
                  <a:pt x="825965" y="42005"/>
                </a:cubicBezTo>
                <a:cubicBezTo>
                  <a:pt x="823824" y="43278"/>
                  <a:pt x="821510" y="44839"/>
                  <a:pt x="819023" y="46517"/>
                </a:cubicBezTo>
                <a:cubicBezTo>
                  <a:pt x="813586" y="50763"/>
                  <a:pt x="807397" y="54013"/>
                  <a:pt x="800802" y="56119"/>
                </a:cubicBezTo>
                <a:cubicBezTo>
                  <a:pt x="796927" y="57432"/>
                  <a:pt x="793225" y="59387"/>
                  <a:pt x="789986" y="61903"/>
                </a:cubicBezTo>
                <a:cubicBezTo>
                  <a:pt x="785243" y="65600"/>
                  <a:pt x="779689" y="68012"/>
                  <a:pt x="773731" y="68903"/>
                </a:cubicBezTo>
                <a:cubicBezTo>
                  <a:pt x="772632" y="68908"/>
                  <a:pt x="771591" y="68735"/>
                  <a:pt x="770550" y="68382"/>
                </a:cubicBezTo>
                <a:cubicBezTo>
                  <a:pt x="767022" y="67711"/>
                  <a:pt x="763377" y="68943"/>
                  <a:pt x="761006" y="71621"/>
                </a:cubicBezTo>
                <a:cubicBezTo>
                  <a:pt x="759155" y="73507"/>
                  <a:pt x="756725" y="74716"/>
                  <a:pt x="754122" y="75034"/>
                </a:cubicBezTo>
                <a:cubicBezTo>
                  <a:pt x="752387" y="74994"/>
                  <a:pt x="750709" y="74265"/>
                  <a:pt x="749495" y="73009"/>
                </a:cubicBezTo>
                <a:cubicBezTo>
                  <a:pt x="748164" y="71934"/>
                  <a:pt x="747354" y="70326"/>
                  <a:pt x="747354" y="68613"/>
                </a:cubicBezTo>
                <a:cubicBezTo>
                  <a:pt x="747354" y="65605"/>
                  <a:pt x="750536" y="63176"/>
                  <a:pt x="753543" y="60746"/>
                </a:cubicBezTo>
                <a:cubicBezTo>
                  <a:pt x="756551" y="58317"/>
                  <a:pt x="758865" y="56524"/>
                  <a:pt x="758865" y="54615"/>
                </a:cubicBezTo>
                <a:cubicBezTo>
                  <a:pt x="758865" y="53747"/>
                  <a:pt x="758865" y="53342"/>
                  <a:pt x="757419" y="53342"/>
                </a:cubicBezTo>
                <a:cubicBezTo>
                  <a:pt x="756031" y="53435"/>
                  <a:pt x="754643" y="53689"/>
                  <a:pt x="753312" y="54094"/>
                </a:cubicBezTo>
                <a:cubicBezTo>
                  <a:pt x="751635" y="54546"/>
                  <a:pt x="749899" y="54817"/>
                  <a:pt x="748164" y="54904"/>
                </a:cubicBezTo>
                <a:cubicBezTo>
                  <a:pt x="746834" y="55008"/>
                  <a:pt x="745504" y="54499"/>
                  <a:pt x="744578" y="53516"/>
                </a:cubicBezTo>
                <a:cubicBezTo>
                  <a:pt x="742264" y="51116"/>
                  <a:pt x="739140" y="49617"/>
                  <a:pt x="735843" y="49293"/>
                </a:cubicBezTo>
                <a:cubicBezTo>
                  <a:pt x="734050" y="49293"/>
                  <a:pt x="733819" y="50103"/>
                  <a:pt x="733819" y="50971"/>
                </a:cubicBezTo>
                <a:cubicBezTo>
                  <a:pt x="734050" y="52972"/>
                  <a:pt x="732604" y="54771"/>
                  <a:pt x="730579" y="54997"/>
                </a:cubicBezTo>
                <a:cubicBezTo>
                  <a:pt x="730464" y="55014"/>
                  <a:pt x="730291" y="55026"/>
                  <a:pt x="730117" y="55020"/>
                </a:cubicBezTo>
                <a:cubicBezTo>
                  <a:pt x="728555" y="54956"/>
                  <a:pt x="727051" y="54360"/>
                  <a:pt x="725894" y="53342"/>
                </a:cubicBezTo>
                <a:cubicBezTo>
                  <a:pt x="724563" y="52353"/>
                  <a:pt x="723754" y="50792"/>
                  <a:pt x="723696" y="49120"/>
                </a:cubicBezTo>
                <a:cubicBezTo>
                  <a:pt x="723696" y="46459"/>
                  <a:pt x="720920" y="41774"/>
                  <a:pt x="717912" y="41774"/>
                </a:cubicBezTo>
                <a:cubicBezTo>
                  <a:pt x="716870" y="41837"/>
                  <a:pt x="715887" y="42369"/>
                  <a:pt x="715250" y="43220"/>
                </a:cubicBezTo>
                <a:cubicBezTo>
                  <a:pt x="709929" y="47593"/>
                  <a:pt x="703219" y="49953"/>
                  <a:pt x="696336" y="49872"/>
                </a:cubicBezTo>
                <a:cubicBezTo>
                  <a:pt x="693559" y="50132"/>
                  <a:pt x="690782" y="49276"/>
                  <a:pt x="688642" y="47500"/>
                </a:cubicBezTo>
                <a:cubicBezTo>
                  <a:pt x="685982" y="44319"/>
                  <a:pt x="687659" y="41716"/>
                  <a:pt x="689163" y="39865"/>
                </a:cubicBezTo>
                <a:cubicBezTo>
                  <a:pt x="690378" y="38517"/>
                  <a:pt x="691130" y="36851"/>
                  <a:pt x="691419" y="35064"/>
                </a:cubicBezTo>
                <a:cubicBezTo>
                  <a:pt x="691361" y="32322"/>
                  <a:pt x="690609" y="29638"/>
                  <a:pt x="689221" y="27255"/>
                </a:cubicBezTo>
                <a:cubicBezTo>
                  <a:pt x="687254" y="23726"/>
                  <a:pt x="686386" y="19712"/>
                  <a:pt x="686618" y="15686"/>
                </a:cubicBezTo>
                <a:cubicBezTo>
                  <a:pt x="686734" y="14049"/>
                  <a:pt x="686213" y="12429"/>
                  <a:pt x="685056" y="11232"/>
                </a:cubicBezTo>
                <a:cubicBezTo>
                  <a:pt x="681990" y="7790"/>
                  <a:pt x="677710" y="5708"/>
                  <a:pt x="673082" y="5447"/>
                </a:cubicBezTo>
                <a:cubicBezTo>
                  <a:pt x="672215" y="5418"/>
                  <a:pt x="671405" y="5557"/>
                  <a:pt x="670595" y="5852"/>
                </a:cubicBezTo>
                <a:cubicBezTo>
                  <a:pt x="668628" y="6598"/>
                  <a:pt x="666546" y="6969"/>
                  <a:pt x="664464" y="6951"/>
                </a:cubicBezTo>
                <a:cubicBezTo>
                  <a:pt x="658910" y="6662"/>
                  <a:pt x="653473" y="5268"/>
                  <a:pt x="648499" y="2844"/>
                </a:cubicBezTo>
                <a:cubicBezTo>
                  <a:pt x="646647" y="2162"/>
                  <a:pt x="644681" y="1867"/>
                  <a:pt x="642714" y="1977"/>
                </a:cubicBezTo>
                <a:cubicBezTo>
                  <a:pt x="631608" y="1977"/>
                  <a:pt x="617031" y="6315"/>
                  <a:pt x="616279" y="9901"/>
                </a:cubicBezTo>
                <a:cubicBezTo>
                  <a:pt x="615411" y="14471"/>
                  <a:pt x="602802" y="17653"/>
                  <a:pt x="586489" y="21470"/>
                </a:cubicBezTo>
                <a:cubicBezTo>
                  <a:pt x="582845" y="22176"/>
                  <a:pt x="579201" y="23084"/>
                  <a:pt x="575672" y="24189"/>
                </a:cubicBezTo>
                <a:cubicBezTo>
                  <a:pt x="562831" y="27446"/>
                  <a:pt x="549758" y="29898"/>
                  <a:pt x="536627" y="31535"/>
                </a:cubicBezTo>
                <a:cubicBezTo>
                  <a:pt x="532926" y="32281"/>
                  <a:pt x="529339" y="33531"/>
                  <a:pt x="525984" y="35237"/>
                </a:cubicBezTo>
                <a:cubicBezTo>
                  <a:pt x="520605" y="38049"/>
                  <a:pt x="514705" y="39685"/>
                  <a:pt x="508631" y="40038"/>
                </a:cubicBezTo>
                <a:cubicBezTo>
                  <a:pt x="499781" y="40038"/>
                  <a:pt x="478089" y="40848"/>
                  <a:pt x="468140" y="48252"/>
                </a:cubicBezTo>
                <a:cubicBezTo>
                  <a:pt x="463802" y="51139"/>
                  <a:pt x="458653" y="52538"/>
                  <a:pt x="453447" y="52243"/>
                </a:cubicBezTo>
                <a:cubicBezTo>
                  <a:pt x="450844" y="52243"/>
                  <a:pt x="448242" y="52243"/>
                  <a:pt x="445754" y="51839"/>
                </a:cubicBezTo>
                <a:cubicBezTo>
                  <a:pt x="443267" y="51434"/>
                  <a:pt x="441474" y="51549"/>
                  <a:pt x="439970" y="51549"/>
                </a:cubicBezTo>
                <a:cubicBezTo>
                  <a:pt x="438408" y="51497"/>
                  <a:pt x="436904" y="51671"/>
                  <a:pt x="435400" y="52070"/>
                </a:cubicBezTo>
                <a:cubicBezTo>
                  <a:pt x="433029" y="52758"/>
                  <a:pt x="430599" y="53071"/>
                  <a:pt x="428169" y="52995"/>
                </a:cubicBezTo>
                <a:cubicBezTo>
                  <a:pt x="426029" y="52995"/>
                  <a:pt x="423889" y="52995"/>
                  <a:pt x="421807" y="52706"/>
                </a:cubicBezTo>
                <a:cubicBezTo>
                  <a:pt x="419724" y="52417"/>
                  <a:pt x="418220" y="52706"/>
                  <a:pt x="416716" y="52706"/>
                </a:cubicBezTo>
                <a:cubicBezTo>
                  <a:pt x="415328" y="52573"/>
                  <a:pt x="413882" y="52816"/>
                  <a:pt x="412609" y="53400"/>
                </a:cubicBezTo>
                <a:cubicBezTo>
                  <a:pt x="409949" y="55193"/>
                  <a:pt x="410527" y="68787"/>
                  <a:pt x="414171" y="74918"/>
                </a:cubicBezTo>
                <a:cubicBezTo>
                  <a:pt x="415964" y="77869"/>
                  <a:pt x="422732" y="80124"/>
                  <a:pt x="428227" y="81918"/>
                </a:cubicBezTo>
                <a:cubicBezTo>
                  <a:pt x="433723" y="83711"/>
                  <a:pt x="437830" y="85157"/>
                  <a:pt x="438524" y="87239"/>
                </a:cubicBezTo>
                <a:cubicBezTo>
                  <a:pt x="438813" y="87800"/>
                  <a:pt x="438813" y="88471"/>
                  <a:pt x="438524" y="89032"/>
                </a:cubicBezTo>
                <a:cubicBezTo>
                  <a:pt x="437020" y="91288"/>
                  <a:pt x="430021" y="91925"/>
                  <a:pt x="418626" y="92734"/>
                </a:cubicBezTo>
                <a:cubicBezTo>
                  <a:pt x="414923" y="92734"/>
                  <a:pt x="411453" y="93255"/>
                  <a:pt x="408792" y="93544"/>
                </a:cubicBezTo>
                <a:cubicBezTo>
                  <a:pt x="406825" y="93672"/>
                  <a:pt x="404974" y="94747"/>
                  <a:pt x="403933" y="96436"/>
                </a:cubicBezTo>
                <a:cubicBezTo>
                  <a:pt x="402255" y="101359"/>
                  <a:pt x="402603" y="106739"/>
                  <a:pt x="404859" y="111418"/>
                </a:cubicBezTo>
                <a:cubicBezTo>
                  <a:pt x="405495" y="112893"/>
                  <a:pt x="405495" y="114571"/>
                  <a:pt x="404859" y="116046"/>
                </a:cubicBezTo>
                <a:cubicBezTo>
                  <a:pt x="401908" y="122466"/>
                  <a:pt x="388893" y="126978"/>
                  <a:pt x="387505" y="127614"/>
                </a:cubicBezTo>
                <a:cubicBezTo>
                  <a:pt x="385828" y="128060"/>
                  <a:pt x="384844" y="129772"/>
                  <a:pt x="385307" y="131438"/>
                </a:cubicBezTo>
                <a:cubicBezTo>
                  <a:pt x="385307" y="131455"/>
                  <a:pt x="385307" y="131473"/>
                  <a:pt x="385307" y="131490"/>
                </a:cubicBezTo>
                <a:cubicBezTo>
                  <a:pt x="386290" y="135933"/>
                  <a:pt x="389934" y="139299"/>
                  <a:pt x="394446" y="139935"/>
                </a:cubicBezTo>
                <a:cubicBezTo>
                  <a:pt x="398322" y="140219"/>
                  <a:pt x="402081" y="141364"/>
                  <a:pt x="405495" y="143290"/>
                </a:cubicBezTo>
                <a:cubicBezTo>
                  <a:pt x="408040" y="144783"/>
                  <a:pt x="410874" y="145708"/>
                  <a:pt x="413824" y="146009"/>
                </a:cubicBezTo>
                <a:cubicBezTo>
                  <a:pt x="421344" y="146009"/>
                  <a:pt x="422154" y="160354"/>
                  <a:pt x="422154" y="166544"/>
                </a:cubicBezTo>
                <a:cubicBezTo>
                  <a:pt x="422154" y="173716"/>
                  <a:pt x="416080" y="177361"/>
                  <a:pt x="404107" y="177361"/>
                </a:cubicBezTo>
                <a:cubicBezTo>
                  <a:pt x="398958" y="177147"/>
                  <a:pt x="393984" y="175325"/>
                  <a:pt x="389934" y="172155"/>
                </a:cubicBezTo>
                <a:cubicBezTo>
                  <a:pt x="387968" y="170645"/>
                  <a:pt x="385712" y="169528"/>
                  <a:pt x="383282" y="168857"/>
                </a:cubicBezTo>
                <a:cubicBezTo>
                  <a:pt x="381027" y="168395"/>
                  <a:pt x="380159" y="170593"/>
                  <a:pt x="378887" y="174642"/>
                </a:cubicBezTo>
                <a:cubicBezTo>
                  <a:pt x="378423" y="177650"/>
                  <a:pt x="376746" y="180357"/>
                  <a:pt x="374317" y="182162"/>
                </a:cubicBezTo>
                <a:cubicBezTo>
                  <a:pt x="373738" y="182486"/>
                  <a:pt x="373102" y="182665"/>
                  <a:pt x="372465" y="182682"/>
                </a:cubicBezTo>
                <a:cubicBezTo>
                  <a:pt x="370267" y="182682"/>
                  <a:pt x="368821" y="180716"/>
                  <a:pt x="367260" y="178691"/>
                </a:cubicBezTo>
                <a:cubicBezTo>
                  <a:pt x="365698" y="176667"/>
                  <a:pt x="363616" y="173832"/>
                  <a:pt x="360492" y="173832"/>
                </a:cubicBezTo>
                <a:cubicBezTo>
                  <a:pt x="356501" y="173832"/>
                  <a:pt x="344295" y="173832"/>
                  <a:pt x="341230" y="164577"/>
                </a:cubicBezTo>
                <a:cubicBezTo>
                  <a:pt x="340188" y="161453"/>
                  <a:pt x="335445" y="159255"/>
                  <a:pt x="329661" y="159255"/>
                </a:cubicBezTo>
                <a:cubicBezTo>
                  <a:pt x="324917" y="159036"/>
                  <a:pt x="320232" y="160672"/>
                  <a:pt x="316646" y="163825"/>
                </a:cubicBezTo>
                <a:cubicBezTo>
                  <a:pt x="314737" y="166318"/>
                  <a:pt x="311902" y="167920"/>
                  <a:pt x="308779" y="168279"/>
                </a:cubicBezTo>
                <a:cubicBezTo>
                  <a:pt x="305829" y="167822"/>
                  <a:pt x="303168" y="166376"/>
                  <a:pt x="301143" y="164172"/>
                </a:cubicBezTo>
                <a:lnTo>
                  <a:pt x="299351" y="162668"/>
                </a:lnTo>
                <a:cubicBezTo>
                  <a:pt x="297847" y="161685"/>
                  <a:pt x="296111" y="161222"/>
                  <a:pt x="294318" y="161338"/>
                </a:cubicBezTo>
                <a:cubicBezTo>
                  <a:pt x="286509" y="161338"/>
                  <a:pt x="276039" y="166833"/>
                  <a:pt x="274477" y="170709"/>
                </a:cubicBezTo>
                <a:cubicBezTo>
                  <a:pt x="271469" y="175394"/>
                  <a:pt x="266090" y="177956"/>
                  <a:pt x="260537" y="177303"/>
                </a:cubicBezTo>
                <a:cubicBezTo>
                  <a:pt x="255910" y="177332"/>
                  <a:pt x="251340" y="176071"/>
                  <a:pt x="247406" y="173659"/>
                </a:cubicBezTo>
                <a:cubicBezTo>
                  <a:pt x="243935" y="171108"/>
                  <a:pt x="240002" y="169297"/>
                  <a:pt x="235837" y="168337"/>
                </a:cubicBezTo>
                <a:cubicBezTo>
                  <a:pt x="235028" y="168337"/>
                  <a:pt x="233350" y="168337"/>
                  <a:pt x="233350" y="172733"/>
                </a:cubicBezTo>
                <a:cubicBezTo>
                  <a:pt x="233350" y="177129"/>
                  <a:pt x="231499" y="177708"/>
                  <a:pt x="230342" y="177708"/>
                </a:cubicBezTo>
                <a:cubicBezTo>
                  <a:pt x="228491" y="177384"/>
                  <a:pt x="226929" y="176285"/>
                  <a:pt x="225946" y="174700"/>
                </a:cubicBezTo>
                <a:cubicBezTo>
                  <a:pt x="224673" y="173040"/>
                  <a:pt x="223921" y="171021"/>
                  <a:pt x="223806" y="168915"/>
                </a:cubicBezTo>
                <a:cubicBezTo>
                  <a:pt x="223806" y="165271"/>
                  <a:pt x="210675" y="156652"/>
                  <a:pt x="204370" y="152545"/>
                </a:cubicBezTo>
                <a:lnTo>
                  <a:pt x="201362" y="150521"/>
                </a:lnTo>
                <a:cubicBezTo>
                  <a:pt x="196214" y="148184"/>
                  <a:pt x="190661" y="146680"/>
                  <a:pt x="185050" y="146067"/>
                </a:cubicBezTo>
                <a:cubicBezTo>
                  <a:pt x="175795" y="144447"/>
                  <a:pt x="170126" y="143290"/>
                  <a:pt x="169316" y="140282"/>
                </a:cubicBezTo>
                <a:cubicBezTo>
                  <a:pt x="168854" y="138316"/>
                  <a:pt x="164689" y="136002"/>
                  <a:pt x="160003" y="136002"/>
                </a:cubicBezTo>
                <a:cubicBezTo>
                  <a:pt x="156706" y="135724"/>
                  <a:pt x="153583" y="137489"/>
                  <a:pt x="152079" y="140456"/>
                </a:cubicBezTo>
                <a:cubicBezTo>
                  <a:pt x="150690" y="143811"/>
                  <a:pt x="148608" y="145488"/>
                  <a:pt x="146005" y="145488"/>
                </a:cubicBezTo>
                <a:cubicBezTo>
                  <a:pt x="143344" y="145153"/>
                  <a:pt x="140799" y="144141"/>
                  <a:pt x="138659" y="142538"/>
                </a:cubicBezTo>
                <a:lnTo>
                  <a:pt x="135998" y="140977"/>
                </a:lnTo>
                <a:cubicBezTo>
                  <a:pt x="135304" y="140670"/>
                  <a:pt x="134494" y="140531"/>
                  <a:pt x="133742" y="140572"/>
                </a:cubicBezTo>
                <a:cubicBezTo>
                  <a:pt x="128131" y="141480"/>
                  <a:pt x="122752" y="143441"/>
                  <a:pt x="117893" y="146356"/>
                </a:cubicBezTo>
                <a:lnTo>
                  <a:pt x="116447" y="147108"/>
                </a:lnTo>
                <a:cubicBezTo>
                  <a:pt x="115348" y="147629"/>
                  <a:pt x="113670" y="148670"/>
                  <a:pt x="111645" y="149827"/>
                </a:cubicBezTo>
                <a:cubicBezTo>
                  <a:pt x="104531" y="154107"/>
                  <a:pt x="93714" y="160586"/>
                  <a:pt x="86830" y="160586"/>
                </a:cubicBezTo>
                <a:cubicBezTo>
                  <a:pt x="83533" y="160586"/>
                  <a:pt x="82781" y="162437"/>
                  <a:pt x="81683" y="165271"/>
                </a:cubicBezTo>
                <a:cubicBezTo>
                  <a:pt x="80525" y="169633"/>
                  <a:pt x="76997" y="172964"/>
                  <a:pt x="72601" y="173890"/>
                </a:cubicBezTo>
                <a:cubicBezTo>
                  <a:pt x="69940" y="174156"/>
                  <a:pt x="67568" y="175521"/>
                  <a:pt x="65948" y="177650"/>
                </a:cubicBezTo>
                <a:cubicBezTo>
                  <a:pt x="64850" y="180432"/>
                  <a:pt x="64850" y="183544"/>
                  <a:pt x="65948" y="186327"/>
                </a:cubicBezTo>
                <a:lnTo>
                  <a:pt x="65948" y="187021"/>
                </a:lnTo>
                <a:cubicBezTo>
                  <a:pt x="66238" y="188085"/>
                  <a:pt x="66642" y="189126"/>
                  <a:pt x="67048" y="190144"/>
                </a:cubicBezTo>
                <a:cubicBezTo>
                  <a:pt x="68841" y="193366"/>
                  <a:pt x="69304" y="197161"/>
                  <a:pt x="68378" y="200730"/>
                </a:cubicBezTo>
                <a:cubicBezTo>
                  <a:pt x="66527" y="203819"/>
                  <a:pt x="63230" y="205774"/>
                  <a:pt x="59644" y="205936"/>
                </a:cubicBezTo>
                <a:cubicBezTo>
                  <a:pt x="54553" y="205936"/>
                  <a:pt x="51198" y="201135"/>
                  <a:pt x="47728" y="195986"/>
                </a:cubicBezTo>
                <a:cubicBezTo>
                  <a:pt x="45645" y="192580"/>
                  <a:pt x="43042" y="189537"/>
                  <a:pt x="39976" y="186963"/>
                </a:cubicBezTo>
                <a:cubicBezTo>
                  <a:pt x="38299" y="185690"/>
                  <a:pt x="36274" y="185002"/>
                  <a:pt x="34192" y="184996"/>
                </a:cubicBezTo>
                <a:cubicBezTo>
                  <a:pt x="28929" y="185742"/>
                  <a:pt x="25226" y="190532"/>
                  <a:pt x="25805" y="195813"/>
                </a:cubicBezTo>
                <a:cubicBezTo>
                  <a:pt x="25805" y="201135"/>
                  <a:pt x="22334" y="203506"/>
                  <a:pt x="18690" y="205994"/>
                </a:cubicBezTo>
                <a:cubicBezTo>
                  <a:pt x="15624" y="207764"/>
                  <a:pt x="13021" y="210268"/>
                  <a:pt x="11112" y="213282"/>
                </a:cubicBezTo>
                <a:cubicBezTo>
                  <a:pt x="8740" y="217389"/>
                  <a:pt x="11112" y="219066"/>
                  <a:pt x="15393" y="221611"/>
                </a:cubicBezTo>
                <a:cubicBezTo>
                  <a:pt x="17649" y="222884"/>
                  <a:pt x="19731" y="224099"/>
                  <a:pt x="19731" y="226066"/>
                </a:cubicBezTo>
                <a:cubicBezTo>
                  <a:pt x="19731" y="229883"/>
                  <a:pt x="14236" y="233123"/>
                  <a:pt x="9492" y="235494"/>
                </a:cubicBezTo>
                <a:cubicBezTo>
                  <a:pt x="6716" y="238467"/>
                  <a:pt x="4749" y="242088"/>
                  <a:pt x="3708" y="246022"/>
                </a:cubicBezTo>
                <a:cubicBezTo>
                  <a:pt x="3130" y="247584"/>
                  <a:pt x="3130" y="249319"/>
                  <a:pt x="3708" y="250881"/>
                </a:cubicBezTo>
                <a:cubicBezTo>
                  <a:pt x="4345" y="251864"/>
                  <a:pt x="6832" y="252558"/>
                  <a:pt x="9492" y="253195"/>
                </a:cubicBezTo>
                <a:cubicBezTo>
                  <a:pt x="14236" y="254467"/>
                  <a:pt x="20714" y="256202"/>
                  <a:pt x="19847" y="262565"/>
                </a:cubicBezTo>
                <a:cubicBezTo>
                  <a:pt x="19095" y="267887"/>
                  <a:pt x="18227" y="273787"/>
                  <a:pt x="19847" y="275638"/>
                </a:cubicBezTo>
                <a:cubicBezTo>
                  <a:pt x="20194" y="276043"/>
                  <a:pt x="21293" y="276506"/>
                  <a:pt x="23144" y="275638"/>
                </a:cubicBezTo>
                <a:cubicBezTo>
                  <a:pt x="26730" y="274539"/>
                  <a:pt x="30432" y="274013"/>
                  <a:pt x="34134" y="274076"/>
                </a:cubicBezTo>
                <a:cubicBezTo>
                  <a:pt x="35985" y="274076"/>
                  <a:pt x="37720" y="274076"/>
                  <a:pt x="39282" y="274076"/>
                </a:cubicBezTo>
                <a:lnTo>
                  <a:pt x="42926" y="274076"/>
                </a:lnTo>
                <a:cubicBezTo>
                  <a:pt x="46571" y="274076"/>
                  <a:pt x="49231" y="278010"/>
                  <a:pt x="52933" y="283447"/>
                </a:cubicBezTo>
                <a:cubicBezTo>
                  <a:pt x="55305" y="287080"/>
                  <a:pt x="57908" y="290562"/>
                  <a:pt x="60743" y="293859"/>
                </a:cubicBezTo>
                <a:cubicBezTo>
                  <a:pt x="66527" y="300743"/>
                  <a:pt x="70345" y="305139"/>
                  <a:pt x="69362" y="308609"/>
                </a:cubicBezTo>
                <a:cubicBezTo>
                  <a:pt x="68783" y="310460"/>
                  <a:pt x="67048" y="311733"/>
                  <a:pt x="63577" y="312658"/>
                </a:cubicBezTo>
                <a:cubicBezTo>
                  <a:pt x="60106" y="313584"/>
                  <a:pt x="59759" y="314220"/>
                  <a:pt x="59701" y="315146"/>
                </a:cubicBezTo>
                <a:cubicBezTo>
                  <a:pt x="59644" y="316071"/>
                  <a:pt x="62189" y="319311"/>
                  <a:pt x="69766" y="322665"/>
                </a:cubicBezTo>
                <a:cubicBezTo>
                  <a:pt x="72716" y="324054"/>
                  <a:pt x="75493" y="325697"/>
                  <a:pt x="78153" y="327582"/>
                </a:cubicBezTo>
                <a:cubicBezTo>
                  <a:pt x="79600" y="326628"/>
                  <a:pt x="80988" y="325587"/>
                  <a:pt x="82319" y="324459"/>
                </a:cubicBezTo>
                <a:cubicBezTo>
                  <a:pt x="95854" y="312630"/>
                  <a:pt x="112918" y="305596"/>
                  <a:pt x="130850" y="304445"/>
                </a:cubicBezTo>
                <a:cubicBezTo>
                  <a:pt x="134147" y="304416"/>
                  <a:pt x="137444" y="304826"/>
                  <a:pt x="140683" y="305659"/>
                </a:cubicBezTo>
                <a:cubicBezTo>
                  <a:pt x="145716" y="306874"/>
                  <a:pt x="150864" y="307435"/>
                  <a:pt x="156070" y="307337"/>
                </a:cubicBezTo>
                <a:lnTo>
                  <a:pt x="165325" y="307337"/>
                </a:lnTo>
                <a:cubicBezTo>
                  <a:pt x="172093" y="306365"/>
                  <a:pt x="178918" y="308991"/>
                  <a:pt x="183315" y="314278"/>
                </a:cubicBezTo>
                <a:cubicBezTo>
                  <a:pt x="188405" y="321393"/>
                  <a:pt x="187421" y="331631"/>
                  <a:pt x="186554" y="341060"/>
                </a:cubicBezTo>
                <a:cubicBezTo>
                  <a:pt x="185629" y="345624"/>
                  <a:pt x="185629" y="350321"/>
                  <a:pt x="186554" y="354885"/>
                </a:cubicBezTo>
                <a:cubicBezTo>
                  <a:pt x="187306" y="356446"/>
                  <a:pt x="187190" y="358309"/>
                  <a:pt x="186207" y="359744"/>
                </a:cubicBezTo>
                <a:cubicBezTo>
                  <a:pt x="183604" y="363561"/>
                  <a:pt x="175506" y="364371"/>
                  <a:pt x="168854" y="364371"/>
                </a:cubicBezTo>
                <a:cubicBezTo>
                  <a:pt x="165383" y="364371"/>
                  <a:pt x="161913" y="364140"/>
                  <a:pt x="158441" y="363677"/>
                </a:cubicBezTo>
                <a:cubicBezTo>
                  <a:pt x="157111" y="363585"/>
                  <a:pt x="155723" y="363585"/>
                  <a:pt x="154393" y="363677"/>
                </a:cubicBezTo>
                <a:cubicBezTo>
                  <a:pt x="144096" y="363677"/>
                  <a:pt x="128941" y="367668"/>
                  <a:pt x="125933" y="372296"/>
                </a:cubicBezTo>
                <a:cubicBezTo>
                  <a:pt x="125528" y="372955"/>
                  <a:pt x="125528" y="373777"/>
                  <a:pt x="125933" y="374436"/>
                </a:cubicBezTo>
                <a:lnTo>
                  <a:pt x="126801" y="376345"/>
                </a:lnTo>
                <a:cubicBezTo>
                  <a:pt x="130040" y="383460"/>
                  <a:pt x="132585" y="389533"/>
                  <a:pt x="130734" y="392426"/>
                </a:cubicBezTo>
                <a:cubicBezTo>
                  <a:pt x="130098" y="393450"/>
                  <a:pt x="128941" y="394028"/>
                  <a:pt x="127726" y="393930"/>
                </a:cubicBezTo>
                <a:cubicBezTo>
                  <a:pt x="125066" y="393629"/>
                  <a:pt x="122520" y="392721"/>
                  <a:pt x="120264" y="391269"/>
                </a:cubicBezTo>
                <a:cubicBezTo>
                  <a:pt x="117835" y="389829"/>
                  <a:pt x="115116" y="389013"/>
                  <a:pt x="112340" y="388897"/>
                </a:cubicBezTo>
                <a:cubicBezTo>
                  <a:pt x="108349" y="388556"/>
                  <a:pt x="104762" y="391437"/>
                  <a:pt x="104241" y="395434"/>
                </a:cubicBezTo>
                <a:cubicBezTo>
                  <a:pt x="104241" y="396417"/>
                  <a:pt x="104589" y="398037"/>
                  <a:pt x="107076" y="398037"/>
                </a:cubicBezTo>
                <a:cubicBezTo>
                  <a:pt x="116389" y="398037"/>
                  <a:pt x="129230" y="408969"/>
                  <a:pt x="129230" y="416894"/>
                </a:cubicBezTo>
                <a:cubicBezTo>
                  <a:pt x="129230" y="429504"/>
                  <a:pt x="131544" y="437024"/>
                  <a:pt x="135419" y="437024"/>
                </a:cubicBezTo>
                <a:lnTo>
                  <a:pt x="136635" y="437024"/>
                </a:lnTo>
                <a:cubicBezTo>
                  <a:pt x="137329" y="436804"/>
                  <a:pt x="138023" y="436688"/>
                  <a:pt x="138717" y="436677"/>
                </a:cubicBezTo>
                <a:cubicBezTo>
                  <a:pt x="142072" y="436677"/>
                  <a:pt x="144096" y="439395"/>
                  <a:pt x="146063" y="441998"/>
                </a:cubicBezTo>
                <a:cubicBezTo>
                  <a:pt x="148030" y="445156"/>
                  <a:pt x="151442" y="447129"/>
                  <a:pt x="155145" y="447262"/>
                </a:cubicBezTo>
                <a:lnTo>
                  <a:pt x="157921" y="447262"/>
                </a:lnTo>
                <a:cubicBezTo>
                  <a:pt x="165267" y="447262"/>
                  <a:pt x="170415" y="449229"/>
                  <a:pt x="172035" y="453047"/>
                </a:cubicBezTo>
                <a:cubicBezTo>
                  <a:pt x="173654" y="456864"/>
                  <a:pt x="172035" y="459294"/>
                  <a:pt x="169027" y="463227"/>
                </a:cubicBezTo>
                <a:cubicBezTo>
                  <a:pt x="164515" y="468549"/>
                  <a:pt x="166598" y="479886"/>
                  <a:pt x="170415" y="488100"/>
                </a:cubicBezTo>
                <a:cubicBezTo>
                  <a:pt x="172960" y="493538"/>
                  <a:pt x="175158" y="495389"/>
                  <a:pt x="175795" y="495389"/>
                </a:cubicBezTo>
                <a:cubicBezTo>
                  <a:pt x="175853" y="495296"/>
                  <a:pt x="175853" y="495192"/>
                  <a:pt x="175795" y="495099"/>
                </a:cubicBezTo>
                <a:cubicBezTo>
                  <a:pt x="176605" y="492814"/>
                  <a:pt x="176952" y="490402"/>
                  <a:pt x="176952" y="487985"/>
                </a:cubicBezTo>
                <a:cubicBezTo>
                  <a:pt x="176894" y="484236"/>
                  <a:pt x="177588" y="480511"/>
                  <a:pt x="179034" y="477052"/>
                </a:cubicBezTo>
                <a:cubicBezTo>
                  <a:pt x="177762" y="474322"/>
                  <a:pt x="177935" y="471123"/>
                  <a:pt x="179497" y="468549"/>
                </a:cubicBezTo>
                <a:cubicBezTo>
                  <a:pt x="183893" y="461839"/>
                  <a:pt x="198180" y="461087"/>
                  <a:pt x="208419" y="461087"/>
                </a:cubicBezTo>
                <a:cubicBezTo>
                  <a:pt x="217617" y="461087"/>
                  <a:pt x="233061" y="474507"/>
                  <a:pt x="242779" y="487406"/>
                </a:cubicBezTo>
                <a:cubicBezTo>
                  <a:pt x="245093" y="491270"/>
                  <a:pt x="249141" y="493769"/>
                  <a:pt x="253596" y="494116"/>
                </a:cubicBezTo>
                <a:cubicBezTo>
                  <a:pt x="255967" y="494081"/>
                  <a:pt x="258223" y="493295"/>
                  <a:pt x="260132" y="491860"/>
                </a:cubicBezTo>
                <a:lnTo>
                  <a:pt x="263371" y="371602"/>
                </a:lnTo>
                <a:cubicBezTo>
                  <a:pt x="263371" y="371075"/>
                  <a:pt x="263718" y="370613"/>
                  <a:pt x="264239" y="370503"/>
                </a:cubicBezTo>
                <a:lnTo>
                  <a:pt x="332784" y="352282"/>
                </a:lnTo>
                <a:cubicBezTo>
                  <a:pt x="333363" y="350789"/>
                  <a:pt x="334057" y="349355"/>
                  <a:pt x="334924" y="348001"/>
                </a:cubicBezTo>
                <a:cubicBezTo>
                  <a:pt x="337238" y="343964"/>
                  <a:pt x="341461" y="341407"/>
                  <a:pt x="346146" y="341234"/>
                </a:cubicBezTo>
                <a:cubicBezTo>
                  <a:pt x="351526" y="341829"/>
                  <a:pt x="356558" y="344120"/>
                  <a:pt x="360550" y="347770"/>
                </a:cubicBezTo>
                <a:lnTo>
                  <a:pt x="361590" y="348522"/>
                </a:lnTo>
                <a:cubicBezTo>
                  <a:pt x="361996" y="347550"/>
                  <a:pt x="362285" y="346544"/>
                  <a:pt x="362516" y="345514"/>
                </a:cubicBezTo>
                <a:cubicBezTo>
                  <a:pt x="363673" y="341465"/>
                  <a:pt x="365408" y="335333"/>
                  <a:pt x="371540" y="335333"/>
                </a:cubicBezTo>
                <a:lnTo>
                  <a:pt x="372350" y="335333"/>
                </a:lnTo>
                <a:cubicBezTo>
                  <a:pt x="373969" y="335368"/>
                  <a:pt x="375473" y="336062"/>
                  <a:pt x="376515" y="337242"/>
                </a:cubicBezTo>
                <a:cubicBezTo>
                  <a:pt x="377903" y="339891"/>
                  <a:pt x="378192" y="342986"/>
                  <a:pt x="377383" y="345861"/>
                </a:cubicBezTo>
                <a:cubicBezTo>
                  <a:pt x="377383" y="347943"/>
                  <a:pt x="376804" y="350257"/>
                  <a:pt x="377383" y="351067"/>
                </a:cubicBezTo>
                <a:cubicBezTo>
                  <a:pt x="377961" y="351877"/>
                  <a:pt x="377729" y="351472"/>
                  <a:pt x="378597" y="351472"/>
                </a:cubicBezTo>
                <a:cubicBezTo>
                  <a:pt x="381431" y="351472"/>
                  <a:pt x="384381" y="354885"/>
                  <a:pt x="386117" y="356909"/>
                </a:cubicBezTo>
                <a:cubicBezTo>
                  <a:pt x="393000" y="365713"/>
                  <a:pt x="396008" y="376958"/>
                  <a:pt x="394388" y="388030"/>
                </a:cubicBezTo>
                <a:cubicBezTo>
                  <a:pt x="405379" y="397169"/>
                  <a:pt x="424294" y="417472"/>
                  <a:pt x="426145" y="422736"/>
                </a:cubicBezTo>
                <a:cubicBezTo>
                  <a:pt x="426550" y="423835"/>
                  <a:pt x="428632" y="424066"/>
                  <a:pt x="430367" y="424066"/>
                </a:cubicBezTo>
                <a:cubicBezTo>
                  <a:pt x="435573" y="423708"/>
                  <a:pt x="440780" y="422892"/>
                  <a:pt x="445870" y="421637"/>
                </a:cubicBezTo>
                <a:cubicBezTo>
                  <a:pt x="450787" y="420064"/>
                  <a:pt x="455935" y="419474"/>
                  <a:pt x="461083" y="419902"/>
                </a:cubicBezTo>
                <a:cubicBezTo>
                  <a:pt x="464380" y="421232"/>
                  <a:pt x="484221" y="421926"/>
                  <a:pt x="515688" y="421926"/>
                </a:cubicBezTo>
                <a:cubicBezTo>
                  <a:pt x="520084" y="421926"/>
                  <a:pt x="523497" y="425802"/>
                  <a:pt x="527257" y="429909"/>
                </a:cubicBezTo>
                <a:cubicBezTo>
                  <a:pt x="529860" y="433570"/>
                  <a:pt x="533504" y="436416"/>
                  <a:pt x="537669" y="438123"/>
                </a:cubicBezTo>
                <a:cubicBezTo>
                  <a:pt x="544841" y="439974"/>
                  <a:pt x="544784" y="448477"/>
                  <a:pt x="544726" y="456749"/>
                </a:cubicBezTo>
                <a:cubicBezTo>
                  <a:pt x="544552" y="459502"/>
                  <a:pt x="544552" y="462267"/>
                  <a:pt x="544726" y="465020"/>
                </a:cubicBezTo>
                <a:cubicBezTo>
                  <a:pt x="546114" y="470354"/>
                  <a:pt x="548717" y="475276"/>
                  <a:pt x="552419" y="479366"/>
                </a:cubicBezTo>
                <a:cubicBezTo>
                  <a:pt x="555948" y="483282"/>
                  <a:pt x="558493" y="487985"/>
                  <a:pt x="559823" y="493075"/>
                </a:cubicBezTo>
                <a:cubicBezTo>
                  <a:pt x="560402" y="497529"/>
                  <a:pt x="565145" y="497818"/>
                  <a:pt x="572317" y="497818"/>
                </a:cubicBezTo>
                <a:close/>
                <a:moveTo>
                  <a:pt x="765286" y="374725"/>
                </a:moveTo>
                <a:cubicBezTo>
                  <a:pt x="762452" y="374725"/>
                  <a:pt x="759965" y="372354"/>
                  <a:pt x="758055" y="367842"/>
                </a:cubicBezTo>
                <a:cubicBezTo>
                  <a:pt x="753949" y="357777"/>
                  <a:pt x="753312" y="336895"/>
                  <a:pt x="761931" y="328276"/>
                </a:cubicBezTo>
                <a:cubicBezTo>
                  <a:pt x="769682" y="320525"/>
                  <a:pt x="789928" y="315088"/>
                  <a:pt x="811215" y="315088"/>
                </a:cubicBezTo>
                <a:cubicBezTo>
                  <a:pt x="818618" y="315018"/>
                  <a:pt x="826022" y="315834"/>
                  <a:pt x="833253" y="317517"/>
                </a:cubicBezTo>
                <a:cubicBezTo>
                  <a:pt x="838633" y="318703"/>
                  <a:pt x="844128" y="319247"/>
                  <a:pt x="849623" y="319137"/>
                </a:cubicBezTo>
                <a:cubicBezTo>
                  <a:pt x="861655" y="318825"/>
                  <a:pt x="873686" y="317679"/>
                  <a:pt x="885544" y="315724"/>
                </a:cubicBezTo>
                <a:cubicBezTo>
                  <a:pt x="890924" y="314567"/>
                  <a:pt x="896477" y="314081"/>
                  <a:pt x="901972" y="314278"/>
                </a:cubicBezTo>
                <a:cubicBezTo>
                  <a:pt x="903418" y="314515"/>
                  <a:pt x="904402" y="315880"/>
                  <a:pt x="904170" y="317332"/>
                </a:cubicBezTo>
                <a:cubicBezTo>
                  <a:pt x="904170" y="317338"/>
                  <a:pt x="904170" y="317338"/>
                  <a:pt x="904170" y="317344"/>
                </a:cubicBezTo>
                <a:cubicBezTo>
                  <a:pt x="903534" y="322261"/>
                  <a:pt x="891155" y="329433"/>
                  <a:pt x="873339" y="329433"/>
                </a:cubicBezTo>
                <a:cubicBezTo>
                  <a:pt x="868249" y="329433"/>
                  <a:pt x="861770" y="328855"/>
                  <a:pt x="854424" y="328219"/>
                </a:cubicBezTo>
                <a:cubicBezTo>
                  <a:pt x="845400" y="327409"/>
                  <a:pt x="835162" y="326483"/>
                  <a:pt x="825040" y="326483"/>
                </a:cubicBezTo>
                <a:cubicBezTo>
                  <a:pt x="803753" y="326483"/>
                  <a:pt x="789465" y="330764"/>
                  <a:pt x="781309" y="339556"/>
                </a:cubicBezTo>
                <a:cubicBezTo>
                  <a:pt x="769335" y="352455"/>
                  <a:pt x="769740" y="361595"/>
                  <a:pt x="770203" y="367032"/>
                </a:cubicBezTo>
                <a:cubicBezTo>
                  <a:pt x="770203" y="370676"/>
                  <a:pt x="770608" y="373858"/>
                  <a:pt x="766154" y="374668"/>
                </a:cubicBezTo>
                <a:close/>
                <a:moveTo>
                  <a:pt x="811215" y="317344"/>
                </a:moveTo>
                <a:cubicBezTo>
                  <a:pt x="790506" y="317344"/>
                  <a:pt x="770724" y="322492"/>
                  <a:pt x="763493" y="329896"/>
                </a:cubicBezTo>
                <a:cubicBezTo>
                  <a:pt x="756263" y="337300"/>
                  <a:pt x="756205" y="357372"/>
                  <a:pt x="760196" y="366974"/>
                </a:cubicBezTo>
                <a:cubicBezTo>
                  <a:pt x="761758" y="370850"/>
                  <a:pt x="763724" y="372759"/>
                  <a:pt x="765980" y="372469"/>
                </a:cubicBezTo>
                <a:cubicBezTo>
                  <a:pt x="768236" y="372180"/>
                  <a:pt x="768410" y="371081"/>
                  <a:pt x="768178" y="367206"/>
                </a:cubicBezTo>
                <a:cubicBezTo>
                  <a:pt x="767831" y="361421"/>
                  <a:pt x="767252" y="351645"/>
                  <a:pt x="779747" y="337994"/>
                </a:cubicBezTo>
                <a:cubicBezTo>
                  <a:pt x="788366" y="328739"/>
                  <a:pt x="803232" y="324227"/>
                  <a:pt x="825155" y="324227"/>
                </a:cubicBezTo>
                <a:cubicBezTo>
                  <a:pt x="835335" y="324227"/>
                  <a:pt x="845690" y="325153"/>
                  <a:pt x="854771" y="325963"/>
                </a:cubicBezTo>
                <a:cubicBezTo>
                  <a:pt x="862117" y="326599"/>
                  <a:pt x="868423" y="327177"/>
                  <a:pt x="873455" y="327177"/>
                </a:cubicBezTo>
                <a:cubicBezTo>
                  <a:pt x="891155" y="327177"/>
                  <a:pt x="901683" y="320005"/>
                  <a:pt x="902088" y="317055"/>
                </a:cubicBezTo>
                <a:cubicBezTo>
                  <a:pt x="902088" y="317055"/>
                  <a:pt x="902088" y="316650"/>
                  <a:pt x="901452" y="316476"/>
                </a:cubicBezTo>
                <a:cubicBezTo>
                  <a:pt x="900988" y="316418"/>
                  <a:pt x="900468" y="316418"/>
                  <a:pt x="900005" y="316476"/>
                </a:cubicBezTo>
                <a:cubicBezTo>
                  <a:pt x="895320" y="316748"/>
                  <a:pt x="890577" y="317292"/>
                  <a:pt x="885949" y="318096"/>
                </a:cubicBezTo>
                <a:cubicBezTo>
                  <a:pt x="873976" y="320080"/>
                  <a:pt x="861886" y="321237"/>
                  <a:pt x="849738" y="321566"/>
                </a:cubicBezTo>
                <a:cubicBezTo>
                  <a:pt x="844070" y="321642"/>
                  <a:pt x="838401" y="321063"/>
                  <a:pt x="832848" y="319831"/>
                </a:cubicBezTo>
                <a:cubicBezTo>
                  <a:pt x="825791" y="318119"/>
                  <a:pt x="818503" y="317286"/>
                  <a:pt x="811215" y="317344"/>
                </a:cubicBezTo>
                <a:close/>
                <a:moveTo>
                  <a:pt x="409949" y="333540"/>
                </a:moveTo>
                <a:cubicBezTo>
                  <a:pt x="400809" y="333540"/>
                  <a:pt x="378365" y="327409"/>
                  <a:pt x="375821" y="321277"/>
                </a:cubicBezTo>
                <a:cubicBezTo>
                  <a:pt x="375473" y="320543"/>
                  <a:pt x="375473" y="319698"/>
                  <a:pt x="375821" y="318964"/>
                </a:cubicBezTo>
                <a:cubicBezTo>
                  <a:pt x="376746" y="317691"/>
                  <a:pt x="379175" y="316997"/>
                  <a:pt x="383225" y="316997"/>
                </a:cubicBezTo>
                <a:cubicBezTo>
                  <a:pt x="392653" y="316997"/>
                  <a:pt x="412667" y="321046"/>
                  <a:pt x="415906" y="327351"/>
                </a:cubicBezTo>
                <a:cubicBezTo>
                  <a:pt x="416658" y="328814"/>
                  <a:pt x="416485" y="330584"/>
                  <a:pt x="415444" y="331863"/>
                </a:cubicBezTo>
                <a:cubicBezTo>
                  <a:pt x="414808" y="333020"/>
                  <a:pt x="412899" y="333540"/>
                  <a:pt x="409949" y="333540"/>
                </a:cubicBezTo>
                <a:close/>
                <a:moveTo>
                  <a:pt x="383398" y="319253"/>
                </a:moveTo>
                <a:cubicBezTo>
                  <a:pt x="378539" y="319253"/>
                  <a:pt x="377613" y="320236"/>
                  <a:pt x="377613" y="320294"/>
                </a:cubicBezTo>
                <a:cubicBezTo>
                  <a:pt x="379465" y="324921"/>
                  <a:pt x="399941" y="331284"/>
                  <a:pt x="409659" y="331284"/>
                </a:cubicBezTo>
                <a:cubicBezTo>
                  <a:pt x="412841" y="331284"/>
                  <a:pt x="413477" y="330590"/>
                  <a:pt x="413535" y="330532"/>
                </a:cubicBezTo>
                <a:cubicBezTo>
                  <a:pt x="413940" y="329879"/>
                  <a:pt x="413940" y="329046"/>
                  <a:pt x="413535" y="328392"/>
                </a:cubicBezTo>
                <a:cubicBezTo>
                  <a:pt x="411684" y="323765"/>
                  <a:pt x="394504" y="319253"/>
                  <a:pt x="383398" y="31925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29" name="Forma libre: forma 428">
            <a:extLst>
              <a:ext uri="{FF2B5EF4-FFF2-40B4-BE49-F238E27FC236}">
                <a16:creationId xmlns:a16="http://schemas.microsoft.com/office/drawing/2014/main" id="{94B8A6C4-73EC-8547-19F7-B155CBEB5C45}"/>
              </a:ext>
            </a:extLst>
          </p:cNvPr>
          <p:cNvSpPr/>
          <p:nvPr/>
        </p:nvSpPr>
        <p:spPr>
          <a:xfrm>
            <a:off x="6714963" y="1493096"/>
            <a:ext cx="4664922" cy="1786050"/>
          </a:xfrm>
          <a:custGeom>
            <a:avLst/>
            <a:gdLst>
              <a:gd name="connsiteX0" fmla="*/ 768654 w 4664922"/>
              <a:gd name="connsiteY0" fmla="*/ 1785814 h 1786050"/>
              <a:gd name="connsiteX1" fmla="*/ 764084 w 4664922"/>
              <a:gd name="connsiteY1" fmla="*/ 1784425 h 1786050"/>
              <a:gd name="connsiteX2" fmla="*/ 759977 w 4664922"/>
              <a:gd name="connsiteY2" fmla="*/ 1783326 h 1786050"/>
              <a:gd name="connsiteX3" fmla="*/ 751416 w 4664922"/>
              <a:gd name="connsiteY3" fmla="*/ 1777831 h 1786050"/>
              <a:gd name="connsiteX4" fmla="*/ 738806 w 4664922"/>
              <a:gd name="connsiteY4" fmla="*/ 1768865 h 1786050"/>
              <a:gd name="connsiteX5" fmla="*/ 723246 w 4664922"/>
              <a:gd name="connsiteY5" fmla="*/ 1761345 h 1786050"/>
              <a:gd name="connsiteX6" fmla="*/ 714106 w 4664922"/>
              <a:gd name="connsiteY6" fmla="*/ 1756660 h 1786050"/>
              <a:gd name="connsiteX7" fmla="*/ 713181 w 4664922"/>
              <a:gd name="connsiteY7" fmla="*/ 1756660 h 1786050"/>
              <a:gd name="connsiteX8" fmla="*/ 708843 w 4664922"/>
              <a:gd name="connsiteY8" fmla="*/ 1748388 h 1786050"/>
              <a:gd name="connsiteX9" fmla="*/ 705083 w 4664922"/>
              <a:gd name="connsiteY9" fmla="*/ 1739654 h 1786050"/>
              <a:gd name="connsiteX10" fmla="*/ 699298 w 4664922"/>
              <a:gd name="connsiteY10" fmla="*/ 1737629 h 1786050"/>
              <a:gd name="connsiteX11" fmla="*/ 695133 w 4664922"/>
              <a:gd name="connsiteY11" fmla="*/ 1736010 h 1786050"/>
              <a:gd name="connsiteX12" fmla="*/ 667947 w 4664922"/>
              <a:gd name="connsiteY12" fmla="*/ 1739422 h 1786050"/>
              <a:gd name="connsiteX13" fmla="*/ 665286 w 4664922"/>
              <a:gd name="connsiteY13" fmla="*/ 1740348 h 1786050"/>
              <a:gd name="connsiteX14" fmla="*/ 657650 w 4664922"/>
              <a:gd name="connsiteY14" fmla="*/ 1735720 h 1786050"/>
              <a:gd name="connsiteX15" fmla="*/ 650304 w 4664922"/>
              <a:gd name="connsiteY15" fmla="*/ 1731209 h 1786050"/>
              <a:gd name="connsiteX16" fmla="*/ 632430 w 4664922"/>
              <a:gd name="connsiteY16" fmla="*/ 1719640 h 1786050"/>
              <a:gd name="connsiteX17" fmla="*/ 624853 w 4664922"/>
              <a:gd name="connsiteY17" fmla="*/ 1718309 h 1786050"/>
              <a:gd name="connsiteX18" fmla="*/ 615771 w 4664922"/>
              <a:gd name="connsiteY18" fmla="*/ 1718656 h 1786050"/>
              <a:gd name="connsiteX19" fmla="*/ 604896 w 4664922"/>
              <a:gd name="connsiteY19" fmla="*/ 1719003 h 1786050"/>
              <a:gd name="connsiteX20" fmla="*/ 590262 w 4664922"/>
              <a:gd name="connsiteY20" fmla="*/ 1716285 h 1786050"/>
              <a:gd name="connsiteX21" fmla="*/ 561340 w 4664922"/>
              <a:gd name="connsiteY21" fmla="*/ 1706625 h 1786050"/>
              <a:gd name="connsiteX22" fmla="*/ 558621 w 4664922"/>
              <a:gd name="connsiteY22" fmla="*/ 1706625 h 1786050"/>
              <a:gd name="connsiteX23" fmla="*/ 548788 w 4664922"/>
              <a:gd name="connsiteY23" fmla="*/ 1711194 h 1786050"/>
              <a:gd name="connsiteX24" fmla="*/ 547630 w 4664922"/>
              <a:gd name="connsiteY24" fmla="*/ 1711194 h 1786050"/>
              <a:gd name="connsiteX25" fmla="*/ 540285 w 4664922"/>
              <a:gd name="connsiteY25" fmla="*/ 1705410 h 1786050"/>
              <a:gd name="connsiteX26" fmla="*/ 489960 w 4664922"/>
              <a:gd name="connsiteY26" fmla="*/ 1669026 h 1786050"/>
              <a:gd name="connsiteX27" fmla="*/ 471623 w 4664922"/>
              <a:gd name="connsiteY27" fmla="*/ 1655143 h 1786050"/>
              <a:gd name="connsiteX28" fmla="*/ 468615 w 4664922"/>
              <a:gd name="connsiteY28" fmla="*/ 1651673 h 1786050"/>
              <a:gd name="connsiteX29" fmla="*/ 465550 w 4664922"/>
              <a:gd name="connsiteY29" fmla="*/ 1648375 h 1786050"/>
              <a:gd name="connsiteX30" fmla="*/ 476077 w 4664922"/>
              <a:gd name="connsiteY30" fmla="*/ 1642996 h 1786050"/>
              <a:gd name="connsiteX31" fmla="*/ 488629 w 4664922"/>
              <a:gd name="connsiteY31" fmla="*/ 1639583 h 1786050"/>
              <a:gd name="connsiteX32" fmla="*/ 489902 w 4664922"/>
              <a:gd name="connsiteY32" fmla="*/ 1632526 h 1786050"/>
              <a:gd name="connsiteX33" fmla="*/ 500314 w 4664922"/>
              <a:gd name="connsiteY33" fmla="*/ 1620495 h 1786050"/>
              <a:gd name="connsiteX34" fmla="*/ 506098 w 4664922"/>
              <a:gd name="connsiteY34" fmla="*/ 1616561 h 1786050"/>
              <a:gd name="connsiteX35" fmla="*/ 500314 w 4664922"/>
              <a:gd name="connsiteY35" fmla="*/ 1609388 h 1786050"/>
              <a:gd name="connsiteX36" fmla="*/ 494530 w 4664922"/>
              <a:gd name="connsiteY36" fmla="*/ 1602100 h 1786050"/>
              <a:gd name="connsiteX37" fmla="*/ 496438 w 4664922"/>
              <a:gd name="connsiteY37" fmla="*/ 1600191 h 1786050"/>
              <a:gd name="connsiteX38" fmla="*/ 529641 w 4664922"/>
              <a:gd name="connsiteY38" fmla="*/ 1582375 h 1786050"/>
              <a:gd name="connsiteX39" fmla="*/ 529641 w 4664922"/>
              <a:gd name="connsiteY39" fmla="*/ 1582028 h 1786050"/>
              <a:gd name="connsiteX40" fmla="*/ 523220 w 4664922"/>
              <a:gd name="connsiteY40" fmla="*/ 1580871 h 1786050"/>
              <a:gd name="connsiteX41" fmla="*/ 502975 w 4664922"/>
              <a:gd name="connsiteY41" fmla="*/ 1583243 h 1786050"/>
              <a:gd name="connsiteX42" fmla="*/ 501644 w 4664922"/>
              <a:gd name="connsiteY42" fmla="*/ 1582375 h 1786050"/>
              <a:gd name="connsiteX43" fmla="*/ 501644 w 4664922"/>
              <a:gd name="connsiteY43" fmla="*/ 1581797 h 1786050"/>
              <a:gd name="connsiteX44" fmla="*/ 501008 w 4664922"/>
              <a:gd name="connsiteY44" fmla="*/ 1569476 h 1786050"/>
              <a:gd name="connsiteX45" fmla="*/ 503322 w 4664922"/>
              <a:gd name="connsiteY45" fmla="*/ 1568030 h 1786050"/>
              <a:gd name="connsiteX46" fmla="*/ 512809 w 4664922"/>
              <a:gd name="connsiteY46" fmla="*/ 1561320 h 1786050"/>
              <a:gd name="connsiteX47" fmla="*/ 524724 w 4664922"/>
              <a:gd name="connsiteY47" fmla="*/ 1553511 h 1786050"/>
              <a:gd name="connsiteX48" fmla="*/ 531550 w 4664922"/>
              <a:gd name="connsiteY48" fmla="*/ 1554205 h 1786050"/>
              <a:gd name="connsiteX49" fmla="*/ 543119 w 4664922"/>
              <a:gd name="connsiteY49" fmla="*/ 1555304 h 1786050"/>
              <a:gd name="connsiteX50" fmla="*/ 545895 w 4664922"/>
              <a:gd name="connsiteY50" fmla="*/ 1555015 h 1786050"/>
              <a:gd name="connsiteX51" fmla="*/ 548151 w 4664922"/>
              <a:gd name="connsiteY51" fmla="*/ 1548363 h 1786050"/>
              <a:gd name="connsiteX52" fmla="*/ 550754 w 4664922"/>
              <a:gd name="connsiteY52" fmla="*/ 1539339 h 1786050"/>
              <a:gd name="connsiteX53" fmla="*/ 548209 w 4664922"/>
              <a:gd name="connsiteY53" fmla="*/ 1535811 h 1786050"/>
              <a:gd name="connsiteX54" fmla="*/ 544738 w 4664922"/>
              <a:gd name="connsiteY54" fmla="*/ 1528175 h 1786050"/>
              <a:gd name="connsiteX55" fmla="*/ 550118 w 4664922"/>
              <a:gd name="connsiteY55" fmla="*/ 1524647 h 1786050"/>
              <a:gd name="connsiteX56" fmla="*/ 554340 w 4664922"/>
              <a:gd name="connsiteY56" fmla="*/ 1521928 h 1786050"/>
              <a:gd name="connsiteX57" fmla="*/ 550986 w 4664922"/>
              <a:gd name="connsiteY57" fmla="*/ 1518052 h 1786050"/>
              <a:gd name="connsiteX58" fmla="*/ 547688 w 4664922"/>
              <a:gd name="connsiteY58" fmla="*/ 1514003 h 1786050"/>
              <a:gd name="connsiteX59" fmla="*/ 550986 w 4664922"/>
              <a:gd name="connsiteY59" fmla="*/ 1509549 h 1786050"/>
              <a:gd name="connsiteX60" fmla="*/ 555556 w 4664922"/>
              <a:gd name="connsiteY60" fmla="*/ 1502724 h 1786050"/>
              <a:gd name="connsiteX61" fmla="*/ 547862 w 4664922"/>
              <a:gd name="connsiteY61" fmla="*/ 1496939 h 1786050"/>
              <a:gd name="connsiteX62" fmla="*/ 540400 w 4664922"/>
              <a:gd name="connsiteY62" fmla="*/ 1493642 h 1786050"/>
              <a:gd name="connsiteX63" fmla="*/ 528484 w 4664922"/>
              <a:gd name="connsiteY63" fmla="*/ 1490403 h 1786050"/>
              <a:gd name="connsiteX64" fmla="*/ 517436 w 4664922"/>
              <a:gd name="connsiteY64" fmla="*/ 1487568 h 1786050"/>
              <a:gd name="connsiteX65" fmla="*/ 502744 w 4664922"/>
              <a:gd name="connsiteY65" fmla="*/ 1485370 h 1786050"/>
              <a:gd name="connsiteX66" fmla="*/ 494414 w 4664922"/>
              <a:gd name="connsiteY66" fmla="*/ 1482941 h 1786050"/>
              <a:gd name="connsiteX67" fmla="*/ 488629 w 4664922"/>
              <a:gd name="connsiteY67" fmla="*/ 1476462 h 1786050"/>
              <a:gd name="connsiteX68" fmla="*/ 482093 w 4664922"/>
              <a:gd name="connsiteY68" fmla="*/ 1468943 h 1786050"/>
              <a:gd name="connsiteX69" fmla="*/ 478333 w 4664922"/>
              <a:gd name="connsiteY69" fmla="*/ 1467265 h 1786050"/>
              <a:gd name="connsiteX70" fmla="*/ 468615 w 4664922"/>
              <a:gd name="connsiteY70" fmla="*/ 1470562 h 1786050"/>
              <a:gd name="connsiteX71" fmla="*/ 453460 w 4664922"/>
              <a:gd name="connsiteY71" fmla="*/ 1471777 h 1786050"/>
              <a:gd name="connsiteX72" fmla="*/ 449816 w 4664922"/>
              <a:gd name="connsiteY72" fmla="*/ 1469232 h 1786050"/>
              <a:gd name="connsiteX73" fmla="*/ 441139 w 4664922"/>
              <a:gd name="connsiteY73" fmla="*/ 1465761 h 1786050"/>
              <a:gd name="connsiteX74" fmla="*/ 436627 w 4664922"/>
              <a:gd name="connsiteY74" fmla="*/ 1466629 h 1786050"/>
              <a:gd name="connsiteX75" fmla="*/ 429975 w 4664922"/>
              <a:gd name="connsiteY75" fmla="*/ 1463968 h 1786050"/>
              <a:gd name="connsiteX76" fmla="*/ 429339 w 4664922"/>
              <a:gd name="connsiteY76" fmla="*/ 1458935 h 1786050"/>
              <a:gd name="connsiteX77" fmla="*/ 417770 w 4664922"/>
              <a:gd name="connsiteY77" fmla="*/ 1439153 h 1786050"/>
              <a:gd name="connsiteX78" fmla="*/ 411407 w 4664922"/>
              <a:gd name="connsiteY78" fmla="*/ 1438516 h 1786050"/>
              <a:gd name="connsiteX79" fmla="*/ 397235 w 4664922"/>
              <a:gd name="connsiteY79" fmla="*/ 1433773 h 1786050"/>
              <a:gd name="connsiteX80" fmla="*/ 394170 w 4664922"/>
              <a:gd name="connsiteY80" fmla="*/ 1428683 h 1786050"/>
              <a:gd name="connsiteX81" fmla="*/ 391220 w 4664922"/>
              <a:gd name="connsiteY81" fmla="*/ 1417577 h 1786050"/>
              <a:gd name="connsiteX82" fmla="*/ 387576 w 4664922"/>
              <a:gd name="connsiteY82" fmla="*/ 1398083 h 1786050"/>
              <a:gd name="connsiteX83" fmla="*/ 376007 w 4664922"/>
              <a:gd name="connsiteY83" fmla="*/ 1394902 h 1786050"/>
              <a:gd name="connsiteX84" fmla="*/ 366810 w 4664922"/>
              <a:gd name="connsiteY84" fmla="*/ 1396117 h 1786050"/>
              <a:gd name="connsiteX85" fmla="*/ 362934 w 4664922"/>
              <a:gd name="connsiteY85" fmla="*/ 1396753 h 1786050"/>
              <a:gd name="connsiteX86" fmla="*/ 357786 w 4664922"/>
              <a:gd name="connsiteY86" fmla="*/ 1396348 h 1786050"/>
              <a:gd name="connsiteX87" fmla="*/ 352637 w 4664922"/>
              <a:gd name="connsiteY87" fmla="*/ 1395943 h 1786050"/>
              <a:gd name="connsiteX88" fmla="*/ 348762 w 4664922"/>
              <a:gd name="connsiteY88" fmla="*/ 1396695 h 1786050"/>
              <a:gd name="connsiteX89" fmla="*/ 345291 w 4664922"/>
              <a:gd name="connsiteY89" fmla="*/ 1399182 h 1786050"/>
              <a:gd name="connsiteX90" fmla="*/ 335458 w 4664922"/>
              <a:gd name="connsiteY90" fmla="*/ 1403463 h 1786050"/>
              <a:gd name="connsiteX91" fmla="*/ 322847 w 4664922"/>
              <a:gd name="connsiteY91" fmla="*/ 1388076 h 1786050"/>
              <a:gd name="connsiteX92" fmla="*/ 319724 w 4664922"/>
              <a:gd name="connsiteY92" fmla="*/ 1376797 h 1786050"/>
              <a:gd name="connsiteX93" fmla="*/ 318914 w 4664922"/>
              <a:gd name="connsiteY93" fmla="*/ 1361641 h 1786050"/>
              <a:gd name="connsiteX94" fmla="*/ 322327 w 4664922"/>
              <a:gd name="connsiteY94" fmla="*/ 1360195 h 1786050"/>
              <a:gd name="connsiteX95" fmla="*/ 329731 w 4664922"/>
              <a:gd name="connsiteY95" fmla="*/ 1362393 h 1786050"/>
              <a:gd name="connsiteX96" fmla="*/ 338640 w 4664922"/>
              <a:gd name="connsiteY96" fmla="*/ 1364360 h 1786050"/>
              <a:gd name="connsiteX97" fmla="*/ 351943 w 4664922"/>
              <a:gd name="connsiteY97" fmla="*/ 1352791 h 1786050"/>
              <a:gd name="connsiteX98" fmla="*/ 337656 w 4664922"/>
              <a:gd name="connsiteY98" fmla="*/ 1339718 h 1786050"/>
              <a:gd name="connsiteX99" fmla="*/ 330830 w 4664922"/>
              <a:gd name="connsiteY99" fmla="*/ 1333298 h 1786050"/>
              <a:gd name="connsiteX100" fmla="*/ 321749 w 4664922"/>
              <a:gd name="connsiteY100" fmla="*/ 1324563 h 1786050"/>
              <a:gd name="connsiteX101" fmla="*/ 313998 w 4664922"/>
              <a:gd name="connsiteY101" fmla="*/ 1315135 h 1786050"/>
              <a:gd name="connsiteX102" fmla="*/ 308792 w 4664922"/>
              <a:gd name="connsiteY102" fmla="*/ 1307499 h 1786050"/>
              <a:gd name="connsiteX103" fmla="*/ 304916 w 4664922"/>
              <a:gd name="connsiteY103" fmla="*/ 1293501 h 1786050"/>
              <a:gd name="connsiteX104" fmla="*/ 305263 w 4664922"/>
              <a:gd name="connsiteY104" fmla="*/ 1287254 h 1786050"/>
              <a:gd name="connsiteX105" fmla="*/ 305263 w 4664922"/>
              <a:gd name="connsiteY105" fmla="*/ 1280370 h 1786050"/>
              <a:gd name="connsiteX106" fmla="*/ 303586 w 4664922"/>
              <a:gd name="connsiteY106" fmla="*/ 1269380 h 1786050"/>
              <a:gd name="connsiteX107" fmla="*/ 302313 w 4664922"/>
              <a:gd name="connsiteY107" fmla="*/ 1268743 h 1786050"/>
              <a:gd name="connsiteX108" fmla="*/ 282126 w 4664922"/>
              <a:gd name="connsiteY108" fmla="*/ 1261571 h 1786050"/>
              <a:gd name="connsiteX109" fmla="*/ 279118 w 4664922"/>
              <a:gd name="connsiteY109" fmla="*/ 1262149 h 1786050"/>
              <a:gd name="connsiteX110" fmla="*/ 278597 w 4664922"/>
              <a:gd name="connsiteY110" fmla="*/ 1262149 h 1786050"/>
              <a:gd name="connsiteX111" fmla="*/ 269053 w 4664922"/>
              <a:gd name="connsiteY111" fmla="*/ 1265273 h 1786050"/>
              <a:gd name="connsiteX112" fmla="*/ 263268 w 4664922"/>
              <a:gd name="connsiteY112" fmla="*/ 1261455 h 1786050"/>
              <a:gd name="connsiteX113" fmla="*/ 250658 w 4664922"/>
              <a:gd name="connsiteY113" fmla="*/ 1255324 h 1786050"/>
              <a:gd name="connsiteX114" fmla="*/ 246435 w 4664922"/>
              <a:gd name="connsiteY114" fmla="*/ 1255902 h 1786050"/>
              <a:gd name="connsiteX115" fmla="*/ 234866 w 4664922"/>
              <a:gd name="connsiteY115" fmla="*/ 1250869 h 1786050"/>
              <a:gd name="connsiteX116" fmla="*/ 231164 w 4664922"/>
              <a:gd name="connsiteY116" fmla="*/ 1241615 h 1786050"/>
              <a:gd name="connsiteX117" fmla="*/ 227520 w 4664922"/>
              <a:gd name="connsiteY117" fmla="*/ 1232070 h 1786050"/>
              <a:gd name="connsiteX118" fmla="*/ 218786 w 4664922"/>
              <a:gd name="connsiteY118" fmla="*/ 1215064 h 1786050"/>
              <a:gd name="connsiteX119" fmla="*/ 216009 w 4664922"/>
              <a:gd name="connsiteY119" fmla="*/ 1201124 h 1786050"/>
              <a:gd name="connsiteX120" fmla="*/ 210225 w 4664922"/>
              <a:gd name="connsiteY120" fmla="*/ 1189555 h 1786050"/>
              <a:gd name="connsiteX121" fmla="*/ 212365 w 4664922"/>
              <a:gd name="connsiteY121" fmla="*/ 1184985 h 1786050"/>
              <a:gd name="connsiteX122" fmla="*/ 216645 w 4664922"/>
              <a:gd name="connsiteY122" fmla="*/ 1182671 h 1786050"/>
              <a:gd name="connsiteX123" fmla="*/ 220405 w 4664922"/>
              <a:gd name="connsiteY123" fmla="*/ 1180126 h 1786050"/>
              <a:gd name="connsiteX124" fmla="*/ 219480 w 4664922"/>
              <a:gd name="connsiteY124" fmla="*/ 1177407 h 1786050"/>
              <a:gd name="connsiteX125" fmla="*/ 218555 w 4664922"/>
              <a:gd name="connsiteY125" fmla="*/ 1176135 h 1786050"/>
              <a:gd name="connsiteX126" fmla="*/ 213175 w 4664922"/>
              <a:gd name="connsiteY126" fmla="*/ 1162310 h 1786050"/>
              <a:gd name="connsiteX127" fmla="*/ 212076 w 4664922"/>
              <a:gd name="connsiteY127" fmla="*/ 1154906 h 1786050"/>
              <a:gd name="connsiteX128" fmla="*/ 211382 w 4664922"/>
              <a:gd name="connsiteY128" fmla="*/ 1146345 h 1786050"/>
              <a:gd name="connsiteX129" fmla="*/ 215199 w 4664922"/>
              <a:gd name="connsiteY129" fmla="*/ 1139809 h 1786050"/>
              <a:gd name="connsiteX130" fmla="*/ 220579 w 4664922"/>
              <a:gd name="connsiteY130" fmla="*/ 1132115 h 1786050"/>
              <a:gd name="connsiteX131" fmla="*/ 225033 w 4664922"/>
              <a:gd name="connsiteY131" fmla="*/ 1126331 h 1786050"/>
              <a:gd name="connsiteX132" fmla="*/ 226190 w 4664922"/>
              <a:gd name="connsiteY132" fmla="*/ 1115456 h 1786050"/>
              <a:gd name="connsiteX133" fmla="*/ 226190 w 4664922"/>
              <a:gd name="connsiteY133" fmla="*/ 1113952 h 1786050"/>
              <a:gd name="connsiteX134" fmla="*/ 228446 w 4664922"/>
              <a:gd name="connsiteY134" fmla="*/ 1111233 h 1786050"/>
              <a:gd name="connsiteX135" fmla="*/ 240015 w 4664922"/>
              <a:gd name="connsiteY135" fmla="*/ 1103193 h 1786050"/>
              <a:gd name="connsiteX136" fmla="*/ 252682 w 4664922"/>
              <a:gd name="connsiteY136" fmla="*/ 1097409 h 1786050"/>
              <a:gd name="connsiteX137" fmla="*/ 266855 w 4664922"/>
              <a:gd name="connsiteY137" fmla="*/ 1094112 h 1786050"/>
              <a:gd name="connsiteX138" fmla="*/ 275126 w 4664922"/>
              <a:gd name="connsiteY138" fmla="*/ 1094921 h 1786050"/>
              <a:gd name="connsiteX139" fmla="*/ 279696 w 4664922"/>
              <a:gd name="connsiteY139" fmla="*/ 1093996 h 1786050"/>
              <a:gd name="connsiteX140" fmla="*/ 278712 w 4664922"/>
              <a:gd name="connsiteY140" fmla="*/ 1092318 h 1786050"/>
              <a:gd name="connsiteX141" fmla="*/ 268705 w 4664922"/>
              <a:gd name="connsiteY141" fmla="*/ 1090236 h 1786050"/>
              <a:gd name="connsiteX142" fmla="*/ 254996 w 4664922"/>
              <a:gd name="connsiteY142" fmla="*/ 1087170 h 1786050"/>
              <a:gd name="connsiteX143" fmla="*/ 248055 w 4664922"/>
              <a:gd name="connsiteY143" fmla="*/ 1077915 h 1786050"/>
              <a:gd name="connsiteX144" fmla="*/ 240131 w 4664922"/>
              <a:gd name="connsiteY144" fmla="*/ 1069238 h 1786050"/>
              <a:gd name="connsiteX145" fmla="*/ 238915 w 4664922"/>
              <a:gd name="connsiteY145" fmla="*/ 1069585 h 1786050"/>
              <a:gd name="connsiteX146" fmla="*/ 227346 w 4664922"/>
              <a:gd name="connsiteY146" fmla="*/ 1073750 h 1786050"/>
              <a:gd name="connsiteX147" fmla="*/ 226190 w 4664922"/>
              <a:gd name="connsiteY147" fmla="*/ 1073288 h 1786050"/>
              <a:gd name="connsiteX148" fmla="*/ 226190 w 4664922"/>
              <a:gd name="connsiteY148" fmla="*/ 1072015 h 1786050"/>
              <a:gd name="connsiteX149" fmla="*/ 239379 w 4664922"/>
              <a:gd name="connsiteY149" fmla="*/ 1055240 h 1786050"/>
              <a:gd name="connsiteX150" fmla="*/ 256732 w 4664922"/>
              <a:gd name="connsiteY150" fmla="*/ 1042688 h 1786050"/>
              <a:gd name="connsiteX151" fmla="*/ 280852 w 4664922"/>
              <a:gd name="connsiteY151" fmla="*/ 1021690 h 1786050"/>
              <a:gd name="connsiteX152" fmla="*/ 302313 w 4664922"/>
              <a:gd name="connsiteY152" fmla="*/ 1001040 h 1786050"/>
              <a:gd name="connsiteX153" fmla="*/ 321228 w 4664922"/>
              <a:gd name="connsiteY153" fmla="*/ 982993 h 1786050"/>
              <a:gd name="connsiteX154" fmla="*/ 314171 w 4664922"/>
              <a:gd name="connsiteY154" fmla="*/ 962284 h 1786050"/>
              <a:gd name="connsiteX155" fmla="*/ 293521 w 4664922"/>
              <a:gd name="connsiteY155" fmla="*/ 947129 h 1786050"/>
              <a:gd name="connsiteX156" fmla="*/ 279118 w 4664922"/>
              <a:gd name="connsiteY156" fmla="*/ 935040 h 1786050"/>
              <a:gd name="connsiteX157" fmla="*/ 287563 w 4664922"/>
              <a:gd name="connsiteY157" fmla="*/ 927115 h 1786050"/>
              <a:gd name="connsiteX158" fmla="*/ 296065 w 4664922"/>
              <a:gd name="connsiteY158" fmla="*/ 919653 h 1786050"/>
              <a:gd name="connsiteX159" fmla="*/ 289182 w 4664922"/>
              <a:gd name="connsiteY159" fmla="*/ 911844 h 1786050"/>
              <a:gd name="connsiteX160" fmla="*/ 281720 w 4664922"/>
              <a:gd name="connsiteY160" fmla="*/ 905655 h 1786050"/>
              <a:gd name="connsiteX161" fmla="*/ 283860 w 4664922"/>
              <a:gd name="connsiteY161" fmla="*/ 894664 h 1786050"/>
              <a:gd name="connsiteX162" fmla="*/ 285654 w 4664922"/>
              <a:gd name="connsiteY162" fmla="*/ 891599 h 1786050"/>
              <a:gd name="connsiteX163" fmla="*/ 279870 w 4664922"/>
              <a:gd name="connsiteY163" fmla="*/ 888417 h 1786050"/>
              <a:gd name="connsiteX164" fmla="*/ 271713 w 4664922"/>
              <a:gd name="connsiteY164" fmla="*/ 882633 h 1786050"/>
              <a:gd name="connsiteX165" fmla="*/ 275531 w 4664922"/>
              <a:gd name="connsiteY165" fmla="*/ 877890 h 1786050"/>
              <a:gd name="connsiteX166" fmla="*/ 278192 w 4664922"/>
              <a:gd name="connsiteY166" fmla="*/ 874708 h 1786050"/>
              <a:gd name="connsiteX167" fmla="*/ 276225 w 4664922"/>
              <a:gd name="connsiteY167" fmla="*/ 870659 h 1786050"/>
              <a:gd name="connsiteX168" fmla="*/ 274374 w 4664922"/>
              <a:gd name="connsiteY168" fmla="*/ 852669 h 1786050"/>
              <a:gd name="connsiteX169" fmla="*/ 282299 w 4664922"/>
              <a:gd name="connsiteY169" fmla="*/ 848331 h 1786050"/>
              <a:gd name="connsiteX170" fmla="*/ 286001 w 4664922"/>
              <a:gd name="connsiteY170" fmla="*/ 846538 h 1786050"/>
              <a:gd name="connsiteX171" fmla="*/ 283166 w 4664922"/>
              <a:gd name="connsiteY171" fmla="*/ 837803 h 1786050"/>
              <a:gd name="connsiteX172" fmla="*/ 258467 w 4664922"/>
              <a:gd name="connsiteY172" fmla="*/ 798354 h 1786050"/>
              <a:gd name="connsiteX173" fmla="*/ 257368 w 4664922"/>
              <a:gd name="connsiteY173" fmla="*/ 796618 h 1786050"/>
              <a:gd name="connsiteX174" fmla="*/ 256442 w 4664922"/>
              <a:gd name="connsiteY174" fmla="*/ 791297 h 1786050"/>
              <a:gd name="connsiteX175" fmla="*/ 265755 w 4664922"/>
              <a:gd name="connsiteY175" fmla="*/ 778976 h 1786050"/>
              <a:gd name="connsiteX176" fmla="*/ 282241 w 4664922"/>
              <a:gd name="connsiteY176" fmla="*/ 759714 h 1786050"/>
              <a:gd name="connsiteX177" fmla="*/ 263384 w 4664922"/>
              <a:gd name="connsiteY177" fmla="*/ 740451 h 1786050"/>
              <a:gd name="connsiteX178" fmla="*/ 258872 w 4664922"/>
              <a:gd name="connsiteY178" fmla="*/ 738890 h 1786050"/>
              <a:gd name="connsiteX179" fmla="*/ 245973 w 4664922"/>
              <a:gd name="connsiteY179" fmla="*/ 730271 h 1786050"/>
              <a:gd name="connsiteX180" fmla="*/ 242965 w 4664922"/>
              <a:gd name="connsiteY180" fmla="*/ 725065 h 1786050"/>
              <a:gd name="connsiteX181" fmla="*/ 242039 w 4664922"/>
              <a:gd name="connsiteY181" fmla="*/ 713496 h 1786050"/>
              <a:gd name="connsiteX182" fmla="*/ 245915 w 4664922"/>
              <a:gd name="connsiteY182" fmla="*/ 699671 h 1786050"/>
              <a:gd name="connsiteX183" fmla="*/ 250774 w 4664922"/>
              <a:gd name="connsiteY183" fmla="*/ 695564 h 1786050"/>
              <a:gd name="connsiteX184" fmla="*/ 256558 w 4664922"/>
              <a:gd name="connsiteY184" fmla="*/ 691342 h 1786050"/>
              <a:gd name="connsiteX185" fmla="*/ 276225 w 4664922"/>
              <a:gd name="connsiteY185" fmla="*/ 674278 h 1786050"/>
              <a:gd name="connsiteX186" fmla="*/ 286753 w 4664922"/>
              <a:gd name="connsiteY186" fmla="*/ 669014 h 1786050"/>
              <a:gd name="connsiteX187" fmla="*/ 297454 w 4664922"/>
              <a:gd name="connsiteY187" fmla="*/ 663692 h 1786050"/>
              <a:gd name="connsiteX188" fmla="*/ 299074 w 4664922"/>
              <a:gd name="connsiteY188" fmla="*/ 663692 h 1786050"/>
              <a:gd name="connsiteX189" fmla="*/ 302718 w 4664922"/>
              <a:gd name="connsiteY189" fmla="*/ 664097 h 1786050"/>
              <a:gd name="connsiteX190" fmla="*/ 311626 w 4664922"/>
              <a:gd name="connsiteY190" fmla="*/ 654784 h 1786050"/>
              <a:gd name="connsiteX191" fmla="*/ 312262 w 4664922"/>
              <a:gd name="connsiteY191" fmla="*/ 653974 h 1786050"/>
              <a:gd name="connsiteX192" fmla="*/ 313361 w 4664922"/>
              <a:gd name="connsiteY192" fmla="*/ 653974 h 1786050"/>
              <a:gd name="connsiteX193" fmla="*/ 315386 w 4664922"/>
              <a:gd name="connsiteY193" fmla="*/ 655478 h 1786050"/>
              <a:gd name="connsiteX194" fmla="*/ 325046 w 4664922"/>
              <a:gd name="connsiteY194" fmla="*/ 659817 h 1786050"/>
              <a:gd name="connsiteX195" fmla="*/ 330078 w 4664922"/>
              <a:gd name="connsiteY195" fmla="*/ 656635 h 1786050"/>
              <a:gd name="connsiteX196" fmla="*/ 340664 w 4664922"/>
              <a:gd name="connsiteY196" fmla="*/ 648653 h 1786050"/>
              <a:gd name="connsiteX197" fmla="*/ 351191 w 4664922"/>
              <a:gd name="connsiteY197" fmla="*/ 652470 h 1786050"/>
              <a:gd name="connsiteX198" fmla="*/ 363744 w 4664922"/>
              <a:gd name="connsiteY198" fmla="*/ 656404 h 1786050"/>
              <a:gd name="connsiteX199" fmla="*/ 369528 w 4664922"/>
              <a:gd name="connsiteY199" fmla="*/ 660511 h 1786050"/>
              <a:gd name="connsiteX200" fmla="*/ 368834 w 4664922"/>
              <a:gd name="connsiteY200" fmla="*/ 663229 h 1786050"/>
              <a:gd name="connsiteX201" fmla="*/ 357786 w 4664922"/>
              <a:gd name="connsiteY201" fmla="*/ 666122 h 1786050"/>
              <a:gd name="connsiteX202" fmla="*/ 349051 w 4664922"/>
              <a:gd name="connsiteY202" fmla="*/ 667857 h 1786050"/>
              <a:gd name="connsiteX203" fmla="*/ 349051 w 4664922"/>
              <a:gd name="connsiteY203" fmla="*/ 670691 h 1786050"/>
              <a:gd name="connsiteX204" fmla="*/ 358885 w 4664922"/>
              <a:gd name="connsiteY204" fmla="*/ 675492 h 1786050"/>
              <a:gd name="connsiteX205" fmla="*/ 363512 w 4664922"/>
              <a:gd name="connsiteY205" fmla="*/ 674914 h 1786050"/>
              <a:gd name="connsiteX206" fmla="*/ 368429 w 4664922"/>
              <a:gd name="connsiteY206" fmla="*/ 674335 h 1786050"/>
              <a:gd name="connsiteX207" fmla="*/ 378783 w 4664922"/>
              <a:gd name="connsiteY207" fmla="*/ 676476 h 1786050"/>
              <a:gd name="connsiteX208" fmla="*/ 388154 w 4664922"/>
              <a:gd name="connsiteY208" fmla="*/ 676476 h 1786050"/>
              <a:gd name="connsiteX209" fmla="*/ 399723 w 4664922"/>
              <a:gd name="connsiteY209" fmla="*/ 672369 h 1786050"/>
              <a:gd name="connsiteX210" fmla="*/ 409441 w 4664922"/>
              <a:gd name="connsiteY210" fmla="*/ 677170 h 1786050"/>
              <a:gd name="connsiteX211" fmla="*/ 414820 w 4664922"/>
              <a:gd name="connsiteY211" fmla="*/ 680814 h 1786050"/>
              <a:gd name="connsiteX212" fmla="*/ 422166 w 4664922"/>
              <a:gd name="connsiteY212" fmla="*/ 678384 h 1786050"/>
              <a:gd name="connsiteX213" fmla="*/ 425290 w 4664922"/>
              <a:gd name="connsiteY213" fmla="*/ 677864 h 1786050"/>
              <a:gd name="connsiteX214" fmla="*/ 487067 w 4664922"/>
              <a:gd name="connsiteY214" fmla="*/ 703547 h 1786050"/>
              <a:gd name="connsiteX215" fmla="*/ 491984 w 4664922"/>
              <a:gd name="connsiteY215" fmla="*/ 706786 h 1786050"/>
              <a:gd name="connsiteX216" fmla="*/ 526344 w 4664922"/>
              <a:gd name="connsiteY216" fmla="*/ 723561 h 1786050"/>
              <a:gd name="connsiteX217" fmla="*/ 537334 w 4664922"/>
              <a:gd name="connsiteY217" fmla="*/ 729345 h 1786050"/>
              <a:gd name="connsiteX218" fmla="*/ 548903 w 4664922"/>
              <a:gd name="connsiteY218" fmla="*/ 735940 h 1786050"/>
              <a:gd name="connsiteX219" fmla="*/ 572561 w 4664922"/>
              <a:gd name="connsiteY219" fmla="*/ 750343 h 1786050"/>
              <a:gd name="connsiteX220" fmla="*/ 579272 w 4664922"/>
              <a:gd name="connsiteY220" fmla="*/ 754623 h 1786050"/>
              <a:gd name="connsiteX221" fmla="*/ 588411 w 4664922"/>
              <a:gd name="connsiteY221" fmla="*/ 762895 h 1786050"/>
              <a:gd name="connsiteX222" fmla="*/ 590551 w 4664922"/>
              <a:gd name="connsiteY222" fmla="*/ 770935 h 1786050"/>
              <a:gd name="connsiteX223" fmla="*/ 590551 w 4664922"/>
              <a:gd name="connsiteY223" fmla="*/ 795982 h 1786050"/>
              <a:gd name="connsiteX224" fmla="*/ 516799 w 4664922"/>
              <a:gd name="connsiteY224" fmla="*/ 831498 h 1786050"/>
              <a:gd name="connsiteX225" fmla="*/ 510379 w 4664922"/>
              <a:gd name="connsiteY225" fmla="*/ 831036 h 1786050"/>
              <a:gd name="connsiteX226" fmla="*/ 457625 w 4664922"/>
              <a:gd name="connsiteY226" fmla="*/ 822475 h 1786050"/>
              <a:gd name="connsiteX227" fmla="*/ 446519 w 4664922"/>
              <a:gd name="connsiteY227" fmla="*/ 820566 h 1786050"/>
              <a:gd name="connsiteX228" fmla="*/ 422108 w 4664922"/>
              <a:gd name="connsiteY228" fmla="*/ 812699 h 1786050"/>
              <a:gd name="connsiteX229" fmla="*/ 398971 w 4664922"/>
              <a:gd name="connsiteY229" fmla="*/ 805642 h 1786050"/>
              <a:gd name="connsiteX230" fmla="*/ 360446 w 4664922"/>
              <a:gd name="connsiteY230" fmla="*/ 789156 h 1786050"/>
              <a:gd name="connsiteX231" fmla="*/ 340259 w 4664922"/>
              <a:gd name="connsiteY231" fmla="*/ 781174 h 1786050"/>
              <a:gd name="connsiteX232" fmla="*/ 341821 w 4664922"/>
              <a:gd name="connsiteY232" fmla="*/ 781810 h 1786050"/>
              <a:gd name="connsiteX233" fmla="*/ 350208 w 4664922"/>
              <a:gd name="connsiteY233" fmla="*/ 788925 h 1786050"/>
              <a:gd name="connsiteX234" fmla="*/ 376007 w 4664922"/>
              <a:gd name="connsiteY234" fmla="*/ 810270 h 1786050"/>
              <a:gd name="connsiteX235" fmla="*/ 383873 w 4664922"/>
              <a:gd name="connsiteY235" fmla="*/ 816864 h 1786050"/>
              <a:gd name="connsiteX236" fmla="*/ 392261 w 4664922"/>
              <a:gd name="connsiteY236" fmla="*/ 822359 h 1786050"/>
              <a:gd name="connsiteX237" fmla="*/ 410655 w 4664922"/>
              <a:gd name="connsiteY237" fmla="*/ 830862 h 1786050"/>
              <a:gd name="connsiteX238" fmla="*/ 414415 w 4664922"/>
              <a:gd name="connsiteY238" fmla="*/ 838902 h 1786050"/>
              <a:gd name="connsiteX239" fmla="*/ 415052 w 4664922"/>
              <a:gd name="connsiteY239" fmla="*/ 844687 h 1786050"/>
              <a:gd name="connsiteX240" fmla="*/ 411870 w 4664922"/>
              <a:gd name="connsiteY240" fmla="*/ 857239 h 1786050"/>
              <a:gd name="connsiteX241" fmla="*/ 410597 w 4664922"/>
              <a:gd name="connsiteY241" fmla="*/ 868519 h 1786050"/>
              <a:gd name="connsiteX242" fmla="*/ 411581 w 4664922"/>
              <a:gd name="connsiteY242" fmla="*/ 874303 h 1786050"/>
              <a:gd name="connsiteX243" fmla="*/ 413837 w 4664922"/>
              <a:gd name="connsiteY243" fmla="*/ 879798 h 1786050"/>
              <a:gd name="connsiteX244" fmla="*/ 418060 w 4664922"/>
              <a:gd name="connsiteY244" fmla="*/ 894086 h 1786050"/>
              <a:gd name="connsiteX245" fmla="*/ 420547 w 4664922"/>
              <a:gd name="connsiteY245" fmla="*/ 906407 h 1786050"/>
              <a:gd name="connsiteX246" fmla="*/ 430901 w 4664922"/>
              <a:gd name="connsiteY246" fmla="*/ 908605 h 1786050"/>
              <a:gd name="connsiteX247" fmla="*/ 434487 w 4664922"/>
              <a:gd name="connsiteY247" fmla="*/ 908316 h 1786050"/>
              <a:gd name="connsiteX248" fmla="*/ 457220 w 4664922"/>
              <a:gd name="connsiteY248" fmla="*/ 923760 h 1786050"/>
              <a:gd name="connsiteX249" fmla="*/ 466302 w 4664922"/>
              <a:gd name="connsiteY249" fmla="*/ 926421 h 1786050"/>
              <a:gd name="connsiteX250" fmla="*/ 478449 w 4664922"/>
              <a:gd name="connsiteY250" fmla="*/ 929660 h 1786050"/>
              <a:gd name="connsiteX251" fmla="*/ 484233 w 4664922"/>
              <a:gd name="connsiteY251" fmla="*/ 931800 h 1786050"/>
              <a:gd name="connsiteX252" fmla="*/ 496901 w 4664922"/>
              <a:gd name="connsiteY252" fmla="*/ 926594 h 1786050"/>
              <a:gd name="connsiteX253" fmla="*/ 498520 w 4664922"/>
              <a:gd name="connsiteY253" fmla="*/ 913175 h 1786050"/>
              <a:gd name="connsiteX254" fmla="*/ 495455 w 4664922"/>
              <a:gd name="connsiteY254" fmla="*/ 911671 h 1786050"/>
              <a:gd name="connsiteX255" fmla="*/ 467806 w 4664922"/>
              <a:gd name="connsiteY255" fmla="*/ 901721 h 1786050"/>
              <a:gd name="connsiteX256" fmla="*/ 462021 w 4664922"/>
              <a:gd name="connsiteY256" fmla="*/ 893912 h 1786050"/>
              <a:gd name="connsiteX257" fmla="*/ 459418 w 4664922"/>
              <a:gd name="connsiteY257" fmla="*/ 884947 h 1786050"/>
              <a:gd name="connsiteX258" fmla="*/ 459418 w 4664922"/>
              <a:gd name="connsiteY258" fmla="*/ 884542 h 1786050"/>
              <a:gd name="connsiteX259" fmla="*/ 476308 w 4664922"/>
              <a:gd name="connsiteY259" fmla="*/ 869039 h 1786050"/>
              <a:gd name="connsiteX260" fmla="*/ 476829 w 4664922"/>
              <a:gd name="connsiteY260" fmla="*/ 869039 h 1786050"/>
              <a:gd name="connsiteX261" fmla="*/ 494182 w 4664922"/>
              <a:gd name="connsiteY261" fmla="*/ 879336 h 1786050"/>
              <a:gd name="connsiteX262" fmla="*/ 507313 w 4664922"/>
              <a:gd name="connsiteY262" fmla="*/ 887665 h 1786050"/>
              <a:gd name="connsiteX263" fmla="*/ 507718 w 4664922"/>
              <a:gd name="connsiteY263" fmla="*/ 887665 h 1786050"/>
              <a:gd name="connsiteX264" fmla="*/ 537103 w 4664922"/>
              <a:gd name="connsiteY264" fmla="*/ 894549 h 1786050"/>
              <a:gd name="connsiteX265" fmla="*/ 557522 w 4664922"/>
              <a:gd name="connsiteY265" fmla="*/ 899350 h 1786050"/>
              <a:gd name="connsiteX266" fmla="*/ 567761 w 4664922"/>
              <a:gd name="connsiteY266" fmla="*/ 897094 h 1786050"/>
              <a:gd name="connsiteX267" fmla="*/ 556770 w 4664922"/>
              <a:gd name="connsiteY267" fmla="*/ 876675 h 1786050"/>
              <a:gd name="connsiteX268" fmla="*/ 549192 w 4664922"/>
              <a:gd name="connsiteY268" fmla="*/ 860883 h 1786050"/>
              <a:gd name="connsiteX269" fmla="*/ 555324 w 4664922"/>
              <a:gd name="connsiteY269" fmla="*/ 851108 h 1786050"/>
              <a:gd name="connsiteX270" fmla="*/ 563885 w 4664922"/>
              <a:gd name="connsiteY270" fmla="*/ 844051 h 1786050"/>
              <a:gd name="connsiteX271" fmla="*/ 582106 w 4664922"/>
              <a:gd name="connsiteY271" fmla="*/ 831961 h 1786050"/>
              <a:gd name="connsiteX272" fmla="*/ 605532 w 4664922"/>
              <a:gd name="connsiteY272" fmla="*/ 821954 h 1786050"/>
              <a:gd name="connsiteX273" fmla="*/ 618895 w 4664922"/>
              <a:gd name="connsiteY273" fmla="*/ 812236 h 1786050"/>
              <a:gd name="connsiteX274" fmla="*/ 624101 w 4664922"/>
              <a:gd name="connsiteY274" fmla="*/ 812988 h 1786050"/>
              <a:gd name="connsiteX275" fmla="*/ 636132 w 4664922"/>
              <a:gd name="connsiteY275" fmla="*/ 813972 h 1786050"/>
              <a:gd name="connsiteX276" fmla="*/ 652387 w 4664922"/>
              <a:gd name="connsiteY276" fmla="*/ 819062 h 1786050"/>
              <a:gd name="connsiteX277" fmla="*/ 657419 w 4664922"/>
              <a:gd name="connsiteY277" fmla="*/ 827276 h 1786050"/>
              <a:gd name="connsiteX278" fmla="*/ 658518 w 4664922"/>
              <a:gd name="connsiteY278" fmla="*/ 826639 h 1786050"/>
              <a:gd name="connsiteX279" fmla="*/ 660716 w 4664922"/>
              <a:gd name="connsiteY279" fmla="*/ 825656 h 1786050"/>
              <a:gd name="connsiteX280" fmla="*/ 665922 w 4664922"/>
              <a:gd name="connsiteY280" fmla="*/ 827796 h 1786050"/>
              <a:gd name="connsiteX281" fmla="*/ 669509 w 4664922"/>
              <a:gd name="connsiteY281" fmla="*/ 829416 h 1786050"/>
              <a:gd name="connsiteX282" fmla="*/ 669913 w 4664922"/>
              <a:gd name="connsiteY282" fmla="*/ 827854 h 1786050"/>
              <a:gd name="connsiteX283" fmla="*/ 673905 w 4664922"/>
              <a:gd name="connsiteY283" fmla="*/ 818368 h 1786050"/>
              <a:gd name="connsiteX284" fmla="*/ 678417 w 4664922"/>
              <a:gd name="connsiteY284" fmla="*/ 806799 h 1786050"/>
              <a:gd name="connsiteX285" fmla="*/ 678417 w 4664922"/>
              <a:gd name="connsiteY285" fmla="*/ 804774 h 1786050"/>
              <a:gd name="connsiteX286" fmla="*/ 674888 w 4664922"/>
              <a:gd name="connsiteY286" fmla="*/ 785570 h 1786050"/>
              <a:gd name="connsiteX287" fmla="*/ 669855 w 4664922"/>
              <a:gd name="connsiteY287" fmla="*/ 783661 h 1786050"/>
              <a:gd name="connsiteX288" fmla="*/ 669046 w 4664922"/>
              <a:gd name="connsiteY288" fmla="*/ 783661 h 1786050"/>
              <a:gd name="connsiteX289" fmla="*/ 656436 w 4664922"/>
              <a:gd name="connsiteY289" fmla="*/ 781463 h 1786050"/>
              <a:gd name="connsiteX290" fmla="*/ 659617 w 4664922"/>
              <a:gd name="connsiteY290" fmla="*/ 772150 h 1786050"/>
              <a:gd name="connsiteX291" fmla="*/ 669971 w 4664922"/>
              <a:gd name="connsiteY291" fmla="*/ 742881 h 1786050"/>
              <a:gd name="connsiteX292" fmla="*/ 669971 w 4664922"/>
              <a:gd name="connsiteY292" fmla="*/ 736113 h 1786050"/>
              <a:gd name="connsiteX293" fmla="*/ 662972 w 4664922"/>
              <a:gd name="connsiteY293" fmla="*/ 724544 h 1786050"/>
              <a:gd name="connsiteX294" fmla="*/ 651750 w 4664922"/>
              <a:gd name="connsiteY294" fmla="*/ 713901 h 1786050"/>
              <a:gd name="connsiteX295" fmla="*/ 658923 w 4664922"/>
              <a:gd name="connsiteY295" fmla="*/ 711934 h 1786050"/>
              <a:gd name="connsiteX296" fmla="*/ 681193 w 4664922"/>
              <a:gd name="connsiteY296" fmla="*/ 716851 h 1786050"/>
              <a:gd name="connsiteX297" fmla="*/ 692068 w 4664922"/>
              <a:gd name="connsiteY297" fmla="*/ 715521 h 1786050"/>
              <a:gd name="connsiteX298" fmla="*/ 703174 w 4664922"/>
              <a:gd name="connsiteY298" fmla="*/ 714190 h 1786050"/>
              <a:gd name="connsiteX299" fmla="*/ 728221 w 4664922"/>
              <a:gd name="connsiteY299" fmla="*/ 726164 h 1786050"/>
              <a:gd name="connsiteX300" fmla="*/ 738228 w 4664922"/>
              <a:gd name="connsiteY300" fmla="*/ 740799 h 1786050"/>
              <a:gd name="connsiteX301" fmla="*/ 744475 w 4664922"/>
              <a:gd name="connsiteY301" fmla="*/ 753293 h 1786050"/>
              <a:gd name="connsiteX302" fmla="*/ 735104 w 4664922"/>
              <a:gd name="connsiteY302" fmla="*/ 753871 h 1786050"/>
              <a:gd name="connsiteX303" fmla="*/ 727411 w 4664922"/>
              <a:gd name="connsiteY303" fmla="*/ 752599 h 1786050"/>
              <a:gd name="connsiteX304" fmla="*/ 720006 w 4664922"/>
              <a:gd name="connsiteY304" fmla="*/ 754681 h 1786050"/>
              <a:gd name="connsiteX305" fmla="*/ 706876 w 4664922"/>
              <a:gd name="connsiteY305" fmla="*/ 759135 h 1786050"/>
              <a:gd name="connsiteX306" fmla="*/ 701439 w 4664922"/>
              <a:gd name="connsiteY306" fmla="*/ 761507 h 1786050"/>
              <a:gd name="connsiteX307" fmla="*/ 698431 w 4664922"/>
              <a:gd name="connsiteY307" fmla="*/ 775389 h 1786050"/>
              <a:gd name="connsiteX308" fmla="*/ 701439 w 4664922"/>
              <a:gd name="connsiteY308" fmla="*/ 777241 h 1786050"/>
              <a:gd name="connsiteX309" fmla="*/ 711504 w 4664922"/>
              <a:gd name="connsiteY309" fmla="*/ 787363 h 1786050"/>
              <a:gd name="connsiteX310" fmla="*/ 722725 w 4664922"/>
              <a:gd name="connsiteY310" fmla="*/ 797833 h 1786050"/>
              <a:gd name="connsiteX311" fmla="*/ 722725 w 4664922"/>
              <a:gd name="connsiteY311" fmla="*/ 797833 h 1786050"/>
              <a:gd name="connsiteX312" fmla="*/ 731286 w 4664922"/>
              <a:gd name="connsiteY312" fmla="*/ 797833 h 1786050"/>
              <a:gd name="connsiteX313" fmla="*/ 738690 w 4664922"/>
              <a:gd name="connsiteY313" fmla="*/ 797833 h 1786050"/>
              <a:gd name="connsiteX314" fmla="*/ 768191 w 4664922"/>
              <a:gd name="connsiteY314" fmla="*/ 792453 h 1786050"/>
              <a:gd name="connsiteX315" fmla="*/ 769174 w 4664922"/>
              <a:gd name="connsiteY315" fmla="*/ 780885 h 1786050"/>
              <a:gd name="connsiteX316" fmla="*/ 774959 w 4664922"/>
              <a:gd name="connsiteY316" fmla="*/ 763127 h 1786050"/>
              <a:gd name="connsiteX317" fmla="*/ 789709 w 4664922"/>
              <a:gd name="connsiteY317" fmla="*/ 759598 h 1786050"/>
              <a:gd name="connsiteX318" fmla="*/ 804170 w 4664922"/>
              <a:gd name="connsiteY318" fmla="*/ 754797 h 1786050"/>
              <a:gd name="connsiteX319" fmla="*/ 814003 w 4664922"/>
              <a:gd name="connsiteY319" fmla="*/ 747624 h 1786050"/>
              <a:gd name="connsiteX320" fmla="*/ 830721 w 4664922"/>
              <a:gd name="connsiteY320" fmla="*/ 737964 h 1786050"/>
              <a:gd name="connsiteX321" fmla="*/ 891225 w 4664922"/>
              <a:gd name="connsiteY321" fmla="*/ 718644 h 1786050"/>
              <a:gd name="connsiteX322" fmla="*/ 894581 w 4664922"/>
              <a:gd name="connsiteY322" fmla="*/ 719049 h 1786050"/>
              <a:gd name="connsiteX323" fmla="*/ 900828 w 4664922"/>
              <a:gd name="connsiteY323" fmla="*/ 724255 h 1786050"/>
              <a:gd name="connsiteX324" fmla="*/ 905802 w 4664922"/>
              <a:gd name="connsiteY324" fmla="*/ 726337 h 1786050"/>
              <a:gd name="connsiteX325" fmla="*/ 907943 w 4664922"/>
              <a:gd name="connsiteY325" fmla="*/ 720206 h 1786050"/>
              <a:gd name="connsiteX326" fmla="*/ 910777 w 4664922"/>
              <a:gd name="connsiteY326" fmla="*/ 711182 h 1786050"/>
              <a:gd name="connsiteX327" fmla="*/ 946467 w 4664922"/>
              <a:gd name="connsiteY327" fmla="*/ 699093 h 1786050"/>
              <a:gd name="connsiteX328" fmla="*/ 949822 w 4664922"/>
              <a:gd name="connsiteY328" fmla="*/ 701002 h 1786050"/>
              <a:gd name="connsiteX329" fmla="*/ 946583 w 4664922"/>
              <a:gd name="connsiteY329" fmla="*/ 707943 h 1786050"/>
              <a:gd name="connsiteX330" fmla="*/ 943459 w 4664922"/>
              <a:gd name="connsiteY330" fmla="*/ 718991 h 1786050"/>
              <a:gd name="connsiteX331" fmla="*/ 945773 w 4664922"/>
              <a:gd name="connsiteY331" fmla="*/ 725875 h 1786050"/>
              <a:gd name="connsiteX332" fmla="*/ 936113 w 4664922"/>
              <a:gd name="connsiteY332" fmla="*/ 728883 h 1786050"/>
              <a:gd name="connsiteX333" fmla="*/ 934551 w 4664922"/>
              <a:gd name="connsiteY333" fmla="*/ 728883 h 1786050"/>
              <a:gd name="connsiteX334" fmla="*/ 926742 w 4664922"/>
              <a:gd name="connsiteY334" fmla="*/ 730907 h 1786050"/>
              <a:gd name="connsiteX335" fmla="*/ 929866 w 4664922"/>
              <a:gd name="connsiteY335" fmla="*/ 734089 h 1786050"/>
              <a:gd name="connsiteX336" fmla="*/ 945831 w 4664922"/>
              <a:gd name="connsiteY336" fmla="*/ 736576 h 1786050"/>
              <a:gd name="connsiteX337" fmla="*/ 953466 w 4664922"/>
              <a:gd name="connsiteY337" fmla="*/ 736576 h 1786050"/>
              <a:gd name="connsiteX338" fmla="*/ 959829 w 4664922"/>
              <a:gd name="connsiteY338" fmla="*/ 736576 h 1786050"/>
              <a:gd name="connsiteX339" fmla="*/ 966307 w 4664922"/>
              <a:gd name="connsiteY339" fmla="*/ 737039 h 1786050"/>
              <a:gd name="connsiteX340" fmla="*/ 972092 w 4664922"/>
              <a:gd name="connsiteY340" fmla="*/ 732642 h 1786050"/>
              <a:gd name="connsiteX341" fmla="*/ 991412 w 4664922"/>
              <a:gd name="connsiteY341" fmla="*/ 718471 h 1786050"/>
              <a:gd name="connsiteX342" fmla="*/ 1005584 w 4664922"/>
              <a:gd name="connsiteY342" fmla="*/ 716851 h 1786050"/>
              <a:gd name="connsiteX343" fmla="*/ 1022532 w 4664922"/>
              <a:gd name="connsiteY343" fmla="*/ 718239 h 1786050"/>
              <a:gd name="connsiteX344" fmla="*/ 1037282 w 4664922"/>
              <a:gd name="connsiteY344" fmla="*/ 718528 h 1786050"/>
              <a:gd name="connsiteX345" fmla="*/ 1049429 w 4664922"/>
              <a:gd name="connsiteY345" fmla="*/ 711471 h 1786050"/>
              <a:gd name="connsiteX346" fmla="*/ 1078352 w 4664922"/>
              <a:gd name="connsiteY346" fmla="*/ 697242 h 1786050"/>
              <a:gd name="connsiteX347" fmla="*/ 1080087 w 4664922"/>
              <a:gd name="connsiteY347" fmla="*/ 697242 h 1786050"/>
              <a:gd name="connsiteX348" fmla="*/ 1098192 w 4664922"/>
              <a:gd name="connsiteY348" fmla="*/ 708290 h 1786050"/>
              <a:gd name="connsiteX349" fmla="*/ 1097094 w 4664922"/>
              <a:gd name="connsiteY349" fmla="*/ 711645 h 1786050"/>
              <a:gd name="connsiteX350" fmla="*/ 1091309 w 4664922"/>
              <a:gd name="connsiteY350" fmla="*/ 721594 h 1786050"/>
              <a:gd name="connsiteX351" fmla="*/ 1096515 w 4664922"/>
              <a:gd name="connsiteY351" fmla="*/ 725990 h 1786050"/>
              <a:gd name="connsiteX352" fmla="*/ 1110282 w 4664922"/>
              <a:gd name="connsiteY352" fmla="*/ 726337 h 1786050"/>
              <a:gd name="connsiteX353" fmla="*/ 1109241 w 4664922"/>
              <a:gd name="connsiteY353" fmla="*/ 721941 h 1786050"/>
              <a:gd name="connsiteX354" fmla="*/ 1108605 w 4664922"/>
              <a:gd name="connsiteY354" fmla="*/ 716157 h 1786050"/>
              <a:gd name="connsiteX355" fmla="*/ 1128792 w 4664922"/>
              <a:gd name="connsiteY355" fmla="*/ 711009 h 1786050"/>
              <a:gd name="connsiteX356" fmla="*/ 1138626 w 4664922"/>
              <a:gd name="connsiteY356" fmla="*/ 705745 h 1786050"/>
              <a:gd name="connsiteX357" fmla="*/ 1136543 w 4664922"/>
              <a:gd name="connsiteY357" fmla="*/ 698052 h 1786050"/>
              <a:gd name="connsiteX358" fmla="*/ 1123644 w 4664922"/>
              <a:gd name="connsiteY358" fmla="*/ 674509 h 1786050"/>
              <a:gd name="connsiteX359" fmla="*/ 1121330 w 4664922"/>
              <a:gd name="connsiteY359" fmla="*/ 666353 h 1786050"/>
              <a:gd name="connsiteX360" fmla="*/ 1107447 w 4664922"/>
              <a:gd name="connsiteY360" fmla="*/ 663172 h 1786050"/>
              <a:gd name="connsiteX361" fmla="*/ 1095879 w 4664922"/>
              <a:gd name="connsiteY361" fmla="*/ 659469 h 1786050"/>
              <a:gd name="connsiteX362" fmla="*/ 1087086 w 4664922"/>
              <a:gd name="connsiteY362" fmla="*/ 655131 h 1786050"/>
              <a:gd name="connsiteX363" fmla="*/ 1073956 w 4664922"/>
              <a:gd name="connsiteY363" fmla="*/ 642232 h 1786050"/>
              <a:gd name="connsiteX364" fmla="*/ 1079104 w 4664922"/>
              <a:gd name="connsiteY364" fmla="*/ 630663 h 1786050"/>
              <a:gd name="connsiteX365" fmla="*/ 1084541 w 4664922"/>
              <a:gd name="connsiteY365" fmla="*/ 629333 h 1786050"/>
              <a:gd name="connsiteX366" fmla="*/ 1101432 w 4664922"/>
              <a:gd name="connsiteY366" fmla="*/ 635696 h 1786050"/>
              <a:gd name="connsiteX367" fmla="*/ 1113001 w 4664922"/>
              <a:gd name="connsiteY367" fmla="*/ 641480 h 1786050"/>
              <a:gd name="connsiteX368" fmla="*/ 1126189 w 4664922"/>
              <a:gd name="connsiteY368" fmla="*/ 652470 h 1786050"/>
              <a:gd name="connsiteX369" fmla="*/ 1132552 w 4664922"/>
              <a:gd name="connsiteY369" fmla="*/ 656288 h 1786050"/>
              <a:gd name="connsiteX370" fmla="*/ 1148228 w 4664922"/>
              <a:gd name="connsiteY370" fmla="*/ 657734 h 1786050"/>
              <a:gd name="connsiteX371" fmla="*/ 1179926 w 4664922"/>
              <a:gd name="connsiteY371" fmla="*/ 660800 h 1786050"/>
              <a:gd name="connsiteX372" fmla="*/ 1185711 w 4664922"/>
              <a:gd name="connsiteY372" fmla="*/ 660800 h 1786050"/>
              <a:gd name="connsiteX373" fmla="*/ 1233606 w 4664922"/>
              <a:gd name="connsiteY373" fmla="*/ 674335 h 1786050"/>
              <a:gd name="connsiteX374" fmla="*/ 1254662 w 4664922"/>
              <a:gd name="connsiteY374" fmla="*/ 683533 h 1786050"/>
              <a:gd name="connsiteX375" fmla="*/ 1269817 w 4664922"/>
              <a:gd name="connsiteY375" fmla="*/ 689317 h 1786050"/>
              <a:gd name="connsiteX376" fmla="*/ 1291508 w 4664922"/>
              <a:gd name="connsiteY376" fmla="*/ 698399 h 1786050"/>
              <a:gd name="connsiteX377" fmla="*/ 1313952 w 4664922"/>
              <a:gd name="connsiteY377" fmla="*/ 708406 h 1786050"/>
              <a:gd name="connsiteX378" fmla="*/ 1323323 w 4664922"/>
              <a:gd name="connsiteY378" fmla="*/ 716678 h 1786050"/>
              <a:gd name="connsiteX379" fmla="*/ 1346113 w 4664922"/>
              <a:gd name="connsiteY379" fmla="*/ 734436 h 1786050"/>
              <a:gd name="connsiteX380" fmla="*/ 1360921 w 4664922"/>
              <a:gd name="connsiteY380" fmla="*/ 716446 h 1786050"/>
              <a:gd name="connsiteX381" fmla="*/ 1362425 w 4664922"/>
              <a:gd name="connsiteY381" fmla="*/ 709100 h 1786050"/>
              <a:gd name="connsiteX382" fmla="*/ 1357161 w 4664922"/>
              <a:gd name="connsiteY382" fmla="*/ 706728 h 1786050"/>
              <a:gd name="connsiteX383" fmla="*/ 1345939 w 4664922"/>
              <a:gd name="connsiteY383" fmla="*/ 700944 h 1786050"/>
              <a:gd name="connsiteX384" fmla="*/ 1341023 w 4664922"/>
              <a:gd name="connsiteY384" fmla="*/ 689375 h 1786050"/>
              <a:gd name="connsiteX385" fmla="*/ 1334544 w 4664922"/>
              <a:gd name="connsiteY385" fmla="*/ 678789 h 1786050"/>
              <a:gd name="connsiteX386" fmla="*/ 1318926 w 4664922"/>
              <a:gd name="connsiteY386" fmla="*/ 673410 h 1786050"/>
              <a:gd name="connsiteX387" fmla="*/ 1301920 w 4664922"/>
              <a:gd name="connsiteY387" fmla="*/ 666411 h 1786050"/>
              <a:gd name="connsiteX388" fmla="*/ 1300532 w 4664922"/>
              <a:gd name="connsiteY388" fmla="*/ 660626 h 1786050"/>
              <a:gd name="connsiteX389" fmla="*/ 1311464 w 4664922"/>
              <a:gd name="connsiteY389" fmla="*/ 646107 h 1786050"/>
              <a:gd name="connsiteX390" fmla="*/ 1312795 w 4664922"/>
              <a:gd name="connsiteY390" fmla="*/ 638819 h 1786050"/>
              <a:gd name="connsiteX391" fmla="*/ 1312795 w 4664922"/>
              <a:gd name="connsiteY391" fmla="*/ 633324 h 1786050"/>
              <a:gd name="connsiteX392" fmla="*/ 1317422 w 4664922"/>
              <a:gd name="connsiteY392" fmla="*/ 615971 h 1786050"/>
              <a:gd name="connsiteX393" fmla="*/ 1316323 w 4664922"/>
              <a:gd name="connsiteY393" fmla="*/ 613310 h 1786050"/>
              <a:gd name="connsiteX394" fmla="*/ 1311002 w 4664922"/>
              <a:gd name="connsiteY394" fmla="*/ 612905 h 1786050"/>
              <a:gd name="connsiteX395" fmla="*/ 1307936 w 4664922"/>
              <a:gd name="connsiteY395" fmla="*/ 612905 h 1786050"/>
              <a:gd name="connsiteX396" fmla="*/ 1300532 w 4664922"/>
              <a:gd name="connsiteY396" fmla="*/ 609029 h 1786050"/>
              <a:gd name="connsiteX397" fmla="*/ 1299606 w 4664922"/>
              <a:gd name="connsiteY397" fmla="*/ 598212 h 1786050"/>
              <a:gd name="connsiteX398" fmla="*/ 1312332 w 4664922"/>
              <a:gd name="connsiteY398" fmla="*/ 583520 h 1786050"/>
              <a:gd name="connsiteX399" fmla="*/ 1316670 w 4664922"/>
              <a:gd name="connsiteY399" fmla="*/ 581842 h 1786050"/>
              <a:gd name="connsiteX400" fmla="*/ 1348079 w 4664922"/>
              <a:gd name="connsiteY400" fmla="*/ 556391 h 1786050"/>
              <a:gd name="connsiteX401" fmla="*/ 1362425 w 4664922"/>
              <a:gd name="connsiteY401" fmla="*/ 524519 h 1786050"/>
              <a:gd name="connsiteX402" fmla="*/ 1366301 w 4664922"/>
              <a:gd name="connsiteY402" fmla="*/ 517462 h 1786050"/>
              <a:gd name="connsiteX403" fmla="*/ 1367805 w 4664922"/>
              <a:gd name="connsiteY403" fmla="*/ 514222 h 1786050"/>
              <a:gd name="connsiteX404" fmla="*/ 1380704 w 4664922"/>
              <a:gd name="connsiteY404" fmla="*/ 501265 h 1786050"/>
              <a:gd name="connsiteX405" fmla="*/ 1382902 w 4664922"/>
              <a:gd name="connsiteY405" fmla="*/ 501265 h 1786050"/>
              <a:gd name="connsiteX406" fmla="*/ 1427269 w 4664922"/>
              <a:gd name="connsiteY406" fmla="*/ 503868 h 1786050"/>
              <a:gd name="connsiteX407" fmla="*/ 1434673 w 4664922"/>
              <a:gd name="connsiteY407" fmla="*/ 503868 h 1786050"/>
              <a:gd name="connsiteX408" fmla="*/ 1436639 w 4664922"/>
              <a:gd name="connsiteY408" fmla="*/ 503868 h 1786050"/>
              <a:gd name="connsiteX409" fmla="*/ 1469784 w 4664922"/>
              <a:gd name="connsiteY409" fmla="*/ 516247 h 1786050"/>
              <a:gd name="connsiteX410" fmla="*/ 1457695 w 4664922"/>
              <a:gd name="connsiteY410" fmla="*/ 563679 h 1786050"/>
              <a:gd name="connsiteX411" fmla="*/ 1445374 w 4664922"/>
              <a:gd name="connsiteY411" fmla="*/ 579066 h 1786050"/>
              <a:gd name="connsiteX412" fmla="*/ 1448555 w 4664922"/>
              <a:gd name="connsiteY412" fmla="*/ 582363 h 1786050"/>
              <a:gd name="connsiteX413" fmla="*/ 1471404 w 4664922"/>
              <a:gd name="connsiteY413" fmla="*/ 614698 h 1786050"/>
              <a:gd name="connsiteX414" fmla="*/ 1467239 w 4664922"/>
              <a:gd name="connsiteY414" fmla="*/ 629853 h 1786050"/>
              <a:gd name="connsiteX415" fmla="*/ 1464520 w 4664922"/>
              <a:gd name="connsiteY415" fmla="*/ 643042 h 1786050"/>
              <a:gd name="connsiteX416" fmla="*/ 1464925 w 4664922"/>
              <a:gd name="connsiteY416" fmla="*/ 646107 h 1786050"/>
              <a:gd name="connsiteX417" fmla="*/ 1464925 w 4664922"/>
              <a:gd name="connsiteY417" fmla="*/ 669245 h 1786050"/>
              <a:gd name="connsiteX418" fmla="*/ 1464925 w 4664922"/>
              <a:gd name="connsiteY418" fmla="*/ 683533 h 1786050"/>
              <a:gd name="connsiteX419" fmla="*/ 1465619 w 4664922"/>
              <a:gd name="connsiteY419" fmla="*/ 696837 h 1786050"/>
              <a:gd name="connsiteX420" fmla="*/ 1484881 w 4664922"/>
              <a:gd name="connsiteY420" fmla="*/ 717950 h 1786050"/>
              <a:gd name="connsiteX421" fmla="*/ 1486617 w 4664922"/>
              <a:gd name="connsiteY421" fmla="*/ 719223 h 1786050"/>
              <a:gd name="connsiteX422" fmla="*/ 1490377 w 4664922"/>
              <a:gd name="connsiteY422" fmla="*/ 726453 h 1786050"/>
              <a:gd name="connsiteX423" fmla="*/ 1485460 w 4664922"/>
              <a:gd name="connsiteY423" fmla="*/ 731254 h 1786050"/>
              <a:gd name="connsiteX424" fmla="*/ 1478808 w 4664922"/>
              <a:gd name="connsiteY424" fmla="*/ 740047 h 1786050"/>
              <a:gd name="connsiteX425" fmla="*/ 1478808 w 4664922"/>
              <a:gd name="connsiteY425" fmla="*/ 747740 h 1786050"/>
              <a:gd name="connsiteX426" fmla="*/ 1479155 w 4664922"/>
              <a:gd name="connsiteY426" fmla="*/ 758152 h 1786050"/>
              <a:gd name="connsiteX427" fmla="*/ 1473024 w 4664922"/>
              <a:gd name="connsiteY427" fmla="*/ 762432 h 1786050"/>
              <a:gd name="connsiteX428" fmla="*/ 1467239 w 4664922"/>
              <a:gd name="connsiteY428" fmla="*/ 766308 h 1786050"/>
              <a:gd name="connsiteX429" fmla="*/ 1459603 w 4664922"/>
              <a:gd name="connsiteY429" fmla="*/ 771340 h 1786050"/>
              <a:gd name="connsiteX430" fmla="*/ 1456769 w 4664922"/>
              <a:gd name="connsiteY430" fmla="*/ 774290 h 1786050"/>
              <a:gd name="connsiteX431" fmla="*/ 1452836 w 4664922"/>
              <a:gd name="connsiteY431" fmla="*/ 780075 h 1786050"/>
              <a:gd name="connsiteX432" fmla="*/ 1449654 w 4664922"/>
              <a:gd name="connsiteY432" fmla="*/ 786148 h 1786050"/>
              <a:gd name="connsiteX433" fmla="*/ 1444217 w 4664922"/>
              <a:gd name="connsiteY433" fmla="*/ 794652 h 1786050"/>
              <a:gd name="connsiteX434" fmla="*/ 1442308 w 4664922"/>
              <a:gd name="connsiteY434" fmla="*/ 795461 h 1786050"/>
              <a:gd name="connsiteX435" fmla="*/ 1432359 w 4664922"/>
              <a:gd name="connsiteY435" fmla="*/ 801593 h 1786050"/>
              <a:gd name="connsiteX436" fmla="*/ 1432359 w 4664922"/>
              <a:gd name="connsiteY436" fmla="*/ 803097 h 1786050"/>
              <a:gd name="connsiteX437" fmla="*/ 1433689 w 4664922"/>
              <a:gd name="connsiteY437" fmla="*/ 809228 h 1786050"/>
              <a:gd name="connsiteX438" fmla="*/ 1424839 w 4664922"/>
              <a:gd name="connsiteY438" fmla="*/ 811253 h 1786050"/>
              <a:gd name="connsiteX439" fmla="*/ 1420096 w 4664922"/>
              <a:gd name="connsiteY439" fmla="*/ 813046 h 1786050"/>
              <a:gd name="connsiteX440" fmla="*/ 1410725 w 4664922"/>
              <a:gd name="connsiteY440" fmla="*/ 816517 h 1786050"/>
              <a:gd name="connsiteX441" fmla="*/ 1400660 w 4664922"/>
              <a:gd name="connsiteY441" fmla="*/ 810732 h 1786050"/>
              <a:gd name="connsiteX442" fmla="*/ 1398347 w 4664922"/>
              <a:gd name="connsiteY442" fmla="*/ 808766 h 1786050"/>
              <a:gd name="connsiteX443" fmla="*/ 1395570 w 4664922"/>
              <a:gd name="connsiteY443" fmla="*/ 809749 h 1786050"/>
              <a:gd name="connsiteX444" fmla="*/ 1382902 w 4664922"/>
              <a:gd name="connsiteY444" fmla="*/ 814492 h 1786050"/>
              <a:gd name="connsiteX445" fmla="*/ 1378217 w 4664922"/>
              <a:gd name="connsiteY445" fmla="*/ 810651 h 1786050"/>
              <a:gd name="connsiteX446" fmla="*/ 1378217 w 4664922"/>
              <a:gd name="connsiteY446" fmla="*/ 810559 h 1786050"/>
              <a:gd name="connsiteX447" fmla="*/ 1369714 w 4664922"/>
              <a:gd name="connsiteY447" fmla="*/ 804427 h 1786050"/>
              <a:gd name="connsiteX448" fmla="*/ 1365838 w 4664922"/>
              <a:gd name="connsiteY448" fmla="*/ 807146 h 1786050"/>
              <a:gd name="connsiteX449" fmla="*/ 1366590 w 4664922"/>
              <a:gd name="connsiteY449" fmla="*/ 814781 h 1786050"/>
              <a:gd name="connsiteX450" fmla="*/ 1377639 w 4664922"/>
              <a:gd name="connsiteY450" fmla="*/ 817384 h 1786050"/>
              <a:gd name="connsiteX451" fmla="*/ 1381861 w 4664922"/>
              <a:gd name="connsiteY451" fmla="*/ 816575 h 1786050"/>
              <a:gd name="connsiteX452" fmla="*/ 1389207 w 4664922"/>
              <a:gd name="connsiteY452" fmla="*/ 819814 h 1786050"/>
              <a:gd name="connsiteX453" fmla="*/ 1399908 w 4664922"/>
              <a:gd name="connsiteY453" fmla="*/ 824152 h 1786050"/>
              <a:gd name="connsiteX454" fmla="*/ 1413906 w 4664922"/>
              <a:gd name="connsiteY454" fmla="*/ 822012 h 1786050"/>
              <a:gd name="connsiteX455" fmla="*/ 1424839 w 4664922"/>
              <a:gd name="connsiteY455" fmla="*/ 820161 h 1786050"/>
              <a:gd name="connsiteX456" fmla="*/ 1431954 w 4664922"/>
              <a:gd name="connsiteY456" fmla="*/ 821954 h 1786050"/>
              <a:gd name="connsiteX457" fmla="*/ 1449307 w 4664922"/>
              <a:gd name="connsiteY457" fmla="*/ 827738 h 1786050"/>
              <a:gd name="connsiteX458" fmla="*/ 1453645 w 4664922"/>
              <a:gd name="connsiteY458" fmla="*/ 826350 h 1786050"/>
              <a:gd name="connsiteX459" fmla="*/ 1454629 w 4664922"/>
              <a:gd name="connsiteY459" fmla="*/ 822937 h 1786050"/>
              <a:gd name="connsiteX460" fmla="*/ 1474874 w 4664922"/>
              <a:gd name="connsiteY460" fmla="*/ 802923 h 1786050"/>
              <a:gd name="connsiteX461" fmla="*/ 1480312 w 4664922"/>
              <a:gd name="connsiteY461" fmla="*/ 800089 h 1786050"/>
              <a:gd name="connsiteX462" fmla="*/ 1484593 w 4664922"/>
              <a:gd name="connsiteY462" fmla="*/ 797833 h 1786050"/>
              <a:gd name="connsiteX463" fmla="*/ 1500326 w 4664922"/>
              <a:gd name="connsiteY463" fmla="*/ 783025 h 1786050"/>
              <a:gd name="connsiteX464" fmla="*/ 1511143 w 4664922"/>
              <a:gd name="connsiteY464" fmla="*/ 768737 h 1786050"/>
              <a:gd name="connsiteX465" fmla="*/ 1523058 w 4664922"/>
              <a:gd name="connsiteY465" fmla="*/ 751095 h 1786050"/>
              <a:gd name="connsiteX466" fmla="*/ 1523058 w 4664922"/>
              <a:gd name="connsiteY466" fmla="*/ 750632 h 1786050"/>
              <a:gd name="connsiteX467" fmla="*/ 1517911 w 4664922"/>
              <a:gd name="connsiteY467" fmla="*/ 711818 h 1786050"/>
              <a:gd name="connsiteX468" fmla="*/ 1553138 w 4664922"/>
              <a:gd name="connsiteY468" fmla="*/ 701464 h 1786050"/>
              <a:gd name="connsiteX469" fmla="*/ 1560368 w 4664922"/>
              <a:gd name="connsiteY469" fmla="*/ 700250 h 1786050"/>
              <a:gd name="connsiteX470" fmla="*/ 1578936 w 4664922"/>
              <a:gd name="connsiteY470" fmla="*/ 711818 h 1786050"/>
              <a:gd name="connsiteX471" fmla="*/ 1584316 w 4664922"/>
              <a:gd name="connsiteY471" fmla="*/ 716909 h 1786050"/>
              <a:gd name="connsiteX472" fmla="*/ 1592819 w 4664922"/>
              <a:gd name="connsiteY472" fmla="*/ 729982 h 1786050"/>
              <a:gd name="connsiteX473" fmla="*/ 1588249 w 4664922"/>
              <a:gd name="connsiteY473" fmla="*/ 741551 h 1786050"/>
              <a:gd name="connsiteX474" fmla="*/ 1585588 w 4664922"/>
              <a:gd name="connsiteY474" fmla="*/ 748665 h 1786050"/>
              <a:gd name="connsiteX475" fmla="*/ 1588423 w 4664922"/>
              <a:gd name="connsiteY475" fmla="*/ 753929 h 1786050"/>
              <a:gd name="connsiteX476" fmla="*/ 1599298 w 4664922"/>
              <a:gd name="connsiteY476" fmla="*/ 767754 h 1786050"/>
              <a:gd name="connsiteX477" fmla="*/ 1624171 w 4664922"/>
              <a:gd name="connsiteY477" fmla="*/ 771803 h 1786050"/>
              <a:gd name="connsiteX478" fmla="*/ 1628335 w 4664922"/>
              <a:gd name="connsiteY478" fmla="*/ 771340 h 1786050"/>
              <a:gd name="connsiteX479" fmla="*/ 1620237 w 4664922"/>
              <a:gd name="connsiteY479" fmla="*/ 767812 h 1786050"/>
              <a:gd name="connsiteX480" fmla="*/ 1597099 w 4664922"/>
              <a:gd name="connsiteY480" fmla="*/ 750169 h 1786050"/>
              <a:gd name="connsiteX481" fmla="*/ 1606066 w 4664922"/>
              <a:gd name="connsiteY481" fmla="*/ 737617 h 1786050"/>
              <a:gd name="connsiteX482" fmla="*/ 1609825 w 4664922"/>
              <a:gd name="connsiteY482" fmla="*/ 730676 h 1786050"/>
              <a:gd name="connsiteX483" fmla="*/ 1606702 w 4664922"/>
              <a:gd name="connsiteY483" fmla="*/ 720669 h 1786050"/>
              <a:gd name="connsiteX484" fmla="*/ 1600165 w 4664922"/>
              <a:gd name="connsiteY484" fmla="*/ 710083 h 1786050"/>
              <a:gd name="connsiteX485" fmla="*/ 1594901 w 4664922"/>
              <a:gd name="connsiteY485" fmla="*/ 707422 h 1786050"/>
              <a:gd name="connsiteX486" fmla="*/ 1551981 w 4664922"/>
              <a:gd name="connsiteY486" fmla="*/ 692036 h 1786050"/>
              <a:gd name="connsiteX487" fmla="*/ 1548394 w 4664922"/>
              <a:gd name="connsiteY487" fmla="*/ 692325 h 1786050"/>
              <a:gd name="connsiteX488" fmla="*/ 1532719 w 4664922"/>
              <a:gd name="connsiteY488" fmla="*/ 696779 h 1786050"/>
              <a:gd name="connsiteX489" fmla="*/ 1515828 w 4664922"/>
              <a:gd name="connsiteY489" fmla="*/ 699151 h 1786050"/>
              <a:gd name="connsiteX490" fmla="*/ 1511605 w 4664922"/>
              <a:gd name="connsiteY490" fmla="*/ 698456 h 1786050"/>
              <a:gd name="connsiteX491" fmla="*/ 1507267 w 4664922"/>
              <a:gd name="connsiteY491" fmla="*/ 698746 h 1786050"/>
              <a:gd name="connsiteX492" fmla="*/ 1502756 w 4664922"/>
              <a:gd name="connsiteY492" fmla="*/ 699035 h 1786050"/>
              <a:gd name="connsiteX493" fmla="*/ 1494310 w 4664922"/>
              <a:gd name="connsiteY493" fmla="*/ 695102 h 1786050"/>
              <a:gd name="connsiteX494" fmla="*/ 1493211 w 4664922"/>
              <a:gd name="connsiteY494" fmla="*/ 683533 h 1786050"/>
              <a:gd name="connsiteX495" fmla="*/ 1493211 w 4664922"/>
              <a:gd name="connsiteY495" fmla="*/ 667336 h 1786050"/>
              <a:gd name="connsiteX496" fmla="*/ 1502871 w 4664922"/>
              <a:gd name="connsiteY496" fmla="*/ 638414 h 1786050"/>
              <a:gd name="connsiteX497" fmla="*/ 1509465 w 4664922"/>
              <a:gd name="connsiteY497" fmla="*/ 621639 h 1786050"/>
              <a:gd name="connsiteX498" fmla="*/ 1478634 w 4664922"/>
              <a:gd name="connsiteY498" fmla="*/ 584445 h 1786050"/>
              <a:gd name="connsiteX499" fmla="*/ 1477073 w 4664922"/>
              <a:gd name="connsiteY499" fmla="*/ 581380 h 1786050"/>
              <a:gd name="connsiteX500" fmla="*/ 1482857 w 4664922"/>
              <a:gd name="connsiteY500" fmla="*/ 574323 h 1786050"/>
              <a:gd name="connsiteX501" fmla="*/ 1489220 w 4664922"/>
              <a:gd name="connsiteY501" fmla="*/ 566629 h 1786050"/>
              <a:gd name="connsiteX502" fmla="*/ 1502756 w 4664922"/>
              <a:gd name="connsiteY502" fmla="*/ 558473 h 1786050"/>
              <a:gd name="connsiteX503" fmla="*/ 1522191 w 4664922"/>
              <a:gd name="connsiteY503" fmla="*/ 548987 h 1786050"/>
              <a:gd name="connsiteX504" fmla="*/ 1529017 w 4664922"/>
              <a:gd name="connsiteY504" fmla="*/ 521684 h 1786050"/>
              <a:gd name="connsiteX505" fmla="*/ 1528149 w 4664922"/>
              <a:gd name="connsiteY505" fmla="*/ 511619 h 1786050"/>
              <a:gd name="connsiteX506" fmla="*/ 1533933 w 4664922"/>
              <a:gd name="connsiteY506" fmla="*/ 508380 h 1786050"/>
              <a:gd name="connsiteX507" fmla="*/ 1537693 w 4664922"/>
              <a:gd name="connsiteY507" fmla="*/ 509016 h 1786050"/>
              <a:gd name="connsiteX508" fmla="*/ 1550072 w 4664922"/>
              <a:gd name="connsiteY508" fmla="*/ 544649 h 1786050"/>
              <a:gd name="connsiteX509" fmla="*/ 1543362 w 4664922"/>
              <a:gd name="connsiteY509" fmla="*/ 570274 h 1786050"/>
              <a:gd name="connsiteX510" fmla="*/ 1544461 w 4664922"/>
              <a:gd name="connsiteY510" fmla="*/ 579471 h 1786050"/>
              <a:gd name="connsiteX511" fmla="*/ 1545097 w 4664922"/>
              <a:gd name="connsiteY511" fmla="*/ 588032 h 1786050"/>
              <a:gd name="connsiteX512" fmla="*/ 1556204 w 4664922"/>
              <a:gd name="connsiteY512" fmla="*/ 590403 h 1786050"/>
              <a:gd name="connsiteX513" fmla="*/ 1566269 w 4664922"/>
              <a:gd name="connsiteY513" fmla="*/ 589998 h 1786050"/>
              <a:gd name="connsiteX514" fmla="*/ 1577201 w 4664922"/>
              <a:gd name="connsiteY514" fmla="*/ 589594 h 1786050"/>
              <a:gd name="connsiteX515" fmla="*/ 1591199 w 4664922"/>
              <a:gd name="connsiteY515" fmla="*/ 591907 h 1786050"/>
              <a:gd name="connsiteX516" fmla="*/ 1602768 w 4664922"/>
              <a:gd name="connsiteY516" fmla="*/ 598617 h 1786050"/>
              <a:gd name="connsiteX517" fmla="*/ 1621915 w 4664922"/>
              <a:gd name="connsiteY517" fmla="*/ 607930 h 1786050"/>
              <a:gd name="connsiteX518" fmla="*/ 1622262 w 4664922"/>
              <a:gd name="connsiteY518" fmla="*/ 607930 h 1786050"/>
              <a:gd name="connsiteX519" fmla="*/ 1630186 w 4664922"/>
              <a:gd name="connsiteY519" fmla="*/ 604864 h 1786050"/>
              <a:gd name="connsiteX520" fmla="*/ 1625964 w 4664922"/>
              <a:gd name="connsiteY520" fmla="*/ 602030 h 1786050"/>
              <a:gd name="connsiteX521" fmla="*/ 1618849 w 4664922"/>
              <a:gd name="connsiteY521" fmla="*/ 596246 h 1786050"/>
              <a:gd name="connsiteX522" fmla="*/ 1601496 w 4664922"/>
              <a:gd name="connsiteY522" fmla="*/ 588205 h 1786050"/>
              <a:gd name="connsiteX523" fmla="*/ 1564880 w 4664922"/>
              <a:gd name="connsiteY523" fmla="*/ 565068 h 1786050"/>
              <a:gd name="connsiteX524" fmla="*/ 1564301 w 4664922"/>
              <a:gd name="connsiteY524" fmla="*/ 558242 h 1786050"/>
              <a:gd name="connsiteX525" fmla="*/ 1583275 w 4664922"/>
              <a:gd name="connsiteY525" fmla="*/ 547946 h 1786050"/>
              <a:gd name="connsiteX526" fmla="*/ 1595422 w 4664922"/>
              <a:gd name="connsiteY526" fmla="*/ 551821 h 1786050"/>
              <a:gd name="connsiteX527" fmla="*/ 1608842 w 4664922"/>
              <a:gd name="connsiteY527" fmla="*/ 555465 h 1786050"/>
              <a:gd name="connsiteX528" fmla="*/ 1619775 w 4664922"/>
              <a:gd name="connsiteY528" fmla="*/ 552110 h 1786050"/>
              <a:gd name="connsiteX529" fmla="*/ 1616940 w 4664922"/>
              <a:gd name="connsiteY529" fmla="*/ 549739 h 1786050"/>
              <a:gd name="connsiteX530" fmla="*/ 1606181 w 4664922"/>
              <a:gd name="connsiteY530" fmla="*/ 546095 h 1786050"/>
              <a:gd name="connsiteX531" fmla="*/ 1599760 w 4664922"/>
              <a:gd name="connsiteY531" fmla="*/ 542682 h 1786050"/>
              <a:gd name="connsiteX532" fmla="*/ 1601669 w 4664922"/>
              <a:gd name="connsiteY532" fmla="*/ 538980 h 1786050"/>
              <a:gd name="connsiteX533" fmla="*/ 1603173 w 4664922"/>
              <a:gd name="connsiteY533" fmla="*/ 537187 h 1786050"/>
              <a:gd name="connsiteX534" fmla="*/ 1595017 w 4664922"/>
              <a:gd name="connsiteY534" fmla="*/ 537187 h 1786050"/>
              <a:gd name="connsiteX535" fmla="*/ 1591141 w 4664922"/>
              <a:gd name="connsiteY535" fmla="*/ 537187 h 1786050"/>
              <a:gd name="connsiteX536" fmla="*/ 1586340 w 4664922"/>
              <a:gd name="connsiteY536" fmla="*/ 534005 h 1786050"/>
              <a:gd name="connsiteX537" fmla="*/ 1608495 w 4664922"/>
              <a:gd name="connsiteY537" fmla="*/ 521222 h 1786050"/>
              <a:gd name="connsiteX538" fmla="*/ 1609304 w 4664922"/>
              <a:gd name="connsiteY538" fmla="*/ 521222 h 1786050"/>
              <a:gd name="connsiteX539" fmla="*/ 1620873 w 4664922"/>
              <a:gd name="connsiteY539" fmla="*/ 527411 h 1786050"/>
              <a:gd name="connsiteX540" fmla="*/ 1628220 w 4664922"/>
              <a:gd name="connsiteY540" fmla="*/ 531287 h 1786050"/>
              <a:gd name="connsiteX541" fmla="*/ 1691848 w 4664922"/>
              <a:gd name="connsiteY541" fmla="*/ 547714 h 1786050"/>
              <a:gd name="connsiteX542" fmla="*/ 1729216 w 4664922"/>
              <a:gd name="connsiteY542" fmla="*/ 565820 h 1786050"/>
              <a:gd name="connsiteX543" fmla="*/ 1736678 w 4664922"/>
              <a:gd name="connsiteY543" fmla="*/ 562812 h 1786050"/>
              <a:gd name="connsiteX544" fmla="*/ 1737776 w 4664922"/>
              <a:gd name="connsiteY544" fmla="*/ 550086 h 1786050"/>
              <a:gd name="connsiteX545" fmla="*/ 1721696 w 4664922"/>
              <a:gd name="connsiteY545" fmla="*/ 537996 h 1786050"/>
              <a:gd name="connsiteX546" fmla="*/ 1683576 w 4664922"/>
              <a:gd name="connsiteY546" fmla="*/ 517057 h 1786050"/>
              <a:gd name="connsiteX547" fmla="*/ 1685544 w 4664922"/>
              <a:gd name="connsiteY547" fmla="*/ 511272 h 1786050"/>
              <a:gd name="connsiteX548" fmla="*/ 1683461 w 4664922"/>
              <a:gd name="connsiteY548" fmla="*/ 498662 h 1786050"/>
              <a:gd name="connsiteX549" fmla="*/ 1679528 w 4664922"/>
              <a:gd name="connsiteY549" fmla="*/ 485069 h 1786050"/>
              <a:gd name="connsiteX550" fmla="*/ 1693179 w 4664922"/>
              <a:gd name="connsiteY550" fmla="*/ 469740 h 1786050"/>
              <a:gd name="connsiteX551" fmla="*/ 1763344 w 4664922"/>
              <a:gd name="connsiteY551" fmla="*/ 463956 h 1786050"/>
              <a:gd name="connsiteX552" fmla="*/ 1764212 w 4664922"/>
              <a:gd name="connsiteY552" fmla="*/ 463956 h 1786050"/>
              <a:gd name="connsiteX553" fmla="*/ 1784862 w 4664922"/>
              <a:gd name="connsiteY553" fmla="*/ 461584 h 1786050"/>
              <a:gd name="connsiteX554" fmla="*/ 1797935 w 4664922"/>
              <a:gd name="connsiteY554" fmla="*/ 460080 h 1786050"/>
              <a:gd name="connsiteX555" fmla="*/ 1805397 w 4664922"/>
              <a:gd name="connsiteY555" fmla="*/ 462220 h 1786050"/>
              <a:gd name="connsiteX556" fmla="*/ 1809099 w 4664922"/>
              <a:gd name="connsiteY556" fmla="*/ 464129 h 1786050"/>
              <a:gd name="connsiteX557" fmla="*/ 1816503 w 4664922"/>
              <a:gd name="connsiteY557" fmla="*/ 458345 h 1786050"/>
              <a:gd name="connsiteX558" fmla="*/ 1816503 w 4664922"/>
              <a:gd name="connsiteY558" fmla="*/ 458345 h 1786050"/>
              <a:gd name="connsiteX559" fmla="*/ 1829518 w 4664922"/>
              <a:gd name="connsiteY559" fmla="*/ 454643 h 1786050"/>
              <a:gd name="connsiteX560" fmla="*/ 1844326 w 4664922"/>
              <a:gd name="connsiteY560" fmla="*/ 460427 h 1786050"/>
              <a:gd name="connsiteX561" fmla="*/ 1844788 w 4664922"/>
              <a:gd name="connsiteY561" fmla="*/ 461642 h 1786050"/>
              <a:gd name="connsiteX562" fmla="*/ 1849069 w 4664922"/>
              <a:gd name="connsiteY562" fmla="*/ 460659 h 1786050"/>
              <a:gd name="connsiteX563" fmla="*/ 1849764 w 4664922"/>
              <a:gd name="connsiteY563" fmla="*/ 458171 h 1786050"/>
              <a:gd name="connsiteX564" fmla="*/ 1852193 w 4664922"/>
              <a:gd name="connsiteY564" fmla="*/ 452387 h 1786050"/>
              <a:gd name="connsiteX565" fmla="*/ 1852945 w 4664922"/>
              <a:gd name="connsiteY565" fmla="*/ 447354 h 1786050"/>
              <a:gd name="connsiteX566" fmla="*/ 1851730 w 4664922"/>
              <a:gd name="connsiteY566" fmla="*/ 446082 h 1786050"/>
              <a:gd name="connsiteX567" fmla="*/ 1847334 w 4664922"/>
              <a:gd name="connsiteY567" fmla="*/ 439083 h 1786050"/>
              <a:gd name="connsiteX568" fmla="*/ 1843516 w 4664922"/>
              <a:gd name="connsiteY568" fmla="*/ 436711 h 1786050"/>
              <a:gd name="connsiteX569" fmla="*/ 1831195 w 4664922"/>
              <a:gd name="connsiteY569" fmla="*/ 431910 h 1786050"/>
              <a:gd name="connsiteX570" fmla="*/ 1832237 w 4664922"/>
              <a:gd name="connsiteY570" fmla="*/ 427572 h 1786050"/>
              <a:gd name="connsiteX571" fmla="*/ 1837327 w 4664922"/>
              <a:gd name="connsiteY571" fmla="*/ 425836 h 1786050"/>
              <a:gd name="connsiteX572" fmla="*/ 1845367 w 4664922"/>
              <a:gd name="connsiteY572" fmla="*/ 426878 h 1786050"/>
              <a:gd name="connsiteX573" fmla="*/ 1851152 w 4664922"/>
              <a:gd name="connsiteY573" fmla="*/ 427745 h 1786050"/>
              <a:gd name="connsiteX574" fmla="*/ 1852482 w 4664922"/>
              <a:gd name="connsiteY574" fmla="*/ 427745 h 1786050"/>
              <a:gd name="connsiteX575" fmla="*/ 1842475 w 4664922"/>
              <a:gd name="connsiteY575" fmla="*/ 419086 h 1786050"/>
              <a:gd name="connsiteX576" fmla="*/ 1841607 w 4664922"/>
              <a:gd name="connsiteY576" fmla="*/ 419184 h 1786050"/>
              <a:gd name="connsiteX577" fmla="*/ 1824832 w 4664922"/>
              <a:gd name="connsiteY577" fmla="*/ 412648 h 1786050"/>
              <a:gd name="connsiteX578" fmla="*/ 1825700 w 4664922"/>
              <a:gd name="connsiteY578" fmla="*/ 408772 h 1786050"/>
              <a:gd name="connsiteX579" fmla="*/ 1829691 w 4664922"/>
              <a:gd name="connsiteY579" fmla="*/ 407442 h 1786050"/>
              <a:gd name="connsiteX580" fmla="*/ 1838541 w 4664922"/>
              <a:gd name="connsiteY580" fmla="*/ 409177 h 1786050"/>
              <a:gd name="connsiteX581" fmla="*/ 1849069 w 4664922"/>
              <a:gd name="connsiteY581" fmla="*/ 410045 h 1786050"/>
              <a:gd name="connsiteX582" fmla="*/ 1849879 w 4664922"/>
              <a:gd name="connsiteY582" fmla="*/ 405244 h 1786050"/>
              <a:gd name="connsiteX583" fmla="*/ 1842822 w 4664922"/>
              <a:gd name="connsiteY583" fmla="*/ 402178 h 1786050"/>
              <a:gd name="connsiteX584" fmla="*/ 1840277 w 4664922"/>
              <a:gd name="connsiteY584" fmla="*/ 402178 h 1786050"/>
              <a:gd name="connsiteX585" fmla="*/ 1839409 w 4664922"/>
              <a:gd name="connsiteY585" fmla="*/ 400674 h 1786050"/>
              <a:gd name="connsiteX586" fmla="*/ 1851556 w 4664922"/>
              <a:gd name="connsiteY586" fmla="*/ 393154 h 1786050"/>
              <a:gd name="connsiteX587" fmla="*/ 1853176 w 4664922"/>
              <a:gd name="connsiteY587" fmla="*/ 393154 h 1786050"/>
              <a:gd name="connsiteX588" fmla="*/ 1854160 w 4664922"/>
              <a:gd name="connsiteY588" fmla="*/ 393154 h 1786050"/>
              <a:gd name="connsiteX589" fmla="*/ 1858845 w 4664922"/>
              <a:gd name="connsiteY589" fmla="*/ 389857 h 1786050"/>
              <a:gd name="connsiteX590" fmla="*/ 1856705 w 4664922"/>
              <a:gd name="connsiteY590" fmla="*/ 388700 h 1786050"/>
              <a:gd name="connsiteX591" fmla="*/ 1853581 w 4664922"/>
              <a:gd name="connsiteY591" fmla="*/ 386155 h 1786050"/>
              <a:gd name="connsiteX592" fmla="*/ 1863009 w 4664922"/>
              <a:gd name="connsiteY592" fmla="*/ 380891 h 1786050"/>
              <a:gd name="connsiteX593" fmla="*/ 1868794 w 4664922"/>
              <a:gd name="connsiteY593" fmla="*/ 383205 h 1786050"/>
              <a:gd name="connsiteX594" fmla="*/ 1876488 w 4664922"/>
              <a:gd name="connsiteY594" fmla="*/ 386387 h 1786050"/>
              <a:gd name="connsiteX595" fmla="*/ 1888056 w 4664922"/>
              <a:gd name="connsiteY595" fmla="*/ 380602 h 1786050"/>
              <a:gd name="connsiteX596" fmla="*/ 1910037 w 4664922"/>
              <a:gd name="connsiteY596" fmla="*/ 370479 h 1786050"/>
              <a:gd name="connsiteX597" fmla="*/ 1914549 w 4664922"/>
              <a:gd name="connsiteY597" fmla="*/ 369612 h 1786050"/>
              <a:gd name="connsiteX598" fmla="*/ 1924672 w 4664922"/>
              <a:gd name="connsiteY598" fmla="*/ 363827 h 1786050"/>
              <a:gd name="connsiteX599" fmla="*/ 1940231 w 4664922"/>
              <a:gd name="connsiteY599" fmla="*/ 357522 h 1786050"/>
              <a:gd name="connsiteX600" fmla="*/ 1943529 w 4664922"/>
              <a:gd name="connsiteY600" fmla="*/ 357522 h 1786050"/>
              <a:gd name="connsiteX601" fmla="*/ 1973492 w 4664922"/>
              <a:gd name="connsiteY601" fmla="*/ 353589 h 1786050"/>
              <a:gd name="connsiteX602" fmla="*/ 2001142 w 4664922"/>
              <a:gd name="connsiteY602" fmla="*/ 348499 h 1786050"/>
              <a:gd name="connsiteX603" fmla="*/ 2018090 w 4664922"/>
              <a:gd name="connsiteY603" fmla="*/ 346763 h 1786050"/>
              <a:gd name="connsiteX604" fmla="*/ 2013232 w 4664922"/>
              <a:gd name="connsiteY604" fmla="*/ 344970 h 1786050"/>
              <a:gd name="connsiteX605" fmla="*/ 2002067 w 4664922"/>
              <a:gd name="connsiteY605" fmla="*/ 338549 h 1786050"/>
              <a:gd name="connsiteX606" fmla="*/ 2002067 w 4664922"/>
              <a:gd name="connsiteY606" fmla="*/ 335194 h 1786050"/>
              <a:gd name="connsiteX607" fmla="*/ 2009124 w 4664922"/>
              <a:gd name="connsiteY607" fmla="*/ 331897 h 1786050"/>
              <a:gd name="connsiteX608" fmla="*/ 2015834 w 4664922"/>
              <a:gd name="connsiteY608" fmla="*/ 332476 h 1786050"/>
              <a:gd name="connsiteX609" fmla="*/ 2023354 w 4664922"/>
              <a:gd name="connsiteY609" fmla="*/ 333170 h 1786050"/>
              <a:gd name="connsiteX610" fmla="*/ 2029139 w 4664922"/>
              <a:gd name="connsiteY610" fmla="*/ 332244 h 1786050"/>
              <a:gd name="connsiteX611" fmla="*/ 2044814 w 4664922"/>
              <a:gd name="connsiteY611" fmla="*/ 324493 h 1786050"/>
              <a:gd name="connsiteX612" fmla="*/ 2046781 w 4664922"/>
              <a:gd name="connsiteY612" fmla="*/ 323394 h 1786050"/>
              <a:gd name="connsiteX613" fmla="*/ 2056267 w 4664922"/>
              <a:gd name="connsiteY613" fmla="*/ 325824 h 1786050"/>
              <a:gd name="connsiteX614" fmla="*/ 2062746 w 4664922"/>
              <a:gd name="connsiteY614" fmla="*/ 328369 h 1786050"/>
              <a:gd name="connsiteX615" fmla="*/ 2064424 w 4664922"/>
              <a:gd name="connsiteY615" fmla="*/ 326923 h 1786050"/>
              <a:gd name="connsiteX616" fmla="*/ 2084611 w 4664922"/>
              <a:gd name="connsiteY616" fmla="*/ 317378 h 1786050"/>
              <a:gd name="connsiteX617" fmla="*/ 2092131 w 4664922"/>
              <a:gd name="connsiteY617" fmla="*/ 319519 h 1786050"/>
              <a:gd name="connsiteX618" fmla="*/ 2093172 w 4664922"/>
              <a:gd name="connsiteY618" fmla="*/ 322064 h 1786050"/>
              <a:gd name="connsiteX619" fmla="*/ 2087388 w 4664922"/>
              <a:gd name="connsiteY619" fmla="*/ 330046 h 1786050"/>
              <a:gd name="connsiteX620" fmla="*/ 2083570 w 4664922"/>
              <a:gd name="connsiteY620" fmla="*/ 334442 h 1786050"/>
              <a:gd name="connsiteX621" fmla="*/ 2083570 w 4664922"/>
              <a:gd name="connsiteY621" fmla="*/ 334442 h 1786050"/>
              <a:gd name="connsiteX622" fmla="*/ 2084033 w 4664922"/>
              <a:gd name="connsiteY622" fmla="*/ 334442 h 1786050"/>
              <a:gd name="connsiteX623" fmla="*/ 2093982 w 4664922"/>
              <a:gd name="connsiteY623" fmla="*/ 333806 h 1786050"/>
              <a:gd name="connsiteX624" fmla="*/ 2101907 w 4664922"/>
              <a:gd name="connsiteY624" fmla="*/ 333286 h 1786050"/>
              <a:gd name="connsiteX625" fmla="*/ 2109253 w 4664922"/>
              <a:gd name="connsiteY625" fmla="*/ 334616 h 1786050"/>
              <a:gd name="connsiteX626" fmla="*/ 2118161 w 4664922"/>
              <a:gd name="connsiteY626" fmla="*/ 330278 h 1786050"/>
              <a:gd name="connsiteX627" fmla="*/ 2134705 w 4664922"/>
              <a:gd name="connsiteY627" fmla="*/ 322526 h 1786050"/>
              <a:gd name="connsiteX628" fmla="*/ 2143554 w 4664922"/>
              <a:gd name="connsiteY628" fmla="*/ 324493 h 1786050"/>
              <a:gd name="connsiteX629" fmla="*/ 2160329 w 4664922"/>
              <a:gd name="connsiteY629" fmla="*/ 329757 h 1786050"/>
              <a:gd name="connsiteX630" fmla="*/ 2162585 w 4664922"/>
              <a:gd name="connsiteY630" fmla="*/ 329121 h 1786050"/>
              <a:gd name="connsiteX631" fmla="*/ 2156453 w 4664922"/>
              <a:gd name="connsiteY631" fmla="*/ 325592 h 1786050"/>
              <a:gd name="connsiteX632" fmla="*/ 2144885 w 4664922"/>
              <a:gd name="connsiteY632" fmla="*/ 315817 h 1786050"/>
              <a:gd name="connsiteX633" fmla="*/ 2145868 w 4664922"/>
              <a:gd name="connsiteY633" fmla="*/ 313156 h 1786050"/>
              <a:gd name="connsiteX634" fmla="*/ 2174386 w 4664922"/>
              <a:gd name="connsiteY634" fmla="*/ 308181 h 1786050"/>
              <a:gd name="connsiteX635" fmla="*/ 2187747 w 4664922"/>
              <a:gd name="connsiteY635" fmla="*/ 308991 h 1786050"/>
              <a:gd name="connsiteX636" fmla="*/ 2201456 w 4664922"/>
              <a:gd name="connsiteY636" fmla="*/ 307718 h 1786050"/>
              <a:gd name="connsiteX637" fmla="*/ 2201804 w 4664922"/>
              <a:gd name="connsiteY637" fmla="*/ 305462 h 1786050"/>
              <a:gd name="connsiteX638" fmla="*/ 2201804 w 4664922"/>
              <a:gd name="connsiteY638" fmla="*/ 300488 h 1786050"/>
              <a:gd name="connsiteX639" fmla="*/ 2197581 w 4664922"/>
              <a:gd name="connsiteY639" fmla="*/ 294703 h 1786050"/>
              <a:gd name="connsiteX640" fmla="*/ 2194573 w 4664922"/>
              <a:gd name="connsiteY640" fmla="*/ 291753 h 1786050"/>
              <a:gd name="connsiteX641" fmla="*/ 2215860 w 4664922"/>
              <a:gd name="connsiteY641" fmla="*/ 268616 h 1786050"/>
              <a:gd name="connsiteX642" fmla="*/ 2224478 w 4664922"/>
              <a:gd name="connsiteY642" fmla="*/ 260575 h 1786050"/>
              <a:gd name="connsiteX643" fmla="*/ 2246459 w 4664922"/>
              <a:gd name="connsiteY643" fmla="*/ 245941 h 1786050"/>
              <a:gd name="connsiteX644" fmla="*/ 2266127 w 4664922"/>
              <a:gd name="connsiteY644" fmla="*/ 241255 h 1786050"/>
              <a:gd name="connsiteX645" fmla="*/ 2282670 w 4664922"/>
              <a:gd name="connsiteY645" fmla="*/ 238247 h 1786050"/>
              <a:gd name="connsiteX646" fmla="*/ 2306676 w 4664922"/>
              <a:gd name="connsiteY646" fmla="*/ 244032 h 1786050"/>
              <a:gd name="connsiteX647" fmla="*/ 2311592 w 4664922"/>
              <a:gd name="connsiteY647" fmla="*/ 245536 h 1786050"/>
              <a:gd name="connsiteX648" fmla="*/ 2322004 w 4664922"/>
              <a:gd name="connsiteY648" fmla="*/ 247040 h 1786050"/>
              <a:gd name="connsiteX649" fmla="*/ 2335250 w 4664922"/>
              <a:gd name="connsiteY649" fmla="*/ 251609 h 1786050"/>
              <a:gd name="connsiteX650" fmla="*/ 2338548 w 4664922"/>
              <a:gd name="connsiteY650" fmla="*/ 260170 h 1786050"/>
              <a:gd name="connsiteX651" fmla="*/ 2331259 w 4664922"/>
              <a:gd name="connsiteY651" fmla="*/ 263872 h 1786050"/>
              <a:gd name="connsiteX652" fmla="*/ 2318939 w 4664922"/>
              <a:gd name="connsiteY652" fmla="*/ 268731 h 1786050"/>
              <a:gd name="connsiteX653" fmla="*/ 2305750 w 4664922"/>
              <a:gd name="connsiteY653" fmla="*/ 273590 h 1786050"/>
              <a:gd name="connsiteX654" fmla="*/ 2299503 w 4664922"/>
              <a:gd name="connsiteY654" fmla="*/ 274516 h 1786050"/>
              <a:gd name="connsiteX655" fmla="*/ 2301354 w 4664922"/>
              <a:gd name="connsiteY655" fmla="*/ 274516 h 1786050"/>
              <a:gd name="connsiteX656" fmla="*/ 2330854 w 4664922"/>
              <a:gd name="connsiteY656" fmla="*/ 280011 h 1786050"/>
              <a:gd name="connsiteX657" fmla="*/ 2345026 w 4664922"/>
              <a:gd name="connsiteY657" fmla="*/ 281226 h 1786050"/>
              <a:gd name="connsiteX658" fmla="*/ 2353992 w 4664922"/>
              <a:gd name="connsiteY658" fmla="*/ 281226 h 1786050"/>
              <a:gd name="connsiteX659" fmla="*/ 2362553 w 4664922"/>
              <a:gd name="connsiteY659" fmla="*/ 281226 h 1786050"/>
              <a:gd name="connsiteX660" fmla="*/ 2375799 w 4664922"/>
              <a:gd name="connsiteY660" fmla="*/ 283944 h 1786050"/>
              <a:gd name="connsiteX661" fmla="*/ 2366082 w 4664922"/>
              <a:gd name="connsiteY661" fmla="*/ 295860 h 1786050"/>
              <a:gd name="connsiteX662" fmla="*/ 2355322 w 4664922"/>
              <a:gd name="connsiteY662" fmla="*/ 308355 h 1786050"/>
              <a:gd name="connsiteX663" fmla="*/ 2373312 w 4664922"/>
              <a:gd name="connsiteY663" fmla="*/ 309859 h 1786050"/>
              <a:gd name="connsiteX664" fmla="*/ 2388062 w 4664922"/>
              <a:gd name="connsiteY664" fmla="*/ 306099 h 1786050"/>
              <a:gd name="connsiteX665" fmla="*/ 2407267 w 4664922"/>
              <a:gd name="connsiteY665" fmla="*/ 294993 h 1786050"/>
              <a:gd name="connsiteX666" fmla="*/ 2424620 w 4664922"/>
              <a:gd name="connsiteY666" fmla="*/ 296497 h 1786050"/>
              <a:gd name="connsiteX667" fmla="*/ 2439717 w 4664922"/>
              <a:gd name="connsiteY667" fmla="*/ 294530 h 1786050"/>
              <a:gd name="connsiteX668" fmla="*/ 2442898 w 4664922"/>
              <a:gd name="connsiteY668" fmla="*/ 293373 h 1786050"/>
              <a:gd name="connsiteX669" fmla="*/ 2451113 w 4664922"/>
              <a:gd name="connsiteY669" fmla="*/ 295224 h 1786050"/>
              <a:gd name="connsiteX670" fmla="*/ 2456377 w 4664922"/>
              <a:gd name="connsiteY670" fmla="*/ 296554 h 1786050"/>
              <a:gd name="connsiteX671" fmla="*/ 2456377 w 4664922"/>
              <a:gd name="connsiteY671" fmla="*/ 296554 h 1786050"/>
              <a:gd name="connsiteX672" fmla="*/ 2461062 w 4664922"/>
              <a:gd name="connsiteY672" fmla="*/ 294703 h 1786050"/>
              <a:gd name="connsiteX673" fmla="*/ 2497735 w 4664922"/>
              <a:gd name="connsiteY673" fmla="*/ 305289 h 1786050"/>
              <a:gd name="connsiteX674" fmla="*/ 2503867 w 4664922"/>
              <a:gd name="connsiteY674" fmla="*/ 307487 h 1786050"/>
              <a:gd name="connsiteX675" fmla="*/ 2512139 w 4664922"/>
              <a:gd name="connsiteY675" fmla="*/ 305057 h 1786050"/>
              <a:gd name="connsiteX676" fmla="*/ 2517923 w 4664922"/>
              <a:gd name="connsiteY676" fmla="*/ 303149 h 1786050"/>
              <a:gd name="connsiteX677" fmla="*/ 2521394 w 4664922"/>
              <a:gd name="connsiteY677" fmla="*/ 304537 h 1786050"/>
              <a:gd name="connsiteX678" fmla="*/ 2527178 w 4664922"/>
              <a:gd name="connsiteY678" fmla="*/ 327675 h 1786050"/>
              <a:gd name="connsiteX679" fmla="*/ 2527178 w 4664922"/>
              <a:gd name="connsiteY679" fmla="*/ 329063 h 1786050"/>
              <a:gd name="connsiteX680" fmla="*/ 2527872 w 4664922"/>
              <a:gd name="connsiteY680" fmla="*/ 329063 h 1786050"/>
              <a:gd name="connsiteX681" fmla="*/ 2531516 w 4664922"/>
              <a:gd name="connsiteY681" fmla="*/ 328253 h 1786050"/>
              <a:gd name="connsiteX682" fmla="*/ 2537995 w 4664922"/>
              <a:gd name="connsiteY682" fmla="*/ 327038 h 1786050"/>
              <a:gd name="connsiteX683" fmla="*/ 2544473 w 4664922"/>
              <a:gd name="connsiteY683" fmla="*/ 329988 h 1786050"/>
              <a:gd name="connsiteX684" fmla="*/ 2545283 w 4664922"/>
              <a:gd name="connsiteY684" fmla="*/ 341962 h 1786050"/>
              <a:gd name="connsiteX685" fmla="*/ 2544820 w 4664922"/>
              <a:gd name="connsiteY685" fmla="*/ 343177 h 1786050"/>
              <a:gd name="connsiteX686" fmla="*/ 2545688 w 4664922"/>
              <a:gd name="connsiteY686" fmla="*/ 343177 h 1786050"/>
              <a:gd name="connsiteX687" fmla="*/ 2547712 w 4664922"/>
              <a:gd name="connsiteY687" fmla="*/ 343177 h 1786050"/>
              <a:gd name="connsiteX688" fmla="*/ 2557430 w 4664922"/>
              <a:gd name="connsiteY688" fmla="*/ 351391 h 1786050"/>
              <a:gd name="connsiteX689" fmla="*/ 2553266 w 4664922"/>
              <a:gd name="connsiteY689" fmla="*/ 358101 h 1786050"/>
              <a:gd name="connsiteX690" fmla="*/ 2543663 w 4664922"/>
              <a:gd name="connsiteY690" fmla="*/ 359894 h 1786050"/>
              <a:gd name="connsiteX691" fmla="*/ 2540193 w 4664922"/>
              <a:gd name="connsiteY691" fmla="*/ 360530 h 1786050"/>
              <a:gd name="connsiteX692" fmla="*/ 2540193 w 4664922"/>
              <a:gd name="connsiteY692" fmla="*/ 361629 h 1786050"/>
              <a:gd name="connsiteX693" fmla="*/ 2545688 w 4664922"/>
              <a:gd name="connsiteY693" fmla="*/ 365158 h 1786050"/>
              <a:gd name="connsiteX694" fmla="*/ 2552340 w 4664922"/>
              <a:gd name="connsiteY694" fmla="*/ 371289 h 1786050"/>
              <a:gd name="connsiteX695" fmla="*/ 2539151 w 4664922"/>
              <a:gd name="connsiteY695" fmla="*/ 388643 h 1786050"/>
              <a:gd name="connsiteX696" fmla="*/ 2505544 w 4664922"/>
              <a:gd name="connsiteY696" fmla="*/ 401657 h 1786050"/>
              <a:gd name="connsiteX697" fmla="*/ 2502189 w 4664922"/>
              <a:gd name="connsiteY697" fmla="*/ 406748 h 1786050"/>
              <a:gd name="connsiteX698" fmla="*/ 2492934 w 4664922"/>
              <a:gd name="connsiteY698" fmla="*/ 416234 h 1786050"/>
              <a:gd name="connsiteX699" fmla="*/ 2492298 w 4664922"/>
              <a:gd name="connsiteY699" fmla="*/ 416234 h 1786050"/>
              <a:gd name="connsiteX700" fmla="*/ 2446832 w 4664922"/>
              <a:gd name="connsiteY700" fmla="*/ 434513 h 1786050"/>
              <a:gd name="connsiteX701" fmla="*/ 2420976 w 4664922"/>
              <a:gd name="connsiteY701" fmla="*/ 451172 h 1786050"/>
              <a:gd name="connsiteX702" fmla="*/ 2418026 w 4664922"/>
              <a:gd name="connsiteY702" fmla="*/ 452445 h 1786050"/>
              <a:gd name="connsiteX703" fmla="*/ 2412241 w 4664922"/>
              <a:gd name="connsiteY703" fmla="*/ 457477 h 1786050"/>
              <a:gd name="connsiteX704" fmla="*/ 2395755 w 4664922"/>
              <a:gd name="connsiteY704" fmla="*/ 467079 h 1786050"/>
              <a:gd name="connsiteX705" fmla="*/ 2386674 w 4664922"/>
              <a:gd name="connsiteY705" fmla="*/ 468294 h 1786050"/>
              <a:gd name="connsiteX706" fmla="*/ 2366602 w 4664922"/>
              <a:gd name="connsiteY706" fmla="*/ 475930 h 1786050"/>
              <a:gd name="connsiteX707" fmla="*/ 2355033 w 4664922"/>
              <a:gd name="connsiteY707" fmla="*/ 482119 h 1786050"/>
              <a:gd name="connsiteX708" fmla="*/ 2340803 w 4664922"/>
              <a:gd name="connsiteY708" fmla="*/ 489407 h 1786050"/>
              <a:gd name="connsiteX709" fmla="*/ 2328309 w 4664922"/>
              <a:gd name="connsiteY709" fmla="*/ 509421 h 1786050"/>
              <a:gd name="connsiteX710" fmla="*/ 2332416 w 4664922"/>
              <a:gd name="connsiteY710" fmla="*/ 506703 h 1786050"/>
              <a:gd name="connsiteX711" fmla="*/ 2371692 w 4664922"/>
              <a:gd name="connsiteY711" fmla="*/ 493456 h 1786050"/>
              <a:gd name="connsiteX712" fmla="*/ 2377824 w 4664922"/>
              <a:gd name="connsiteY712" fmla="*/ 492704 h 1786050"/>
              <a:gd name="connsiteX713" fmla="*/ 2418315 w 4664922"/>
              <a:gd name="connsiteY713" fmla="*/ 479285 h 1786050"/>
              <a:gd name="connsiteX714" fmla="*/ 2435263 w 4664922"/>
              <a:gd name="connsiteY714" fmla="*/ 473847 h 1786050"/>
              <a:gd name="connsiteX715" fmla="*/ 2451633 w 4664922"/>
              <a:gd name="connsiteY715" fmla="*/ 470319 h 1786050"/>
              <a:gd name="connsiteX716" fmla="*/ 2451633 w 4664922"/>
              <a:gd name="connsiteY716" fmla="*/ 469740 h 1786050"/>
              <a:gd name="connsiteX717" fmla="*/ 2447006 w 4664922"/>
              <a:gd name="connsiteY717" fmla="*/ 469162 h 1786050"/>
              <a:gd name="connsiteX718" fmla="*/ 2435437 w 4664922"/>
              <a:gd name="connsiteY718" fmla="*/ 465980 h 1786050"/>
              <a:gd name="connsiteX719" fmla="*/ 2435090 w 4664922"/>
              <a:gd name="connsiteY719" fmla="*/ 460832 h 1786050"/>
              <a:gd name="connsiteX720" fmla="*/ 2461872 w 4664922"/>
              <a:gd name="connsiteY720" fmla="*/ 445619 h 1786050"/>
              <a:gd name="connsiteX721" fmla="*/ 2467193 w 4664922"/>
              <a:gd name="connsiteY721" fmla="*/ 446313 h 1786050"/>
              <a:gd name="connsiteX722" fmla="*/ 2499181 w 4664922"/>
              <a:gd name="connsiteY722" fmla="*/ 462683 h 1786050"/>
              <a:gd name="connsiteX723" fmla="*/ 2510403 w 4664922"/>
              <a:gd name="connsiteY723" fmla="*/ 465228 h 1786050"/>
              <a:gd name="connsiteX724" fmla="*/ 2525327 w 4664922"/>
              <a:gd name="connsiteY724" fmla="*/ 461353 h 1786050"/>
              <a:gd name="connsiteX725" fmla="*/ 2525327 w 4664922"/>
              <a:gd name="connsiteY725" fmla="*/ 459849 h 1786050"/>
              <a:gd name="connsiteX726" fmla="*/ 2525848 w 4664922"/>
              <a:gd name="connsiteY726" fmla="*/ 455858 h 1786050"/>
              <a:gd name="connsiteX727" fmla="*/ 2530475 w 4664922"/>
              <a:gd name="connsiteY727" fmla="*/ 453949 h 1786050"/>
              <a:gd name="connsiteX728" fmla="*/ 2541234 w 4664922"/>
              <a:gd name="connsiteY728" fmla="*/ 462568 h 1786050"/>
              <a:gd name="connsiteX729" fmla="*/ 2541234 w 4664922"/>
              <a:gd name="connsiteY729" fmla="*/ 474136 h 1786050"/>
              <a:gd name="connsiteX730" fmla="*/ 2542044 w 4664922"/>
              <a:gd name="connsiteY730" fmla="*/ 487498 h 1786050"/>
              <a:gd name="connsiteX731" fmla="*/ 2544647 w 4664922"/>
              <a:gd name="connsiteY731" fmla="*/ 488250 h 1786050"/>
              <a:gd name="connsiteX732" fmla="*/ 2547134 w 4664922"/>
              <a:gd name="connsiteY732" fmla="*/ 487325 h 1786050"/>
              <a:gd name="connsiteX733" fmla="*/ 2546440 w 4664922"/>
              <a:gd name="connsiteY733" fmla="*/ 482466 h 1786050"/>
              <a:gd name="connsiteX734" fmla="*/ 2547886 w 4664922"/>
              <a:gd name="connsiteY734" fmla="*/ 473789 h 1786050"/>
              <a:gd name="connsiteX735" fmla="*/ 2607697 w 4664922"/>
              <a:gd name="connsiteY735" fmla="*/ 465749 h 1786050"/>
              <a:gd name="connsiteX736" fmla="*/ 2616894 w 4664922"/>
              <a:gd name="connsiteY736" fmla="*/ 464823 h 1786050"/>
              <a:gd name="connsiteX737" fmla="*/ 2621811 w 4664922"/>
              <a:gd name="connsiteY737" fmla="*/ 464823 h 1786050"/>
              <a:gd name="connsiteX738" fmla="*/ 2643503 w 4664922"/>
              <a:gd name="connsiteY738" fmla="*/ 468873 h 1786050"/>
              <a:gd name="connsiteX739" fmla="*/ 2667450 w 4664922"/>
              <a:gd name="connsiteY739" fmla="*/ 472748 h 1786050"/>
              <a:gd name="connsiteX740" fmla="*/ 2674854 w 4664922"/>
              <a:gd name="connsiteY740" fmla="*/ 472748 h 1786050"/>
              <a:gd name="connsiteX741" fmla="*/ 2694521 w 4664922"/>
              <a:gd name="connsiteY741" fmla="*/ 477260 h 1786050"/>
              <a:gd name="connsiteX742" fmla="*/ 2692612 w 4664922"/>
              <a:gd name="connsiteY742" fmla="*/ 480036 h 1786050"/>
              <a:gd name="connsiteX743" fmla="*/ 2689894 w 4664922"/>
              <a:gd name="connsiteY743" fmla="*/ 481135 h 1786050"/>
              <a:gd name="connsiteX744" fmla="*/ 2681911 w 4664922"/>
              <a:gd name="connsiteY744" fmla="*/ 491547 h 1786050"/>
              <a:gd name="connsiteX745" fmla="*/ 2707536 w 4664922"/>
              <a:gd name="connsiteY745" fmla="*/ 499357 h 1786050"/>
              <a:gd name="connsiteX746" fmla="*/ 2718064 w 4664922"/>
              <a:gd name="connsiteY746" fmla="*/ 496985 h 1786050"/>
              <a:gd name="connsiteX747" fmla="*/ 2723154 w 4664922"/>
              <a:gd name="connsiteY747" fmla="*/ 491952 h 1786050"/>
              <a:gd name="connsiteX748" fmla="*/ 2731947 w 4664922"/>
              <a:gd name="connsiteY748" fmla="*/ 498604 h 1786050"/>
              <a:gd name="connsiteX749" fmla="*/ 2743516 w 4664922"/>
              <a:gd name="connsiteY749" fmla="*/ 502075 h 1786050"/>
              <a:gd name="connsiteX750" fmla="*/ 2767694 w 4664922"/>
              <a:gd name="connsiteY750" fmla="*/ 504910 h 1786050"/>
              <a:gd name="connsiteX751" fmla="*/ 2778106 w 4664922"/>
              <a:gd name="connsiteY751" fmla="*/ 506356 h 1786050"/>
              <a:gd name="connsiteX752" fmla="*/ 2789675 w 4664922"/>
              <a:gd name="connsiteY752" fmla="*/ 503174 h 1786050"/>
              <a:gd name="connsiteX753" fmla="*/ 2796674 w 4664922"/>
              <a:gd name="connsiteY753" fmla="*/ 500976 h 1786050"/>
              <a:gd name="connsiteX754" fmla="*/ 2800665 w 4664922"/>
              <a:gd name="connsiteY754" fmla="*/ 501728 h 1786050"/>
              <a:gd name="connsiteX755" fmla="*/ 2805525 w 4664922"/>
              <a:gd name="connsiteY755" fmla="*/ 503521 h 1786050"/>
              <a:gd name="connsiteX756" fmla="*/ 2812755 w 4664922"/>
              <a:gd name="connsiteY756" fmla="*/ 505662 h 1786050"/>
              <a:gd name="connsiteX757" fmla="*/ 2815358 w 4664922"/>
              <a:gd name="connsiteY757" fmla="*/ 501439 h 1786050"/>
              <a:gd name="connsiteX758" fmla="*/ 2816862 w 4664922"/>
              <a:gd name="connsiteY758" fmla="*/ 494613 h 1786050"/>
              <a:gd name="connsiteX759" fmla="*/ 2815821 w 4664922"/>
              <a:gd name="connsiteY759" fmla="*/ 481425 h 1786050"/>
              <a:gd name="connsiteX760" fmla="*/ 2821026 w 4664922"/>
              <a:gd name="connsiteY760" fmla="*/ 465923 h 1786050"/>
              <a:gd name="connsiteX761" fmla="*/ 2831091 w 4664922"/>
              <a:gd name="connsiteY761" fmla="*/ 465807 h 1786050"/>
              <a:gd name="connsiteX762" fmla="*/ 2833001 w 4664922"/>
              <a:gd name="connsiteY762" fmla="*/ 466270 h 1786050"/>
              <a:gd name="connsiteX763" fmla="*/ 2837513 w 4664922"/>
              <a:gd name="connsiteY763" fmla="*/ 459617 h 1786050"/>
              <a:gd name="connsiteX764" fmla="*/ 2843702 w 4664922"/>
              <a:gd name="connsiteY764" fmla="*/ 452387 h 1786050"/>
              <a:gd name="connsiteX765" fmla="*/ 2850180 w 4664922"/>
              <a:gd name="connsiteY765" fmla="*/ 457824 h 1786050"/>
              <a:gd name="connsiteX766" fmla="*/ 2868054 w 4664922"/>
              <a:gd name="connsiteY766" fmla="*/ 470608 h 1786050"/>
              <a:gd name="connsiteX767" fmla="*/ 2887143 w 4664922"/>
              <a:gd name="connsiteY767" fmla="*/ 474136 h 1786050"/>
              <a:gd name="connsiteX768" fmla="*/ 2899810 w 4664922"/>
              <a:gd name="connsiteY768" fmla="*/ 477896 h 1786050"/>
              <a:gd name="connsiteX769" fmla="*/ 2899810 w 4664922"/>
              <a:gd name="connsiteY769" fmla="*/ 480557 h 1786050"/>
              <a:gd name="connsiteX770" fmla="*/ 2899810 w 4664922"/>
              <a:gd name="connsiteY770" fmla="*/ 482061 h 1786050"/>
              <a:gd name="connsiteX771" fmla="*/ 2904554 w 4664922"/>
              <a:gd name="connsiteY771" fmla="*/ 483912 h 1786050"/>
              <a:gd name="connsiteX772" fmla="*/ 2907446 w 4664922"/>
              <a:gd name="connsiteY772" fmla="*/ 482929 h 1786050"/>
              <a:gd name="connsiteX773" fmla="*/ 2907446 w 4664922"/>
              <a:gd name="connsiteY773" fmla="*/ 481251 h 1786050"/>
              <a:gd name="connsiteX774" fmla="*/ 2907967 w 4664922"/>
              <a:gd name="connsiteY774" fmla="*/ 478880 h 1786050"/>
              <a:gd name="connsiteX775" fmla="*/ 2924394 w 4664922"/>
              <a:gd name="connsiteY775" fmla="*/ 475525 h 1786050"/>
              <a:gd name="connsiteX776" fmla="*/ 2946028 w 4664922"/>
              <a:gd name="connsiteY776" fmla="*/ 480441 h 1786050"/>
              <a:gd name="connsiteX777" fmla="*/ 2963381 w 4664922"/>
              <a:gd name="connsiteY777" fmla="*/ 492357 h 1786050"/>
              <a:gd name="connsiteX778" fmla="*/ 2973099 w 4664922"/>
              <a:gd name="connsiteY778" fmla="*/ 499530 h 1786050"/>
              <a:gd name="connsiteX779" fmla="*/ 2968761 w 4664922"/>
              <a:gd name="connsiteY779" fmla="*/ 504273 h 1786050"/>
              <a:gd name="connsiteX780" fmla="*/ 2968183 w 4664922"/>
              <a:gd name="connsiteY780" fmla="*/ 504620 h 1786050"/>
              <a:gd name="connsiteX781" fmla="*/ 2972174 w 4664922"/>
              <a:gd name="connsiteY781" fmla="*/ 512603 h 1786050"/>
              <a:gd name="connsiteX782" fmla="*/ 2976107 w 4664922"/>
              <a:gd name="connsiteY782" fmla="*/ 521742 h 1786050"/>
              <a:gd name="connsiteX783" fmla="*/ 2974488 w 4664922"/>
              <a:gd name="connsiteY783" fmla="*/ 523246 h 1786050"/>
              <a:gd name="connsiteX784" fmla="*/ 2969975 w 4664922"/>
              <a:gd name="connsiteY784" fmla="*/ 529031 h 1786050"/>
              <a:gd name="connsiteX785" fmla="*/ 2975413 w 4664922"/>
              <a:gd name="connsiteY785" fmla="*/ 531865 h 1786050"/>
              <a:gd name="connsiteX786" fmla="*/ 2985189 w 4664922"/>
              <a:gd name="connsiteY786" fmla="*/ 540426 h 1786050"/>
              <a:gd name="connsiteX787" fmla="*/ 2981140 w 4664922"/>
              <a:gd name="connsiteY787" fmla="*/ 552631 h 1786050"/>
              <a:gd name="connsiteX788" fmla="*/ 2972001 w 4664922"/>
              <a:gd name="connsiteY788" fmla="*/ 554945 h 1786050"/>
              <a:gd name="connsiteX789" fmla="*/ 2960084 w 4664922"/>
              <a:gd name="connsiteY789" fmla="*/ 550433 h 1786050"/>
              <a:gd name="connsiteX790" fmla="*/ 2951870 w 4664922"/>
              <a:gd name="connsiteY790" fmla="*/ 547309 h 1786050"/>
              <a:gd name="connsiteX791" fmla="*/ 2949846 w 4664922"/>
              <a:gd name="connsiteY791" fmla="*/ 547656 h 1786050"/>
              <a:gd name="connsiteX792" fmla="*/ 2950598 w 4664922"/>
              <a:gd name="connsiteY792" fmla="*/ 548235 h 1786050"/>
              <a:gd name="connsiteX793" fmla="*/ 2976049 w 4664922"/>
              <a:gd name="connsiteY793" fmla="*/ 576810 h 1786050"/>
              <a:gd name="connsiteX794" fmla="*/ 3015326 w 4664922"/>
              <a:gd name="connsiteY794" fmla="*/ 612673 h 1786050"/>
              <a:gd name="connsiteX795" fmla="*/ 3015673 w 4664922"/>
              <a:gd name="connsiteY795" fmla="*/ 612673 h 1786050"/>
              <a:gd name="connsiteX796" fmla="*/ 3025507 w 4664922"/>
              <a:gd name="connsiteY796" fmla="*/ 616549 h 1786050"/>
              <a:gd name="connsiteX797" fmla="*/ 3032158 w 4664922"/>
              <a:gd name="connsiteY797" fmla="*/ 618053 h 1786050"/>
              <a:gd name="connsiteX798" fmla="*/ 3039910 w 4664922"/>
              <a:gd name="connsiteY798" fmla="*/ 607872 h 1786050"/>
              <a:gd name="connsiteX799" fmla="*/ 3049917 w 4664922"/>
              <a:gd name="connsiteY799" fmla="*/ 596940 h 1786050"/>
              <a:gd name="connsiteX800" fmla="*/ 3057147 w 4664922"/>
              <a:gd name="connsiteY800" fmla="*/ 584503 h 1786050"/>
              <a:gd name="connsiteX801" fmla="*/ 3064146 w 4664922"/>
              <a:gd name="connsiteY801" fmla="*/ 569059 h 1786050"/>
              <a:gd name="connsiteX802" fmla="*/ 3072476 w 4664922"/>
              <a:gd name="connsiteY802" fmla="*/ 562638 h 1786050"/>
              <a:gd name="connsiteX803" fmla="*/ 3081268 w 4664922"/>
              <a:gd name="connsiteY803" fmla="*/ 570331 h 1786050"/>
              <a:gd name="connsiteX804" fmla="*/ 3121759 w 4664922"/>
              <a:gd name="connsiteY804" fmla="*/ 585602 h 1786050"/>
              <a:gd name="connsiteX805" fmla="*/ 3139112 w 4664922"/>
              <a:gd name="connsiteY805" fmla="*/ 579818 h 1786050"/>
              <a:gd name="connsiteX806" fmla="*/ 3153342 w 4664922"/>
              <a:gd name="connsiteY806" fmla="*/ 575075 h 1786050"/>
              <a:gd name="connsiteX807" fmla="*/ 3154094 w 4664922"/>
              <a:gd name="connsiteY807" fmla="*/ 575075 h 1786050"/>
              <a:gd name="connsiteX808" fmla="*/ 3173530 w 4664922"/>
              <a:gd name="connsiteY808" fmla="*/ 578892 h 1786050"/>
              <a:gd name="connsiteX809" fmla="*/ 3192387 w 4664922"/>
              <a:gd name="connsiteY809" fmla="*/ 582652 h 1786050"/>
              <a:gd name="connsiteX810" fmla="*/ 3195222 w 4664922"/>
              <a:gd name="connsiteY810" fmla="*/ 582363 h 1786050"/>
              <a:gd name="connsiteX811" fmla="*/ 3196956 w 4664922"/>
              <a:gd name="connsiteY811" fmla="*/ 582363 h 1786050"/>
              <a:gd name="connsiteX812" fmla="*/ 3204129 w 4664922"/>
              <a:gd name="connsiteY812" fmla="*/ 588147 h 1786050"/>
              <a:gd name="connsiteX813" fmla="*/ 3217144 w 4664922"/>
              <a:gd name="connsiteY813" fmla="*/ 595436 h 1786050"/>
              <a:gd name="connsiteX814" fmla="*/ 3226746 w 4664922"/>
              <a:gd name="connsiteY814" fmla="*/ 591618 h 1786050"/>
              <a:gd name="connsiteX815" fmla="*/ 3217087 w 4664922"/>
              <a:gd name="connsiteY815" fmla="*/ 586817 h 1786050"/>
              <a:gd name="connsiteX816" fmla="*/ 3210145 w 4664922"/>
              <a:gd name="connsiteY816" fmla="*/ 582942 h 1786050"/>
              <a:gd name="connsiteX817" fmla="*/ 3222524 w 4664922"/>
              <a:gd name="connsiteY817" fmla="*/ 578430 h 1786050"/>
              <a:gd name="connsiteX818" fmla="*/ 3224954 w 4664922"/>
              <a:gd name="connsiteY818" fmla="*/ 578430 h 1786050"/>
              <a:gd name="connsiteX819" fmla="*/ 3236059 w 4664922"/>
              <a:gd name="connsiteY819" fmla="*/ 577446 h 1786050"/>
              <a:gd name="connsiteX820" fmla="*/ 3243001 w 4664922"/>
              <a:gd name="connsiteY820" fmla="*/ 576579 h 1786050"/>
              <a:gd name="connsiteX821" fmla="*/ 3251620 w 4664922"/>
              <a:gd name="connsiteY821" fmla="*/ 580454 h 1786050"/>
              <a:gd name="connsiteX822" fmla="*/ 3262841 w 4664922"/>
              <a:gd name="connsiteY822" fmla="*/ 584619 h 1786050"/>
              <a:gd name="connsiteX823" fmla="*/ 3271402 w 4664922"/>
              <a:gd name="connsiteY823" fmla="*/ 582247 h 1786050"/>
              <a:gd name="connsiteX824" fmla="*/ 3271865 w 4664922"/>
              <a:gd name="connsiteY824" fmla="*/ 581264 h 1786050"/>
              <a:gd name="connsiteX825" fmla="*/ 3271865 w 4664922"/>
              <a:gd name="connsiteY825" fmla="*/ 578603 h 1786050"/>
              <a:gd name="connsiteX826" fmla="*/ 3264114 w 4664922"/>
              <a:gd name="connsiteY826" fmla="*/ 563679 h 1786050"/>
              <a:gd name="connsiteX827" fmla="*/ 3261048 w 4664922"/>
              <a:gd name="connsiteY827" fmla="*/ 560324 h 1786050"/>
              <a:gd name="connsiteX828" fmla="*/ 3267411 w 4664922"/>
              <a:gd name="connsiteY828" fmla="*/ 553210 h 1786050"/>
              <a:gd name="connsiteX829" fmla="*/ 3271865 w 4664922"/>
              <a:gd name="connsiteY829" fmla="*/ 549450 h 1786050"/>
              <a:gd name="connsiteX830" fmla="*/ 3271865 w 4664922"/>
              <a:gd name="connsiteY830" fmla="*/ 549450 h 1786050"/>
              <a:gd name="connsiteX831" fmla="*/ 3271345 w 4664922"/>
              <a:gd name="connsiteY831" fmla="*/ 549103 h 1786050"/>
              <a:gd name="connsiteX832" fmla="*/ 3263941 w 4664922"/>
              <a:gd name="connsiteY832" fmla="*/ 550433 h 1786050"/>
              <a:gd name="connsiteX833" fmla="*/ 3256710 w 4664922"/>
              <a:gd name="connsiteY833" fmla="*/ 552573 h 1786050"/>
              <a:gd name="connsiteX834" fmla="*/ 3249190 w 4664922"/>
              <a:gd name="connsiteY834" fmla="*/ 548351 h 1786050"/>
              <a:gd name="connsiteX835" fmla="*/ 3247975 w 4664922"/>
              <a:gd name="connsiteY835" fmla="*/ 539848 h 1786050"/>
              <a:gd name="connsiteX836" fmla="*/ 3271113 w 4664922"/>
              <a:gd name="connsiteY836" fmla="*/ 529320 h 1786050"/>
              <a:gd name="connsiteX837" fmla="*/ 3275104 w 4664922"/>
              <a:gd name="connsiteY837" fmla="*/ 529320 h 1786050"/>
              <a:gd name="connsiteX838" fmla="*/ 3282162 w 4664922"/>
              <a:gd name="connsiteY838" fmla="*/ 529840 h 1786050"/>
              <a:gd name="connsiteX839" fmla="*/ 3298878 w 4664922"/>
              <a:gd name="connsiteY839" fmla="*/ 525155 h 1786050"/>
              <a:gd name="connsiteX840" fmla="*/ 3298300 w 4664922"/>
              <a:gd name="connsiteY840" fmla="*/ 522726 h 1786050"/>
              <a:gd name="connsiteX841" fmla="*/ 3295234 w 4664922"/>
              <a:gd name="connsiteY841" fmla="*/ 511967 h 1786050"/>
              <a:gd name="connsiteX842" fmla="*/ 3305357 w 4664922"/>
              <a:gd name="connsiteY842" fmla="*/ 508322 h 1786050"/>
              <a:gd name="connsiteX843" fmla="*/ 3318199 w 4664922"/>
              <a:gd name="connsiteY843" fmla="*/ 511967 h 1786050"/>
              <a:gd name="connsiteX844" fmla="*/ 3340931 w 4664922"/>
              <a:gd name="connsiteY844" fmla="*/ 517115 h 1786050"/>
              <a:gd name="connsiteX845" fmla="*/ 3346311 w 4664922"/>
              <a:gd name="connsiteY845" fmla="*/ 516825 h 1786050"/>
              <a:gd name="connsiteX846" fmla="*/ 3352905 w 4664922"/>
              <a:gd name="connsiteY846" fmla="*/ 516825 h 1786050"/>
              <a:gd name="connsiteX847" fmla="*/ 3410344 w 4664922"/>
              <a:gd name="connsiteY847" fmla="*/ 524866 h 1786050"/>
              <a:gd name="connsiteX848" fmla="*/ 3422549 w 4664922"/>
              <a:gd name="connsiteY848" fmla="*/ 527180 h 1786050"/>
              <a:gd name="connsiteX849" fmla="*/ 3430359 w 4664922"/>
              <a:gd name="connsiteY849" fmla="*/ 528510 h 1786050"/>
              <a:gd name="connsiteX850" fmla="*/ 3449158 w 4664922"/>
              <a:gd name="connsiteY850" fmla="*/ 534294 h 1786050"/>
              <a:gd name="connsiteX851" fmla="*/ 3449678 w 4664922"/>
              <a:gd name="connsiteY851" fmla="*/ 536897 h 1786050"/>
              <a:gd name="connsiteX852" fmla="*/ 3439960 w 4664922"/>
              <a:gd name="connsiteY852" fmla="*/ 540542 h 1786050"/>
              <a:gd name="connsiteX853" fmla="*/ 3420814 w 4664922"/>
              <a:gd name="connsiteY853" fmla="*/ 537765 h 1786050"/>
              <a:gd name="connsiteX854" fmla="*/ 3406295 w 4664922"/>
              <a:gd name="connsiteY854" fmla="*/ 540021 h 1786050"/>
              <a:gd name="connsiteX855" fmla="*/ 3406758 w 4664922"/>
              <a:gd name="connsiteY855" fmla="*/ 543260 h 1786050"/>
              <a:gd name="connsiteX856" fmla="*/ 3421508 w 4664922"/>
              <a:gd name="connsiteY856" fmla="*/ 546847 h 1786050"/>
              <a:gd name="connsiteX857" fmla="*/ 3437647 w 4664922"/>
              <a:gd name="connsiteY857" fmla="*/ 553210 h 1786050"/>
              <a:gd name="connsiteX858" fmla="*/ 3426541 w 4664922"/>
              <a:gd name="connsiteY858" fmla="*/ 561076 h 1786050"/>
              <a:gd name="connsiteX859" fmla="*/ 3416186 w 4664922"/>
              <a:gd name="connsiteY859" fmla="*/ 566861 h 1786050"/>
              <a:gd name="connsiteX860" fmla="*/ 3417286 w 4664922"/>
              <a:gd name="connsiteY860" fmla="*/ 571199 h 1786050"/>
              <a:gd name="connsiteX861" fmla="*/ 3427409 w 4664922"/>
              <a:gd name="connsiteY861" fmla="*/ 575537 h 1786050"/>
              <a:gd name="connsiteX862" fmla="*/ 3444530 w 4664922"/>
              <a:gd name="connsiteY862" fmla="*/ 565299 h 1786050"/>
              <a:gd name="connsiteX863" fmla="*/ 3456099 w 4664922"/>
              <a:gd name="connsiteY863" fmla="*/ 545805 h 1786050"/>
              <a:gd name="connsiteX864" fmla="*/ 3461074 w 4664922"/>
              <a:gd name="connsiteY864" fmla="*/ 538401 h 1786050"/>
              <a:gd name="connsiteX865" fmla="*/ 3470965 w 4664922"/>
              <a:gd name="connsiteY865" fmla="*/ 537707 h 1786050"/>
              <a:gd name="connsiteX866" fmla="*/ 3550386 w 4664922"/>
              <a:gd name="connsiteY866" fmla="*/ 553383 h 1786050"/>
              <a:gd name="connsiteX867" fmla="*/ 3552063 w 4664922"/>
              <a:gd name="connsiteY867" fmla="*/ 561713 h 1786050"/>
              <a:gd name="connsiteX868" fmla="*/ 3537601 w 4664922"/>
              <a:gd name="connsiteY868" fmla="*/ 565820 h 1786050"/>
              <a:gd name="connsiteX869" fmla="*/ 3531817 w 4664922"/>
              <a:gd name="connsiteY869" fmla="*/ 565820 h 1786050"/>
              <a:gd name="connsiteX870" fmla="*/ 3527074 w 4664922"/>
              <a:gd name="connsiteY870" fmla="*/ 565820 h 1786050"/>
              <a:gd name="connsiteX871" fmla="*/ 3521752 w 4664922"/>
              <a:gd name="connsiteY871" fmla="*/ 567671 h 1786050"/>
              <a:gd name="connsiteX872" fmla="*/ 3521752 w 4664922"/>
              <a:gd name="connsiteY872" fmla="*/ 569984 h 1786050"/>
              <a:gd name="connsiteX873" fmla="*/ 3527537 w 4664922"/>
              <a:gd name="connsiteY873" fmla="*/ 572703 h 1786050"/>
              <a:gd name="connsiteX874" fmla="*/ 3529677 w 4664922"/>
              <a:gd name="connsiteY874" fmla="*/ 572703 h 1786050"/>
              <a:gd name="connsiteX875" fmla="*/ 3533147 w 4664922"/>
              <a:gd name="connsiteY875" fmla="*/ 572356 h 1786050"/>
              <a:gd name="connsiteX876" fmla="*/ 3565367 w 4664922"/>
              <a:gd name="connsiteY876" fmla="*/ 585082 h 1786050"/>
              <a:gd name="connsiteX877" fmla="*/ 3567160 w 4664922"/>
              <a:gd name="connsiteY877" fmla="*/ 589015 h 1786050"/>
              <a:gd name="connsiteX878" fmla="*/ 3573754 w 4664922"/>
              <a:gd name="connsiteY878" fmla="*/ 589015 h 1786050"/>
              <a:gd name="connsiteX879" fmla="*/ 3580406 w 4664922"/>
              <a:gd name="connsiteY879" fmla="*/ 586470 h 1786050"/>
              <a:gd name="connsiteX880" fmla="*/ 3610023 w 4664922"/>
              <a:gd name="connsiteY880" fmla="*/ 599138 h 1786050"/>
              <a:gd name="connsiteX881" fmla="*/ 3610023 w 4664922"/>
              <a:gd name="connsiteY881" fmla="*/ 608104 h 1786050"/>
              <a:gd name="connsiteX882" fmla="*/ 3609502 w 4664922"/>
              <a:gd name="connsiteY882" fmla="*/ 610938 h 1786050"/>
              <a:gd name="connsiteX883" fmla="*/ 3616154 w 4664922"/>
              <a:gd name="connsiteY883" fmla="*/ 611864 h 1786050"/>
              <a:gd name="connsiteX884" fmla="*/ 3636110 w 4664922"/>
              <a:gd name="connsiteY884" fmla="*/ 611864 h 1786050"/>
              <a:gd name="connsiteX885" fmla="*/ 3679609 w 4664922"/>
              <a:gd name="connsiteY885" fmla="*/ 608335 h 1786050"/>
              <a:gd name="connsiteX886" fmla="*/ 3739420 w 4664922"/>
              <a:gd name="connsiteY886" fmla="*/ 602088 h 1786050"/>
              <a:gd name="connsiteX887" fmla="*/ 3783787 w 4664922"/>
              <a:gd name="connsiteY887" fmla="*/ 607872 h 1786050"/>
              <a:gd name="connsiteX888" fmla="*/ 3830815 w 4664922"/>
              <a:gd name="connsiteY888" fmla="*/ 643215 h 1786050"/>
              <a:gd name="connsiteX889" fmla="*/ 3828385 w 4664922"/>
              <a:gd name="connsiteY889" fmla="*/ 648653 h 1786050"/>
              <a:gd name="connsiteX890" fmla="*/ 3825030 w 4664922"/>
              <a:gd name="connsiteY890" fmla="*/ 657850 h 1786050"/>
              <a:gd name="connsiteX891" fmla="*/ 3823700 w 4664922"/>
              <a:gd name="connsiteY891" fmla="*/ 665890 h 1786050"/>
              <a:gd name="connsiteX892" fmla="*/ 3822369 w 4664922"/>
              <a:gd name="connsiteY892" fmla="*/ 668030 h 1786050"/>
              <a:gd name="connsiteX893" fmla="*/ 3837467 w 4664922"/>
              <a:gd name="connsiteY893" fmla="*/ 669592 h 1786050"/>
              <a:gd name="connsiteX894" fmla="*/ 3859563 w 4664922"/>
              <a:gd name="connsiteY894" fmla="*/ 678384 h 1786050"/>
              <a:gd name="connsiteX895" fmla="*/ 3865347 w 4664922"/>
              <a:gd name="connsiteY895" fmla="*/ 703605 h 1786050"/>
              <a:gd name="connsiteX896" fmla="*/ 3865926 w 4664922"/>
              <a:gd name="connsiteY896" fmla="*/ 695969 h 1786050"/>
              <a:gd name="connsiteX897" fmla="*/ 3870669 w 4664922"/>
              <a:gd name="connsiteY897" fmla="*/ 678269 h 1786050"/>
              <a:gd name="connsiteX898" fmla="*/ 3935628 w 4664922"/>
              <a:gd name="connsiteY898" fmla="*/ 671212 h 1786050"/>
              <a:gd name="connsiteX899" fmla="*/ 3954428 w 4664922"/>
              <a:gd name="connsiteY899" fmla="*/ 673526 h 1786050"/>
              <a:gd name="connsiteX900" fmla="*/ 4006488 w 4664922"/>
              <a:gd name="connsiteY900" fmla="*/ 683417 h 1786050"/>
              <a:gd name="connsiteX901" fmla="*/ 4021295 w 4664922"/>
              <a:gd name="connsiteY901" fmla="*/ 681045 h 1786050"/>
              <a:gd name="connsiteX902" fmla="*/ 4035120 w 4664922"/>
              <a:gd name="connsiteY902" fmla="*/ 668609 h 1786050"/>
              <a:gd name="connsiteX903" fmla="*/ 4054093 w 4664922"/>
              <a:gd name="connsiteY903" fmla="*/ 655478 h 1786050"/>
              <a:gd name="connsiteX904" fmla="*/ 4056523 w 4664922"/>
              <a:gd name="connsiteY904" fmla="*/ 655478 h 1786050"/>
              <a:gd name="connsiteX905" fmla="*/ 4087700 w 4664922"/>
              <a:gd name="connsiteY905" fmla="*/ 665370 h 1786050"/>
              <a:gd name="connsiteX906" fmla="*/ 4089610 w 4664922"/>
              <a:gd name="connsiteY906" fmla="*/ 671154 h 1786050"/>
              <a:gd name="connsiteX907" fmla="*/ 4076247 w 4664922"/>
              <a:gd name="connsiteY907" fmla="*/ 682723 h 1786050"/>
              <a:gd name="connsiteX908" fmla="*/ 4067571 w 4664922"/>
              <a:gd name="connsiteY908" fmla="*/ 679426 h 1786050"/>
              <a:gd name="connsiteX909" fmla="*/ 4059530 w 4664922"/>
              <a:gd name="connsiteY909" fmla="*/ 675782 h 1786050"/>
              <a:gd name="connsiteX910" fmla="*/ 4056349 w 4664922"/>
              <a:gd name="connsiteY910" fmla="*/ 677228 h 1786050"/>
              <a:gd name="connsiteX911" fmla="*/ 4056349 w 4664922"/>
              <a:gd name="connsiteY911" fmla="*/ 685499 h 1786050"/>
              <a:gd name="connsiteX912" fmla="*/ 4069711 w 4664922"/>
              <a:gd name="connsiteY912" fmla="*/ 694928 h 1786050"/>
              <a:gd name="connsiteX913" fmla="*/ 4082900 w 4664922"/>
              <a:gd name="connsiteY913" fmla="*/ 702564 h 1786050"/>
              <a:gd name="connsiteX914" fmla="*/ 4111822 w 4664922"/>
              <a:gd name="connsiteY914" fmla="*/ 717661 h 1786050"/>
              <a:gd name="connsiteX915" fmla="*/ 4118879 w 4664922"/>
              <a:gd name="connsiteY915" fmla="*/ 716330 h 1786050"/>
              <a:gd name="connsiteX916" fmla="*/ 4131836 w 4664922"/>
              <a:gd name="connsiteY916" fmla="*/ 704183 h 1786050"/>
              <a:gd name="connsiteX917" fmla="*/ 4125473 w 4664922"/>
              <a:gd name="connsiteY917" fmla="*/ 691515 h 1786050"/>
              <a:gd name="connsiteX918" fmla="*/ 4109682 w 4664922"/>
              <a:gd name="connsiteY918" fmla="*/ 670518 h 1786050"/>
              <a:gd name="connsiteX919" fmla="*/ 4112574 w 4664922"/>
              <a:gd name="connsiteY919" fmla="*/ 667799 h 1786050"/>
              <a:gd name="connsiteX920" fmla="*/ 4116392 w 4664922"/>
              <a:gd name="connsiteY920" fmla="*/ 661089 h 1786050"/>
              <a:gd name="connsiteX921" fmla="*/ 4120904 w 4664922"/>
              <a:gd name="connsiteY921" fmla="*/ 650793 h 1786050"/>
              <a:gd name="connsiteX922" fmla="*/ 4127093 w 4664922"/>
              <a:gd name="connsiteY922" fmla="*/ 648942 h 1786050"/>
              <a:gd name="connsiteX923" fmla="*/ 4184937 w 4664922"/>
              <a:gd name="connsiteY923" fmla="*/ 664965 h 1786050"/>
              <a:gd name="connsiteX924" fmla="*/ 4195176 w 4664922"/>
              <a:gd name="connsiteY924" fmla="*/ 663634 h 1786050"/>
              <a:gd name="connsiteX925" fmla="*/ 4206166 w 4664922"/>
              <a:gd name="connsiteY925" fmla="*/ 660626 h 1786050"/>
              <a:gd name="connsiteX926" fmla="*/ 4209753 w 4664922"/>
              <a:gd name="connsiteY926" fmla="*/ 660916 h 1786050"/>
              <a:gd name="connsiteX927" fmla="*/ 4261233 w 4664922"/>
              <a:gd name="connsiteY927" fmla="*/ 663866 h 1786050"/>
              <a:gd name="connsiteX928" fmla="*/ 4273612 w 4664922"/>
              <a:gd name="connsiteY928" fmla="*/ 663345 h 1786050"/>
              <a:gd name="connsiteX929" fmla="*/ 4282405 w 4664922"/>
              <a:gd name="connsiteY929" fmla="*/ 666874 h 1786050"/>
              <a:gd name="connsiteX930" fmla="*/ 4298890 w 4664922"/>
              <a:gd name="connsiteY930" fmla="*/ 673815 h 1786050"/>
              <a:gd name="connsiteX931" fmla="*/ 4375997 w 4664922"/>
              <a:gd name="connsiteY931" fmla="*/ 705629 h 1786050"/>
              <a:gd name="connsiteX932" fmla="*/ 4400233 w 4664922"/>
              <a:gd name="connsiteY932" fmla="*/ 716678 h 1786050"/>
              <a:gd name="connsiteX933" fmla="*/ 4419322 w 4664922"/>
              <a:gd name="connsiteY933" fmla="*/ 725585 h 1786050"/>
              <a:gd name="connsiteX934" fmla="*/ 4447781 w 4664922"/>
              <a:gd name="connsiteY934" fmla="*/ 740856 h 1786050"/>
              <a:gd name="connsiteX935" fmla="*/ 4459350 w 4664922"/>
              <a:gd name="connsiteY935" fmla="*/ 745368 h 1786050"/>
              <a:gd name="connsiteX936" fmla="*/ 4512856 w 4664922"/>
              <a:gd name="connsiteY936" fmla="*/ 777356 h 1786050"/>
              <a:gd name="connsiteX937" fmla="*/ 4518236 w 4664922"/>
              <a:gd name="connsiteY937" fmla="*/ 783546 h 1786050"/>
              <a:gd name="connsiteX938" fmla="*/ 4523384 w 4664922"/>
              <a:gd name="connsiteY938" fmla="*/ 792280 h 1786050"/>
              <a:gd name="connsiteX939" fmla="*/ 4524136 w 4664922"/>
              <a:gd name="connsiteY939" fmla="*/ 819062 h 1786050"/>
              <a:gd name="connsiteX940" fmla="*/ 4539985 w 4664922"/>
              <a:gd name="connsiteY940" fmla="*/ 828895 h 1786050"/>
              <a:gd name="connsiteX941" fmla="*/ 4539985 w 4664922"/>
              <a:gd name="connsiteY941" fmla="*/ 827912 h 1786050"/>
              <a:gd name="connsiteX942" fmla="*/ 4542762 w 4664922"/>
              <a:gd name="connsiteY942" fmla="*/ 818368 h 1786050"/>
              <a:gd name="connsiteX943" fmla="*/ 4544208 w 4664922"/>
              <a:gd name="connsiteY943" fmla="*/ 810906 h 1786050"/>
              <a:gd name="connsiteX944" fmla="*/ 4537325 w 4664922"/>
              <a:gd name="connsiteY944" fmla="*/ 805121 h 1786050"/>
              <a:gd name="connsiteX945" fmla="*/ 4531540 w 4664922"/>
              <a:gd name="connsiteY945" fmla="*/ 797486 h 1786050"/>
              <a:gd name="connsiteX946" fmla="*/ 4548142 w 4664922"/>
              <a:gd name="connsiteY946" fmla="*/ 792569 h 1786050"/>
              <a:gd name="connsiteX947" fmla="*/ 4569197 w 4664922"/>
              <a:gd name="connsiteY947" fmla="*/ 797544 h 1786050"/>
              <a:gd name="connsiteX948" fmla="*/ 4579030 w 4664922"/>
              <a:gd name="connsiteY948" fmla="*/ 805121 h 1786050"/>
              <a:gd name="connsiteX949" fmla="*/ 4579609 w 4664922"/>
              <a:gd name="connsiteY949" fmla="*/ 804485 h 1786050"/>
              <a:gd name="connsiteX950" fmla="*/ 4586781 w 4664922"/>
              <a:gd name="connsiteY950" fmla="*/ 801362 h 1786050"/>
              <a:gd name="connsiteX951" fmla="*/ 4619174 w 4664922"/>
              <a:gd name="connsiteY951" fmla="*/ 812930 h 1786050"/>
              <a:gd name="connsiteX952" fmla="*/ 4659029 w 4664922"/>
              <a:gd name="connsiteY952" fmla="*/ 841158 h 1786050"/>
              <a:gd name="connsiteX953" fmla="*/ 4664813 w 4664922"/>
              <a:gd name="connsiteY953" fmla="*/ 846943 h 1786050"/>
              <a:gd name="connsiteX954" fmla="*/ 4656715 w 4664922"/>
              <a:gd name="connsiteY954" fmla="*/ 850876 h 1786050"/>
              <a:gd name="connsiteX955" fmla="*/ 4655211 w 4664922"/>
              <a:gd name="connsiteY955" fmla="*/ 850876 h 1786050"/>
              <a:gd name="connsiteX956" fmla="*/ 4642659 w 4664922"/>
              <a:gd name="connsiteY956" fmla="*/ 864875 h 1786050"/>
              <a:gd name="connsiteX957" fmla="*/ 4637279 w 4664922"/>
              <a:gd name="connsiteY957" fmla="*/ 868634 h 1786050"/>
              <a:gd name="connsiteX958" fmla="*/ 4625710 w 4664922"/>
              <a:gd name="connsiteY958" fmla="*/ 863891 h 1786050"/>
              <a:gd name="connsiteX959" fmla="*/ 4622124 w 4664922"/>
              <a:gd name="connsiteY959" fmla="*/ 862503 h 1786050"/>
              <a:gd name="connsiteX960" fmla="*/ 4618885 w 4664922"/>
              <a:gd name="connsiteY960" fmla="*/ 863776 h 1786050"/>
              <a:gd name="connsiteX961" fmla="*/ 4618885 w 4664922"/>
              <a:gd name="connsiteY961" fmla="*/ 863776 h 1786050"/>
              <a:gd name="connsiteX962" fmla="*/ 4620620 w 4664922"/>
              <a:gd name="connsiteY962" fmla="*/ 864354 h 1786050"/>
              <a:gd name="connsiteX963" fmla="*/ 4630916 w 4664922"/>
              <a:gd name="connsiteY963" fmla="*/ 871932 h 1786050"/>
              <a:gd name="connsiteX964" fmla="*/ 4626868 w 4664922"/>
              <a:gd name="connsiteY964" fmla="*/ 874303 h 1786050"/>
              <a:gd name="connsiteX965" fmla="*/ 4624438 w 4664922"/>
              <a:gd name="connsiteY965" fmla="*/ 874303 h 1786050"/>
              <a:gd name="connsiteX966" fmla="*/ 4595516 w 4664922"/>
              <a:gd name="connsiteY966" fmla="*/ 867593 h 1786050"/>
              <a:gd name="connsiteX967" fmla="*/ 4589731 w 4664922"/>
              <a:gd name="connsiteY967" fmla="*/ 865164 h 1786050"/>
              <a:gd name="connsiteX968" fmla="*/ 4586839 w 4664922"/>
              <a:gd name="connsiteY968" fmla="*/ 867073 h 1786050"/>
              <a:gd name="connsiteX969" fmla="*/ 4588112 w 4664922"/>
              <a:gd name="connsiteY969" fmla="*/ 868866 h 1786050"/>
              <a:gd name="connsiteX970" fmla="*/ 4594937 w 4664922"/>
              <a:gd name="connsiteY970" fmla="*/ 891309 h 1786050"/>
              <a:gd name="connsiteX971" fmla="*/ 4592103 w 4664922"/>
              <a:gd name="connsiteY971" fmla="*/ 898077 h 1786050"/>
              <a:gd name="connsiteX972" fmla="*/ 4592103 w 4664922"/>
              <a:gd name="connsiteY972" fmla="*/ 903110 h 1786050"/>
              <a:gd name="connsiteX973" fmla="*/ 4592103 w 4664922"/>
              <a:gd name="connsiteY973" fmla="*/ 910109 h 1786050"/>
              <a:gd name="connsiteX974" fmla="*/ 4589385 w 4664922"/>
              <a:gd name="connsiteY974" fmla="*/ 911439 h 1786050"/>
              <a:gd name="connsiteX975" fmla="*/ 4588864 w 4664922"/>
              <a:gd name="connsiteY975" fmla="*/ 911439 h 1786050"/>
              <a:gd name="connsiteX976" fmla="*/ 4581518 w 4664922"/>
              <a:gd name="connsiteY976" fmla="*/ 908431 h 1786050"/>
              <a:gd name="connsiteX977" fmla="*/ 4578105 w 4664922"/>
              <a:gd name="connsiteY977" fmla="*/ 906696 h 1786050"/>
              <a:gd name="connsiteX978" fmla="*/ 4576948 w 4664922"/>
              <a:gd name="connsiteY978" fmla="*/ 907621 h 1786050"/>
              <a:gd name="connsiteX979" fmla="*/ 4576948 w 4664922"/>
              <a:gd name="connsiteY979" fmla="*/ 908142 h 1786050"/>
              <a:gd name="connsiteX980" fmla="*/ 4582732 w 4664922"/>
              <a:gd name="connsiteY980" fmla="*/ 912365 h 1786050"/>
              <a:gd name="connsiteX981" fmla="*/ 4590541 w 4664922"/>
              <a:gd name="connsiteY981" fmla="*/ 919306 h 1786050"/>
              <a:gd name="connsiteX982" fmla="*/ 4588864 w 4664922"/>
              <a:gd name="connsiteY982" fmla="*/ 922892 h 1786050"/>
              <a:gd name="connsiteX983" fmla="*/ 4582617 w 4664922"/>
              <a:gd name="connsiteY983" fmla="*/ 925611 h 1786050"/>
              <a:gd name="connsiteX984" fmla="*/ 4579377 w 4664922"/>
              <a:gd name="connsiteY984" fmla="*/ 925091 h 1786050"/>
              <a:gd name="connsiteX985" fmla="*/ 4577006 w 4664922"/>
              <a:gd name="connsiteY985" fmla="*/ 924686 h 1786050"/>
              <a:gd name="connsiteX986" fmla="*/ 4573940 w 4664922"/>
              <a:gd name="connsiteY986" fmla="*/ 926074 h 1786050"/>
              <a:gd name="connsiteX987" fmla="*/ 4569544 w 4664922"/>
              <a:gd name="connsiteY987" fmla="*/ 927925 h 1786050"/>
              <a:gd name="connsiteX988" fmla="*/ 4564453 w 4664922"/>
              <a:gd name="connsiteY988" fmla="*/ 926363 h 1786050"/>
              <a:gd name="connsiteX989" fmla="*/ 4556876 w 4664922"/>
              <a:gd name="connsiteY989" fmla="*/ 924743 h 1786050"/>
              <a:gd name="connsiteX990" fmla="*/ 4541027 w 4664922"/>
              <a:gd name="connsiteY990" fmla="*/ 916414 h 1786050"/>
              <a:gd name="connsiteX991" fmla="*/ 4531193 w 4664922"/>
              <a:gd name="connsiteY991" fmla="*/ 912191 h 1786050"/>
              <a:gd name="connsiteX992" fmla="*/ 4514650 w 4664922"/>
              <a:gd name="connsiteY992" fmla="*/ 906580 h 1786050"/>
              <a:gd name="connsiteX993" fmla="*/ 4494694 w 4664922"/>
              <a:gd name="connsiteY993" fmla="*/ 882344 h 1786050"/>
              <a:gd name="connsiteX994" fmla="*/ 4459987 w 4664922"/>
              <a:gd name="connsiteY994" fmla="*/ 867767 h 1786050"/>
              <a:gd name="connsiteX995" fmla="*/ 4453797 w 4664922"/>
              <a:gd name="connsiteY995" fmla="*/ 868982 h 1786050"/>
              <a:gd name="connsiteX996" fmla="*/ 4438064 w 4664922"/>
              <a:gd name="connsiteY996" fmla="*/ 872394 h 1786050"/>
              <a:gd name="connsiteX997" fmla="*/ 4423892 w 4664922"/>
              <a:gd name="connsiteY997" fmla="*/ 867477 h 1786050"/>
              <a:gd name="connsiteX998" fmla="*/ 4420074 w 4664922"/>
              <a:gd name="connsiteY998" fmla="*/ 862676 h 1786050"/>
              <a:gd name="connsiteX999" fmla="*/ 4414290 w 4664922"/>
              <a:gd name="connsiteY999" fmla="*/ 848042 h 1786050"/>
              <a:gd name="connsiteX1000" fmla="*/ 4417413 w 4664922"/>
              <a:gd name="connsiteY1000" fmla="*/ 842547 h 1786050"/>
              <a:gd name="connsiteX1001" fmla="*/ 4421694 w 4664922"/>
              <a:gd name="connsiteY1001" fmla="*/ 834217 h 1786050"/>
              <a:gd name="connsiteX1002" fmla="*/ 4419380 w 4664922"/>
              <a:gd name="connsiteY1002" fmla="*/ 835027 h 1786050"/>
              <a:gd name="connsiteX1003" fmla="*/ 4411802 w 4664922"/>
              <a:gd name="connsiteY1003" fmla="*/ 837283 h 1786050"/>
              <a:gd name="connsiteX1004" fmla="*/ 4408042 w 4664922"/>
              <a:gd name="connsiteY1004" fmla="*/ 836531 h 1786050"/>
              <a:gd name="connsiteX1005" fmla="*/ 4404456 w 4664922"/>
              <a:gd name="connsiteY1005" fmla="*/ 836010 h 1786050"/>
              <a:gd name="connsiteX1006" fmla="*/ 4401564 w 4664922"/>
              <a:gd name="connsiteY1006" fmla="*/ 839192 h 1786050"/>
              <a:gd name="connsiteX1007" fmla="*/ 4394218 w 4664922"/>
              <a:gd name="connsiteY1007" fmla="*/ 844976 h 1786050"/>
              <a:gd name="connsiteX1008" fmla="*/ 4389128 w 4664922"/>
              <a:gd name="connsiteY1008" fmla="*/ 848852 h 1786050"/>
              <a:gd name="connsiteX1009" fmla="*/ 4392772 w 4664922"/>
              <a:gd name="connsiteY1009" fmla="*/ 856198 h 1786050"/>
              <a:gd name="connsiteX1010" fmla="*/ 4402085 w 4664922"/>
              <a:gd name="connsiteY1010" fmla="*/ 868114 h 1786050"/>
              <a:gd name="connsiteX1011" fmla="*/ 4397631 w 4664922"/>
              <a:gd name="connsiteY1011" fmla="*/ 874361 h 1786050"/>
              <a:gd name="connsiteX1012" fmla="*/ 4392656 w 4664922"/>
              <a:gd name="connsiteY1012" fmla="*/ 880955 h 1786050"/>
              <a:gd name="connsiteX1013" fmla="*/ 4390400 w 4664922"/>
              <a:gd name="connsiteY1013" fmla="*/ 888012 h 1786050"/>
              <a:gd name="connsiteX1014" fmla="*/ 4362693 w 4664922"/>
              <a:gd name="connsiteY1014" fmla="*/ 903283 h 1786050"/>
              <a:gd name="connsiteX1015" fmla="*/ 4353553 w 4664922"/>
              <a:gd name="connsiteY1015" fmla="*/ 907101 h 1786050"/>
              <a:gd name="connsiteX1016" fmla="*/ 4332672 w 4664922"/>
              <a:gd name="connsiteY1016" fmla="*/ 911208 h 1786050"/>
              <a:gd name="connsiteX1017" fmla="*/ 4321103 w 4664922"/>
              <a:gd name="connsiteY1017" fmla="*/ 909010 h 1786050"/>
              <a:gd name="connsiteX1018" fmla="*/ 4316475 w 4664922"/>
              <a:gd name="connsiteY1018" fmla="*/ 903804 h 1786050"/>
              <a:gd name="connsiteX1019" fmla="*/ 4306700 w 4664922"/>
              <a:gd name="connsiteY1019" fmla="*/ 895821 h 1786050"/>
              <a:gd name="connsiteX1020" fmla="*/ 4296692 w 4664922"/>
              <a:gd name="connsiteY1020" fmla="*/ 894028 h 1786050"/>
              <a:gd name="connsiteX1021" fmla="*/ 4281653 w 4664922"/>
              <a:gd name="connsiteY1021" fmla="*/ 899061 h 1786050"/>
              <a:gd name="connsiteX1022" fmla="*/ 4281132 w 4664922"/>
              <a:gd name="connsiteY1022" fmla="*/ 902068 h 1786050"/>
              <a:gd name="connsiteX1023" fmla="*/ 4293685 w 4664922"/>
              <a:gd name="connsiteY1023" fmla="*/ 908663 h 1786050"/>
              <a:gd name="connsiteX1024" fmla="*/ 4302476 w 4664922"/>
              <a:gd name="connsiteY1024" fmla="*/ 906291 h 1786050"/>
              <a:gd name="connsiteX1025" fmla="*/ 4307220 w 4664922"/>
              <a:gd name="connsiteY1025" fmla="*/ 904614 h 1786050"/>
              <a:gd name="connsiteX1026" fmla="*/ 4312657 w 4664922"/>
              <a:gd name="connsiteY1026" fmla="*/ 916530 h 1786050"/>
              <a:gd name="connsiteX1027" fmla="*/ 4316591 w 4664922"/>
              <a:gd name="connsiteY1027" fmla="*/ 923297 h 1786050"/>
              <a:gd name="connsiteX1028" fmla="*/ 4327003 w 4664922"/>
              <a:gd name="connsiteY1028" fmla="*/ 925785 h 1786050"/>
              <a:gd name="connsiteX1029" fmla="*/ 4329258 w 4664922"/>
              <a:gd name="connsiteY1029" fmla="*/ 924917 h 1786050"/>
              <a:gd name="connsiteX1030" fmla="*/ 4339729 w 4664922"/>
              <a:gd name="connsiteY1030" fmla="*/ 933189 h 1786050"/>
              <a:gd name="connsiteX1031" fmla="*/ 4347364 w 4664922"/>
              <a:gd name="connsiteY1031" fmla="*/ 953608 h 1786050"/>
              <a:gd name="connsiteX1032" fmla="*/ 4355000 w 4664922"/>
              <a:gd name="connsiteY1032" fmla="*/ 965929 h 1786050"/>
              <a:gd name="connsiteX1033" fmla="*/ 4363156 w 4664922"/>
              <a:gd name="connsiteY1033" fmla="*/ 978423 h 1786050"/>
              <a:gd name="connsiteX1034" fmla="*/ 4365701 w 4664922"/>
              <a:gd name="connsiteY1034" fmla="*/ 985249 h 1786050"/>
              <a:gd name="connsiteX1035" fmla="*/ 4363676 w 4664922"/>
              <a:gd name="connsiteY1035" fmla="*/ 1001329 h 1786050"/>
              <a:gd name="connsiteX1036" fmla="*/ 4350314 w 4664922"/>
              <a:gd name="connsiteY1036" fmla="*/ 1007923 h 1786050"/>
              <a:gd name="connsiteX1037" fmla="*/ 4340133 w 4664922"/>
              <a:gd name="connsiteY1037" fmla="*/ 1005957 h 1786050"/>
              <a:gd name="connsiteX1038" fmla="*/ 4332730 w 4664922"/>
              <a:gd name="connsiteY1038" fmla="*/ 1004048 h 1786050"/>
              <a:gd name="connsiteX1039" fmla="*/ 4320177 w 4664922"/>
              <a:gd name="connsiteY1039" fmla="*/ 1002370 h 1786050"/>
              <a:gd name="connsiteX1040" fmla="*/ 4307625 w 4664922"/>
              <a:gd name="connsiteY1040" fmla="*/ 997164 h 1786050"/>
              <a:gd name="connsiteX1041" fmla="*/ 4304096 w 4664922"/>
              <a:gd name="connsiteY1041" fmla="*/ 995082 h 1786050"/>
              <a:gd name="connsiteX1042" fmla="*/ 4299238 w 4664922"/>
              <a:gd name="connsiteY1042" fmla="*/ 997107 h 1786050"/>
              <a:gd name="connsiteX1043" fmla="*/ 4299238 w 4664922"/>
              <a:gd name="connsiteY1043" fmla="*/ 999016 h 1786050"/>
              <a:gd name="connsiteX1044" fmla="*/ 4298775 w 4664922"/>
              <a:gd name="connsiteY1044" fmla="*/ 1001503 h 1786050"/>
              <a:gd name="connsiteX1045" fmla="*/ 4241451 w 4664922"/>
              <a:gd name="connsiteY1045" fmla="*/ 1028285 h 1786050"/>
              <a:gd name="connsiteX1046" fmla="*/ 4196217 w 4664922"/>
              <a:gd name="connsiteY1046" fmla="*/ 1048183 h 1786050"/>
              <a:gd name="connsiteX1047" fmla="*/ 4189912 w 4664922"/>
              <a:gd name="connsiteY1047" fmla="*/ 1052926 h 1786050"/>
              <a:gd name="connsiteX1048" fmla="*/ 4180309 w 4664922"/>
              <a:gd name="connsiteY1048" fmla="*/ 1058711 h 1786050"/>
              <a:gd name="connsiteX1049" fmla="*/ 4173716 w 4664922"/>
              <a:gd name="connsiteY1049" fmla="*/ 1064495 h 1786050"/>
              <a:gd name="connsiteX1050" fmla="*/ 4163940 w 4664922"/>
              <a:gd name="connsiteY1050" fmla="*/ 1069990 h 1786050"/>
              <a:gd name="connsiteX1051" fmla="*/ 4123969 w 4664922"/>
              <a:gd name="connsiteY1051" fmla="*/ 1092376 h 1786050"/>
              <a:gd name="connsiteX1052" fmla="*/ 4119226 w 4664922"/>
              <a:gd name="connsiteY1052" fmla="*/ 1099607 h 1786050"/>
              <a:gd name="connsiteX1053" fmla="*/ 4112632 w 4664922"/>
              <a:gd name="connsiteY1053" fmla="*/ 1108573 h 1786050"/>
              <a:gd name="connsiteX1054" fmla="*/ 4103319 w 4664922"/>
              <a:gd name="connsiteY1054" fmla="*/ 1102152 h 1786050"/>
              <a:gd name="connsiteX1055" fmla="*/ 4091750 w 4664922"/>
              <a:gd name="connsiteY1055" fmla="*/ 1091104 h 1786050"/>
              <a:gd name="connsiteX1056" fmla="*/ 4065084 w 4664922"/>
              <a:gd name="connsiteY1056" fmla="*/ 1087055 h 1786050"/>
              <a:gd name="connsiteX1057" fmla="*/ 4024593 w 4664922"/>
              <a:gd name="connsiteY1057" fmla="*/ 1096252 h 1786050"/>
              <a:gd name="connsiteX1058" fmla="*/ 4009611 w 4664922"/>
              <a:gd name="connsiteY1058" fmla="*/ 1108341 h 1786050"/>
              <a:gd name="connsiteX1059" fmla="*/ 4001050 w 4664922"/>
              <a:gd name="connsiteY1059" fmla="*/ 1114126 h 1786050"/>
              <a:gd name="connsiteX1060" fmla="*/ 3997464 w 4664922"/>
              <a:gd name="connsiteY1060" fmla="*/ 1110076 h 1786050"/>
              <a:gd name="connsiteX1061" fmla="*/ 3997001 w 4664922"/>
              <a:gd name="connsiteY1061" fmla="*/ 1098797 h 1786050"/>
              <a:gd name="connsiteX1062" fmla="*/ 3995729 w 4664922"/>
              <a:gd name="connsiteY1062" fmla="*/ 1088154 h 1786050"/>
              <a:gd name="connsiteX1063" fmla="*/ 3992894 w 4664922"/>
              <a:gd name="connsiteY1063" fmla="*/ 1087112 h 1786050"/>
              <a:gd name="connsiteX1064" fmla="*/ 3974095 w 4664922"/>
              <a:gd name="connsiteY1064" fmla="*/ 1103829 h 1786050"/>
              <a:gd name="connsiteX1065" fmla="*/ 3966170 w 4664922"/>
              <a:gd name="connsiteY1065" fmla="*/ 1113085 h 1786050"/>
              <a:gd name="connsiteX1066" fmla="*/ 3962237 w 4664922"/>
              <a:gd name="connsiteY1066" fmla="*/ 1115051 h 1786050"/>
              <a:gd name="connsiteX1067" fmla="*/ 3958361 w 4664922"/>
              <a:gd name="connsiteY1067" fmla="*/ 1111407 h 1786050"/>
              <a:gd name="connsiteX1068" fmla="*/ 3955180 w 4664922"/>
              <a:gd name="connsiteY1068" fmla="*/ 1108515 h 1786050"/>
              <a:gd name="connsiteX1069" fmla="*/ 3946098 w 4664922"/>
              <a:gd name="connsiteY1069" fmla="*/ 1107878 h 1786050"/>
              <a:gd name="connsiteX1070" fmla="*/ 3937942 w 4664922"/>
              <a:gd name="connsiteY1070" fmla="*/ 1107011 h 1786050"/>
              <a:gd name="connsiteX1071" fmla="*/ 3932158 w 4664922"/>
              <a:gd name="connsiteY1071" fmla="*/ 1109209 h 1786050"/>
              <a:gd name="connsiteX1072" fmla="*/ 3927298 w 4664922"/>
              <a:gd name="connsiteY1072" fmla="*/ 1116092 h 1786050"/>
              <a:gd name="connsiteX1073" fmla="*/ 3911739 w 4664922"/>
              <a:gd name="connsiteY1073" fmla="*/ 1143163 h 1786050"/>
              <a:gd name="connsiteX1074" fmla="*/ 3901674 w 4664922"/>
              <a:gd name="connsiteY1074" fmla="*/ 1155831 h 1786050"/>
              <a:gd name="connsiteX1075" fmla="*/ 3888485 w 4664922"/>
              <a:gd name="connsiteY1075" fmla="*/ 1167805 h 1786050"/>
              <a:gd name="connsiteX1076" fmla="*/ 3884957 w 4664922"/>
              <a:gd name="connsiteY1076" fmla="*/ 1189786 h 1786050"/>
              <a:gd name="connsiteX1077" fmla="*/ 3890741 w 4664922"/>
              <a:gd name="connsiteY1077" fmla="*/ 1194298 h 1786050"/>
              <a:gd name="connsiteX1078" fmla="*/ 3896526 w 4664922"/>
              <a:gd name="connsiteY1078" fmla="*/ 1193199 h 1786050"/>
              <a:gd name="connsiteX1079" fmla="*/ 3902310 w 4664922"/>
              <a:gd name="connsiteY1079" fmla="*/ 1192215 h 1786050"/>
              <a:gd name="connsiteX1080" fmla="*/ 3908441 w 4664922"/>
              <a:gd name="connsiteY1080" fmla="*/ 1193141 h 1786050"/>
              <a:gd name="connsiteX1081" fmla="*/ 3918101 w 4664922"/>
              <a:gd name="connsiteY1081" fmla="*/ 1198925 h 1786050"/>
              <a:gd name="connsiteX1082" fmla="*/ 3909598 w 4664922"/>
              <a:gd name="connsiteY1082" fmla="*/ 1209800 h 1786050"/>
              <a:gd name="connsiteX1083" fmla="*/ 3900864 w 4664922"/>
              <a:gd name="connsiteY1083" fmla="*/ 1235830 h 1786050"/>
              <a:gd name="connsiteX1084" fmla="*/ 3903004 w 4664922"/>
              <a:gd name="connsiteY1084" fmla="*/ 1238491 h 1786050"/>
              <a:gd name="connsiteX1085" fmla="*/ 3903872 w 4664922"/>
              <a:gd name="connsiteY1085" fmla="*/ 1238491 h 1786050"/>
              <a:gd name="connsiteX1086" fmla="*/ 3919027 w 4664922"/>
              <a:gd name="connsiteY1086" fmla="*/ 1250060 h 1786050"/>
              <a:gd name="connsiteX1087" fmla="*/ 3916945 w 4664922"/>
              <a:gd name="connsiteY1087" fmla="*/ 1258794 h 1786050"/>
              <a:gd name="connsiteX1088" fmla="*/ 3909425 w 4664922"/>
              <a:gd name="connsiteY1088" fmla="*/ 1262091 h 1786050"/>
              <a:gd name="connsiteX1089" fmla="*/ 3903930 w 4664922"/>
              <a:gd name="connsiteY1089" fmla="*/ 1260992 h 1786050"/>
              <a:gd name="connsiteX1090" fmla="*/ 3895542 w 4664922"/>
              <a:gd name="connsiteY1090" fmla="*/ 1260240 h 1786050"/>
              <a:gd name="connsiteX1091" fmla="*/ 3877264 w 4664922"/>
              <a:gd name="connsiteY1091" fmla="*/ 1284940 h 1786050"/>
              <a:gd name="connsiteX1092" fmla="*/ 3876685 w 4664922"/>
              <a:gd name="connsiteY1092" fmla="*/ 1291650 h 1786050"/>
              <a:gd name="connsiteX1093" fmla="*/ 3878073 w 4664922"/>
              <a:gd name="connsiteY1093" fmla="*/ 1293385 h 1786050"/>
              <a:gd name="connsiteX1094" fmla="*/ 3881428 w 4664922"/>
              <a:gd name="connsiteY1094" fmla="*/ 1320167 h 1786050"/>
              <a:gd name="connsiteX1095" fmla="*/ 3869050 w 4664922"/>
              <a:gd name="connsiteY1095" fmla="*/ 1324910 h 1786050"/>
              <a:gd name="connsiteX1096" fmla="*/ 3862281 w 4664922"/>
              <a:gd name="connsiteY1096" fmla="*/ 1324332 h 1786050"/>
              <a:gd name="connsiteX1097" fmla="*/ 3856092 w 4664922"/>
              <a:gd name="connsiteY1097" fmla="*/ 1323753 h 1786050"/>
              <a:gd name="connsiteX1098" fmla="*/ 3848630 w 4664922"/>
              <a:gd name="connsiteY1098" fmla="*/ 1325894 h 1786050"/>
              <a:gd name="connsiteX1099" fmla="*/ 3842846 w 4664922"/>
              <a:gd name="connsiteY1099" fmla="*/ 1329885 h 1786050"/>
              <a:gd name="connsiteX1100" fmla="*/ 3822832 w 4664922"/>
              <a:gd name="connsiteY1100" fmla="*/ 1349725 h 1786050"/>
              <a:gd name="connsiteX1101" fmla="*/ 3824567 w 4664922"/>
              <a:gd name="connsiteY1101" fmla="*/ 1355510 h 1786050"/>
              <a:gd name="connsiteX1102" fmla="*/ 3824567 w 4664922"/>
              <a:gd name="connsiteY1102" fmla="*/ 1374309 h 1786050"/>
              <a:gd name="connsiteX1103" fmla="*/ 3816180 w 4664922"/>
              <a:gd name="connsiteY1103" fmla="*/ 1375177 h 1786050"/>
              <a:gd name="connsiteX1104" fmla="*/ 3804611 w 4664922"/>
              <a:gd name="connsiteY1104" fmla="*/ 1378011 h 1786050"/>
              <a:gd name="connsiteX1105" fmla="*/ 3794604 w 4664922"/>
              <a:gd name="connsiteY1105" fmla="*/ 1384548 h 1786050"/>
              <a:gd name="connsiteX1106" fmla="*/ 3786159 w 4664922"/>
              <a:gd name="connsiteY1106" fmla="*/ 1390332 h 1786050"/>
              <a:gd name="connsiteX1107" fmla="*/ 3785291 w 4664922"/>
              <a:gd name="connsiteY1107" fmla="*/ 1398662 h 1786050"/>
              <a:gd name="connsiteX1108" fmla="*/ 3779507 w 4664922"/>
              <a:gd name="connsiteY1108" fmla="*/ 1418734 h 1786050"/>
              <a:gd name="connsiteX1109" fmla="*/ 3774474 w 4664922"/>
              <a:gd name="connsiteY1109" fmla="*/ 1424518 h 1786050"/>
              <a:gd name="connsiteX1110" fmla="*/ 3765855 w 4664922"/>
              <a:gd name="connsiteY1110" fmla="*/ 1434583 h 1786050"/>
              <a:gd name="connsiteX1111" fmla="*/ 3754287 w 4664922"/>
              <a:gd name="connsiteY1111" fmla="*/ 1446152 h 1786050"/>
              <a:gd name="connsiteX1112" fmla="*/ 3737570 w 4664922"/>
              <a:gd name="connsiteY1112" fmla="*/ 1460092 h 1786050"/>
              <a:gd name="connsiteX1113" fmla="*/ 3735660 w 4664922"/>
              <a:gd name="connsiteY1113" fmla="*/ 1459282 h 1786050"/>
              <a:gd name="connsiteX1114" fmla="*/ 3732653 w 4664922"/>
              <a:gd name="connsiteY1114" fmla="*/ 1450895 h 1786050"/>
              <a:gd name="connsiteX1115" fmla="*/ 3728372 w 4664922"/>
              <a:gd name="connsiteY1115" fmla="*/ 1439326 h 1786050"/>
              <a:gd name="connsiteX1116" fmla="*/ 3724323 w 4664922"/>
              <a:gd name="connsiteY1116" fmla="*/ 1418618 h 1786050"/>
              <a:gd name="connsiteX1117" fmla="*/ 3719753 w 4664922"/>
              <a:gd name="connsiteY1117" fmla="*/ 1392704 h 1786050"/>
              <a:gd name="connsiteX1118" fmla="*/ 3704598 w 4664922"/>
              <a:gd name="connsiteY1118" fmla="*/ 1291187 h 1786050"/>
              <a:gd name="connsiteX1119" fmla="*/ 3729992 w 4664922"/>
              <a:gd name="connsiteY1119" fmla="*/ 1227558 h 1786050"/>
              <a:gd name="connsiteX1120" fmla="*/ 3737280 w 4664922"/>
              <a:gd name="connsiteY1120" fmla="*/ 1201933 h 1786050"/>
              <a:gd name="connsiteX1121" fmla="*/ 3739941 w 4664922"/>
              <a:gd name="connsiteY1121" fmla="*/ 1194067 h 1786050"/>
              <a:gd name="connsiteX1122" fmla="*/ 3746015 w 4664922"/>
              <a:gd name="connsiteY1122" fmla="*/ 1193662 h 1786050"/>
              <a:gd name="connsiteX1123" fmla="*/ 3764409 w 4664922"/>
              <a:gd name="connsiteY1123" fmla="*/ 1189902 h 1786050"/>
              <a:gd name="connsiteX1124" fmla="*/ 3772854 w 4664922"/>
              <a:gd name="connsiteY1124" fmla="*/ 1184522 h 1786050"/>
              <a:gd name="connsiteX1125" fmla="*/ 3809412 w 4664922"/>
              <a:gd name="connsiteY1125" fmla="*/ 1158608 h 1786050"/>
              <a:gd name="connsiteX1126" fmla="*/ 3842557 w 4664922"/>
              <a:gd name="connsiteY1126" fmla="*/ 1127719 h 1786050"/>
              <a:gd name="connsiteX1127" fmla="*/ 3859910 w 4664922"/>
              <a:gd name="connsiteY1127" fmla="*/ 1112275 h 1786050"/>
              <a:gd name="connsiteX1128" fmla="*/ 3872925 w 4664922"/>
              <a:gd name="connsiteY1128" fmla="*/ 1099144 h 1786050"/>
              <a:gd name="connsiteX1129" fmla="*/ 3882007 w 4664922"/>
              <a:gd name="connsiteY1129" fmla="*/ 1088096 h 1786050"/>
              <a:gd name="connsiteX1130" fmla="*/ 3911449 w 4664922"/>
              <a:gd name="connsiteY1130" fmla="*/ 1072998 h 1786050"/>
              <a:gd name="connsiteX1131" fmla="*/ 3918680 w 4664922"/>
              <a:gd name="connsiteY1131" fmla="*/ 1071321 h 1786050"/>
              <a:gd name="connsiteX1132" fmla="*/ 3925910 w 4664922"/>
              <a:gd name="connsiteY1132" fmla="*/ 1061082 h 1786050"/>
              <a:gd name="connsiteX1133" fmla="*/ 3925910 w 4664922"/>
              <a:gd name="connsiteY1133" fmla="*/ 1059868 h 1786050"/>
              <a:gd name="connsiteX1134" fmla="*/ 3931695 w 4664922"/>
              <a:gd name="connsiteY1134" fmla="*/ 1053273 h 1786050"/>
              <a:gd name="connsiteX1135" fmla="*/ 3935223 w 4664922"/>
              <a:gd name="connsiteY1135" fmla="*/ 1050266 h 1786050"/>
              <a:gd name="connsiteX1136" fmla="*/ 3934298 w 4664922"/>
              <a:gd name="connsiteY1136" fmla="*/ 1048646 h 1786050"/>
              <a:gd name="connsiteX1137" fmla="*/ 3934298 w 4664922"/>
              <a:gd name="connsiteY1137" fmla="*/ 1038581 h 1786050"/>
              <a:gd name="connsiteX1138" fmla="*/ 3938173 w 4664922"/>
              <a:gd name="connsiteY1138" fmla="*/ 1024409 h 1786050"/>
              <a:gd name="connsiteX1139" fmla="*/ 3944305 w 4664922"/>
              <a:gd name="connsiteY1139" fmla="*/ 1007056 h 1786050"/>
              <a:gd name="connsiteX1140" fmla="*/ 3960154 w 4664922"/>
              <a:gd name="connsiteY1140" fmla="*/ 1002370 h 1786050"/>
              <a:gd name="connsiteX1141" fmla="*/ 3965533 w 4664922"/>
              <a:gd name="connsiteY1141" fmla="*/ 1003238 h 1786050"/>
              <a:gd name="connsiteX1142" fmla="*/ 3967327 w 4664922"/>
              <a:gd name="connsiteY1142" fmla="*/ 1002891 h 1786050"/>
              <a:gd name="connsiteX1143" fmla="*/ 3959807 w 4664922"/>
              <a:gd name="connsiteY1143" fmla="*/ 998090 h 1786050"/>
              <a:gd name="connsiteX1144" fmla="*/ 3948643 w 4664922"/>
              <a:gd name="connsiteY1144" fmla="*/ 996355 h 1786050"/>
              <a:gd name="connsiteX1145" fmla="*/ 3914573 w 4664922"/>
              <a:gd name="connsiteY1145" fmla="*/ 1013708 h 1786050"/>
              <a:gd name="connsiteX1146" fmla="*/ 3915209 w 4664922"/>
              <a:gd name="connsiteY1146" fmla="*/ 1027648 h 1786050"/>
              <a:gd name="connsiteX1147" fmla="*/ 3914110 w 4664922"/>
              <a:gd name="connsiteY1147" fmla="*/ 1039796 h 1786050"/>
              <a:gd name="connsiteX1148" fmla="*/ 3907689 w 4664922"/>
              <a:gd name="connsiteY1148" fmla="*/ 1041415 h 1786050"/>
              <a:gd name="connsiteX1149" fmla="*/ 3904450 w 4664922"/>
              <a:gd name="connsiteY1149" fmla="*/ 1041415 h 1786050"/>
              <a:gd name="connsiteX1150" fmla="*/ 3863381 w 4664922"/>
              <a:gd name="connsiteY1150" fmla="*/ 1062702 h 1786050"/>
              <a:gd name="connsiteX1151" fmla="*/ 3833938 w 4664922"/>
              <a:gd name="connsiteY1151" fmla="*/ 1079188 h 1786050"/>
              <a:gd name="connsiteX1152" fmla="*/ 3828153 w 4664922"/>
              <a:gd name="connsiteY1152" fmla="*/ 1076874 h 1786050"/>
              <a:gd name="connsiteX1153" fmla="*/ 3832781 w 4664922"/>
              <a:gd name="connsiteY1153" fmla="*/ 1070742 h 1786050"/>
              <a:gd name="connsiteX1154" fmla="*/ 3837004 w 4664922"/>
              <a:gd name="connsiteY1154" fmla="*/ 1066983 h 1786050"/>
              <a:gd name="connsiteX1155" fmla="*/ 3835963 w 4664922"/>
              <a:gd name="connsiteY1155" fmla="*/ 1066115 h 1786050"/>
              <a:gd name="connsiteX1156" fmla="*/ 3828905 w 4664922"/>
              <a:gd name="connsiteY1156" fmla="*/ 1064727 h 1786050"/>
              <a:gd name="connsiteX1157" fmla="*/ 3820171 w 4664922"/>
              <a:gd name="connsiteY1157" fmla="*/ 1061545 h 1786050"/>
              <a:gd name="connsiteX1158" fmla="*/ 3820171 w 4664922"/>
              <a:gd name="connsiteY1158" fmla="*/ 1054257 h 1786050"/>
              <a:gd name="connsiteX1159" fmla="*/ 3829542 w 4664922"/>
              <a:gd name="connsiteY1159" fmla="*/ 1039796 h 1786050"/>
              <a:gd name="connsiteX1160" fmla="*/ 3834979 w 4664922"/>
              <a:gd name="connsiteY1160" fmla="*/ 1031350 h 1786050"/>
              <a:gd name="connsiteX1161" fmla="*/ 3833996 w 4664922"/>
              <a:gd name="connsiteY1161" fmla="*/ 1030136 h 1786050"/>
              <a:gd name="connsiteX1162" fmla="*/ 3824162 w 4664922"/>
              <a:gd name="connsiteY1162" fmla="*/ 1033838 h 1786050"/>
              <a:gd name="connsiteX1163" fmla="*/ 3816006 w 4664922"/>
              <a:gd name="connsiteY1163" fmla="*/ 1038176 h 1786050"/>
              <a:gd name="connsiteX1164" fmla="*/ 3814386 w 4664922"/>
              <a:gd name="connsiteY1164" fmla="*/ 1037887 h 1786050"/>
              <a:gd name="connsiteX1165" fmla="*/ 3809643 w 4664922"/>
              <a:gd name="connsiteY1165" fmla="*/ 1032854 h 1786050"/>
              <a:gd name="connsiteX1166" fmla="*/ 3803859 w 4664922"/>
              <a:gd name="connsiteY1166" fmla="*/ 1027938 h 1786050"/>
              <a:gd name="connsiteX1167" fmla="*/ 3797322 w 4664922"/>
              <a:gd name="connsiteY1167" fmla="*/ 1030136 h 1786050"/>
              <a:gd name="connsiteX1168" fmla="*/ 3772507 w 4664922"/>
              <a:gd name="connsiteY1168" fmla="*/ 1035052 h 1786050"/>
              <a:gd name="connsiteX1169" fmla="*/ 3760938 w 4664922"/>
              <a:gd name="connsiteY1169" fmla="*/ 1034590 h 1786050"/>
              <a:gd name="connsiteX1170" fmla="*/ 3752262 w 4664922"/>
              <a:gd name="connsiteY1170" fmla="*/ 1034590 h 1786050"/>
              <a:gd name="connsiteX1171" fmla="*/ 3738784 w 4664922"/>
              <a:gd name="connsiteY1171" fmla="*/ 1058479 h 1786050"/>
              <a:gd name="connsiteX1172" fmla="*/ 3732537 w 4664922"/>
              <a:gd name="connsiteY1172" fmla="*/ 1064264 h 1786050"/>
              <a:gd name="connsiteX1173" fmla="*/ 3718192 w 4664922"/>
              <a:gd name="connsiteY1173" fmla="*/ 1071321 h 1786050"/>
              <a:gd name="connsiteX1174" fmla="*/ 3706044 w 4664922"/>
              <a:gd name="connsiteY1174" fmla="*/ 1080460 h 1786050"/>
              <a:gd name="connsiteX1175" fmla="*/ 3678452 w 4664922"/>
              <a:gd name="connsiteY1175" fmla="*/ 1106606 h 1786050"/>
              <a:gd name="connsiteX1176" fmla="*/ 3671916 w 4664922"/>
              <a:gd name="connsiteY1176" fmla="*/ 1125463 h 1786050"/>
              <a:gd name="connsiteX1177" fmla="*/ 3679494 w 4664922"/>
              <a:gd name="connsiteY1177" fmla="*/ 1127893 h 1786050"/>
              <a:gd name="connsiteX1178" fmla="*/ 3694707 w 4664922"/>
              <a:gd name="connsiteY1178" fmla="*/ 1135875 h 1786050"/>
              <a:gd name="connsiteX1179" fmla="*/ 3693550 w 4664922"/>
              <a:gd name="connsiteY1179" fmla="*/ 1138015 h 1786050"/>
              <a:gd name="connsiteX1180" fmla="*/ 3690368 w 4664922"/>
              <a:gd name="connsiteY1180" fmla="*/ 1138652 h 1786050"/>
              <a:gd name="connsiteX1181" fmla="*/ 3688170 w 4664922"/>
              <a:gd name="connsiteY1181" fmla="*/ 1138652 h 1786050"/>
              <a:gd name="connsiteX1182" fmla="*/ 3662892 w 4664922"/>
              <a:gd name="connsiteY1182" fmla="*/ 1145246 h 1786050"/>
              <a:gd name="connsiteX1183" fmla="*/ 3658496 w 4664922"/>
              <a:gd name="connsiteY1183" fmla="*/ 1147155 h 1786050"/>
              <a:gd name="connsiteX1184" fmla="*/ 3653868 w 4664922"/>
              <a:gd name="connsiteY1184" fmla="*/ 1145593 h 1786050"/>
              <a:gd name="connsiteX1185" fmla="*/ 3648663 w 4664922"/>
              <a:gd name="connsiteY1185" fmla="*/ 1143973 h 1786050"/>
              <a:gd name="connsiteX1186" fmla="*/ 3643341 w 4664922"/>
              <a:gd name="connsiteY1186" fmla="*/ 1145766 h 1786050"/>
              <a:gd name="connsiteX1187" fmla="*/ 3622517 w 4664922"/>
              <a:gd name="connsiteY1187" fmla="*/ 1151551 h 1786050"/>
              <a:gd name="connsiteX1188" fmla="*/ 3613956 w 4664922"/>
              <a:gd name="connsiteY1188" fmla="*/ 1150972 h 1786050"/>
              <a:gd name="connsiteX1189" fmla="*/ 3604644 w 4664922"/>
              <a:gd name="connsiteY1189" fmla="*/ 1153402 h 1786050"/>
              <a:gd name="connsiteX1190" fmla="*/ 3592554 w 4664922"/>
              <a:gd name="connsiteY1190" fmla="*/ 1156525 h 1786050"/>
              <a:gd name="connsiteX1191" fmla="*/ 3586075 w 4664922"/>
              <a:gd name="connsiteY1191" fmla="*/ 1154906 h 1786050"/>
              <a:gd name="connsiteX1192" fmla="*/ 3581910 w 4664922"/>
              <a:gd name="connsiteY1192" fmla="*/ 1148716 h 1786050"/>
              <a:gd name="connsiteX1193" fmla="*/ 3593479 w 4664922"/>
              <a:gd name="connsiteY1193" fmla="*/ 1143395 h 1786050"/>
              <a:gd name="connsiteX1194" fmla="*/ 3595446 w 4664922"/>
              <a:gd name="connsiteY1194" fmla="*/ 1143395 h 1786050"/>
              <a:gd name="connsiteX1195" fmla="*/ 3603718 w 4664922"/>
              <a:gd name="connsiteY1195" fmla="*/ 1139404 h 1786050"/>
              <a:gd name="connsiteX1196" fmla="*/ 3600016 w 4664922"/>
              <a:gd name="connsiteY1196" fmla="*/ 1137205 h 1786050"/>
              <a:gd name="connsiteX1197" fmla="*/ 3590877 w 4664922"/>
              <a:gd name="connsiteY1197" fmla="*/ 1130322 h 1786050"/>
              <a:gd name="connsiteX1198" fmla="*/ 3585555 w 4664922"/>
              <a:gd name="connsiteY1198" fmla="*/ 1125868 h 1786050"/>
              <a:gd name="connsiteX1199" fmla="*/ 3581852 w 4664922"/>
              <a:gd name="connsiteY1199" fmla="*/ 1127314 h 1786050"/>
              <a:gd name="connsiteX1200" fmla="*/ 3573292 w 4664922"/>
              <a:gd name="connsiteY1200" fmla="*/ 1130322 h 1786050"/>
              <a:gd name="connsiteX1201" fmla="*/ 3562243 w 4664922"/>
              <a:gd name="connsiteY1201" fmla="*/ 1125058 h 1786050"/>
              <a:gd name="connsiteX1202" fmla="*/ 3559929 w 4664922"/>
              <a:gd name="connsiteY1202" fmla="*/ 1123265 h 1786050"/>
              <a:gd name="connsiteX1203" fmla="*/ 3543213 w 4664922"/>
              <a:gd name="connsiteY1203" fmla="*/ 1119910 h 1786050"/>
              <a:gd name="connsiteX1204" fmla="*/ 3523256 w 4664922"/>
              <a:gd name="connsiteY1204" fmla="*/ 1127314 h 1786050"/>
              <a:gd name="connsiteX1205" fmla="*/ 3510068 w 4664922"/>
              <a:gd name="connsiteY1205" fmla="*/ 1136453 h 1786050"/>
              <a:gd name="connsiteX1206" fmla="*/ 3499251 w 4664922"/>
              <a:gd name="connsiteY1206" fmla="*/ 1134313 h 1786050"/>
              <a:gd name="connsiteX1207" fmla="*/ 3488839 w 4664922"/>
              <a:gd name="connsiteY1207" fmla="*/ 1135528 h 1786050"/>
              <a:gd name="connsiteX1208" fmla="*/ 3476923 w 4664922"/>
              <a:gd name="connsiteY1208" fmla="*/ 1138247 h 1786050"/>
              <a:gd name="connsiteX1209" fmla="*/ 3473221 w 4664922"/>
              <a:gd name="connsiteY1209" fmla="*/ 1138247 h 1786050"/>
              <a:gd name="connsiteX1210" fmla="*/ 3466569 w 4664922"/>
              <a:gd name="connsiteY1210" fmla="*/ 1137379 h 1786050"/>
              <a:gd name="connsiteX1211" fmla="*/ 3455000 w 4664922"/>
              <a:gd name="connsiteY1211" fmla="*/ 1136280 h 1786050"/>
              <a:gd name="connsiteX1212" fmla="*/ 3448464 w 4664922"/>
              <a:gd name="connsiteY1212" fmla="*/ 1138247 h 1786050"/>
              <a:gd name="connsiteX1213" fmla="*/ 3440539 w 4664922"/>
              <a:gd name="connsiteY1213" fmla="*/ 1142701 h 1786050"/>
              <a:gd name="connsiteX1214" fmla="*/ 3432672 w 4664922"/>
              <a:gd name="connsiteY1214" fmla="*/ 1138709 h 1786050"/>
              <a:gd name="connsiteX1215" fmla="*/ 3390851 w 4664922"/>
              <a:gd name="connsiteY1215" fmla="*/ 1130322 h 1786050"/>
              <a:gd name="connsiteX1216" fmla="*/ 3374365 w 4664922"/>
              <a:gd name="connsiteY1216" fmla="*/ 1131710 h 1786050"/>
              <a:gd name="connsiteX1217" fmla="*/ 3323983 w 4664922"/>
              <a:gd name="connsiteY1217" fmla="*/ 1157335 h 1786050"/>
              <a:gd name="connsiteX1218" fmla="*/ 3309406 w 4664922"/>
              <a:gd name="connsiteY1218" fmla="*/ 1170408 h 1786050"/>
              <a:gd name="connsiteX1219" fmla="*/ 3293615 w 4664922"/>
              <a:gd name="connsiteY1219" fmla="*/ 1183192 h 1786050"/>
              <a:gd name="connsiteX1220" fmla="*/ 3263419 w 4664922"/>
              <a:gd name="connsiteY1220" fmla="*/ 1214312 h 1786050"/>
              <a:gd name="connsiteX1221" fmla="*/ 3241439 w 4664922"/>
              <a:gd name="connsiteY1221" fmla="*/ 1229698 h 1786050"/>
              <a:gd name="connsiteX1222" fmla="*/ 3224548 w 4664922"/>
              <a:gd name="connsiteY1222" fmla="*/ 1243292 h 1786050"/>
              <a:gd name="connsiteX1223" fmla="*/ 3224548 w 4664922"/>
              <a:gd name="connsiteY1223" fmla="*/ 1244160 h 1786050"/>
              <a:gd name="connsiteX1224" fmla="*/ 3209393 w 4664922"/>
              <a:gd name="connsiteY1224" fmla="*/ 1263653 h 1786050"/>
              <a:gd name="connsiteX1225" fmla="*/ 3196320 w 4664922"/>
              <a:gd name="connsiteY1225" fmla="*/ 1271578 h 1786050"/>
              <a:gd name="connsiteX1226" fmla="*/ 3174108 w 4664922"/>
              <a:gd name="connsiteY1226" fmla="*/ 1284303 h 1786050"/>
              <a:gd name="connsiteX1227" fmla="*/ 3168960 w 4664922"/>
              <a:gd name="connsiteY1227" fmla="*/ 1289394 h 1786050"/>
              <a:gd name="connsiteX1228" fmla="*/ 3156061 w 4664922"/>
              <a:gd name="connsiteY1228" fmla="*/ 1301252 h 1786050"/>
              <a:gd name="connsiteX1229" fmla="*/ 3144492 w 4664922"/>
              <a:gd name="connsiteY1229" fmla="*/ 1314498 h 1786050"/>
              <a:gd name="connsiteX1230" fmla="*/ 3154325 w 4664922"/>
              <a:gd name="connsiteY1230" fmla="*/ 1319357 h 1786050"/>
              <a:gd name="connsiteX1231" fmla="*/ 3174282 w 4664922"/>
              <a:gd name="connsiteY1231" fmla="*/ 1318258 h 1786050"/>
              <a:gd name="connsiteX1232" fmla="*/ 3182033 w 4664922"/>
              <a:gd name="connsiteY1232" fmla="*/ 1317506 h 1786050"/>
              <a:gd name="connsiteX1233" fmla="*/ 3186197 w 4664922"/>
              <a:gd name="connsiteY1233" fmla="*/ 1318894 h 1786050"/>
              <a:gd name="connsiteX1234" fmla="*/ 3186197 w 4664922"/>
              <a:gd name="connsiteY1234" fmla="*/ 1321613 h 1786050"/>
              <a:gd name="connsiteX1235" fmla="*/ 3186197 w 4664922"/>
              <a:gd name="connsiteY1235" fmla="*/ 1347180 h 1786050"/>
              <a:gd name="connsiteX1236" fmla="*/ 3188280 w 4664922"/>
              <a:gd name="connsiteY1236" fmla="*/ 1348048 h 1786050"/>
              <a:gd name="connsiteX1237" fmla="*/ 3195510 w 4664922"/>
              <a:gd name="connsiteY1237" fmla="*/ 1340123 h 1786050"/>
              <a:gd name="connsiteX1238" fmla="*/ 3204997 w 4664922"/>
              <a:gd name="connsiteY1238" fmla="*/ 1328554 h 1786050"/>
              <a:gd name="connsiteX1239" fmla="*/ 3209509 w 4664922"/>
              <a:gd name="connsiteY1239" fmla="*/ 1326761 h 1786050"/>
              <a:gd name="connsiteX1240" fmla="*/ 3211071 w 4664922"/>
              <a:gd name="connsiteY1240" fmla="*/ 1327513 h 1786050"/>
              <a:gd name="connsiteX1241" fmla="*/ 3209913 w 4664922"/>
              <a:gd name="connsiteY1241" fmla="*/ 1333298 h 1786050"/>
              <a:gd name="connsiteX1242" fmla="*/ 3207369 w 4664922"/>
              <a:gd name="connsiteY1242" fmla="*/ 1340586 h 1786050"/>
              <a:gd name="connsiteX1243" fmla="*/ 3209625 w 4664922"/>
              <a:gd name="connsiteY1243" fmla="*/ 1346949 h 1786050"/>
              <a:gd name="connsiteX1244" fmla="*/ 3208236 w 4664922"/>
              <a:gd name="connsiteY1244" fmla="*/ 1357303 h 1786050"/>
              <a:gd name="connsiteX1245" fmla="*/ 3206443 w 4664922"/>
              <a:gd name="connsiteY1245" fmla="*/ 1359964 h 1786050"/>
              <a:gd name="connsiteX1246" fmla="*/ 3209219 w 4664922"/>
              <a:gd name="connsiteY1246" fmla="*/ 1360716 h 1786050"/>
              <a:gd name="connsiteX1247" fmla="*/ 3221946 w 4664922"/>
              <a:gd name="connsiteY1247" fmla="*/ 1354931 h 1786050"/>
              <a:gd name="connsiteX1248" fmla="*/ 3222755 w 4664922"/>
              <a:gd name="connsiteY1248" fmla="*/ 1353659 h 1786050"/>
              <a:gd name="connsiteX1249" fmla="*/ 3234903 w 4664922"/>
              <a:gd name="connsiteY1249" fmla="*/ 1343999 h 1786050"/>
              <a:gd name="connsiteX1250" fmla="*/ 3238431 w 4664922"/>
              <a:gd name="connsiteY1250" fmla="*/ 1342784 h 1786050"/>
              <a:gd name="connsiteX1251" fmla="*/ 3238778 w 4664922"/>
              <a:gd name="connsiteY1251" fmla="*/ 1336190 h 1786050"/>
              <a:gd name="connsiteX1252" fmla="*/ 3238778 w 4664922"/>
              <a:gd name="connsiteY1252" fmla="*/ 1333529 h 1786050"/>
              <a:gd name="connsiteX1253" fmla="*/ 3243059 w 4664922"/>
              <a:gd name="connsiteY1253" fmla="*/ 1332141 h 1786050"/>
              <a:gd name="connsiteX1254" fmla="*/ 3251099 w 4664922"/>
              <a:gd name="connsiteY1254" fmla="*/ 1332951 h 1786050"/>
              <a:gd name="connsiteX1255" fmla="*/ 3262668 w 4664922"/>
              <a:gd name="connsiteY1255" fmla="*/ 1333876 h 1786050"/>
              <a:gd name="connsiteX1256" fmla="*/ 3263825 w 4664922"/>
              <a:gd name="connsiteY1256" fmla="*/ 1333876 h 1786050"/>
              <a:gd name="connsiteX1257" fmla="*/ 3285285 w 4664922"/>
              <a:gd name="connsiteY1257" fmla="*/ 1351229 h 1786050"/>
              <a:gd name="connsiteX1258" fmla="*/ 3298358 w 4664922"/>
              <a:gd name="connsiteY1258" fmla="*/ 1362798 h 1786050"/>
              <a:gd name="connsiteX1259" fmla="*/ 3301250 w 4664922"/>
              <a:gd name="connsiteY1259" fmla="*/ 1364071 h 1786050"/>
              <a:gd name="connsiteX1260" fmla="*/ 3313455 w 4664922"/>
              <a:gd name="connsiteY1260" fmla="*/ 1375929 h 1786050"/>
              <a:gd name="connsiteX1261" fmla="*/ 3311373 w 4664922"/>
              <a:gd name="connsiteY1261" fmla="*/ 1379399 h 1786050"/>
              <a:gd name="connsiteX1262" fmla="*/ 3308596 w 4664922"/>
              <a:gd name="connsiteY1262" fmla="*/ 1385994 h 1786050"/>
              <a:gd name="connsiteX1263" fmla="*/ 3309580 w 4664922"/>
              <a:gd name="connsiteY1263" fmla="*/ 1396174 h 1786050"/>
              <a:gd name="connsiteX1264" fmla="*/ 3310274 w 4664922"/>
              <a:gd name="connsiteY1264" fmla="*/ 1406702 h 1786050"/>
              <a:gd name="connsiteX1265" fmla="*/ 3305530 w 4664922"/>
              <a:gd name="connsiteY1265" fmla="*/ 1426138 h 1786050"/>
              <a:gd name="connsiteX1266" fmla="*/ 3298705 w 4664922"/>
              <a:gd name="connsiteY1266" fmla="*/ 1437707 h 1786050"/>
              <a:gd name="connsiteX1267" fmla="*/ 3295581 w 4664922"/>
              <a:gd name="connsiteY1267" fmla="*/ 1445111 h 1786050"/>
              <a:gd name="connsiteX1268" fmla="*/ 3292631 w 4664922"/>
              <a:gd name="connsiteY1268" fmla="*/ 1454597 h 1786050"/>
              <a:gd name="connsiteX1269" fmla="*/ 3290317 w 4664922"/>
              <a:gd name="connsiteY1269" fmla="*/ 1462117 h 1786050"/>
              <a:gd name="connsiteX1270" fmla="*/ 3287946 w 4664922"/>
              <a:gd name="connsiteY1270" fmla="*/ 1480685 h 1786050"/>
              <a:gd name="connsiteX1271" fmla="*/ 3278748 w 4664922"/>
              <a:gd name="connsiteY1271" fmla="*/ 1533728 h 1786050"/>
              <a:gd name="connsiteX1272" fmla="*/ 3266139 w 4664922"/>
              <a:gd name="connsiteY1272" fmla="*/ 1555362 h 1786050"/>
              <a:gd name="connsiteX1273" fmla="*/ 3261742 w 4664922"/>
              <a:gd name="connsiteY1273" fmla="*/ 1561725 h 1786050"/>
              <a:gd name="connsiteX1274" fmla="*/ 3250636 w 4664922"/>
              <a:gd name="connsiteY1274" fmla="*/ 1575897 h 1786050"/>
              <a:gd name="connsiteX1275" fmla="*/ 3232704 w 4664922"/>
              <a:gd name="connsiteY1275" fmla="*/ 1600365 h 1786050"/>
              <a:gd name="connsiteX1276" fmla="*/ 3192560 w 4664922"/>
              <a:gd name="connsiteY1276" fmla="*/ 1654391 h 1786050"/>
              <a:gd name="connsiteX1277" fmla="*/ 3179835 w 4664922"/>
              <a:gd name="connsiteY1277" fmla="*/ 1667464 h 1786050"/>
              <a:gd name="connsiteX1278" fmla="*/ 3148426 w 4664922"/>
              <a:gd name="connsiteY1278" fmla="*/ 1702980 h 1786050"/>
              <a:gd name="connsiteX1279" fmla="*/ 3084797 w 4664922"/>
              <a:gd name="connsiteY1279" fmla="*/ 1743471 h 1786050"/>
              <a:gd name="connsiteX1280" fmla="*/ 3067444 w 4664922"/>
              <a:gd name="connsiteY1280" fmla="*/ 1733927 h 1786050"/>
              <a:gd name="connsiteX1281" fmla="*/ 3053156 w 4664922"/>
              <a:gd name="connsiteY1281" fmla="*/ 1725713 h 1786050"/>
              <a:gd name="connsiteX1282" fmla="*/ 3031117 w 4664922"/>
              <a:gd name="connsiteY1282" fmla="*/ 1737861 h 1786050"/>
              <a:gd name="connsiteX1283" fmla="*/ 3029960 w 4664922"/>
              <a:gd name="connsiteY1283" fmla="*/ 1737861 h 1786050"/>
              <a:gd name="connsiteX1284" fmla="*/ 3029324 w 4664922"/>
              <a:gd name="connsiteY1284" fmla="*/ 1736935 h 1786050"/>
              <a:gd name="connsiteX1285" fmla="*/ 3028745 w 4664922"/>
              <a:gd name="connsiteY1285" fmla="*/ 1724325 h 1786050"/>
              <a:gd name="connsiteX1286" fmla="*/ 3027473 w 4664922"/>
              <a:gd name="connsiteY1286" fmla="*/ 1711194 h 1786050"/>
              <a:gd name="connsiteX1287" fmla="*/ 3025853 w 4664922"/>
              <a:gd name="connsiteY1287" fmla="*/ 1695576 h 1786050"/>
              <a:gd name="connsiteX1288" fmla="*/ 3025853 w 4664922"/>
              <a:gd name="connsiteY1288" fmla="*/ 1688462 h 1786050"/>
              <a:gd name="connsiteX1289" fmla="*/ 3026895 w 4664922"/>
              <a:gd name="connsiteY1289" fmla="*/ 1669720 h 1786050"/>
              <a:gd name="connsiteX1290" fmla="*/ 3031001 w 4664922"/>
              <a:gd name="connsiteY1290" fmla="*/ 1667638 h 1786050"/>
              <a:gd name="connsiteX1291" fmla="*/ 3038695 w 4664922"/>
              <a:gd name="connsiteY1291" fmla="*/ 1662547 h 1786050"/>
              <a:gd name="connsiteX1292" fmla="*/ 3050263 w 4664922"/>
              <a:gd name="connsiteY1292" fmla="*/ 1655895 h 1786050"/>
              <a:gd name="connsiteX1293" fmla="*/ 3054486 w 4664922"/>
              <a:gd name="connsiteY1293" fmla="*/ 1657284 h 1786050"/>
              <a:gd name="connsiteX1294" fmla="*/ 3069931 w 4664922"/>
              <a:gd name="connsiteY1294" fmla="*/ 1661969 h 1786050"/>
              <a:gd name="connsiteX1295" fmla="*/ 3076987 w 4664922"/>
              <a:gd name="connsiteY1295" fmla="*/ 1658209 h 1786050"/>
              <a:gd name="connsiteX1296" fmla="*/ 3082772 w 4664922"/>
              <a:gd name="connsiteY1296" fmla="*/ 1649590 h 1786050"/>
              <a:gd name="connsiteX1297" fmla="*/ 3089771 w 4664922"/>
              <a:gd name="connsiteY1297" fmla="*/ 1640277 h 1786050"/>
              <a:gd name="connsiteX1298" fmla="*/ 3098448 w 4664922"/>
              <a:gd name="connsiteY1298" fmla="*/ 1628361 h 1786050"/>
              <a:gd name="connsiteX1299" fmla="*/ 3105910 w 4664922"/>
              <a:gd name="connsiteY1299" fmla="*/ 1619164 h 1786050"/>
              <a:gd name="connsiteX1300" fmla="*/ 3107183 w 4664922"/>
              <a:gd name="connsiteY1300" fmla="*/ 1614421 h 1786050"/>
              <a:gd name="connsiteX1301" fmla="*/ 3121007 w 4664922"/>
              <a:gd name="connsiteY1301" fmla="*/ 1583763 h 1786050"/>
              <a:gd name="connsiteX1302" fmla="*/ 3122453 w 4664922"/>
              <a:gd name="connsiteY1302" fmla="*/ 1576591 h 1786050"/>
              <a:gd name="connsiteX1303" fmla="*/ 3119677 w 4664922"/>
              <a:gd name="connsiteY1303" fmla="*/ 1562072 h 1786050"/>
              <a:gd name="connsiteX1304" fmla="*/ 3117884 w 4664922"/>
              <a:gd name="connsiteY1304" fmla="*/ 1555478 h 1786050"/>
              <a:gd name="connsiteX1305" fmla="*/ 3112099 w 4664922"/>
              <a:gd name="connsiteY1305" fmla="*/ 1553453 h 1786050"/>
              <a:gd name="connsiteX1306" fmla="*/ 3099663 w 4664922"/>
              <a:gd name="connsiteY1306" fmla="*/ 1557386 h 1786050"/>
              <a:gd name="connsiteX1307" fmla="*/ 3089366 w 4664922"/>
              <a:gd name="connsiteY1307" fmla="*/ 1559874 h 1786050"/>
              <a:gd name="connsiteX1308" fmla="*/ 3073401 w 4664922"/>
              <a:gd name="connsiteY1308" fmla="*/ 1566641 h 1786050"/>
              <a:gd name="connsiteX1309" fmla="*/ 3062700 w 4664922"/>
              <a:gd name="connsiteY1309" fmla="*/ 1573120 h 1786050"/>
              <a:gd name="connsiteX1310" fmla="*/ 3058304 w 4664922"/>
              <a:gd name="connsiteY1310" fmla="*/ 1573120 h 1786050"/>
              <a:gd name="connsiteX1311" fmla="*/ 3048355 w 4664922"/>
              <a:gd name="connsiteY1311" fmla="*/ 1573120 h 1786050"/>
              <a:gd name="connsiteX1312" fmla="*/ 3022267 w 4664922"/>
              <a:gd name="connsiteY1312" fmla="*/ 1566526 h 1786050"/>
              <a:gd name="connsiteX1313" fmla="*/ 3020416 w 4664922"/>
              <a:gd name="connsiteY1313" fmla="*/ 1561320 h 1786050"/>
              <a:gd name="connsiteX1314" fmla="*/ 3017871 w 4664922"/>
              <a:gd name="connsiteY1314" fmla="*/ 1551313 h 1786050"/>
              <a:gd name="connsiteX1315" fmla="*/ 3014747 w 4664922"/>
              <a:gd name="connsiteY1315" fmla="*/ 1537951 h 1786050"/>
              <a:gd name="connsiteX1316" fmla="*/ 3007864 w 4664922"/>
              <a:gd name="connsiteY1316" fmla="*/ 1532166 h 1786050"/>
              <a:gd name="connsiteX1317" fmla="*/ 2995717 w 4664922"/>
              <a:gd name="connsiteY1317" fmla="*/ 1526035 h 1786050"/>
              <a:gd name="connsiteX1318" fmla="*/ 2970670 w 4664922"/>
              <a:gd name="connsiteY1318" fmla="*/ 1514003 h 1786050"/>
              <a:gd name="connsiteX1319" fmla="*/ 2969513 w 4664922"/>
              <a:gd name="connsiteY1319" fmla="*/ 1514003 h 1786050"/>
              <a:gd name="connsiteX1320" fmla="*/ 2961357 w 4664922"/>
              <a:gd name="connsiteY1320" fmla="*/ 1511285 h 1786050"/>
              <a:gd name="connsiteX1321" fmla="*/ 2942269 w 4664922"/>
              <a:gd name="connsiteY1321" fmla="*/ 1504401 h 1786050"/>
              <a:gd name="connsiteX1322" fmla="*/ 2931336 w 4664922"/>
              <a:gd name="connsiteY1322" fmla="*/ 1499773 h 1786050"/>
              <a:gd name="connsiteX1323" fmla="*/ 2930758 w 4664922"/>
              <a:gd name="connsiteY1323" fmla="*/ 1487626 h 1786050"/>
              <a:gd name="connsiteX1324" fmla="*/ 2924163 w 4664922"/>
              <a:gd name="connsiteY1324" fmla="*/ 1470851 h 1786050"/>
              <a:gd name="connsiteX1325" fmla="*/ 2917049 w 4664922"/>
              <a:gd name="connsiteY1325" fmla="*/ 1455060 h 1786050"/>
              <a:gd name="connsiteX1326" fmla="*/ 2912363 w 4664922"/>
              <a:gd name="connsiteY1326" fmla="*/ 1444532 h 1786050"/>
              <a:gd name="connsiteX1327" fmla="*/ 2901430 w 4664922"/>
              <a:gd name="connsiteY1327" fmla="*/ 1421105 h 1786050"/>
              <a:gd name="connsiteX1328" fmla="*/ 2892002 w 4664922"/>
              <a:gd name="connsiteY1328" fmla="*/ 1404273 h 1786050"/>
              <a:gd name="connsiteX1329" fmla="*/ 2888531 w 4664922"/>
              <a:gd name="connsiteY1329" fmla="*/ 1395596 h 1786050"/>
              <a:gd name="connsiteX1330" fmla="*/ 2878350 w 4664922"/>
              <a:gd name="connsiteY1330" fmla="*/ 1382292 h 1786050"/>
              <a:gd name="connsiteX1331" fmla="*/ 2870946 w 4664922"/>
              <a:gd name="connsiteY1331" fmla="*/ 1376507 h 1786050"/>
              <a:gd name="connsiteX1332" fmla="*/ 2857815 w 4664922"/>
              <a:gd name="connsiteY1332" fmla="*/ 1372400 h 1786050"/>
              <a:gd name="connsiteX1333" fmla="*/ 2838264 w 4664922"/>
              <a:gd name="connsiteY1333" fmla="*/ 1367194 h 1786050"/>
              <a:gd name="connsiteX1334" fmla="*/ 2820911 w 4664922"/>
              <a:gd name="connsiteY1334" fmla="*/ 1363724 h 1786050"/>
              <a:gd name="connsiteX1335" fmla="*/ 2807896 w 4664922"/>
              <a:gd name="connsiteY1335" fmla="*/ 1362451 h 1786050"/>
              <a:gd name="connsiteX1336" fmla="*/ 2799914 w 4664922"/>
              <a:gd name="connsiteY1336" fmla="*/ 1361584 h 1786050"/>
              <a:gd name="connsiteX1337" fmla="*/ 2774057 w 4664922"/>
              <a:gd name="connsiteY1337" fmla="*/ 1364765 h 1786050"/>
              <a:gd name="connsiteX1338" fmla="*/ 2767810 w 4664922"/>
              <a:gd name="connsiteY1338" fmla="*/ 1365690 h 1786050"/>
              <a:gd name="connsiteX1339" fmla="*/ 2765901 w 4664922"/>
              <a:gd name="connsiteY1339" fmla="*/ 1365690 h 1786050"/>
              <a:gd name="connsiteX1340" fmla="*/ 2759423 w 4664922"/>
              <a:gd name="connsiteY1340" fmla="*/ 1365343 h 1786050"/>
              <a:gd name="connsiteX1341" fmla="*/ 2733971 w 4664922"/>
              <a:gd name="connsiteY1341" fmla="*/ 1376623 h 1786050"/>
              <a:gd name="connsiteX1342" fmla="*/ 2728939 w 4664922"/>
              <a:gd name="connsiteY1342" fmla="*/ 1388192 h 1786050"/>
              <a:gd name="connsiteX1343" fmla="*/ 2733971 w 4664922"/>
              <a:gd name="connsiteY1343" fmla="*/ 1389580 h 1786050"/>
              <a:gd name="connsiteX1344" fmla="*/ 2735475 w 4664922"/>
              <a:gd name="connsiteY1344" fmla="*/ 1389580 h 1786050"/>
              <a:gd name="connsiteX1345" fmla="*/ 2744672 w 4664922"/>
              <a:gd name="connsiteY1345" fmla="*/ 1409884 h 1786050"/>
              <a:gd name="connsiteX1346" fmla="*/ 2731889 w 4664922"/>
              <a:gd name="connsiteY1346" fmla="*/ 1424865 h 1786050"/>
              <a:gd name="connsiteX1347" fmla="*/ 2715576 w 4664922"/>
              <a:gd name="connsiteY1347" fmla="*/ 1449970 h 1786050"/>
              <a:gd name="connsiteX1348" fmla="*/ 2709792 w 4664922"/>
              <a:gd name="connsiteY1348" fmla="*/ 1461538 h 1786050"/>
              <a:gd name="connsiteX1349" fmla="*/ 2702735 w 4664922"/>
              <a:gd name="connsiteY1349" fmla="*/ 1477735 h 1786050"/>
              <a:gd name="connsiteX1350" fmla="*/ 2701579 w 4664922"/>
              <a:gd name="connsiteY1350" fmla="*/ 1483924 h 1786050"/>
              <a:gd name="connsiteX1351" fmla="*/ 2690010 w 4664922"/>
              <a:gd name="connsiteY1351" fmla="*/ 1491328 h 1786050"/>
              <a:gd name="connsiteX1352" fmla="*/ 2674681 w 4664922"/>
              <a:gd name="connsiteY1352" fmla="*/ 1499253 h 1786050"/>
              <a:gd name="connsiteX1353" fmla="*/ 2664327 w 4664922"/>
              <a:gd name="connsiteY1353" fmla="*/ 1505037 h 1786050"/>
              <a:gd name="connsiteX1354" fmla="*/ 2660336 w 4664922"/>
              <a:gd name="connsiteY1354" fmla="*/ 1505500 h 1786050"/>
              <a:gd name="connsiteX1355" fmla="*/ 2636330 w 4664922"/>
              <a:gd name="connsiteY1355" fmla="*/ 1497171 h 1786050"/>
              <a:gd name="connsiteX1356" fmla="*/ 2617299 w 4664922"/>
              <a:gd name="connsiteY1356" fmla="*/ 1490576 h 1786050"/>
              <a:gd name="connsiteX1357" fmla="*/ 2611920 w 4664922"/>
              <a:gd name="connsiteY1357" fmla="*/ 1491270 h 1786050"/>
              <a:gd name="connsiteX1358" fmla="*/ 2586989 w 4664922"/>
              <a:gd name="connsiteY1358" fmla="*/ 1485486 h 1786050"/>
              <a:gd name="connsiteX1359" fmla="*/ 2570330 w 4664922"/>
              <a:gd name="connsiteY1359" fmla="*/ 1481495 h 1786050"/>
              <a:gd name="connsiteX1360" fmla="*/ 2554827 w 4664922"/>
              <a:gd name="connsiteY1360" fmla="*/ 1484445 h 1786050"/>
              <a:gd name="connsiteX1361" fmla="*/ 2545456 w 4664922"/>
              <a:gd name="connsiteY1361" fmla="*/ 1489593 h 1786050"/>
              <a:gd name="connsiteX1362" fmla="*/ 2533483 w 4664922"/>
              <a:gd name="connsiteY1362" fmla="*/ 1498212 h 1786050"/>
              <a:gd name="connsiteX1363" fmla="*/ 2521394 w 4664922"/>
              <a:gd name="connsiteY1363" fmla="*/ 1503996 h 1786050"/>
              <a:gd name="connsiteX1364" fmla="*/ 2511213 w 4664922"/>
              <a:gd name="connsiteY1364" fmla="*/ 1506888 h 1786050"/>
              <a:gd name="connsiteX1365" fmla="*/ 2491083 w 4664922"/>
              <a:gd name="connsiteY1365" fmla="*/ 1511863 h 1786050"/>
              <a:gd name="connsiteX1366" fmla="*/ 2476043 w 4664922"/>
              <a:gd name="connsiteY1366" fmla="*/ 1515276 h 1786050"/>
              <a:gd name="connsiteX1367" fmla="*/ 2457013 w 4664922"/>
              <a:gd name="connsiteY1367" fmla="*/ 1518746 h 1786050"/>
              <a:gd name="connsiteX1368" fmla="*/ 2437924 w 4664922"/>
              <a:gd name="connsiteY1368" fmla="*/ 1515739 h 1786050"/>
              <a:gd name="connsiteX1369" fmla="*/ 2423521 w 4664922"/>
              <a:gd name="connsiteY1369" fmla="*/ 1513772 h 1786050"/>
              <a:gd name="connsiteX1370" fmla="*/ 2402929 w 4664922"/>
              <a:gd name="connsiteY1370" fmla="*/ 1508913 h 1786050"/>
              <a:gd name="connsiteX1371" fmla="*/ 2395524 w 4664922"/>
              <a:gd name="connsiteY1371" fmla="*/ 1501914 h 1786050"/>
              <a:gd name="connsiteX1372" fmla="*/ 2388236 w 4664922"/>
              <a:gd name="connsiteY1372" fmla="*/ 1493064 h 1786050"/>
              <a:gd name="connsiteX1373" fmla="*/ 2377535 w 4664922"/>
              <a:gd name="connsiteY1373" fmla="*/ 1488320 h 1786050"/>
              <a:gd name="connsiteX1374" fmla="*/ 2365966 w 4664922"/>
              <a:gd name="connsiteY1374" fmla="*/ 1483057 h 1786050"/>
              <a:gd name="connsiteX1375" fmla="*/ 2349075 w 4664922"/>
              <a:gd name="connsiteY1375" fmla="*/ 1477272 h 1786050"/>
              <a:gd name="connsiteX1376" fmla="*/ 2346645 w 4664922"/>
              <a:gd name="connsiteY1376" fmla="*/ 1477619 h 1786050"/>
              <a:gd name="connsiteX1377" fmla="*/ 2344679 w 4664922"/>
              <a:gd name="connsiteY1377" fmla="*/ 1478082 h 1786050"/>
              <a:gd name="connsiteX1378" fmla="*/ 2329119 w 4664922"/>
              <a:gd name="connsiteY1378" fmla="*/ 1474380 h 1786050"/>
              <a:gd name="connsiteX1379" fmla="*/ 2320789 w 4664922"/>
              <a:gd name="connsiteY1379" fmla="*/ 1472124 h 1786050"/>
              <a:gd name="connsiteX1380" fmla="*/ 2306212 w 4664922"/>
              <a:gd name="connsiteY1380" fmla="*/ 1473859 h 1786050"/>
              <a:gd name="connsiteX1381" fmla="*/ 2295917 w 4664922"/>
              <a:gd name="connsiteY1381" fmla="*/ 1475363 h 1786050"/>
              <a:gd name="connsiteX1382" fmla="*/ 2286950 w 4664922"/>
              <a:gd name="connsiteY1382" fmla="*/ 1479875 h 1786050"/>
              <a:gd name="connsiteX1383" fmla="*/ 2276712 w 4664922"/>
              <a:gd name="connsiteY1383" fmla="*/ 1485023 h 1786050"/>
              <a:gd name="connsiteX1384" fmla="*/ 2263523 w 4664922"/>
              <a:gd name="connsiteY1384" fmla="*/ 1480974 h 1786050"/>
              <a:gd name="connsiteX1385" fmla="*/ 2253690 w 4664922"/>
              <a:gd name="connsiteY1385" fmla="*/ 1477446 h 1786050"/>
              <a:gd name="connsiteX1386" fmla="*/ 2252996 w 4664922"/>
              <a:gd name="connsiteY1386" fmla="*/ 1477446 h 1786050"/>
              <a:gd name="connsiteX1387" fmla="*/ 2251144 w 4664922"/>
              <a:gd name="connsiteY1387" fmla="*/ 1478024 h 1786050"/>
              <a:gd name="connsiteX1388" fmla="*/ 2234486 w 4664922"/>
              <a:gd name="connsiteY1388" fmla="*/ 1464373 h 1786050"/>
              <a:gd name="connsiteX1389" fmla="*/ 2232345 w 4664922"/>
              <a:gd name="connsiteY1389" fmla="*/ 1451127 h 1786050"/>
              <a:gd name="connsiteX1390" fmla="*/ 2231188 w 4664922"/>
              <a:gd name="connsiteY1390" fmla="*/ 1440888 h 1786050"/>
              <a:gd name="connsiteX1391" fmla="*/ 2216843 w 4664922"/>
              <a:gd name="connsiteY1391" fmla="*/ 1436203 h 1786050"/>
              <a:gd name="connsiteX1392" fmla="*/ 2204869 w 4664922"/>
              <a:gd name="connsiteY1392" fmla="*/ 1433137 h 1786050"/>
              <a:gd name="connsiteX1393" fmla="*/ 2185260 w 4664922"/>
              <a:gd name="connsiteY1393" fmla="*/ 1425154 h 1786050"/>
              <a:gd name="connsiteX1394" fmla="*/ 2167502 w 4664922"/>
              <a:gd name="connsiteY1394" fmla="*/ 1420816 h 1786050"/>
              <a:gd name="connsiteX1395" fmla="*/ 2147835 w 4664922"/>
              <a:gd name="connsiteY1395" fmla="*/ 1413007 h 1786050"/>
              <a:gd name="connsiteX1396" fmla="*/ 2142050 w 4664922"/>
              <a:gd name="connsiteY1396" fmla="*/ 1417403 h 1786050"/>
              <a:gd name="connsiteX1397" fmla="*/ 2139274 w 4664922"/>
              <a:gd name="connsiteY1397" fmla="*/ 1421626 h 1786050"/>
              <a:gd name="connsiteX1398" fmla="*/ 2133085 w 4664922"/>
              <a:gd name="connsiteY1398" fmla="*/ 1424923 h 1786050"/>
              <a:gd name="connsiteX1399" fmla="*/ 2124986 w 4664922"/>
              <a:gd name="connsiteY1399" fmla="*/ 1430707 h 1786050"/>
              <a:gd name="connsiteX1400" fmla="*/ 2118682 w 4664922"/>
              <a:gd name="connsiteY1400" fmla="*/ 1437186 h 1786050"/>
              <a:gd name="connsiteX1401" fmla="*/ 2113649 w 4664922"/>
              <a:gd name="connsiteY1401" fmla="*/ 1443838 h 1786050"/>
              <a:gd name="connsiteX1402" fmla="*/ 2122962 w 4664922"/>
              <a:gd name="connsiteY1402" fmla="*/ 1465877 h 1786050"/>
              <a:gd name="connsiteX1403" fmla="*/ 2122384 w 4664922"/>
              <a:gd name="connsiteY1403" fmla="*/ 1483577 h 1786050"/>
              <a:gd name="connsiteX1404" fmla="*/ 2113244 w 4664922"/>
              <a:gd name="connsiteY1404" fmla="*/ 1487915 h 1786050"/>
              <a:gd name="connsiteX1405" fmla="*/ 2099824 w 4664922"/>
              <a:gd name="connsiteY1405" fmla="*/ 1494799 h 1786050"/>
              <a:gd name="connsiteX1406" fmla="*/ 2095196 w 4664922"/>
              <a:gd name="connsiteY1406" fmla="*/ 1497518 h 1786050"/>
              <a:gd name="connsiteX1407" fmla="*/ 2082471 w 4664922"/>
              <a:gd name="connsiteY1407" fmla="*/ 1491733 h 1786050"/>
              <a:gd name="connsiteX1408" fmla="*/ 2078885 w 4664922"/>
              <a:gd name="connsiteY1408" fmla="*/ 1489477 h 1786050"/>
              <a:gd name="connsiteX1409" fmla="*/ 2070266 w 4664922"/>
              <a:gd name="connsiteY1409" fmla="*/ 1487221 h 1786050"/>
              <a:gd name="connsiteX1410" fmla="*/ 2058350 w 4664922"/>
              <a:gd name="connsiteY1410" fmla="*/ 1491039 h 1786050"/>
              <a:gd name="connsiteX1411" fmla="*/ 2055689 w 4664922"/>
              <a:gd name="connsiteY1411" fmla="*/ 1491907 h 1786050"/>
              <a:gd name="connsiteX1412" fmla="*/ 2041517 w 4664922"/>
              <a:gd name="connsiteY1412" fmla="*/ 1485833 h 1786050"/>
              <a:gd name="connsiteX1413" fmla="*/ 2034807 w 4664922"/>
              <a:gd name="connsiteY1413" fmla="*/ 1482420 h 1786050"/>
              <a:gd name="connsiteX1414" fmla="*/ 2029659 w 4664922"/>
              <a:gd name="connsiteY1414" fmla="*/ 1473744 h 1786050"/>
              <a:gd name="connsiteX1415" fmla="*/ 2026477 w 4664922"/>
              <a:gd name="connsiteY1415" fmla="*/ 1467034 h 1786050"/>
              <a:gd name="connsiteX1416" fmla="*/ 2025031 w 4664922"/>
              <a:gd name="connsiteY1416" fmla="*/ 1467034 h 1786050"/>
              <a:gd name="connsiteX1417" fmla="*/ 1987896 w 4664922"/>
              <a:gd name="connsiteY1417" fmla="*/ 1460439 h 1786050"/>
              <a:gd name="connsiteX1418" fmla="*/ 1981474 w 4664922"/>
              <a:gd name="connsiteY1418" fmla="*/ 1459687 h 1786050"/>
              <a:gd name="connsiteX1419" fmla="*/ 1969906 w 4664922"/>
              <a:gd name="connsiteY1419" fmla="*/ 1462985 h 1786050"/>
              <a:gd name="connsiteX1420" fmla="*/ 1960535 w 4664922"/>
              <a:gd name="connsiteY1420" fmla="*/ 1467323 h 1786050"/>
              <a:gd name="connsiteX1421" fmla="*/ 1951222 w 4664922"/>
              <a:gd name="connsiteY1421" fmla="*/ 1471198 h 1786050"/>
              <a:gd name="connsiteX1422" fmla="*/ 1941793 w 4664922"/>
              <a:gd name="connsiteY1422" fmla="*/ 1478082 h 1786050"/>
              <a:gd name="connsiteX1423" fmla="*/ 1933348 w 4664922"/>
              <a:gd name="connsiteY1423" fmla="*/ 1483519 h 1786050"/>
              <a:gd name="connsiteX1424" fmla="*/ 1923920 w 4664922"/>
              <a:gd name="connsiteY1424" fmla="*/ 1488378 h 1786050"/>
              <a:gd name="connsiteX1425" fmla="*/ 1912351 w 4664922"/>
              <a:gd name="connsiteY1425" fmla="*/ 1495377 h 1786050"/>
              <a:gd name="connsiteX1426" fmla="*/ 1886437 w 4664922"/>
              <a:gd name="connsiteY1426" fmla="*/ 1507293 h 1786050"/>
              <a:gd name="connsiteX1427" fmla="*/ 1869083 w 4664922"/>
              <a:gd name="connsiteY1427" fmla="*/ 1513656 h 1786050"/>
              <a:gd name="connsiteX1428" fmla="*/ 1864687 w 4664922"/>
              <a:gd name="connsiteY1428" fmla="*/ 1516433 h 1786050"/>
              <a:gd name="connsiteX1429" fmla="*/ 1858209 w 4664922"/>
              <a:gd name="connsiteY1429" fmla="*/ 1515449 h 1786050"/>
              <a:gd name="connsiteX1430" fmla="*/ 1852424 w 4664922"/>
              <a:gd name="connsiteY1430" fmla="*/ 1514582 h 1786050"/>
              <a:gd name="connsiteX1431" fmla="*/ 1838368 w 4664922"/>
              <a:gd name="connsiteY1431" fmla="*/ 1499079 h 1786050"/>
              <a:gd name="connsiteX1432" fmla="*/ 1836401 w 4664922"/>
              <a:gd name="connsiteY1432" fmla="*/ 1496650 h 1786050"/>
              <a:gd name="connsiteX1433" fmla="*/ 1830617 w 4664922"/>
              <a:gd name="connsiteY1433" fmla="*/ 1499079 h 1786050"/>
              <a:gd name="connsiteX1434" fmla="*/ 1808231 w 4664922"/>
              <a:gd name="connsiteY1434" fmla="*/ 1503302 h 1786050"/>
              <a:gd name="connsiteX1435" fmla="*/ 1793423 w 4664922"/>
              <a:gd name="connsiteY1435" fmla="*/ 1490866 h 1786050"/>
              <a:gd name="connsiteX1436" fmla="*/ 1788680 w 4664922"/>
              <a:gd name="connsiteY1436" fmla="*/ 1481726 h 1786050"/>
              <a:gd name="connsiteX1437" fmla="*/ 1770690 w 4664922"/>
              <a:gd name="connsiteY1437" fmla="*/ 1467091 h 1786050"/>
              <a:gd name="connsiteX1438" fmla="*/ 1757675 w 4664922"/>
              <a:gd name="connsiteY1438" fmla="*/ 1454944 h 1786050"/>
              <a:gd name="connsiteX1439" fmla="*/ 1753568 w 4664922"/>
              <a:gd name="connsiteY1439" fmla="*/ 1453093 h 1786050"/>
              <a:gd name="connsiteX1440" fmla="*/ 1751081 w 4664922"/>
              <a:gd name="connsiteY1440" fmla="*/ 1452573 h 1786050"/>
              <a:gd name="connsiteX1441" fmla="*/ 1733728 w 4664922"/>
              <a:gd name="connsiteY1441" fmla="*/ 1458357 h 1786050"/>
              <a:gd name="connsiteX1442" fmla="*/ 1727539 w 4664922"/>
              <a:gd name="connsiteY1442" fmla="*/ 1460960 h 1786050"/>
              <a:gd name="connsiteX1443" fmla="*/ 1722795 w 4664922"/>
              <a:gd name="connsiteY1443" fmla="*/ 1461712 h 1786050"/>
              <a:gd name="connsiteX1444" fmla="*/ 1707524 w 4664922"/>
              <a:gd name="connsiteY1444" fmla="*/ 1458646 h 1786050"/>
              <a:gd name="connsiteX1445" fmla="*/ 1700293 w 4664922"/>
              <a:gd name="connsiteY1445" fmla="*/ 1456795 h 1786050"/>
              <a:gd name="connsiteX1446" fmla="*/ 1689592 w 4664922"/>
              <a:gd name="connsiteY1446" fmla="*/ 1448350 h 1786050"/>
              <a:gd name="connsiteX1447" fmla="*/ 1679585 w 4664922"/>
              <a:gd name="connsiteY1447" fmla="*/ 1441640 h 1786050"/>
              <a:gd name="connsiteX1448" fmla="*/ 1671545 w 4664922"/>
              <a:gd name="connsiteY1448" fmla="*/ 1450953 h 1786050"/>
              <a:gd name="connsiteX1449" fmla="*/ 1663505 w 4664922"/>
              <a:gd name="connsiteY1449" fmla="*/ 1459225 h 1786050"/>
              <a:gd name="connsiteX1450" fmla="*/ 1647771 w 4664922"/>
              <a:gd name="connsiteY1450" fmla="*/ 1435335 h 1786050"/>
              <a:gd name="connsiteX1451" fmla="*/ 1634120 w 4664922"/>
              <a:gd name="connsiteY1451" fmla="*/ 1409652 h 1786050"/>
              <a:gd name="connsiteX1452" fmla="*/ 1629550 w 4664922"/>
              <a:gd name="connsiteY1452" fmla="*/ 1402537 h 1786050"/>
              <a:gd name="connsiteX1453" fmla="*/ 1584432 w 4664922"/>
              <a:gd name="connsiteY1453" fmla="*/ 1350477 h 1786050"/>
              <a:gd name="connsiteX1454" fmla="*/ 1571301 w 4664922"/>
              <a:gd name="connsiteY1454" fmla="*/ 1339603 h 1786050"/>
              <a:gd name="connsiteX1455" fmla="*/ 1576160 w 4664922"/>
              <a:gd name="connsiteY1455" fmla="*/ 1328034 h 1786050"/>
              <a:gd name="connsiteX1456" fmla="*/ 1576680 w 4664922"/>
              <a:gd name="connsiteY1456" fmla="*/ 1327050 h 1786050"/>
              <a:gd name="connsiteX1457" fmla="*/ 1570202 w 4664922"/>
              <a:gd name="connsiteY1457" fmla="*/ 1325546 h 1786050"/>
              <a:gd name="connsiteX1458" fmla="*/ 1559327 w 4664922"/>
              <a:gd name="connsiteY1458" fmla="*/ 1327976 h 1786050"/>
              <a:gd name="connsiteX1459" fmla="*/ 1552386 w 4664922"/>
              <a:gd name="connsiteY1459" fmla="*/ 1332488 h 1786050"/>
              <a:gd name="connsiteX1460" fmla="*/ 1534165 w 4664922"/>
              <a:gd name="connsiteY1460" fmla="*/ 1342090 h 1786050"/>
              <a:gd name="connsiteX1461" fmla="*/ 1523348 w 4664922"/>
              <a:gd name="connsiteY1461" fmla="*/ 1347874 h 1786050"/>
              <a:gd name="connsiteX1462" fmla="*/ 1507094 w 4664922"/>
              <a:gd name="connsiteY1462" fmla="*/ 1354874 h 1786050"/>
              <a:gd name="connsiteX1463" fmla="*/ 1503912 w 4664922"/>
              <a:gd name="connsiteY1463" fmla="*/ 1354353 h 1786050"/>
              <a:gd name="connsiteX1464" fmla="*/ 1494368 w 4664922"/>
              <a:gd name="connsiteY1464" fmla="*/ 1357592 h 1786050"/>
              <a:gd name="connsiteX1465" fmla="*/ 1487485 w 4664922"/>
              <a:gd name="connsiteY1465" fmla="*/ 1361005 h 1786050"/>
              <a:gd name="connsiteX1466" fmla="*/ 1482857 w 4664922"/>
              <a:gd name="connsiteY1466" fmla="*/ 1358980 h 1786050"/>
              <a:gd name="connsiteX1467" fmla="*/ 1480717 w 4664922"/>
              <a:gd name="connsiteY1467" fmla="*/ 1354584 h 1786050"/>
              <a:gd name="connsiteX1468" fmla="*/ 1486906 w 4664922"/>
              <a:gd name="connsiteY1468" fmla="*/ 1346718 h 1786050"/>
              <a:gd name="connsiteX1469" fmla="*/ 1492228 w 4664922"/>
              <a:gd name="connsiteY1469" fmla="*/ 1340586 h 1786050"/>
              <a:gd name="connsiteX1470" fmla="*/ 1490782 w 4664922"/>
              <a:gd name="connsiteY1470" fmla="*/ 1339313 h 1786050"/>
              <a:gd name="connsiteX1471" fmla="*/ 1486675 w 4664922"/>
              <a:gd name="connsiteY1471" fmla="*/ 1340065 h 1786050"/>
              <a:gd name="connsiteX1472" fmla="*/ 1481527 w 4664922"/>
              <a:gd name="connsiteY1472" fmla="*/ 1340875 h 1786050"/>
              <a:gd name="connsiteX1473" fmla="*/ 1477940 w 4664922"/>
              <a:gd name="connsiteY1473" fmla="*/ 1339487 h 1786050"/>
              <a:gd name="connsiteX1474" fmla="*/ 1469206 w 4664922"/>
              <a:gd name="connsiteY1474" fmla="*/ 1335264 h 1786050"/>
              <a:gd name="connsiteX1475" fmla="*/ 1467181 w 4664922"/>
              <a:gd name="connsiteY1475" fmla="*/ 1336942 h 1786050"/>
              <a:gd name="connsiteX1476" fmla="*/ 1463942 w 4664922"/>
              <a:gd name="connsiteY1476" fmla="*/ 1340968 h 1786050"/>
              <a:gd name="connsiteX1477" fmla="*/ 1463479 w 4664922"/>
              <a:gd name="connsiteY1477" fmla="*/ 1340991 h 1786050"/>
              <a:gd name="connsiteX1478" fmla="*/ 1457059 w 4664922"/>
              <a:gd name="connsiteY1478" fmla="*/ 1335207 h 1786050"/>
              <a:gd name="connsiteX1479" fmla="*/ 1451274 w 4664922"/>
              <a:gd name="connsiteY1479" fmla="*/ 1327860 h 1786050"/>
              <a:gd name="connsiteX1480" fmla="*/ 1448613 w 4664922"/>
              <a:gd name="connsiteY1480" fmla="*/ 1329306 h 1786050"/>
              <a:gd name="connsiteX1481" fmla="*/ 1429698 w 4664922"/>
              <a:gd name="connsiteY1481" fmla="*/ 1335959 h 1786050"/>
              <a:gd name="connsiteX1482" fmla="*/ 1422005 w 4664922"/>
              <a:gd name="connsiteY1482" fmla="*/ 1333587 h 1786050"/>
              <a:gd name="connsiteX1483" fmla="*/ 1422525 w 4664922"/>
              <a:gd name="connsiteY1483" fmla="*/ 1325951 h 1786050"/>
              <a:gd name="connsiteX1484" fmla="*/ 1424781 w 4664922"/>
              <a:gd name="connsiteY1484" fmla="*/ 1321150 h 1786050"/>
              <a:gd name="connsiteX1485" fmla="*/ 1422583 w 4664922"/>
              <a:gd name="connsiteY1485" fmla="*/ 1313341 h 1786050"/>
              <a:gd name="connsiteX1486" fmla="*/ 1419980 w 4664922"/>
              <a:gd name="connsiteY1486" fmla="*/ 1301773 h 1786050"/>
              <a:gd name="connsiteX1487" fmla="*/ 1418418 w 4664922"/>
              <a:gd name="connsiteY1487" fmla="*/ 1297318 h 1786050"/>
              <a:gd name="connsiteX1488" fmla="*/ 1406445 w 4664922"/>
              <a:gd name="connsiteY1488" fmla="*/ 1291534 h 1786050"/>
              <a:gd name="connsiteX1489" fmla="*/ 1403957 w 4664922"/>
              <a:gd name="connsiteY1489" fmla="*/ 1291939 h 1786050"/>
              <a:gd name="connsiteX1490" fmla="*/ 1397826 w 4664922"/>
              <a:gd name="connsiteY1490" fmla="*/ 1293038 h 1786050"/>
              <a:gd name="connsiteX1491" fmla="*/ 1381861 w 4664922"/>
              <a:gd name="connsiteY1491" fmla="*/ 1288931 h 1786050"/>
              <a:gd name="connsiteX1492" fmla="*/ 1376077 w 4664922"/>
              <a:gd name="connsiteY1492" fmla="*/ 1288063 h 1786050"/>
              <a:gd name="connsiteX1493" fmla="*/ 1349641 w 4664922"/>
              <a:gd name="connsiteY1493" fmla="*/ 1295988 h 1786050"/>
              <a:gd name="connsiteX1494" fmla="*/ 1319851 w 4664922"/>
              <a:gd name="connsiteY1494" fmla="*/ 1307557 h 1786050"/>
              <a:gd name="connsiteX1495" fmla="*/ 1309035 w 4664922"/>
              <a:gd name="connsiteY1495" fmla="*/ 1310276 h 1786050"/>
              <a:gd name="connsiteX1496" fmla="*/ 1269990 w 4664922"/>
              <a:gd name="connsiteY1496" fmla="*/ 1317622 h 1786050"/>
              <a:gd name="connsiteX1497" fmla="*/ 1259347 w 4664922"/>
              <a:gd name="connsiteY1497" fmla="*/ 1321324 h 1786050"/>
              <a:gd name="connsiteX1498" fmla="*/ 1241993 w 4664922"/>
              <a:gd name="connsiteY1498" fmla="*/ 1326125 h 1786050"/>
              <a:gd name="connsiteX1499" fmla="*/ 1201502 w 4664922"/>
              <a:gd name="connsiteY1499" fmla="*/ 1334339 h 1786050"/>
              <a:gd name="connsiteX1500" fmla="*/ 1186810 w 4664922"/>
              <a:gd name="connsiteY1500" fmla="*/ 1338330 h 1786050"/>
              <a:gd name="connsiteX1501" fmla="*/ 1179117 w 4664922"/>
              <a:gd name="connsiteY1501" fmla="*/ 1337925 h 1786050"/>
              <a:gd name="connsiteX1502" fmla="*/ 1168473 w 4664922"/>
              <a:gd name="connsiteY1502" fmla="*/ 1337925 h 1786050"/>
              <a:gd name="connsiteX1503" fmla="*/ 1161243 w 4664922"/>
              <a:gd name="connsiteY1503" fmla="*/ 1338851 h 1786050"/>
              <a:gd name="connsiteX1504" fmla="*/ 1154880 w 4664922"/>
              <a:gd name="connsiteY1504" fmla="*/ 1338561 h 1786050"/>
              <a:gd name="connsiteX1505" fmla="*/ 1149790 w 4664922"/>
              <a:gd name="connsiteY1505" fmla="*/ 1338561 h 1786050"/>
              <a:gd name="connsiteX1506" fmla="*/ 1145682 w 4664922"/>
              <a:gd name="connsiteY1506" fmla="*/ 1339256 h 1786050"/>
              <a:gd name="connsiteX1507" fmla="*/ 1147244 w 4664922"/>
              <a:gd name="connsiteY1507" fmla="*/ 1360774 h 1786050"/>
              <a:gd name="connsiteX1508" fmla="*/ 1161301 w 4664922"/>
              <a:gd name="connsiteY1508" fmla="*/ 1367773 h 1786050"/>
              <a:gd name="connsiteX1509" fmla="*/ 1171597 w 4664922"/>
              <a:gd name="connsiteY1509" fmla="*/ 1373094 h 1786050"/>
              <a:gd name="connsiteX1510" fmla="*/ 1171597 w 4664922"/>
              <a:gd name="connsiteY1510" fmla="*/ 1374888 h 1786050"/>
              <a:gd name="connsiteX1511" fmla="*/ 1151698 w 4664922"/>
              <a:gd name="connsiteY1511" fmla="*/ 1378590 h 1786050"/>
              <a:gd name="connsiteX1512" fmla="*/ 1141865 w 4664922"/>
              <a:gd name="connsiteY1512" fmla="*/ 1379399 h 1786050"/>
              <a:gd name="connsiteX1513" fmla="*/ 1137006 w 4664922"/>
              <a:gd name="connsiteY1513" fmla="*/ 1382292 h 1786050"/>
              <a:gd name="connsiteX1514" fmla="*/ 1137931 w 4664922"/>
              <a:gd name="connsiteY1514" fmla="*/ 1397273 h 1786050"/>
              <a:gd name="connsiteX1515" fmla="*/ 1137931 w 4664922"/>
              <a:gd name="connsiteY1515" fmla="*/ 1401901 h 1786050"/>
              <a:gd name="connsiteX1516" fmla="*/ 1120578 w 4664922"/>
              <a:gd name="connsiteY1516" fmla="*/ 1413470 h 1786050"/>
              <a:gd name="connsiteX1517" fmla="*/ 1118380 w 4664922"/>
              <a:gd name="connsiteY1517" fmla="*/ 1417293 h 1786050"/>
              <a:gd name="connsiteX1518" fmla="*/ 1118380 w 4664922"/>
              <a:gd name="connsiteY1518" fmla="*/ 1417345 h 1786050"/>
              <a:gd name="connsiteX1519" fmla="*/ 1127519 w 4664922"/>
              <a:gd name="connsiteY1519" fmla="*/ 1425791 h 1786050"/>
              <a:gd name="connsiteX1520" fmla="*/ 1138568 w 4664922"/>
              <a:gd name="connsiteY1520" fmla="*/ 1429146 h 1786050"/>
              <a:gd name="connsiteX1521" fmla="*/ 1146898 w 4664922"/>
              <a:gd name="connsiteY1521" fmla="*/ 1431864 h 1786050"/>
              <a:gd name="connsiteX1522" fmla="*/ 1155227 w 4664922"/>
              <a:gd name="connsiteY1522" fmla="*/ 1452399 h 1786050"/>
              <a:gd name="connsiteX1523" fmla="*/ 1137179 w 4664922"/>
              <a:gd name="connsiteY1523" fmla="*/ 1463216 h 1786050"/>
              <a:gd name="connsiteX1524" fmla="*/ 1123008 w 4664922"/>
              <a:gd name="connsiteY1524" fmla="*/ 1458010 h 1786050"/>
              <a:gd name="connsiteX1525" fmla="*/ 1116356 w 4664922"/>
              <a:gd name="connsiteY1525" fmla="*/ 1454713 h 1786050"/>
              <a:gd name="connsiteX1526" fmla="*/ 1111959 w 4664922"/>
              <a:gd name="connsiteY1526" fmla="*/ 1460497 h 1786050"/>
              <a:gd name="connsiteX1527" fmla="*/ 1107390 w 4664922"/>
              <a:gd name="connsiteY1527" fmla="*/ 1468017 h 1786050"/>
              <a:gd name="connsiteX1528" fmla="*/ 1105539 w 4664922"/>
              <a:gd name="connsiteY1528" fmla="*/ 1468538 h 1786050"/>
              <a:gd name="connsiteX1529" fmla="*/ 1100333 w 4664922"/>
              <a:gd name="connsiteY1529" fmla="*/ 1464546 h 1786050"/>
              <a:gd name="connsiteX1530" fmla="*/ 1093565 w 4664922"/>
              <a:gd name="connsiteY1530" fmla="*/ 1459687 h 1786050"/>
              <a:gd name="connsiteX1531" fmla="*/ 1074303 w 4664922"/>
              <a:gd name="connsiteY1531" fmla="*/ 1450432 h 1786050"/>
              <a:gd name="connsiteX1532" fmla="*/ 1062734 w 4664922"/>
              <a:gd name="connsiteY1532" fmla="*/ 1445111 h 1786050"/>
              <a:gd name="connsiteX1533" fmla="*/ 1049719 w 4664922"/>
              <a:gd name="connsiteY1533" fmla="*/ 1449680 h 1786050"/>
              <a:gd name="connsiteX1534" fmla="*/ 1041852 w 4664922"/>
              <a:gd name="connsiteY1534" fmla="*/ 1454134 h 1786050"/>
              <a:gd name="connsiteX1535" fmla="*/ 1034217 w 4664922"/>
              <a:gd name="connsiteY1535" fmla="*/ 1450028 h 1786050"/>
              <a:gd name="connsiteX1536" fmla="*/ 1032424 w 4664922"/>
              <a:gd name="connsiteY1536" fmla="*/ 1448523 h 1786050"/>
              <a:gd name="connsiteX1537" fmla="*/ 1027391 w 4664922"/>
              <a:gd name="connsiteY1537" fmla="*/ 1447193 h 1786050"/>
              <a:gd name="connsiteX1538" fmla="*/ 1007550 w 4664922"/>
              <a:gd name="connsiteY1538" fmla="*/ 1456564 h 1786050"/>
              <a:gd name="connsiteX1539" fmla="*/ 993610 w 4664922"/>
              <a:gd name="connsiteY1539" fmla="*/ 1463158 h 1786050"/>
              <a:gd name="connsiteX1540" fmla="*/ 980479 w 4664922"/>
              <a:gd name="connsiteY1540" fmla="*/ 1459514 h 1786050"/>
              <a:gd name="connsiteX1541" fmla="*/ 968911 w 4664922"/>
              <a:gd name="connsiteY1541" fmla="*/ 1454192 h 1786050"/>
              <a:gd name="connsiteX1542" fmla="*/ 966423 w 4664922"/>
              <a:gd name="connsiteY1542" fmla="*/ 1458588 h 1786050"/>
              <a:gd name="connsiteX1543" fmla="*/ 963415 w 4664922"/>
              <a:gd name="connsiteY1543" fmla="*/ 1463563 h 1786050"/>
              <a:gd name="connsiteX1544" fmla="*/ 956879 w 4664922"/>
              <a:gd name="connsiteY1544" fmla="*/ 1454886 h 1786050"/>
              <a:gd name="connsiteX1545" fmla="*/ 937443 w 4664922"/>
              <a:gd name="connsiteY1545" fmla="*/ 1438459 h 1786050"/>
              <a:gd name="connsiteX1546" fmla="*/ 934436 w 4664922"/>
              <a:gd name="connsiteY1546" fmla="*/ 1436492 h 1786050"/>
              <a:gd name="connsiteX1547" fmla="*/ 918123 w 4664922"/>
              <a:gd name="connsiteY1547" fmla="*/ 1432038 h 1786050"/>
              <a:gd name="connsiteX1548" fmla="*/ 902390 w 4664922"/>
              <a:gd name="connsiteY1548" fmla="*/ 1426253 h 1786050"/>
              <a:gd name="connsiteX1549" fmla="*/ 893077 w 4664922"/>
              <a:gd name="connsiteY1549" fmla="*/ 1421973 h 1786050"/>
              <a:gd name="connsiteX1550" fmla="*/ 885152 w 4664922"/>
              <a:gd name="connsiteY1550" fmla="*/ 1426427 h 1786050"/>
              <a:gd name="connsiteX1551" fmla="*/ 879078 w 4664922"/>
              <a:gd name="connsiteY1551" fmla="*/ 1431459 h 1786050"/>
              <a:gd name="connsiteX1552" fmla="*/ 871732 w 4664922"/>
              <a:gd name="connsiteY1552" fmla="*/ 1428509 h 1786050"/>
              <a:gd name="connsiteX1553" fmla="*/ 869071 w 4664922"/>
              <a:gd name="connsiteY1553" fmla="*/ 1426948 h 1786050"/>
              <a:gd name="connsiteX1554" fmla="*/ 866815 w 4664922"/>
              <a:gd name="connsiteY1554" fmla="*/ 1426543 h 1786050"/>
              <a:gd name="connsiteX1555" fmla="*/ 850966 w 4664922"/>
              <a:gd name="connsiteY1555" fmla="*/ 1432327 h 1786050"/>
              <a:gd name="connsiteX1556" fmla="*/ 849520 w 4664922"/>
              <a:gd name="connsiteY1556" fmla="*/ 1433079 h 1786050"/>
              <a:gd name="connsiteX1557" fmla="*/ 844719 w 4664922"/>
              <a:gd name="connsiteY1557" fmla="*/ 1435798 h 1786050"/>
              <a:gd name="connsiteX1558" fmla="*/ 819904 w 4664922"/>
              <a:gd name="connsiteY1558" fmla="*/ 1446557 h 1786050"/>
              <a:gd name="connsiteX1559" fmla="*/ 814755 w 4664922"/>
              <a:gd name="connsiteY1559" fmla="*/ 1451242 h 1786050"/>
              <a:gd name="connsiteX1560" fmla="*/ 805674 w 4664922"/>
              <a:gd name="connsiteY1560" fmla="*/ 1459861 h 1786050"/>
              <a:gd name="connsiteX1561" fmla="*/ 799022 w 4664922"/>
              <a:gd name="connsiteY1561" fmla="*/ 1463621 h 1786050"/>
              <a:gd name="connsiteX1562" fmla="*/ 799022 w 4664922"/>
              <a:gd name="connsiteY1562" fmla="*/ 1472297 h 1786050"/>
              <a:gd name="connsiteX1563" fmla="*/ 799022 w 4664922"/>
              <a:gd name="connsiteY1563" fmla="*/ 1472992 h 1786050"/>
              <a:gd name="connsiteX1564" fmla="*/ 800121 w 4664922"/>
              <a:gd name="connsiteY1564" fmla="*/ 1476115 h 1786050"/>
              <a:gd name="connsiteX1565" fmla="*/ 801451 w 4664922"/>
              <a:gd name="connsiteY1565" fmla="*/ 1486701 h 1786050"/>
              <a:gd name="connsiteX1566" fmla="*/ 792717 w 4664922"/>
              <a:gd name="connsiteY1566" fmla="*/ 1491907 h 1786050"/>
              <a:gd name="connsiteX1567" fmla="*/ 780801 w 4664922"/>
              <a:gd name="connsiteY1567" fmla="*/ 1481957 h 1786050"/>
              <a:gd name="connsiteX1568" fmla="*/ 773050 w 4664922"/>
              <a:gd name="connsiteY1568" fmla="*/ 1472934 h 1786050"/>
              <a:gd name="connsiteX1569" fmla="*/ 767266 w 4664922"/>
              <a:gd name="connsiteY1569" fmla="*/ 1470967 h 1786050"/>
              <a:gd name="connsiteX1570" fmla="*/ 758878 w 4664922"/>
              <a:gd name="connsiteY1570" fmla="*/ 1481784 h 1786050"/>
              <a:gd name="connsiteX1571" fmla="*/ 751763 w 4664922"/>
              <a:gd name="connsiteY1571" fmla="*/ 1491965 h 1786050"/>
              <a:gd name="connsiteX1572" fmla="*/ 744186 w 4664922"/>
              <a:gd name="connsiteY1572" fmla="*/ 1499253 h 1786050"/>
              <a:gd name="connsiteX1573" fmla="*/ 748466 w 4664922"/>
              <a:gd name="connsiteY1573" fmla="*/ 1507582 h 1786050"/>
              <a:gd name="connsiteX1574" fmla="*/ 752804 w 4664922"/>
              <a:gd name="connsiteY1574" fmla="*/ 1512037 h 1786050"/>
              <a:gd name="connsiteX1575" fmla="*/ 742566 w 4664922"/>
              <a:gd name="connsiteY1575" fmla="*/ 1521465 h 1786050"/>
              <a:gd name="connsiteX1576" fmla="*/ 736781 w 4664922"/>
              <a:gd name="connsiteY1576" fmla="*/ 1531993 h 1786050"/>
              <a:gd name="connsiteX1577" fmla="*/ 736781 w 4664922"/>
              <a:gd name="connsiteY1577" fmla="*/ 1536852 h 1786050"/>
              <a:gd name="connsiteX1578" fmla="*/ 742566 w 4664922"/>
              <a:gd name="connsiteY1578" fmla="*/ 1539165 h 1786050"/>
              <a:gd name="connsiteX1579" fmla="*/ 752920 w 4664922"/>
              <a:gd name="connsiteY1579" fmla="*/ 1548536 h 1786050"/>
              <a:gd name="connsiteX1580" fmla="*/ 752920 w 4664922"/>
              <a:gd name="connsiteY1580" fmla="*/ 1561609 h 1786050"/>
              <a:gd name="connsiteX1581" fmla="*/ 756217 w 4664922"/>
              <a:gd name="connsiteY1581" fmla="*/ 1561609 h 1786050"/>
              <a:gd name="connsiteX1582" fmla="*/ 767208 w 4664922"/>
              <a:gd name="connsiteY1582" fmla="*/ 1560047 h 1786050"/>
              <a:gd name="connsiteX1583" fmla="*/ 772356 w 4664922"/>
              <a:gd name="connsiteY1583" fmla="*/ 1560047 h 1786050"/>
              <a:gd name="connsiteX1584" fmla="*/ 776000 w 4664922"/>
              <a:gd name="connsiteY1584" fmla="*/ 1560047 h 1786050"/>
              <a:gd name="connsiteX1585" fmla="*/ 786007 w 4664922"/>
              <a:gd name="connsiteY1585" fmla="*/ 1569418 h 1786050"/>
              <a:gd name="connsiteX1586" fmla="*/ 793816 w 4664922"/>
              <a:gd name="connsiteY1586" fmla="*/ 1579830 h 1786050"/>
              <a:gd name="connsiteX1587" fmla="*/ 802435 w 4664922"/>
              <a:gd name="connsiteY1587" fmla="*/ 1594580 h 1786050"/>
              <a:gd name="connsiteX1588" fmla="*/ 796650 w 4664922"/>
              <a:gd name="connsiteY1588" fmla="*/ 1598630 h 1786050"/>
              <a:gd name="connsiteX1589" fmla="*/ 792774 w 4664922"/>
              <a:gd name="connsiteY1589" fmla="*/ 1601117 h 1786050"/>
              <a:gd name="connsiteX1590" fmla="*/ 802840 w 4664922"/>
              <a:gd name="connsiteY1590" fmla="*/ 1608636 h 1786050"/>
              <a:gd name="connsiteX1591" fmla="*/ 811921 w 4664922"/>
              <a:gd name="connsiteY1591" fmla="*/ 1613958 h 1786050"/>
              <a:gd name="connsiteX1592" fmla="*/ 812153 w 4664922"/>
              <a:gd name="connsiteY1592" fmla="*/ 1615578 h 1786050"/>
              <a:gd name="connsiteX1593" fmla="*/ 811921 w 4664922"/>
              <a:gd name="connsiteY1593" fmla="*/ 1615809 h 1786050"/>
              <a:gd name="connsiteX1594" fmla="*/ 793468 w 4664922"/>
              <a:gd name="connsiteY1594" fmla="*/ 1625643 h 1786050"/>
              <a:gd name="connsiteX1595" fmla="*/ 763679 w 4664922"/>
              <a:gd name="connsiteY1595" fmla="*/ 1645078 h 1786050"/>
              <a:gd name="connsiteX1596" fmla="*/ 754771 w 4664922"/>
              <a:gd name="connsiteY1596" fmla="*/ 1654970 h 1786050"/>
              <a:gd name="connsiteX1597" fmla="*/ 743202 w 4664922"/>
              <a:gd name="connsiteY1597" fmla="*/ 1672786 h 1786050"/>
              <a:gd name="connsiteX1598" fmla="*/ 749681 w 4664922"/>
              <a:gd name="connsiteY1598" fmla="*/ 1683082 h 1786050"/>
              <a:gd name="connsiteX1599" fmla="*/ 761249 w 4664922"/>
              <a:gd name="connsiteY1599" fmla="*/ 1713913 h 1786050"/>
              <a:gd name="connsiteX1600" fmla="*/ 760497 w 4664922"/>
              <a:gd name="connsiteY1600" fmla="*/ 1721144 h 1786050"/>
              <a:gd name="connsiteX1601" fmla="*/ 791560 w 4664922"/>
              <a:gd name="connsiteY1601" fmla="*/ 1768055 h 1786050"/>
              <a:gd name="connsiteX1602" fmla="*/ 791560 w 4664922"/>
              <a:gd name="connsiteY1602" fmla="*/ 1769096 h 1786050"/>
              <a:gd name="connsiteX1603" fmla="*/ 779991 w 4664922"/>
              <a:gd name="connsiteY1603" fmla="*/ 1778409 h 1786050"/>
              <a:gd name="connsiteX1604" fmla="*/ 773802 w 4664922"/>
              <a:gd name="connsiteY1604" fmla="*/ 1782111 h 1786050"/>
              <a:gd name="connsiteX1605" fmla="*/ 769174 w 4664922"/>
              <a:gd name="connsiteY1605" fmla="*/ 1785900 h 1786050"/>
              <a:gd name="connsiteX1606" fmla="*/ 768654 w 4664922"/>
              <a:gd name="connsiteY1606" fmla="*/ 1785814 h 1786050"/>
              <a:gd name="connsiteX1607" fmla="*/ 760497 w 4664922"/>
              <a:gd name="connsiteY1607" fmla="*/ 1781013 h 1786050"/>
              <a:gd name="connsiteX1608" fmla="*/ 765010 w 4664922"/>
              <a:gd name="connsiteY1608" fmla="*/ 1782401 h 1786050"/>
              <a:gd name="connsiteX1609" fmla="*/ 768654 w 4664922"/>
              <a:gd name="connsiteY1609" fmla="*/ 1783558 h 1786050"/>
              <a:gd name="connsiteX1610" fmla="*/ 770620 w 4664922"/>
              <a:gd name="connsiteY1610" fmla="*/ 1781880 h 1786050"/>
              <a:gd name="connsiteX1611" fmla="*/ 778198 w 4664922"/>
              <a:gd name="connsiteY1611" fmla="*/ 1776848 h 1786050"/>
              <a:gd name="connsiteX1612" fmla="*/ 788031 w 4664922"/>
              <a:gd name="connsiteY1612" fmla="*/ 1769559 h 1786050"/>
              <a:gd name="connsiteX1613" fmla="*/ 756853 w 4664922"/>
              <a:gd name="connsiteY1613" fmla="*/ 1721606 h 1786050"/>
              <a:gd name="connsiteX1614" fmla="*/ 757663 w 4664922"/>
              <a:gd name="connsiteY1614" fmla="*/ 1714144 h 1786050"/>
              <a:gd name="connsiteX1615" fmla="*/ 746731 w 4664922"/>
              <a:gd name="connsiteY1615" fmla="*/ 1685222 h 1786050"/>
              <a:gd name="connsiteX1616" fmla="*/ 739500 w 4664922"/>
              <a:gd name="connsiteY1616" fmla="*/ 1673306 h 1786050"/>
              <a:gd name="connsiteX1617" fmla="*/ 751531 w 4664922"/>
              <a:gd name="connsiteY1617" fmla="*/ 1653813 h 1786050"/>
              <a:gd name="connsiteX1618" fmla="*/ 760324 w 4664922"/>
              <a:gd name="connsiteY1618" fmla="*/ 1644095 h 1786050"/>
              <a:gd name="connsiteX1619" fmla="*/ 790866 w 4664922"/>
              <a:gd name="connsiteY1619" fmla="*/ 1624023 h 1786050"/>
              <a:gd name="connsiteX1620" fmla="*/ 807641 w 4664922"/>
              <a:gd name="connsiteY1620" fmla="*/ 1615289 h 1786050"/>
              <a:gd name="connsiteX1621" fmla="*/ 800294 w 4664922"/>
              <a:gd name="connsiteY1621" fmla="*/ 1611124 h 1786050"/>
              <a:gd name="connsiteX1622" fmla="*/ 788726 w 4664922"/>
              <a:gd name="connsiteY1622" fmla="*/ 1601348 h 1786050"/>
              <a:gd name="connsiteX1623" fmla="*/ 794220 w 4664922"/>
              <a:gd name="connsiteY1623" fmla="*/ 1596836 h 1786050"/>
              <a:gd name="connsiteX1624" fmla="*/ 798154 w 4664922"/>
              <a:gd name="connsiteY1624" fmla="*/ 1594349 h 1786050"/>
              <a:gd name="connsiteX1625" fmla="*/ 790056 w 4664922"/>
              <a:gd name="connsiteY1625" fmla="*/ 1581739 h 1786050"/>
              <a:gd name="connsiteX1626" fmla="*/ 782073 w 4664922"/>
              <a:gd name="connsiteY1626" fmla="*/ 1571096 h 1786050"/>
              <a:gd name="connsiteX1627" fmla="*/ 773918 w 4664922"/>
              <a:gd name="connsiteY1627" fmla="*/ 1562708 h 1786050"/>
              <a:gd name="connsiteX1628" fmla="*/ 770158 w 4664922"/>
              <a:gd name="connsiteY1628" fmla="*/ 1562708 h 1786050"/>
              <a:gd name="connsiteX1629" fmla="*/ 765125 w 4664922"/>
              <a:gd name="connsiteY1629" fmla="*/ 1562708 h 1786050"/>
              <a:gd name="connsiteX1630" fmla="*/ 754887 w 4664922"/>
              <a:gd name="connsiteY1630" fmla="*/ 1564154 h 1786050"/>
              <a:gd name="connsiteX1631" fmla="*/ 749102 w 4664922"/>
              <a:gd name="connsiteY1631" fmla="*/ 1563287 h 1786050"/>
              <a:gd name="connsiteX1632" fmla="*/ 748524 w 4664922"/>
              <a:gd name="connsiteY1632" fmla="*/ 1548478 h 1786050"/>
              <a:gd name="connsiteX1633" fmla="*/ 739789 w 4664922"/>
              <a:gd name="connsiteY1633" fmla="*/ 1541479 h 1786050"/>
              <a:gd name="connsiteX1634" fmla="*/ 732964 w 4664922"/>
              <a:gd name="connsiteY1634" fmla="*/ 1538240 h 1786050"/>
              <a:gd name="connsiteX1635" fmla="*/ 732964 w 4664922"/>
              <a:gd name="connsiteY1635" fmla="*/ 1531588 h 1786050"/>
              <a:gd name="connsiteX1636" fmla="*/ 739616 w 4664922"/>
              <a:gd name="connsiteY1636" fmla="*/ 1519672 h 1786050"/>
              <a:gd name="connsiteX1637" fmla="*/ 748697 w 4664922"/>
              <a:gd name="connsiteY1637" fmla="*/ 1512210 h 1786050"/>
              <a:gd name="connsiteX1638" fmla="*/ 745516 w 4664922"/>
              <a:gd name="connsiteY1638" fmla="*/ 1509723 h 1786050"/>
              <a:gd name="connsiteX1639" fmla="*/ 740368 w 4664922"/>
              <a:gd name="connsiteY1639" fmla="*/ 1498154 h 1786050"/>
              <a:gd name="connsiteX1640" fmla="*/ 748639 w 4664922"/>
              <a:gd name="connsiteY1640" fmla="*/ 1490056 h 1786050"/>
              <a:gd name="connsiteX1641" fmla="*/ 754771 w 4664922"/>
              <a:gd name="connsiteY1641" fmla="*/ 1481784 h 1786050"/>
              <a:gd name="connsiteX1642" fmla="*/ 765414 w 4664922"/>
              <a:gd name="connsiteY1642" fmla="*/ 1468711 h 1786050"/>
              <a:gd name="connsiteX1643" fmla="*/ 772298 w 4664922"/>
              <a:gd name="connsiteY1643" fmla="*/ 1471141 h 1786050"/>
              <a:gd name="connsiteX1644" fmla="*/ 780569 w 4664922"/>
              <a:gd name="connsiteY1644" fmla="*/ 1480685 h 1786050"/>
              <a:gd name="connsiteX1645" fmla="*/ 793006 w 4664922"/>
              <a:gd name="connsiteY1645" fmla="*/ 1489188 h 1786050"/>
              <a:gd name="connsiteX1646" fmla="*/ 797286 w 4664922"/>
              <a:gd name="connsiteY1646" fmla="*/ 1485775 h 1786050"/>
              <a:gd name="connsiteX1647" fmla="*/ 795956 w 4664922"/>
              <a:gd name="connsiteY1647" fmla="*/ 1476925 h 1786050"/>
              <a:gd name="connsiteX1648" fmla="*/ 794742 w 4664922"/>
              <a:gd name="connsiteY1648" fmla="*/ 1473570 h 1786050"/>
              <a:gd name="connsiteX1649" fmla="*/ 794742 w 4664922"/>
              <a:gd name="connsiteY1649" fmla="*/ 1472876 h 1786050"/>
              <a:gd name="connsiteX1650" fmla="*/ 794742 w 4664922"/>
              <a:gd name="connsiteY1650" fmla="*/ 1462406 h 1786050"/>
              <a:gd name="connsiteX1651" fmla="*/ 802840 w 4664922"/>
              <a:gd name="connsiteY1651" fmla="*/ 1457663 h 1786050"/>
              <a:gd name="connsiteX1652" fmla="*/ 810359 w 4664922"/>
              <a:gd name="connsiteY1652" fmla="*/ 1450375 h 1786050"/>
              <a:gd name="connsiteX1653" fmla="*/ 817590 w 4664922"/>
              <a:gd name="connsiteY1653" fmla="*/ 1444301 h 1786050"/>
              <a:gd name="connsiteX1654" fmla="*/ 841248 w 4664922"/>
              <a:gd name="connsiteY1654" fmla="*/ 1433889 h 1786050"/>
              <a:gd name="connsiteX1655" fmla="*/ 846165 w 4664922"/>
              <a:gd name="connsiteY1655" fmla="*/ 1431055 h 1786050"/>
              <a:gd name="connsiteX1656" fmla="*/ 847611 w 4664922"/>
              <a:gd name="connsiteY1656" fmla="*/ 1430303 h 1786050"/>
              <a:gd name="connsiteX1657" fmla="*/ 864501 w 4664922"/>
              <a:gd name="connsiteY1657" fmla="*/ 1424518 h 1786050"/>
              <a:gd name="connsiteX1658" fmla="*/ 867799 w 4664922"/>
              <a:gd name="connsiteY1658" fmla="*/ 1425212 h 1786050"/>
              <a:gd name="connsiteX1659" fmla="*/ 870575 w 4664922"/>
              <a:gd name="connsiteY1659" fmla="*/ 1426774 h 1786050"/>
              <a:gd name="connsiteX1660" fmla="*/ 876764 w 4664922"/>
              <a:gd name="connsiteY1660" fmla="*/ 1429435 h 1786050"/>
              <a:gd name="connsiteX1661" fmla="*/ 880756 w 4664922"/>
              <a:gd name="connsiteY1661" fmla="*/ 1425733 h 1786050"/>
              <a:gd name="connsiteX1662" fmla="*/ 890763 w 4664922"/>
              <a:gd name="connsiteY1662" fmla="*/ 1419948 h 1786050"/>
              <a:gd name="connsiteX1663" fmla="*/ 902332 w 4664922"/>
              <a:gd name="connsiteY1663" fmla="*/ 1425733 h 1786050"/>
              <a:gd name="connsiteX1664" fmla="*/ 916272 w 4664922"/>
              <a:gd name="connsiteY1664" fmla="*/ 1429956 h 1786050"/>
              <a:gd name="connsiteX1665" fmla="*/ 933626 w 4664922"/>
              <a:gd name="connsiteY1665" fmla="*/ 1434757 h 1786050"/>
              <a:gd name="connsiteX1666" fmla="*/ 936633 w 4664922"/>
              <a:gd name="connsiteY1666" fmla="*/ 1436781 h 1786050"/>
              <a:gd name="connsiteX1667" fmla="*/ 957110 w 4664922"/>
              <a:gd name="connsiteY1667" fmla="*/ 1455060 h 1786050"/>
              <a:gd name="connsiteX1668" fmla="*/ 961391 w 4664922"/>
              <a:gd name="connsiteY1668" fmla="*/ 1461481 h 1786050"/>
              <a:gd name="connsiteX1669" fmla="*/ 962200 w 4664922"/>
              <a:gd name="connsiteY1669" fmla="*/ 1458762 h 1786050"/>
              <a:gd name="connsiteX1670" fmla="*/ 966886 w 4664922"/>
              <a:gd name="connsiteY1670" fmla="*/ 1452110 h 1786050"/>
              <a:gd name="connsiteX1671" fmla="*/ 979612 w 4664922"/>
              <a:gd name="connsiteY1671" fmla="*/ 1457894 h 1786050"/>
              <a:gd name="connsiteX1672" fmla="*/ 991585 w 4664922"/>
              <a:gd name="connsiteY1672" fmla="*/ 1461191 h 1786050"/>
              <a:gd name="connsiteX1673" fmla="*/ 1003154 w 4664922"/>
              <a:gd name="connsiteY1673" fmla="*/ 1455985 h 1786050"/>
              <a:gd name="connsiteX1674" fmla="*/ 1025077 w 4664922"/>
              <a:gd name="connsiteY1674" fmla="*/ 1445226 h 1786050"/>
              <a:gd name="connsiteX1675" fmla="*/ 1031556 w 4664922"/>
              <a:gd name="connsiteY1675" fmla="*/ 1447077 h 1786050"/>
              <a:gd name="connsiteX1676" fmla="*/ 1033349 w 4664922"/>
              <a:gd name="connsiteY1676" fmla="*/ 1448581 h 1786050"/>
              <a:gd name="connsiteX1677" fmla="*/ 1039538 w 4664922"/>
              <a:gd name="connsiteY1677" fmla="*/ 1452168 h 1786050"/>
              <a:gd name="connsiteX1678" fmla="*/ 1045786 w 4664922"/>
              <a:gd name="connsiteY1678" fmla="*/ 1448350 h 1786050"/>
              <a:gd name="connsiteX1679" fmla="*/ 1060420 w 4664922"/>
              <a:gd name="connsiteY1679" fmla="*/ 1443144 h 1786050"/>
              <a:gd name="connsiteX1680" fmla="*/ 1074303 w 4664922"/>
              <a:gd name="connsiteY1680" fmla="*/ 1449970 h 1786050"/>
              <a:gd name="connsiteX1681" fmla="*/ 1091656 w 4664922"/>
              <a:gd name="connsiteY1681" fmla="*/ 1457721 h 1786050"/>
              <a:gd name="connsiteX1682" fmla="*/ 1100275 w 4664922"/>
              <a:gd name="connsiteY1682" fmla="*/ 1463505 h 1786050"/>
              <a:gd name="connsiteX1683" fmla="*/ 1103630 w 4664922"/>
              <a:gd name="connsiteY1683" fmla="*/ 1466571 h 1786050"/>
              <a:gd name="connsiteX1684" fmla="*/ 1104439 w 4664922"/>
              <a:gd name="connsiteY1684" fmla="*/ 1466571 h 1786050"/>
              <a:gd name="connsiteX1685" fmla="*/ 1107911 w 4664922"/>
              <a:gd name="connsiteY1685" fmla="*/ 1460324 h 1786050"/>
              <a:gd name="connsiteX1686" fmla="*/ 1113695 w 4664922"/>
              <a:gd name="connsiteY1686" fmla="*/ 1453035 h 1786050"/>
              <a:gd name="connsiteX1687" fmla="*/ 1114736 w 4664922"/>
              <a:gd name="connsiteY1687" fmla="*/ 1453035 h 1786050"/>
              <a:gd name="connsiteX1688" fmla="*/ 1122140 w 4664922"/>
              <a:gd name="connsiteY1688" fmla="*/ 1456680 h 1786050"/>
              <a:gd name="connsiteX1689" fmla="*/ 1135097 w 4664922"/>
              <a:gd name="connsiteY1689" fmla="*/ 1461481 h 1786050"/>
              <a:gd name="connsiteX1690" fmla="*/ 1150946 w 4664922"/>
              <a:gd name="connsiteY1690" fmla="*/ 1452977 h 1786050"/>
              <a:gd name="connsiteX1691" fmla="*/ 1144815 w 4664922"/>
              <a:gd name="connsiteY1691" fmla="*/ 1434699 h 1786050"/>
              <a:gd name="connsiteX1692" fmla="*/ 1135502 w 4664922"/>
              <a:gd name="connsiteY1692" fmla="*/ 1431749 h 1786050"/>
              <a:gd name="connsiteX1693" fmla="*/ 1125437 w 4664922"/>
              <a:gd name="connsiteY1693" fmla="*/ 1428625 h 1786050"/>
              <a:gd name="connsiteX1694" fmla="*/ 1113868 w 4664922"/>
              <a:gd name="connsiteY1694" fmla="*/ 1418271 h 1786050"/>
              <a:gd name="connsiteX1695" fmla="*/ 1117512 w 4664922"/>
              <a:gd name="connsiteY1695" fmla="*/ 1411908 h 1786050"/>
              <a:gd name="connsiteX1696" fmla="*/ 1133651 w 4664922"/>
              <a:gd name="connsiteY1696" fmla="*/ 1401670 h 1786050"/>
              <a:gd name="connsiteX1697" fmla="*/ 1133651 w 4664922"/>
              <a:gd name="connsiteY1697" fmla="*/ 1398835 h 1786050"/>
              <a:gd name="connsiteX1698" fmla="*/ 1132899 w 4664922"/>
              <a:gd name="connsiteY1698" fmla="*/ 1381945 h 1786050"/>
              <a:gd name="connsiteX1699" fmla="*/ 1139435 w 4664922"/>
              <a:gd name="connsiteY1699" fmla="*/ 1377953 h 1786050"/>
              <a:gd name="connsiteX1700" fmla="*/ 1149385 w 4664922"/>
              <a:gd name="connsiteY1700" fmla="*/ 1377086 h 1786050"/>
              <a:gd name="connsiteX1701" fmla="*/ 1167606 w 4664922"/>
              <a:gd name="connsiteY1701" fmla="*/ 1374367 h 1786050"/>
              <a:gd name="connsiteX1702" fmla="*/ 1158697 w 4664922"/>
              <a:gd name="connsiteY1702" fmla="*/ 1370665 h 1786050"/>
              <a:gd name="connsiteX1703" fmla="*/ 1143484 w 4664922"/>
              <a:gd name="connsiteY1703" fmla="*/ 1362683 h 1786050"/>
              <a:gd name="connsiteX1704" fmla="*/ 1142559 w 4664922"/>
              <a:gd name="connsiteY1704" fmla="*/ 1338156 h 1786050"/>
              <a:gd name="connsiteX1705" fmla="*/ 1147938 w 4664922"/>
              <a:gd name="connsiteY1705" fmla="*/ 1337058 h 1786050"/>
              <a:gd name="connsiteX1706" fmla="*/ 1153202 w 4664922"/>
              <a:gd name="connsiteY1706" fmla="*/ 1337058 h 1786050"/>
              <a:gd name="connsiteX1707" fmla="*/ 1159391 w 4664922"/>
              <a:gd name="connsiteY1707" fmla="*/ 1337347 h 1786050"/>
              <a:gd name="connsiteX1708" fmla="*/ 1165928 w 4664922"/>
              <a:gd name="connsiteY1708" fmla="*/ 1336537 h 1786050"/>
              <a:gd name="connsiteX1709" fmla="*/ 1171192 w 4664922"/>
              <a:gd name="connsiteY1709" fmla="*/ 1335901 h 1786050"/>
              <a:gd name="connsiteX1710" fmla="*/ 1177439 w 4664922"/>
              <a:gd name="connsiteY1710" fmla="*/ 1336248 h 1786050"/>
              <a:gd name="connsiteX1711" fmla="*/ 1184959 w 4664922"/>
              <a:gd name="connsiteY1711" fmla="*/ 1336595 h 1786050"/>
              <a:gd name="connsiteX1712" fmla="*/ 1198263 w 4664922"/>
              <a:gd name="connsiteY1712" fmla="*/ 1333066 h 1786050"/>
              <a:gd name="connsiteX1713" fmla="*/ 1240143 w 4664922"/>
              <a:gd name="connsiteY1713" fmla="*/ 1324390 h 1786050"/>
              <a:gd name="connsiteX1714" fmla="*/ 1256628 w 4664922"/>
              <a:gd name="connsiteY1714" fmla="*/ 1319762 h 1786050"/>
              <a:gd name="connsiteX1715" fmla="*/ 1267850 w 4664922"/>
              <a:gd name="connsiteY1715" fmla="*/ 1315944 h 1786050"/>
              <a:gd name="connsiteX1716" fmla="*/ 1306374 w 4664922"/>
              <a:gd name="connsiteY1716" fmla="*/ 1308714 h 1786050"/>
              <a:gd name="connsiteX1717" fmla="*/ 1317538 w 4664922"/>
              <a:gd name="connsiteY1717" fmla="*/ 1305879 h 1786050"/>
              <a:gd name="connsiteX1718" fmla="*/ 1345650 w 4664922"/>
              <a:gd name="connsiteY1718" fmla="*/ 1296219 h 1786050"/>
              <a:gd name="connsiteX1719" fmla="*/ 1374573 w 4664922"/>
              <a:gd name="connsiteY1719" fmla="*/ 1286502 h 1786050"/>
              <a:gd name="connsiteX1720" fmla="*/ 1381456 w 4664922"/>
              <a:gd name="connsiteY1720" fmla="*/ 1287543 h 1786050"/>
              <a:gd name="connsiteX1721" fmla="*/ 1396495 w 4664922"/>
              <a:gd name="connsiteY1721" fmla="*/ 1291476 h 1786050"/>
              <a:gd name="connsiteX1722" fmla="*/ 1401759 w 4664922"/>
              <a:gd name="connsiteY1722" fmla="*/ 1290551 h 1786050"/>
              <a:gd name="connsiteX1723" fmla="*/ 1419112 w 4664922"/>
              <a:gd name="connsiteY1723" fmla="*/ 1296335 h 1786050"/>
              <a:gd name="connsiteX1724" fmla="*/ 1421137 w 4664922"/>
              <a:gd name="connsiteY1724" fmla="*/ 1302640 h 1786050"/>
              <a:gd name="connsiteX1725" fmla="*/ 1423624 w 4664922"/>
              <a:gd name="connsiteY1725" fmla="*/ 1312936 h 1786050"/>
              <a:gd name="connsiteX1726" fmla="*/ 1425996 w 4664922"/>
              <a:gd name="connsiteY1726" fmla="*/ 1321902 h 1786050"/>
              <a:gd name="connsiteX1727" fmla="*/ 1423335 w 4664922"/>
              <a:gd name="connsiteY1727" fmla="*/ 1327687 h 1786050"/>
              <a:gd name="connsiteX1728" fmla="*/ 1422699 w 4664922"/>
              <a:gd name="connsiteY1728" fmla="*/ 1332488 h 1786050"/>
              <a:gd name="connsiteX1729" fmla="*/ 1428483 w 4664922"/>
              <a:gd name="connsiteY1729" fmla="*/ 1334107 h 1786050"/>
              <a:gd name="connsiteX1730" fmla="*/ 1445836 w 4664922"/>
              <a:gd name="connsiteY1730" fmla="*/ 1328323 h 1786050"/>
              <a:gd name="connsiteX1731" fmla="*/ 1450233 w 4664922"/>
              <a:gd name="connsiteY1731" fmla="*/ 1326125 h 1786050"/>
              <a:gd name="connsiteX1732" fmla="*/ 1458099 w 4664922"/>
              <a:gd name="connsiteY1732" fmla="*/ 1335727 h 1786050"/>
              <a:gd name="connsiteX1733" fmla="*/ 1462265 w 4664922"/>
              <a:gd name="connsiteY1733" fmla="*/ 1339371 h 1786050"/>
              <a:gd name="connsiteX1734" fmla="*/ 1463711 w 4664922"/>
              <a:gd name="connsiteY1734" fmla="*/ 1337578 h 1786050"/>
              <a:gd name="connsiteX1735" fmla="*/ 1467354 w 4664922"/>
              <a:gd name="connsiteY1735" fmla="*/ 1333622 h 1786050"/>
              <a:gd name="connsiteX1736" fmla="*/ 1467991 w 4664922"/>
              <a:gd name="connsiteY1736" fmla="*/ 1333645 h 1786050"/>
              <a:gd name="connsiteX1737" fmla="*/ 1478461 w 4664922"/>
              <a:gd name="connsiteY1737" fmla="*/ 1338677 h 1786050"/>
              <a:gd name="connsiteX1738" fmla="*/ 1484939 w 4664922"/>
              <a:gd name="connsiteY1738" fmla="*/ 1338677 h 1786050"/>
              <a:gd name="connsiteX1739" fmla="*/ 1489567 w 4664922"/>
              <a:gd name="connsiteY1739" fmla="*/ 1337867 h 1786050"/>
              <a:gd name="connsiteX1740" fmla="*/ 1493269 w 4664922"/>
              <a:gd name="connsiteY1740" fmla="*/ 1340592 h 1786050"/>
              <a:gd name="connsiteX1741" fmla="*/ 1493269 w 4664922"/>
              <a:gd name="connsiteY1741" fmla="*/ 1341396 h 1786050"/>
              <a:gd name="connsiteX1742" fmla="*/ 1487079 w 4664922"/>
              <a:gd name="connsiteY1742" fmla="*/ 1349321 h 1786050"/>
              <a:gd name="connsiteX1743" fmla="*/ 1481758 w 4664922"/>
              <a:gd name="connsiteY1743" fmla="*/ 1355510 h 1786050"/>
              <a:gd name="connsiteX1744" fmla="*/ 1483146 w 4664922"/>
              <a:gd name="connsiteY1744" fmla="*/ 1358113 h 1786050"/>
              <a:gd name="connsiteX1745" fmla="*/ 1486270 w 4664922"/>
              <a:gd name="connsiteY1745" fmla="*/ 1359559 h 1786050"/>
              <a:gd name="connsiteX1746" fmla="*/ 1492054 w 4664922"/>
              <a:gd name="connsiteY1746" fmla="*/ 1356609 h 1786050"/>
              <a:gd name="connsiteX1747" fmla="*/ 1500789 w 4664922"/>
              <a:gd name="connsiteY1747" fmla="*/ 1352560 h 1786050"/>
              <a:gd name="connsiteX1748" fmla="*/ 1503681 w 4664922"/>
              <a:gd name="connsiteY1748" fmla="*/ 1353023 h 1786050"/>
              <a:gd name="connsiteX1749" fmla="*/ 1521034 w 4664922"/>
              <a:gd name="connsiteY1749" fmla="*/ 1346775 h 1786050"/>
              <a:gd name="connsiteX1750" fmla="*/ 1532603 w 4664922"/>
              <a:gd name="connsiteY1750" fmla="*/ 1340991 h 1786050"/>
              <a:gd name="connsiteX1751" fmla="*/ 1549956 w 4664922"/>
              <a:gd name="connsiteY1751" fmla="*/ 1331794 h 1786050"/>
              <a:gd name="connsiteX1752" fmla="*/ 1557013 w 4664922"/>
              <a:gd name="connsiteY1752" fmla="*/ 1327224 h 1786050"/>
              <a:gd name="connsiteX1753" fmla="*/ 1569045 w 4664922"/>
              <a:gd name="connsiteY1753" fmla="*/ 1324447 h 1786050"/>
              <a:gd name="connsiteX1754" fmla="*/ 1577664 w 4664922"/>
              <a:gd name="connsiteY1754" fmla="*/ 1327340 h 1786050"/>
              <a:gd name="connsiteX1755" fmla="*/ 1576564 w 4664922"/>
              <a:gd name="connsiteY1755" fmla="*/ 1330810 h 1786050"/>
              <a:gd name="connsiteX1756" fmla="*/ 1572342 w 4664922"/>
              <a:gd name="connsiteY1756" fmla="*/ 1340297 h 1786050"/>
              <a:gd name="connsiteX1757" fmla="*/ 1583911 w 4664922"/>
              <a:gd name="connsiteY1757" fmla="*/ 1349552 h 1786050"/>
              <a:gd name="connsiteX1758" fmla="*/ 1630186 w 4664922"/>
              <a:gd name="connsiteY1758" fmla="*/ 1402248 h 1786050"/>
              <a:gd name="connsiteX1759" fmla="*/ 1634756 w 4664922"/>
              <a:gd name="connsiteY1759" fmla="*/ 1409305 h 1786050"/>
              <a:gd name="connsiteX1760" fmla="*/ 1648523 w 4664922"/>
              <a:gd name="connsiteY1760" fmla="*/ 1435277 h 1786050"/>
              <a:gd name="connsiteX1761" fmla="*/ 1662232 w 4664922"/>
              <a:gd name="connsiteY1761" fmla="*/ 1457894 h 1786050"/>
              <a:gd name="connsiteX1762" fmla="*/ 1668017 w 4664922"/>
              <a:gd name="connsiteY1762" fmla="*/ 1450779 h 1786050"/>
              <a:gd name="connsiteX1763" fmla="*/ 1677561 w 4664922"/>
              <a:gd name="connsiteY1763" fmla="*/ 1440367 h 1786050"/>
              <a:gd name="connsiteX1764" fmla="*/ 1679123 w 4664922"/>
              <a:gd name="connsiteY1764" fmla="*/ 1440367 h 1786050"/>
              <a:gd name="connsiteX1765" fmla="*/ 1689766 w 4664922"/>
              <a:gd name="connsiteY1765" fmla="*/ 1448003 h 1786050"/>
              <a:gd name="connsiteX1766" fmla="*/ 1699253 w 4664922"/>
              <a:gd name="connsiteY1766" fmla="*/ 1455638 h 1786050"/>
              <a:gd name="connsiteX1767" fmla="*/ 1706657 w 4664922"/>
              <a:gd name="connsiteY1767" fmla="*/ 1457605 h 1786050"/>
              <a:gd name="connsiteX1768" fmla="*/ 1721291 w 4664922"/>
              <a:gd name="connsiteY1768" fmla="*/ 1460555 h 1786050"/>
              <a:gd name="connsiteX1769" fmla="*/ 1725283 w 4664922"/>
              <a:gd name="connsiteY1769" fmla="*/ 1459919 h 1786050"/>
              <a:gd name="connsiteX1770" fmla="*/ 1731067 w 4664922"/>
              <a:gd name="connsiteY1770" fmla="*/ 1457374 h 1786050"/>
              <a:gd name="connsiteX1771" fmla="*/ 1749635 w 4664922"/>
              <a:gd name="connsiteY1771" fmla="*/ 1451589 h 1786050"/>
              <a:gd name="connsiteX1772" fmla="*/ 1753221 w 4664922"/>
              <a:gd name="connsiteY1772" fmla="*/ 1452399 h 1786050"/>
              <a:gd name="connsiteX1773" fmla="*/ 1757097 w 4664922"/>
              <a:gd name="connsiteY1773" fmla="*/ 1454134 h 1786050"/>
              <a:gd name="connsiteX1774" fmla="*/ 1771326 w 4664922"/>
              <a:gd name="connsiteY1774" fmla="*/ 1467439 h 1786050"/>
              <a:gd name="connsiteX1775" fmla="*/ 1787234 w 4664922"/>
              <a:gd name="connsiteY1775" fmla="*/ 1480743 h 1786050"/>
              <a:gd name="connsiteX1776" fmla="*/ 1794232 w 4664922"/>
              <a:gd name="connsiteY1776" fmla="*/ 1492312 h 1786050"/>
              <a:gd name="connsiteX1777" fmla="*/ 1806785 w 4664922"/>
              <a:gd name="connsiteY1777" fmla="*/ 1502492 h 1786050"/>
              <a:gd name="connsiteX1778" fmla="*/ 1828014 w 4664922"/>
              <a:gd name="connsiteY1778" fmla="*/ 1498617 h 1786050"/>
              <a:gd name="connsiteX1779" fmla="*/ 1835187 w 4664922"/>
              <a:gd name="connsiteY1779" fmla="*/ 1495840 h 1786050"/>
              <a:gd name="connsiteX1780" fmla="*/ 1839409 w 4664922"/>
              <a:gd name="connsiteY1780" fmla="*/ 1500236 h 1786050"/>
              <a:gd name="connsiteX1781" fmla="*/ 1850978 w 4664922"/>
              <a:gd name="connsiteY1781" fmla="*/ 1513772 h 1786050"/>
              <a:gd name="connsiteX1782" fmla="*/ 1857052 w 4664922"/>
              <a:gd name="connsiteY1782" fmla="*/ 1514697 h 1786050"/>
              <a:gd name="connsiteX1783" fmla="*/ 1862836 w 4664922"/>
              <a:gd name="connsiteY1783" fmla="*/ 1515565 h 1786050"/>
              <a:gd name="connsiteX1784" fmla="*/ 1865034 w 4664922"/>
              <a:gd name="connsiteY1784" fmla="*/ 1514697 h 1786050"/>
              <a:gd name="connsiteX1785" fmla="*/ 1884528 w 4664922"/>
              <a:gd name="connsiteY1785" fmla="*/ 1506541 h 1786050"/>
              <a:gd name="connsiteX1786" fmla="*/ 1908707 w 4664922"/>
              <a:gd name="connsiteY1786" fmla="*/ 1495898 h 1786050"/>
              <a:gd name="connsiteX1787" fmla="*/ 1921432 w 4664922"/>
              <a:gd name="connsiteY1787" fmla="*/ 1487684 h 1786050"/>
              <a:gd name="connsiteX1788" fmla="*/ 1929878 w 4664922"/>
              <a:gd name="connsiteY1788" fmla="*/ 1483519 h 1786050"/>
              <a:gd name="connsiteX1789" fmla="*/ 1939017 w 4664922"/>
              <a:gd name="connsiteY1789" fmla="*/ 1477735 h 1786050"/>
              <a:gd name="connsiteX1790" fmla="*/ 1947462 w 4664922"/>
              <a:gd name="connsiteY1790" fmla="*/ 1471950 h 1786050"/>
              <a:gd name="connsiteX1791" fmla="*/ 1958337 w 4664922"/>
              <a:gd name="connsiteY1791" fmla="*/ 1466918 h 1786050"/>
              <a:gd name="connsiteX1792" fmla="*/ 1966030 w 4664922"/>
              <a:gd name="connsiteY1792" fmla="*/ 1463968 h 1786050"/>
              <a:gd name="connsiteX1793" fmla="*/ 1979739 w 4664922"/>
              <a:gd name="connsiteY1793" fmla="*/ 1459225 h 1786050"/>
              <a:gd name="connsiteX1794" fmla="*/ 1986796 w 4664922"/>
              <a:gd name="connsiteY1794" fmla="*/ 1460034 h 1786050"/>
              <a:gd name="connsiteX1795" fmla="*/ 2023296 w 4664922"/>
              <a:gd name="connsiteY1795" fmla="*/ 1466571 h 1786050"/>
              <a:gd name="connsiteX1796" fmla="*/ 2024743 w 4664922"/>
              <a:gd name="connsiteY1796" fmla="*/ 1466571 h 1786050"/>
              <a:gd name="connsiteX1797" fmla="*/ 2030064 w 4664922"/>
              <a:gd name="connsiteY1797" fmla="*/ 1474843 h 1786050"/>
              <a:gd name="connsiteX1798" fmla="*/ 2033534 w 4664922"/>
              <a:gd name="connsiteY1798" fmla="*/ 1482015 h 1786050"/>
              <a:gd name="connsiteX1799" fmla="*/ 2040938 w 4664922"/>
              <a:gd name="connsiteY1799" fmla="*/ 1485659 h 1786050"/>
              <a:gd name="connsiteX1800" fmla="*/ 2053953 w 4664922"/>
              <a:gd name="connsiteY1800" fmla="*/ 1491444 h 1786050"/>
              <a:gd name="connsiteX1801" fmla="*/ 2055226 w 4664922"/>
              <a:gd name="connsiteY1801" fmla="*/ 1491097 h 1786050"/>
              <a:gd name="connsiteX1802" fmla="*/ 2068530 w 4664922"/>
              <a:gd name="connsiteY1802" fmla="*/ 1486758 h 1786050"/>
              <a:gd name="connsiteX1803" fmla="*/ 2078306 w 4664922"/>
              <a:gd name="connsiteY1803" fmla="*/ 1489362 h 1786050"/>
              <a:gd name="connsiteX1804" fmla="*/ 2081893 w 4664922"/>
              <a:gd name="connsiteY1804" fmla="*/ 1491618 h 1786050"/>
              <a:gd name="connsiteX1805" fmla="*/ 2096122 w 4664922"/>
              <a:gd name="connsiteY1805" fmla="*/ 1495435 h 1786050"/>
              <a:gd name="connsiteX1806" fmla="*/ 2110757 w 4664922"/>
              <a:gd name="connsiteY1806" fmla="*/ 1487568 h 1786050"/>
              <a:gd name="connsiteX1807" fmla="*/ 2118855 w 4664922"/>
              <a:gd name="connsiteY1807" fmla="*/ 1484040 h 1786050"/>
              <a:gd name="connsiteX1808" fmla="*/ 2119838 w 4664922"/>
              <a:gd name="connsiteY1808" fmla="*/ 1469405 h 1786050"/>
              <a:gd name="connsiteX1809" fmla="*/ 2109773 w 4664922"/>
              <a:gd name="connsiteY1809" fmla="*/ 1446267 h 1786050"/>
              <a:gd name="connsiteX1810" fmla="*/ 2115558 w 4664922"/>
              <a:gd name="connsiteY1810" fmla="*/ 1437186 h 1786050"/>
              <a:gd name="connsiteX1811" fmla="*/ 2120880 w 4664922"/>
              <a:gd name="connsiteY1811" fmla="*/ 1431922 h 1786050"/>
              <a:gd name="connsiteX1812" fmla="*/ 2130366 w 4664922"/>
              <a:gd name="connsiteY1812" fmla="*/ 1424576 h 1786050"/>
              <a:gd name="connsiteX1813" fmla="*/ 2135745 w 4664922"/>
              <a:gd name="connsiteY1813" fmla="*/ 1421742 h 1786050"/>
              <a:gd name="connsiteX1814" fmla="*/ 2138117 w 4664922"/>
              <a:gd name="connsiteY1814" fmla="*/ 1418097 h 1786050"/>
              <a:gd name="connsiteX1815" fmla="*/ 2144654 w 4664922"/>
              <a:gd name="connsiteY1815" fmla="*/ 1412313 h 1786050"/>
              <a:gd name="connsiteX1816" fmla="*/ 2146504 w 4664922"/>
              <a:gd name="connsiteY1816" fmla="*/ 1412602 h 1786050"/>
              <a:gd name="connsiteX1817" fmla="*/ 2167213 w 4664922"/>
              <a:gd name="connsiteY1817" fmla="*/ 1420990 h 1786050"/>
              <a:gd name="connsiteX1818" fmla="*/ 2183351 w 4664922"/>
              <a:gd name="connsiteY1818" fmla="*/ 1424634 h 1786050"/>
              <a:gd name="connsiteX1819" fmla="*/ 2204118 w 4664922"/>
              <a:gd name="connsiteY1819" fmla="*/ 1432905 h 1786050"/>
              <a:gd name="connsiteX1820" fmla="*/ 2215281 w 4664922"/>
              <a:gd name="connsiteY1820" fmla="*/ 1435740 h 1786050"/>
              <a:gd name="connsiteX1821" fmla="*/ 2231131 w 4664922"/>
              <a:gd name="connsiteY1821" fmla="*/ 1441524 h 1786050"/>
              <a:gd name="connsiteX1822" fmla="*/ 2232692 w 4664922"/>
              <a:gd name="connsiteY1822" fmla="*/ 1453093 h 1786050"/>
              <a:gd name="connsiteX1823" fmla="*/ 2234312 w 4664922"/>
              <a:gd name="connsiteY1823" fmla="*/ 1464662 h 1786050"/>
              <a:gd name="connsiteX1824" fmla="*/ 2249236 w 4664922"/>
              <a:gd name="connsiteY1824" fmla="*/ 1477504 h 1786050"/>
              <a:gd name="connsiteX1825" fmla="*/ 2249698 w 4664922"/>
              <a:gd name="connsiteY1825" fmla="*/ 1477504 h 1786050"/>
              <a:gd name="connsiteX1826" fmla="*/ 2251781 w 4664922"/>
              <a:gd name="connsiteY1826" fmla="*/ 1476925 h 1786050"/>
              <a:gd name="connsiteX1827" fmla="*/ 2262540 w 4664922"/>
              <a:gd name="connsiteY1827" fmla="*/ 1480627 h 1786050"/>
              <a:gd name="connsiteX1828" fmla="*/ 2274456 w 4664922"/>
              <a:gd name="connsiteY1828" fmla="*/ 1484561 h 1786050"/>
              <a:gd name="connsiteX1829" fmla="*/ 2283827 w 4664922"/>
              <a:gd name="connsiteY1829" fmla="*/ 1479701 h 1786050"/>
              <a:gd name="connsiteX1830" fmla="*/ 2294007 w 4664922"/>
              <a:gd name="connsiteY1830" fmla="*/ 1474843 h 1786050"/>
              <a:gd name="connsiteX1831" fmla="*/ 2303899 w 4664922"/>
              <a:gd name="connsiteY1831" fmla="*/ 1473396 h 1786050"/>
              <a:gd name="connsiteX1832" fmla="*/ 2319227 w 4664922"/>
              <a:gd name="connsiteY1832" fmla="*/ 1471661 h 1786050"/>
              <a:gd name="connsiteX1833" fmla="*/ 2327846 w 4664922"/>
              <a:gd name="connsiteY1833" fmla="*/ 1473975 h 1786050"/>
              <a:gd name="connsiteX1834" fmla="*/ 2342770 w 4664922"/>
              <a:gd name="connsiteY1834" fmla="*/ 1477504 h 1786050"/>
              <a:gd name="connsiteX1835" fmla="*/ 2343522 w 4664922"/>
              <a:gd name="connsiteY1835" fmla="*/ 1477504 h 1786050"/>
              <a:gd name="connsiteX1836" fmla="*/ 2347167 w 4664922"/>
              <a:gd name="connsiteY1836" fmla="*/ 1476809 h 1786050"/>
              <a:gd name="connsiteX1837" fmla="*/ 2366082 w 4664922"/>
              <a:gd name="connsiteY1837" fmla="*/ 1483635 h 1786050"/>
              <a:gd name="connsiteX1838" fmla="*/ 2376377 w 4664922"/>
              <a:gd name="connsiteY1838" fmla="*/ 1487684 h 1786050"/>
              <a:gd name="connsiteX1839" fmla="*/ 2388814 w 4664922"/>
              <a:gd name="connsiteY1839" fmla="*/ 1494625 h 1786050"/>
              <a:gd name="connsiteX1840" fmla="*/ 2395177 w 4664922"/>
              <a:gd name="connsiteY1840" fmla="*/ 1501625 h 1786050"/>
              <a:gd name="connsiteX1841" fmla="*/ 2403275 w 4664922"/>
              <a:gd name="connsiteY1841" fmla="*/ 1509434 h 1786050"/>
              <a:gd name="connsiteX1842" fmla="*/ 2421901 w 4664922"/>
              <a:gd name="connsiteY1842" fmla="*/ 1513078 h 1786050"/>
              <a:gd name="connsiteX1843" fmla="*/ 2437692 w 4664922"/>
              <a:gd name="connsiteY1843" fmla="*/ 1515565 h 1786050"/>
              <a:gd name="connsiteX1844" fmla="*/ 2455335 w 4664922"/>
              <a:gd name="connsiteY1844" fmla="*/ 1518052 h 1786050"/>
              <a:gd name="connsiteX1845" fmla="*/ 2472342 w 4664922"/>
              <a:gd name="connsiteY1845" fmla="*/ 1516028 h 1786050"/>
              <a:gd name="connsiteX1846" fmla="*/ 2489058 w 4664922"/>
              <a:gd name="connsiteY1846" fmla="*/ 1511169 h 1786050"/>
              <a:gd name="connsiteX1847" fmla="*/ 2508205 w 4664922"/>
              <a:gd name="connsiteY1847" fmla="*/ 1506599 h 1786050"/>
              <a:gd name="connsiteX1848" fmla="*/ 2519369 w 4664922"/>
              <a:gd name="connsiteY1848" fmla="*/ 1503360 h 1786050"/>
              <a:gd name="connsiteX1849" fmla="*/ 2529607 w 4664922"/>
              <a:gd name="connsiteY1849" fmla="*/ 1499311 h 1786050"/>
              <a:gd name="connsiteX1850" fmla="*/ 2542796 w 4664922"/>
              <a:gd name="connsiteY1850" fmla="*/ 1488957 h 1786050"/>
              <a:gd name="connsiteX1851" fmla="*/ 2551820 w 4664922"/>
              <a:gd name="connsiteY1851" fmla="*/ 1484040 h 1786050"/>
              <a:gd name="connsiteX1852" fmla="*/ 2568652 w 4664922"/>
              <a:gd name="connsiteY1852" fmla="*/ 1480627 h 1786050"/>
              <a:gd name="connsiteX1853" fmla="*/ 2587509 w 4664922"/>
              <a:gd name="connsiteY1853" fmla="*/ 1486411 h 1786050"/>
              <a:gd name="connsiteX1854" fmla="*/ 2602202 w 4664922"/>
              <a:gd name="connsiteY1854" fmla="*/ 1491502 h 1786050"/>
              <a:gd name="connsiteX1855" fmla="*/ 2609432 w 4664922"/>
              <a:gd name="connsiteY1855" fmla="*/ 1490519 h 1786050"/>
              <a:gd name="connsiteX1856" fmla="*/ 2615621 w 4664922"/>
              <a:gd name="connsiteY1856" fmla="*/ 1489651 h 1786050"/>
              <a:gd name="connsiteX1857" fmla="*/ 2636735 w 4664922"/>
              <a:gd name="connsiteY1857" fmla="*/ 1497576 h 1786050"/>
              <a:gd name="connsiteX1858" fmla="*/ 2658658 w 4664922"/>
              <a:gd name="connsiteY1858" fmla="*/ 1504575 h 1786050"/>
              <a:gd name="connsiteX1859" fmla="*/ 2661955 w 4664922"/>
              <a:gd name="connsiteY1859" fmla="*/ 1504228 h 1786050"/>
              <a:gd name="connsiteX1860" fmla="*/ 2671789 w 4664922"/>
              <a:gd name="connsiteY1860" fmla="*/ 1498443 h 1786050"/>
              <a:gd name="connsiteX1861" fmla="*/ 2688043 w 4664922"/>
              <a:gd name="connsiteY1861" fmla="*/ 1490171 h 1786050"/>
              <a:gd name="connsiteX1862" fmla="*/ 2698281 w 4664922"/>
              <a:gd name="connsiteY1862" fmla="*/ 1483809 h 1786050"/>
              <a:gd name="connsiteX1863" fmla="*/ 2699207 w 4664922"/>
              <a:gd name="connsiteY1863" fmla="*/ 1479470 h 1786050"/>
              <a:gd name="connsiteX1864" fmla="*/ 2706495 w 4664922"/>
              <a:gd name="connsiteY1864" fmla="*/ 1461481 h 1786050"/>
              <a:gd name="connsiteX1865" fmla="*/ 2712280 w 4664922"/>
              <a:gd name="connsiteY1865" fmla="*/ 1450606 h 1786050"/>
              <a:gd name="connsiteX1866" fmla="*/ 2729633 w 4664922"/>
              <a:gd name="connsiteY1866" fmla="*/ 1423998 h 1786050"/>
              <a:gd name="connsiteX1867" fmla="*/ 2741202 w 4664922"/>
              <a:gd name="connsiteY1867" fmla="*/ 1411503 h 1786050"/>
              <a:gd name="connsiteX1868" fmla="*/ 2734260 w 4664922"/>
              <a:gd name="connsiteY1868" fmla="*/ 1393051 h 1786050"/>
              <a:gd name="connsiteX1869" fmla="*/ 2732756 w 4664922"/>
              <a:gd name="connsiteY1869" fmla="*/ 1393051 h 1786050"/>
              <a:gd name="connsiteX1870" fmla="*/ 2725699 w 4664922"/>
              <a:gd name="connsiteY1870" fmla="*/ 1390448 h 1786050"/>
              <a:gd name="connsiteX1871" fmla="*/ 2730963 w 4664922"/>
              <a:gd name="connsiteY1871" fmla="*/ 1376681 h 1786050"/>
              <a:gd name="connsiteX1872" fmla="*/ 2758208 w 4664922"/>
              <a:gd name="connsiteY1872" fmla="*/ 1364476 h 1786050"/>
              <a:gd name="connsiteX1873" fmla="*/ 2764860 w 4664922"/>
              <a:gd name="connsiteY1873" fmla="*/ 1364823 h 1786050"/>
              <a:gd name="connsiteX1874" fmla="*/ 2766596 w 4664922"/>
              <a:gd name="connsiteY1874" fmla="*/ 1364823 h 1786050"/>
              <a:gd name="connsiteX1875" fmla="*/ 2772380 w 4664922"/>
              <a:gd name="connsiteY1875" fmla="*/ 1363897 h 1786050"/>
              <a:gd name="connsiteX1876" fmla="*/ 2798641 w 4664922"/>
              <a:gd name="connsiteY1876" fmla="*/ 1360716 h 1786050"/>
              <a:gd name="connsiteX1877" fmla="*/ 2807202 w 4664922"/>
              <a:gd name="connsiteY1877" fmla="*/ 1361641 h 1786050"/>
              <a:gd name="connsiteX1878" fmla="*/ 2819638 w 4664922"/>
              <a:gd name="connsiteY1878" fmla="*/ 1362856 h 1786050"/>
              <a:gd name="connsiteX1879" fmla="*/ 2821952 w 4664922"/>
              <a:gd name="connsiteY1879" fmla="*/ 1362856 h 1786050"/>
              <a:gd name="connsiteX1880" fmla="*/ 2838149 w 4664922"/>
              <a:gd name="connsiteY1880" fmla="*/ 1366558 h 1786050"/>
              <a:gd name="connsiteX1881" fmla="*/ 2857006 w 4664922"/>
              <a:gd name="connsiteY1881" fmla="*/ 1371533 h 1786050"/>
              <a:gd name="connsiteX1882" fmla="*/ 2871640 w 4664922"/>
              <a:gd name="connsiteY1882" fmla="*/ 1376623 h 1786050"/>
              <a:gd name="connsiteX1883" fmla="*/ 2878466 w 4664922"/>
              <a:gd name="connsiteY1883" fmla="*/ 1382060 h 1786050"/>
              <a:gd name="connsiteX1884" fmla="*/ 2889573 w 4664922"/>
              <a:gd name="connsiteY1884" fmla="*/ 1397736 h 1786050"/>
              <a:gd name="connsiteX1885" fmla="*/ 2892233 w 4664922"/>
              <a:gd name="connsiteY1885" fmla="*/ 1404099 h 1786050"/>
              <a:gd name="connsiteX1886" fmla="*/ 2902472 w 4664922"/>
              <a:gd name="connsiteY1886" fmla="*/ 1422262 h 1786050"/>
              <a:gd name="connsiteX1887" fmla="*/ 2912999 w 4664922"/>
              <a:gd name="connsiteY1887" fmla="*/ 1444764 h 1786050"/>
              <a:gd name="connsiteX1888" fmla="*/ 2918783 w 4664922"/>
              <a:gd name="connsiteY1888" fmla="*/ 1454539 h 1786050"/>
              <a:gd name="connsiteX1889" fmla="*/ 2925725 w 4664922"/>
              <a:gd name="connsiteY1889" fmla="*/ 1469810 h 1786050"/>
              <a:gd name="connsiteX1890" fmla="*/ 2932493 w 4664922"/>
              <a:gd name="connsiteY1890" fmla="*/ 1488262 h 1786050"/>
              <a:gd name="connsiteX1891" fmla="*/ 2932493 w 4664922"/>
              <a:gd name="connsiteY1891" fmla="*/ 1498443 h 1786050"/>
              <a:gd name="connsiteX1892" fmla="*/ 2941690 w 4664922"/>
              <a:gd name="connsiteY1892" fmla="*/ 1502145 h 1786050"/>
              <a:gd name="connsiteX1893" fmla="*/ 2961762 w 4664922"/>
              <a:gd name="connsiteY1893" fmla="*/ 1509318 h 1786050"/>
              <a:gd name="connsiteX1894" fmla="*/ 2967546 w 4664922"/>
              <a:gd name="connsiteY1894" fmla="*/ 1511979 h 1786050"/>
              <a:gd name="connsiteX1895" fmla="*/ 2967546 w 4664922"/>
              <a:gd name="connsiteY1895" fmla="*/ 1511979 h 1786050"/>
              <a:gd name="connsiteX1896" fmla="*/ 2969687 w 4664922"/>
              <a:gd name="connsiteY1896" fmla="*/ 1511574 h 1786050"/>
              <a:gd name="connsiteX1897" fmla="*/ 2996295 w 4664922"/>
              <a:gd name="connsiteY1897" fmla="*/ 1524300 h 1786050"/>
              <a:gd name="connsiteX1898" fmla="*/ 3007516 w 4664922"/>
              <a:gd name="connsiteY1898" fmla="*/ 1530084 h 1786050"/>
              <a:gd name="connsiteX1899" fmla="*/ 3016020 w 4664922"/>
              <a:gd name="connsiteY1899" fmla="*/ 1538414 h 1786050"/>
              <a:gd name="connsiteX1900" fmla="*/ 3018970 w 4664922"/>
              <a:gd name="connsiteY1900" fmla="*/ 1550619 h 1786050"/>
              <a:gd name="connsiteX1901" fmla="*/ 3021689 w 4664922"/>
              <a:gd name="connsiteY1901" fmla="*/ 1561840 h 1786050"/>
              <a:gd name="connsiteX1902" fmla="*/ 3022961 w 4664922"/>
              <a:gd name="connsiteY1902" fmla="*/ 1565253 h 1786050"/>
              <a:gd name="connsiteX1903" fmla="*/ 3042570 w 4664922"/>
              <a:gd name="connsiteY1903" fmla="*/ 1571443 h 1786050"/>
              <a:gd name="connsiteX1904" fmla="*/ 3047024 w 4664922"/>
              <a:gd name="connsiteY1904" fmla="*/ 1571096 h 1786050"/>
              <a:gd name="connsiteX1905" fmla="*/ 3057494 w 4664922"/>
              <a:gd name="connsiteY1905" fmla="*/ 1571096 h 1786050"/>
              <a:gd name="connsiteX1906" fmla="*/ 3070393 w 4664922"/>
              <a:gd name="connsiteY1906" fmla="*/ 1566063 h 1786050"/>
              <a:gd name="connsiteX1907" fmla="*/ 3088152 w 4664922"/>
              <a:gd name="connsiteY1907" fmla="*/ 1558023 h 1786050"/>
              <a:gd name="connsiteX1908" fmla="*/ 3097407 w 4664922"/>
              <a:gd name="connsiteY1908" fmla="*/ 1555940 h 1786050"/>
              <a:gd name="connsiteX1909" fmla="*/ 3111116 w 4664922"/>
              <a:gd name="connsiteY1909" fmla="*/ 1551602 h 1786050"/>
              <a:gd name="connsiteX1910" fmla="*/ 3118636 w 4664922"/>
              <a:gd name="connsiteY1910" fmla="*/ 1554321 h 1786050"/>
              <a:gd name="connsiteX1911" fmla="*/ 3121007 w 4664922"/>
              <a:gd name="connsiteY1911" fmla="*/ 1562592 h 1786050"/>
              <a:gd name="connsiteX1912" fmla="*/ 3123668 w 4664922"/>
              <a:gd name="connsiteY1912" fmla="*/ 1576070 h 1786050"/>
              <a:gd name="connsiteX1913" fmla="*/ 3121296 w 4664922"/>
              <a:gd name="connsiteY1913" fmla="*/ 1586077 h 1786050"/>
              <a:gd name="connsiteX1914" fmla="*/ 3108455 w 4664922"/>
              <a:gd name="connsiteY1914" fmla="*/ 1615404 h 1786050"/>
              <a:gd name="connsiteX1915" fmla="*/ 3107240 w 4664922"/>
              <a:gd name="connsiteY1915" fmla="*/ 1620147 h 1786050"/>
              <a:gd name="connsiteX1916" fmla="*/ 3099026 w 4664922"/>
              <a:gd name="connsiteY1916" fmla="*/ 1630502 h 1786050"/>
              <a:gd name="connsiteX1917" fmla="*/ 3091102 w 4664922"/>
              <a:gd name="connsiteY1917" fmla="*/ 1641029 h 1786050"/>
              <a:gd name="connsiteX1918" fmla="*/ 3083235 w 4664922"/>
              <a:gd name="connsiteY1918" fmla="*/ 1651788 h 1786050"/>
              <a:gd name="connsiteX1919" fmla="*/ 3078203 w 4664922"/>
              <a:gd name="connsiteY1919" fmla="*/ 1658614 h 1786050"/>
              <a:gd name="connsiteX1920" fmla="*/ 3068890 w 4664922"/>
              <a:gd name="connsiteY1920" fmla="*/ 1664398 h 1786050"/>
              <a:gd name="connsiteX1921" fmla="*/ 3052173 w 4664922"/>
              <a:gd name="connsiteY1921" fmla="*/ 1659308 h 1786050"/>
              <a:gd name="connsiteX1922" fmla="*/ 3049223 w 4664922"/>
              <a:gd name="connsiteY1922" fmla="*/ 1658325 h 1786050"/>
              <a:gd name="connsiteX1923" fmla="*/ 3039504 w 4664922"/>
              <a:gd name="connsiteY1923" fmla="*/ 1664398 h 1786050"/>
              <a:gd name="connsiteX1924" fmla="*/ 3030249 w 4664922"/>
              <a:gd name="connsiteY1924" fmla="*/ 1670183 h 1786050"/>
              <a:gd name="connsiteX1925" fmla="*/ 3027936 w 4664922"/>
              <a:gd name="connsiteY1925" fmla="*/ 1671398 h 1786050"/>
              <a:gd name="connsiteX1926" fmla="*/ 3027241 w 4664922"/>
              <a:gd name="connsiteY1926" fmla="*/ 1688114 h 1786050"/>
              <a:gd name="connsiteX1927" fmla="*/ 3027241 w 4664922"/>
              <a:gd name="connsiteY1927" fmla="*/ 1696097 h 1786050"/>
              <a:gd name="connsiteX1928" fmla="*/ 3028688 w 4664922"/>
              <a:gd name="connsiteY1928" fmla="*/ 1710616 h 1786050"/>
              <a:gd name="connsiteX1929" fmla="*/ 3030192 w 4664922"/>
              <a:gd name="connsiteY1929" fmla="*/ 1724556 h 1786050"/>
              <a:gd name="connsiteX1930" fmla="*/ 3030539 w 4664922"/>
              <a:gd name="connsiteY1930" fmla="*/ 1735084 h 1786050"/>
              <a:gd name="connsiteX1931" fmla="*/ 3052288 w 4664922"/>
              <a:gd name="connsiteY1931" fmla="*/ 1723515 h 1786050"/>
              <a:gd name="connsiteX1932" fmla="*/ 3068022 w 4664922"/>
              <a:gd name="connsiteY1932" fmla="*/ 1732250 h 1786050"/>
              <a:gd name="connsiteX1933" fmla="*/ 3083813 w 4664922"/>
              <a:gd name="connsiteY1933" fmla="*/ 1741273 h 1786050"/>
              <a:gd name="connsiteX1934" fmla="*/ 3145649 w 4664922"/>
              <a:gd name="connsiteY1934" fmla="*/ 1702749 h 1786050"/>
              <a:gd name="connsiteX1935" fmla="*/ 3177695 w 4664922"/>
              <a:gd name="connsiteY1935" fmla="*/ 1665787 h 1786050"/>
              <a:gd name="connsiteX1936" fmla="*/ 3190363 w 4664922"/>
              <a:gd name="connsiteY1936" fmla="*/ 1652772 h 1786050"/>
              <a:gd name="connsiteX1937" fmla="*/ 3230159 w 4664922"/>
              <a:gd name="connsiteY1937" fmla="*/ 1599381 h 1786050"/>
              <a:gd name="connsiteX1938" fmla="*/ 3248380 w 4664922"/>
              <a:gd name="connsiteY1938" fmla="*/ 1574393 h 1786050"/>
              <a:gd name="connsiteX1939" fmla="*/ 3259313 w 4664922"/>
              <a:gd name="connsiteY1939" fmla="*/ 1560510 h 1786050"/>
              <a:gd name="connsiteX1940" fmla="*/ 3263825 w 4664922"/>
              <a:gd name="connsiteY1940" fmla="*/ 1553916 h 1786050"/>
              <a:gd name="connsiteX1941" fmla="*/ 3276203 w 4664922"/>
              <a:gd name="connsiteY1941" fmla="*/ 1532745 h 1786050"/>
              <a:gd name="connsiteX1942" fmla="*/ 3285169 w 4664922"/>
              <a:gd name="connsiteY1942" fmla="*/ 1480396 h 1786050"/>
              <a:gd name="connsiteX1943" fmla="*/ 3288061 w 4664922"/>
              <a:gd name="connsiteY1943" fmla="*/ 1460555 h 1786050"/>
              <a:gd name="connsiteX1944" fmla="*/ 3289855 w 4664922"/>
              <a:gd name="connsiteY1944" fmla="*/ 1454192 h 1786050"/>
              <a:gd name="connsiteX1945" fmla="*/ 3293267 w 4664922"/>
              <a:gd name="connsiteY1945" fmla="*/ 1443665 h 1786050"/>
              <a:gd name="connsiteX1946" fmla="*/ 3296044 w 4664922"/>
              <a:gd name="connsiteY1946" fmla="*/ 1437070 h 1786050"/>
              <a:gd name="connsiteX1947" fmla="*/ 3303506 w 4664922"/>
              <a:gd name="connsiteY1947" fmla="*/ 1424113 h 1786050"/>
              <a:gd name="connsiteX1948" fmla="*/ 3307670 w 4664922"/>
              <a:gd name="connsiteY1948" fmla="*/ 1407223 h 1786050"/>
              <a:gd name="connsiteX1949" fmla="*/ 3306745 w 4664922"/>
              <a:gd name="connsiteY1949" fmla="*/ 1395654 h 1786050"/>
              <a:gd name="connsiteX1950" fmla="*/ 3306109 w 4664922"/>
              <a:gd name="connsiteY1950" fmla="*/ 1386630 h 1786050"/>
              <a:gd name="connsiteX1951" fmla="*/ 3309753 w 4664922"/>
              <a:gd name="connsiteY1951" fmla="*/ 1377028 h 1786050"/>
              <a:gd name="connsiteX1952" fmla="*/ 3310678 w 4664922"/>
              <a:gd name="connsiteY1952" fmla="*/ 1375582 h 1786050"/>
              <a:gd name="connsiteX1953" fmla="*/ 3299746 w 4664922"/>
              <a:gd name="connsiteY1953" fmla="*/ 1365690 h 1786050"/>
              <a:gd name="connsiteX1954" fmla="*/ 3296911 w 4664922"/>
              <a:gd name="connsiteY1954" fmla="*/ 1364360 h 1786050"/>
              <a:gd name="connsiteX1955" fmla="*/ 3282566 w 4664922"/>
              <a:gd name="connsiteY1955" fmla="*/ 1350998 h 1786050"/>
              <a:gd name="connsiteX1956" fmla="*/ 3262379 w 4664922"/>
              <a:gd name="connsiteY1956" fmla="*/ 1335843 h 1786050"/>
              <a:gd name="connsiteX1957" fmla="*/ 3249942 w 4664922"/>
              <a:gd name="connsiteY1957" fmla="*/ 1334975 h 1786050"/>
              <a:gd name="connsiteX1958" fmla="*/ 3242249 w 4664922"/>
              <a:gd name="connsiteY1958" fmla="*/ 1334165 h 1786050"/>
              <a:gd name="connsiteX1959" fmla="*/ 3239819 w 4664922"/>
              <a:gd name="connsiteY1959" fmla="*/ 1334628 h 1786050"/>
              <a:gd name="connsiteX1960" fmla="*/ 3239819 w 4664922"/>
              <a:gd name="connsiteY1960" fmla="*/ 1335207 h 1786050"/>
              <a:gd name="connsiteX1961" fmla="*/ 3239241 w 4664922"/>
              <a:gd name="connsiteY1961" fmla="*/ 1343825 h 1786050"/>
              <a:gd name="connsiteX1962" fmla="*/ 3233456 w 4664922"/>
              <a:gd name="connsiteY1962" fmla="*/ 1345908 h 1786050"/>
              <a:gd name="connsiteX1963" fmla="*/ 3223796 w 4664922"/>
              <a:gd name="connsiteY1963" fmla="*/ 1354642 h 1786050"/>
              <a:gd name="connsiteX1964" fmla="*/ 3222928 w 4664922"/>
              <a:gd name="connsiteY1964" fmla="*/ 1355973 h 1786050"/>
              <a:gd name="connsiteX1965" fmla="*/ 3208352 w 4664922"/>
              <a:gd name="connsiteY1965" fmla="*/ 1363030 h 1786050"/>
              <a:gd name="connsiteX1966" fmla="*/ 3203493 w 4664922"/>
              <a:gd name="connsiteY1966" fmla="*/ 1360832 h 1786050"/>
              <a:gd name="connsiteX1967" fmla="*/ 3205865 w 4664922"/>
              <a:gd name="connsiteY1967" fmla="*/ 1355683 h 1786050"/>
              <a:gd name="connsiteX1968" fmla="*/ 3207021 w 4664922"/>
              <a:gd name="connsiteY1968" fmla="*/ 1348453 h 1786050"/>
              <a:gd name="connsiteX1969" fmla="*/ 3204303 w 4664922"/>
              <a:gd name="connsiteY1969" fmla="*/ 1340181 h 1786050"/>
              <a:gd name="connsiteX1970" fmla="*/ 3206906 w 4664922"/>
              <a:gd name="connsiteY1970" fmla="*/ 1332488 h 1786050"/>
              <a:gd name="connsiteX1971" fmla="*/ 3208236 w 4664922"/>
              <a:gd name="connsiteY1971" fmla="*/ 1329017 h 1786050"/>
              <a:gd name="connsiteX1972" fmla="*/ 3205228 w 4664922"/>
              <a:gd name="connsiteY1972" fmla="*/ 1330463 h 1786050"/>
              <a:gd name="connsiteX1973" fmla="*/ 3196610 w 4664922"/>
              <a:gd name="connsiteY1973" fmla="*/ 1340933 h 1786050"/>
              <a:gd name="connsiteX1974" fmla="*/ 3187875 w 4664922"/>
              <a:gd name="connsiteY1974" fmla="*/ 1350015 h 1786050"/>
              <a:gd name="connsiteX1975" fmla="*/ 3186949 w 4664922"/>
              <a:gd name="connsiteY1975" fmla="*/ 1350015 h 1786050"/>
              <a:gd name="connsiteX1976" fmla="*/ 3183537 w 4664922"/>
              <a:gd name="connsiteY1976" fmla="*/ 1348106 h 1786050"/>
              <a:gd name="connsiteX1977" fmla="*/ 3183537 w 4664922"/>
              <a:gd name="connsiteY1977" fmla="*/ 1320572 h 1786050"/>
              <a:gd name="connsiteX1978" fmla="*/ 3183537 w 4664922"/>
              <a:gd name="connsiteY1978" fmla="*/ 1319820 h 1786050"/>
              <a:gd name="connsiteX1979" fmla="*/ 3181223 w 4664922"/>
              <a:gd name="connsiteY1979" fmla="*/ 1319415 h 1786050"/>
              <a:gd name="connsiteX1980" fmla="*/ 3173761 w 4664922"/>
              <a:gd name="connsiteY1980" fmla="*/ 1320109 h 1786050"/>
              <a:gd name="connsiteX1981" fmla="*/ 3153342 w 4664922"/>
              <a:gd name="connsiteY1981" fmla="*/ 1321208 h 1786050"/>
              <a:gd name="connsiteX1982" fmla="*/ 3141484 w 4664922"/>
              <a:gd name="connsiteY1982" fmla="*/ 1314614 h 1786050"/>
              <a:gd name="connsiteX1983" fmla="*/ 3154152 w 4664922"/>
              <a:gd name="connsiteY1983" fmla="*/ 1298880 h 1786050"/>
              <a:gd name="connsiteX1984" fmla="*/ 3166241 w 4664922"/>
              <a:gd name="connsiteY1984" fmla="*/ 1287832 h 1786050"/>
              <a:gd name="connsiteX1985" fmla="*/ 3172373 w 4664922"/>
              <a:gd name="connsiteY1985" fmla="*/ 1282048 h 1786050"/>
              <a:gd name="connsiteX1986" fmla="*/ 3194238 w 4664922"/>
              <a:gd name="connsiteY1986" fmla="*/ 1269495 h 1786050"/>
              <a:gd name="connsiteX1987" fmla="*/ 3207427 w 4664922"/>
              <a:gd name="connsiteY1987" fmla="*/ 1261513 h 1786050"/>
              <a:gd name="connsiteX1988" fmla="*/ 3221540 w 4664922"/>
              <a:gd name="connsiteY1988" fmla="*/ 1243234 h 1786050"/>
              <a:gd name="connsiteX1989" fmla="*/ 3221540 w 4664922"/>
              <a:gd name="connsiteY1989" fmla="*/ 1242366 h 1786050"/>
              <a:gd name="connsiteX1990" fmla="*/ 3239357 w 4664922"/>
              <a:gd name="connsiteY1990" fmla="*/ 1227616 h 1786050"/>
              <a:gd name="connsiteX1991" fmla="*/ 3261106 w 4664922"/>
              <a:gd name="connsiteY1991" fmla="*/ 1212403 h 1786050"/>
              <a:gd name="connsiteX1992" fmla="*/ 3290665 w 4664922"/>
              <a:gd name="connsiteY1992" fmla="*/ 1182035 h 1786050"/>
              <a:gd name="connsiteX1993" fmla="*/ 3307324 w 4664922"/>
              <a:gd name="connsiteY1993" fmla="*/ 1168326 h 1786050"/>
              <a:gd name="connsiteX1994" fmla="*/ 3320859 w 4664922"/>
              <a:gd name="connsiteY1994" fmla="*/ 1157046 h 1786050"/>
              <a:gd name="connsiteX1995" fmla="*/ 3372919 w 4664922"/>
              <a:gd name="connsiteY1995" fmla="*/ 1129339 h 1786050"/>
              <a:gd name="connsiteX1996" fmla="*/ 3389868 w 4664922"/>
              <a:gd name="connsiteY1996" fmla="*/ 1127893 h 1786050"/>
              <a:gd name="connsiteX1997" fmla="*/ 3433309 w 4664922"/>
              <a:gd name="connsiteY1997" fmla="*/ 1136974 h 1786050"/>
              <a:gd name="connsiteX1998" fmla="*/ 3443374 w 4664922"/>
              <a:gd name="connsiteY1998" fmla="*/ 1139149 h 1786050"/>
              <a:gd name="connsiteX1999" fmla="*/ 3445803 w 4664922"/>
              <a:gd name="connsiteY1999" fmla="*/ 1136569 h 1786050"/>
              <a:gd name="connsiteX2000" fmla="*/ 3454017 w 4664922"/>
              <a:gd name="connsiteY2000" fmla="*/ 1133851 h 1786050"/>
              <a:gd name="connsiteX2001" fmla="*/ 3465586 w 4664922"/>
              <a:gd name="connsiteY2001" fmla="*/ 1134950 h 1786050"/>
              <a:gd name="connsiteX2002" fmla="*/ 3472238 w 4664922"/>
              <a:gd name="connsiteY2002" fmla="*/ 1135817 h 1786050"/>
              <a:gd name="connsiteX2003" fmla="*/ 3475650 w 4664922"/>
              <a:gd name="connsiteY2003" fmla="*/ 1135817 h 1786050"/>
              <a:gd name="connsiteX2004" fmla="*/ 3486699 w 4664922"/>
              <a:gd name="connsiteY2004" fmla="*/ 1133272 h 1786050"/>
              <a:gd name="connsiteX2005" fmla="*/ 3494508 w 4664922"/>
              <a:gd name="connsiteY2005" fmla="*/ 1131305 h 1786050"/>
              <a:gd name="connsiteX2006" fmla="*/ 3498672 w 4664922"/>
              <a:gd name="connsiteY2006" fmla="*/ 1132000 h 1786050"/>
              <a:gd name="connsiteX2007" fmla="*/ 3508795 w 4664922"/>
              <a:gd name="connsiteY2007" fmla="*/ 1134024 h 1786050"/>
              <a:gd name="connsiteX2008" fmla="*/ 3519959 w 4664922"/>
              <a:gd name="connsiteY2008" fmla="*/ 1126099 h 1786050"/>
              <a:gd name="connsiteX2009" fmla="*/ 3541940 w 4664922"/>
              <a:gd name="connsiteY2009" fmla="*/ 1117481 h 1786050"/>
              <a:gd name="connsiteX2010" fmla="*/ 3559987 w 4664922"/>
              <a:gd name="connsiteY2010" fmla="*/ 1121298 h 1786050"/>
              <a:gd name="connsiteX2011" fmla="*/ 3562417 w 4664922"/>
              <a:gd name="connsiteY2011" fmla="*/ 1123149 h 1786050"/>
              <a:gd name="connsiteX2012" fmla="*/ 3572019 w 4664922"/>
              <a:gd name="connsiteY2012" fmla="*/ 1127893 h 1786050"/>
              <a:gd name="connsiteX2013" fmla="*/ 3579308 w 4664922"/>
              <a:gd name="connsiteY2013" fmla="*/ 1125232 h 1786050"/>
              <a:gd name="connsiteX2014" fmla="*/ 3584282 w 4664922"/>
              <a:gd name="connsiteY2014" fmla="*/ 1123439 h 1786050"/>
              <a:gd name="connsiteX2015" fmla="*/ 3591455 w 4664922"/>
              <a:gd name="connsiteY2015" fmla="*/ 1128760 h 1786050"/>
              <a:gd name="connsiteX2016" fmla="*/ 3599032 w 4664922"/>
              <a:gd name="connsiteY2016" fmla="*/ 1134545 h 1786050"/>
              <a:gd name="connsiteX2017" fmla="*/ 3604817 w 4664922"/>
              <a:gd name="connsiteY2017" fmla="*/ 1139114 h 1786050"/>
              <a:gd name="connsiteX2018" fmla="*/ 3594058 w 4664922"/>
              <a:gd name="connsiteY2018" fmla="*/ 1145246 h 1786050"/>
              <a:gd name="connsiteX2019" fmla="*/ 3592323 w 4664922"/>
              <a:gd name="connsiteY2019" fmla="*/ 1145246 h 1786050"/>
              <a:gd name="connsiteX2020" fmla="*/ 3582720 w 4664922"/>
              <a:gd name="connsiteY2020" fmla="*/ 1148890 h 1786050"/>
              <a:gd name="connsiteX2021" fmla="*/ 3585844 w 4664922"/>
              <a:gd name="connsiteY2021" fmla="*/ 1152534 h 1786050"/>
              <a:gd name="connsiteX2022" fmla="*/ 3591223 w 4664922"/>
              <a:gd name="connsiteY2022" fmla="*/ 1153923 h 1786050"/>
              <a:gd name="connsiteX2023" fmla="*/ 3602445 w 4664922"/>
              <a:gd name="connsiteY2023" fmla="*/ 1150915 h 1786050"/>
              <a:gd name="connsiteX2024" fmla="*/ 3612857 w 4664922"/>
              <a:gd name="connsiteY2024" fmla="*/ 1148312 h 1786050"/>
              <a:gd name="connsiteX2025" fmla="*/ 3621187 w 4664922"/>
              <a:gd name="connsiteY2025" fmla="*/ 1148890 h 1786050"/>
              <a:gd name="connsiteX2026" fmla="*/ 3640796 w 4664922"/>
              <a:gd name="connsiteY2026" fmla="*/ 1143626 h 1786050"/>
              <a:gd name="connsiteX2027" fmla="*/ 3647333 w 4664922"/>
              <a:gd name="connsiteY2027" fmla="*/ 1141486 h 1786050"/>
              <a:gd name="connsiteX2028" fmla="*/ 3653522 w 4664922"/>
              <a:gd name="connsiteY2028" fmla="*/ 1143395 h 1786050"/>
              <a:gd name="connsiteX2029" fmla="*/ 3660058 w 4664922"/>
              <a:gd name="connsiteY2029" fmla="*/ 1143395 h 1786050"/>
              <a:gd name="connsiteX2030" fmla="*/ 3686840 w 4664922"/>
              <a:gd name="connsiteY2030" fmla="*/ 1136222 h 1786050"/>
              <a:gd name="connsiteX2031" fmla="*/ 3689559 w 4664922"/>
              <a:gd name="connsiteY2031" fmla="*/ 1136222 h 1786050"/>
              <a:gd name="connsiteX2032" fmla="*/ 3690947 w 4664922"/>
              <a:gd name="connsiteY2032" fmla="*/ 1135933 h 1786050"/>
              <a:gd name="connsiteX2033" fmla="*/ 3678163 w 4664922"/>
              <a:gd name="connsiteY2033" fmla="*/ 1130148 h 1786050"/>
              <a:gd name="connsiteX2034" fmla="*/ 3668619 w 4664922"/>
              <a:gd name="connsiteY2034" fmla="*/ 1126562 h 1786050"/>
              <a:gd name="connsiteX2035" fmla="*/ 3675213 w 4664922"/>
              <a:gd name="connsiteY2035" fmla="*/ 1105449 h 1786050"/>
              <a:gd name="connsiteX2036" fmla="*/ 3703383 w 4664922"/>
              <a:gd name="connsiteY2036" fmla="*/ 1078609 h 1786050"/>
              <a:gd name="connsiteX2037" fmla="*/ 3715357 w 4664922"/>
              <a:gd name="connsiteY2037" fmla="*/ 1069585 h 1786050"/>
              <a:gd name="connsiteX2038" fmla="*/ 3730686 w 4664922"/>
              <a:gd name="connsiteY2038" fmla="*/ 1062124 h 1786050"/>
              <a:gd name="connsiteX2039" fmla="*/ 3735256 w 4664922"/>
              <a:gd name="connsiteY2039" fmla="*/ 1058769 h 1786050"/>
              <a:gd name="connsiteX2040" fmla="*/ 3750815 w 4664922"/>
              <a:gd name="connsiteY2040" fmla="*/ 1032623 h 1786050"/>
              <a:gd name="connsiteX2041" fmla="*/ 3759724 w 4664922"/>
              <a:gd name="connsiteY2041" fmla="*/ 1032623 h 1786050"/>
              <a:gd name="connsiteX2042" fmla="*/ 3771293 w 4664922"/>
              <a:gd name="connsiteY2042" fmla="*/ 1033086 h 1786050"/>
              <a:gd name="connsiteX2043" fmla="*/ 3794951 w 4664922"/>
              <a:gd name="connsiteY2043" fmla="*/ 1028458 h 1786050"/>
              <a:gd name="connsiteX2044" fmla="*/ 3802644 w 4664922"/>
              <a:gd name="connsiteY2044" fmla="*/ 1025971 h 1786050"/>
              <a:gd name="connsiteX2045" fmla="*/ 3810511 w 4664922"/>
              <a:gd name="connsiteY2045" fmla="*/ 1031755 h 1786050"/>
              <a:gd name="connsiteX2046" fmla="*/ 3814040 w 4664922"/>
              <a:gd name="connsiteY2046" fmla="*/ 1035804 h 1786050"/>
              <a:gd name="connsiteX2047" fmla="*/ 3821675 w 4664922"/>
              <a:gd name="connsiteY2047" fmla="*/ 1032102 h 1786050"/>
              <a:gd name="connsiteX2048" fmla="*/ 3830930 w 4664922"/>
              <a:gd name="connsiteY2048" fmla="*/ 1027359 h 1786050"/>
              <a:gd name="connsiteX2049" fmla="*/ 3834053 w 4664922"/>
              <a:gd name="connsiteY2049" fmla="*/ 1028285 h 1786050"/>
              <a:gd name="connsiteX2050" fmla="*/ 3836078 w 4664922"/>
              <a:gd name="connsiteY2050" fmla="*/ 1031061 h 1786050"/>
              <a:gd name="connsiteX2051" fmla="*/ 3830293 w 4664922"/>
              <a:gd name="connsiteY2051" fmla="*/ 1041300 h 1786050"/>
              <a:gd name="connsiteX2052" fmla="*/ 3821386 w 4664922"/>
              <a:gd name="connsiteY2052" fmla="*/ 1054951 h 1786050"/>
              <a:gd name="connsiteX2053" fmla="*/ 3821386 w 4664922"/>
              <a:gd name="connsiteY2053" fmla="*/ 1060388 h 1786050"/>
              <a:gd name="connsiteX2054" fmla="*/ 3828443 w 4664922"/>
              <a:gd name="connsiteY2054" fmla="*/ 1062528 h 1786050"/>
              <a:gd name="connsiteX2055" fmla="*/ 3836194 w 4664922"/>
              <a:gd name="connsiteY2055" fmla="*/ 1064148 h 1786050"/>
              <a:gd name="connsiteX2056" fmla="*/ 3838565 w 4664922"/>
              <a:gd name="connsiteY2056" fmla="*/ 1066867 h 1786050"/>
              <a:gd name="connsiteX2057" fmla="*/ 3833359 w 4664922"/>
              <a:gd name="connsiteY2057" fmla="*/ 1072651 h 1786050"/>
              <a:gd name="connsiteX2058" fmla="*/ 3829484 w 4664922"/>
              <a:gd name="connsiteY2058" fmla="*/ 1075948 h 1786050"/>
              <a:gd name="connsiteX2059" fmla="*/ 3832955 w 4664922"/>
              <a:gd name="connsiteY2059" fmla="*/ 1076990 h 1786050"/>
              <a:gd name="connsiteX2060" fmla="*/ 3860777 w 4664922"/>
              <a:gd name="connsiteY2060" fmla="*/ 1061140 h 1786050"/>
              <a:gd name="connsiteX2061" fmla="*/ 3903467 w 4664922"/>
              <a:gd name="connsiteY2061" fmla="*/ 1039217 h 1786050"/>
              <a:gd name="connsiteX2062" fmla="*/ 3906937 w 4664922"/>
              <a:gd name="connsiteY2062" fmla="*/ 1039217 h 1786050"/>
              <a:gd name="connsiteX2063" fmla="*/ 3911449 w 4664922"/>
              <a:gd name="connsiteY2063" fmla="*/ 1038350 h 1786050"/>
              <a:gd name="connsiteX2064" fmla="*/ 3911970 w 4664922"/>
              <a:gd name="connsiteY2064" fmla="*/ 1027938 h 1786050"/>
              <a:gd name="connsiteX2065" fmla="*/ 3911333 w 4664922"/>
              <a:gd name="connsiteY2065" fmla="*/ 1013650 h 1786050"/>
              <a:gd name="connsiteX2066" fmla="*/ 3947660 w 4664922"/>
              <a:gd name="connsiteY2066" fmla="*/ 994214 h 1786050"/>
              <a:gd name="connsiteX2067" fmla="*/ 3959749 w 4664922"/>
              <a:gd name="connsiteY2067" fmla="*/ 996123 h 1786050"/>
              <a:gd name="connsiteX2068" fmla="*/ 3968541 w 4664922"/>
              <a:gd name="connsiteY2068" fmla="*/ 1003585 h 1786050"/>
              <a:gd name="connsiteX2069" fmla="*/ 3964550 w 4664922"/>
              <a:gd name="connsiteY2069" fmla="*/ 1005610 h 1786050"/>
              <a:gd name="connsiteX2070" fmla="*/ 3958766 w 4664922"/>
              <a:gd name="connsiteY2070" fmla="*/ 1004684 h 1786050"/>
              <a:gd name="connsiteX2071" fmla="*/ 3945115 w 4664922"/>
              <a:gd name="connsiteY2071" fmla="*/ 1008733 h 1786050"/>
              <a:gd name="connsiteX2072" fmla="*/ 3939330 w 4664922"/>
              <a:gd name="connsiteY2072" fmla="*/ 1024178 h 1786050"/>
              <a:gd name="connsiteX2073" fmla="*/ 3935281 w 4664922"/>
              <a:gd name="connsiteY2073" fmla="*/ 1039449 h 1786050"/>
              <a:gd name="connsiteX2074" fmla="*/ 3934645 w 4664922"/>
              <a:gd name="connsiteY2074" fmla="*/ 1046853 h 1786050"/>
              <a:gd name="connsiteX2075" fmla="*/ 3936149 w 4664922"/>
              <a:gd name="connsiteY2075" fmla="*/ 1050323 h 1786050"/>
              <a:gd name="connsiteX2076" fmla="*/ 3931579 w 4664922"/>
              <a:gd name="connsiteY2076" fmla="*/ 1055067 h 1786050"/>
              <a:gd name="connsiteX2077" fmla="*/ 3926836 w 4664922"/>
              <a:gd name="connsiteY2077" fmla="*/ 1059868 h 1786050"/>
              <a:gd name="connsiteX2078" fmla="*/ 3926836 w 4664922"/>
              <a:gd name="connsiteY2078" fmla="*/ 1061082 h 1786050"/>
              <a:gd name="connsiteX2079" fmla="*/ 3918043 w 4664922"/>
              <a:gd name="connsiteY2079" fmla="*/ 1073345 h 1786050"/>
              <a:gd name="connsiteX2080" fmla="*/ 3910581 w 4664922"/>
              <a:gd name="connsiteY2080" fmla="*/ 1075023 h 1786050"/>
              <a:gd name="connsiteX2081" fmla="*/ 3882874 w 4664922"/>
              <a:gd name="connsiteY2081" fmla="*/ 1088096 h 1786050"/>
              <a:gd name="connsiteX2082" fmla="*/ 3872867 w 4664922"/>
              <a:gd name="connsiteY2082" fmla="*/ 1100821 h 1786050"/>
              <a:gd name="connsiteX2083" fmla="*/ 3860547 w 4664922"/>
              <a:gd name="connsiteY2083" fmla="*/ 1113142 h 1786050"/>
              <a:gd name="connsiteX2084" fmla="*/ 3842557 w 4664922"/>
              <a:gd name="connsiteY2084" fmla="*/ 1129396 h 1786050"/>
              <a:gd name="connsiteX2085" fmla="*/ 3810048 w 4664922"/>
              <a:gd name="connsiteY2085" fmla="*/ 1159707 h 1786050"/>
              <a:gd name="connsiteX2086" fmla="*/ 3772334 w 4664922"/>
              <a:gd name="connsiteY2086" fmla="*/ 1186489 h 1786050"/>
              <a:gd name="connsiteX2087" fmla="*/ 3765392 w 4664922"/>
              <a:gd name="connsiteY2087" fmla="*/ 1189728 h 1786050"/>
              <a:gd name="connsiteX2088" fmla="*/ 3744858 w 4664922"/>
              <a:gd name="connsiteY2088" fmla="*/ 1195513 h 1786050"/>
              <a:gd name="connsiteX2089" fmla="*/ 3739074 w 4664922"/>
              <a:gd name="connsiteY2089" fmla="*/ 1195975 h 1786050"/>
              <a:gd name="connsiteX2090" fmla="*/ 3738322 w 4664922"/>
              <a:gd name="connsiteY2090" fmla="*/ 1201355 h 1786050"/>
              <a:gd name="connsiteX2091" fmla="*/ 3730455 w 4664922"/>
              <a:gd name="connsiteY2091" fmla="*/ 1228715 h 1786050"/>
              <a:gd name="connsiteX2092" fmla="*/ 3705697 w 4664922"/>
              <a:gd name="connsiteY2092" fmla="*/ 1290551 h 1786050"/>
              <a:gd name="connsiteX2093" fmla="*/ 3720505 w 4664922"/>
              <a:gd name="connsiteY2093" fmla="*/ 1390968 h 1786050"/>
              <a:gd name="connsiteX2094" fmla="*/ 3725422 w 4664922"/>
              <a:gd name="connsiteY2094" fmla="*/ 1417924 h 1786050"/>
              <a:gd name="connsiteX2095" fmla="*/ 3728835 w 4664922"/>
              <a:gd name="connsiteY2095" fmla="*/ 1437186 h 1786050"/>
              <a:gd name="connsiteX2096" fmla="*/ 3733752 w 4664922"/>
              <a:gd name="connsiteY2096" fmla="*/ 1449738 h 1786050"/>
              <a:gd name="connsiteX2097" fmla="*/ 3736066 w 4664922"/>
              <a:gd name="connsiteY2097" fmla="*/ 1456969 h 1786050"/>
              <a:gd name="connsiteX2098" fmla="*/ 3736412 w 4664922"/>
              <a:gd name="connsiteY2098" fmla="*/ 1456969 h 1786050"/>
              <a:gd name="connsiteX2099" fmla="*/ 3751510 w 4664922"/>
              <a:gd name="connsiteY2099" fmla="*/ 1443722 h 1786050"/>
              <a:gd name="connsiteX2100" fmla="*/ 3763078 w 4664922"/>
              <a:gd name="connsiteY2100" fmla="*/ 1432153 h 1786050"/>
              <a:gd name="connsiteX2101" fmla="*/ 3771119 w 4664922"/>
              <a:gd name="connsiteY2101" fmla="*/ 1422725 h 1786050"/>
              <a:gd name="connsiteX2102" fmla="*/ 3776903 w 4664922"/>
              <a:gd name="connsiteY2102" fmla="*/ 1416304 h 1786050"/>
              <a:gd name="connsiteX2103" fmla="*/ 3781473 w 4664922"/>
              <a:gd name="connsiteY2103" fmla="*/ 1398083 h 1786050"/>
              <a:gd name="connsiteX2104" fmla="*/ 3782515 w 4664922"/>
              <a:gd name="connsiteY2104" fmla="*/ 1388944 h 1786050"/>
              <a:gd name="connsiteX2105" fmla="*/ 3792058 w 4664922"/>
              <a:gd name="connsiteY2105" fmla="*/ 1382060 h 1786050"/>
              <a:gd name="connsiteX2106" fmla="*/ 3801256 w 4664922"/>
              <a:gd name="connsiteY2106" fmla="*/ 1376276 h 1786050"/>
              <a:gd name="connsiteX2107" fmla="*/ 3814329 w 4664922"/>
              <a:gd name="connsiteY2107" fmla="*/ 1372516 h 1786050"/>
              <a:gd name="connsiteX2108" fmla="*/ 3821964 w 4664922"/>
              <a:gd name="connsiteY2108" fmla="*/ 1371822 h 1786050"/>
              <a:gd name="connsiteX2109" fmla="*/ 3820518 w 4664922"/>
              <a:gd name="connsiteY2109" fmla="*/ 1355799 h 1786050"/>
              <a:gd name="connsiteX2110" fmla="*/ 3818782 w 4664922"/>
              <a:gd name="connsiteY2110" fmla="*/ 1350015 h 1786050"/>
              <a:gd name="connsiteX2111" fmla="*/ 3839780 w 4664922"/>
              <a:gd name="connsiteY2111" fmla="*/ 1327687 h 1786050"/>
              <a:gd name="connsiteX2112" fmla="*/ 3845564 w 4664922"/>
              <a:gd name="connsiteY2112" fmla="*/ 1323811 h 1786050"/>
              <a:gd name="connsiteX2113" fmla="*/ 3854357 w 4664922"/>
              <a:gd name="connsiteY2113" fmla="*/ 1321208 h 1786050"/>
              <a:gd name="connsiteX2114" fmla="*/ 3860835 w 4664922"/>
              <a:gd name="connsiteY2114" fmla="*/ 1321787 h 1786050"/>
              <a:gd name="connsiteX2115" fmla="*/ 3867314 w 4664922"/>
              <a:gd name="connsiteY2115" fmla="*/ 1322365 h 1786050"/>
              <a:gd name="connsiteX2116" fmla="*/ 3878189 w 4664922"/>
              <a:gd name="connsiteY2116" fmla="*/ 1318258 h 1786050"/>
              <a:gd name="connsiteX2117" fmla="*/ 3874602 w 4664922"/>
              <a:gd name="connsiteY2117" fmla="*/ 1294484 h 1786050"/>
              <a:gd name="connsiteX2118" fmla="*/ 3873214 w 4664922"/>
              <a:gd name="connsiteY2118" fmla="*/ 1292691 h 1786050"/>
              <a:gd name="connsiteX2119" fmla="*/ 3873214 w 4664922"/>
              <a:gd name="connsiteY2119" fmla="*/ 1283956 h 1786050"/>
              <a:gd name="connsiteX2120" fmla="*/ 3892997 w 4664922"/>
              <a:gd name="connsiteY2120" fmla="*/ 1257811 h 1786050"/>
              <a:gd name="connsiteX2121" fmla="*/ 3896468 w 4664922"/>
              <a:gd name="connsiteY2121" fmla="*/ 1257290 h 1786050"/>
              <a:gd name="connsiteX2122" fmla="*/ 3902715 w 4664922"/>
              <a:gd name="connsiteY2122" fmla="*/ 1258505 h 1786050"/>
              <a:gd name="connsiteX2123" fmla="*/ 3907516 w 4664922"/>
              <a:gd name="connsiteY2123" fmla="*/ 1259546 h 1786050"/>
              <a:gd name="connsiteX2124" fmla="*/ 3913301 w 4664922"/>
              <a:gd name="connsiteY2124" fmla="*/ 1256827 h 1786050"/>
              <a:gd name="connsiteX2125" fmla="*/ 3914805 w 4664922"/>
              <a:gd name="connsiteY2125" fmla="*/ 1250580 h 1786050"/>
              <a:gd name="connsiteX2126" fmla="*/ 3901326 w 4664922"/>
              <a:gd name="connsiteY2126" fmla="*/ 1240631 h 1786050"/>
              <a:gd name="connsiteX2127" fmla="*/ 3900864 w 4664922"/>
              <a:gd name="connsiteY2127" fmla="*/ 1240631 h 1786050"/>
              <a:gd name="connsiteX2128" fmla="*/ 3896583 w 4664922"/>
              <a:gd name="connsiteY2128" fmla="*/ 1236466 h 1786050"/>
              <a:gd name="connsiteX2129" fmla="*/ 3906128 w 4664922"/>
              <a:gd name="connsiteY2129" fmla="*/ 1207891 h 1786050"/>
              <a:gd name="connsiteX2130" fmla="*/ 3913705 w 4664922"/>
              <a:gd name="connsiteY2130" fmla="*/ 1199272 h 1786050"/>
              <a:gd name="connsiteX2131" fmla="*/ 3905665 w 4664922"/>
              <a:gd name="connsiteY2131" fmla="*/ 1195397 h 1786050"/>
              <a:gd name="connsiteX2132" fmla="*/ 3899880 w 4664922"/>
              <a:gd name="connsiteY2132" fmla="*/ 1194529 h 1786050"/>
              <a:gd name="connsiteX2133" fmla="*/ 3894617 w 4664922"/>
              <a:gd name="connsiteY2133" fmla="*/ 1195455 h 1786050"/>
              <a:gd name="connsiteX2134" fmla="*/ 3888427 w 4664922"/>
              <a:gd name="connsiteY2134" fmla="*/ 1196612 h 1786050"/>
              <a:gd name="connsiteX2135" fmla="*/ 3888080 w 4664922"/>
              <a:gd name="connsiteY2135" fmla="*/ 1196612 h 1786050"/>
              <a:gd name="connsiteX2136" fmla="*/ 3880503 w 4664922"/>
              <a:gd name="connsiteY2136" fmla="*/ 1190827 h 1786050"/>
              <a:gd name="connsiteX2137" fmla="*/ 3884205 w 4664922"/>
              <a:gd name="connsiteY2137" fmla="*/ 1166533 h 1786050"/>
              <a:gd name="connsiteX2138" fmla="*/ 3897914 w 4664922"/>
              <a:gd name="connsiteY2138" fmla="*/ 1154038 h 1786050"/>
              <a:gd name="connsiteX2139" fmla="*/ 3906995 w 4664922"/>
              <a:gd name="connsiteY2139" fmla="*/ 1142469 h 1786050"/>
              <a:gd name="connsiteX2140" fmla="*/ 3923018 w 4664922"/>
              <a:gd name="connsiteY2140" fmla="*/ 1114473 h 1786050"/>
              <a:gd name="connsiteX2141" fmla="*/ 3927762 w 4664922"/>
              <a:gd name="connsiteY2141" fmla="*/ 1107821 h 1786050"/>
              <a:gd name="connsiteX2142" fmla="*/ 3935570 w 4664922"/>
              <a:gd name="connsiteY2142" fmla="*/ 1104523 h 1786050"/>
              <a:gd name="connsiteX2143" fmla="*/ 3944073 w 4664922"/>
              <a:gd name="connsiteY2143" fmla="*/ 1105449 h 1786050"/>
              <a:gd name="connsiteX2144" fmla="*/ 3952288 w 4664922"/>
              <a:gd name="connsiteY2144" fmla="*/ 1106085 h 1786050"/>
              <a:gd name="connsiteX2145" fmla="*/ 3953328 w 4664922"/>
              <a:gd name="connsiteY2145" fmla="*/ 1106085 h 1786050"/>
              <a:gd name="connsiteX2146" fmla="*/ 3958014 w 4664922"/>
              <a:gd name="connsiteY2146" fmla="*/ 1110308 h 1786050"/>
              <a:gd name="connsiteX2147" fmla="*/ 3959865 w 4664922"/>
              <a:gd name="connsiteY2147" fmla="*/ 1112680 h 1786050"/>
              <a:gd name="connsiteX2148" fmla="*/ 3962294 w 4664922"/>
              <a:gd name="connsiteY2148" fmla="*/ 1111291 h 1786050"/>
              <a:gd name="connsiteX2149" fmla="*/ 3969987 w 4664922"/>
              <a:gd name="connsiteY2149" fmla="*/ 1102267 h 1786050"/>
              <a:gd name="connsiteX2150" fmla="*/ 3990522 w 4664922"/>
              <a:gd name="connsiteY2150" fmla="*/ 1084914 h 1786050"/>
              <a:gd name="connsiteX2151" fmla="*/ 3995035 w 4664922"/>
              <a:gd name="connsiteY2151" fmla="*/ 1086650 h 1786050"/>
              <a:gd name="connsiteX2152" fmla="*/ 3996827 w 4664922"/>
              <a:gd name="connsiteY2152" fmla="*/ 1098970 h 1786050"/>
              <a:gd name="connsiteX2153" fmla="*/ 3999835 w 4664922"/>
              <a:gd name="connsiteY2153" fmla="*/ 1109035 h 1786050"/>
              <a:gd name="connsiteX2154" fmla="*/ 4001224 w 4664922"/>
              <a:gd name="connsiteY2154" fmla="*/ 1111407 h 1786050"/>
              <a:gd name="connsiteX2155" fmla="*/ 4008280 w 4664922"/>
              <a:gd name="connsiteY2155" fmla="*/ 1106143 h 1786050"/>
              <a:gd name="connsiteX2156" fmla="*/ 4023493 w 4664922"/>
              <a:gd name="connsiteY2156" fmla="*/ 1093880 h 1786050"/>
              <a:gd name="connsiteX2157" fmla="*/ 4065258 w 4664922"/>
              <a:gd name="connsiteY2157" fmla="*/ 1084278 h 1786050"/>
              <a:gd name="connsiteX2158" fmla="*/ 4092907 w 4664922"/>
              <a:gd name="connsiteY2158" fmla="*/ 1088558 h 1786050"/>
              <a:gd name="connsiteX2159" fmla="*/ 4105401 w 4664922"/>
              <a:gd name="connsiteY2159" fmla="*/ 1100127 h 1786050"/>
              <a:gd name="connsiteX2160" fmla="*/ 4112342 w 4664922"/>
              <a:gd name="connsiteY2160" fmla="*/ 1105912 h 1786050"/>
              <a:gd name="connsiteX2161" fmla="*/ 4117202 w 4664922"/>
              <a:gd name="connsiteY2161" fmla="*/ 1098913 h 1786050"/>
              <a:gd name="connsiteX2162" fmla="*/ 4123564 w 4664922"/>
              <a:gd name="connsiteY2162" fmla="*/ 1089773 h 1786050"/>
              <a:gd name="connsiteX2163" fmla="*/ 4162841 w 4664922"/>
              <a:gd name="connsiteY2163" fmla="*/ 1067677 h 1786050"/>
              <a:gd name="connsiteX2164" fmla="*/ 4173252 w 4664922"/>
              <a:gd name="connsiteY2164" fmla="*/ 1061892 h 1786050"/>
              <a:gd name="connsiteX2165" fmla="*/ 4179037 w 4664922"/>
              <a:gd name="connsiteY2165" fmla="*/ 1056975 h 1786050"/>
              <a:gd name="connsiteX2166" fmla="*/ 4189796 w 4664922"/>
              <a:gd name="connsiteY2166" fmla="*/ 1050150 h 1786050"/>
              <a:gd name="connsiteX2167" fmla="*/ 4194597 w 4664922"/>
              <a:gd name="connsiteY2167" fmla="*/ 1046853 h 1786050"/>
              <a:gd name="connsiteX2168" fmla="*/ 4241509 w 4664922"/>
              <a:gd name="connsiteY2168" fmla="*/ 1025508 h 1786050"/>
              <a:gd name="connsiteX2169" fmla="*/ 4297386 w 4664922"/>
              <a:gd name="connsiteY2169" fmla="*/ 999825 h 1786050"/>
              <a:gd name="connsiteX2170" fmla="*/ 4297386 w 4664922"/>
              <a:gd name="connsiteY2170" fmla="*/ 999073 h 1786050"/>
              <a:gd name="connsiteX2171" fmla="*/ 4298023 w 4664922"/>
              <a:gd name="connsiteY2171" fmla="*/ 995140 h 1786050"/>
              <a:gd name="connsiteX2172" fmla="*/ 4304675 w 4664922"/>
              <a:gd name="connsiteY2172" fmla="*/ 992248 h 1786050"/>
              <a:gd name="connsiteX2173" fmla="*/ 4310459 w 4664922"/>
              <a:gd name="connsiteY2173" fmla="*/ 996065 h 1786050"/>
              <a:gd name="connsiteX2174" fmla="*/ 4320987 w 4664922"/>
              <a:gd name="connsiteY2174" fmla="*/ 999536 h 1786050"/>
              <a:gd name="connsiteX2175" fmla="*/ 4333828 w 4664922"/>
              <a:gd name="connsiteY2175" fmla="*/ 1001271 h 1786050"/>
              <a:gd name="connsiteX2176" fmla="*/ 4341406 w 4664922"/>
              <a:gd name="connsiteY2176" fmla="*/ 1003238 h 1786050"/>
              <a:gd name="connsiteX2177" fmla="*/ 4350950 w 4664922"/>
              <a:gd name="connsiteY2177" fmla="*/ 1005089 h 1786050"/>
              <a:gd name="connsiteX2178" fmla="*/ 4362519 w 4664922"/>
              <a:gd name="connsiteY2178" fmla="*/ 999305 h 1786050"/>
              <a:gd name="connsiteX2179" fmla="*/ 4364197 w 4664922"/>
              <a:gd name="connsiteY2179" fmla="*/ 986001 h 1786050"/>
              <a:gd name="connsiteX2180" fmla="*/ 4361362 w 4664922"/>
              <a:gd name="connsiteY2180" fmla="*/ 977844 h 1786050"/>
              <a:gd name="connsiteX2181" fmla="*/ 4353900 w 4664922"/>
              <a:gd name="connsiteY2181" fmla="*/ 967085 h 1786050"/>
              <a:gd name="connsiteX2182" fmla="*/ 4345687 w 4664922"/>
              <a:gd name="connsiteY2182" fmla="*/ 952509 h 1786050"/>
              <a:gd name="connsiteX2183" fmla="*/ 4338398 w 4664922"/>
              <a:gd name="connsiteY2183" fmla="*/ 934056 h 1786050"/>
              <a:gd name="connsiteX2184" fmla="*/ 4329722 w 4664922"/>
              <a:gd name="connsiteY2184" fmla="*/ 926710 h 1786050"/>
              <a:gd name="connsiteX2185" fmla="*/ 4328970 w 4664922"/>
              <a:gd name="connsiteY2185" fmla="*/ 926999 h 1786050"/>
              <a:gd name="connsiteX2186" fmla="*/ 4315549 w 4664922"/>
              <a:gd name="connsiteY2186" fmla="*/ 924570 h 1786050"/>
              <a:gd name="connsiteX2187" fmla="*/ 4310864 w 4664922"/>
              <a:gd name="connsiteY2187" fmla="*/ 916067 h 1786050"/>
              <a:gd name="connsiteX2188" fmla="*/ 4307683 w 4664922"/>
              <a:gd name="connsiteY2188" fmla="*/ 906407 h 1786050"/>
              <a:gd name="connsiteX2189" fmla="*/ 4304154 w 4664922"/>
              <a:gd name="connsiteY2189" fmla="*/ 907737 h 1786050"/>
              <a:gd name="connsiteX2190" fmla="*/ 4294147 w 4664922"/>
              <a:gd name="connsiteY2190" fmla="*/ 910456 h 1786050"/>
              <a:gd name="connsiteX2191" fmla="*/ 4279455 w 4664922"/>
              <a:gd name="connsiteY2191" fmla="*/ 902300 h 1786050"/>
              <a:gd name="connsiteX2192" fmla="*/ 4280322 w 4664922"/>
              <a:gd name="connsiteY2192" fmla="*/ 897267 h 1786050"/>
              <a:gd name="connsiteX2193" fmla="*/ 4297155 w 4664922"/>
              <a:gd name="connsiteY2193" fmla="*/ 891483 h 1786050"/>
              <a:gd name="connsiteX2194" fmla="*/ 4308030 w 4664922"/>
              <a:gd name="connsiteY2194" fmla="*/ 893392 h 1786050"/>
              <a:gd name="connsiteX2195" fmla="*/ 4318905 w 4664922"/>
              <a:gd name="connsiteY2195" fmla="*/ 902415 h 1786050"/>
              <a:gd name="connsiteX2196" fmla="*/ 4322722 w 4664922"/>
              <a:gd name="connsiteY2196" fmla="*/ 906812 h 1786050"/>
              <a:gd name="connsiteX2197" fmla="*/ 4332845 w 4664922"/>
              <a:gd name="connsiteY2197" fmla="*/ 908663 h 1786050"/>
              <a:gd name="connsiteX2198" fmla="*/ 4352743 w 4664922"/>
              <a:gd name="connsiteY2198" fmla="*/ 904787 h 1786050"/>
              <a:gd name="connsiteX2199" fmla="*/ 4361998 w 4664922"/>
              <a:gd name="connsiteY2199" fmla="*/ 900854 h 1786050"/>
              <a:gd name="connsiteX2200" fmla="*/ 4388607 w 4664922"/>
              <a:gd name="connsiteY2200" fmla="*/ 886624 h 1786050"/>
              <a:gd name="connsiteX2201" fmla="*/ 4390574 w 4664922"/>
              <a:gd name="connsiteY2201" fmla="*/ 880377 h 1786050"/>
              <a:gd name="connsiteX2202" fmla="*/ 4396763 w 4664922"/>
              <a:gd name="connsiteY2202" fmla="*/ 872047 h 1786050"/>
              <a:gd name="connsiteX2203" fmla="*/ 4400003 w 4664922"/>
              <a:gd name="connsiteY2203" fmla="*/ 867825 h 1786050"/>
              <a:gd name="connsiteX2204" fmla="*/ 4391904 w 4664922"/>
              <a:gd name="connsiteY2204" fmla="*/ 857875 h 1786050"/>
              <a:gd name="connsiteX2205" fmla="*/ 4387161 w 4664922"/>
              <a:gd name="connsiteY2205" fmla="*/ 847984 h 1786050"/>
              <a:gd name="connsiteX2206" fmla="*/ 4394391 w 4664922"/>
              <a:gd name="connsiteY2206" fmla="*/ 842200 h 1786050"/>
              <a:gd name="connsiteX2207" fmla="*/ 4399655 w 4664922"/>
              <a:gd name="connsiteY2207" fmla="*/ 837861 h 1786050"/>
              <a:gd name="connsiteX2208" fmla="*/ 4404398 w 4664922"/>
              <a:gd name="connsiteY2208" fmla="*/ 833349 h 1786050"/>
              <a:gd name="connsiteX2209" fmla="*/ 4408910 w 4664922"/>
              <a:gd name="connsiteY2209" fmla="*/ 833986 h 1786050"/>
              <a:gd name="connsiteX2210" fmla="*/ 4418570 w 4664922"/>
              <a:gd name="connsiteY2210" fmla="*/ 832597 h 1786050"/>
              <a:gd name="connsiteX2211" fmla="*/ 4422041 w 4664922"/>
              <a:gd name="connsiteY2211" fmla="*/ 831498 h 1786050"/>
              <a:gd name="connsiteX2212" fmla="*/ 4423834 w 4664922"/>
              <a:gd name="connsiteY2212" fmla="*/ 832424 h 1786050"/>
              <a:gd name="connsiteX2213" fmla="*/ 4419554 w 4664922"/>
              <a:gd name="connsiteY2213" fmla="*/ 843299 h 1786050"/>
              <a:gd name="connsiteX2214" fmla="*/ 4416430 w 4664922"/>
              <a:gd name="connsiteY2214" fmla="*/ 848736 h 1786050"/>
              <a:gd name="connsiteX2215" fmla="*/ 4421751 w 4664922"/>
              <a:gd name="connsiteY2215" fmla="*/ 860652 h 1786050"/>
              <a:gd name="connsiteX2216" fmla="*/ 4426205 w 4664922"/>
              <a:gd name="connsiteY2216" fmla="*/ 866436 h 1786050"/>
              <a:gd name="connsiteX2217" fmla="*/ 4438180 w 4664922"/>
              <a:gd name="connsiteY2217" fmla="*/ 869676 h 1786050"/>
              <a:gd name="connsiteX2218" fmla="*/ 4452872 w 4664922"/>
              <a:gd name="connsiteY2218" fmla="*/ 866494 h 1786050"/>
              <a:gd name="connsiteX2219" fmla="*/ 4460102 w 4664922"/>
              <a:gd name="connsiteY2219" fmla="*/ 865048 h 1786050"/>
              <a:gd name="connsiteX2220" fmla="*/ 4497296 w 4664922"/>
              <a:gd name="connsiteY2220" fmla="*/ 881360 h 1786050"/>
              <a:gd name="connsiteX2221" fmla="*/ 4516096 w 4664922"/>
              <a:gd name="connsiteY2221" fmla="*/ 904093 h 1786050"/>
              <a:gd name="connsiteX2222" fmla="*/ 4532119 w 4664922"/>
              <a:gd name="connsiteY2222" fmla="*/ 908778 h 1786050"/>
              <a:gd name="connsiteX2223" fmla="*/ 4543688 w 4664922"/>
              <a:gd name="connsiteY2223" fmla="*/ 914563 h 1786050"/>
              <a:gd name="connsiteX2224" fmla="*/ 4553637 w 4664922"/>
              <a:gd name="connsiteY2224" fmla="*/ 921909 h 1786050"/>
              <a:gd name="connsiteX2225" fmla="*/ 4556934 w 4664922"/>
              <a:gd name="connsiteY2225" fmla="*/ 921562 h 1786050"/>
              <a:gd name="connsiteX2226" fmla="*/ 4559189 w 4664922"/>
              <a:gd name="connsiteY2226" fmla="*/ 921562 h 1786050"/>
              <a:gd name="connsiteX2227" fmla="*/ 4566015 w 4664922"/>
              <a:gd name="connsiteY2227" fmla="*/ 923529 h 1786050"/>
              <a:gd name="connsiteX2228" fmla="*/ 4572956 w 4664922"/>
              <a:gd name="connsiteY2228" fmla="*/ 923529 h 1786050"/>
              <a:gd name="connsiteX2229" fmla="*/ 4577584 w 4664922"/>
              <a:gd name="connsiteY2229" fmla="*/ 921562 h 1786050"/>
              <a:gd name="connsiteX2230" fmla="*/ 4580476 w 4664922"/>
              <a:gd name="connsiteY2230" fmla="*/ 922025 h 1786050"/>
              <a:gd name="connsiteX2231" fmla="*/ 4583195 w 4664922"/>
              <a:gd name="connsiteY2231" fmla="*/ 922487 h 1786050"/>
              <a:gd name="connsiteX2232" fmla="*/ 4587939 w 4664922"/>
              <a:gd name="connsiteY2232" fmla="*/ 920289 h 1786050"/>
              <a:gd name="connsiteX2233" fmla="*/ 4588864 w 4664922"/>
              <a:gd name="connsiteY2233" fmla="*/ 918670 h 1786050"/>
              <a:gd name="connsiteX2234" fmla="*/ 4582269 w 4664922"/>
              <a:gd name="connsiteY2234" fmla="*/ 913464 h 1786050"/>
              <a:gd name="connsiteX2235" fmla="*/ 4575270 w 4664922"/>
              <a:gd name="connsiteY2235" fmla="*/ 907679 h 1786050"/>
              <a:gd name="connsiteX2236" fmla="*/ 4575618 w 4664922"/>
              <a:gd name="connsiteY2236" fmla="*/ 905481 h 1786050"/>
              <a:gd name="connsiteX2237" fmla="*/ 4578683 w 4664922"/>
              <a:gd name="connsiteY2237" fmla="*/ 903399 h 1786050"/>
              <a:gd name="connsiteX2238" fmla="*/ 4583311 w 4664922"/>
              <a:gd name="connsiteY2238" fmla="*/ 905539 h 1786050"/>
              <a:gd name="connsiteX2239" fmla="*/ 4589443 w 4664922"/>
              <a:gd name="connsiteY2239" fmla="*/ 908142 h 1786050"/>
              <a:gd name="connsiteX2240" fmla="*/ 4589789 w 4664922"/>
              <a:gd name="connsiteY2240" fmla="*/ 908142 h 1786050"/>
              <a:gd name="connsiteX2241" fmla="*/ 4590889 w 4664922"/>
              <a:gd name="connsiteY2241" fmla="*/ 907737 h 1786050"/>
              <a:gd name="connsiteX2242" fmla="*/ 4590889 w 4664922"/>
              <a:gd name="connsiteY2242" fmla="*/ 902473 h 1786050"/>
              <a:gd name="connsiteX2243" fmla="*/ 4592624 w 4664922"/>
              <a:gd name="connsiteY2243" fmla="*/ 894838 h 1786050"/>
              <a:gd name="connsiteX2244" fmla="*/ 4593838 w 4664922"/>
              <a:gd name="connsiteY2244" fmla="*/ 890210 h 1786050"/>
              <a:gd name="connsiteX2245" fmla="*/ 4588575 w 4664922"/>
              <a:gd name="connsiteY2245" fmla="*/ 869965 h 1786050"/>
              <a:gd name="connsiteX2246" fmla="*/ 4585798 w 4664922"/>
              <a:gd name="connsiteY2246" fmla="*/ 865684 h 1786050"/>
              <a:gd name="connsiteX2247" fmla="*/ 4590889 w 4664922"/>
              <a:gd name="connsiteY2247" fmla="*/ 861867 h 1786050"/>
              <a:gd name="connsiteX2248" fmla="*/ 4598061 w 4664922"/>
              <a:gd name="connsiteY2248" fmla="*/ 864759 h 1786050"/>
              <a:gd name="connsiteX2249" fmla="*/ 4625652 w 4664922"/>
              <a:gd name="connsiteY2249" fmla="*/ 871006 h 1786050"/>
              <a:gd name="connsiteX2250" fmla="*/ 4628082 w 4664922"/>
              <a:gd name="connsiteY2250" fmla="*/ 871006 h 1786050"/>
              <a:gd name="connsiteX2251" fmla="*/ 4629934 w 4664922"/>
              <a:gd name="connsiteY2251" fmla="*/ 871006 h 1786050"/>
              <a:gd name="connsiteX2252" fmla="*/ 4621430 w 4664922"/>
              <a:gd name="connsiteY2252" fmla="*/ 865916 h 1786050"/>
              <a:gd name="connsiteX2253" fmla="*/ 4617844 w 4664922"/>
              <a:gd name="connsiteY2253" fmla="*/ 862908 h 1786050"/>
              <a:gd name="connsiteX2254" fmla="*/ 4623628 w 4664922"/>
              <a:gd name="connsiteY2254" fmla="*/ 859553 h 1786050"/>
              <a:gd name="connsiteX2255" fmla="*/ 4628718 w 4664922"/>
              <a:gd name="connsiteY2255" fmla="*/ 861520 h 1786050"/>
              <a:gd name="connsiteX2256" fmla="*/ 4638610 w 4664922"/>
              <a:gd name="connsiteY2256" fmla="*/ 865684 h 1786050"/>
              <a:gd name="connsiteX2257" fmla="*/ 4641791 w 4664922"/>
              <a:gd name="connsiteY2257" fmla="*/ 863776 h 1786050"/>
              <a:gd name="connsiteX2258" fmla="*/ 4656542 w 4664922"/>
              <a:gd name="connsiteY2258" fmla="*/ 847926 h 1786050"/>
              <a:gd name="connsiteX2259" fmla="*/ 4658046 w 4664922"/>
              <a:gd name="connsiteY2259" fmla="*/ 847926 h 1786050"/>
              <a:gd name="connsiteX2260" fmla="*/ 4663830 w 4664922"/>
              <a:gd name="connsiteY2260" fmla="*/ 845902 h 1786050"/>
              <a:gd name="connsiteX2261" fmla="*/ 4659781 w 4664922"/>
              <a:gd name="connsiteY2261" fmla="*/ 842836 h 1786050"/>
              <a:gd name="connsiteX2262" fmla="*/ 4618827 w 4664922"/>
              <a:gd name="connsiteY2262" fmla="*/ 813914 h 1786050"/>
              <a:gd name="connsiteX2263" fmla="*/ 4588285 w 4664922"/>
              <a:gd name="connsiteY2263" fmla="*/ 803560 h 1786050"/>
              <a:gd name="connsiteX2264" fmla="*/ 4583369 w 4664922"/>
              <a:gd name="connsiteY2264" fmla="*/ 804427 h 1786050"/>
              <a:gd name="connsiteX2265" fmla="*/ 4580939 w 4664922"/>
              <a:gd name="connsiteY2265" fmla="*/ 807314 h 1786050"/>
              <a:gd name="connsiteX2266" fmla="*/ 4580534 w 4664922"/>
              <a:gd name="connsiteY2266" fmla="*/ 807319 h 1786050"/>
              <a:gd name="connsiteX2267" fmla="*/ 4568965 w 4664922"/>
              <a:gd name="connsiteY2267" fmla="*/ 798411 h 1786050"/>
              <a:gd name="connsiteX2268" fmla="*/ 4549934 w 4664922"/>
              <a:gd name="connsiteY2268" fmla="*/ 794767 h 1786050"/>
              <a:gd name="connsiteX2269" fmla="*/ 4535589 w 4664922"/>
              <a:gd name="connsiteY2269" fmla="*/ 797602 h 1786050"/>
              <a:gd name="connsiteX2270" fmla="*/ 4540332 w 4664922"/>
              <a:gd name="connsiteY2270" fmla="*/ 803386 h 1786050"/>
              <a:gd name="connsiteX2271" fmla="*/ 4547852 w 4664922"/>
              <a:gd name="connsiteY2271" fmla="*/ 809633 h 1786050"/>
              <a:gd name="connsiteX2272" fmla="*/ 4546464 w 4664922"/>
              <a:gd name="connsiteY2272" fmla="*/ 819756 h 1786050"/>
              <a:gd name="connsiteX2273" fmla="*/ 4543976 w 4664922"/>
              <a:gd name="connsiteY2273" fmla="*/ 827276 h 1786050"/>
              <a:gd name="connsiteX2274" fmla="*/ 4543976 w 4664922"/>
              <a:gd name="connsiteY2274" fmla="*/ 830342 h 1786050"/>
              <a:gd name="connsiteX2275" fmla="*/ 4542126 w 4664922"/>
              <a:gd name="connsiteY2275" fmla="*/ 831209 h 1786050"/>
              <a:gd name="connsiteX2276" fmla="*/ 4524772 w 4664922"/>
              <a:gd name="connsiteY2276" fmla="*/ 820855 h 1786050"/>
              <a:gd name="connsiteX2277" fmla="*/ 4523095 w 4664922"/>
              <a:gd name="connsiteY2277" fmla="*/ 791933 h 1786050"/>
              <a:gd name="connsiteX2278" fmla="*/ 4519046 w 4664922"/>
              <a:gd name="connsiteY2278" fmla="*/ 785628 h 1786050"/>
              <a:gd name="connsiteX2279" fmla="*/ 4512625 w 4664922"/>
              <a:gd name="connsiteY2279" fmla="*/ 777819 h 1786050"/>
              <a:gd name="connsiteX2280" fmla="*/ 4460565 w 4664922"/>
              <a:gd name="connsiteY2280" fmla="*/ 747566 h 1786050"/>
              <a:gd name="connsiteX2281" fmla="*/ 4448996 w 4664922"/>
              <a:gd name="connsiteY2281" fmla="*/ 743055 h 1786050"/>
              <a:gd name="connsiteX2282" fmla="*/ 4419438 w 4664922"/>
              <a:gd name="connsiteY2282" fmla="*/ 726916 h 1786050"/>
              <a:gd name="connsiteX2283" fmla="*/ 4401680 w 4664922"/>
              <a:gd name="connsiteY2283" fmla="*/ 718933 h 1786050"/>
              <a:gd name="connsiteX2284" fmla="*/ 4376402 w 4664922"/>
              <a:gd name="connsiteY2284" fmla="*/ 707365 h 1786050"/>
              <a:gd name="connsiteX2285" fmla="*/ 4300799 w 4664922"/>
              <a:gd name="connsiteY2285" fmla="*/ 676187 h 1786050"/>
              <a:gd name="connsiteX2286" fmla="*/ 4282752 w 4664922"/>
              <a:gd name="connsiteY2286" fmla="*/ 668493 h 1786050"/>
              <a:gd name="connsiteX2287" fmla="*/ 4275984 w 4664922"/>
              <a:gd name="connsiteY2287" fmla="*/ 665659 h 1786050"/>
              <a:gd name="connsiteX2288" fmla="*/ 4263259 w 4664922"/>
              <a:gd name="connsiteY2288" fmla="*/ 666237 h 1786050"/>
              <a:gd name="connsiteX2289" fmla="*/ 4211199 w 4664922"/>
              <a:gd name="connsiteY2289" fmla="*/ 663229 h 1786050"/>
              <a:gd name="connsiteX2290" fmla="*/ 4207959 w 4664922"/>
              <a:gd name="connsiteY2290" fmla="*/ 663229 h 1786050"/>
              <a:gd name="connsiteX2291" fmla="*/ 4197952 w 4664922"/>
              <a:gd name="connsiteY2291" fmla="*/ 666006 h 1786050"/>
              <a:gd name="connsiteX2292" fmla="*/ 4190374 w 4664922"/>
              <a:gd name="connsiteY2292" fmla="*/ 668320 h 1786050"/>
              <a:gd name="connsiteX2293" fmla="*/ 4185863 w 4664922"/>
              <a:gd name="connsiteY2293" fmla="*/ 667452 h 1786050"/>
              <a:gd name="connsiteX2294" fmla="*/ 4128655 w 4664922"/>
              <a:gd name="connsiteY2294" fmla="*/ 651545 h 1786050"/>
              <a:gd name="connsiteX2295" fmla="*/ 4124143 w 4664922"/>
              <a:gd name="connsiteY2295" fmla="*/ 652586 h 1786050"/>
              <a:gd name="connsiteX2296" fmla="*/ 4120152 w 4664922"/>
              <a:gd name="connsiteY2296" fmla="*/ 661957 h 1786050"/>
              <a:gd name="connsiteX2297" fmla="*/ 4114772 w 4664922"/>
              <a:gd name="connsiteY2297" fmla="*/ 670286 h 1786050"/>
              <a:gd name="connsiteX2298" fmla="*/ 4113442 w 4664922"/>
              <a:gd name="connsiteY2298" fmla="*/ 671327 h 1786050"/>
              <a:gd name="connsiteX2299" fmla="*/ 4128539 w 4664922"/>
              <a:gd name="connsiteY2299" fmla="*/ 690185 h 1786050"/>
              <a:gd name="connsiteX2300" fmla="*/ 4135654 w 4664922"/>
              <a:gd name="connsiteY2300" fmla="*/ 704877 h 1786050"/>
              <a:gd name="connsiteX2301" fmla="*/ 4121308 w 4664922"/>
              <a:gd name="connsiteY2301" fmla="*/ 718702 h 1786050"/>
              <a:gd name="connsiteX2302" fmla="*/ 4113384 w 4664922"/>
              <a:gd name="connsiteY2302" fmla="*/ 720264 h 1786050"/>
              <a:gd name="connsiteX2303" fmla="*/ 4082379 w 4664922"/>
              <a:gd name="connsiteY2303" fmla="*/ 704183 h 1786050"/>
              <a:gd name="connsiteX2304" fmla="*/ 4070463 w 4664922"/>
              <a:gd name="connsiteY2304" fmla="*/ 697473 h 1786050"/>
              <a:gd name="connsiteX2305" fmla="*/ 4055597 w 4664922"/>
              <a:gd name="connsiteY2305" fmla="*/ 686541 h 1786050"/>
              <a:gd name="connsiteX2306" fmla="*/ 4055597 w 4664922"/>
              <a:gd name="connsiteY2306" fmla="*/ 676244 h 1786050"/>
              <a:gd name="connsiteX2307" fmla="*/ 4060630 w 4664922"/>
              <a:gd name="connsiteY2307" fmla="*/ 673873 h 1786050"/>
              <a:gd name="connsiteX2308" fmla="*/ 4070116 w 4664922"/>
              <a:gd name="connsiteY2308" fmla="*/ 678037 h 1786050"/>
              <a:gd name="connsiteX2309" fmla="*/ 4077347 w 4664922"/>
              <a:gd name="connsiteY2309" fmla="*/ 680814 h 1786050"/>
              <a:gd name="connsiteX2310" fmla="*/ 4088510 w 4664922"/>
              <a:gd name="connsiteY2310" fmla="*/ 671096 h 1786050"/>
              <a:gd name="connsiteX2311" fmla="*/ 4087064 w 4664922"/>
              <a:gd name="connsiteY2311" fmla="*/ 667278 h 1786050"/>
              <a:gd name="connsiteX2312" fmla="*/ 4055366 w 4664922"/>
              <a:gd name="connsiteY2312" fmla="*/ 658255 h 1786050"/>
              <a:gd name="connsiteX2313" fmla="*/ 4038012 w 4664922"/>
              <a:gd name="connsiteY2313" fmla="*/ 670633 h 1786050"/>
              <a:gd name="connsiteX2314" fmla="*/ 4023609 w 4664922"/>
              <a:gd name="connsiteY2314" fmla="*/ 683533 h 1786050"/>
              <a:gd name="connsiteX2315" fmla="*/ 4007702 w 4664922"/>
              <a:gd name="connsiteY2315" fmla="*/ 686251 h 1786050"/>
              <a:gd name="connsiteX2316" fmla="*/ 3954022 w 4664922"/>
              <a:gd name="connsiteY2316" fmla="*/ 675724 h 1786050"/>
              <a:gd name="connsiteX2317" fmla="*/ 3936669 w 4664922"/>
              <a:gd name="connsiteY2317" fmla="*/ 673988 h 1786050"/>
              <a:gd name="connsiteX2318" fmla="*/ 3873040 w 4664922"/>
              <a:gd name="connsiteY2318" fmla="*/ 680641 h 1786050"/>
              <a:gd name="connsiteX2319" fmla="*/ 3869338 w 4664922"/>
              <a:gd name="connsiteY2319" fmla="*/ 696432 h 1786050"/>
              <a:gd name="connsiteX2320" fmla="*/ 3867256 w 4664922"/>
              <a:gd name="connsiteY2320" fmla="*/ 706208 h 1786050"/>
              <a:gd name="connsiteX2321" fmla="*/ 3866389 w 4664922"/>
              <a:gd name="connsiteY2321" fmla="*/ 706208 h 1786050"/>
              <a:gd name="connsiteX2322" fmla="*/ 3860604 w 4664922"/>
              <a:gd name="connsiteY2322" fmla="*/ 693771 h 1786050"/>
              <a:gd name="connsiteX2323" fmla="*/ 3858406 w 4664922"/>
              <a:gd name="connsiteY2323" fmla="*/ 678732 h 1786050"/>
              <a:gd name="connsiteX2324" fmla="*/ 3838565 w 4664922"/>
              <a:gd name="connsiteY2324" fmla="*/ 672253 h 1786050"/>
              <a:gd name="connsiteX2325" fmla="*/ 3821212 w 4664922"/>
              <a:gd name="connsiteY2325" fmla="*/ 669187 h 1786050"/>
              <a:gd name="connsiteX2326" fmla="*/ 3823121 w 4664922"/>
              <a:gd name="connsiteY2326" fmla="*/ 664618 h 1786050"/>
              <a:gd name="connsiteX2327" fmla="*/ 3823873 w 4664922"/>
              <a:gd name="connsiteY2327" fmla="*/ 658833 h 1786050"/>
              <a:gd name="connsiteX2328" fmla="*/ 3828096 w 4664922"/>
              <a:gd name="connsiteY2328" fmla="*/ 647264 h 1786050"/>
              <a:gd name="connsiteX2329" fmla="*/ 3829542 w 4664922"/>
              <a:gd name="connsiteY2329" fmla="*/ 643967 h 1786050"/>
              <a:gd name="connsiteX2330" fmla="*/ 3783903 w 4664922"/>
              <a:gd name="connsiteY2330" fmla="*/ 610475 h 1786050"/>
              <a:gd name="connsiteX2331" fmla="*/ 3740404 w 4664922"/>
              <a:gd name="connsiteY2331" fmla="*/ 604691 h 1786050"/>
              <a:gd name="connsiteX2332" fmla="*/ 3681229 w 4664922"/>
              <a:gd name="connsiteY2332" fmla="*/ 610822 h 1786050"/>
              <a:gd name="connsiteX2333" fmla="*/ 3637094 w 4664922"/>
              <a:gd name="connsiteY2333" fmla="*/ 614467 h 1786050"/>
              <a:gd name="connsiteX2334" fmla="*/ 3617195 w 4664922"/>
              <a:gd name="connsiteY2334" fmla="*/ 614467 h 1786050"/>
              <a:gd name="connsiteX2335" fmla="*/ 3608634 w 4664922"/>
              <a:gd name="connsiteY2335" fmla="*/ 612558 h 1786050"/>
              <a:gd name="connsiteX2336" fmla="*/ 3608634 w 4664922"/>
              <a:gd name="connsiteY2336" fmla="*/ 607699 h 1786050"/>
              <a:gd name="connsiteX2337" fmla="*/ 3608634 w 4664922"/>
              <a:gd name="connsiteY2337" fmla="*/ 600642 h 1786050"/>
              <a:gd name="connsiteX2338" fmla="*/ 3580927 w 4664922"/>
              <a:gd name="connsiteY2338" fmla="*/ 589073 h 1786050"/>
              <a:gd name="connsiteX2339" fmla="*/ 3576184 w 4664922"/>
              <a:gd name="connsiteY2339" fmla="*/ 590519 h 1786050"/>
              <a:gd name="connsiteX2340" fmla="*/ 3571325 w 4664922"/>
              <a:gd name="connsiteY2340" fmla="*/ 593643 h 1786050"/>
              <a:gd name="connsiteX2341" fmla="*/ 3566003 w 4664922"/>
              <a:gd name="connsiteY2341" fmla="*/ 590924 h 1786050"/>
              <a:gd name="connsiteX2342" fmla="*/ 3563631 w 4664922"/>
              <a:gd name="connsiteY2342" fmla="*/ 585487 h 1786050"/>
              <a:gd name="connsiteX2343" fmla="*/ 3533668 w 4664922"/>
              <a:gd name="connsiteY2343" fmla="*/ 575017 h 1786050"/>
              <a:gd name="connsiteX2344" fmla="*/ 3530660 w 4664922"/>
              <a:gd name="connsiteY2344" fmla="*/ 575017 h 1786050"/>
              <a:gd name="connsiteX2345" fmla="*/ 3520480 w 4664922"/>
              <a:gd name="connsiteY2345" fmla="*/ 571488 h 1786050"/>
              <a:gd name="connsiteX2346" fmla="*/ 3520480 w 4664922"/>
              <a:gd name="connsiteY2346" fmla="*/ 566861 h 1786050"/>
              <a:gd name="connsiteX2347" fmla="*/ 3527768 w 4664922"/>
              <a:gd name="connsiteY2347" fmla="*/ 563911 h 1786050"/>
              <a:gd name="connsiteX2348" fmla="*/ 3532627 w 4664922"/>
              <a:gd name="connsiteY2348" fmla="*/ 563911 h 1786050"/>
              <a:gd name="connsiteX2349" fmla="*/ 3538411 w 4664922"/>
              <a:gd name="connsiteY2349" fmla="*/ 563911 h 1786050"/>
              <a:gd name="connsiteX2350" fmla="*/ 3550906 w 4664922"/>
              <a:gd name="connsiteY2350" fmla="*/ 561018 h 1786050"/>
              <a:gd name="connsiteX2351" fmla="*/ 3549286 w 4664922"/>
              <a:gd name="connsiteY2351" fmla="*/ 555234 h 1786050"/>
              <a:gd name="connsiteX2352" fmla="*/ 3471775 w 4664922"/>
              <a:gd name="connsiteY2352" fmla="*/ 540542 h 1786050"/>
              <a:gd name="connsiteX2353" fmla="*/ 3462636 w 4664922"/>
              <a:gd name="connsiteY2353" fmla="*/ 541120 h 1786050"/>
              <a:gd name="connsiteX2354" fmla="*/ 3459107 w 4664922"/>
              <a:gd name="connsiteY2354" fmla="*/ 546905 h 1786050"/>
              <a:gd name="connsiteX2355" fmla="*/ 3446844 w 4664922"/>
              <a:gd name="connsiteY2355" fmla="*/ 567497 h 1786050"/>
              <a:gd name="connsiteX2356" fmla="*/ 3429491 w 4664922"/>
              <a:gd name="connsiteY2356" fmla="*/ 575537 h 1786050"/>
              <a:gd name="connsiteX2357" fmla="*/ 3417575 w 4664922"/>
              <a:gd name="connsiteY2357" fmla="*/ 570331 h 1786050"/>
              <a:gd name="connsiteX2358" fmla="*/ 3416071 w 4664922"/>
              <a:gd name="connsiteY2358" fmla="*/ 563969 h 1786050"/>
              <a:gd name="connsiteX2359" fmla="*/ 3427987 w 4664922"/>
              <a:gd name="connsiteY2359" fmla="*/ 556622 h 1786050"/>
              <a:gd name="connsiteX2360" fmla="*/ 3437473 w 4664922"/>
              <a:gd name="connsiteY2360" fmla="*/ 550838 h 1786050"/>
              <a:gd name="connsiteX2361" fmla="*/ 3423359 w 4664922"/>
              <a:gd name="connsiteY2361" fmla="*/ 546731 h 1786050"/>
              <a:gd name="connsiteX2362" fmla="*/ 3406931 w 4664922"/>
              <a:gd name="connsiteY2362" fmla="*/ 542161 h 1786050"/>
              <a:gd name="connsiteX2363" fmla="*/ 3406353 w 4664922"/>
              <a:gd name="connsiteY2363" fmla="*/ 536377 h 1786050"/>
              <a:gd name="connsiteX2364" fmla="*/ 3416880 w 4664922"/>
              <a:gd name="connsiteY2364" fmla="*/ 531981 h 1786050"/>
              <a:gd name="connsiteX2365" fmla="*/ 3423533 w 4664922"/>
              <a:gd name="connsiteY2365" fmla="*/ 532964 h 1786050"/>
              <a:gd name="connsiteX2366" fmla="*/ 3442043 w 4664922"/>
              <a:gd name="connsiteY2366" fmla="*/ 535683 h 1786050"/>
              <a:gd name="connsiteX2367" fmla="*/ 3449563 w 4664922"/>
              <a:gd name="connsiteY2367" fmla="*/ 533890 h 1786050"/>
              <a:gd name="connsiteX2368" fmla="*/ 3449563 w 4664922"/>
              <a:gd name="connsiteY2368" fmla="*/ 532964 h 1786050"/>
              <a:gd name="connsiteX2369" fmla="*/ 3432209 w 4664922"/>
              <a:gd name="connsiteY2369" fmla="*/ 528394 h 1786050"/>
              <a:gd name="connsiteX2370" fmla="*/ 3424401 w 4664922"/>
              <a:gd name="connsiteY2370" fmla="*/ 527064 h 1786050"/>
              <a:gd name="connsiteX2371" fmla="*/ 3412138 w 4664922"/>
              <a:gd name="connsiteY2371" fmla="*/ 524692 h 1786050"/>
              <a:gd name="connsiteX2372" fmla="*/ 3355161 w 4664922"/>
              <a:gd name="connsiteY2372" fmla="*/ 516710 h 1786050"/>
              <a:gd name="connsiteX2373" fmla="*/ 3348798 w 4664922"/>
              <a:gd name="connsiteY2373" fmla="*/ 516999 h 1786050"/>
              <a:gd name="connsiteX2374" fmla="*/ 3343013 w 4664922"/>
              <a:gd name="connsiteY2374" fmla="*/ 516999 h 1786050"/>
              <a:gd name="connsiteX2375" fmla="*/ 3319413 w 4664922"/>
              <a:gd name="connsiteY2375" fmla="*/ 511735 h 1786050"/>
              <a:gd name="connsiteX2376" fmla="*/ 3307266 w 4664922"/>
              <a:gd name="connsiteY2376" fmla="*/ 508207 h 1786050"/>
              <a:gd name="connsiteX2377" fmla="*/ 3305646 w 4664922"/>
              <a:gd name="connsiteY2377" fmla="*/ 508207 h 1786050"/>
              <a:gd name="connsiteX2378" fmla="*/ 3299341 w 4664922"/>
              <a:gd name="connsiteY2378" fmla="*/ 510636 h 1786050"/>
              <a:gd name="connsiteX2379" fmla="*/ 3302176 w 4664922"/>
              <a:gd name="connsiteY2379" fmla="*/ 518966 h 1786050"/>
              <a:gd name="connsiteX2380" fmla="*/ 3303043 w 4664922"/>
              <a:gd name="connsiteY2380" fmla="*/ 523825 h 1786050"/>
              <a:gd name="connsiteX2381" fmla="*/ 3284244 w 4664922"/>
              <a:gd name="connsiteY2381" fmla="*/ 529609 h 1786050"/>
              <a:gd name="connsiteX2382" fmla="*/ 3276898 w 4664922"/>
              <a:gd name="connsiteY2382" fmla="*/ 529088 h 1786050"/>
              <a:gd name="connsiteX2383" fmla="*/ 3273195 w 4664922"/>
              <a:gd name="connsiteY2383" fmla="*/ 529088 h 1786050"/>
              <a:gd name="connsiteX2384" fmla="*/ 3251966 w 4664922"/>
              <a:gd name="connsiteY2384" fmla="*/ 538344 h 1786050"/>
              <a:gd name="connsiteX2385" fmla="*/ 3252892 w 4664922"/>
              <a:gd name="connsiteY2385" fmla="*/ 544475 h 1786050"/>
              <a:gd name="connsiteX2386" fmla="*/ 3258677 w 4664922"/>
              <a:gd name="connsiteY2386" fmla="*/ 547830 h 1786050"/>
              <a:gd name="connsiteX2387" fmla="*/ 3264923 w 4664922"/>
              <a:gd name="connsiteY2387" fmla="*/ 545863 h 1786050"/>
              <a:gd name="connsiteX2388" fmla="*/ 3271402 w 4664922"/>
              <a:gd name="connsiteY2388" fmla="*/ 543897 h 1786050"/>
              <a:gd name="connsiteX2389" fmla="*/ 3274294 w 4664922"/>
              <a:gd name="connsiteY2389" fmla="*/ 544591 h 1786050"/>
              <a:gd name="connsiteX2390" fmla="*/ 3276088 w 4664922"/>
              <a:gd name="connsiteY2390" fmla="*/ 546789 h 1786050"/>
              <a:gd name="connsiteX2391" fmla="*/ 3270650 w 4664922"/>
              <a:gd name="connsiteY2391" fmla="*/ 552573 h 1786050"/>
              <a:gd name="connsiteX2392" fmla="*/ 3265271 w 4664922"/>
              <a:gd name="connsiteY2392" fmla="*/ 557606 h 1786050"/>
              <a:gd name="connsiteX2393" fmla="*/ 3267006 w 4664922"/>
              <a:gd name="connsiteY2393" fmla="*/ 559052 h 1786050"/>
              <a:gd name="connsiteX2394" fmla="*/ 3276088 w 4664922"/>
              <a:gd name="connsiteY2394" fmla="*/ 576000 h 1786050"/>
              <a:gd name="connsiteX2395" fmla="*/ 3276088 w 4664922"/>
              <a:gd name="connsiteY2395" fmla="*/ 578545 h 1786050"/>
              <a:gd name="connsiteX2396" fmla="*/ 3275104 w 4664922"/>
              <a:gd name="connsiteY2396" fmla="*/ 581264 h 1786050"/>
              <a:gd name="connsiteX2397" fmla="*/ 3264866 w 4664922"/>
              <a:gd name="connsiteY2397" fmla="*/ 584330 h 1786050"/>
              <a:gd name="connsiteX2398" fmla="*/ 3251908 w 4664922"/>
              <a:gd name="connsiteY2398" fmla="*/ 579355 h 1786050"/>
              <a:gd name="connsiteX2399" fmla="*/ 3245025 w 4664922"/>
              <a:gd name="connsiteY2399" fmla="*/ 576289 h 1786050"/>
              <a:gd name="connsiteX2400" fmla="*/ 3238489 w 4664922"/>
              <a:gd name="connsiteY2400" fmla="*/ 577099 h 1786050"/>
              <a:gd name="connsiteX2401" fmla="*/ 3226920 w 4664922"/>
              <a:gd name="connsiteY2401" fmla="*/ 578140 h 1786050"/>
              <a:gd name="connsiteX2402" fmla="*/ 3224664 w 4664922"/>
              <a:gd name="connsiteY2402" fmla="*/ 578140 h 1786050"/>
              <a:gd name="connsiteX2403" fmla="*/ 3214541 w 4664922"/>
              <a:gd name="connsiteY2403" fmla="*/ 580570 h 1786050"/>
              <a:gd name="connsiteX2404" fmla="*/ 3214541 w 4664922"/>
              <a:gd name="connsiteY2404" fmla="*/ 580570 h 1786050"/>
              <a:gd name="connsiteX2405" fmla="*/ 3219516 w 4664922"/>
              <a:gd name="connsiteY2405" fmla="*/ 582016 h 1786050"/>
              <a:gd name="connsiteX2406" fmla="*/ 3231085 w 4664922"/>
              <a:gd name="connsiteY2406" fmla="*/ 589131 h 1786050"/>
              <a:gd name="connsiteX2407" fmla="*/ 3219516 w 4664922"/>
              <a:gd name="connsiteY2407" fmla="*/ 594915 h 1786050"/>
              <a:gd name="connsiteX2408" fmla="*/ 3204361 w 4664922"/>
              <a:gd name="connsiteY2408" fmla="*/ 586470 h 1786050"/>
              <a:gd name="connsiteX2409" fmla="*/ 3197882 w 4664922"/>
              <a:gd name="connsiteY2409" fmla="*/ 581958 h 1786050"/>
              <a:gd name="connsiteX2410" fmla="*/ 3175150 w 4664922"/>
              <a:gd name="connsiteY2410" fmla="*/ 578487 h 1786050"/>
              <a:gd name="connsiteX2411" fmla="*/ 3156292 w 4664922"/>
              <a:gd name="connsiteY2411" fmla="*/ 574728 h 1786050"/>
              <a:gd name="connsiteX2412" fmla="*/ 3155656 w 4664922"/>
              <a:gd name="connsiteY2412" fmla="*/ 574728 h 1786050"/>
              <a:gd name="connsiteX2413" fmla="*/ 3142352 w 4664922"/>
              <a:gd name="connsiteY2413" fmla="*/ 579239 h 1786050"/>
              <a:gd name="connsiteX2414" fmla="*/ 3124189 w 4664922"/>
              <a:gd name="connsiteY2414" fmla="*/ 585024 h 1786050"/>
              <a:gd name="connsiteX2415" fmla="*/ 3121238 w 4664922"/>
              <a:gd name="connsiteY2415" fmla="*/ 585024 h 1786050"/>
              <a:gd name="connsiteX2416" fmla="*/ 3082020 w 4664922"/>
              <a:gd name="connsiteY2416" fmla="*/ 568712 h 1786050"/>
              <a:gd name="connsiteX2417" fmla="*/ 3075021 w 4664922"/>
              <a:gd name="connsiteY2417" fmla="*/ 561944 h 1786050"/>
              <a:gd name="connsiteX2418" fmla="*/ 3068484 w 4664922"/>
              <a:gd name="connsiteY2418" fmla="*/ 567728 h 1786050"/>
              <a:gd name="connsiteX2419" fmla="*/ 3061832 w 4664922"/>
              <a:gd name="connsiteY2419" fmla="*/ 582479 h 1786050"/>
              <a:gd name="connsiteX2420" fmla="*/ 3052809 w 4664922"/>
              <a:gd name="connsiteY2420" fmla="*/ 596419 h 1786050"/>
              <a:gd name="connsiteX2421" fmla="*/ 3044421 w 4664922"/>
              <a:gd name="connsiteY2421" fmla="*/ 606253 h 1786050"/>
              <a:gd name="connsiteX2422" fmla="*/ 3035802 w 4664922"/>
              <a:gd name="connsiteY2422" fmla="*/ 617301 h 1786050"/>
              <a:gd name="connsiteX2423" fmla="*/ 3032100 w 4664922"/>
              <a:gd name="connsiteY2423" fmla="*/ 618400 h 1786050"/>
              <a:gd name="connsiteX2424" fmla="*/ 3026316 w 4664922"/>
              <a:gd name="connsiteY2424" fmla="*/ 615508 h 1786050"/>
              <a:gd name="connsiteX2425" fmla="*/ 3018160 w 4664922"/>
              <a:gd name="connsiteY2425" fmla="*/ 612211 h 1786050"/>
              <a:gd name="connsiteX2426" fmla="*/ 3017639 w 4664922"/>
              <a:gd name="connsiteY2426" fmla="*/ 612211 h 1786050"/>
              <a:gd name="connsiteX2427" fmla="*/ 2976107 w 4664922"/>
              <a:gd name="connsiteY2427" fmla="*/ 574554 h 1786050"/>
              <a:gd name="connsiteX2428" fmla="*/ 2951639 w 4664922"/>
              <a:gd name="connsiteY2428" fmla="*/ 547425 h 1786050"/>
              <a:gd name="connsiteX2429" fmla="*/ 2949904 w 4664922"/>
              <a:gd name="connsiteY2429" fmla="*/ 544301 h 1786050"/>
              <a:gd name="connsiteX2430" fmla="*/ 2954184 w 4664922"/>
              <a:gd name="connsiteY2430" fmla="*/ 542335 h 1786050"/>
              <a:gd name="connsiteX2431" fmla="*/ 2963902 w 4664922"/>
              <a:gd name="connsiteY2431" fmla="*/ 546037 h 1786050"/>
              <a:gd name="connsiteX2432" fmla="*/ 2982412 w 4664922"/>
              <a:gd name="connsiteY2432" fmla="*/ 547888 h 1786050"/>
              <a:gd name="connsiteX2433" fmla="*/ 2985304 w 4664922"/>
              <a:gd name="connsiteY2433" fmla="*/ 538228 h 1786050"/>
              <a:gd name="connsiteX2434" fmla="*/ 2977669 w 4664922"/>
              <a:gd name="connsiteY2434" fmla="*/ 531402 h 1786050"/>
              <a:gd name="connsiteX2435" fmla="*/ 2970033 w 4664922"/>
              <a:gd name="connsiteY2435" fmla="*/ 526601 h 1786050"/>
              <a:gd name="connsiteX2436" fmla="*/ 2976107 w 4664922"/>
              <a:gd name="connsiteY2436" fmla="*/ 518329 h 1786050"/>
              <a:gd name="connsiteX2437" fmla="*/ 2972637 w 4664922"/>
              <a:gd name="connsiteY2437" fmla="*/ 511099 h 1786050"/>
              <a:gd name="connsiteX2438" fmla="*/ 2968414 w 4664922"/>
              <a:gd name="connsiteY2438" fmla="*/ 501034 h 1786050"/>
              <a:gd name="connsiteX2439" fmla="*/ 2970497 w 4664922"/>
              <a:gd name="connsiteY2439" fmla="*/ 499299 h 1786050"/>
              <a:gd name="connsiteX2440" fmla="*/ 2973215 w 4664922"/>
              <a:gd name="connsiteY2440" fmla="*/ 496927 h 1786050"/>
              <a:gd name="connsiteX2441" fmla="*/ 2965406 w 4664922"/>
              <a:gd name="connsiteY2441" fmla="*/ 491837 h 1786050"/>
              <a:gd name="connsiteX2442" fmla="*/ 2945855 w 4664922"/>
              <a:gd name="connsiteY2442" fmla="*/ 477896 h 1786050"/>
              <a:gd name="connsiteX2443" fmla="*/ 2926476 w 4664922"/>
              <a:gd name="connsiteY2443" fmla="*/ 475004 h 1786050"/>
              <a:gd name="connsiteX2444" fmla="*/ 2911842 w 4664922"/>
              <a:gd name="connsiteY2444" fmla="*/ 477491 h 1786050"/>
              <a:gd name="connsiteX2445" fmla="*/ 2911842 w 4664922"/>
              <a:gd name="connsiteY2445" fmla="*/ 477954 h 1786050"/>
              <a:gd name="connsiteX2446" fmla="*/ 2911264 w 4664922"/>
              <a:gd name="connsiteY2446" fmla="*/ 481540 h 1786050"/>
              <a:gd name="connsiteX2447" fmla="*/ 2906578 w 4664922"/>
              <a:gd name="connsiteY2447" fmla="*/ 483391 h 1786050"/>
              <a:gd name="connsiteX2448" fmla="*/ 2899984 w 4664922"/>
              <a:gd name="connsiteY2448" fmla="*/ 480557 h 1786050"/>
              <a:gd name="connsiteX2449" fmla="*/ 2899579 w 4664922"/>
              <a:gd name="connsiteY2449" fmla="*/ 476971 h 1786050"/>
              <a:gd name="connsiteX2450" fmla="*/ 2899579 w 4664922"/>
              <a:gd name="connsiteY2450" fmla="*/ 476277 h 1786050"/>
              <a:gd name="connsiteX2451" fmla="*/ 2888589 w 4664922"/>
              <a:gd name="connsiteY2451" fmla="*/ 473616 h 1786050"/>
              <a:gd name="connsiteX2452" fmla="*/ 2869153 w 4664922"/>
              <a:gd name="connsiteY2452" fmla="*/ 470029 h 1786050"/>
              <a:gd name="connsiteX2453" fmla="*/ 2850122 w 4664922"/>
              <a:gd name="connsiteY2453" fmla="*/ 456378 h 1786050"/>
              <a:gd name="connsiteX2454" fmla="*/ 2845148 w 4664922"/>
              <a:gd name="connsiteY2454" fmla="*/ 451866 h 1786050"/>
              <a:gd name="connsiteX2455" fmla="*/ 2845148 w 4664922"/>
              <a:gd name="connsiteY2455" fmla="*/ 451866 h 1786050"/>
              <a:gd name="connsiteX2456" fmla="*/ 2841446 w 4664922"/>
              <a:gd name="connsiteY2456" fmla="*/ 457651 h 1786050"/>
              <a:gd name="connsiteX2457" fmla="*/ 2834793 w 4664922"/>
              <a:gd name="connsiteY2457" fmla="*/ 465865 h 1786050"/>
              <a:gd name="connsiteX2458" fmla="*/ 2831959 w 4664922"/>
              <a:gd name="connsiteY2458" fmla="*/ 465171 h 1786050"/>
              <a:gd name="connsiteX2459" fmla="*/ 2819522 w 4664922"/>
              <a:gd name="connsiteY2459" fmla="*/ 468780 h 1786050"/>
              <a:gd name="connsiteX2460" fmla="*/ 2819696 w 4664922"/>
              <a:gd name="connsiteY2460" fmla="*/ 477838 h 1786050"/>
              <a:gd name="connsiteX2461" fmla="*/ 2820853 w 4664922"/>
              <a:gd name="connsiteY2461" fmla="*/ 492647 h 1786050"/>
              <a:gd name="connsiteX2462" fmla="*/ 2819349 w 4664922"/>
              <a:gd name="connsiteY2462" fmla="*/ 499009 h 1786050"/>
              <a:gd name="connsiteX2463" fmla="*/ 2814548 w 4664922"/>
              <a:gd name="connsiteY2463" fmla="*/ 505257 h 1786050"/>
              <a:gd name="connsiteX2464" fmla="*/ 2806507 w 4664922"/>
              <a:gd name="connsiteY2464" fmla="*/ 502943 h 1786050"/>
              <a:gd name="connsiteX2465" fmla="*/ 2801707 w 4664922"/>
              <a:gd name="connsiteY2465" fmla="*/ 501207 h 1786050"/>
              <a:gd name="connsiteX2466" fmla="*/ 2792510 w 4664922"/>
              <a:gd name="connsiteY2466" fmla="*/ 502538 h 1786050"/>
              <a:gd name="connsiteX2467" fmla="*/ 2779668 w 4664922"/>
              <a:gd name="connsiteY2467" fmla="*/ 505951 h 1786050"/>
              <a:gd name="connsiteX2468" fmla="*/ 2768736 w 4664922"/>
              <a:gd name="connsiteY2468" fmla="*/ 504447 h 1786050"/>
              <a:gd name="connsiteX2469" fmla="*/ 2745019 w 4664922"/>
              <a:gd name="connsiteY2469" fmla="*/ 501670 h 1786050"/>
              <a:gd name="connsiteX2470" fmla="*/ 2731252 w 4664922"/>
              <a:gd name="connsiteY2470" fmla="*/ 497043 h 1786050"/>
              <a:gd name="connsiteX2471" fmla="*/ 2724485 w 4664922"/>
              <a:gd name="connsiteY2471" fmla="*/ 491258 h 1786050"/>
              <a:gd name="connsiteX2472" fmla="*/ 2721650 w 4664922"/>
              <a:gd name="connsiteY2472" fmla="*/ 494324 h 1786050"/>
              <a:gd name="connsiteX2473" fmla="*/ 2708866 w 4664922"/>
              <a:gd name="connsiteY2473" fmla="*/ 498662 h 1786050"/>
              <a:gd name="connsiteX2474" fmla="*/ 2681101 w 4664922"/>
              <a:gd name="connsiteY2474" fmla="*/ 489292 h 1786050"/>
              <a:gd name="connsiteX2475" fmla="*/ 2690414 w 4664922"/>
              <a:gd name="connsiteY2475" fmla="*/ 476045 h 1786050"/>
              <a:gd name="connsiteX2476" fmla="*/ 2693017 w 4664922"/>
              <a:gd name="connsiteY2476" fmla="*/ 475004 h 1786050"/>
              <a:gd name="connsiteX2477" fmla="*/ 2693538 w 4664922"/>
              <a:gd name="connsiteY2477" fmla="*/ 475004 h 1786050"/>
              <a:gd name="connsiteX2478" fmla="*/ 2676185 w 4664922"/>
              <a:gd name="connsiteY2478" fmla="*/ 472343 h 1786050"/>
              <a:gd name="connsiteX2479" fmla="*/ 2668954 w 4664922"/>
              <a:gd name="connsiteY2479" fmla="*/ 472343 h 1786050"/>
              <a:gd name="connsiteX2480" fmla="*/ 2644197 w 4664922"/>
              <a:gd name="connsiteY2480" fmla="*/ 468352 h 1786050"/>
              <a:gd name="connsiteX2481" fmla="*/ 2623141 w 4664922"/>
              <a:gd name="connsiteY2481" fmla="*/ 464419 h 1786050"/>
              <a:gd name="connsiteX2482" fmla="*/ 2618456 w 4664922"/>
              <a:gd name="connsiteY2482" fmla="*/ 464419 h 1786050"/>
              <a:gd name="connsiteX2483" fmla="*/ 2609259 w 4664922"/>
              <a:gd name="connsiteY2483" fmla="*/ 465344 h 1786050"/>
              <a:gd name="connsiteX2484" fmla="*/ 2550142 w 4664922"/>
              <a:gd name="connsiteY2484" fmla="*/ 473211 h 1786050"/>
              <a:gd name="connsiteX2485" fmla="*/ 2550142 w 4664922"/>
              <a:gd name="connsiteY2485" fmla="*/ 478995 h 1786050"/>
              <a:gd name="connsiteX2486" fmla="*/ 2550547 w 4664922"/>
              <a:gd name="connsiteY2486" fmla="*/ 485763 h 1786050"/>
              <a:gd name="connsiteX2487" fmla="*/ 2541986 w 4664922"/>
              <a:gd name="connsiteY2487" fmla="*/ 486226 h 1786050"/>
              <a:gd name="connsiteX2488" fmla="*/ 2540540 w 4664922"/>
              <a:gd name="connsiteY2488" fmla="*/ 471128 h 1786050"/>
              <a:gd name="connsiteX2489" fmla="*/ 2540540 w 4664922"/>
              <a:gd name="connsiteY2489" fmla="*/ 460196 h 1786050"/>
              <a:gd name="connsiteX2490" fmla="*/ 2532037 w 4664922"/>
              <a:gd name="connsiteY2490" fmla="*/ 453428 h 1786050"/>
              <a:gd name="connsiteX2491" fmla="*/ 2529202 w 4664922"/>
              <a:gd name="connsiteY2491" fmla="*/ 454411 h 1786050"/>
              <a:gd name="connsiteX2492" fmla="*/ 2529202 w 4664922"/>
              <a:gd name="connsiteY2492" fmla="*/ 456436 h 1786050"/>
              <a:gd name="connsiteX2493" fmla="*/ 2528508 w 4664922"/>
              <a:gd name="connsiteY2493" fmla="*/ 459907 h 1786050"/>
              <a:gd name="connsiteX2494" fmla="*/ 2511791 w 4664922"/>
              <a:gd name="connsiteY2494" fmla="*/ 464708 h 1786050"/>
              <a:gd name="connsiteX2495" fmla="*/ 2499066 w 4664922"/>
              <a:gd name="connsiteY2495" fmla="*/ 461584 h 1786050"/>
              <a:gd name="connsiteX2496" fmla="*/ 2468003 w 4664922"/>
              <a:gd name="connsiteY2496" fmla="*/ 445735 h 1786050"/>
              <a:gd name="connsiteX2497" fmla="*/ 2463260 w 4664922"/>
              <a:gd name="connsiteY2497" fmla="*/ 445156 h 1786050"/>
              <a:gd name="connsiteX2498" fmla="*/ 2438560 w 4664922"/>
              <a:gd name="connsiteY2498" fmla="*/ 458981 h 1786050"/>
              <a:gd name="connsiteX2499" fmla="*/ 2438560 w 4664922"/>
              <a:gd name="connsiteY2499" fmla="*/ 461642 h 1786050"/>
              <a:gd name="connsiteX2500" fmla="*/ 2448567 w 4664922"/>
              <a:gd name="connsiteY2500" fmla="*/ 464129 h 1786050"/>
              <a:gd name="connsiteX2501" fmla="*/ 2455393 w 4664922"/>
              <a:gd name="connsiteY2501" fmla="*/ 466674 h 1786050"/>
              <a:gd name="connsiteX2502" fmla="*/ 2454757 w 4664922"/>
              <a:gd name="connsiteY2502" fmla="*/ 468930 h 1786050"/>
              <a:gd name="connsiteX2503" fmla="*/ 2436825 w 4664922"/>
              <a:gd name="connsiteY2503" fmla="*/ 473327 h 1786050"/>
              <a:gd name="connsiteX2504" fmla="*/ 2421901 w 4664922"/>
              <a:gd name="connsiteY2504" fmla="*/ 476508 h 1786050"/>
              <a:gd name="connsiteX2505" fmla="*/ 2379328 w 4664922"/>
              <a:gd name="connsiteY2505" fmla="*/ 492184 h 1786050"/>
              <a:gd name="connsiteX2506" fmla="*/ 2373196 w 4664922"/>
              <a:gd name="connsiteY2506" fmla="*/ 492936 h 1786050"/>
              <a:gd name="connsiteX2507" fmla="*/ 2335077 w 4664922"/>
              <a:gd name="connsiteY2507" fmla="*/ 505662 h 1786050"/>
              <a:gd name="connsiteX2508" fmla="*/ 2329292 w 4664922"/>
              <a:gd name="connsiteY2508" fmla="*/ 508901 h 1786050"/>
              <a:gd name="connsiteX2509" fmla="*/ 2327441 w 4664922"/>
              <a:gd name="connsiteY2509" fmla="*/ 507686 h 1786050"/>
              <a:gd name="connsiteX2510" fmla="*/ 2340341 w 4664922"/>
              <a:gd name="connsiteY2510" fmla="*/ 485011 h 1786050"/>
              <a:gd name="connsiteX2511" fmla="*/ 2355612 w 4664922"/>
              <a:gd name="connsiteY2511" fmla="*/ 477144 h 1786050"/>
              <a:gd name="connsiteX2512" fmla="*/ 2365734 w 4664922"/>
              <a:gd name="connsiteY2512" fmla="*/ 471823 h 1786050"/>
              <a:gd name="connsiteX2513" fmla="*/ 2387310 w 4664922"/>
              <a:gd name="connsiteY2513" fmla="*/ 463319 h 1786050"/>
              <a:gd name="connsiteX2514" fmla="*/ 2396334 w 4664922"/>
              <a:gd name="connsiteY2514" fmla="*/ 462047 h 1786050"/>
              <a:gd name="connsiteX2515" fmla="*/ 2411374 w 4664922"/>
              <a:gd name="connsiteY2515" fmla="*/ 453255 h 1786050"/>
              <a:gd name="connsiteX2516" fmla="*/ 2417852 w 4664922"/>
              <a:gd name="connsiteY2516" fmla="*/ 447470 h 1786050"/>
              <a:gd name="connsiteX2517" fmla="*/ 2420860 w 4664922"/>
              <a:gd name="connsiteY2517" fmla="*/ 446140 h 1786050"/>
              <a:gd name="connsiteX2518" fmla="*/ 2445502 w 4664922"/>
              <a:gd name="connsiteY2518" fmla="*/ 430637 h 1786050"/>
              <a:gd name="connsiteX2519" fmla="*/ 2493050 w 4664922"/>
              <a:gd name="connsiteY2519" fmla="*/ 410970 h 1786050"/>
              <a:gd name="connsiteX2520" fmla="*/ 2493454 w 4664922"/>
              <a:gd name="connsiteY2520" fmla="*/ 410970 h 1786050"/>
              <a:gd name="connsiteX2521" fmla="*/ 2500859 w 4664922"/>
              <a:gd name="connsiteY2521" fmla="*/ 402756 h 1786050"/>
              <a:gd name="connsiteX2522" fmla="*/ 2506296 w 4664922"/>
              <a:gd name="connsiteY2522" fmla="*/ 396394 h 1786050"/>
              <a:gd name="connsiteX2523" fmla="*/ 2538978 w 4664922"/>
              <a:gd name="connsiteY2523" fmla="*/ 383610 h 1786050"/>
              <a:gd name="connsiteX2524" fmla="*/ 2550547 w 4664922"/>
              <a:gd name="connsiteY2524" fmla="*/ 367992 h 1786050"/>
              <a:gd name="connsiteX2525" fmla="*/ 2545399 w 4664922"/>
              <a:gd name="connsiteY2525" fmla="*/ 364174 h 1786050"/>
              <a:gd name="connsiteX2526" fmla="*/ 2538457 w 4664922"/>
              <a:gd name="connsiteY2526" fmla="*/ 359084 h 1786050"/>
              <a:gd name="connsiteX2527" fmla="*/ 2538805 w 4664922"/>
              <a:gd name="connsiteY2527" fmla="*/ 356076 h 1786050"/>
              <a:gd name="connsiteX2528" fmla="*/ 2543953 w 4664922"/>
              <a:gd name="connsiteY2528" fmla="*/ 354514 h 1786050"/>
              <a:gd name="connsiteX2529" fmla="*/ 2552860 w 4664922"/>
              <a:gd name="connsiteY2529" fmla="*/ 352837 h 1786050"/>
              <a:gd name="connsiteX2530" fmla="*/ 2555637 w 4664922"/>
              <a:gd name="connsiteY2530" fmla="*/ 348695 h 1786050"/>
              <a:gd name="connsiteX2531" fmla="*/ 2555637 w 4664922"/>
              <a:gd name="connsiteY2531" fmla="*/ 348672 h 1786050"/>
              <a:gd name="connsiteX2532" fmla="*/ 2548118 w 4664922"/>
              <a:gd name="connsiteY2532" fmla="*/ 342309 h 1786050"/>
              <a:gd name="connsiteX2533" fmla="*/ 2546729 w 4664922"/>
              <a:gd name="connsiteY2533" fmla="*/ 342309 h 1786050"/>
              <a:gd name="connsiteX2534" fmla="*/ 2543143 w 4664922"/>
              <a:gd name="connsiteY2534" fmla="*/ 341904 h 1786050"/>
              <a:gd name="connsiteX2535" fmla="*/ 2543606 w 4664922"/>
              <a:gd name="connsiteY2535" fmla="*/ 338376 h 1786050"/>
              <a:gd name="connsiteX2536" fmla="*/ 2543143 w 4664922"/>
              <a:gd name="connsiteY2536" fmla="*/ 328658 h 1786050"/>
              <a:gd name="connsiteX2537" fmla="*/ 2538399 w 4664922"/>
              <a:gd name="connsiteY2537" fmla="*/ 326518 h 1786050"/>
              <a:gd name="connsiteX2538" fmla="*/ 2532615 w 4664922"/>
              <a:gd name="connsiteY2538" fmla="*/ 327675 h 1786050"/>
              <a:gd name="connsiteX2539" fmla="*/ 2526021 w 4664922"/>
              <a:gd name="connsiteY2539" fmla="*/ 327675 h 1786050"/>
              <a:gd name="connsiteX2540" fmla="*/ 2525211 w 4664922"/>
              <a:gd name="connsiteY2540" fmla="*/ 324609 h 1786050"/>
              <a:gd name="connsiteX2541" fmla="*/ 2519889 w 4664922"/>
              <a:gd name="connsiteY2541" fmla="*/ 303264 h 1786050"/>
              <a:gd name="connsiteX2542" fmla="*/ 2512890 w 4664922"/>
              <a:gd name="connsiteY2542" fmla="*/ 304190 h 1786050"/>
              <a:gd name="connsiteX2543" fmla="*/ 2503693 w 4664922"/>
              <a:gd name="connsiteY2543" fmla="*/ 306851 h 1786050"/>
              <a:gd name="connsiteX2544" fmla="*/ 2496173 w 4664922"/>
              <a:gd name="connsiteY2544" fmla="*/ 304190 h 1786050"/>
              <a:gd name="connsiteX2545" fmla="*/ 2460888 w 4664922"/>
              <a:gd name="connsiteY2545" fmla="*/ 294067 h 1786050"/>
              <a:gd name="connsiteX2546" fmla="*/ 2458401 w 4664922"/>
              <a:gd name="connsiteY2546" fmla="*/ 294356 h 1786050"/>
              <a:gd name="connsiteX2547" fmla="*/ 2456145 w 4664922"/>
              <a:gd name="connsiteY2547" fmla="*/ 295918 h 1786050"/>
              <a:gd name="connsiteX2548" fmla="*/ 2450361 w 4664922"/>
              <a:gd name="connsiteY2548" fmla="*/ 294472 h 1786050"/>
              <a:gd name="connsiteX2549" fmla="*/ 2442783 w 4664922"/>
              <a:gd name="connsiteY2549" fmla="*/ 292737 h 1786050"/>
              <a:gd name="connsiteX2550" fmla="*/ 2441279 w 4664922"/>
              <a:gd name="connsiteY2550" fmla="*/ 293084 h 1786050"/>
              <a:gd name="connsiteX2551" fmla="*/ 2424504 w 4664922"/>
              <a:gd name="connsiteY2551" fmla="*/ 295860 h 1786050"/>
              <a:gd name="connsiteX2552" fmla="*/ 2406573 w 4664922"/>
              <a:gd name="connsiteY2552" fmla="*/ 294241 h 1786050"/>
              <a:gd name="connsiteX2553" fmla="*/ 2390260 w 4664922"/>
              <a:gd name="connsiteY2553" fmla="*/ 303322 h 1786050"/>
              <a:gd name="connsiteX2554" fmla="*/ 2373254 w 4664922"/>
              <a:gd name="connsiteY2554" fmla="*/ 309107 h 1786050"/>
              <a:gd name="connsiteX2555" fmla="*/ 2354570 w 4664922"/>
              <a:gd name="connsiteY2555" fmla="*/ 307487 h 1786050"/>
              <a:gd name="connsiteX2556" fmla="*/ 2353067 w 4664922"/>
              <a:gd name="connsiteY2556" fmla="*/ 306157 h 1786050"/>
              <a:gd name="connsiteX2557" fmla="*/ 2364636 w 4664922"/>
              <a:gd name="connsiteY2557" fmla="*/ 291291 h 1786050"/>
              <a:gd name="connsiteX2558" fmla="*/ 2373601 w 4664922"/>
              <a:gd name="connsiteY2558" fmla="*/ 281226 h 1786050"/>
              <a:gd name="connsiteX2559" fmla="*/ 2362726 w 4664922"/>
              <a:gd name="connsiteY2559" fmla="*/ 280532 h 1786050"/>
              <a:gd name="connsiteX2560" fmla="*/ 2354223 w 4664922"/>
              <a:gd name="connsiteY2560" fmla="*/ 280532 h 1786050"/>
              <a:gd name="connsiteX2561" fmla="*/ 2345199 w 4664922"/>
              <a:gd name="connsiteY2561" fmla="*/ 280532 h 1786050"/>
              <a:gd name="connsiteX2562" fmla="*/ 2329061 w 4664922"/>
              <a:gd name="connsiteY2562" fmla="*/ 278160 h 1786050"/>
              <a:gd name="connsiteX2563" fmla="*/ 2301527 w 4664922"/>
              <a:gd name="connsiteY2563" fmla="*/ 273764 h 1786050"/>
              <a:gd name="connsiteX2564" fmla="*/ 2296090 w 4664922"/>
              <a:gd name="connsiteY2564" fmla="*/ 273764 h 1786050"/>
              <a:gd name="connsiteX2565" fmla="*/ 2292619 w 4664922"/>
              <a:gd name="connsiteY2565" fmla="*/ 272260 h 1786050"/>
              <a:gd name="connsiteX2566" fmla="*/ 2305692 w 4664922"/>
              <a:gd name="connsiteY2566" fmla="*/ 268211 h 1786050"/>
              <a:gd name="connsiteX2567" fmla="*/ 2318071 w 4664922"/>
              <a:gd name="connsiteY2567" fmla="*/ 263583 h 1786050"/>
              <a:gd name="connsiteX2568" fmla="*/ 2331028 w 4664922"/>
              <a:gd name="connsiteY2568" fmla="*/ 258551 h 1786050"/>
              <a:gd name="connsiteX2569" fmla="*/ 2336812 w 4664922"/>
              <a:gd name="connsiteY2569" fmla="*/ 256179 h 1786050"/>
              <a:gd name="connsiteX2570" fmla="*/ 2333746 w 4664922"/>
              <a:gd name="connsiteY2570" fmla="*/ 249816 h 1786050"/>
              <a:gd name="connsiteX2571" fmla="*/ 2322177 w 4664922"/>
              <a:gd name="connsiteY2571" fmla="*/ 246172 h 1786050"/>
              <a:gd name="connsiteX2572" fmla="*/ 2311187 w 4664922"/>
              <a:gd name="connsiteY2572" fmla="*/ 244610 h 1786050"/>
              <a:gd name="connsiteX2573" fmla="*/ 2306270 w 4664922"/>
              <a:gd name="connsiteY2573" fmla="*/ 243048 h 1786050"/>
              <a:gd name="connsiteX2574" fmla="*/ 2283133 w 4664922"/>
              <a:gd name="connsiteY2574" fmla="*/ 237264 h 1786050"/>
              <a:gd name="connsiteX2575" fmla="*/ 2267283 w 4664922"/>
              <a:gd name="connsiteY2575" fmla="*/ 240156 h 1786050"/>
              <a:gd name="connsiteX2576" fmla="*/ 2247443 w 4664922"/>
              <a:gd name="connsiteY2576" fmla="*/ 244899 h 1786050"/>
              <a:gd name="connsiteX2577" fmla="*/ 2226850 w 4664922"/>
              <a:gd name="connsiteY2577" fmla="*/ 258782 h 1786050"/>
              <a:gd name="connsiteX2578" fmla="*/ 2217422 w 4664922"/>
              <a:gd name="connsiteY2578" fmla="*/ 267459 h 1786050"/>
              <a:gd name="connsiteX2579" fmla="*/ 2197408 w 4664922"/>
              <a:gd name="connsiteY2579" fmla="*/ 288109 h 1786050"/>
              <a:gd name="connsiteX2580" fmla="*/ 2198564 w 4664922"/>
              <a:gd name="connsiteY2580" fmla="*/ 289092 h 1786050"/>
              <a:gd name="connsiteX2581" fmla="*/ 2204638 w 4664922"/>
              <a:gd name="connsiteY2581" fmla="*/ 297364 h 1786050"/>
              <a:gd name="connsiteX2582" fmla="*/ 2204638 w 4664922"/>
              <a:gd name="connsiteY2582" fmla="*/ 301702 h 1786050"/>
              <a:gd name="connsiteX2583" fmla="*/ 2203828 w 4664922"/>
              <a:gd name="connsiteY2583" fmla="*/ 305867 h 1786050"/>
              <a:gd name="connsiteX2584" fmla="*/ 2195094 w 4664922"/>
              <a:gd name="connsiteY2584" fmla="*/ 308586 h 1786050"/>
              <a:gd name="connsiteX2585" fmla="*/ 2187979 w 4664922"/>
              <a:gd name="connsiteY2585" fmla="*/ 307892 h 1786050"/>
              <a:gd name="connsiteX2586" fmla="*/ 2174964 w 4664922"/>
              <a:gd name="connsiteY2586" fmla="*/ 307140 h 1786050"/>
              <a:gd name="connsiteX2587" fmla="*/ 2148124 w 4664922"/>
              <a:gd name="connsiteY2587" fmla="*/ 311420 h 1786050"/>
              <a:gd name="connsiteX2588" fmla="*/ 2147720 w 4664922"/>
              <a:gd name="connsiteY2588" fmla="*/ 312346 h 1786050"/>
              <a:gd name="connsiteX2589" fmla="*/ 2158073 w 4664922"/>
              <a:gd name="connsiteY2589" fmla="*/ 320213 h 1786050"/>
              <a:gd name="connsiteX2590" fmla="*/ 2165420 w 4664922"/>
              <a:gd name="connsiteY2590" fmla="*/ 326518 h 1786050"/>
              <a:gd name="connsiteX2591" fmla="*/ 2161023 w 4664922"/>
              <a:gd name="connsiteY2591" fmla="*/ 328716 h 1786050"/>
              <a:gd name="connsiteX2592" fmla="*/ 2143150 w 4664922"/>
              <a:gd name="connsiteY2592" fmla="*/ 322931 h 1786050"/>
              <a:gd name="connsiteX2593" fmla="*/ 2135399 w 4664922"/>
              <a:gd name="connsiteY2593" fmla="*/ 321254 h 1786050"/>
              <a:gd name="connsiteX2594" fmla="*/ 2120995 w 4664922"/>
              <a:gd name="connsiteY2594" fmla="*/ 327559 h 1786050"/>
              <a:gd name="connsiteX2595" fmla="*/ 2109947 w 4664922"/>
              <a:gd name="connsiteY2595" fmla="*/ 333343 h 1786050"/>
              <a:gd name="connsiteX2596" fmla="*/ 2101675 w 4664922"/>
              <a:gd name="connsiteY2596" fmla="*/ 331839 h 1786050"/>
              <a:gd name="connsiteX2597" fmla="*/ 2095196 w 4664922"/>
              <a:gd name="connsiteY2597" fmla="*/ 332476 h 1786050"/>
              <a:gd name="connsiteX2598" fmla="*/ 2084033 w 4664922"/>
              <a:gd name="connsiteY2598" fmla="*/ 333054 h 1786050"/>
              <a:gd name="connsiteX2599" fmla="*/ 2082066 w 4664922"/>
              <a:gd name="connsiteY2599" fmla="*/ 331203 h 1786050"/>
              <a:gd name="connsiteX2600" fmla="*/ 2086520 w 4664922"/>
              <a:gd name="connsiteY2600" fmla="*/ 324725 h 1786050"/>
              <a:gd name="connsiteX2601" fmla="*/ 2091610 w 4664922"/>
              <a:gd name="connsiteY2601" fmla="*/ 318304 h 1786050"/>
              <a:gd name="connsiteX2602" fmla="*/ 2091206 w 4664922"/>
              <a:gd name="connsiteY2602" fmla="*/ 317436 h 1786050"/>
              <a:gd name="connsiteX2603" fmla="*/ 2085421 w 4664922"/>
              <a:gd name="connsiteY2603" fmla="*/ 315932 h 1786050"/>
              <a:gd name="connsiteX2604" fmla="*/ 2067374 w 4664922"/>
              <a:gd name="connsiteY2604" fmla="*/ 323799 h 1786050"/>
              <a:gd name="connsiteX2605" fmla="*/ 2063556 w 4664922"/>
              <a:gd name="connsiteY2605" fmla="*/ 326980 h 1786050"/>
              <a:gd name="connsiteX2606" fmla="*/ 2056036 w 4664922"/>
              <a:gd name="connsiteY2606" fmla="*/ 324088 h 1786050"/>
              <a:gd name="connsiteX2607" fmla="*/ 2048689 w 4664922"/>
              <a:gd name="connsiteY2607" fmla="*/ 321717 h 1786050"/>
              <a:gd name="connsiteX2608" fmla="*/ 2046723 w 4664922"/>
              <a:gd name="connsiteY2608" fmla="*/ 322758 h 1786050"/>
              <a:gd name="connsiteX2609" fmla="*/ 2030816 w 4664922"/>
              <a:gd name="connsiteY2609" fmla="*/ 330625 h 1786050"/>
              <a:gd name="connsiteX2610" fmla="*/ 2024395 w 4664922"/>
              <a:gd name="connsiteY2610" fmla="*/ 331724 h 1786050"/>
              <a:gd name="connsiteX2611" fmla="*/ 2016586 w 4664922"/>
              <a:gd name="connsiteY2611" fmla="*/ 331030 h 1786050"/>
              <a:gd name="connsiteX2612" fmla="*/ 2010166 w 4664922"/>
              <a:gd name="connsiteY2612" fmla="*/ 330451 h 1786050"/>
              <a:gd name="connsiteX2613" fmla="*/ 2005133 w 4664922"/>
              <a:gd name="connsiteY2613" fmla="*/ 332476 h 1786050"/>
              <a:gd name="connsiteX2614" fmla="*/ 2005133 w 4664922"/>
              <a:gd name="connsiteY2614" fmla="*/ 333980 h 1786050"/>
              <a:gd name="connsiteX2615" fmla="*/ 2014966 w 4664922"/>
              <a:gd name="connsiteY2615" fmla="*/ 339128 h 1786050"/>
              <a:gd name="connsiteX2616" fmla="*/ 2021908 w 4664922"/>
              <a:gd name="connsiteY2616" fmla="*/ 343119 h 1786050"/>
              <a:gd name="connsiteX2617" fmla="*/ 2021908 w 4664922"/>
              <a:gd name="connsiteY2617" fmla="*/ 344276 h 1786050"/>
              <a:gd name="connsiteX2618" fmla="*/ 2002588 w 4664922"/>
              <a:gd name="connsiteY2618" fmla="*/ 347052 h 1786050"/>
              <a:gd name="connsiteX2619" fmla="*/ 1976905 w 4664922"/>
              <a:gd name="connsiteY2619" fmla="*/ 350581 h 1786050"/>
              <a:gd name="connsiteX2620" fmla="*/ 1944859 w 4664922"/>
              <a:gd name="connsiteY2620" fmla="*/ 356076 h 1786050"/>
              <a:gd name="connsiteX2621" fmla="*/ 1941562 w 4664922"/>
              <a:gd name="connsiteY2621" fmla="*/ 356076 h 1786050"/>
              <a:gd name="connsiteX2622" fmla="*/ 1927680 w 4664922"/>
              <a:gd name="connsiteY2622" fmla="*/ 361861 h 1786050"/>
              <a:gd name="connsiteX2623" fmla="*/ 1916111 w 4664922"/>
              <a:gd name="connsiteY2623" fmla="*/ 368397 h 1786050"/>
              <a:gd name="connsiteX2624" fmla="*/ 1911541 w 4664922"/>
              <a:gd name="connsiteY2624" fmla="*/ 369265 h 1786050"/>
              <a:gd name="connsiteX2625" fmla="*/ 1891007 w 4664922"/>
              <a:gd name="connsiteY2625" fmla="*/ 378462 h 1786050"/>
              <a:gd name="connsiteX2626" fmla="*/ 1877644 w 4664922"/>
              <a:gd name="connsiteY2626" fmla="*/ 385345 h 1786050"/>
              <a:gd name="connsiteX2627" fmla="*/ 1868216 w 4664922"/>
              <a:gd name="connsiteY2627" fmla="*/ 381354 h 1786050"/>
              <a:gd name="connsiteX2628" fmla="*/ 1864340 w 4664922"/>
              <a:gd name="connsiteY2628" fmla="*/ 379850 h 1786050"/>
              <a:gd name="connsiteX2629" fmla="*/ 1857167 w 4664922"/>
              <a:gd name="connsiteY2629" fmla="*/ 382974 h 1786050"/>
              <a:gd name="connsiteX2630" fmla="*/ 1857167 w 4664922"/>
              <a:gd name="connsiteY2630" fmla="*/ 382974 h 1786050"/>
              <a:gd name="connsiteX2631" fmla="*/ 1858266 w 4664922"/>
              <a:gd name="connsiteY2631" fmla="*/ 382974 h 1786050"/>
              <a:gd name="connsiteX2632" fmla="*/ 1862431 w 4664922"/>
              <a:gd name="connsiteY2632" fmla="*/ 386502 h 1786050"/>
              <a:gd name="connsiteX2633" fmla="*/ 1855490 w 4664922"/>
              <a:gd name="connsiteY2633" fmla="*/ 391940 h 1786050"/>
              <a:gd name="connsiteX2634" fmla="*/ 1853754 w 4664922"/>
              <a:gd name="connsiteY2634" fmla="*/ 391650 h 1786050"/>
              <a:gd name="connsiteX2635" fmla="*/ 1852887 w 4664922"/>
              <a:gd name="connsiteY2635" fmla="*/ 391650 h 1786050"/>
              <a:gd name="connsiteX2636" fmla="*/ 1843285 w 4664922"/>
              <a:gd name="connsiteY2636" fmla="*/ 396509 h 1786050"/>
              <a:gd name="connsiteX2637" fmla="*/ 1843921 w 4664922"/>
              <a:gd name="connsiteY2637" fmla="*/ 396509 h 1786050"/>
              <a:gd name="connsiteX2638" fmla="*/ 1853234 w 4664922"/>
              <a:gd name="connsiteY2638" fmla="*/ 400848 h 1786050"/>
              <a:gd name="connsiteX2639" fmla="*/ 1852135 w 4664922"/>
              <a:gd name="connsiteY2639" fmla="*/ 408078 h 1786050"/>
              <a:gd name="connsiteX2640" fmla="*/ 1847970 w 4664922"/>
              <a:gd name="connsiteY2640" fmla="*/ 409698 h 1786050"/>
              <a:gd name="connsiteX2641" fmla="*/ 1839235 w 4664922"/>
              <a:gd name="connsiteY2641" fmla="*/ 407963 h 1786050"/>
              <a:gd name="connsiteX2642" fmla="*/ 1828650 w 4664922"/>
              <a:gd name="connsiteY2642" fmla="*/ 406979 h 1786050"/>
              <a:gd name="connsiteX2643" fmla="*/ 1828245 w 4664922"/>
              <a:gd name="connsiteY2643" fmla="*/ 408367 h 1786050"/>
              <a:gd name="connsiteX2644" fmla="*/ 1842706 w 4664922"/>
              <a:gd name="connsiteY2644" fmla="*/ 413516 h 1786050"/>
              <a:gd name="connsiteX2645" fmla="*/ 1855953 w 4664922"/>
              <a:gd name="connsiteY2645" fmla="*/ 423083 h 1786050"/>
              <a:gd name="connsiteX2646" fmla="*/ 1856068 w 4664922"/>
              <a:gd name="connsiteY2646" fmla="*/ 423754 h 1786050"/>
              <a:gd name="connsiteX2647" fmla="*/ 1855548 w 4664922"/>
              <a:gd name="connsiteY2647" fmla="*/ 425779 h 1786050"/>
              <a:gd name="connsiteX2648" fmla="*/ 1852482 w 4664922"/>
              <a:gd name="connsiteY2648" fmla="*/ 426820 h 1786050"/>
              <a:gd name="connsiteX2649" fmla="*/ 1846119 w 4664922"/>
              <a:gd name="connsiteY2649" fmla="*/ 425952 h 1786050"/>
              <a:gd name="connsiteX2650" fmla="*/ 1838541 w 4664922"/>
              <a:gd name="connsiteY2650" fmla="*/ 424911 h 1786050"/>
              <a:gd name="connsiteX2651" fmla="*/ 1835187 w 4664922"/>
              <a:gd name="connsiteY2651" fmla="*/ 425836 h 1786050"/>
              <a:gd name="connsiteX2652" fmla="*/ 1834493 w 4664922"/>
              <a:gd name="connsiteY2652" fmla="*/ 427861 h 1786050"/>
              <a:gd name="connsiteX2653" fmla="*/ 1844962 w 4664922"/>
              <a:gd name="connsiteY2653" fmla="*/ 431274 h 1786050"/>
              <a:gd name="connsiteX2654" fmla="*/ 1850746 w 4664922"/>
              <a:gd name="connsiteY2654" fmla="*/ 435381 h 1786050"/>
              <a:gd name="connsiteX2655" fmla="*/ 1854449 w 4664922"/>
              <a:gd name="connsiteY2655" fmla="*/ 441165 h 1786050"/>
              <a:gd name="connsiteX2656" fmla="*/ 1855895 w 4664922"/>
              <a:gd name="connsiteY2656" fmla="*/ 442669 h 1786050"/>
              <a:gd name="connsiteX2657" fmla="*/ 1855143 w 4664922"/>
              <a:gd name="connsiteY2657" fmla="*/ 450652 h 1786050"/>
              <a:gd name="connsiteX2658" fmla="*/ 1853234 w 4664922"/>
              <a:gd name="connsiteY2658" fmla="*/ 454759 h 1786050"/>
              <a:gd name="connsiteX2659" fmla="*/ 1852019 w 4664922"/>
              <a:gd name="connsiteY2659" fmla="*/ 459097 h 1786050"/>
              <a:gd name="connsiteX2660" fmla="*/ 1844557 w 4664922"/>
              <a:gd name="connsiteY2660" fmla="*/ 460312 h 1786050"/>
              <a:gd name="connsiteX2661" fmla="*/ 1843285 w 4664922"/>
              <a:gd name="connsiteY2661" fmla="*/ 457361 h 1786050"/>
              <a:gd name="connsiteX2662" fmla="*/ 1830733 w 4664922"/>
              <a:gd name="connsiteY2662" fmla="*/ 454007 h 1786050"/>
              <a:gd name="connsiteX2663" fmla="*/ 1819164 w 4664922"/>
              <a:gd name="connsiteY2663" fmla="*/ 456899 h 1786050"/>
              <a:gd name="connsiteX2664" fmla="*/ 1819164 w 4664922"/>
              <a:gd name="connsiteY2664" fmla="*/ 456899 h 1786050"/>
              <a:gd name="connsiteX2665" fmla="*/ 1810025 w 4664922"/>
              <a:gd name="connsiteY2665" fmla="*/ 463724 h 1786050"/>
              <a:gd name="connsiteX2666" fmla="*/ 1804761 w 4664922"/>
              <a:gd name="connsiteY2666" fmla="*/ 461237 h 1786050"/>
              <a:gd name="connsiteX2667" fmla="*/ 1798976 w 4664922"/>
              <a:gd name="connsiteY2667" fmla="*/ 459675 h 1786050"/>
              <a:gd name="connsiteX2668" fmla="*/ 1786250 w 4664922"/>
              <a:gd name="connsiteY2668" fmla="*/ 461179 h 1786050"/>
              <a:gd name="connsiteX2669" fmla="*/ 1765368 w 4664922"/>
              <a:gd name="connsiteY2669" fmla="*/ 463551 h 1786050"/>
              <a:gd name="connsiteX2670" fmla="*/ 1764443 w 4664922"/>
              <a:gd name="connsiteY2670" fmla="*/ 463551 h 1786050"/>
              <a:gd name="connsiteX2671" fmla="*/ 1695030 w 4664922"/>
              <a:gd name="connsiteY2671" fmla="*/ 469335 h 1786050"/>
              <a:gd name="connsiteX2672" fmla="*/ 1682824 w 4664922"/>
              <a:gd name="connsiteY2672" fmla="*/ 483044 h 1786050"/>
              <a:gd name="connsiteX2673" fmla="*/ 1686180 w 4664922"/>
              <a:gd name="connsiteY2673" fmla="*/ 494613 h 1786050"/>
              <a:gd name="connsiteX2674" fmla="*/ 1688667 w 4664922"/>
              <a:gd name="connsiteY2674" fmla="*/ 509873 h 1786050"/>
              <a:gd name="connsiteX2675" fmla="*/ 1688667 w 4664922"/>
              <a:gd name="connsiteY2675" fmla="*/ 509884 h 1786050"/>
              <a:gd name="connsiteX2676" fmla="*/ 1686932 w 4664922"/>
              <a:gd name="connsiteY2676" fmla="*/ 514801 h 1786050"/>
              <a:gd name="connsiteX2677" fmla="*/ 1723027 w 4664922"/>
              <a:gd name="connsiteY2677" fmla="*/ 533485 h 1786050"/>
              <a:gd name="connsiteX2678" fmla="*/ 1740958 w 4664922"/>
              <a:gd name="connsiteY2678" fmla="*/ 546962 h 1786050"/>
              <a:gd name="connsiteX2679" fmla="*/ 1739570 w 4664922"/>
              <a:gd name="connsiteY2679" fmla="*/ 561944 h 1786050"/>
              <a:gd name="connsiteX2680" fmla="*/ 1730315 w 4664922"/>
              <a:gd name="connsiteY2680" fmla="*/ 565820 h 1786050"/>
              <a:gd name="connsiteX2681" fmla="*/ 1691559 w 4664922"/>
              <a:gd name="connsiteY2681" fmla="*/ 547252 h 1786050"/>
              <a:gd name="connsiteX2682" fmla="*/ 1632442 w 4664922"/>
              <a:gd name="connsiteY2682" fmla="*/ 531229 h 1786050"/>
              <a:gd name="connsiteX2683" fmla="*/ 1628220 w 4664922"/>
              <a:gd name="connsiteY2683" fmla="*/ 531229 h 1786050"/>
              <a:gd name="connsiteX2684" fmla="*/ 1618733 w 4664922"/>
              <a:gd name="connsiteY2684" fmla="*/ 526254 h 1786050"/>
              <a:gd name="connsiteX2685" fmla="*/ 1609131 w 4664922"/>
              <a:gd name="connsiteY2685" fmla="*/ 521164 h 1786050"/>
              <a:gd name="connsiteX2686" fmla="*/ 1608379 w 4664922"/>
              <a:gd name="connsiteY2686" fmla="*/ 521164 h 1786050"/>
              <a:gd name="connsiteX2687" fmla="*/ 1588481 w 4664922"/>
              <a:gd name="connsiteY2687" fmla="*/ 531691 h 1786050"/>
              <a:gd name="connsiteX2688" fmla="*/ 1590968 w 4664922"/>
              <a:gd name="connsiteY2688" fmla="*/ 532617 h 1786050"/>
              <a:gd name="connsiteX2689" fmla="*/ 1597736 w 4664922"/>
              <a:gd name="connsiteY2689" fmla="*/ 532617 h 1786050"/>
              <a:gd name="connsiteX2690" fmla="*/ 1605140 w 4664922"/>
              <a:gd name="connsiteY2690" fmla="*/ 534526 h 1786050"/>
              <a:gd name="connsiteX2691" fmla="*/ 1603058 w 4664922"/>
              <a:gd name="connsiteY2691" fmla="*/ 538691 h 1786050"/>
              <a:gd name="connsiteX2692" fmla="*/ 1601785 w 4664922"/>
              <a:gd name="connsiteY2692" fmla="*/ 540252 h 1786050"/>
              <a:gd name="connsiteX2693" fmla="*/ 1606586 w 4664922"/>
              <a:gd name="connsiteY2693" fmla="*/ 541930 h 1786050"/>
              <a:gd name="connsiteX2694" fmla="*/ 1617692 w 4664922"/>
              <a:gd name="connsiteY2694" fmla="*/ 545690 h 1786050"/>
              <a:gd name="connsiteX2695" fmla="*/ 1621799 w 4664922"/>
              <a:gd name="connsiteY2695" fmla="*/ 550607 h 1786050"/>
              <a:gd name="connsiteX2696" fmla="*/ 1608668 w 4664922"/>
              <a:gd name="connsiteY2696" fmla="*/ 555755 h 1786050"/>
              <a:gd name="connsiteX2697" fmla="*/ 1593976 w 4664922"/>
              <a:gd name="connsiteY2697" fmla="*/ 551706 h 1786050"/>
              <a:gd name="connsiteX2698" fmla="*/ 1583101 w 4664922"/>
              <a:gd name="connsiteY2698" fmla="*/ 548235 h 1786050"/>
              <a:gd name="connsiteX2699" fmla="*/ 1566095 w 4664922"/>
              <a:gd name="connsiteY2699" fmla="*/ 557374 h 1786050"/>
              <a:gd name="connsiteX2700" fmla="*/ 1566731 w 4664922"/>
              <a:gd name="connsiteY2700" fmla="*/ 562118 h 1786050"/>
              <a:gd name="connsiteX2701" fmla="*/ 1601438 w 4664922"/>
              <a:gd name="connsiteY2701" fmla="*/ 583983 h 1786050"/>
              <a:gd name="connsiteX2702" fmla="*/ 1620295 w 4664922"/>
              <a:gd name="connsiteY2702" fmla="*/ 592949 h 1786050"/>
              <a:gd name="connsiteX2703" fmla="*/ 1626079 w 4664922"/>
              <a:gd name="connsiteY2703" fmla="*/ 597750 h 1786050"/>
              <a:gd name="connsiteX2704" fmla="*/ 1631864 w 4664922"/>
              <a:gd name="connsiteY2704" fmla="*/ 603071 h 1786050"/>
              <a:gd name="connsiteX2705" fmla="*/ 1621799 w 4664922"/>
              <a:gd name="connsiteY2705" fmla="*/ 608046 h 1786050"/>
              <a:gd name="connsiteX2706" fmla="*/ 1621337 w 4664922"/>
              <a:gd name="connsiteY2706" fmla="*/ 608046 h 1786050"/>
              <a:gd name="connsiteX2707" fmla="*/ 1600975 w 4664922"/>
              <a:gd name="connsiteY2707" fmla="*/ 598386 h 1786050"/>
              <a:gd name="connsiteX2708" fmla="*/ 1589753 w 4664922"/>
              <a:gd name="connsiteY2708" fmla="*/ 591734 h 1786050"/>
              <a:gd name="connsiteX2709" fmla="*/ 1576738 w 4664922"/>
              <a:gd name="connsiteY2709" fmla="*/ 589709 h 1786050"/>
              <a:gd name="connsiteX2710" fmla="*/ 1565921 w 4664922"/>
              <a:gd name="connsiteY2710" fmla="*/ 590114 h 1786050"/>
              <a:gd name="connsiteX2711" fmla="*/ 1555741 w 4664922"/>
              <a:gd name="connsiteY2711" fmla="*/ 590519 h 1786050"/>
              <a:gd name="connsiteX2712" fmla="*/ 1542957 w 4664922"/>
              <a:gd name="connsiteY2712" fmla="*/ 587453 h 1786050"/>
              <a:gd name="connsiteX2713" fmla="*/ 1541858 w 4664922"/>
              <a:gd name="connsiteY2713" fmla="*/ 576579 h 1786050"/>
              <a:gd name="connsiteX2714" fmla="*/ 1541395 w 4664922"/>
              <a:gd name="connsiteY2714" fmla="*/ 569811 h 1786050"/>
              <a:gd name="connsiteX2715" fmla="*/ 1547700 w 4664922"/>
              <a:gd name="connsiteY2715" fmla="*/ 541294 h 1786050"/>
              <a:gd name="connsiteX2716" fmla="*/ 1548510 w 4664922"/>
              <a:gd name="connsiteY2716" fmla="*/ 522610 h 1786050"/>
              <a:gd name="connsiteX2717" fmla="*/ 1536595 w 4664922"/>
              <a:gd name="connsiteY2717" fmla="*/ 509016 h 1786050"/>
              <a:gd name="connsiteX2718" fmla="*/ 1529826 w 4664922"/>
              <a:gd name="connsiteY2718" fmla="*/ 510463 h 1786050"/>
              <a:gd name="connsiteX2719" fmla="*/ 1530578 w 4664922"/>
              <a:gd name="connsiteY2719" fmla="*/ 518214 h 1786050"/>
              <a:gd name="connsiteX2720" fmla="*/ 1523637 w 4664922"/>
              <a:gd name="connsiteY2720" fmla="*/ 548235 h 1786050"/>
              <a:gd name="connsiteX2721" fmla="*/ 1503102 w 4664922"/>
              <a:gd name="connsiteY2721" fmla="*/ 558473 h 1786050"/>
              <a:gd name="connsiteX2722" fmla="*/ 1491187 w 4664922"/>
              <a:gd name="connsiteY2722" fmla="*/ 564258 h 1786050"/>
              <a:gd name="connsiteX2723" fmla="*/ 1484014 w 4664922"/>
              <a:gd name="connsiteY2723" fmla="*/ 573744 h 1786050"/>
              <a:gd name="connsiteX2724" fmla="*/ 1479097 w 4664922"/>
              <a:gd name="connsiteY2724" fmla="*/ 579066 h 1786050"/>
              <a:gd name="connsiteX2725" fmla="*/ 1479907 w 4664922"/>
              <a:gd name="connsiteY2725" fmla="*/ 580396 h 1786050"/>
              <a:gd name="connsiteX2726" fmla="*/ 1511317 w 4664922"/>
              <a:gd name="connsiteY2726" fmla="*/ 618342 h 1786050"/>
              <a:gd name="connsiteX2727" fmla="*/ 1504606 w 4664922"/>
              <a:gd name="connsiteY2727" fmla="*/ 637199 h 1786050"/>
              <a:gd name="connsiteX2728" fmla="*/ 1495178 w 4664922"/>
              <a:gd name="connsiteY2728" fmla="*/ 664560 h 1786050"/>
              <a:gd name="connsiteX2729" fmla="*/ 1495178 w 4664922"/>
              <a:gd name="connsiteY2729" fmla="*/ 681913 h 1786050"/>
              <a:gd name="connsiteX2730" fmla="*/ 1495988 w 4664922"/>
              <a:gd name="connsiteY2730" fmla="*/ 691920 h 1786050"/>
              <a:gd name="connsiteX2731" fmla="*/ 1502524 w 4664922"/>
              <a:gd name="connsiteY2731" fmla="*/ 694812 h 1786050"/>
              <a:gd name="connsiteX2732" fmla="*/ 1506805 w 4664922"/>
              <a:gd name="connsiteY2732" fmla="*/ 694523 h 1786050"/>
              <a:gd name="connsiteX2733" fmla="*/ 1511374 w 4664922"/>
              <a:gd name="connsiteY2733" fmla="*/ 694234 h 1786050"/>
              <a:gd name="connsiteX2734" fmla="*/ 1516465 w 4664922"/>
              <a:gd name="connsiteY2734" fmla="*/ 695159 h 1786050"/>
              <a:gd name="connsiteX2735" fmla="*/ 1531793 w 4664922"/>
              <a:gd name="connsiteY2735" fmla="*/ 692672 h 1786050"/>
              <a:gd name="connsiteX2736" fmla="*/ 1547700 w 4664922"/>
              <a:gd name="connsiteY2736" fmla="*/ 688160 h 1786050"/>
              <a:gd name="connsiteX2737" fmla="*/ 1551750 w 4664922"/>
              <a:gd name="connsiteY2737" fmla="*/ 687813 h 1786050"/>
              <a:gd name="connsiteX2738" fmla="*/ 1595653 w 4664922"/>
              <a:gd name="connsiteY2738" fmla="*/ 703431 h 1786050"/>
              <a:gd name="connsiteX2739" fmla="*/ 1600917 w 4664922"/>
              <a:gd name="connsiteY2739" fmla="*/ 706034 h 1786050"/>
              <a:gd name="connsiteX2740" fmla="*/ 1608726 w 4664922"/>
              <a:gd name="connsiteY2740" fmla="*/ 718471 h 1786050"/>
              <a:gd name="connsiteX2741" fmla="*/ 1611445 w 4664922"/>
              <a:gd name="connsiteY2741" fmla="*/ 727437 h 1786050"/>
              <a:gd name="connsiteX2742" fmla="*/ 1607106 w 4664922"/>
              <a:gd name="connsiteY2742" fmla="*/ 737559 h 1786050"/>
              <a:gd name="connsiteX2743" fmla="*/ 1599298 w 4664922"/>
              <a:gd name="connsiteY2743" fmla="*/ 750401 h 1786050"/>
              <a:gd name="connsiteX2744" fmla="*/ 1621105 w 4664922"/>
              <a:gd name="connsiteY2744" fmla="*/ 765845 h 1786050"/>
              <a:gd name="connsiteX2745" fmla="*/ 1630707 w 4664922"/>
              <a:gd name="connsiteY2745" fmla="*/ 770993 h 1786050"/>
              <a:gd name="connsiteX2746" fmla="*/ 1630707 w 4664922"/>
              <a:gd name="connsiteY2746" fmla="*/ 772671 h 1786050"/>
              <a:gd name="connsiteX2747" fmla="*/ 1624460 w 4664922"/>
              <a:gd name="connsiteY2747" fmla="*/ 774175 h 1786050"/>
              <a:gd name="connsiteX2748" fmla="*/ 1598835 w 4664922"/>
              <a:gd name="connsiteY2748" fmla="*/ 769952 h 1786050"/>
              <a:gd name="connsiteX2749" fmla="*/ 1588191 w 4664922"/>
              <a:gd name="connsiteY2749" fmla="*/ 756764 h 1786050"/>
              <a:gd name="connsiteX2750" fmla="*/ 1585993 w 4664922"/>
              <a:gd name="connsiteY2750" fmla="*/ 752425 h 1786050"/>
              <a:gd name="connsiteX2751" fmla="*/ 1588076 w 4664922"/>
              <a:gd name="connsiteY2751" fmla="*/ 742476 h 1786050"/>
              <a:gd name="connsiteX2752" fmla="*/ 1592414 w 4664922"/>
              <a:gd name="connsiteY2752" fmla="*/ 731601 h 1786050"/>
              <a:gd name="connsiteX2753" fmla="*/ 1584721 w 4664922"/>
              <a:gd name="connsiteY2753" fmla="*/ 720553 h 1786050"/>
              <a:gd name="connsiteX2754" fmla="*/ 1578936 w 4664922"/>
              <a:gd name="connsiteY2754" fmla="*/ 715058 h 1786050"/>
              <a:gd name="connsiteX2755" fmla="*/ 1562740 w 4664922"/>
              <a:gd name="connsiteY2755" fmla="*/ 704183 h 1786050"/>
              <a:gd name="connsiteX2756" fmla="*/ 1555336 w 4664922"/>
              <a:gd name="connsiteY2756" fmla="*/ 705456 h 1786050"/>
              <a:gd name="connsiteX2757" fmla="*/ 1521266 w 4664922"/>
              <a:gd name="connsiteY2757" fmla="*/ 715231 h 1786050"/>
              <a:gd name="connsiteX2758" fmla="*/ 1527050 w 4664922"/>
              <a:gd name="connsiteY2758" fmla="*/ 751442 h 1786050"/>
              <a:gd name="connsiteX2759" fmla="*/ 1527050 w 4664922"/>
              <a:gd name="connsiteY2759" fmla="*/ 751905 h 1786050"/>
              <a:gd name="connsiteX2760" fmla="*/ 1514613 w 4664922"/>
              <a:gd name="connsiteY2760" fmla="*/ 772150 h 1786050"/>
              <a:gd name="connsiteX2761" fmla="*/ 1504491 w 4664922"/>
              <a:gd name="connsiteY2761" fmla="*/ 784529 h 1786050"/>
              <a:gd name="connsiteX2762" fmla="*/ 1487600 w 4664922"/>
              <a:gd name="connsiteY2762" fmla="*/ 801593 h 1786050"/>
              <a:gd name="connsiteX2763" fmla="*/ 1483319 w 4664922"/>
              <a:gd name="connsiteY2763" fmla="*/ 803849 h 1786050"/>
              <a:gd name="connsiteX2764" fmla="*/ 1477535 w 4664922"/>
              <a:gd name="connsiteY2764" fmla="*/ 806625 h 1786050"/>
              <a:gd name="connsiteX2765" fmla="*/ 1458563 w 4664922"/>
              <a:gd name="connsiteY2765" fmla="*/ 824615 h 1786050"/>
              <a:gd name="connsiteX2766" fmla="*/ 1456943 w 4664922"/>
              <a:gd name="connsiteY2766" fmla="*/ 829647 h 1786050"/>
              <a:gd name="connsiteX2767" fmla="*/ 1451158 w 4664922"/>
              <a:gd name="connsiteY2767" fmla="*/ 831730 h 1786050"/>
              <a:gd name="connsiteX2768" fmla="*/ 1432475 w 4664922"/>
              <a:gd name="connsiteY2768" fmla="*/ 825598 h 1786050"/>
              <a:gd name="connsiteX2769" fmla="*/ 1416047 w 4664922"/>
              <a:gd name="connsiteY2769" fmla="*/ 825945 h 1786050"/>
              <a:gd name="connsiteX2770" fmla="*/ 1402453 w 4664922"/>
              <a:gd name="connsiteY2770" fmla="*/ 828201 h 1786050"/>
              <a:gd name="connsiteX2771" fmla="*/ 1401470 w 4664922"/>
              <a:gd name="connsiteY2771" fmla="*/ 828201 h 1786050"/>
              <a:gd name="connsiteX2772" fmla="*/ 1389438 w 4664922"/>
              <a:gd name="connsiteY2772" fmla="*/ 823342 h 1786050"/>
              <a:gd name="connsiteX2773" fmla="*/ 1383654 w 4664922"/>
              <a:gd name="connsiteY2773" fmla="*/ 820508 h 1786050"/>
              <a:gd name="connsiteX2774" fmla="*/ 1380241 w 4664922"/>
              <a:gd name="connsiteY2774" fmla="*/ 821260 h 1786050"/>
              <a:gd name="connsiteX2775" fmla="*/ 1366532 w 4664922"/>
              <a:gd name="connsiteY2775" fmla="*/ 817789 h 1786050"/>
              <a:gd name="connsiteX2776" fmla="*/ 1365491 w 4664922"/>
              <a:gd name="connsiteY2776" fmla="*/ 808071 h 1786050"/>
              <a:gd name="connsiteX2777" fmla="*/ 1371275 w 4664922"/>
              <a:gd name="connsiteY2777" fmla="*/ 803907 h 1786050"/>
              <a:gd name="connsiteX2778" fmla="*/ 1381977 w 4664922"/>
              <a:gd name="connsiteY2778" fmla="*/ 811947 h 1786050"/>
              <a:gd name="connsiteX2779" fmla="*/ 1384464 w 4664922"/>
              <a:gd name="connsiteY2779" fmla="*/ 813972 h 1786050"/>
              <a:gd name="connsiteX2780" fmla="*/ 1396033 w 4664922"/>
              <a:gd name="connsiteY2780" fmla="*/ 809518 h 1786050"/>
              <a:gd name="connsiteX2781" fmla="*/ 1399908 w 4664922"/>
              <a:gd name="connsiteY2781" fmla="*/ 808245 h 1786050"/>
              <a:gd name="connsiteX2782" fmla="*/ 1404073 w 4664922"/>
              <a:gd name="connsiteY2782" fmla="*/ 811137 h 1786050"/>
              <a:gd name="connsiteX2783" fmla="*/ 1412460 w 4664922"/>
              <a:gd name="connsiteY2783" fmla="*/ 815823 h 1786050"/>
              <a:gd name="connsiteX2784" fmla="*/ 1419691 w 4664922"/>
              <a:gd name="connsiteY2784" fmla="*/ 813451 h 1786050"/>
              <a:gd name="connsiteX2785" fmla="*/ 1426575 w 4664922"/>
              <a:gd name="connsiteY2785" fmla="*/ 810617 h 1786050"/>
              <a:gd name="connsiteX2786" fmla="*/ 1429235 w 4664922"/>
              <a:gd name="connsiteY2786" fmla="*/ 810617 h 1786050"/>
              <a:gd name="connsiteX2787" fmla="*/ 1433285 w 4664922"/>
              <a:gd name="connsiteY2787" fmla="*/ 809575 h 1786050"/>
              <a:gd name="connsiteX2788" fmla="*/ 1432012 w 4664922"/>
              <a:gd name="connsiteY2788" fmla="*/ 805758 h 1786050"/>
              <a:gd name="connsiteX2789" fmla="*/ 1431491 w 4664922"/>
              <a:gd name="connsiteY2789" fmla="*/ 802403 h 1786050"/>
              <a:gd name="connsiteX2790" fmla="*/ 1442713 w 4664922"/>
              <a:gd name="connsiteY2790" fmla="*/ 794825 h 1786050"/>
              <a:gd name="connsiteX2791" fmla="*/ 1444622 w 4664922"/>
              <a:gd name="connsiteY2791" fmla="*/ 794015 h 1786050"/>
              <a:gd name="connsiteX2792" fmla="*/ 1448729 w 4664922"/>
              <a:gd name="connsiteY2792" fmla="*/ 787074 h 1786050"/>
              <a:gd name="connsiteX2793" fmla="*/ 1453009 w 4664922"/>
              <a:gd name="connsiteY2793" fmla="*/ 779554 h 1786050"/>
              <a:gd name="connsiteX2794" fmla="*/ 1455843 w 4664922"/>
              <a:gd name="connsiteY2794" fmla="*/ 775158 h 1786050"/>
              <a:gd name="connsiteX2795" fmla="*/ 1460761 w 4664922"/>
              <a:gd name="connsiteY2795" fmla="*/ 770531 h 1786050"/>
              <a:gd name="connsiteX2796" fmla="*/ 1466834 w 4664922"/>
              <a:gd name="connsiteY2796" fmla="*/ 766250 h 1786050"/>
              <a:gd name="connsiteX2797" fmla="*/ 1474122 w 4664922"/>
              <a:gd name="connsiteY2797" fmla="*/ 761623 h 1786050"/>
              <a:gd name="connsiteX2798" fmla="*/ 1478229 w 4664922"/>
              <a:gd name="connsiteY2798" fmla="*/ 758557 h 1786050"/>
              <a:gd name="connsiteX2799" fmla="*/ 1478229 w 4664922"/>
              <a:gd name="connsiteY2799" fmla="*/ 750459 h 1786050"/>
              <a:gd name="connsiteX2800" fmla="*/ 1478229 w 4664922"/>
              <a:gd name="connsiteY2800" fmla="*/ 740741 h 1786050"/>
              <a:gd name="connsiteX2801" fmla="*/ 1486327 w 4664922"/>
              <a:gd name="connsiteY2801" fmla="*/ 730560 h 1786050"/>
              <a:gd name="connsiteX2802" fmla="*/ 1489683 w 4664922"/>
              <a:gd name="connsiteY2802" fmla="*/ 727494 h 1786050"/>
              <a:gd name="connsiteX2803" fmla="*/ 1486791 w 4664922"/>
              <a:gd name="connsiteY2803" fmla="*/ 722462 h 1786050"/>
              <a:gd name="connsiteX2804" fmla="*/ 1485113 w 4664922"/>
              <a:gd name="connsiteY2804" fmla="*/ 721247 h 1786050"/>
              <a:gd name="connsiteX2805" fmla="*/ 1464983 w 4664922"/>
              <a:gd name="connsiteY2805" fmla="*/ 698109 h 1786050"/>
              <a:gd name="connsiteX2806" fmla="*/ 1464289 w 4664922"/>
              <a:gd name="connsiteY2806" fmla="*/ 685442 h 1786050"/>
              <a:gd name="connsiteX2807" fmla="*/ 1464289 w 4664922"/>
              <a:gd name="connsiteY2807" fmla="*/ 670055 h 1786050"/>
              <a:gd name="connsiteX2808" fmla="*/ 1464289 w 4664922"/>
              <a:gd name="connsiteY2808" fmla="*/ 647785 h 1786050"/>
              <a:gd name="connsiteX2809" fmla="*/ 1463884 w 4664922"/>
              <a:gd name="connsiteY2809" fmla="*/ 644661 h 1786050"/>
              <a:gd name="connsiteX2810" fmla="*/ 1466718 w 4664922"/>
              <a:gd name="connsiteY2810" fmla="*/ 630489 h 1786050"/>
              <a:gd name="connsiteX2811" fmla="*/ 1470826 w 4664922"/>
              <a:gd name="connsiteY2811" fmla="*/ 615681 h 1786050"/>
              <a:gd name="connsiteX2812" fmla="*/ 1449250 w 4664922"/>
              <a:gd name="connsiteY2812" fmla="*/ 585834 h 1786050"/>
              <a:gd name="connsiteX2813" fmla="*/ 1444738 w 4664922"/>
              <a:gd name="connsiteY2813" fmla="*/ 580801 h 1786050"/>
              <a:gd name="connsiteX2814" fmla="*/ 1457869 w 4664922"/>
              <a:gd name="connsiteY2814" fmla="*/ 563448 h 1786050"/>
              <a:gd name="connsiteX2815" fmla="*/ 1469437 w 4664922"/>
              <a:gd name="connsiteY2815" fmla="*/ 517982 h 1786050"/>
              <a:gd name="connsiteX2816" fmla="*/ 1438490 w 4664922"/>
              <a:gd name="connsiteY2816" fmla="*/ 507628 h 1786050"/>
              <a:gd name="connsiteX2817" fmla="*/ 1436697 w 4664922"/>
              <a:gd name="connsiteY2817" fmla="*/ 507628 h 1786050"/>
              <a:gd name="connsiteX2818" fmla="*/ 1429119 w 4664922"/>
              <a:gd name="connsiteY2818" fmla="*/ 507628 h 1786050"/>
              <a:gd name="connsiteX2819" fmla="*/ 1384290 w 4664922"/>
              <a:gd name="connsiteY2819" fmla="*/ 504967 h 1786050"/>
              <a:gd name="connsiteX2820" fmla="*/ 1371738 w 4664922"/>
              <a:gd name="connsiteY2820" fmla="*/ 516536 h 1786050"/>
              <a:gd name="connsiteX2821" fmla="*/ 1370176 w 4664922"/>
              <a:gd name="connsiteY2821" fmla="*/ 519776 h 1786050"/>
              <a:gd name="connsiteX2822" fmla="*/ 1366243 w 4664922"/>
              <a:gd name="connsiteY2822" fmla="*/ 526948 h 1786050"/>
              <a:gd name="connsiteX2823" fmla="*/ 1352071 w 4664922"/>
              <a:gd name="connsiteY2823" fmla="*/ 558358 h 1786050"/>
              <a:gd name="connsiteX2824" fmla="*/ 1319331 w 4664922"/>
              <a:gd name="connsiteY2824" fmla="*/ 585313 h 1786050"/>
              <a:gd name="connsiteX2825" fmla="*/ 1315051 w 4664922"/>
              <a:gd name="connsiteY2825" fmla="*/ 586933 h 1786050"/>
              <a:gd name="connsiteX2826" fmla="*/ 1303482 w 4664922"/>
              <a:gd name="connsiteY2826" fmla="*/ 600179 h 1786050"/>
              <a:gd name="connsiteX2827" fmla="*/ 1304060 w 4664922"/>
              <a:gd name="connsiteY2827" fmla="*/ 609087 h 1786050"/>
              <a:gd name="connsiteX2828" fmla="*/ 1309845 w 4664922"/>
              <a:gd name="connsiteY2828" fmla="*/ 611979 h 1786050"/>
              <a:gd name="connsiteX2829" fmla="*/ 1312679 w 4664922"/>
              <a:gd name="connsiteY2829" fmla="*/ 611979 h 1786050"/>
              <a:gd name="connsiteX2830" fmla="*/ 1319273 w 4664922"/>
              <a:gd name="connsiteY2830" fmla="*/ 612558 h 1786050"/>
              <a:gd name="connsiteX2831" fmla="*/ 1321587 w 4664922"/>
              <a:gd name="connsiteY2831" fmla="*/ 617012 h 1786050"/>
              <a:gd name="connsiteX2832" fmla="*/ 1316208 w 4664922"/>
              <a:gd name="connsiteY2832" fmla="*/ 636216 h 1786050"/>
              <a:gd name="connsiteX2833" fmla="*/ 1316728 w 4664922"/>
              <a:gd name="connsiteY2833" fmla="*/ 639224 h 1786050"/>
              <a:gd name="connsiteX2834" fmla="*/ 1314704 w 4664922"/>
              <a:gd name="connsiteY2834" fmla="*/ 649081 h 1786050"/>
              <a:gd name="connsiteX2835" fmla="*/ 1314472 w 4664922"/>
              <a:gd name="connsiteY2835" fmla="*/ 649231 h 1786050"/>
              <a:gd name="connsiteX2836" fmla="*/ 1304581 w 4664922"/>
              <a:gd name="connsiteY2836" fmla="*/ 662188 h 1786050"/>
              <a:gd name="connsiteX2837" fmla="*/ 1305448 w 4664922"/>
              <a:gd name="connsiteY2837" fmla="*/ 666122 h 1786050"/>
              <a:gd name="connsiteX2838" fmla="*/ 1321355 w 4664922"/>
              <a:gd name="connsiteY2838" fmla="*/ 672369 h 1786050"/>
              <a:gd name="connsiteX2839" fmla="*/ 1337436 w 4664922"/>
              <a:gd name="connsiteY2839" fmla="*/ 678153 h 1786050"/>
              <a:gd name="connsiteX2840" fmla="*/ 1345014 w 4664922"/>
              <a:gd name="connsiteY2840" fmla="*/ 690127 h 1786050"/>
              <a:gd name="connsiteX2841" fmla="*/ 1349526 w 4664922"/>
              <a:gd name="connsiteY2841" fmla="*/ 700655 h 1786050"/>
              <a:gd name="connsiteX2842" fmla="*/ 1359244 w 4664922"/>
              <a:gd name="connsiteY2842" fmla="*/ 705803 h 1786050"/>
              <a:gd name="connsiteX2843" fmla="*/ 1366127 w 4664922"/>
              <a:gd name="connsiteY2843" fmla="*/ 709273 h 1786050"/>
              <a:gd name="connsiteX2844" fmla="*/ 1364739 w 4664922"/>
              <a:gd name="connsiteY2844" fmla="*/ 718760 h 1786050"/>
              <a:gd name="connsiteX2845" fmla="*/ 1348369 w 4664922"/>
              <a:gd name="connsiteY2845" fmla="*/ 738022 h 1786050"/>
              <a:gd name="connsiteX2846" fmla="*/ 1347906 w 4664922"/>
              <a:gd name="connsiteY2846" fmla="*/ 738022 h 1786050"/>
              <a:gd name="connsiteX2847" fmla="*/ 1323611 w 4664922"/>
              <a:gd name="connsiteY2847" fmla="*/ 719685 h 1786050"/>
              <a:gd name="connsiteX2848" fmla="*/ 1314414 w 4664922"/>
              <a:gd name="connsiteY2848" fmla="*/ 711587 h 1786050"/>
              <a:gd name="connsiteX2849" fmla="*/ 1292491 w 4664922"/>
              <a:gd name="connsiteY2849" fmla="*/ 701869 h 1786050"/>
              <a:gd name="connsiteX2850" fmla="*/ 1270569 w 4664922"/>
              <a:gd name="connsiteY2850" fmla="*/ 692672 h 1786050"/>
              <a:gd name="connsiteX2851" fmla="*/ 1255818 w 4664922"/>
              <a:gd name="connsiteY2851" fmla="*/ 687177 h 1786050"/>
              <a:gd name="connsiteX2852" fmla="*/ 1234127 w 4664922"/>
              <a:gd name="connsiteY2852" fmla="*/ 677633 h 1786050"/>
              <a:gd name="connsiteX2853" fmla="*/ 1184265 w 4664922"/>
              <a:gd name="connsiteY2853" fmla="*/ 664502 h 1786050"/>
              <a:gd name="connsiteX2854" fmla="*/ 1181777 w 4664922"/>
              <a:gd name="connsiteY2854" fmla="*/ 664502 h 1786050"/>
              <a:gd name="connsiteX2855" fmla="*/ 1149674 w 4664922"/>
              <a:gd name="connsiteY2855" fmla="*/ 661378 h 1786050"/>
              <a:gd name="connsiteX2856" fmla="*/ 1134750 w 4664922"/>
              <a:gd name="connsiteY2856" fmla="*/ 659990 h 1786050"/>
              <a:gd name="connsiteX2857" fmla="*/ 1126189 w 4664922"/>
              <a:gd name="connsiteY2857" fmla="*/ 655189 h 1786050"/>
              <a:gd name="connsiteX2858" fmla="*/ 1113926 w 4664922"/>
              <a:gd name="connsiteY2858" fmla="*/ 645008 h 1786050"/>
              <a:gd name="connsiteX2859" fmla="*/ 1102010 w 4664922"/>
              <a:gd name="connsiteY2859" fmla="*/ 639224 h 1786050"/>
              <a:gd name="connsiteX2860" fmla="*/ 1086219 w 4664922"/>
              <a:gd name="connsiteY2860" fmla="*/ 633150 h 1786050"/>
              <a:gd name="connsiteX2861" fmla="*/ 1081823 w 4664922"/>
              <a:gd name="connsiteY2861" fmla="*/ 634249 h 1786050"/>
              <a:gd name="connsiteX2862" fmla="*/ 1077889 w 4664922"/>
              <a:gd name="connsiteY2862" fmla="*/ 643736 h 1786050"/>
              <a:gd name="connsiteX2863" fmla="*/ 1089111 w 4664922"/>
              <a:gd name="connsiteY2863" fmla="*/ 654726 h 1786050"/>
              <a:gd name="connsiteX2864" fmla="*/ 1099234 w 4664922"/>
              <a:gd name="connsiteY2864" fmla="*/ 659817 h 1786050"/>
              <a:gd name="connsiteX2865" fmla="*/ 1109067 w 4664922"/>
              <a:gd name="connsiteY2865" fmla="*/ 662767 h 1786050"/>
              <a:gd name="connsiteX2866" fmla="*/ 1124743 w 4664922"/>
              <a:gd name="connsiteY2866" fmla="*/ 666642 h 1786050"/>
              <a:gd name="connsiteX2867" fmla="*/ 1127635 w 4664922"/>
              <a:gd name="connsiteY2867" fmla="*/ 676476 h 1786050"/>
              <a:gd name="connsiteX2868" fmla="*/ 1139783 w 4664922"/>
              <a:gd name="connsiteY2868" fmla="*/ 698225 h 1786050"/>
              <a:gd name="connsiteX2869" fmla="*/ 1142501 w 4664922"/>
              <a:gd name="connsiteY2869" fmla="*/ 708406 h 1786050"/>
              <a:gd name="connsiteX2870" fmla="*/ 1130527 w 4664922"/>
              <a:gd name="connsiteY2870" fmla="*/ 715116 h 1786050"/>
              <a:gd name="connsiteX2871" fmla="*/ 1112307 w 4664922"/>
              <a:gd name="connsiteY2871" fmla="*/ 719107 h 1786050"/>
              <a:gd name="connsiteX2872" fmla="*/ 1112943 w 4664922"/>
              <a:gd name="connsiteY2872" fmla="*/ 722636 h 1786050"/>
              <a:gd name="connsiteX2873" fmla="*/ 1113984 w 4664922"/>
              <a:gd name="connsiteY2873" fmla="*/ 729345 h 1786050"/>
              <a:gd name="connsiteX2874" fmla="*/ 1107505 w 4664922"/>
              <a:gd name="connsiteY2874" fmla="*/ 732064 h 1786050"/>
              <a:gd name="connsiteX2875" fmla="*/ 1097440 w 4664922"/>
              <a:gd name="connsiteY2875" fmla="*/ 729982 h 1786050"/>
              <a:gd name="connsiteX2876" fmla="*/ 1090846 w 4664922"/>
              <a:gd name="connsiteY2876" fmla="*/ 724197 h 1786050"/>
              <a:gd name="connsiteX2877" fmla="*/ 1097036 w 4664922"/>
              <a:gd name="connsiteY2877" fmla="*/ 712223 h 1786050"/>
              <a:gd name="connsiteX2878" fmla="*/ 1097556 w 4664922"/>
              <a:gd name="connsiteY2878" fmla="*/ 710951 h 1786050"/>
              <a:gd name="connsiteX2879" fmla="*/ 1080897 w 4664922"/>
              <a:gd name="connsiteY2879" fmla="*/ 701522 h 1786050"/>
              <a:gd name="connsiteX2880" fmla="*/ 1079913 w 4664922"/>
              <a:gd name="connsiteY2880" fmla="*/ 701522 h 1786050"/>
              <a:gd name="connsiteX2881" fmla="*/ 1052207 w 4664922"/>
              <a:gd name="connsiteY2881" fmla="*/ 715405 h 1786050"/>
              <a:gd name="connsiteX2882" fmla="*/ 1039712 w 4664922"/>
              <a:gd name="connsiteY2882" fmla="*/ 722636 h 1786050"/>
              <a:gd name="connsiteX2883" fmla="*/ 1023747 w 4664922"/>
              <a:gd name="connsiteY2883" fmla="*/ 722636 h 1786050"/>
              <a:gd name="connsiteX2884" fmla="*/ 1007146 w 4664922"/>
              <a:gd name="connsiteY2884" fmla="*/ 721247 h 1786050"/>
              <a:gd name="connsiteX2885" fmla="*/ 993494 w 4664922"/>
              <a:gd name="connsiteY2885" fmla="*/ 722809 h 1786050"/>
              <a:gd name="connsiteX2886" fmla="*/ 975563 w 4664922"/>
              <a:gd name="connsiteY2886" fmla="*/ 736055 h 1786050"/>
              <a:gd name="connsiteX2887" fmla="*/ 968795 w 4664922"/>
              <a:gd name="connsiteY2887" fmla="*/ 741840 h 1786050"/>
              <a:gd name="connsiteX2888" fmla="*/ 967522 w 4664922"/>
              <a:gd name="connsiteY2888" fmla="*/ 741840 h 1786050"/>
              <a:gd name="connsiteX2889" fmla="*/ 961738 w 4664922"/>
              <a:gd name="connsiteY2889" fmla="*/ 741435 h 1786050"/>
              <a:gd name="connsiteX2890" fmla="*/ 955432 w 4664922"/>
              <a:gd name="connsiteY2890" fmla="*/ 741435 h 1786050"/>
              <a:gd name="connsiteX2891" fmla="*/ 947739 w 4664922"/>
              <a:gd name="connsiteY2891" fmla="*/ 741435 h 1786050"/>
              <a:gd name="connsiteX2892" fmla="*/ 930386 w 4664922"/>
              <a:gd name="connsiteY2892" fmla="*/ 738600 h 1786050"/>
              <a:gd name="connsiteX2893" fmla="*/ 926221 w 4664922"/>
              <a:gd name="connsiteY2893" fmla="*/ 732816 h 1786050"/>
              <a:gd name="connsiteX2894" fmla="*/ 936228 w 4664922"/>
              <a:gd name="connsiteY2894" fmla="*/ 729172 h 1786050"/>
              <a:gd name="connsiteX2895" fmla="*/ 939352 w 4664922"/>
              <a:gd name="connsiteY2895" fmla="*/ 729172 h 1786050"/>
              <a:gd name="connsiteX2896" fmla="*/ 945137 w 4664922"/>
              <a:gd name="connsiteY2896" fmla="*/ 727437 h 1786050"/>
              <a:gd name="connsiteX2897" fmla="*/ 943169 w 4664922"/>
              <a:gd name="connsiteY2897" fmla="*/ 722925 h 1786050"/>
              <a:gd name="connsiteX2898" fmla="*/ 946120 w 4664922"/>
              <a:gd name="connsiteY2898" fmla="*/ 709158 h 1786050"/>
              <a:gd name="connsiteX2899" fmla="*/ 948954 w 4664922"/>
              <a:gd name="connsiteY2899" fmla="*/ 703952 h 1786050"/>
              <a:gd name="connsiteX2900" fmla="*/ 947855 w 4664922"/>
              <a:gd name="connsiteY2900" fmla="*/ 703952 h 1786050"/>
              <a:gd name="connsiteX2901" fmla="*/ 913611 w 4664922"/>
              <a:gd name="connsiteY2901" fmla="*/ 715521 h 1786050"/>
              <a:gd name="connsiteX2902" fmla="*/ 911587 w 4664922"/>
              <a:gd name="connsiteY2902" fmla="*/ 722809 h 1786050"/>
              <a:gd name="connsiteX2903" fmla="*/ 908174 w 4664922"/>
              <a:gd name="connsiteY2903" fmla="*/ 731023 h 1786050"/>
              <a:gd name="connsiteX2904" fmla="*/ 905456 w 4664922"/>
              <a:gd name="connsiteY2904" fmla="*/ 731775 h 1786050"/>
              <a:gd name="connsiteX2905" fmla="*/ 900423 w 4664922"/>
              <a:gd name="connsiteY2905" fmla="*/ 728304 h 1786050"/>
              <a:gd name="connsiteX2906" fmla="*/ 895159 w 4664922"/>
              <a:gd name="connsiteY2906" fmla="*/ 723850 h 1786050"/>
              <a:gd name="connsiteX2907" fmla="*/ 892614 w 4664922"/>
              <a:gd name="connsiteY2907" fmla="*/ 723561 h 1786050"/>
              <a:gd name="connsiteX2908" fmla="*/ 833844 w 4664922"/>
              <a:gd name="connsiteY2908" fmla="*/ 742071 h 1786050"/>
              <a:gd name="connsiteX2909" fmla="*/ 816491 w 4664922"/>
              <a:gd name="connsiteY2909" fmla="*/ 752425 h 1786050"/>
              <a:gd name="connsiteX2910" fmla="*/ 808103 w 4664922"/>
              <a:gd name="connsiteY2910" fmla="*/ 757458 h 1786050"/>
              <a:gd name="connsiteX2911" fmla="*/ 791734 w 4664922"/>
              <a:gd name="connsiteY2911" fmla="*/ 764457 h 1786050"/>
              <a:gd name="connsiteX2912" fmla="*/ 777619 w 4664922"/>
              <a:gd name="connsiteY2912" fmla="*/ 767812 h 1786050"/>
              <a:gd name="connsiteX2913" fmla="*/ 773281 w 4664922"/>
              <a:gd name="connsiteY2913" fmla="*/ 783488 h 1786050"/>
              <a:gd name="connsiteX2914" fmla="*/ 772124 w 4664922"/>
              <a:gd name="connsiteY2914" fmla="*/ 795866 h 1786050"/>
              <a:gd name="connsiteX2915" fmla="*/ 740541 w 4664922"/>
              <a:gd name="connsiteY2915" fmla="*/ 802692 h 1786050"/>
              <a:gd name="connsiteX2916" fmla="*/ 724287 w 4664922"/>
              <a:gd name="connsiteY2916" fmla="*/ 802692 h 1786050"/>
              <a:gd name="connsiteX2917" fmla="*/ 711156 w 4664922"/>
              <a:gd name="connsiteY2917" fmla="*/ 791123 h 1786050"/>
              <a:gd name="connsiteX2918" fmla="*/ 702653 w 4664922"/>
              <a:gd name="connsiteY2918" fmla="*/ 782042 h 1786050"/>
              <a:gd name="connsiteX2919" fmla="*/ 697968 w 4664922"/>
              <a:gd name="connsiteY2919" fmla="*/ 778918 h 1786050"/>
              <a:gd name="connsiteX2920" fmla="*/ 700975 w 4664922"/>
              <a:gd name="connsiteY2920" fmla="*/ 763069 h 1786050"/>
              <a:gd name="connsiteX2921" fmla="*/ 708148 w 4664922"/>
              <a:gd name="connsiteY2921" fmla="*/ 759424 h 1786050"/>
              <a:gd name="connsiteX2922" fmla="*/ 720354 w 4664922"/>
              <a:gd name="connsiteY2922" fmla="*/ 755375 h 1786050"/>
              <a:gd name="connsiteX2923" fmla="*/ 728973 w 4664922"/>
              <a:gd name="connsiteY2923" fmla="*/ 752888 h 1786050"/>
              <a:gd name="connsiteX2924" fmla="*/ 737186 w 4664922"/>
              <a:gd name="connsiteY2924" fmla="*/ 754218 h 1786050"/>
              <a:gd name="connsiteX2925" fmla="*/ 744359 w 4664922"/>
              <a:gd name="connsiteY2925" fmla="*/ 754218 h 1786050"/>
              <a:gd name="connsiteX2926" fmla="*/ 738112 w 4664922"/>
              <a:gd name="connsiteY2926" fmla="*/ 744848 h 1786050"/>
              <a:gd name="connsiteX2927" fmla="*/ 727527 w 4664922"/>
              <a:gd name="connsiteY2927" fmla="*/ 728883 h 1786050"/>
              <a:gd name="connsiteX2928" fmla="*/ 704736 w 4664922"/>
              <a:gd name="connsiteY2928" fmla="*/ 718933 h 1786050"/>
              <a:gd name="connsiteX2929" fmla="*/ 694208 w 4664922"/>
              <a:gd name="connsiteY2929" fmla="*/ 720148 h 1786050"/>
              <a:gd name="connsiteX2930" fmla="*/ 682639 w 4664922"/>
              <a:gd name="connsiteY2930" fmla="*/ 721594 h 1786050"/>
              <a:gd name="connsiteX2931" fmla="*/ 659502 w 4664922"/>
              <a:gd name="connsiteY2931" fmla="*/ 716446 h 1786050"/>
              <a:gd name="connsiteX2932" fmla="*/ 656840 w 4664922"/>
              <a:gd name="connsiteY2932" fmla="*/ 715694 h 1786050"/>
              <a:gd name="connsiteX2933" fmla="*/ 655510 w 4664922"/>
              <a:gd name="connsiteY2933" fmla="*/ 716678 h 1786050"/>
              <a:gd name="connsiteX2934" fmla="*/ 665112 w 4664922"/>
              <a:gd name="connsiteY2934" fmla="*/ 724833 h 1786050"/>
              <a:gd name="connsiteX2935" fmla="*/ 673789 w 4664922"/>
              <a:gd name="connsiteY2935" fmla="*/ 738716 h 1786050"/>
              <a:gd name="connsiteX2936" fmla="*/ 673789 w 4664922"/>
              <a:gd name="connsiteY2936" fmla="*/ 744501 h 1786050"/>
              <a:gd name="connsiteX2937" fmla="*/ 663146 w 4664922"/>
              <a:gd name="connsiteY2937" fmla="*/ 775794 h 1786050"/>
              <a:gd name="connsiteX2938" fmla="*/ 660138 w 4664922"/>
              <a:gd name="connsiteY2938" fmla="*/ 782736 h 1786050"/>
              <a:gd name="connsiteX2939" fmla="*/ 665460 w 4664922"/>
              <a:gd name="connsiteY2939" fmla="*/ 783835 h 1786050"/>
              <a:gd name="connsiteX2940" fmla="*/ 670607 w 4664922"/>
              <a:gd name="connsiteY2940" fmla="*/ 783835 h 1786050"/>
              <a:gd name="connsiteX2941" fmla="*/ 671533 w 4664922"/>
              <a:gd name="connsiteY2941" fmla="*/ 783835 h 1786050"/>
              <a:gd name="connsiteX2942" fmla="*/ 678185 w 4664922"/>
              <a:gd name="connsiteY2942" fmla="*/ 786380 h 1786050"/>
              <a:gd name="connsiteX2943" fmla="*/ 682350 w 4664922"/>
              <a:gd name="connsiteY2943" fmla="*/ 807204 h 1786050"/>
              <a:gd name="connsiteX2944" fmla="*/ 682350 w 4664922"/>
              <a:gd name="connsiteY2944" fmla="*/ 809228 h 1786050"/>
              <a:gd name="connsiteX2945" fmla="*/ 677375 w 4664922"/>
              <a:gd name="connsiteY2945" fmla="*/ 822128 h 1786050"/>
              <a:gd name="connsiteX2946" fmla="*/ 673847 w 4664922"/>
              <a:gd name="connsiteY2946" fmla="*/ 830284 h 1786050"/>
              <a:gd name="connsiteX2947" fmla="*/ 671186 w 4664922"/>
              <a:gd name="connsiteY2947" fmla="*/ 834101 h 1786050"/>
              <a:gd name="connsiteX2948" fmla="*/ 666501 w 4664922"/>
              <a:gd name="connsiteY2948" fmla="*/ 832193 h 1786050"/>
              <a:gd name="connsiteX2949" fmla="*/ 661873 w 4664922"/>
              <a:gd name="connsiteY2949" fmla="*/ 830573 h 1786050"/>
              <a:gd name="connsiteX2950" fmla="*/ 659096 w 4664922"/>
              <a:gd name="connsiteY2950" fmla="*/ 831961 h 1786050"/>
              <a:gd name="connsiteX2951" fmla="*/ 651866 w 4664922"/>
              <a:gd name="connsiteY2951" fmla="*/ 822012 h 1786050"/>
              <a:gd name="connsiteX2952" fmla="*/ 637752 w 4664922"/>
              <a:gd name="connsiteY2952" fmla="*/ 818657 h 1786050"/>
              <a:gd name="connsiteX2953" fmla="*/ 625200 w 4664922"/>
              <a:gd name="connsiteY2953" fmla="*/ 817616 h 1786050"/>
              <a:gd name="connsiteX2954" fmla="*/ 620573 w 4664922"/>
              <a:gd name="connsiteY2954" fmla="*/ 816922 h 1786050"/>
              <a:gd name="connsiteX2955" fmla="*/ 609004 w 4664922"/>
              <a:gd name="connsiteY2955" fmla="*/ 825598 h 1786050"/>
              <a:gd name="connsiteX2956" fmla="*/ 583899 w 4664922"/>
              <a:gd name="connsiteY2956" fmla="*/ 836589 h 1786050"/>
              <a:gd name="connsiteX2957" fmla="*/ 566951 w 4664922"/>
              <a:gd name="connsiteY2957" fmla="*/ 848158 h 1786050"/>
              <a:gd name="connsiteX2958" fmla="*/ 558158 w 4664922"/>
              <a:gd name="connsiteY2958" fmla="*/ 855388 h 1786050"/>
              <a:gd name="connsiteX2959" fmla="*/ 553010 w 4664922"/>
              <a:gd name="connsiteY2959" fmla="*/ 863544 h 1786050"/>
              <a:gd name="connsiteX2960" fmla="*/ 559951 w 4664922"/>
              <a:gd name="connsiteY2960" fmla="*/ 877485 h 1786050"/>
              <a:gd name="connsiteX2961" fmla="*/ 571520 w 4664922"/>
              <a:gd name="connsiteY2961" fmla="*/ 899870 h 1786050"/>
              <a:gd name="connsiteX2962" fmla="*/ 559026 w 4664922"/>
              <a:gd name="connsiteY2962" fmla="*/ 904035 h 1786050"/>
              <a:gd name="connsiteX2963" fmla="*/ 536813 w 4664922"/>
              <a:gd name="connsiteY2963" fmla="*/ 898251 h 1786050"/>
              <a:gd name="connsiteX2964" fmla="*/ 509627 w 4664922"/>
              <a:gd name="connsiteY2964" fmla="*/ 892466 h 1786050"/>
              <a:gd name="connsiteX2965" fmla="*/ 494298 w 4664922"/>
              <a:gd name="connsiteY2965" fmla="*/ 883732 h 1786050"/>
              <a:gd name="connsiteX2966" fmla="*/ 478275 w 4664922"/>
              <a:gd name="connsiteY2966" fmla="*/ 873898 h 1786050"/>
              <a:gd name="connsiteX2967" fmla="*/ 477870 w 4664922"/>
              <a:gd name="connsiteY2967" fmla="*/ 873898 h 1786050"/>
              <a:gd name="connsiteX2968" fmla="*/ 463005 w 4664922"/>
              <a:gd name="connsiteY2968" fmla="*/ 888186 h 1786050"/>
              <a:gd name="connsiteX2969" fmla="*/ 463005 w 4664922"/>
              <a:gd name="connsiteY2969" fmla="*/ 888649 h 1786050"/>
              <a:gd name="connsiteX2970" fmla="*/ 465260 w 4664922"/>
              <a:gd name="connsiteY2970" fmla="*/ 895011 h 1786050"/>
              <a:gd name="connsiteX2971" fmla="*/ 471044 w 4664922"/>
              <a:gd name="connsiteY2971" fmla="*/ 903399 h 1786050"/>
              <a:gd name="connsiteX2972" fmla="*/ 496670 w 4664922"/>
              <a:gd name="connsiteY2972" fmla="*/ 912018 h 1786050"/>
              <a:gd name="connsiteX2973" fmla="*/ 501644 w 4664922"/>
              <a:gd name="connsiteY2973" fmla="*/ 914563 h 1786050"/>
              <a:gd name="connsiteX2974" fmla="*/ 500140 w 4664922"/>
              <a:gd name="connsiteY2974" fmla="*/ 930239 h 1786050"/>
              <a:gd name="connsiteX2975" fmla="*/ 485448 w 4664922"/>
              <a:gd name="connsiteY2975" fmla="*/ 936659 h 1786050"/>
              <a:gd name="connsiteX2976" fmla="*/ 477639 w 4664922"/>
              <a:gd name="connsiteY2976" fmla="*/ 933594 h 1786050"/>
              <a:gd name="connsiteX2977" fmla="*/ 467227 w 4664922"/>
              <a:gd name="connsiteY2977" fmla="*/ 931280 h 1786050"/>
              <a:gd name="connsiteX2978" fmla="*/ 456005 w 4664922"/>
              <a:gd name="connsiteY2978" fmla="*/ 926537 h 1786050"/>
              <a:gd name="connsiteX2979" fmla="*/ 435471 w 4664922"/>
              <a:gd name="connsiteY2979" fmla="*/ 913175 h 1786050"/>
              <a:gd name="connsiteX2980" fmla="*/ 432231 w 4664922"/>
              <a:gd name="connsiteY2980" fmla="*/ 913464 h 1786050"/>
              <a:gd name="connsiteX2981" fmla="*/ 419910 w 4664922"/>
              <a:gd name="connsiteY2981" fmla="*/ 910514 h 1786050"/>
              <a:gd name="connsiteX2982" fmla="*/ 416786 w 4664922"/>
              <a:gd name="connsiteY2982" fmla="*/ 896458 h 1786050"/>
              <a:gd name="connsiteX2983" fmla="*/ 412853 w 4664922"/>
              <a:gd name="connsiteY2983" fmla="*/ 883558 h 1786050"/>
              <a:gd name="connsiteX2984" fmla="*/ 410308 w 4664922"/>
              <a:gd name="connsiteY2984" fmla="*/ 876675 h 1786050"/>
              <a:gd name="connsiteX2985" fmla="*/ 409383 w 4664922"/>
              <a:gd name="connsiteY2985" fmla="*/ 871874 h 1786050"/>
              <a:gd name="connsiteX2986" fmla="*/ 411581 w 4664922"/>
              <a:gd name="connsiteY2986" fmla="*/ 858107 h 1786050"/>
              <a:gd name="connsiteX2987" fmla="*/ 413837 w 4664922"/>
              <a:gd name="connsiteY2987" fmla="*/ 847868 h 1786050"/>
              <a:gd name="connsiteX2988" fmla="*/ 413142 w 4664922"/>
              <a:gd name="connsiteY2988" fmla="*/ 841621 h 1786050"/>
              <a:gd name="connsiteX2989" fmla="*/ 409961 w 4664922"/>
              <a:gd name="connsiteY2989" fmla="*/ 835258 h 1786050"/>
              <a:gd name="connsiteX2990" fmla="*/ 393244 w 4664922"/>
              <a:gd name="connsiteY2990" fmla="*/ 827449 h 1786050"/>
              <a:gd name="connsiteX2991" fmla="*/ 383006 w 4664922"/>
              <a:gd name="connsiteY2991" fmla="*/ 820913 h 1786050"/>
              <a:gd name="connsiteX2992" fmla="*/ 376469 w 4664922"/>
              <a:gd name="connsiteY2992" fmla="*/ 815128 h 1786050"/>
              <a:gd name="connsiteX2993" fmla="*/ 348993 w 4664922"/>
              <a:gd name="connsiteY2993" fmla="*/ 791991 h 1786050"/>
              <a:gd name="connsiteX2994" fmla="*/ 341936 w 4664922"/>
              <a:gd name="connsiteY2994" fmla="*/ 786206 h 1786050"/>
              <a:gd name="connsiteX2995" fmla="*/ 338292 w 4664922"/>
              <a:gd name="connsiteY2995" fmla="*/ 783430 h 1786050"/>
              <a:gd name="connsiteX2996" fmla="*/ 339912 w 4664922"/>
              <a:gd name="connsiteY2996" fmla="*/ 781579 h 1786050"/>
              <a:gd name="connsiteX2997" fmla="*/ 343845 w 4664922"/>
              <a:gd name="connsiteY2997" fmla="*/ 780827 h 1786050"/>
              <a:gd name="connsiteX2998" fmla="*/ 362992 w 4664922"/>
              <a:gd name="connsiteY2998" fmla="*/ 789851 h 1786050"/>
              <a:gd name="connsiteX2999" fmla="*/ 400243 w 4664922"/>
              <a:gd name="connsiteY2999" fmla="*/ 805700 h 1786050"/>
              <a:gd name="connsiteX3000" fmla="*/ 424017 w 4664922"/>
              <a:gd name="connsiteY3000" fmla="*/ 812930 h 1786050"/>
              <a:gd name="connsiteX3001" fmla="*/ 447965 w 4664922"/>
              <a:gd name="connsiteY3001" fmla="*/ 820624 h 1786050"/>
              <a:gd name="connsiteX3002" fmla="*/ 459071 w 4664922"/>
              <a:gd name="connsiteY3002" fmla="*/ 822590 h 1786050"/>
              <a:gd name="connsiteX3003" fmla="*/ 511767 w 4664922"/>
              <a:gd name="connsiteY3003" fmla="*/ 831151 h 1786050"/>
              <a:gd name="connsiteX3004" fmla="*/ 517551 w 4664922"/>
              <a:gd name="connsiteY3004" fmla="*/ 831556 h 1786050"/>
              <a:gd name="connsiteX3005" fmla="*/ 589683 w 4664922"/>
              <a:gd name="connsiteY3005" fmla="*/ 796850 h 1786050"/>
              <a:gd name="connsiteX3006" fmla="*/ 589221 w 4664922"/>
              <a:gd name="connsiteY3006" fmla="*/ 774117 h 1786050"/>
              <a:gd name="connsiteX3007" fmla="*/ 586965 w 4664922"/>
              <a:gd name="connsiteY3007" fmla="*/ 765324 h 1786050"/>
              <a:gd name="connsiteX3008" fmla="*/ 579156 w 4664922"/>
              <a:gd name="connsiteY3008" fmla="*/ 759135 h 1786050"/>
              <a:gd name="connsiteX3009" fmla="*/ 571289 w 4664922"/>
              <a:gd name="connsiteY3009" fmla="*/ 753640 h 1786050"/>
              <a:gd name="connsiteX3010" fmla="*/ 549713 w 4664922"/>
              <a:gd name="connsiteY3010" fmla="*/ 740625 h 1786050"/>
              <a:gd name="connsiteX3011" fmla="*/ 536293 w 4664922"/>
              <a:gd name="connsiteY3011" fmla="*/ 733337 h 1786050"/>
              <a:gd name="connsiteX3012" fmla="*/ 527154 w 4664922"/>
              <a:gd name="connsiteY3012" fmla="*/ 728131 h 1786050"/>
              <a:gd name="connsiteX3013" fmla="*/ 491348 w 4664922"/>
              <a:gd name="connsiteY3013" fmla="*/ 710777 h 1786050"/>
              <a:gd name="connsiteX3014" fmla="*/ 486489 w 4664922"/>
              <a:gd name="connsiteY3014" fmla="*/ 707538 h 1786050"/>
              <a:gd name="connsiteX3015" fmla="*/ 425926 w 4664922"/>
              <a:gd name="connsiteY3015" fmla="*/ 682260 h 1786050"/>
              <a:gd name="connsiteX3016" fmla="*/ 423786 w 4664922"/>
              <a:gd name="connsiteY3016" fmla="*/ 682549 h 1786050"/>
              <a:gd name="connsiteX3017" fmla="*/ 415456 w 4664922"/>
              <a:gd name="connsiteY3017" fmla="*/ 685210 h 1786050"/>
              <a:gd name="connsiteX3018" fmla="*/ 408226 w 4664922"/>
              <a:gd name="connsiteY3018" fmla="*/ 680583 h 1786050"/>
              <a:gd name="connsiteX3019" fmla="*/ 400359 w 4664922"/>
              <a:gd name="connsiteY3019" fmla="*/ 676765 h 1786050"/>
              <a:gd name="connsiteX3020" fmla="*/ 390062 w 4664922"/>
              <a:gd name="connsiteY3020" fmla="*/ 680467 h 1786050"/>
              <a:gd name="connsiteX3021" fmla="*/ 385146 w 4664922"/>
              <a:gd name="connsiteY3021" fmla="*/ 682087 h 1786050"/>
              <a:gd name="connsiteX3022" fmla="*/ 378552 w 4664922"/>
              <a:gd name="connsiteY3022" fmla="*/ 680525 h 1786050"/>
              <a:gd name="connsiteX3023" fmla="*/ 368950 w 4664922"/>
              <a:gd name="connsiteY3023" fmla="*/ 678500 h 1786050"/>
              <a:gd name="connsiteX3024" fmla="*/ 364554 w 4664922"/>
              <a:gd name="connsiteY3024" fmla="*/ 679021 h 1786050"/>
              <a:gd name="connsiteX3025" fmla="*/ 359405 w 4664922"/>
              <a:gd name="connsiteY3025" fmla="*/ 679657 h 1786050"/>
              <a:gd name="connsiteX3026" fmla="*/ 347547 w 4664922"/>
              <a:gd name="connsiteY3026" fmla="*/ 673583 h 1786050"/>
              <a:gd name="connsiteX3027" fmla="*/ 348125 w 4664922"/>
              <a:gd name="connsiteY3027" fmla="*/ 668262 h 1786050"/>
              <a:gd name="connsiteX3028" fmla="*/ 358364 w 4664922"/>
              <a:gd name="connsiteY3028" fmla="*/ 665774 h 1786050"/>
              <a:gd name="connsiteX3029" fmla="*/ 367793 w 4664922"/>
              <a:gd name="connsiteY3029" fmla="*/ 663750 h 1786050"/>
              <a:gd name="connsiteX3030" fmla="*/ 368082 w 4664922"/>
              <a:gd name="connsiteY3030" fmla="*/ 662709 h 1786050"/>
              <a:gd name="connsiteX3031" fmla="*/ 364090 w 4664922"/>
              <a:gd name="connsiteY3031" fmla="*/ 660569 h 1786050"/>
              <a:gd name="connsiteX3032" fmla="*/ 350381 w 4664922"/>
              <a:gd name="connsiteY3032" fmla="*/ 656288 h 1786050"/>
              <a:gd name="connsiteX3033" fmla="*/ 341126 w 4664922"/>
              <a:gd name="connsiteY3033" fmla="*/ 652817 h 1786050"/>
              <a:gd name="connsiteX3034" fmla="*/ 332623 w 4664922"/>
              <a:gd name="connsiteY3034" fmla="*/ 659412 h 1786050"/>
              <a:gd name="connsiteX3035" fmla="*/ 325509 w 4664922"/>
              <a:gd name="connsiteY3035" fmla="*/ 663981 h 1786050"/>
              <a:gd name="connsiteX3036" fmla="*/ 314287 w 4664922"/>
              <a:gd name="connsiteY3036" fmla="*/ 659007 h 1786050"/>
              <a:gd name="connsiteX3037" fmla="*/ 313940 w 4664922"/>
              <a:gd name="connsiteY3037" fmla="*/ 658717 h 1786050"/>
              <a:gd name="connsiteX3038" fmla="*/ 303181 w 4664922"/>
              <a:gd name="connsiteY3038" fmla="*/ 668204 h 1786050"/>
              <a:gd name="connsiteX3039" fmla="*/ 299074 w 4664922"/>
              <a:gd name="connsiteY3039" fmla="*/ 667741 h 1786050"/>
              <a:gd name="connsiteX3040" fmla="*/ 288546 w 4664922"/>
              <a:gd name="connsiteY3040" fmla="*/ 672484 h 1786050"/>
              <a:gd name="connsiteX3041" fmla="*/ 276688 w 4664922"/>
              <a:gd name="connsiteY3041" fmla="*/ 678269 h 1786050"/>
              <a:gd name="connsiteX3042" fmla="*/ 259335 w 4664922"/>
              <a:gd name="connsiteY3042" fmla="*/ 693598 h 1786050"/>
              <a:gd name="connsiteX3043" fmla="*/ 251988 w 4664922"/>
              <a:gd name="connsiteY3043" fmla="*/ 699382 h 1786050"/>
              <a:gd name="connsiteX3044" fmla="*/ 248865 w 4664922"/>
              <a:gd name="connsiteY3044" fmla="*/ 701291 h 1786050"/>
              <a:gd name="connsiteX3045" fmla="*/ 244527 w 4664922"/>
              <a:gd name="connsiteY3045" fmla="*/ 716562 h 1786050"/>
              <a:gd name="connsiteX3046" fmla="*/ 245683 w 4664922"/>
              <a:gd name="connsiteY3046" fmla="*/ 725238 h 1786050"/>
              <a:gd name="connsiteX3047" fmla="*/ 248749 w 4664922"/>
              <a:gd name="connsiteY3047" fmla="*/ 730618 h 1786050"/>
              <a:gd name="connsiteX3048" fmla="*/ 260318 w 4664922"/>
              <a:gd name="connsiteY3048" fmla="*/ 738138 h 1786050"/>
              <a:gd name="connsiteX3049" fmla="*/ 265408 w 4664922"/>
              <a:gd name="connsiteY3049" fmla="*/ 739931 h 1786050"/>
              <a:gd name="connsiteX3050" fmla="*/ 285307 w 4664922"/>
              <a:gd name="connsiteY3050" fmla="*/ 761102 h 1786050"/>
              <a:gd name="connsiteX3051" fmla="*/ 267953 w 4664922"/>
              <a:gd name="connsiteY3051" fmla="*/ 782215 h 1786050"/>
              <a:gd name="connsiteX3052" fmla="*/ 259624 w 4664922"/>
              <a:gd name="connsiteY3052" fmla="*/ 793090 h 1786050"/>
              <a:gd name="connsiteX3053" fmla="*/ 260144 w 4664922"/>
              <a:gd name="connsiteY3053" fmla="*/ 796792 h 1786050"/>
              <a:gd name="connsiteX3054" fmla="*/ 261301 w 4664922"/>
              <a:gd name="connsiteY3054" fmla="*/ 798469 h 1786050"/>
              <a:gd name="connsiteX3055" fmla="*/ 286059 w 4664922"/>
              <a:gd name="connsiteY3055" fmla="*/ 838093 h 1786050"/>
              <a:gd name="connsiteX3056" fmla="*/ 289009 w 4664922"/>
              <a:gd name="connsiteY3056" fmla="*/ 848794 h 1786050"/>
              <a:gd name="connsiteX3057" fmla="*/ 283803 w 4664922"/>
              <a:gd name="connsiteY3057" fmla="*/ 851860 h 1786050"/>
              <a:gd name="connsiteX3058" fmla="*/ 277093 w 4664922"/>
              <a:gd name="connsiteY3058" fmla="*/ 855446 h 1786050"/>
              <a:gd name="connsiteX3059" fmla="*/ 279118 w 4664922"/>
              <a:gd name="connsiteY3059" fmla="*/ 871006 h 1786050"/>
              <a:gd name="connsiteX3060" fmla="*/ 281258 w 4664922"/>
              <a:gd name="connsiteY3060" fmla="*/ 875402 h 1786050"/>
              <a:gd name="connsiteX3061" fmla="*/ 277440 w 4664922"/>
              <a:gd name="connsiteY3061" fmla="*/ 881187 h 1786050"/>
              <a:gd name="connsiteX3062" fmla="*/ 274837 w 4664922"/>
              <a:gd name="connsiteY3062" fmla="*/ 883500 h 1786050"/>
              <a:gd name="connsiteX3063" fmla="*/ 281604 w 4664922"/>
              <a:gd name="connsiteY3063" fmla="*/ 887665 h 1786050"/>
              <a:gd name="connsiteX3064" fmla="*/ 288546 w 4664922"/>
              <a:gd name="connsiteY3064" fmla="*/ 892351 h 1786050"/>
              <a:gd name="connsiteX3065" fmla="*/ 286348 w 4664922"/>
              <a:gd name="connsiteY3065" fmla="*/ 897441 h 1786050"/>
              <a:gd name="connsiteX3066" fmla="*/ 284382 w 4664922"/>
              <a:gd name="connsiteY3066" fmla="*/ 905770 h 1786050"/>
              <a:gd name="connsiteX3067" fmla="*/ 291091 w 4664922"/>
              <a:gd name="connsiteY3067" fmla="*/ 911208 h 1786050"/>
              <a:gd name="connsiteX3068" fmla="*/ 299074 w 4664922"/>
              <a:gd name="connsiteY3068" fmla="*/ 920752 h 1786050"/>
              <a:gd name="connsiteX3069" fmla="*/ 289240 w 4664922"/>
              <a:gd name="connsiteY3069" fmla="*/ 930528 h 1786050"/>
              <a:gd name="connsiteX3070" fmla="*/ 282126 w 4664922"/>
              <a:gd name="connsiteY3070" fmla="*/ 936312 h 1786050"/>
              <a:gd name="connsiteX3071" fmla="*/ 295429 w 4664922"/>
              <a:gd name="connsiteY3071" fmla="*/ 946724 h 1786050"/>
              <a:gd name="connsiteX3072" fmla="*/ 316600 w 4664922"/>
              <a:gd name="connsiteY3072" fmla="*/ 962342 h 1786050"/>
              <a:gd name="connsiteX3073" fmla="*/ 324121 w 4664922"/>
              <a:gd name="connsiteY3073" fmla="*/ 985480 h 1786050"/>
              <a:gd name="connsiteX3074" fmla="*/ 304395 w 4664922"/>
              <a:gd name="connsiteY3074" fmla="*/ 1004569 h 1786050"/>
              <a:gd name="connsiteX3075" fmla="*/ 283687 w 4664922"/>
              <a:gd name="connsiteY3075" fmla="*/ 1024293 h 1786050"/>
              <a:gd name="connsiteX3076" fmla="*/ 258640 w 4664922"/>
              <a:gd name="connsiteY3076" fmla="*/ 1046274 h 1786050"/>
              <a:gd name="connsiteX3077" fmla="*/ 241287 w 4664922"/>
              <a:gd name="connsiteY3077" fmla="*/ 1058537 h 1786050"/>
              <a:gd name="connsiteX3078" fmla="*/ 230124 w 4664922"/>
              <a:gd name="connsiteY3078" fmla="*/ 1072420 h 1786050"/>
              <a:gd name="connsiteX3079" fmla="*/ 238395 w 4664922"/>
              <a:gd name="connsiteY3079" fmla="*/ 1069238 h 1786050"/>
              <a:gd name="connsiteX3080" fmla="*/ 240651 w 4664922"/>
              <a:gd name="connsiteY3080" fmla="*/ 1068660 h 1786050"/>
              <a:gd name="connsiteX3081" fmla="*/ 250484 w 4664922"/>
              <a:gd name="connsiteY3081" fmla="*/ 1078436 h 1786050"/>
              <a:gd name="connsiteX3082" fmla="*/ 256963 w 4664922"/>
              <a:gd name="connsiteY3082" fmla="*/ 1087112 h 1786050"/>
              <a:gd name="connsiteX3083" fmla="*/ 269226 w 4664922"/>
              <a:gd name="connsiteY3083" fmla="*/ 1089657 h 1786050"/>
              <a:gd name="connsiteX3084" fmla="*/ 280795 w 4664922"/>
              <a:gd name="connsiteY3084" fmla="*/ 1092492 h 1786050"/>
              <a:gd name="connsiteX3085" fmla="*/ 282183 w 4664922"/>
              <a:gd name="connsiteY3085" fmla="*/ 1096599 h 1786050"/>
              <a:gd name="connsiteX3086" fmla="*/ 275531 w 4664922"/>
              <a:gd name="connsiteY3086" fmla="*/ 1098855 h 1786050"/>
              <a:gd name="connsiteX3087" fmla="*/ 266912 w 4664922"/>
              <a:gd name="connsiteY3087" fmla="*/ 1098045 h 1786050"/>
              <a:gd name="connsiteX3088" fmla="*/ 254128 w 4664922"/>
              <a:gd name="connsiteY3088" fmla="*/ 1101111 h 1786050"/>
              <a:gd name="connsiteX3089" fmla="*/ 241113 w 4664922"/>
              <a:gd name="connsiteY3089" fmla="*/ 1106895 h 1786050"/>
              <a:gd name="connsiteX3090" fmla="*/ 230818 w 4664922"/>
              <a:gd name="connsiteY3090" fmla="*/ 1114010 h 1786050"/>
              <a:gd name="connsiteX3091" fmla="*/ 228850 w 4664922"/>
              <a:gd name="connsiteY3091" fmla="*/ 1116555 h 1786050"/>
              <a:gd name="connsiteX3092" fmla="*/ 227578 w 4664922"/>
              <a:gd name="connsiteY3092" fmla="*/ 1128928 h 1786050"/>
              <a:gd name="connsiteX3093" fmla="*/ 226884 w 4664922"/>
              <a:gd name="connsiteY3093" fmla="*/ 1129454 h 1786050"/>
              <a:gd name="connsiteX3094" fmla="*/ 222893 w 4664922"/>
              <a:gd name="connsiteY3094" fmla="*/ 1134776 h 1786050"/>
              <a:gd name="connsiteX3095" fmla="*/ 217109 w 4664922"/>
              <a:gd name="connsiteY3095" fmla="*/ 1143106 h 1786050"/>
              <a:gd name="connsiteX3096" fmla="*/ 213927 w 4664922"/>
              <a:gd name="connsiteY3096" fmla="*/ 1148369 h 1786050"/>
              <a:gd name="connsiteX3097" fmla="*/ 214563 w 4664922"/>
              <a:gd name="connsiteY3097" fmla="*/ 1156178 h 1786050"/>
              <a:gd name="connsiteX3098" fmla="*/ 215720 w 4664922"/>
              <a:gd name="connsiteY3098" fmla="*/ 1163872 h 1786050"/>
              <a:gd name="connsiteX3099" fmla="*/ 220695 w 4664922"/>
              <a:gd name="connsiteY3099" fmla="*/ 1176540 h 1786050"/>
              <a:gd name="connsiteX3100" fmla="*/ 221620 w 4664922"/>
              <a:gd name="connsiteY3100" fmla="*/ 1177870 h 1786050"/>
              <a:gd name="connsiteX3101" fmla="*/ 222893 w 4664922"/>
              <a:gd name="connsiteY3101" fmla="*/ 1182498 h 1786050"/>
              <a:gd name="connsiteX3102" fmla="*/ 217861 w 4664922"/>
              <a:gd name="connsiteY3102" fmla="*/ 1186489 h 1786050"/>
              <a:gd name="connsiteX3103" fmla="*/ 214101 w 4664922"/>
              <a:gd name="connsiteY3103" fmla="*/ 1188456 h 1786050"/>
              <a:gd name="connsiteX3104" fmla="*/ 212770 w 4664922"/>
              <a:gd name="connsiteY3104" fmla="*/ 1191406 h 1786050"/>
              <a:gd name="connsiteX3105" fmla="*/ 217803 w 4664922"/>
              <a:gd name="connsiteY3105" fmla="*/ 1201297 h 1786050"/>
              <a:gd name="connsiteX3106" fmla="*/ 221100 w 4664922"/>
              <a:gd name="connsiteY3106" fmla="*/ 1217725 h 1786050"/>
              <a:gd name="connsiteX3107" fmla="*/ 229372 w 4664922"/>
              <a:gd name="connsiteY3107" fmla="*/ 1232244 h 1786050"/>
              <a:gd name="connsiteX3108" fmla="*/ 233594 w 4664922"/>
              <a:gd name="connsiteY3108" fmla="*/ 1242945 h 1786050"/>
              <a:gd name="connsiteX3109" fmla="*/ 236544 w 4664922"/>
              <a:gd name="connsiteY3109" fmla="*/ 1250927 h 1786050"/>
              <a:gd name="connsiteX3110" fmla="*/ 246435 w 4664922"/>
              <a:gd name="connsiteY3110" fmla="*/ 1255439 h 1786050"/>
              <a:gd name="connsiteX3111" fmla="*/ 250080 w 4664922"/>
              <a:gd name="connsiteY3111" fmla="*/ 1254977 h 1786050"/>
              <a:gd name="connsiteX3112" fmla="*/ 265235 w 4664922"/>
              <a:gd name="connsiteY3112" fmla="*/ 1262149 h 1786050"/>
              <a:gd name="connsiteX3113" fmla="*/ 269226 w 4664922"/>
              <a:gd name="connsiteY3113" fmla="*/ 1264810 h 1786050"/>
              <a:gd name="connsiteX3114" fmla="*/ 277845 w 4664922"/>
              <a:gd name="connsiteY3114" fmla="*/ 1261918 h 1786050"/>
              <a:gd name="connsiteX3115" fmla="*/ 278366 w 4664922"/>
              <a:gd name="connsiteY3115" fmla="*/ 1261918 h 1786050"/>
              <a:gd name="connsiteX3116" fmla="*/ 282299 w 4664922"/>
              <a:gd name="connsiteY3116" fmla="*/ 1261166 h 1786050"/>
              <a:gd name="connsiteX3117" fmla="*/ 303528 w 4664922"/>
              <a:gd name="connsiteY3117" fmla="*/ 1268570 h 1786050"/>
              <a:gd name="connsiteX3118" fmla="*/ 304800 w 4664922"/>
              <a:gd name="connsiteY3118" fmla="*/ 1269206 h 1786050"/>
              <a:gd name="connsiteX3119" fmla="*/ 307692 w 4664922"/>
              <a:gd name="connsiteY3119" fmla="*/ 1282221 h 1786050"/>
              <a:gd name="connsiteX3120" fmla="*/ 307692 w 4664922"/>
              <a:gd name="connsiteY3120" fmla="*/ 1288873 h 1786050"/>
              <a:gd name="connsiteX3121" fmla="*/ 307346 w 4664922"/>
              <a:gd name="connsiteY3121" fmla="*/ 1295641 h 1786050"/>
              <a:gd name="connsiteX3122" fmla="*/ 310180 w 4664922"/>
              <a:gd name="connsiteY3122" fmla="*/ 1307210 h 1786050"/>
              <a:gd name="connsiteX3123" fmla="*/ 316253 w 4664922"/>
              <a:gd name="connsiteY3123" fmla="*/ 1315944 h 1786050"/>
              <a:gd name="connsiteX3124" fmla="*/ 322732 w 4664922"/>
              <a:gd name="connsiteY3124" fmla="*/ 1324043 h 1786050"/>
              <a:gd name="connsiteX3125" fmla="*/ 332855 w 4664922"/>
              <a:gd name="connsiteY3125" fmla="*/ 1333587 h 1786050"/>
              <a:gd name="connsiteX3126" fmla="*/ 338640 w 4664922"/>
              <a:gd name="connsiteY3126" fmla="*/ 1339371 h 1786050"/>
              <a:gd name="connsiteX3127" fmla="*/ 354604 w 4664922"/>
              <a:gd name="connsiteY3127" fmla="*/ 1354122 h 1786050"/>
              <a:gd name="connsiteX3128" fmla="*/ 340028 w 4664922"/>
              <a:gd name="connsiteY3128" fmla="*/ 1368120 h 1786050"/>
              <a:gd name="connsiteX3129" fmla="*/ 337540 w 4664922"/>
              <a:gd name="connsiteY3129" fmla="*/ 1368583 h 1786050"/>
              <a:gd name="connsiteX3130" fmla="*/ 329326 w 4664922"/>
              <a:gd name="connsiteY3130" fmla="*/ 1366153 h 1786050"/>
              <a:gd name="connsiteX3131" fmla="*/ 321055 w 4664922"/>
              <a:gd name="connsiteY3131" fmla="*/ 1364823 h 1786050"/>
              <a:gd name="connsiteX3132" fmla="*/ 322327 w 4664922"/>
              <a:gd name="connsiteY3132" fmla="*/ 1377780 h 1786050"/>
              <a:gd name="connsiteX3133" fmla="*/ 325509 w 4664922"/>
              <a:gd name="connsiteY3133" fmla="*/ 1389349 h 1786050"/>
              <a:gd name="connsiteX3134" fmla="*/ 335920 w 4664922"/>
              <a:gd name="connsiteY3134" fmla="*/ 1403000 h 1786050"/>
              <a:gd name="connsiteX3135" fmla="*/ 344366 w 4664922"/>
              <a:gd name="connsiteY3135" fmla="*/ 1399240 h 1786050"/>
              <a:gd name="connsiteX3136" fmla="*/ 348125 w 4664922"/>
              <a:gd name="connsiteY3136" fmla="*/ 1396522 h 1786050"/>
              <a:gd name="connsiteX3137" fmla="*/ 353101 w 4664922"/>
              <a:gd name="connsiteY3137" fmla="*/ 1395480 h 1786050"/>
              <a:gd name="connsiteX3138" fmla="*/ 358480 w 4664922"/>
              <a:gd name="connsiteY3138" fmla="*/ 1395885 h 1786050"/>
              <a:gd name="connsiteX3139" fmla="*/ 366404 w 4664922"/>
              <a:gd name="connsiteY3139" fmla="*/ 1395885 h 1786050"/>
              <a:gd name="connsiteX3140" fmla="*/ 376469 w 4664922"/>
              <a:gd name="connsiteY3140" fmla="*/ 1394497 h 1786050"/>
              <a:gd name="connsiteX3141" fmla="*/ 390236 w 4664922"/>
              <a:gd name="connsiteY3141" fmla="*/ 1398777 h 1786050"/>
              <a:gd name="connsiteX3142" fmla="*/ 393880 w 4664922"/>
              <a:gd name="connsiteY3142" fmla="*/ 1420527 h 1786050"/>
              <a:gd name="connsiteX3143" fmla="*/ 396773 w 4664922"/>
              <a:gd name="connsiteY3143" fmla="*/ 1429319 h 1786050"/>
              <a:gd name="connsiteX3144" fmla="*/ 399954 w 4664922"/>
              <a:gd name="connsiteY3144" fmla="*/ 1434583 h 1786050"/>
              <a:gd name="connsiteX3145" fmla="*/ 412101 w 4664922"/>
              <a:gd name="connsiteY3145" fmla="*/ 1438112 h 1786050"/>
              <a:gd name="connsiteX3146" fmla="*/ 419390 w 4664922"/>
              <a:gd name="connsiteY3146" fmla="*/ 1438921 h 1786050"/>
              <a:gd name="connsiteX3147" fmla="*/ 432115 w 4664922"/>
              <a:gd name="connsiteY3147" fmla="*/ 1461481 h 1786050"/>
              <a:gd name="connsiteX3148" fmla="*/ 432115 w 4664922"/>
              <a:gd name="connsiteY3148" fmla="*/ 1464489 h 1786050"/>
              <a:gd name="connsiteX3149" fmla="*/ 436975 w 4664922"/>
              <a:gd name="connsiteY3149" fmla="*/ 1466224 h 1786050"/>
              <a:gd name="connsiteX3150" fmla="*/ 440618 w 4664922"/>
              <a:gd name="connsiteY3150" fmla="*/ 1465588 h 1786050"/>
              <a:gd name="connsiteX3151" fmla="*/ 442990 w 4664922"/>
              <a:gd name="connsiteY3151" fmla="*/ 1465067 h 1786050"/>
              <a:gd name="connsiteX3152" fmla="*/ 451493 w 4664922"/>
              <a:gd name="connsiteY3152" fmla="*/ 1469290 h 1786050"/>
              <a:gd name="connsiteX3153" fmla="*/ 454964 w 4664922"/>
              <a:gd name="connsiteY3153" fmla="*/ 1471719 h 1786050"/>
              <a:gd name="connsiteX3154" fmla="*/ 467748 w 4664922"/>
              <a:gd name="connsiteY3154" fmla="*/ 1470504 h 1786050"/>
              <a:gd name="connsiteX3155" fmla="*/ 478680 w 4664922"/>
              <a:gd name="connsiteY3155" fmla="*/ 1466860 h 1786050"/>
              <a:gd name="connsiteX3156" fmla="*/ 484465 w 4664922"/>
              <a:gd name="connsiteY3156" fmla="*/ 1469695 h 1786050"/>
              <a:gd name="connsiteX3157" fmla="*/ 490654 w 4664922"/>
              <a:gd name="connsiteY3157" fmla="*/ 1476752 h 1786050"/>
              <a:gd name="connsiteX3158" fmla="*/ 496438 w 4664922"/>
              <a:gd name="connsiteY3158" fmla="*/ 1484445 h 1786050"/>
              <a:gd name="connsiteX3159" fmla="*/ 502686 w 4664922"/>
              <a:gd name="connsiteY3159" fmla="*/ 1484965 h 1786050"/>
              <a:gd name="connsiteX3160" fmla="*/ 518246 w 4664922"/>
              <a:gd name="connsiteY3160" fmla="*/ 1487395 h 1786050"/>
              <a:gd name="connsiteX3161" fmla="*/ 528600 w 4664922"/>
              <a:gd name="connsiteY3161" fmla="*/ 1489998 h 1786050"/>
              <a:gd name="connsiteX3162" fmla="*/ 541325 w 4664922"/>
              <a:gd name="connsiteY3162" fmla="*/ 1493468 h 1786050"/>
              <a:gd name="connsiteX3163" fmla="*/ 548556 w 4664922"/>
              <a:gd name="connsiteY3163" fmla="*/ 1496708 h 1786050"/>
              <a:gd name="connsiteX3164" fmla="*/ 557638 w 4664922"/>
              <a:gd name="connsiteY3164" fmla="*/ 1504054 h 1786050"/>
              <a:gd name="connsiteX3165" fmla="*/ 552374 w 4664922"/>
              <a:gd name="connsiteY3165" fmla="*/ 1512788 h 1786050"/>
              <a:gd name="connsiteX3166" fmla="*/ 549771 w 4664922"/>
              <a:gd name="connsiteY3166" fmla="*/ 1515681 h 1786050"/>
              <a:gd name="connsiteX3167" fmla="*/ 552142 w 4664922"/>
              <a:gd name="connsiteY3167" fmla="*/ 1517879 h 1786050"/>
              <a:gd name="connsiteX3168" fmla="*/ 556423 w 4664922"/>
              <a:gd name="connsiteY3168" fmla="*/ 1523663 h 1786050"/>
              <a:gd name="connsiteX3169" fmla="*/ 550638 w 4664922"/>
              <a:gd name="connsiteY3169" fmla="*/ 1528522 h 1786050"/>
              <a:gd name="connsiteX3170" fmla="*/ 546647 w 4664922"/>
              <a:gd name="connsiteY3170" fmla="*/ 1530720 h 1786050"/>
              <a:gd name="connsiteX3171" fmla="*/ 549655 w 4664922"/>
              <a:gd name="connsiteY3171" fmla="*/ 1536042 h 1786050"/>
              <a:gd name="connsiteX3172" fmla="*/ 552663 w 4664922"/>
              <a:gd name="connsiteY3172" fmla="*/ 1540207 h 1786050"/>
              <a:gd name="connsiteX3173" fmla="*/ 550002 w 4664922"/>
              <a:gd name="connsiteY3173" fmla="*/ 1550908 h 1786050"/>
              <a:gd name="connsiteX3174" fmla="*/ 547920 w 4664922"/>
              <a:gd name="connsiteY3174" fmla="*/ 1556982 h 1786050"/>
              <a:gd name="connsiteX3175" fmla="*/ 542887 w 4664922"/>
              <a:gd name="connsiteY3175" fmla="*/ 1559295 h 1786050"/>
              <a:gd name="connsiteX3176" fmla="*/ 530914 w 4664922"/>
              <a:gd name="connsiteY3176" fmla="*/ 1558196 h 1786050"/>
              <a:gd name="connsiteX3177" fmla="*/ 524377 w 4664922"/>
              <a:gd name="connsiteY3177" fmla="*/ 1557502 h 1786050"/>
              <a:gd name="connsiteX3178" fmla="*/ 513907 w 4664922"/>
              <a:gd name="connsiteY3178" fmla="*/ 1564733 h 1786050"/>
              <a:gd name="connsiteX3179" fmla="*/ 503322 w 4664922"/>
              <a:gd name="connsiteY3179" fmla="*/ 1572021 h 1786050"/>
              <a:gd name="connsiteX3180" fmla="*/ 502570 w 4664922"/>
              <a:gd name="connsiteY3180" fmla="*/ 1572484 h 1786050"/>
              <a:gd name="connsiteX3181" fmla="*/ 503380 w 4664922"/>
              <a:gd name="connsiteY3181" fmla="*/ 1582549 h 1786050"/>
              <a:gd name="connsiteX3182" fmla="*/ 522989 w 4664922"/>
              <a:gd name="connsiteY3182" fmla="*/ 1580351 h 1786050"/>
              <a:gd name="connsiteX3183" fmla="*/ 531434 w 4664922"/>
              <a:gd name="connsiteY3183" fmla="*/ 1582780 h 1786050"/>
              <a:gd name="connsiteX3184" fmla="*/ 531434 w 4664922"/>
              <a:gd name="connsiteY3184" fmla="*/ 1584978 h 1786050"/>
              <a:gd name="connsiteX3185" fmla="*/ 496728 w 4664922"/>
              <a:gd name="connsiteY3185" fmla="*/ 1604067 h 1786050"/>
              <a:gd name="connsiteX3186" fmla="*/ 496265 w 4664922"/>
              <a:gd name="connsiteY3186" fmla="*/ 1604067 h 1786050"/>
              <a:gd name="connsiteX3187" fmla="*/ 501124 w 4664922"/>
              <a:gd name="connsiteY3187" fmla="*/ 1609215 h 1786050"/>
              <a:gd name="connsiteX3188" fmla="*/ 507949 w 4664922"/>
              <a:gd name="connsiteY3188" fmla="*/ 1618239 h 1786050"/>
              <a:gd name="connsiteX3189" fmla="*/ 500950 w 4664922"/>
              <a:gd name="connsiteY3189" fmla="*/ 1624023 h 1786050"/>
              <a:gd name="connsiteX3190" fmla="*/ 491753 w 4664922"/>
              <a:gd name="connsiteY3190" fmla="*/ 1633683 h 1786050"/>
              <a:gd name="connsiteX3191" fmla="*/ 489960 w 4664922"/>
              <a:gd name="connsiteY3191" fmla="*/ 1642533 h 1786050"/>
              <a:gd name="connsiteX3192" fmla="*/ 475730 w 4664922"/>
              <a:gd name="connsiteY3192" fmla="*/ 1646756 h 1786050"/>
              <a:gd name="connsiteX3193" fmla="*/ 467458 w 4664922"/>
              <a:gd name="connsiteY3193" fmla="*/ 1650053 h 1786050"/>
              <a:gd name="connsiteX3194" fmla="*/ 468673 w 4664922"/>
              <a:gd name="connsiteY3194" fmla="*/ 1650921 h 1786050"/>
              <a:gd name="connsiteX3195" fmla="*/ 473185 w 4664922"/>
              <a:gd name="connsiteY3195" fmla="*/ 1655490 h 1786050"/>
              <a:gd name="connsiteX3196" fmla="*/ 490133 w 4664922"/>
              <a:gd name="connsiteY3196" fmla="*/ 1668332 h 1786050"/>
              <a:gd name="connsiteX3197" fmla="*/ 541557 w 4664922"/>
              <a:gd name="connsiteY3197" fmla="*/ 1705410 h 1786050"/>
              <a:gd name="connsiteX3198" fmla="*/ 547862 w 4664922"/>
              <a:gd name="connsiteY3198" fmla="*/ 1710442 h 1786050"/>
              <a:gd name="connsiteX3199" fmla="*/ 558100 w 4664922"/>
              <a:gd name="connsiteY3199" fmla="*/ 1704832 h 1786050"/>
              <a:gd name="connsiteX3200" fmla="*/ 591650 w 4664922"/>
              <a:gd name="connsiteY3200" fmla="*/ 1714723 h 1786050"/>
              <a:gd name="connsiteX3201" fmla="*/ 604954 w 4664922"/>
              <a:gd name="connsiteY3201" fmla="*/ 1717037 h 1786050"/>
              <a:gd name="connsiteX3202" fmla="*/ 615713 w 4664922"/>
              <a:gd name="connsiteY3202" fmla="*/ 1716690 h 1786050"/>
              <a:gd name="connsiteX3203" fmla="*/ 624911 w 4664922"/>
              <a:gd name="connsiteY3203" fmla="*/ 1716342 h 1786050"/>
              <a:gd name="connsiteX3204" fmla="*/ 634282 w 4664922"/>
              <a:gd name="connsiteY3204" fmla="*/ 1718541 h 1786050"/>
              <a:gd name="connsiteX3205" fmla="*/ 650362 w 4664922"/>
              <a:gd name="connsiteY3205" fmla="*/ 1729068 h 1786050"/>
              <a:gd name="connsiteX3206" fmla="*/ 659212 w 4664922"/>
              <a:gd name="connsiteY3206" fmla="*/ 1734216 h 1786050"/>
              <a:gd name="connsiteX3207" fmla="*/ 666616 w 4664922"/>
              <a:gd name="connsiteY3207" fmla="*/ 1737745 h 1786050"/>
              <a:gd name="connsiteX3208" fmla="*/ 695191 w 4664922"/>
              <a:gd name="connsiteY3208" fmla="*/ 1733869 h 1786050"/>
              <a:gd name="connsiteX3209" fmla="*/ 700975 w 4664922"/>
              <a:gd name="connsiteY3209" fmla="*/ 1735894 h 1786050"/>
              <a:gd name="connsiteX3210" fmla="*/ 705199 w 4664922"/>
              <a:gd name="connsiteY3210" fmla="*/ 1737514 h 1786050"/>
              <a:gd name="connsiteX3211" fmla="*/ 710983 w 4664922"/>
              <a:gd name="connsiteY3211" fmla="*/ 1747983 h 1786050"/>
              <a:gd name="connsiteX3212" fmla="*/ 713296 w 4664922"/>
              <a:gd name="connsiteY3212" fmla="*/ 1754578 h 1786050"/>
              <a:gd name="connsiteX3213" fmla="*/ 714106 w 4664922"/>
              <a:gd name="connsiteY3213" fmla="*/ 1754578 h 1786050"/>
              <a:gd name="connsiteX3214" fmla="*/ 724403 w 4664922"/>
              <a:gd name="connsiteY3214" fmla="*/ 1759610 h 1786050"/>
              <a:gd name="connsiteX3215" fmla="*/ 739153 w 4664922"/>
              <a:gd name="connsiteY3215" fmla="*/ 1766783 h 1786050"/>
              <a:gd name="connsiteX3216" fmla="*/ 752977 w 4664922"/>
              <a:gd name="connsiteY3216" fmla="*/ 1776385 h 1786050"/>
              <a:gd name="connsiteX3217" fmla="*/ 759167 w 4664922"/>
              <a:gd name="connsiteY3217" fmla="*/ 1781417 h 1786050"/>
              <a:gd name="connsiteX3218" fmla="*/ 760555 w 4664922"/>
              <a:gd name="connsiteY3218" fmla="*/ 1780723 h 1786050"/>
              <a:gd name="connsiteX3219" fmla="*/ 3369911 w 4664922"/>
              <a:gd name="connsiteY3219" fmla="*/ 1631138 h 1786050"/>
              <a:gd name="connsiteX3220" fmla="*/ 3367944 w 4664922"/>
              <a:gd name="connsiteY3220" fmla="*/ 1630617 h 1786050"/>
              <a:gd name="connsiteX3221" fmla="*/ 3359672 w 4664922"/>
              <a:gd name="connsiteY3221" fmla="*/ 1620842 h 1786050"/>
              <a:gd name="connsiteX3222" fmla="*/ 3347467 w 4664922"/>
              <a:gd name="connsiteY3222" fmla="*/ 1610314 h 1786050"/>
              <a:gd name="connsiteX3223" fmla="*/ 3345153 w 4664922"/>
              <a:gd name="connsiteY3223" fmla="*/ 1610314 h 1786050"/>
              <a:gd name="connsiteX3224" fmla="*/ 3335262 w 4664922"/>
              <a:gd name="connsiteY3224" fmla="*/ 1623907 h 1786050"/>
              <a:gd name="connsiteX3225" fmla="*/ 3331040 w 4664922"/>
              <a:gd name="connsiteY3225" fmla="*/ 1630849 h 1786050"/>
              <a:gd name="connsiteX3226" fmla="*/ 3326354 w 4664922"/>
              <a:gd name="connsiteY3226" fmla="*/ 1627667 h 1786050"/>
              <a:gd name="connsiteX3227" fmla="*/ 3328321 w 4664922"/>
              <a:gd name="connsiteY3227" fmla="*/ 1593770 h 1786050"/>
              <a:gd name="connsiteX3228" fmla="*/ 3331098 w 4664922"/>
              <a:gd name="connsiteY3228" fmla="*/ 1550792 h 1786050"/>
              <a:gd name="connsiteX3229" fmla="*/ 3332138 w 4664922"/>
              <a:gd name="connsiteY3229" fmla="*/ 1498732 h 1786050"/>
              <a:gd name="connsiteX3230" fmla="*/ 3333469 w 4664922"/>
              <a:gd name="connsiteY3230" fmla="*/ 1445920 h 1786050"/>
              <a:gd name="connsiteX3231" fmla="*/ 3324503 w 4664922"/>
              <a:gd name="connsiteY3231" fmla="*/ 1391026 h 1786050"/>
              <a:gd name="connsiteX3232" fmla="*/ 3324503 w 4664922"/>
              <a:gd name="connsiteY3232" fmla="*/ 1373384 h 1786050"/>
              <a:gd name="connsiteX3233" fmla="*/ 3324966 w 4664922"/>
              <a:gd name="connsiteY3233" fmla="*/ 1363145 h 1786050"/>
              <a:gd name="connsiteX3234" fmla="*/ 3330750 w 4664922"/>
              <a:gd name="connsiteY3234" fmla="*/ 1360369 h 1786050"/>
              <a:gd name="connsiteX3235" fmla="*/ 3338212 w 4664922"/>
              <a:gd name="connsiteY3235" fmla="*/ 1346081 h 1786050"/>
              <a:gd name="connsiteX3236" fmla="*/ 3343187 w 4664922"/>
              <a:gd name="connsiteY3236" fmla="*/ 1332199 h 1786050"/>
              <a:gd name="connsiteX3237" fmla="*/ 3345559 w 4664922"/>
              <a:gd name="connsiteY3237" fmla="*/ 1331447 h 1786050"/>
              <a:gd name="connsiteX3238" fmla="*/ 3350302 w 4664922"/>
              <a:gd name="connsiteY3238" fmla="*/ 1340528 h 1786050"/>
              <a:gd name="connsiteX3239" fmla="*/ 3362218 w 4664922"/>
              <a:gd name="connsiteY3239" fmla="*/ 1364591 h 1786050"/>
              <a:gd name="connsiteX3240" fmla="*/ 3366498 w 4664922"/>
              <a:gd name="connsiteY3240" fmla="*/ 1392762 h 1786050"/>
              <a:gd name="connsiteX3241" fmla="*/ 3365862 w 4664922"/>
              <a:gd name="connsiteY3241" fmla="*/ 1423246 h 1786050"/>
              <a:gd name="connsiteX3242" fmla="*/ 3382000 w 4664922"/>
              <a:gd name="connsiteY3242" fmla="*/ 1477561 h 1786050"/>
              <a:gd name="connsiteX3243" fmla="*/ 3394842 w 4664922"/>
              <a:gd name="connsiteY3243" fmla="*/ 1520019 h 1786050"/>
              <a:gd name="connsiteX3244" fmla="*/ 3396924 w 4664922"/>
              <a:gd name="connsiteY3244" fmla="*/ 1531183 h 1786050"/>
              <a:gd name="connsiteX3245" fmla="*/ 3394206 w 4664922"/>
              <a:gd name="connsiteY3245" fmla="*/ 1532687 h 1786050"/>
              <a:gd name="connsiteX3246" fmla="*/ 3384198 w 4664922"/>
              <a:gd name="connsiteY3246" fmla="*/ 1526208 h 1786050"/>
              <a:gd name="connsiteX3247" fmla="*/ 3365168 w 4664922"/>
              <a:gd name="connsiteY3247" fmla="*/ 1517532 h 1786050"/>
              <a:gd name="connsiteX3248" fmla="*/ 3353657 w 4664922"/>
              <a:gd name="connsiteY3248" fmla="*/ 1526561 h 1786050"/>
              <a:gd name="connsiteX3249" fmla="*/ 3353599 w 4664922"/>
              <a:gd name="connsiteY3249" fmla="*/ 1528638 h 1786050"/>
              <a:gd name="connsiteX3250" fmla="*/ 3348740 w 4664922"/>
              <a:gd name="connsiteY3250" fmla="*/ 1550098 h 1786050"/>
              <a:gd name="connsiteX3251" fmla="*/ 3345443 w 4664922"/>
              <a:gd name="connsiteY3251" fmla="*/ 1572715 h 1786050"/>
              <a:gd name="connsiteX3252" fmla="*/ 3345443 w 4664922"/>
              <a:gd name="connsiteY3252" fmla="*/ 1573583 h 1786050"/>
              <a:gd name="connsiteX3253" fmla="*/ 3362796 w 4664922"/>
              <a:gd name="connsiteY3253" fmla="*/ 1604298 h 1786050"/>
              <a:gd name="connsiteX3254" fmla="*/ 3363664 w 4664922"/>
              <a:gd name="connsiteY3254" fmla="*/ 1604298 h 1786050"/>
              <a:gd name="connsiteX3255" fmla="*/ 3373497 w 4664922"/>
              <a:gd name="connsiteY3255" fmla="*/ 1623965 h 1786050"/>
              <a:gd name="connsiteX3256" fmla="*/ 3369911 w 4664922"/>
              <a:gd name="connsiteY3256" fmla="*/ 1630849 h 1786050"/>
              <a:gd name="connsiteX3257" fmla="*/ 3347467 w 4664922"/>
              <a:gd name="connsiteY3257" fmla="*/ 1608000 h 1786050"/>
              <a:gd name="connsiteX3258" fmla="*/ 3361640 w 4664922"/>
              <a:gd name="connsiteY3258" fmla="*/ 1619569 h 1786050"/>
              <a:gd name="connsiteX3259" fmla="*/ 3368870 w 4664922"/>
              <a:gd name="connsiteY3259" fmla="*/ 1628419 h 1786050"/>
              <a:gd name="connsiteX3260" fmla="*/ 3369911 w 4664922"/>
              <a:gd name="connsiteY3260" fmla="*/ 1628708 h 1786050"/>
              <a:gd name="connsiteX3261" fmla="*/ 3371820 w 4664922"/>
              <a:gd name="connsiteY3261" fmla="*/ 1623676 h 1786050"/>
              <a:gd name="connsiteX3262" fmla="*/ 3363780 w 4664922"/>
              <a:gd name="connsiteY3262" fmla="*/ 1606323 h 1786050"/>
              <a:gd name="connsiteX3263" fmla="*/ 3362680 w 4664922"/>
              <a:gd name="connsiteY3263" fmla="*/ 1606323 h 1786050"/>
              <a:gd name="connsiteX3264" fmla="*/ 3344171 w 4664922"/>
              <a:gd name="connsiteY3264" fmla="*/ 1573988 h 1786050"/>
              <a:gd name="connsiteX3265" fmla="*/ 3343881 w 4664922"/>
              <a:gd name="connsiteY3265" fmla="*/ 1573120 h 1786050"/>
              <a:gd name="connsiteX3266" fmla="*/ 3347236 w 4664922"/>
              <a:gd name="connsiteY3266" fmla="*/ 1549057 h 1786050"/>
              <a:gd name="connsiteX3267" fmla="*/ 3351979 w 4664922"/>
              <a:gd name="connsiteY3267" fmla="*/ 1528349 h 1786050"/>
              <a:gd name="connsiteX3268" fmla="*/ 3363548 w 4664922"/>
              <a:gd name="connsiteY3268" fmla="*/ 1514969 h 1786050"/>
              <a:gd name="connsiteX3269" fmla="*/ 3365573 w 4664922"/>
              <a:gd name="connsiteY3269" fmla="*/ 1514987 h 1786050"/>
              <a:gd name="connsiteX3270" fmla="*/ 3386166 w 4664922"/>
              <a:gd name="connsiteY3270" fmla="*/ 1524300 h 1786050"/>
              <a:gd name="connsiteX3271" fmla="*/ 3394611 w 4664922"/>
              <a:gd name="connsiteY3271" fmla="*/ 1530084 h 1786050"/>
              <a:gd name="connsiteX3272" fmla="*/ 3395420 w 4664922"/>
              <a:gd name="connsiteY3272" fmla="*/ 1529679 h 1786050"/>
              <a:gd name="connsiteX3273" fmla="*/ 3393280 w 4664922"/>
              <a:gd name="connsiteY3273" fmla="*/ 1520771 h 1786050"/>
              <a:gd name="connsiteX3274" fmla="*/ 3380265 w 4664922"/>
              <a:gd name="connsiteY3274" fmla="*/ 1477793 h 1786050"/>
              <a:gd name="connsiteX3275" fmla="*/ 3364127 w 4664922"/>
              <a:gd name="connsiteY3275" fmla="*/ 1423708 h 1786050"/>
              <a:gd name="connsiteX3276" fmla="*/ 3364705 w 4664922"/>
              <a:gd name="connsiteY3276" fmla="*/ 1391894 h 1786050"/>
              <a:gd name="connsiteX3277" fmla="*/ 3361292 w 4664922"/>
              <a:gd name="connsiteY3277" fmla="*/ 1366037 h 1786050"/>
              <a:gd name="connsiteX3278" fmla="*/ 3348509 w 4664922"/>
              <a:gd name="connsiteY3278" fmla="*/ 1340586 h 1786050"/>
              <a:gd name="connsiteX3279" fmla="*/ 3345963 w 4664922"/>
              <a:gd name="connsiteY3279" fmla="*/ 1333355 h 1786050"/>
              <a:gd name="connsiteX3280" fmla="*/ 3344807 w 4664922"/>
              <a:gd name="connsiteY3280" fmla="*/ 1333818 h 1786050"/>
              <a:gd name="connsiteX3281" fmla="*/ 3340873 w 4664922"/>
              <a:gd name="connsiteY3281" fmla="*/ 1345908 h 1786050"/>
              <a:gd name="connsiteX3282" fmla="*/ 3331444 w 4664922"/>
              <a:gd name="connsiteY3282" fmla="*/ 1362220 h 1786050"/>
              <a:gd name="connsiteX3283" fmla="*/ 3326933 w 4664922"/>
              <a:gd name="connsiteY3283" fmla="*/ 1364129 h 1786050"/>
              <a:gd name="connsiteX3284" fmla="*/ 3326933 w 4664922"/>
              <a:gd name="connsiteY3284" fmla="*/ 1372632 h 1786050"/>
              <a:gd name="connsiteX3285" fmla="*/ 3326933 w 4664922"/>
              <a:gd name="connsiteY3285" fmla="*/ 1391373 h 1786050"/>
              <a:gd name="connsiteX3286" fmla="*/ 3335783 w 4664922"/>
              <a:gd name="connsiteY3286" fmla="*/ 1444648 h 1786050"/>
              <a:gd name="connsiteX3287" fmla="*/ 3334626 w 4664922"/>
              <a:gd name="connsiteY3287" fmla="*/ 1498559 h 1786050"/>
              <a:gd name="connsiteX3288" fmla="*/ 3333354 w 4664922"/>
              <a:gd name="connsiteY3288" fmla="*/ 1549635 h 1786050"/>
              <a:gd name="connsiteX3289" fmla="*/ 3330808 w 4664922"/>
              <a:gd name="connsiteY3289" fmla="*/ 1594060 h 1786050"/>
              <a:gd name="connsiteX3290" fmla="*/ 3328321 w 4664922"/>
              <a:gd name="connsiteY3290" fmla="*/ 1626106 h 1786050"/>
              <a:gd name="connsiteX3291" fmla="*/ 3331271 w 4664922"/>
              <a:gd name="connsiteY3291" fmla="*/ 1628535 h 1786050"/>
              <a:gd name="connsiteX3292" fmla="*/ 3333354 w 4664922"/>
              <a:gd name="connsiteY3292" fmla="*/ 1623271 h 1786050"/>
              <a:gd name="connsiteX3293" fmla="*/ 3344923 w 4664922"/>
              <a:gd name="connsiteY3293" fmla="*/ 1607942 h 1786050"/>
              <a:gd name="connsiteX3294" fmla="*/ 3347467 w 4664922"/>
              <a:gd name="connsiteY3294" fmla="*/ 1607769 h 1786050"/>
              <a:gd name="connsiteX3295" fmla="*/ 2288917 w 4664922"/>
              <a:gd name="connsiteY3295" fmla="*/ 1435798 h 1786050"/>
              <a:gd name="connsiteX3296" fmla="*/ 2276828 w 4664922"/>
              <a:gd name="connsiteY3296" fmla="*/ 1432674 h 1786050"/>
              <a:gd name="connsiteX3297" fmla="*/ 2276828 w 4664922"/>
              <a:gd name="connsiteY3297" fmla="*/ 1430476 h 1786050"/>
              <a:gd name="connsiteX3298" fmla="*/ 2289727 w 4664922"/>
              <a:gd name="connsiteY3298" fmla="*/ 1424171 h 1786050"/>
              <a:gd name="connsiteX3299" fmla="*/ 2329177 w 4664922"/>
              <a:gd name="connsiteY3299" fmla="*/ 1398893 h 1786050"/>
              <a:gd name="connsiteX3300" fmla="*/ 2361512 w 4664922"/>
              <a:gd name="connsiteY3300" fmla="*/ 1367541 h 1786050"/>
              <a:gd name="connsiteX3301" fmla="*/ 2402003 w 4664922"/>
              <a:gd name="connsiteY3301" fmla="*/ 1329654 h 1786050"/>
              <a:gd name="connsiteX3302" fmla="*/ 2416638 w 4664922"/>
              <a:gd name="connsiteY3302" fmla="*/ 1302582 h 1786050"/>
              <a:gd name="connsiteX3303" fmla="*/ 2438387 w 4664922"/>
              <a:gd name="connsiteY3303" fmla="*/ 1273660 h 1786050"/>
              <a:gd name="connsiteX3304" fmla="*/ 2441048 w 4664922"/>
              <a:gd name="connsiteY3304" fmla="*/ 1277420 h 1786050"/>
              <a:gd name="connsiteX3305" fmla="*/ 2408539 w 4664922"/>
              <a:gd name="connsiteY3305" fmla="*/ 1372516 h 1786050"/>
              <a:gd name="connsiteX3306" fmla="*/ 2369552 w 4664922"/>
              <a:gd name="connsiteY3306" fmla="*/ 1393456 h 1786050"/>
              <a:gd name="connsiteX3307" fmla="*/ 2339878 w 4664922"/>
              <a:gd name="connsiteY3307" fmla="*/ 1414048 h 1786050"/>
              <a:gd name="connsiteX3308" fmla="*/ 2288743 w 4664922"/>
              <a:gd name="connsiteY3308" fmla="*/ 1435566 h 1786050"/>
              <a:gd name="connsiteX3309" fmla="*/ 2436883 w 4664922"/>
              <a:gd name="connsiteY3309" fmla="*/ 1275569 h 1786050"/>
              <a:gd name="connsiteX3310" fmla="*/ 2418315 w 4664922"/>
              <a:gd name="connsiteY3310" fmla="*/ 1303566 h 1786050"/>
              <a:gd name="connsiteX3311" fmla="*/ 2403565 w 4664922"/>
              <a:gd name="connsiteY3311" fmla="*/ 1330868 h 1786050"/>
              <a:gd name="connsiteX3312" fmla="*/ 2362495 w 4664922"/>
              <a:gd name="connsiteY3312" fmla="*/ 1369393 h 1786050"/>
              <a:gd name="connsiteX3313" fmla="*/ 2330912 w 4664922"/>
              <a:gd name="connsiteY3313" fmla="*/ 1399819 h 1786050"/>
              <a:gd name="connsiteX3314" fmla="*/ 2290421 w 4664922"/>
              <a:gd name="connsiteY3314" fmla="*/ 1426311 h 1786050"/>
              <a:gd name="connsiteX3315" fmla="*/ 2278852 w 4664922"/>
              <a:gd name="connsiteY3315" fmla="*/ 1431228 h 1786050"/>
              <a:gd name="connsiteX3316" fmla="*/ 2289149 w 4664922"/>
              <a:gd name="connsiteY3316" fmla="*/ 1433542 h 1786050"/>
              <a:gd name="connsiteX3317" fmla="*/ 2320153 w 4664922"/>
              <a:gd name="connsiteY3317" fmla="*/ 1428047 h 1786050"/>
              <a:gd name="connsiteX3318" fmla="*/ 2337506 w 4664922"/>
              <a:gd name="connsiteY3318" fmla="*/ 1413875 h 1786050"/>
              <a:gd name="connsiteX3319" fmla="*/ 2368569 w 4664922"/>
              <a:gd name="connsiteY3319" fmla="*/ 1391200 h 1786050"/>
              <a:gd name="connsiteX3320" fmla="*/ 2406919 w 4664922"/>
              <a:gd name="connsiteY3320" fmla="*/ 1370665 h 1786050"/>
              <a:gd name="connsiteX3321" fmla="*/ 2438734 w 4664922"/>
              <a:gd name="connsiteY3321" fmla="*/ 1277767 h 1786050"/>
              <a:gd name="connsiteX3322" fmla="*/ 2437635 w 4664922"/>
              <a:gd name="connsiteY3322" fmla="*/ 1275685 h 1786050"/>
              <a:gd name="connsiteX3323" fmla="*/ 67176 w 4664922"/>
              <a:gd name="connsiteY3323" fmla="*/ 1321845 h 1786050"/>
              <a:gd name="connsiteX3324" fmla="*/ 14364 w 4664922"/>
              <a:gd name="connsiteY3324" fmla="*/ 1317275 h 1786050"/>
              <a:gd name="connsiteX3325" fmla="*/ 655 w 4664922"/>
              <a:gd name="connsiteY3325" fmla="*/ 1312184 h 1786050"/>
              <a:gd name="connsiteX3326" fmla="*/ -39 w 4664922"/>
              <a:gd name="connsiteY3326" fmla="*/ 1310704 h 1786050"/>
              <a:gd name="connsiteX3327" fmla="*/ 19 w 4664922"/>
              <a:gd name="connsiteY3327" fmla="*/ 1310565 h 1786050"/>
              <a:gd name="connsiteX3328" fmla="*/ 1523 w 4664922"/>
              <a:gd name="connsiteY3328" fmla="*/ 1304780 h 1786050"/>
              <a:gd name="connsiteX3329" fmla="*/ 2506 w 4664922"/>
              <a:gd name="connsiteY3329" fmla="*/ 1301830 h 1786050"/>
              <a:gd name="connsiteX3330" fmla="*/ 14075 w 4664922"/>
              <a:gd name="connsiteY3330" fmla="*/ 1297723 h 1786050"/>
              <a:gd name="connsiteX3331" fmla="*/ 22231 w 4664922"/>
              <a:gd name="connsiteY3331" fmla="*/ 1303508 h 1786050"/>
              <a:gd name="connsiteX3332" fmla="*/ 24429 w 4664922"/>
              <a:gd name="connsiteY3332" fmla="*/ 1307036 h 1786050"/>
              <a:gd name="connsiteX3333" fmla="*/ 29519 w 4664922"/>
              <a:gd name="connsiteY3333" fmla="*/ 1308309 h 1786050"/>
              <a:gd name="connsiteX3334" fmla="*/ 33858 w 4664922"/>
              <a:gd name="connsiteY3334" fmla="*/ 1306805 h 1786050"/>
              <a:gd name="connsiteX3335" fmla="*/ 33106 w 4664922"/>
              <a:gd name="connsiteY3335" fmla="*/ 1304202 h 1786050"/>
              <a:gd name="connsiteX3336" fmla="*/ 31891 w 4664922"/>
              <a:gd name="connsiteY3336" fmla="*/ 1299921 h 1786050"/>
              <a:gd name="connsiteX3337" fmla="*/ 37676 w 4664922"/>
              <a:gd name="connsiteY3337" fmla="*/ 1294137 h 1786050"/>
              <a:gd name="connsiteX3338" fmla="*/ 41782 w 4664922"/>
              <a:gd name="connsiteY3338" fmla="*/ 1289047 h 1786050"/>
              <a:gd name="connsiteX3339" fmla="*/ 37907 w 4664922"/>
              <a:gd name="connsiteY3339" fmla="*/ 1285287 h 1786050"/>
              <a:gd name="connsiteX3340" fmla="*/ 37386 w 4664922"/>
              <a:gd name="connsiteY3340" fmla="*/ 1284072 h 1786050"/>
              <a:gd name="connsiteX3341" fmla="*/ 38427 w 4664922"/>
              <a:gd name="connsiteY3341" fmla="*/ 1283204 h 1786050"/>
              <a:gd name="connsiteX3342" fmla="*/ 40915 w 4664922"/>
              <a:gd name="connsiteY3342" fmla="*/ 1283204 h 1786050"/>
              <a:gd name="connsiteX3343" fmla="*/ 48145 w 4664922"/>
              <a:gd name="connsiteY3343" fmla="*/ 1282684 h 1786050"/>
              <a:gd name="connsiteX3344" fmla="*/ 56070 w 4664922"/>
              <a:gd name="connsiteY3344" fmla="*/ 1285460 h 1786050"/>
              <a:gd name="connsiteX3345" fmla="*/ 68969 w 4664922"/>
              <a:gd name="connsiteY3345" fmla="*/ 1291245 h 1786050"/>
              <a:gd name="connsiteX3346" fmla="*/ 70994 w 4664922"/>
              <a:gd name="connsiteY3346" fmla="*/ 1290898 h 1786050"/>
              <a:gd name="connsiteX3347" fmla="*/ 73134 w 4664922"/>
              <a:gd name="connsiteY3347" fmla="*/ 1290435 h 1786050"/>
              <a:gd name="connsiteX3348" fmla="*/ 87769 w 4664922"/>
              <a:gd name="connsiteY3348" fmla="*/ 1300963 h 1786050"/>
              <a:gd name="connsiteX3349" fmla="*/ 87190 w 4664922"/>
              <a:gd name="connsiteY3349" fmla="*/ 1307499 h 1786050"/>
              <a:gd name="connsiteX3350" fmla="*/ 86669 w 4664922"/>
              <a:gd name="connsiteY3350" fmla="*/ 1318779 h 1786050"/>
              <a:gd name="connsiteX3351" fmla="*/ 86669 w 4664922"/>
              <a:gd name="connsiteY3351" fmla="*/ 1319704 h 1786050"/>
              <a:gd name="connsiteX3352" fmla="*/ 85917 w 4664922"/>
              <a:gd name="connsiteY3352" fmla="*/ 1320225 h 1786050"/>
              <a:gd name="connsiteX3353" fmla="*/ 67002 w 4664922"/>
              <a:gd name="connsiteY3353" fmla="*/ 1321440 h 1786050"/>
              <a:gd name="connsiteX3354" fmla="*/ 2506 w 4664922"/>
              <a:gd name="connsiteY3354" fmla="*/ 1310854 h 1786050"/>
              <a:gd name="connsiteX3355" fmla="*/ 15116 w 4664922"/>
              <a:gd name="connsiteY3355" fmla="*/ 1315482 h 1786050"/>
              <a:gd name="connsiteX3356" fmla="*/ 67176 w 4664922"/>
              <a:gd name="connsiteY3356" fmla="*/ 1319589 h 1786050"/>
              <a:gd name="connsiteX3357" fmla="*/ 84529 w 4664922"/>
              <a:gd name="connsiteY3357" fmla="*/ 1318605 h 1786050"/>
              <a:gd name="connsiteX3358" fmla="*/ 85165 w 4664922"/>
              <a:gd name="connsiteY3358" fmla="*/ 1307615 h 1786050"/>
              <a:gd name="connsiteX3359" fmla="*/ 85744 w 4664922"/>
              <a:gd name="connsiteY3359" fmla="*/ 1301368 h 1786050"/>
              <a:gd name="connsiteX3360" fmla="*/ 73365 w 4664922"/>
              <a:gd name="connsiteY3360" fmla="*/ 1293096 h 1786050"/>
              <a:gd name="connsiteX3361" fmla="*/ 72208 w 4664922"/>
              <a:gd name="connsiteY3361" fmla="*/ 1293096 h 1786050"/>
              <a:gd name="connsiteX3362" fmla="*/ 69200 w 4664922"/>
              <a:gd name="connsiteY3362" fmla="*/ 1293674 h 1786050"/>
              <a:gd name="connsiteX3363" fmla="*/ 54450 w 4664922"/>
              <a:gd name="connsiteY3363" fmla="*/ 1286675 h 1786050"/>
              <a:gd name="connsiteX3364" fmla="*/ 48666 w 4664922"/>
              <a:gd name="connsiteY3364" fmla="*/ 1284882 h 1786050"/>
              <a:gd name="connsiteX3365" fmla="*/ 42071 w 4664922"/>
              <a:gd name="connsiteY3365" fmla="*/ 1285345 h 1786050"/>
              <a:gd name="connsiteX3366" fmla="*/ 44270 w 4664922"/>
              <a:gd name="connsiteY3366" fmla="*/ 1288121 h 1786050"/>
              <a:gd name="connsiteX3367" fmla="*/ 39295 w 4664922"/>
              <a:gd name="connsiteY3367" fmla="*/ 1296277 h 1786050"/>
              <a:gd name="connsiteX3368" fmla="*/ 34494 w 4664922"/>
              <a:gd name="connsiteY3368" fmla="*/ 1300384 h 1786050"/>
              <a:gd name="connsiteX3369" fmla="*/ 35362 w 4664922"/>
              <a:gd name="connsiteY3369" fmla="*/ 1302929 h 1786050"/>
              <a:gd name="connsiteX3370" fmla="*/ 36287 w 4664922"/>
              <a:gd name="connsiteY3370" fmla="*/ 1307846 h 1786050"/>
              <a:gd name="connsiteX3371" fmla="*/ 29924 w 4664922"/>
              <a:gd name="connsiteY3371" fmla="*/ 1310623 h 1786050"/>
              <a:gd name="connsiteX3372" fmla="*/ 23677 w 4664922"/>
              <a:gd name="connsiteY3372" fmla="*/ 1309003 h 1786050"/>
              <a:gd name="connsiteX3373" fmla="*/ 20380 w 4664922"/>
              <a:gd name="connsiteY3373" fmla="*/ 1303566 h 1786050"/>
              <a:gd name="connsiteX3374" fmla="*/ 14595 w 4664922"/>
              <a:gd name="connsiteY3374" fmla="*/ 1300153 h 1786050"/>
              <a:gd name="connsiteX3375" fmla="*/ 4646 w 4664922"/>
              <a:gd name="connsiteY3375" fmla="*/ 1303450 h 1786050"/>
              <a:gd name="connsiteX3376" fmla="*/ 4183 w 4664922"/>
              <a:gd name="connsiteY3376" fmla="*/ 1304607 h 1786050"/>
              <a:gd name="connsiteX3377" fmla="*/ 2332 w 4664922"/>
              <a:gd name="connsiteY3377" fmla="*/ 1310449 h 1786050"/>
              <a:gd name="connsiteX3378" fmla="*/ 806541 w 4664922"/>
              <a:gd name="connsiteY3378" fmla="*/ 712339 h 1786050"/>
              <a:gd name="connsiteX3379" fmla="*/ 806541 w 4664922"/>
              <a:gd name="connsiteY3379" fmla="*/ 712339 h 1786050"/>
              <a:gd name="connsiteX3380" fmla="*/ 789767 w 4664922"/>
              <a:gd name="connsiteY3380" fmla="*/ 704935 h 1786050"/>
              <a:gd name="connsiteX3381" fmla="*/ 785023 w 4664922"/>
              <a:gd name="connsiteY3381" fmla="*/ 688797 h 1786050"/>
              <a:gd name="connsiteX3382" fmla="*/ 810880 w 4664922"/>
              <a:gd name="connsiteY3382" fmla="*/ 673931 h 1786050"/>
              <a:gd name="connsiteX3383" fmla="*/ 817474 w 4664922"/>
              <a:gd name="connsiteY3383" fmla="*/ 674798 h 1786050"/>
              <a:gd name="connsiteX3384" fmla="*/ 845760 w 4664922"/>
              <a:gd name="connsiteY3384" fmla="*/ 691573 h 1786050"/>
              <a:gd name="connsiteX3385" fmla="*/ 841595 w 4664922"/>
              <a:gd name="connsiteY3385" fmla="*/ 694755 h 1786050"/>
              <a:gd name="connsiteX3386" fmla="*/ 830952 w 4664922"/>
              <a:gd name="connsiteY3386" fmla="*/ 701060 h 1786050"/>
              <a:gd name="connsiteX3387" fmla="*/ 806253 w 4664922"/>
              <a:gd name="connsiteY3387" fmla="*/ 711934 h 1786050"/>
              <a:gd name="connsiteX3388" fmla="*/ 810880 w 4664922"/>
              <a:gd name="connsiteY3388" fmla="*/ 676187 h 1786050"/>
              <a:gd name="connsiteX3389" fmla="*/ 787106 w 4664922"/>
              <a:gd name="connsiteY3389" fmla="*/ 689664 h 1786050"/>
              <a:gd name="connsiteX3390" fmla="*/ 791328 w 4664922"/>
              <a:gd name="connsiteY3390" fmla="*/ 703315 h 1786050"/>
              <a:gd name="connsiteX3391" fmla="*/ 806541 w 4664922"/>
              <a:gd name="connsiteY3391" fmla="*/ 710083 h 1786050"/>
              <a:gd name="connsiteX3392" fmla="*/ 806541 w 4664922"/>
              <a:gd name="connsiteY3392" fmla="*/ 710083 h 1786050"/>
              <a:gd name="connsiteX3393" fmla="*/ 829679 w 4664922"/>
              <a:gd name="connsiteY3393" fmla="*/ 699266 h 1786050"/>
              <a:gd name="connsiteX3394" fmla="*/ 841248 w 4664922"/>
              <a:gd name="connsiteY3394" fmla="*/ 692499 h 1786050"/>
              <a:gd name="connsiteX3395" fmla="*/ 843504 w 4664922"/>
              <a:gd name="connsiteY3395" fmla="*/ 691457 h 1786050"/>
              <a:gd name="connsiteX3396" fmla="*/ 816896 w 4664922"/>
              <a:gd name="connsiteY3396" fmla="*/ 676938 h 1786050"/>
              <a:gd name="connsiteX3397" fmla="*/ 810591 w 4664922"/>
              <a:gd name="connsiteY3397" fmla="*/ 675782 h 1786050"/>
              <a:gd name="connsiteX3398" fmla="*/ 1026061 w 4664922"/>
              <a:gd name="connsiteY3398" fmla="*/ 623028 h 1786050"/>
              <a:gd name="connsiteX3399" fmla="*/ 988115 w 4664922"/>
              <a:gd name="connsiteY3399" fmla="*/ 619268 h 1786050"/>
              <a:gd name="connsiteX3400" fmla="*/ 971398 w 4664922"/>
              <a:gd name="connsiteY3400" fmla="*/ 617185 h 1786050"/>
              <a:gd name="connsiteX3401" fmla="*/ 933220 w 4664922"/>
              <a:gd name="connsiteY3401" fmla="*/ 603129 h 1786050"/>
              <a:gd name="connsiteX3402" fmla="*/ 935997 w 4664922"/>
              <a:gd name="connsiteY3402" fmla="*/ 595841 h 1786050"/>
              <a:gd name="connsiteX3403" fmla="*/ 937559 w 4664922"/>
              <a:gd name="connsiteY3403" fmla="*/ 590345 h 1786050"/>
              <a:gd name="connsiteX3404" fmla="*/ 917371 w 4664922"/>
              <a:gd name="connsiteY3404" fmla="*/ 577620 h 1786050"/>
              <a:gd name="connsiteX3405" fmla="*/ 915520 w 4664922"/>
              <a:gd name="connsiteY3405" fmla="*/ 578198 h 1786050"/>
              <a:gd name="connsiteX3406" fmla="*/ 915983 w 4664922"/>
              <a:gd name="connsiteY3406" fmla="*/ 580859 h 1786050"/>
              <a:gd name="connsiteX3407" fmla="*/ 917661 w 4664922"/>
              <a:gd name="connsiteY3407" fmla="*/ 593296 h 1786050"/>
              <a:gd name="connsiteX3408" fmla="*/ 903778 w 4664922"/>
              <a:gd name="connsiteY3408" fmla="*/ 591097 h 1786050"/>
              <a:gd name="connsiteX3409" fmla="*/ 902100 w 4664922"/>
              <a:gd name="connsiteY3409" fmla="*/ 577446 h 1786050"/>
              <a:gd name="connsiteX3410" fmla="*/ 903200 w 4664922"/>
              <a:gd name="connsiteY3410" fmla="*/ 572356 h 1786050"/>
              <a:gd name="connsiteX3411" fmla="*/ 899555 w 4664922"/>
              <a:gd name="connsiteY3411" fmla="*/ 571199 h 1786050"/>
              <a:gd name="connsiteX3412" fmla="*/ 893771 w 4664922"/>
              <a:gd name="connsiteY3412" fmla="*/ 571199 h 1786050"/>
              <a:gd name="connsiteX3413" fmla="*/ 872484 w 4664922"/>
              <a:gd name="connsiteY3413" fmla="*/ 565415 h 1786050"/>
              <a:gd name="connsiteX3414" fmla="*/ 870922 w 4664922"/>
              <a:gd name="connsiteY3414" fmla="*/ 553846 h 1786050"/>
              <a:gd name="connsiteX3415" fmla="*/ 891573 w 4664922"/>
              <a:gd name="connsiteY3415" fmla="*/ 542277 h 1786050"/>
              <a:gd name="connsiteX3416" fmla="*/ 904819 w 4664922"/>
              <a:gd name="connsiteY3416" fmla="*/ 536088 h 1786050"/>
              <a:gd name="connsiteX3417" fmla="*/ 915751 w 4664922"/>
              <a:gd name="connsiteY3417" fmla="*/ 524808 h 1786050"/>
              <a:gd name="connsiteX3418" fmla="*/ 920957 w 4664922"/>
              <a:gd name="connsiteY3418" fmla="*/ 520180 h 1786050"/>
              <a:gd name="connsiteX3419" fmla="*/ 912339 w 4664922"/>
              <a:gd name="connsiteY3419" fmla="*/ 509768 h 1786050"/>
              <a:gd name="connsiteX3420" fmla="*/ 906902 w 4664922"/>
              <a:gd name="connsiteY3420" fmla="*/ 502307 h 1786050"/>
              <a:gd name="connsiteX3421" fmla="*/ 913264 w 4664922"/>
              <a:gd name="connsiteY3421" fmla="*/ 500282 h 1786050"/>
              <a:gd name="connsiteX3422" fmla="*/ 929287 w 4664922"/>
              <a:gd name="connsiteY3422" fmla="*/ 495712 h 1786050"/>
              <a:gd name="connsiteX3423" fmla="*/ 931486 w 4664922"/>
              <a:gd name="connsiteY3423" fmla="*/ 487788 h 1786050"/>
              <a:gd name="connsiteX3424" fmla="*/ 932295 w 4664922"/>
              <a:gd name="connsiteY3424" fmla="*/ 484895 h 1786050"/>
              <a:gd name="connsiteX3425" fmla="*/ 942996 w 4664922"/>
              <a:gd name="connsiteY3425" fmla="*/ 482119 h 1786050"/>
              <a:gd name="connsiteX3426" fmla="*/ 954970 w 4664922"/>
              <a:gd name="connsiteY3426" fmla="*/ 479053 h 1786050"/>
              <a:gd name="connsiteX3427" fmla="*/ 955722 w 4664922"/>
              <a:gd name="connsiteY3427" fmla="*/ 475698 h 1786050"/>
              <a:gd name="connsiteX3428" fmla="*/ 966018 w 4664922"/>
              <a:gd name="connsiteY3428" fmla="*/ 462105 h 1786050"/>
              <a:gd name="connsiteX3429" fmla="*/ 967001 w 4664922"/>
              <a:gd name="connsiteY3429" fmla="*/ 461584 h 1786050"/>
              <a:gd name="connsiteX3430" fmla="*/ 964052 w 4664922"/>
              <a:gd name="connsiteY3430" fmla="*/ 461584 h 1786050"/>
              <a:gd name="connsiteX3431" fmla="*/ 953986 w 4664922"/>
              <a:gd name="connsiteY3431" fmla="*/ 454122 h 1786050"/>
              <a:gd name="connsiteX3432" fmla="*/ 967117 w 4664922"/>
              <a:gd name="connsiteY3432" fmla="*/ 439950 h 1786050"/>
              <a:gd name="connsiteX3433" fmla="*/ 969605 w 4664922"/>
              <a:gd name="connsiteY3433" fmla="*/ 439430 h 1786050"/>
              <a:gd name="connsiteX3434" fmla="*/ 990024 w 4664922"/>
              <a:gd name="connsiteY3434" fmla="*/ 432141 h 1786050"/>
              <a:gd name="connsiteX3435" fmla="*/ 989734 w 4664922"/>
              <a:gd name="connsiteY3435" fmla="*/ 429481 h 1786050"/>
              <a:gd name="connsiteX3436" fmla="*/ 994535 w 4664922"/>
              <a:gd name="connsiteY3436" fmla="*/ 419011 h 1786050"/>
              <a:gd name="connsiteX3437" fmla="*/ 998816 w 4664922"/>
              <a:gd name="connsiteY3437" fmla="*/ 413863 h 1786050"/>
              <a:gd name="connsiteX3438" fmla="*/ 997949 w 4664922"/>
              <a:gd name="connsiteY3438" fmla="*/ 411896 h 1786050"/>
              <a:gd name="connsiteX3439" fmla="*/ 997081 w 4664922"/>
              <a:gd name="connsiteY3439" fmla="*/ 409004 h 1786050"/>
              <a:gd name="connsiteX3440" fmla="*/ 1005815 w 4664922"/>
              <a:gd name="connsiteY3440" fmla="*/ 403624 h 1786050"/>
              <a:gd name="connsiteX3441" fmla="*/ 1015418 w 4664922"/>
              <a:gd name="connsiteY3441" fmla="*/ 397840 h 1786050"/>
              <a:gd name="connsiteX3442" fmla="*/ 1013393 w 4664922"/>
              <a:gd name="connsiteY3442" fmla="*/ 394138 h 1786050"/>
              <a:gd name="connsiteX3443" fmla="*/ 1008765 w 4664922"/>
              <a:gd name="connsiteY3443" fmla="*/ 377652 h 1786050"/>
              <a:gd name="connsiteX3444" fmla="*/ 1016227 w 4664922"/>
              <a:gd name="connsiteY3444" fmla="*/ 371868 h 1786050"/>
              <a:gd name="connsiteX3445" fmla="*/ 1021375 w 4664922"/>
              <a:gd name="connsiteY3445" fmla="*/ 374008 h 1786050"/>
              <a:gd name="connsiteX3446" fmla="*/ 1028953 w 4664922"/>
              <a:gd name="connsiteY3446" fmla="*/ 376727 h 1786050"/>
              <a:gd name="connsiteX3447" fmla="*/ 1042951 w 4664922"/>
              <a:gd name="connsiteY3447" fmla="*/ 366835 h 1786050"/>
              <a:gd name="connsiteX3448" fmla="*/ 1054520 w 4664922"/>
              <a:gd name="connsiteY3448" fmla="*/ 358332 h 1786050"/>
              <a:gd name="connsiteX3449" fmla="*/ 1063718 w 4664922"/>
              <a:gd name="connsiteY3449" fmla="*/ 353589 h 1786050"/>
              <a:gd name="connsiteX3450" fmla="*/ 1100448 w 4664922"/>
              <a:gd name="connsiteY3450" fmla="*/ 337392 h 1786050"/>
              <a:gd name="connsiteX3451" fmla="*/ 1117454 w 4664922"/>
              <a:gd name="connsiteY3451" fmla="*/ 332534 h 1786050"/>
              <a:gd name="connsiteX3452" fmla="*/ 1134403 w 4664922"/>
              <a:gd name="connsiteY3452" fmla="*/ 327732 h 1786050"/>
              <a:gd name="connsiteX3453" fmla="*/ 1148054 w 4664922"/>
              <a:gd name="connsiteY3453" fmla="*/ 322469 h 1786050"/>
              <a:gd name="connsiteX3454" fmla="*/ 1166796 w 4664922"/>
              <a:gd name="connsiteY3454" fmla="*/ 315643 h 1786050"/>
              <a:gd name="connsiteX3455" fmla="*/ 1175299 w 4664922"/>
              <a:gd name="connsiteY3455" fmla="*/ 318188 h 1786050"/>
              <a:gd name="connsiteX3456" fmla="*/ 1192652 w 4664922"/>
              <a:gd name="connsiteY3456" fmla="*/ 322295 h 1786050"/>
              <a:gd name="connsiteX3457" fmla="*/ 1228111 w 4664922"/>
              <a:gd name="connsiteY3457" fmla="*/ 313329 h 1786050"/>
              <a:gd name="connsiteX3458" fmla="*/ 1248472 w 4664922"/>
              <a:gd name="connsiteY3458" fmla="*/ 309222 h 1786050"/>
              <a:gd name="connsiteX3459" fmla="*/ 1272419 w 4664922"/>
              <a:gd name="connsiteY3459" fmla="*/ 302917 h 1786050"/>
              <a:gd name="connsiteX3460" fmla="*/ 1338015 w 4664922"/>
              <a:gd name="connsiteY3460" fmla="*/ 281399 h 1786050"/>
              <a:gd name="connsiteX3461" fmla="*/ 1357798 w 4664922"/>
              <a:gd name="connsiteY3461" fmla="*/ 286779 h 1786050"/>
              <a:gd name="connsiteX3462" fmla="*/ 1362888 w 4664922"/>
              <a:gd name="connsiteY3462" fmla="*/ 298348 h 1786050"/>
              <a:gd name="connsiteX3463" fmla="*/ 1287112 w 4664922"/>
              <a:gd name="connsiteY3463" fmla="*/ 337219 h 1786050"/>
              <a:gd name="connsiteX3464" fmla="*/ 1135965 w 4664922"/>
              <a:gd name="connsiteY3464" fmla="*/ 393906 h 1786050"/>
              <a:gd name="connsiteX3465" fmla="*/ 1115546 w 4664922"/>
              <a:gd name="connsiteY3465" fmla="*/ 404955 h 1786050"/>
              <a:gd name="connsiteX3466" fmla="*/ 1099465 w 4664922"/>
              <a:gd name="connsiteY3466" fmla="*/ 411144 h 1786050"/>
              <a:gd name="connsiteX3467" fmla="*/ 1079971 w 4664922"/>
              <a:gd name="connsiteY3467" fmla="*/ 417275 h 1786050"/>
              <a:gd name="connsiteX3468" fmla="*/ 1073724 w 4664922"/>
              <a:gd name="connsiteY3468" fmla="*/ 418143 h 1786050"/>
              <a:gd name="connsiteX3469" fmla="*/ 1073724 w 4664922"/>
              <a:gd name="connsiteY3469" fmla="*/ 418895 h 1786050"/>
              <a:gd name="connsiteX3470" fmla="*/ 1071006 w 4664922"/>
              <a:gd name="connsiteY3470" fmla="*/ 436885 h 1786050"/>
              <a:gd name="connsiteX3471" fmla="*/ 1055851 w 4664922"/>
              <a:gd name="connsiteY3471" fmla="*/ 447065 h 1786050"/>
              <a:gd name="connsiteX3472" fmla="*/ 1049545 w 4664922"/>
              <a:gd name="connsiteY3472" fmla="*/ 455453 h 1786050"/>
              <a:gd name="connsiteX3473" fmla="*/ 1041274 w 4664922"/>
              <a:gd name="connsiteY3473" fmla="*/ 465633 h 1786050"/>
              <a:gd name="connsiteX3474" fmla="*/ 1031325 w 4664922"/>
              <a:gd name="connsiteY3474" fmla="*/ 474599 h 1786050"/>
              <a:gd name="connsiteX3475" fmla="*/ 1017558 w 4664922"/>
              <a:gd name="connsiteY3475" fmla="*/ 493746 h 1786050"/>
              <a:gd name="connsiteX3476" fmla="*/ 1007146 w 4664922"/>
              <a:gd name="connsiteY3476" fmla="*/ 509248 h 1786050"/>
              <a:gd name="connsiteX3477" fmla="*/ 995577 w 4664922"/>
              <a:gd name="connsiteY3477" fmla="*/ 525271 h 1786050"/>
              <a:gd name="connsiteX3478" fmla="*/ 986322 w 4664922"/>
              <a:gd name="connsiteY3478" fmla="*/ 539674 h 1786050"/>
              <a:gd name="connsiteX3479" fmla="*/ 1005468 w 4664922"/>
              <a:gd name="connsiteY3479" fmla="*/ 582479 h 1786050"/>
              <a:gd name="connsiteX3480" fmla="*/ 1028606 w 4664922"/>
              <a:gd name="connsiteY3480" fmla="*/ 601163 h 1786050"/>
              <a:gd name="connsiteX3481" fmla="*/ 1042894 w 4664922"/>
              <a:gd name="connsiteY3481" fmla="*/ 616491 h 1786050"/>
              <a:gd name="connsiteX3482" fmla="*/ 1025771 w 4664922"/>
              <a:gd name="connsiteY3482" fmla="*/ 622623 h 1786050"/>
              <a:gd name="connsiteX3483" fmla="*/ 917371 w 4664922"/>
              <a:gd name="connsiteY3483" fmla="*/ 575364 h 1786050"/>
              <a:gd name="connsiteX3484" fmla="*/ 939641 w 4664922"/>
              <a:gd name="connsiteY3484" fmla="*/ 589594 h 1786050"/>
              <a:gd name="connsiteX3485" fmla="*/ 937501 w 4664922"/>
              <a:gd name="connsiteY3485" fmla="*/ 597576 h 1786050"/>
              <a:gd name="connsiteX3486" fmla="*/ 935361 w 4664922"/>
              <a:gd name="connsiteY3486" fmla="*/ 602435 h 1786050"/>
              <a:gd name="connsiteX3487" fmla="*/ 971513 w 4664922"/>
              <a:gd name="connsiteY3487" fmla="*/ 614929 h 1786050"/>
              <a:gd name="connsiteX3488" fmla="*/ 988462 w 4664922"/>
              <a:gd name="connsiteY3488" fmla="*/ 617012 h 1786050"/>
              <a:gd name="connsiteX3489" fmla="*/ 1026061 w 4664922"/>
              <a:gd name="connsiteY3489" fmla="*/ 620772 h 1786050"/>
              <a:gd name="connsiteX3490" fmla="*/ 1041390 w 4664922"/>
              <a:gd name="connsiteY3490" fmla="*/ 615971 h 1786050"/>
              <a:gd name="connsiteX3491" fmla="*/ 1028027 w 4664922"/>
              <a:gd name="connsiteY3491" fmla="*/ 602724 h 1786050"/>
              <a:gd name="connsiteX3492" fmla="*/ 1004890 w 4664922"/>
              <a:gd name="connsiteY3492" fmla="*/ 583751 h 1786050"/>
              <a:gd name="connsiteX3493" fmla="*/ 985164 w 4664922"/>
              <a:gd name="connsiteY3493" fmla="*/ 539096 h 1786050"/>
              <a:gd name="connsiteX3494" fmla="*/ 995403 w 4664922"/>
              <a:gd name="connsiteY3494" fmla="*/ 523073 h 1786050"/>
              <a:gd name="connsiteX3495" fmla="*/ 1005815 w 4664922"/>
              <a:gd name="connsiteY3495" fmla="*/ 508669 h 1786050"/>
              <a:gd name="connsiteX3496" fmla="*/ 1017384 w 4664922"/>
              <a:gd name="connsiteY3496" fmla="*/ 491605 h 1786050"/>
              <a:gd name="connsiteX3497" fmla="*/ 1030225 w 4664922"/>
              <a:gd name="connsiteY3497" fmla="*/ 473616 h 1786050"/>
              <a:gd name="connsiteX3498" fmla="*/ 1042142 w 4664922"/>
              <a:gd name="connsiteY3498" fmla="*/ 463088 h 1786050"/>
              <a:gd name="connsiteX3499" fmla="*/ 1048389 w 4664922"/>
              <a:gd name="connsiteY3499" fmla="*/ 455337 h 1786050"/>
              <a:gd name="connsiteX3500" fmla="*/ 1056660 w 4664922"/>
              <a:gd name="connsiteY3500" fmla="*/ 444520 h 1786050"/>
              <a:gd name="connsiteX3501" fmla="*/ 1070138 w 4664922"/>
              <a:gd name="connsiteY3501" fmla="*/ 435439 h 1786050"/>
              <a:gd name="connsiteX3502" fmla="*/ 1072683 w 4664922"/>
              <a:gd name="connsiteY3502" fmla="*/ 419416 h 1786050"/>
              <a:gd name="connsiteX3503" fmla="*/ 1072683 w 4664922"/>
              <a:gd name="connsiteY3503" fmla="*/ 416581 h 1786050"/>
              <a:gd name="connsiteX3504" fmla="*/ 1080723 w 4664922"/>
              <a:gd name="connsiteY3504" fmla="*/ 414730 h 1786050"/>
              <a:gd name="connsiteX3505" fmla="*/ 1098597 w 4664922"/>
              <a:gd name="connsiteY3505" fmla="*/ 409351 h 1786050"/>
              <a:gd name="connsiteX3506" fmla="*/ 1115950 w 4664922"/>
              <a:gd name="connsiteY3506" fmla="*/ 402467 h 1786050"/>
              <a:gd name="connsiteX3507" fmla="*/ 1134750 w 4664922"/>
              <a:gd name="connsiteY3507" fmla="*/ 392692 h 1786050"/>
              <a:gd name="connsiteX3508" fmla="*/ 1287401 w 4664922"/>
              <a:gd name="connsiteY3508" fmla="*/ 334847 h 1786050"/>
              <a:gd name="connsiteX3509" fmla="*/ 1361500 w 4664922"/>
              <a:gd name="connsiteY3509" fmla="*/ 297711 h 1786050"/>
              <a:gd name="connsiteX3510" fmla="*/ 1356352 w 4664922"/>
              <a:gd name="connsiteY3510" fmla="*/ 287646 h 1786050"/>
              <a:gd name="connsiteX3511" fmla="*/ 1337957 w 4664922"/>
              <a:gd name="connsiteY3511" fmla="*/ 282845 h 1786050"/>
              <a:gd name="connsiteX3512" fmla="*/ 1273750 w 4664922"/>
              <a:gd name="connsiteY3512" fmla="*/ 303785 h 1786050"/>
              <a:gd name="connsiteX3513" fmla="*/ 1248530 w 4664922"/>
              <a:gd name="connsiteY3513" fmla="*/ 310611 h 1786050"/>
              <a:gd name="connsiteX3514" fmla="*/ 1229152 w 4664922"/>
              <a:gd name="connsiteY3514" fmla="*/ 314428 h 1786050"/>
              <a:gd name="connsiteX3515" fmla="*/ 1192594 w 4664922"/>
              <a:gd name="connsiteY3515" fmla="*/ 323683 h 1786050"/>
              <a:gd name="connsiteX3516" fmla="*/ 1173853 w 4664922"/>
              <a:gd name="connsiteY3516" fmla="*/ 319171 h 1786050"/>
              <a:gd name="connsiteX3517" fmla="*/ 1166622 w 4664922"/>
              <a:gd name="connsiteY3517" fmla="*/ 317089 h 1786050"/>
              <a:gd name="connsiteX3518" fmla="*/ 1149269 w 4664922"/>
              <a:gd name="connsiteY3518" fmla="*/ 323626 h 1786050"/>
              <a:gd name="connsiteX3519" fmla="*/ 1135039 w 4664922"/>
              <a:gd name="connsiteY3519" fmla="*/ 329121 h 1786050"/>
              <a:gd name="connsiteX3520" fmla="*/ 1134345 w 4664922"/>
              <a:gd name="connsiteY3520" fmla="*/ 329121 h 1786050"/>
              <a:gd name="connsiteX3521" fmla="*/ 1118496 w 4664922"/>
              <a:gd name="connsiteY3521" fmla="*/ 333690 h 1786050"/>
              <a:gd name="connsiteX3522" fmla="*/ 1101663 w 4664922"/>
              <a:gd name="connsiteY3522" fmla="*/ 338839 h 1786050"/>
              <a:gd name="connsiteX3523" fmla="*/ 1100391 w 4664922"/>
              <a:gd name="connsiteY3523" fmla="*/ 338839 h 1786050"/>
              <a:gd name="connsiteX3524" fmla="*/ 1066031 w 4664922"/>
              <a:gd name="connsiteY3524" fmla="*/ 353357 h 1786050"/>
              <a:gd name="connsiteX3525" fmla="*/ 1055272 w 4664922"/>
              <a:gd name="connsiteY3525" fmla="*/ 359720 h 1786050"/>
              <a:gd name="connsiteX3526" fmla="*/ 1045034 w 4664922"/>
              <a:gd name="connsiteY3526" fmla="*/ 366025 h 1786050"/>
              <a:gd name="connsiteX3527" fmla="*/ 1028837 w 4664922"/>
              <a:gd name="connsiteY3527" fmla="*/ 378173 h 1786050"/>
              <a:gd name="connsiteX3528" fmla="*/ 1019756 w 4664922"/>
              <a:gd name="connsiteY3528" fmla="*/ 374876 h 1786050"/>
              <a:gd name="connsiteX3529" fmla="*/ 1016112 w 4664922"/>
              <a:gd name="connsiteY3529" fmla="*/ 373256 h 1786050"/>
              <a:gd name="connsiteX3530" fmla="*/ 1010790 w 4664922"/>
              <a:gd name="connsiteY3530" fmla="*/ 377768 h 1786050"/>
              <a:gd name="connsiteX3531" fmla="*/ 1014839 w 4664922"/>
              <a:gd name="connsiteY3531" fmla="*/ 391824 h 1786050"/>
              <a:gd name="connsiteX3532" fmla="*/ 1017500 w 4664922"/>
              <a:gd name="connsiteY3532" fmla="*/ 397608 h 1786050"/>
              <a:gd name="connsiteX3533" fmla="*/ 1006451 w 4664922"/>
              <a:gd name="connsiteY3533" fmla="*/ 405012 h 1786050"/>
              <a:gd name="connsiteX3534" fmla="*/ 999163 w 4664922"/>
              <a:gd name="connsiteY3534" fmla="*/ 408830 h 1786050"/>
              <a:gd name="connsiteX3535" fmla="*/ 999568 w 4664922"/>
              <a:gd name="connsiteY3535" fmla="*/ 409640 h 1786050"/>
              <a:gd name="connsiteX3536" fmla="*/ 1000957 w 4664922"/>
              <a:gd name="connsiteY3536" fmla="*/ 413342 h 1786050"/>
              <a:gd name="connsiteX3537" fmla="*/ 995866 w 4664922"/>
              <a:gd name="connsiteY3537" fmla="*/ 419936 h 1786050"/>
              <a:gd name="connsiteX3538" fmla="*/ 991643 w 4664922"/>
              <a:gd name="connsiteY3538" fmla="*/ 427630 h 1786050"/>
              <a:gd name="connsiteX3539" fmla="*/ 991990 w 4664922"/>
              <a:gd name="connsiteY3539" fmla="*/ 432373 h 1786050"/>
              <a:gd name="connsiteX3540" fmla="*/ 969951 w 4664922"/>
              <a:gd name="connsiteY3540" fmla="*/ 440934 h 1786050"/>
              <a:gd name="connsiteX3541" fmla="*/ 967407 w 4664922"/>
              <a:gd name="connsiteY3541" fmla="*/ 441396 h 1786050"/>
              <a:gd name="connsiteX3542" fmla="*/ 955838 w 4664922"/>
              <a:gd name="connsiteY3542" fmla="*/ 452965 h 1786050"/>
              <a:gd name="connsiteX3543" fmla="*/ 963762 w 4664922"/>
              <a:gd name="connsiteY3543" fmla="*/ 458345 h 1786050"/>
              <a:gd name="connsiteX3544" fmla="*/ 969894 w 4664922"/>
              <a:gd name="connsiteY3544" fmla="*/ 460138 h 1786050"/>
              <a:gd name="connsiteX3545" fmla="*/ 966712 w 4664922"/>
              <a:gd name="connsiteY3545" fmla="*/ 463377 h 1786050"/>
              <a:gd name="connsiteX3546" fmla="*/ 957573 w 4664922"/>
              <a:gd name="connsiteY3546" fmla="*/ 474657 h 1786050"/>
              <a:gd name="connsiteX3547" fmla="*/ 956300 w 4664922"/>
              <a:gd name="connsiteY3547" fmla="*/ 479689 h 1786050"/>
              <a:gd name="connsiteX3548" fmla="*/ 942765 w 4664922"/>
              <a:gd name="connsiteY3548" fmla="*/ 483623 h 1786050"/>
              <a:gd name="connsiteX3549" fmla="*/ 933626 w 4664922"/>
              <a:gd name="connsiteY3549" fmla="*/ 485590 h 1786050"/>
              <a:gd name="connsiteX3550" fmla="*/ 933626 w 4664922"/>
              <a:gd name="connsiteY3550" fmla="*/ 486804 h 1786050"/>
              <a:gd name="connsiteX3551" fmla="*/ 930849 w 4664922"/>
              <a:gd name="connsiteY3551" fmla="*/ 496464 h 1786050"/>
              <a:gd name="connsiteX3552" fmla="*/ 913149 w 4664922"/>
              <a:gd name="connsiteY3552" fmla="*/ 501786 h 1786050"/>
              <a:gd name="connsiteX3553" fmla="*/ 908926 w 4664922"/>
              <a:gd name="connsiteY3553" fmla="*/ 502422 h 1786050"/>
              <a:gd name="connsiteX3554" fmla="*/ 913727 w 4664922"/>
              <a:gd name="connsiteY3554" fmla="*/ 507339 h 1786050"/>
              <a:gd name="connsiteX3555" fmla="*/ 923098 w 4664922"/>
              <a:gd name="connsiteY3555" fmla="*/ 518908 h 1786050"/>
              <a:gd name="connsiteX3556" fmla="*/ 916215 w 4664922"/>
              <a:gd name="connsiteY3556" fmla="*/ 526138 h 1786050"/>
              <a:gd name="connsiteX3557" fmla="*/ 906960 w 4664922"/>
              <a:gd name="connsiteY3557" fmla="*/ 535336 h 1786050"/>
              <a:gd name="connsiteX3558" fmla="*/ 891573 w 4664922"/>
              <a:gd name="connsiteY3558" fmla="*/ 543665 h 1786050"/>
              <a:gd name="connsiteX3559" fmla="*/ 873004 w 4664922"/>
              <a:gd name="connsiteY3559" fmla="*/ 553267 h 1786050"/>
              <a:gd name="connsiteX3560" fmla="*/ 874104 w 4664922"/>
              <a:gd name="connsiteY3560" fmla="*/ 563043 h 1786050"/>
              <a:gd name="connsiteX3561" fmla="*/ 893713 w 4664922"/>
              <a:gd name="connsiteY3561" fmla="*/ 567844 h 1786050"/>
              <a:gd name="connsiteX3562" fmla="*/ 899497 w 4664922"/>
              <a:gd name="connsiteY3562" fmla="*/ 567844 h 1786050"/>
              <a:gd name="connsiteX3563" fmla="*/ 904934 w 4664922"/>
              <a:gd name="connsiteY3563" fmla="*/ 570100 h 1786050"/>
              <a:gd name="connsiteX3564" fmla="*/ 904067 w 4664922"/>
              <a:gd name="connsiteY3564" fmla="*/ 577157 h 1786050"/>
              <a:gd name="connsiteX3565" fmla="*/ 904934 w 4664922"/>
              <a:gd name="connsiteY3565" fmla="*/ 588205 h 1786050"/>
              <a:gd name="connsiteX3566" fmla="*/ 915578 w 4664922"/>
              <a:gd name="connsiteY3566" fmla="*/ 590982 h 1786050"/>
              <a:gd name="connsiteX3567" fmla="*/ 913727 w 4664922"/>
              <a:gd name="connsiteY3567" fmla="*/ 580743 h 1786050"/>
              <a:gd name="connsiteX3568" fmla="*/ 913727 w 4664922"/>
              <a:gd name="connsiteY3568" fmla="*/ 575884 h 1786050"/>
              <a:gd name="connsiteX3569" fmla="*/ 917082 w 4664922"/>
              <a:gd name="connsiteY3569" fmla="*/ 574959 h 1786050"/>
              <a:gd name="connsiteX3570" fmla="*/ 4400639 w 4664922"/>
              <a:gd name="connsiteY3570" fmla="*/ 616260 h 1786050"/>
              <a:gd name="connsiteX3571" fmla="*/ 4400639 w 4664922"/>
              <a:gd name="connsiteY3571" fmla="*/ 616260 h 1786050"/>
              <a:gd name="connsiteX3572" fmla="*/ 4387392 w 4664922"/>
              <a:gd name="connsiteY3572" fmla="*/ 612963 h 1786050"/>
              <a:gd name="connsiteX3573" fmla="*/ 4380220 w 4664922"/>
              <a:gd name="connsiteY3573" fmla="*/ 610591 h 1786050"/>
              <a:gd name="connsiteX3574" fmla="*/ 4370386 w 4664922"/>
              <a:gd name="connsiteY3574" fmla="*/ 613136 h 1786050"/>
              <a:gd name="connsiteX3575" fmla="*/ 4358065 w 4664922"/>
              <a:gd name="connsiteY3575" fmla="*/ 616144 h 1786050"/>
              <a:gd name="connsiteX3576" fmla="*/ 4348752 w 4664922"/>
              <a:gd name="connsiteY3576" fmla="*/ 613830 h 1786050"/>
              <a:gd name="connsiteX3577" fmla="*/ 4344587 w 4664922"/>
              <a:gd name="connsiteY3577" fmla="*/ 606484 h 1786050"/>
              <a:gd name="connsiteX3578" fmla="*/ 4406365 w 4664922"/>
              <a:gd name="connsiteY3578" fmla="*/ 580454 h 1786050"/>
              <a:gd name="connsiteX3579" fmla="*/ 4415678 w 4664922"/>
              <a:gd name="connsiteY3579" fmla="*/ 581033 h 1786050"/>
              <a:gd name="connsiteX3580" fmla="*/ 4452641 w 4664922"/>
              <a:gd name="connsiteY3580" fmla="*/ 600063 h 1786050"/>
              <a:gd name="connsiteX3581" fmla="*/ 4445584 w 4664922"/>
              <a:gd name="connsiteY3581" fmla="*/ 606658 h 1786050"/>
              <a:gd name="connsiteX3582" fmla="*/ 4434015 w 4664922"/>
              <a:gd name="connsiteY3582" fmla="*/ 609781 h 1786050"/>
              <a:gd name="connsiteX3583" fmla="*/ 4400349 w 4664922"/>
              <a:gd name="connsiteY3583" fmla="*/ 615855 h 1786050"/>
              <a:gd name="connsiteX3584" fmla="*/ 4380220 w 4664922"/>
              <a:gd name="connsiteY3584" fmla="*/ 608335 h 1786050"/>
              <a:gd name="connsiteX3585" fmla="*/ 4388665 w 4664922"/>
              <a:gd name="connsiteY3585" fmla="*/ 611112 h 1786050"/>
              <a:gd name="connsiteX3586" fmla="*/ 4400639 w 4664922"/>
              <a:gd name="connsiteY3586" fmla="*/ 614004 h 1786050"/>
              <a:gd name="connsiteX3587" fmla="*/ 4400639 w 4664922"/>
              <a:gd name="connsiteY3587" fmla="*/ 614004 h 1786050"/>
              <a:gd name="connsiteX3588" fmla="*/ 4433089 w 4664922"/>
              <a:gd name="connsiteY3588" fmla="*/ 607583 h 1786050"/>
              <a:gd name="connsiteX3589" fmla="*/ 4445179 w 4664922"/>
              <a:gd name="connsiteY3589" fmla="*/ 604459 h 1786050"/>
              <a:gd name="connsiteX3590" fmla="*/ 4450327 w 4664922"/>
              <a:gd name="connsiteY3590" fmla="*/ 600063 h 1786050"/>
              <a:gd name="connsiteX3591" fmla="*/ 4415620 w 4664922"/>
              <a:gd name="connsiteY3591" fmla="*/ 583289 h 1786050"/>
              <a:gd name="connsiteX3592" fmla="*/ 4406596 w 4664922"/>
              <a:gd name="connsiteY3592" fmla="*/ 582710 h 1786050"/>
              <a:gd name="connsiteX3593" fmla="*/ 4347017 w 4664922"/>
              <a:gd name="connsiteY3593" fmla="*/ 607005 h 1786050"/>
              <a:gd name="connsiteX3594" fmla="*/ 4350025 w 4664922"/>
              <a:gd name="connsiteY3594" fmla="*/ 611806 h 1786050"/>
              <a:gd name="connsiteX3595" fmla="*/ 4358296 w 4664922"/>
              <a:gd name="connsiteY3595" fmla="*/ 613888 h 1786050"/>
              <a:gd name="connsiteX3596" fmla="*/ 4369865 w 4664922"/>
              <a:gd name="connsiteY3596" fmla="*/ 611054 h 1786050"/>
              <a:gd name="connsiteX3597" fmla="*/ 4379930 w 4664922"/>
              <a:gd name="connsiteY3597" fmla="*/ 607930 h 1786050"/>
              <a:gd name="connsiteX3598" fmla="*/ 1644185 w 4664922"/>
              <a:gd name="connsiteY3598" fmla="*/ 514049 h 1786050"/>
              <a:gd name="connsiteX3599" fmla="*/ 1631516 w 4664922"/>
              <a:gd name="connsiteY3599" fmla="*/ 510463 h 1786050"/>
              <a:gd name="connsiteX3600" fmla="*/ 1628856 w 4664922"/>
              <a:gd name="connsiteY3600" fmla="*/ 505546 h 1786050"/>
              <a:gd name="connsiteX3601" fmla="*/ 1647019 w 4664922"/>
              <a:gd name="connsiteY3601" fmla="*/ 494671 h 1786050"/>
              <a:gd name="connsiteX3602" fmla="*/ 1654134 w 4664922"/>
              <a:gd name="connsiteY3602" fmla="*/ 500213 h 1786050"/>
              <a:gd name="connsiteX3603" fmla="*/ 1654134 w 4664922"/>
              <a:gd name="connsiteY3603" fmla="*/ 500455 h 1786050"/>
              <a:gd name="connsiteX3604" fmla="*/ 1651878 w 4664922"/>
              <a:gd name="connsiteY3604" fmla="*/ 510983 h 1786050"/>
              <a:gd name="connsiteX3605" fmla="*/ 1644011 w 4664922"/>
              <a:gd name="connsiteY3605" fmla="*/ 513644 h 1786050"/>
              <a:gd name="connsiteX3606" fmla="*/ 1647019 w 4664922"/>
              <a:gd name="connsiteY3606" fmla="*/ 496696 h 1786050"/>
              <a:gd name="connsiteX3607" fmla="*/ 1631054 w 4664922"/>
              <a:gd name="connsiteY3607" fmla="*/ 505835 h 1786050"/>
              <a:gd name="connsiteX3608" fmla="*/ 1632558 w 4664922"/>
              <a:gd name="connsiteY3608" fmla="*/ 508207 h 1786050"/>
              <a:gd name="connsiteX3609" fmla="*/ 1649911 w 4664922"/>
              <a:gd name="connsiteY3609" fmla="*/ 509306 h 1786050"/>
              <a:gd name="connsiteX3610" fmla="*/ 1651647 w 4664922"/>
              <a:gd name="connsiteY3610" fmla="*/ 500513 h 1786050"/>
              <a:gd name="connsiteX3611" fmla="*/ 1646845 w 4664922"/>
              <a:gd name="connsiteY3611" fmla="*/ 496522 h 1786050"/>
              <a:gd name="connsiteX3612" fmla="*/ 1400603 w 4664922"/>
              <a:gd name="connsiteY3612" fmla="*/ 498547 h 1786050"/>
              <a:gd name="connsiteX3613" fmla="*/ 1400603 w 4664922"/>
              <a:gd name="connsiteY3613" fmla="*/ 498547 h 1786050"/>
              <a:gd name="connsiteX3614" fmla="*/ 1396033 w 4664922"/>
              <a:gd name="connsiteY3614" fmla="*/ 498257 h 1786050"/>
              <a:gd name="connsiteX3615" fmla="*/ 1390248 w 4664922"/>
              <a:gd name="connsiteY3615" fmla="*/ 488945 h 1786050"/>
              <a:gd name="connsiteX3616" fmla="*/ 1408527 w 4664922"/>
              <a:gd name="connsiteY3616" fmla="*/ 474194 h 1786050"/>
              <a:gd name="connsiteX3617" fmla="*/ 1439358 w 4664922"/>
              <a:gd name="connsiteY3617" fmla="*/ 483449 h 1786050"/>
              <a:gd name="connsiteX3618" fmla="*/ 1439358 w 4664922"/>
              <a:gd name="connsiteY3618" fmla="*/ 487961 h 1786050"/>
              <a:gd name="connsiteX3619" fmla="*/ 1400429 w 4664922"/>
              <a:gd name="connsiteY3619" fmla="*/ 498373 h 1786050"/>
              <a:gd name="connsiteX3620" fmla="*/ 1408296 w 4664922"/>
              <a:gd name="connsiteY3620" fmla="*/ 476450 h 1786050"/>
              <a:gd name="connsiteX3621" fmla="*/ 1392273 w 4664922"/>
              <a:gd name="connsiteY3621" fmla="*/ 489118 h 1786050"/>
              <a:gd name="connsiteX3622" fmla="*/ 1396380 w 4664922"/>
              <a:gd name="connsiteY3622" fmla="*/ 496002 h 1786050"/>
              <a:gd name="connsiteX3623" fmla="*/ 1400603 w 4664922"/>
              <a:gd name="connsiteY3623" fmla="*/ 496002 h 1786050"/>
              <a:gd name="connsiteX3624" fmla="*/ 1437218 w 4664922"/>
              <a:gd name="connsiteY3624" fmla="*/ 486573 h 1786050"/>
              <a:gd name="connsiteX3625" fmla="*/ 1437218 w 4664922"/>
              <a:gd name="connsiteY3625" fmla="*/ 484317 h 1786050"/>
              <a:gd name="connsiteX3626" fmla="*/ 1408411 w 4664922"/>
              <a:gd name="connsiteY3626" fmla="*/ 476277 h 1786050"/>
              <a:gd name="connsiteX3627" fmla="*/ 3359442 w 4664922"/>
              <a:gd name="connsiteY3627" fmla="*/ 492704 h 1786050"/>
              <a:gd name="connsiteX3628" fmla="*/ 3290028 w 4664922"/>
              <a:gd name="connsiteY3628" fmla="*/ 478359 h 1786050"/>
              <a:gd name="connsiteX3629" fmla="*/ 3290028 w 4664922"/>
              <a:gd name="connsiteY3629" fmla="*/ 474194 h 1786050"/>
              <a:gd name="connsiteX3630" fmla="*/ 3329362 w 4664922"/>
              <a:gd name="connsiteY3630" fmla="*/ 455106 h 1786050"/>
              <a:gd name="connsiteX3631" fmla="*/ 3336130 w 4664922"/>
              <a:gd name="connsiteY3631" fmla="*/ 455626 h 1786050"/>
              <a:gd name="connsiteX3632" fmla="*/ 3376621 w 4664922"/>
              <a:gd name="connsiteY3632" fmla="*/ 485937 h 1786050"/>
              <a:gd name="connsiteX3633" fmla="*/ 3371415 w 4664922"/>
              <a:gd name="connsiteY3633" fmla="*/ 491721 h 1786050"/>
              <a:gd name="connsiteX3634" fmla="*/ 3359268 w 4664922"/>
              <a:gd name="connsiteY3634" fmla="*/ 492531 h 1786050"/>
              <a:gd name="connsiteX3635" fmla="*/ 3329709 w 4664922"/>
              <a:gd name="connsiteY3635" fmla="*/ 457361 h 1786050"/>
              <a:gd name="connsiteX3636" fmla="*/ 3292399 w 4664922"/>
              <a:gd name="connsiteY3636" fmla="*/ 475235 h 1786050"/>
              <a:gd name="connsiteX3637" fmla="*/ 3291937 w 4664922"/>
              <a:gd name="connsiteY3637" fmla="*/ 477086 h 1786050"/>
              <a:gd name="connsiteX3638" fmla="*/ 3359442 w 4664922"/>
              <a:gd name="connsiteY3638" fmla="*/ 490448 h 1786050"/>
              <a:gd name="connsiteX3639" fmla="*/ 3371589 w 4664922"/>
              <a:gd name="connsiteY3639" fmla="*/ 489581 h 1786050"/>
              <a:gd name="connsiteX3640" fmla="*/ 3375001 w 4664922"/>
              <a:gd name="connsiteY3640" fmla="*/ 485994 h 1786050"/>
              <a:gd name="connsiteX3641" fmla="*/ 3336072 w 4664922"/>
              <a:gd name="connsiteY3641" fmla="*/ 457824 h 1786050"/>
              <a:gd name="connsiteX3642" fmla="*/ 3329536 w 4664922"/>
              <a:gd name="connsiteY3642" fmla="*/ 457188 h 1786050"/>
              <a:gd name="connsiteX3643" fmla="*/ 3290722 w 4664922"/>
              <a:gd name="connsiteY3643" fmla="*/ 450420 h 1786050"/>
              <a:gd name="connsiteX3644" fmla="*/ 3281004 w 4664922"/>
              <a:gd name="connsiteY3644" fmla="*/ 448916 h 1786050"/>
              <a:gd name="connsiteX3645" fmla="*/ 3275914 w 4664922"/>
              <a:gd name="connsiteY3645" fmla="*/ 443421 h 1786050"/>
              <a:gd name="connsiteX3646" fmla="*/ 3300324 w 4664922"/>
              <a:gd name="connsiteY3646" fmla="*/ 431852 h 1786050"/>
              <a:gd name="connsiteX3647" fmla="*/ 3308307 w 4664922"/>
              <a:gd name="connsiteY3647" fmla="*/ 437290 h 1786050"/>
              <a:gd name="connsiteX3648" fmla="*/ 3302522 w 4664922"/>
              <a:gd name="connsiteY3648" fmla="*/ 447470 h 1786050"/>
              <a:gd name="connsiteX3649" fmla="*/ 3290549 w 4664922"/>
              <a:gd name="connsiteY3649" fmla="*/ 450247 h 1786050"/>
              <a:gd name="connsiteX3650" fmla="*/ 3300324 w 4664922"/>
              <a:gd name="connsiteY3650" fmla="*/ 434166 h 1786050"/>
              <a:gd name="connsiteX3651" fmla="*/ 3278112 w 4664922"/>
              <a:gd name="connsiteY3651" fmla="*/ 443768 h 1786050"/>
              <a:gd name="connsiteX3652" fmla="*/ 3281756 w 4664922"/>
              <a:gd name="connsiteY3652" fmla="*/ 446776 h 1786050"/>
              <a:gd name="connsiteX3653" fmla="*/ 3290722 w 4664922"/>
              <a:gd name="connsiteY3653" fmla="*/ 448164 h 1786050"/>
              <a:gd name="connsiteX3654" fmla="*/ 3301481 w 4664922"/>
              <a:gd name="connsiteY3654" fmla="*/ 445619 h 1786050"/>
              <a:gd name="connsiteX3655" fmla="*/ 3306109 w 4664922"/>
              <a:gd name="connsiteY3655" fmla="*/ 437347 h 1786050"/>
              <a:gd name="connsiteX3656" fmla="*/ 3299920 w 4664922"/>
              <a:gd name="connsiteY3656" fmla="*/ 433992 h 1786050"/>
              <a:gd name="connsiteX3657" fmla="*/ 2511849 w 4664922"/>
              <a:gd name="connsiteY3657" fmla="*/ 442322 h 1786050"/>
              <a:gd name="connsiteX3658" fmla="*/ 2492992 w 4664922"/>
              <a:gd name="connsiteY3658" fmla="*/ 436538 h 1786050"/>
              <a:gd name="connsiteX3659" fmla="*/ 2492066 w 4664922"/>
              <a:gd name="connsiteY3659" fmla="*/ 433125 h 1786050"/>
              <a:gd name="connsiteX3660" fmla="*/ 2499875 w 4664922"/>
              <a:gd name="connsiteY3660" fmla="*/ 427977 h 1786050"/>
              <a:gd name="connsiteX3661" fmla="*/ 2509015 w 4664922"/>
              <a:gd name="connsiteY3661" fmla="*/ 422192 h 1786050"/>
              <a:gd name="connsiteX3662" fmla="*/ 2526021 w 4664922"/>
              <a:gd name="connsiteY3662" fmla="*/ 416697 h 1786050"/>
              <a:gd name="connsiteX3663" fmla="*/ 2542102 w 4664922"/>
              <a:gd name="connsiteY3663" fmla="*/ 421556 h 1786050"/>
              <a:gd name="connsiteX3664" fmla="*/ 2544242 w 4664922"/>
              <a:gd name="connsiteY3664" fmla="*/ 427630 h 1786050"/>
              <a:gd name="connsiteX3665" fmla="*/ 2511675 w 4664922"/>
              <a:gd name="connsiteY3665" fmla="*/ 442149 h 1786050"/>
              <a:gd name="connsiteX3666" fmla="*/ 2526021 w 4664922"/>
              <a:gd name="connsiteY3666" fmla="*/ 419184 h 1786050"/>
              <a:gd name="connsiteX3667" fmla="*/ 2511039 w 4664922"/>
              <a:gd name="connsiteY3667" fmla="*/ 423407 h 1786050"/>
              <a:gd name="connsiteX3668" fmla="*/ 2500685 w 4664922"/>
              <a:gd name="connsiteY3668" fmla="*/ 430117 h 1786050"/>
              <a:gd name="connsiteX3669" fmla="*/ 2494264 w 4664922"/>
              <a:gd name="connsiteY3669" fmla="*/ 433761 h 1786050"/>
              <a:gd name="connsiteX3670" fmla="*/ 2494785 w 4664922"/>
              <a:gd name="connsiteY3670" fmla="*/ 435149 h 1786050"/>
              <a:gd name="connsiteX3671" fmla="*/ 2512139 w 4664922"/>
              <a:gd name="connsiteY3671" fmla="*/ 440182 h 1786050"/>
              <a:gd name="connsiteX3672" fmla="*/ 2542275 w 4664922"/>
              <a:gd name="connsiteY3672" fmla="*/ 427687 h 1786050"/>
              <a:gd name="connsiteX3673" fmla="*/ 2540713 w 4664922"/>
              <a:gd name="connsiteY3673" fmla="*/ 423349 h 1786050"/>
              <a:gd name="connsiteX3674" fmla="*/ 2525848 w 4664922"/>
              <a:gd name="connsiteY3674" fmla="*/ 418895 h 1786050"/>
              <a:gd name="connsiteX3675" fmla="*/ 3528173 w 4664922"/>
              <a:gd name="connsiteY3675" fmla="*/ 410797 h 1786050"/>
              <a:gd name="connsiteX3676" fmla="*/ 3513885 w 4664922"/>
              <a:gd name="connsiteY3676" fmla="*/ 410334 h 1786050"/>
              <a:gd name="connsiteX3677" fmla="*/ 3468940 w 4664922"/>
              <a:gd name="connsiteY3677" fmla="*/ 395989 h 1786050"/>
              <a:gd name="connsiteX3678" fmla="*/ 3447654 w 4664922"/>
              <a:gd name="connsiteY3678" fmla="*/ 387717 h 1786050"/>
              <a:gd name="connsiteX3679" fmla="*/ 3444183 w 4664922"/>
              <a:gd name="connsiteY3679" fmla="*/ 383934 h 1786050"/>
              <a:gd name="connsiteX3680" fmla="*/ 3444183 w 4664922"/>
              <a:gd name="connsiteY3680" fmla="*/ 383610 h 1786050"/>
              <a:gd name="connsiteX3681" fmla="*/ 3462173 w 4664922"/>
              <a:gd name="connsiteY3681" fmla="*/ 364290 h 1786050"/>
              <a:gd name="connsiteX3682" fmla="*/ 3467321 w 4664922"/>
              <a:gd name="connsiteY3682" fmla="*/ 367414 h 1786050"/>
              <a:gd name="connsiteX3683" fmla="*/ 3489012 w 4664922"/>
              <a:gd name="connsiteY3683" fmla="*/ 377189 h 1786050"/>
              <a:gd name="connsiteX3684" fmla="*/ 3503127 w 4664922"/>
              <a:gd name="connsiteY3684" fmla="*/ 375049 h 1786050"/>
              <a:gd name="connsiteX3685" fmla="*/ 3507523 w 4664922"/>
              <a:gd name="connsiteY3685" fmla="*/ 374355 h 1786050"/>
              <a:gd name="connsiteX3686" fmla="*/ 3520422 w 4664922"/>
              <a:gd name="connsiteY3686" fmla="*/ 379098 h 1786050"/>
              <a:gd name="connsiteX3687" fmla="*/ 3530024 w 4664922"/>
              <a:gd name="connsiteY3687" fmla="*/ 382916 h 1786050"/>
              <a:gd name="connsiteX3688" fmla="*/ 3534363 w 4664922"/>
              <a:gd name="connsiteY3688" fmla="*/ 381586 h 1786050"/>
              <a:gd name="connsiteX3689" fmla="*/ 3543618 w 4664922"/>
              <a:gd name="connsiteY3689" fmla="*/ 379619 h 1786050"/>
              <a:gd name="connsiteX3690" fmla="*/ 3578729 w 4664922"/>
              <a:gd name="connsiteY3690" fmla="*/ 391997 h 1786050"/>
              <a:gd name="connsiteX3691" fmla="*/ 3580522 w 4664922"/>
              <a:gd name="connsiteY3691" fmla="*/ 396394 h 1786050"/>
              <a:gd name="connsiteX3692" fmla="*/ 3528000 w 4664922"/>
              <a:gd name="connsiteY3692" fmla="*/ 410508 h 1786050"/>
              <a:gd name="connsiteX3693" fmla="*/ 3461884 w 4664922"/>
              <a:gd name="connsiteY3693" fmla="*/ 366257 h 1786050"/>
              <a:gd name="connsiteX3694" fmla="*/ 3446150 w 4664922"/>
              <a:gd name="connsiteY3694" fmla="*/ 383610 h 1786050"/>
              <a:gd name="connsiteX3695" fmla="*/ 3447538 w 4664922"/>
              <a:gd name="connsiteY3695" fmla="*/ 385345 h 1786050"/>
              <a:gd name="connsiteX3696" fmla="*/ 3469750 w 4664922"/>
              <a:gd name="connsiteY3696" fmla="*/ 393906 h 1786050"/>
              <a:gd name="connsiteX3697" fmla="*/ 3513770 w 4664922"/>
              <a:gd name="connsiteY3697" fmla="*/ 407963 h 1786050"/>
              <a:gd name="connsiteX3698" fmla="*/ 3527884 w 4664922"/>
              <a:gd name="connsiteY3698" fmla="*/ 408425 h 1786050"/>
              <a:gd name="connsiteX3699" fmla="*/ 3577977 w 4664922"/>
              <a:gd name="connsiteY3699" fmla="*/ 396047 h 1786050"/>
              <a:gd name="connsiteX3700" fmla="*/ 3576762 w 4664922"/>
              <a:gd name="connsiteY3700" fmla="*/ 393386 h 1786050"/>
              <a:gd name="connsiteX3701" fmla="*/ 3543328 w 4664922"/>
              <a:gd name="connsiteY3701" fmla="*/ 381817 h 1786050"/>
              <a:gd name="connsiteX3702" fmla="*/ 3535288 w 4664922"/>
              <a:gd name="connsiteY3702" fmla="*/ 383436 h 1786050"/>
              <a:gd name="connsiteX3703" fmla="*/ 3529503 w 4664922"/>
              <a:gd name="connsiteY3703" fmla="*/ 385114 h 1786050"/>
              <a:gd name="connsiteX3704" fmla="*/ 3518744 w 4664922"/>
              <a:gd name="connsiteY3704" fmla="*/ 380949 h 1786050"/>
              <a:gd name="connsiteX3705" fmla="*/ 3507175 w 4664922"/>
              <a:gd name="connsiteY3705" fmla="*/ 376553 h 1786050"/>
              <a:gd name="connsiteX3706" fmla="*/ 3503473 w 4664922"/>
              <a:gd name="connsiteY3706" fmla="*/ 377131 h 1786050"/>
              <a:gd name="connsiteX3707" fmla="*/ 3488665 w 4664922"/>
              <a:gd name="connsiteY3707" fmla="*/ 379387 h 1786050"/>
              <a:gd name="connsiteX3708" fmla="*/ 3465007 w 4664922"/>
              <a:gd name="connsiteY3708" fmla="*/ 368513 h 1786050"/>
              <a:gd name="connsiteX3709" fmla="*/ 3461884 w 4664922"/>
              <a:gd name="connsiteY3709" fmla="*/ 366257 h 1786050"/>
              <a:gd name="connsiteX3710" fmla="*/ 3231837 w 4664922"/>
              <a:gd name="connsiteY3710" fmla="*/ 408194 h 1786050"/>
              <a:gd name="connsiteX3711" fmla="*/ 3223738 w 4664922"/>
              <a:gd name="connsiteY3711" fmla="*/ 405707 h 1786050"/>
              <a:gd name="connsiteX3712" fmla="*/ 3220384 w 4664922"/>
              <a:gd name="connsiteY3712" fmla="*/ 402178 h 1786050"/>
              <a:gd name="connsiteX3713" fmla="*/ 3202220 w 4664922"/>
              <a:gd name="connsiteY3713" fmla="*/ 388122 h 1786050"/>
              <a:gd name="connsiteX3714" fmla="*/ 3195048 w 4664922"/>
              <a:gd name="connsiteY3714" fmla="*/ 370479 h 1786050"/>
              <a:gd name="connsiteX3715" fmla="*/ 3245951 w 4664922"/>
              <a:gd name="connsiteY3715" fmla="*/ 321774 h 1786050"/>
              <a:gd name="connsiteX3716" fmla="*/ 3249074 w 4664922"/>
              <a:gd name="connsiteY3716" fmla="*/ 322237 h 1786050"/>
              <a:gd name="connsiteX3717" fmla="*/ 3274815 w 4664922"/>
              <a:gd name="connsiteY3717" fmla="*/ 338318 h 1786050"/>
              <a:gd name="connsiteX3718" fmla="*/ 3297548 w 4664922"/>
              <a:gd name="connsiteY3718" fmla="*/ 351969 h 1786050"/>
              <a:gd name="connsiteX3719" fmla="*/ 3300151 w 4664922"/>
              <a:gd name="connsiteY3719" fmla="*/ 348267 h 1786050"/>
              <a:gd name="connsiteX3720" fmla="*/ 3318951 w 4664922"/>
              <a:gd name="connsiteY3720" fmla="*/ 332476 h 1786050"/>
              <a:gd name="connsiteX3721" fmla="*/ 3340468 w 4664922"/>
              <a:gd name="connsiteY3721" fmla="*/ 337624 h 1786050"/>
              <a:gd name="connsiteX3722" fmla="*/ 3365052 w 4664922"/>
              <a:gd name="connsiteY3722" fmla="*/ 341499 h 1786050"/>
              <a:gd name="connsiteX3723" fmla="*/ 3399759 w 4664922"/>
              <a:gd name="connsiteY3723" fmla="*/ 348961 h 1786050"/>
              <a:gd name="connsiteX3724" fmla="*/ 3415955 w 4664922"/>
              <a:gd name="connsiteY3724" fmla="*/ 365736 h 1786050"/>
              <a:gd name="connsiteX3725" fmla="*/ 3406874 w 4664922"/>
              <a:gd name="connsiteY3725" fmla="*/ 374413 h 1786050"/>
              <a:gd name="connsiteX3726" fmla="*/ 3402651 w 4664922"/>
              <a:gd name="connsiteY3726" fmla="*/ 384015 h 1786050"/>
              <a:gd name="connsiteX3727" fmla="*/ 3387091 w 4664922"/>
              <a:gd name="connsiteY3727" fmla="*/ 397955 h 1786050"/>
              <a:gd name="connsiteX3728" fmla="*/ 3350302 w 4664922"/>
              <a:gd name="connsiteY3728" fmla="*/ 381181 h 1786050"/>
              <a:gd name="connsiteX3729" fmla="*/ 3350649 w 4664922"/>
              <a:gd name="connsiteY3729" fmla="*/ 371058 h 1786050"/>
              <a:gd name="connsiteX3730" fmla="*/ 3351343 w 4664922"/>
              <a:gd name="connsiteY3730" fmla="*/ 367240 h 1786050"/>
              <a:gd name="connsiteX3731" fmla="*/ 3343187 w 4664922"/>
              <a:gd name="connsiteY3731" fmla="*/ 363191 h 1786050"/>
              <a:gd name="connsiteX3732" fmla="*/ 3338097 w 4664922"/>
              <a:gd name="connsiteY3732" fmla="*/ 367009 h 1786050"/>
              <a:gd name="connsiteX3733" fmla="*/ 3342782 w 4664922"/>
              <a:gd name="connsiteY3733" fmla="*/ 380024 h 1786050"/>
              <a:gd name="connsiteX3734" fmla="*/ 3346889 w 4664922"/>
              <a:gd name="connsiteY3734" fmla="*/ 396567 h 1786050"/>
              <a:gd name="connsiteX3735" fmla="*/ 3339427 w 4664922"/>
              <a:gd name="connsiteY3735" fmla="*/ 399517 h 1786050"/>
              <a:gd name="connsiteX3736" fmla="*/ 3326065 w 4664922"/>
              <a:gd name="connsiteY3736" fmla="*/ 398881 h 1786050"/>
              <a:gd name="connsiteX3737" fmla="*/ 3314496 w 4664922"/>
              <a:gd name="connsiteY3737" fmla="*/ 398303 h 1786050"/>
              <a:gd name="connsiteX3738" fmla="*/ 3291705 w 4664922"/>
              <a:gd name="connsiteY3738" fmla="*/ 404087 h 1786050"/>
              <a:gd name="connsiteX3739" fmla="*/ 3282856 w 4664922"/>
              <a:gd name="connsiteY3739" fmla="*/ 407211 h 1786050"/>
              <a:gd name="connsiteX3740" fmla="*/ 3273658 w 4664922"/>
              <a:gd name="connsiteY3740" fmla="*/ 402525 h 1786050"/>
              <a:gd name="connsiteX3741" fmla="*/ 3265618 w 4664922"/>
              <a:gd name="connsiteY3741" fmla="*/ 399344 h 1786050"/>
              <a:gd name="connsiteX3742" fmla="*/ 3261627 w 4664922"/>
              <a:gd name="connsiteY3742" fmla="*/ 400732 h 1786050"/>
              <a:gd name="connsiteX3743" fmla="*/ 3231952 w 4664922"/>
              <a:gd name="connsiteY3743" fmla="*/ 408194 h 1786050"/>
              <a:gd name="connsiteX3744" fmla="*/ 3245951 w 4664922"/>
              <a:gd name="connsiteY3744" fmla="*/ 324030 h 1786050"/>
              <a:gd name="connsiteX3745" fmla="*/ 3197246 w 4664922"/>
              <a:gd name="connsiteY3745" fmla="*/ 371000 h 1786050"/>
              <a:gd name="connsiteX3746" fmla="*/ 3203030 w 4664922"/>
              <a:gd name="connsiteY3746" fmla="*/ 386097 h 1786050"/>
              <a:gd name="connsiteX3747" fmla="*/ 3221772 w 4664922"/>
              <a:gd name="connsiteY3747" fmla="*/ 400674 h 1786050"/>
              <a:gd name="connsiteX3748" fmla="*/ 3225069 w 4664922"/>
              <a:gd name="connsiteY3748" fmla="*/ 404087 h 1786050"/>
              <a:gd name="connsiteX3749" fmla="*/ 3231605 w 4664922"/>
              <a:gd name="connsiteY3749" fmla="*/ 405938 h 1786050"/>
              <a:gd name="connsiteX3750" fmla="*/ 3260527 w 4664922"/>
              <a:gd name="connsiteY3750" fmla="*/ 398707 h 1786050"/>
              <a:gd name="connsiteX3751" fmla="*/ 3264577 w 4664922"/>
              <a:gd name="connsiteY3751" fmla="*/ 397319 h 1786050"/>
              <a:gd name="connsiteX3752" fmla="*/ 3267179 w 4664922"/>
              <a:gd name="connsiteY3752" fmla="*/ 396856 h 1786050"/>
              <a:gd name="connsiteX3753" fmla="*/ 3274873 w 4664922"/>
              <a:gd name="connsiteY3753" fmla="*/ 400963 h 1786050"/>
              <a:gd name="connsiteX3754" fmla="*/ 3282508 w 4664922"/>
              <a:gd name="connsiteY3754" fmla="*/ 405070 h 1786050"/>
              <a:gd name="connsiteX3755" fmla="*/ 3290144 w 4664922"/>
              <a:gd name="connsiteY3755" fmla="*/ 402294 h 1786050"/>
              <a:gd name="connsiteX3756" fmla="*/ 3314149 w 4664922"/>
              <a:gd name="connsiteY3756" fmla="*/ 396047 h 1786050"/>
              <a:gd name="connsiteX3757" fmla="*/ 3326065 w 4664922"/>
              <a:gd name="connsiteY3757" fmla="*/ 396625 h 1786050"/>
              <a:gd name="connsiteX3758" fmla="*/ 3339254 w 4664922"/>
              <a:gd name="connsiteY3758" fmla="*/ 397261 h 1786050"/>
              <a:gd name="connsiteX3759" fmla="*/ 3345038 w 4664922"/>
              <a:gd name="connsiteY3759" fmla="*/ 395410 h 1786050"/>
              <a:gd name="connsiteX3760" fmla="*/ 3340873 w 4664922"/>
              <a:gd name="connsiteY3760" fmla="*/ 381065 h 1786050"/>
              <a:gd name="connsiteX3761" fmla="*/ 3335956 w 4664922"/>
              <a:gd name="connsiteY3761" fmla="*/ 366777 h 1786050"/>
              <a:gd name="connsiteX3762" fmla="*/ 3343071 w 4664922"/>
              <a:gd name="connsiteY3762" fmla="*/ 360970 h 1786050"/>
              <a:gd name="connsiteX3763" fmla="*/ 3343245 w 4664922"/>
              <a:gd name="connsiteY3763" fmla="*/ 360993 h 1786050"/>
              <a:gd name="connsiteX3764" fmla="*/ 3353425 w 4664922"/>
              <a:gd name="connsiteY3764" fmla="*/ 366315 h 1786050"/>
              <a:gd name="connsiteX3765" fmla="*/ 3352442 w 4664922"/>
              <a:gd name="connsiteY3765" fmla="*/ 372504 h 1786050"/>
              <a:gd name="connsiteX3766" fmla="*/ 3352442 w 4664922"/>
              <a:gd name="connsiteY3766" fmla="*/ 380255 h 1786050"/>
              <a:gd name="connsiteX3767" fmla="*/ 3387148 w 4664922"/>
              <a:gd name="connsiteY3767" fmla="*/ 395757 h 1786050"/>
              <a:gd name="connsiteX3768" fmla="*/ 3400569 w 4664922"/>
              <a:gd name="connsiteY3768" fmla="*/ 384188 h 1786050"/>
              <a:gd name="connsiteX3769" fmla="*/ 3406353 w 4664922"/>
              <a:gd name="connsiteY3769" fmla="*/ 372620 h 1786050"/>
              <a:gd name="connsiteX3770" fmla="*/ 3414046 w 4664922"/>
              <a:gd name="connsiteY3770" fmla="*/ 365852 h 1786050"/>
              <a:gd name="connsiteX3771" fmla="*/ 3398949 w 4664922"/>
              <a:gd name="connsiteY3771" fmla="*/ 351217 h 1786050"/>
              <a:gd name="connsiteX3772" fmla="*/ 3365457 w 4664922"/>
              <a:gd name="connsiteY3772" fmla="*/ 344045 h 1786050"/>
              <a:gd name="connsiteX3773" fmla="*/ 3340063 w 4664922"/>
              <a:gd name="connsiteY3773" fmla="*/ 339938 h 1786050"/>
              <a:gd name="connsiteX3774" fmla="*/ 3319471 w 4664922"/>
              <a:gd name="connsiteY3774" fmla="*/ 334963 h 1786050"/>
              <a:gd name="connsiteX3775" fmla="*/ 3302870 w 4664922"/>
              <a:gd name="connsiteY3775" fmla="*/ 348672 h 1786050"/>
              <a:gd name="connsiteX3776" fmla="*/ 3298069 w 4664922"/>
              <a:gd name="connsiteY3776" fmla="*/ 354457 h 1786050"/>
              <a:gd name="connsiteX3777" fmla="*/ 3273947 w 4664922"/>
              <a:gd name="connsiteY3777" fmla="*/ 340400 h 1786050"/>
              <a:gd name="connsiteX3778" fmla="*/ 3248901 w 4664922"/>
              <a:gd name="connsiteY3778" fmla="*/ 324609 h 1786050"/>
              <a:gd name="connsiteX3779" fmla="*/ 3246066 w 4664922"/>
              <a:gd name="connsiteY3779" fmla="*/ 324030 h 1786050"/>
              <a:gd name="connsiteX3780" fmla="*/ 2169295 w 4664922"/>
              <a:gd name="connsiteY3780" fmla="*/ 223497 h 1786050"/>
              <a:gd name="connsiteX3781" fmla="*/ 2169295 w 4664922"/>
              <a:gd name="connsiteY3781" fmla="*/ 223497 h 1786050"/>
              <a:gd name="connsiteX3782" fmla="*/ 2160271 w 4664922"/>
              <a:gd name="connsiteY3782" fmla="*/ 221704 h 1786050"/>
              <a:gd name="connsiteX3783" fmla="*/ 2156975 w 4664922"/>
              <a:gd name="connsiteY3783" fmla="*/ 217597 h 1786050"/>
              <a:gd name="connsiteX3784" fmla="*/ 2164841 w 4664922"/>
              <a:gd name="connsiteY3784" fmla="*/ 205681 h 1786050"/>
              <a:gd name="connsiteX3785" fmla="*/ 2179071 w 4664922"/>
              <a:gd name="connsiteY3785" fmla="*/ 181907 h 1786050"/>
              <a:gd name="connsiteX3786" fmla="*/ 2192375 w 4664922"/>
              <a:gd name="connsiteY3786" fmla="*/ 168892 h 1786050"/>
              <a:gd name="connsiteX3787" fmla="*/ 2195325 w 4664922"/>
              <a:gd name="connsiteY3787" fmla="*/ 168892 h 1786050"/>
              <a:gd name="connsiteX3788" fmla="*/ 2198970 w 4664922"/>
              <a:gd name="connsiteY3788" fmla="*/ 168198 h 1786050"/>
              <a:gd name="connsiteX3789" fmla="*/ 2198970 w 4664922"/>
              <a:gd name="connsiteY3789" fmla="*/ 166694 h 1786050"/>
              <a:gd name="connsiteX3790" fmla="*/ 2203944 w 4664922"/>
              <a:gd name="connsiteY3790" fmla="*/ 154720 h 1786050"/>
              <a:gd name="connsiteX3791" fmla="*/ 2208687 w 4664922"/>
              <a:gd name="connsiteY3791" fmla="*/ 144771 h 1786050"/>
              <a:gd name="connsiteX3792" fmla="*/ 2223495 w 4664922"/>
              <a:gd name="connsiteY3792" fmla="*/ 138987 h 1786050"/>
              <a:gd name="connsiteX3793" fmla="*/ 2237725 w 4664922"/>
              <a:gd name="connsiteY3793" fmla="*/ 134417 h 1786050"/>
              <a:gd name="connsiteX3794" fmla="*/ 2243857 w 4664922"/>
              <a:gd name="connsiteY3794" fmla="*/ 129905 h 1786050"/>
              <a:gd name="connsiteX3795" fmla="*/ 2259648 w 4664922"/>
              <a:gd name="connsiteY3795" fmla="*/ 139796 h 1786050"/>
              <a:gd name="connsiteX3796" fmla="*/ 2255830 w 4664922"/>
              <a:gd name="connsiteY3796" fmla="*/ 153101 h 1786050"/>
              <a:gd name="connsiteX3797" fmla="*/ 2246806 w 4664922"/>
              <a:gd name="connsiteY3797" fmla="*/ 169355 h 1786050"/>
              <a:gd name="connsiteX3798" fmla="*/ 2247269 w 4664922"/>
              <a:gd name="connsiteY3798" fmla="*/ 169760 h 1786050"/>
              <a:gd name="connsiteX3799" fmla="*/ 2250798 w 4664922"/>
              <a:gd name="connsiteY3799" fmla="*/ 166289 h 1786050"/>
              <a:gd name="connsiteX3800" fmla="*/ 2278332 w 4664922"/>
              <a:gd name="connsiteY3800" fmla="*/ 152522 h 1786050"/>
              <a:gd name="connsiteX3801" fmla="*/ 2292214 w 4664922"/>
              <a:gd name="connsiteY3801" fmla="*/ 158307 h 1786050"/>
              <a:gd name="connsiteX3802" fmla="*/ 2310840 w 4664922"/>
              <a:gd name="connsiteY3802" fmla="*/ 167851 h 1786050"/>
              <a:gd name="connsiteX3803" fmla="*/ 2328193 w 4664922"/>
              <a:gd name="connsiteY3803" fmla="*/ 182717 h 1786050"/>
              <a:gd name="connsiteX3804" fmla="*/ 2234139 w 4664922"/>
              <a:gd name="connsiteY3804" fmla="*/ 215110 h 1786050"/>
              <a:gd name="connsiteX3805" fmla="*/ 2230552 w 4664922"/>
              <a:gd name="connsiteY3805" fmla="*/ 215110 h 1786050"/>
              <a:gd name="connsiteX3806" fmla="*/ 2196308 w 4664922"/>
              <a:gd name="connsiteY3806" fmla="*/ 219969 h 1786050"/>
              <a:gd name="connsiteX3807" fmla="*/ 2169411 w 4664922"/>
              <a:gd name="connsiteY3807" fmla="*/ 223497 h 1786050"/>
              <a:gd name="connsiteX3808" fmla="*/ 2192433 w 4664922"/>
              <a:gd name="connsiteY3808" fmla="*/ 171437 h 1786050"/>
              <a:gd name="connsiteX3809" fmla="*/ 2181385 w 4664922"/>
              <a:gd name="connsiteY3809" fmla="*/ 182312 h 1786050"/>
              <a:gd name="connsiteX3810" fmla="*/ 2166461 w 4664922"/>
              <a:gd name="connsiteY3810" fmla="*/ 207590 h 1786050"/>
              <a:gd name="connsiteX3811" fmla="*/ 2159288 w 4664922"/>
              <a:gd name="connsiteY3811" fmla="*/ 217597 h 1786050"/>
              <a:gd name="connsiteX3812" fmla="*/ 2161429 w 4664922"/>
              <a:gd name="connsiteY3812" fmla="*/ 220026 h 1786050"/>
              <a:gd name="connsiteX3813" fmla="*/ 2169353 w 4664922"/>
              <a:gd name="connsiteY3813" fmla="*/ 221530 h 1786050"/>
              <a:gd name="connsiteX3814" fmla="*/ 2169353 w 4664922"/>
              <a:gd name="connsiteY3814" fmla="*/ 221530 h 1786050"/>
              <a:gd name="connsiteX3815" fmla="*/ 2196019 w 4664922"/>
              <a:gd name="connsiteY3815" fmla="*/ 217539 h 1786050"/>
              <a:gd name="connsiteX3816" fmla="*/ 2232808 w 4664922"/>
              <a:gd name="connsiteY3816" fmla="*/ 212622 h 1786050"/>
              <a:gd name="connsiteX3817" fmla="*/ 2234312 w 4664922"/>
              <a:gd name="connsiteY3817" fmla="*/ 212622 h 1786050"/>
              <a:gd name="connsiteX3818" fmla="*/ 2326111 w 4664922"/>
              <a:gd name="connsiteY3818" fmla="*/ 182023 h 1786050"/>
              <a:gd name="connsiteX3819" fmla="*/ 2310435 w 4664922"/>
              <a:gd name="connsiteY3819" fmla="*/ 169760 h 1786050"/>
              <a:gd name="connsiteX3820" fmla="*/ 2290884 w 4664922"/>
              <a:gd name="connsiteY3820" fmla="*/ 159579 h 1786050"/>
              <a:gd name="connsiteX3821" fmla="*/ 2278678 w 4664922"/>
              <a:gd name="connsiteY3821" fmla="*/ 154836 h 1786050"/>
              <a:gd name="connsiteX3822" fmla="*/ 2253112 w 4664922"/>
              <a:gd name="connsiteY3822" fmla="*/ 167446 h 1786050"/>
              <a:gd name="connsiteX3823" fmla="*/ 2247327 w 4664922"/>
              <a:gd name="connsiteY3823" fmla="*/ 172073 h 1786050"/>
              <a:gd name="connsiteX3824" fmla="*/ 2244782 w 4664922"/>
              <a:gd name="connsiteY3824" fmla="*/ 170280 h 1786050"/>
              <a:gd name="connsiteX3825" fmla="*/ 2254268 w 4664922"/>
              <a:gd name="connsiteY3825" fmla="*/ 151539 h 1786050"/>
              <a:gd name="connsiteX3826" fmla="*/ 2257624 w 4664922"/>
              <a:gd name="connsiteY3826" fmla="*/ 140722 h 1786050"/>
              <a:gd name="connsiteX3827" fmla="*/ 2243914 w 4664922"/>
              <a:gd name="connsiteY3827" fmla="*/ 132219 h 1786050"/>
              <a:gd name="connsiteX3828" fmla="*/ 2240039 w 4664922"/>
              <a:gd name="connsiteY3828" fmla="*/ 134648 h 1786050"/>
              <a:gd name="connsiteX3829" fmla="*/ 2223668 w 4664922"/>
              <a:gd name="connsiteY3829" fmla="*/ 141300 h 1786050"/>
              <a:gd name="connsiteX3830" fmla="*/ 2210943 w 4664922"/>
              <a:gd name="connsiteY3830" fmla="*/ 145060 h 1786050"/>
              <a:gd name="connsiteX3831" fmla="*/ 2205795 w 4664922"/>
              <a:gd name="connsiteY3831" fmla="*/ 156629 h 1786050"/>
              <a:gd name="connsiteX3832" fmla="*/ 2201283 w 4664922"/>
              <a:gd name="connsiteY3832" fmla="*/ 167041 h 1786050"/>
              <a:gd name="connsiteX3833" fmla="*/ 2200416 w 4664922"/>
              <a:gd name="connsiteY3833" fmla="*/ 170280 h 1786050"/>
              <a:gd name="connsiteX3834" fmla="*/ 2195094 w 4664922"/>
              <a:gd name="connsiteY3834" fmla="*/ 171726 h 1786050"/>
              <a:gd name="connsiteX3835" fmla="*/ 2141472 w 4664922"/>
              <a:gd name="connsiteY3835" fmla="*/ 172825 h 1786050"/>
              <a:gd name="connsiteX3836" fmla="*/ 2099882 w 4664922"/>
              <a:gd name="connsiteY3836" fmla="*/ 163744 h 1786050"/>
              <a:gd name="connsiteX3837" fmla="*/ 2067720 w 4664922"/>
              <a:gd name="connsiteY3837" fmla="*/ 156340 h 1786050"/>
              <a:gd name="connsiteX3838" fmla="*/ 2064192 w 4664922"/>
              <a:gd name="connsiteY3838" fmla="*/ 156687 h 1786050"/>
              <a:gd name="connsiteX3839" fmla="*/ 2060895 w 4664922"/>
              <a:gd name="connsiteY3839" fmla="*/ 157092 h 1786050"/>
              <a:gd name="connsiteX3840" fmla="*/ 2044872 w 4664922"/>
              <a:gd name="connsiteY3840" fmla="*/ 145523 h 1786050"/>
              <a:gd name="connsiteX3841" fmla="*/ 2037063 w 4664922"/>
              <a:gd name="connsiteY3841" fmla="*/ 138119 h 1786050"/>
              <a:gd name="connsiteX3842" fmla="*/ 2030642 w 4664922"/>
              <a:gd name="connsiteY3842" fmla="*/ 137251 h 1786050"/>
              <a:gd name="connsiteX3843" fmla="*/ 2016355 w 4664922"/>
              <a:gd name="connsiteY3843" fmla="*/ 132219 h 1786050"/>
              <a:gd name="connsiteX3844" fmla="*/ 2014620 w 4664922"/>
              <a:gd name="connsiteY3844" fmla="*/ 128632 h 1786050"/>
              <a:gd name="connsiteX3845" fmla="*/ 2024164 w 4664922"/>
              <a:gd name="connsiteY3845" fmla="*/ 118336 h 1786050"/>
              <a:gd name="connsiteX3846" fmla="*/ 2034576 w 4664922"/>
              <a:gd name="connsiteY3846" fmla="*/ 107114 h 1786050"/>
              <a:gd name="connsiteX3847" fmla="*/ 2101501 w 4664922"/>
              <a:gd name="connsiteY3847" fmla="*/ 87274 h 1786050"/>
              <a:gd name="connsiteX3848" fmla="*/ 2112608 w 4664922"/>
              <a:gd name="connsiteY3848" fmla="*/ 90455 h 1786050"/>
              <a:gd name="connsiteX3849" fmla="*/ 2128920 w 4664922"/>
              <a:gd name="connsiteY3849" fmla="*/ 107461 h 1786050"/>
              <a:gd name="connsiteX3850" fmla="*/ 2130655 w 4664922"/>
              <a:gd name="connsiteY3850" fmla="*/ 103065 h 1786050"/>
              <a:gd name="connsiteX3851" fmla="*/ 2142513 w 4664922"/>
              <a:gd name="connsiteY3851" fmla="*/ 95835 h 1786050"/>
              <a:gd name="connsiteX3852" fmla="*/ 2174096 w 4664922"/>
              <a:gd name="connsiteY3852" fmla="*/ 110238 h 1786050"/>
              <a:gd name="connsiteX3853" fmla="*/ 2173055 w 4664922"/>
              <a:gd name="connsiteY3853" fmla="*/ 121518 h 1786050"/>
              <a:gd name="connsiteX3854" fmla="*/ 2158305 w 4664922"/>
              <a:gd name="connsiteY3854" fmla="*/ 149456 h 1786050"/>
              <a:gd name="connsiteX3855" fmla="*/ 2160156 w 4664922"/>
              <a:gd name="connsiteY3855" fmla="*/ 150382 h 1786050"/>
              <a:gd name="connsiteX3856" fmla="*/ 2164841 w 4664922"/>
              <a:gd name="connsiteY3856" fmla="*/ 157103 h 1786050"/>
              <a:gd name="connsiteX3857" fmla="*/ 2164783 w 4664922"/>
              <a:gd name="connsiteY3857" fmla="*/ 157265 h 1786050"/>
              <a:gd name="connsiteX3858" fmla="*/ 2141530 w 4664922"/>
              <a:gd name="connsiteY3858" fmla="*/ 172536 h 1786050"/>
              <a:gd name="connsiteX3859" fmla="*/ 2067836 w 4664922"/>
              <a:gd name="connsiteY3859" fmla="*/ 153795 h 1786050"/>
              <a:gd name="connsiteX3860" fmla="*/ 2100634 w 4664922"/>
              <a:gd name="connsiteY3860" fmla="*/ 161314 h 1786050"/>
              <a:gd name="connsiteX3861" fmla="*/ 2141588 w 4664922"/>
              <a:gd name="connsiteY3861" fmla="*/ 170280 h 1786050"/>
              <a:gd name="connsiteX3862" fmla="*/ 2162643 w 4664922"/>
              <a:gd name="connsiteY3862" fmla="*/ 156860 h 1786050"/>
              <a:gd name="connsiteX3863" fmla="*/ 2160040 w 4664922"/>
              <a:gd name="connsiteY3863" fmla="*/ 152349 h 1786050"/>
              <a:gd name="connsiteX3864" fmla="*/ 2156396 w 4664922"/>
              <a:gd name="connsiteY3864" fmla="*/ 150093 h 1786050"/>
              <a:gd name="connsiteX3865" fmla="*/ 2171320 w 4664922"/>
              <a:gd name="connsiteY3865" fmla="*/ 119898 h 1786050"/>
              <a:gd name="connsiteX3866" fmla="*/ 2172188 w 4664922"/>
              <a:gd name="connsiteY3866" fmla="*/ 110990 h 1786050"/>
              <a:gd name="connsiteX3867" fmla="*/ 2142629 w 4664922"/>
              <a:gd name="connsiteY3867" fmla="*/ 97801 h 1786050"/>
              <a:gd name="connsiteX3868" fmla="*/ 2133027 w 4664922"/>
              <a:gd name="connsiteY3868" fmla="*/ 102776 h 1786050"/>
              <a:gd name="connsiteX3869" fmla="*/ 2129035 w 4664922"/>
              <a:gd name="connsiteY3869" fmla="*/ 109428 h 1786050"/>
              <a:gd name="connsiteX3870" fmla="*/ 2110699 w 4664922"/>
              <a:gd name="connsiteY3870" fmla="*/ 91207 h 1786050"/>
              <a:gd name="connsiteX3871" fmla="*/ 2101617 w 4664922"/>
              <a:gd name="connsiteY3871" fmla="*/ 89240 h 1786050"/>
              <a:gd name="connsiteX3872" fmla="*/ 2036948 w 4664922"/>
              <a:gd name="connsiteY3872" fmla="*/ 106594 h 1786050"/>
              <a:gd name="connsiteX3873" fmla="*/ 2025379 w 4664922"/>
              <a:gd name="connsiteY3873" fmla="*/ 119609 h 1786050"/>
              <a:gd name="connsiteX3874" fmla="*/ 2016760 w 4664922"/>
              <a:gd name="connsiteY3874" fmla="*/ 128227 h 1786050"/>
              <a:gd name="connsiteX3875" fmla="*/ 2017685 w 4664922"/>
              <a:gd name="connsiteY3875" fmla="*/ 129963 h 1786050"/>
              <a:gd name="connsiteX3876" fmla="*/ 2030700 w 4664922"/>
              <a:gd name="connsiteY3876" fmla="*/ 134533 h 1786050"/>
              <a:gd name="connsiteX3877" fmla="*/ 2037410 w 4664922"/>
              <a:gd name="connsiteY3877" fmla="*/ 135342 h 1786050"/>
              <a:gd name="connsiteX3878" fmla="*/ 2046549 w 4664922"/>
              <a:gd name="connsiteY3878" fmla="*/ 143672 h 1786050"/>
              <a:gd name="connsiteX3879" fmla="*/ 2063556 w 4664922"/>
              <a:gd name="connsiteY3879" fmla="*/ 153968 h 1786050"/>
              <a:gd name="connsiteX3880" fmla="*/ 2067836 w 4664922"/>
              <a:gd name="connsiteY3880" fmla="*/ 153795 h 1786050"/>
              <a:gd name="connsiteX3881" fmla="*/ 1997613 w 4664922"/>
              <a:gd name="connsiteY3881" fmla="*/ 122443 h 1786050"/>
              <a:gd name="connsiteX3882" fmla="*/ 1991135 w 4664922"/>
              <a:gd name="connsiteY3882" fmla="*/ 121633 h 1786050"/>
              <a:gd name="connsiteX3883" fmla="*/ 1973203 w 4664922"/>
              <a:gd name="connsiteY3883" fmla="*/ 110816 h 1786050"/>
              <a:gd name="connsiteX3884" fmla="*/ 1966725 w 4664922"/>
              <a:gd name="connsiteY3884" fmla="*/ 105495 h 1786050"/>
              <a:gd name="connsiteX3885" fmla="*/ 1962328 w 4664922"/>
              <a:gd name="connsiteY3885" fmla="*/ 100694 h 1786050"/>
              <a:gd name="connsiteX3886" fmla="*/ 1986507 w 4664922"/>
              <a:gd name="connsiteY3886" fmla="*/ 93579 h 1786050"/>
              <a:gd name="connsiteX3887" fmla="*/ 2000853 w 4664922"/>
              <a:gd name="connsiteY3887" fmla="*/ 90860 h 1786050"/>
              <a:gd name="connsiteX3888" fmla="*/ 1992523 w 4664922"/>
              <a:gd name="connsiteY3888" fmla="*/ 85076 h 1786050"/>
              <a:gd name="connsiteX3889" fmla="*/ 1981301 w 4664922"/>
              <a:gd name="connsiteY3889" fmla="*/ 70846 h 1786050"/>
              <a:gd name="connsiteX3890" fmla="*/ 1992234 w 4664922"/>
              <a:gd name="connsiteY3890" fmla="*/ 64367 h 1786050"/>
              <a:gd name="connsiteX3891" fmla="*/ 2007678 w 4664922"/>
              <a:gd name="connsiteY3891" fmla="*/ 54707 h 1786050"/>
              <a:gd name="connsiteX3892" fmla="*/ 2003803 w 4664922"/>
              <a:gd name="connsiteY3892" fmla="*/ 47882 h 1786050"/>
              <a:gd name="connsiteX3893" fmla="*/ 1999233 w 4664922"/>
              <a:gd name="connsiteY3893" fmla="*/ 42097 h 1786050"/>
              <a:gd name="connsiteX3894" fmla="*/ 2034749 w 4664922"/>
              <a:gd name="connsiteY3894" fmla="*/ 27174 h 1786050"/>
              <a:gd name="connsiteX3895" fmla="*/ 2062514 w 4664922"/>
              <a:gd name="connsiteY3895" fmla="*/ 15605 h 1786050"/>
              <a:gd name="connsiteX3896" fmla="*/ 2070902 w 4664922"/>
              <a:gd name="connsiteY3896" fmla="*/ 11845 h 1786050"/>
              <a:gd name="connsiteX3897" fmla="*/ 2075298 w 4664922"/>
              <a:gd name="connsiteY3897" fmla="*/ 13754 h 1786050"/>
              <a:gd name="connsiteX3898" fmla="*/ 2079405 w 4664922"/>
              <a:gd name="connsiteY3898" fmla="*/ 24513 h 1786050"/>
              <a:gd name="connsiteX3899" fmla="*/ 2094908 w 4664922"/>
              <a:gd name="connsiteY3899" fmla="*/ 41866 h 1786050"/>
              <a:gd name="connsiteX3900" fmla="*/ 2117178 w 4664922"/>
              <a:gd name="connsiteY3900" fmla="*/ 51931 h 1786050"/>
              <a:gd name="connsiteX3901" fmla="*/ 2106129 w 4664922"/>
              <a:gd name="connsiteY3901" fmla="*/ 57079 h 1786050"/>
              <a:gd name="connsiteX3902" fmla="*/ 2101039 w 4664922"/>
              <a:gd name="connsiteY3902" fmla="*/ 58988 h 1786050"/>
              <a:gd name="connsiteX3903" fmla="*/ 2102890 w 4664922"/>
              <a:gd name="connsiteY3903" fmla="*/ 65929 h 1786050"/>
              <a:gd name="connsiteX3904" fmla="*/ 2104857 w 4664922"/>
              <a:gd name="connsiteY3904" fmla="*/ 75763 h 1786050"/>
              <a:gd name="connsiteX3905" fmla="*/ 2099072 w 4664922"/>
              <a:gd name="connsiteY3905" fmla="*/ 79638 h 1786050"/>
              <a:gd name="connsiteX3906" fmla="*/ 2082124 w 4664922"/>
              <a:gd name="connsiteY3906" fmla="*/ 83167 h 1786050"/>
              <a:gd name="connsiteX3907" fmla="*/ 2024800 w 4664922"/>
              <a:gd name="connsiteY3907" fmla="*/ 100983 h 1786050"/>
              <a:gd name="connsiteX3908" fmla="*/ 2020867 w 4664922"/>
              <a:gd name="connsiteY3908" fmla="*/ 111858 h 1786050"/>
              <a:gd name="connsiteX3909" fmla="*/ 1997555 w 4664922"/>
              <a:gd name="connsiteY3909" fmla="*/ 122443 h 1786050"/>
              <a:gd name="connsiteX3910" fmla="*/ 1991077 w 4664922"/>
              <a:gd name="connsiteY3910" fmla="*/ 66739 h 1786050"/>
              <a:gd name="connsiteX3911" fmla="*/ 1983500 w 4664922"/>
              <a:gd name="connsiteY3911" fmla="*/ 71482 h 1786050"/>
              <a:gd name="connsiteX3912" fmla="*/ 1993449 w 4664922"/>
              <a:gd name="connsiteY3912" fmla="*/ 83051 h 1786050"/>
              <a:gd name="connsiteX3913" fmla="*/ 2003051 w 4664922"/>
              <a:gd name="connsiteY3913" fmla="*/ 91207 h 1786050"/>
              <a:gd name="connsiteX3914" fmla="*/ 1986507 w 4664922"/>
              <a:gd name="connsiteY3914" fmla="*/ 95719 h 1786050"/>
              <a:gd name="connsiteX3915" fmla="*/ 1964526 w 4664922"/>
              <a:gd name="connsiteY3915" fmla="*/ 100983 h 1786050"/>
              <a:gd name="connsiteX3916" fmla="*/ 1967534 w 4664922"/>
              <a:gd name="connsiteY3916" fmla="*/ 103239 h 1786050"/>
              <a:gd name="connsiteX3917" fmla="*/ 1974881 w 4664922"/>
              <a:gd name="connsiteY3917" fmla="*/ 109023 h 1786050"/>
              <a:gd name="connsiteX3918" fmla="*/ 1991655 w 4664922"/>
              <a:gd name="connsiteY3918" fmla="*/ 119146 h 1786050"/>
              <a:gd name="connsiteX3919" fmla="*/ 2019131 w 4664922"/>
              <a:gd name="connsiteY3919" fmla="*/ 110122 h 1786050"/>
              <a:gd name="connsiteX3920" fmla="*/ 2022544 w 4664922"/>
              <a:gd name="connsiteY3920" fmla="*/ 101099 h 1786050"/>
              <a:gd name="connsiteX3921" fmla="*/ 2081719 w 4664922"/>
              <a:gd name="connsiteY3921" fmla="*/ 80679 h 1786050"/>
              <a:gd name="connsiteX3922" fmla="*/ 2098552 w 4664922"/>
              <a:gd name="connsiteY3922" fmla="*/ 77151 h 1786050"/>
              <a:gd name="connsiteX3923" fmla="*/ 2102832 w 4664922"/>
              <a:gd name="connsiteY3923" fmla="*/ 74548 h 1786050"/>
              <a:gd name="connsiteX3924" fmla="*/ 2100865 w 4664922"/>
              <a:gd name="connsiteY3924" fmla="*/ 66623 h 1786050"/>
              <a:gd name="connsiteX3925" fmla="*/ 2099072 w 4664922"/>
              <a:gd name="connsiteY3925" fmla="*/ 57600 h 1786050"/>
              <a:gd name="connsiteX3926" fmla="*/ 2105955 w 4664922"/>
              <a:gd name="connsiteY3926" fmla="*/ 54534 h 1786050"/>
              <a:gd name="connsiteX3927" fmla="*/ 2114922 w 4664922"/>
              <a:gd name="connsiteY3927" fmla="*/ 51584 h 1786050"/>
              <a:gd name="connsiteX3928" fmla="*/ 2094618 w 4664922"/>
              <a:gd name="connsiteY3928" fmla="*/ 43833 h 1786050"/>
              <a:gd name="connsiteX3929" fmla="*/ 2077265 w 4664922"/>
              <a:gd name="connsiteY3929" fmla="*/ 24744 h 1786050"/>
              <a:gd name="connsiteX3930" fmla="*/ 2073621 w 4664922"/>
              <a:gd name="connsiteY3930" fmla="*/ 15778 h 1786050"/>
              <a:gd name="connsiteX3931" fmla="*/ 2070671 w 4664922"/>
              <a:gd name="connsiteY3931" fmla="*/ 14448 h 1786050"/>
              <a:gd name="connsiteX3932" fmla="*/ 2063556 w 4664922"/>
              <a:gd name="connsiteY3932" fmla="*/ 17861 h 1786050"/>
              <a:gd name="connsiteX3933" fmla="*/ 2034980 w 4664922"/>
              <a:gd name="connsiteY3933" fmla="*/ 29776 h 1786050"/>
              <a:gd name="connsiteX3934" fmla="*/ 2001257 w 4664922"/>
              <a:gd name="connsiteY3934" fmla="*/ 42791 h 1786050"/>
              <a:gd name="connsiteX3935" fmla="*/ 2004555 w 4664922"/>
              <a:gd name="connsiteY3935" fmla="*/ 46204 h 1786050"/>
              <a:gd name="connsiteX3936" fmla="*/ 2009645 w 4664922"/>
              <a:gd name="connsiteY3936" fmla="*/ 55575 h 1786050"/>
              <a:gd name="connsiteX3937" fmla="*/ 1991829 w 4664922"/>
              <a:gd name="connsiteY3937" fmla="*/ 67144 h 1786050"/>
              <a:gd name="connsiteX3938" fmla="*/ 1029127 w 4664922"/>
              <a:gd name="connsiteY3938" fmla="*/ 96355 h 1786050"/>
              <a:gd name="connsiteX3939" fmla="*/ 1005989 w 4664922"/>
              <a:gd name="connsiteY3939" fmla="*/ 91554 h 1786050"/>
              <a:gd name="connsiteX3940" fmla="*/ 1002691 w 4664922"/>
              <a:gd name="connsiteY3940" fmla="*/ 82357 h 1786050"/>
              <a:gd name="connsiteX3941" fmla="*/ 1022879 w 4664922"/>
              <a:gd name="connsiteY3941" fmla="*/ 73391 h 1786050"/>
              <a:gd name="connsiteX3942" fmla="*/ 1042084 w 4664922"/>
              <a:gd name="connsiteY3942" fmla="*/ 70788 h 1786050"/>
              <a:gd name="connsiteX3943" fmla="*/ 1042084 w 4664922"/>
              <a:gd name="connsiteY3943" fmla="*/ 67665 h 1786050"/>
              <a:gd name="connsiteX3944" fmla="*/ 1042084 w 4664922"/>
              <a:gd name="connsiteY3944" fmla="*/ 65640 h 1786050"/>
              <a:gd name="connsiteX3945" fmla="*/ 1056140 w 4664922"/>
              <a:gd name="connsiteY3945" fmla="*/ 62979 h 1786050"/>
              <a:gd name="connsiteX3946" fmla="*/ 1095879 w 4664922"/>
              <a:gd name="connsiteY3946" fmla="*/ 71540 h 1786050"/>
              <a:gd name="connsiteX3947" fmla="*/ 1096457 w 4664922"/>
              <a:gd name="connsiteY3947" fmla="*/ 74837 h 1786050"/>
              <a:gd name="connsiteX3948" fmla="*/ 1082285 w 4664922"/>
              <a:gd name="connsiteY3948" fmla="*/ 81316 h 1786050"/>
              <a:gd name="connsiteX3949" fmla="*/ 1067246 w 4664922"/>
              <a:gd name="connsiteY3949" fmla="*/ 86522 h 1786050"/>
              <a:gd name="connsiteX3950" fmla="*/ 1029069 w 4664922"/>
              <a:gd name="connsiteY3950" fmla="*/ 96355 h 1786050"/>
              <a:gd name="connsiteX3951" fmla="*/ 1056371 w 4664922"/>
              <a:gd name="connsiteY3951" fmla="*/ 65235 h 1786050"/>
              <a:gd name="connsiteX3952" fmla="*/ 1044166 w 4664922"/>
              <a:gd name="connsiteY3952" fmla="*/ 66970 h 1786050"/>
              <a:gd name="connsiteX3953" fmla="*/ 1044166 w 4664922"/>
              <a:gd name="connsiteY3953" fmla="*/ 72061 h 1786050"/>
              <a:gd name="connsiteX3954" fmla="*/ 1023111 w 4664922"/>
              <a:gd name="connsiteY3954" fmla="*/ 75647 h 1786050"/>
              <a:gd name="connsiteX3955" fmla="*/ 1005005 w 4664922"/>
              <a:gd name="connsiteY3955" fmla="*/ 83167 h 1786050"/>
              <a:gd name="connsiteX3956" fmla="*/ 1007666 w 4664922"/>
              <a:gd name="connsiteY3956" fmla="*/ 89819 h 1786050"/>
              <a:gd name="connsiteX3957" fmla="*/ 1029300 w 4664922"/>
              <a:gd name="connsiteY3957" fmla="*/ 94099 h 1786050"/>
              <a:gd name="connsiteX3958" fmla="*/ 1065800 w 4664922"/>
              <a:gd name="connsiteY3958" fmla="*/ 85134 h 1786050"/>
              <a:gd name="connsiteX3959" fmla="*/ 1082575 w 4664922"/>
              <a:gd name="connsiteY3959" fmla="*/ 79060 h 1786050"/>
              <a:gd name="connsiteX3960" fmla="*/ 1094722 w 4664922"/>
              <a:gd name="connsiteY3960" fmla="*/ 74143 h 1786050"/>
              <a:gd name="connsiteX3961" fmla="*/ 1094722 w 4664922"/>
              <a:gd name="connsiteY3961" fmla="*/ 72813 h 1786050"/>
              <a:gd name="connsiteX3962" fmla="*/ 1056313 w 4664922"/>
              <a:gd name="connsiteY3962" fmla="*/ 65235 h 1786050"/>
              <a:gd name="connsiteX3963" fmla="*/ 789420 w 4664922"/>
              <a:gd name="connsiteY3963" fmla="*/ 88373 h 1786050"/>
              <a:gd name="connsiteX3964" fmla="*/ 789420 w 4664922"/>
              <a:gd name="connsiteY3964" fmla="*/ 88373 h 1786050"/>
              <a:gd name="connsiteX3965" fmla="*/ 761076 w 4664922"/>
              <a:gd name="connsiteY3965" fmla="*/ 79812 h 1786050"/>
              <a:gd name="connsiteX3966" fmla="*/ 761076 w 4664922"/>
              <a:gd name="connsiteY3966" fmla="*/ 75416 h 1786050"/>
              <a:gd name="connsiteX3967" fmla="*/ 773223 w 4664922"/>
              <a:gd name="connsiteY3967" fmla="*/ 69978 h 1786050"/>
              <a:gd name="connsiteX3968" fmla="*/ 787337 w 4664922"/>
              <a:gd name="connsiteY3968" fmla="*/ 64194 h 1786050"/>
              <a:gd name="connsiteX3969" fmla="*/ 810880 w 4664922"/>
              <a:gd name="connsiteY3969" fmla="*/ 57137 h 1786050"/>
              <a:gd name="connsiteX3970" fmla="*/ 826151 w 4664922"/>
              <a:gd name="connsiteY3970" fmla="*/ 53550 h 1786050"/>
              <a:gd name="connsiteX3971" fmla="*/ 824762 w 4664922"/>
              <a:gd name="connsiteY3971" fmla="*/ 52047 h 1786050"/>
              <a:gd name="connsiteX3972" fmla="*/ 821986 w 4664922"/>
              <a:gd name="connsiteY3972" fmla="*/ 45047 h 1786050"/>
              <a:gd name="connsiteX3973" fmla="*/ 848536 w 4664922"/>
              <a:gd name="connsiteY3973" fmla="*/ 33131 h 1786050"/>
              <a:gd name="connsiteX3974" fmla="*/ 863865 w 4664922"/>
              <a:gd name="connsiteY3974" fmla="*/ 36371 h 1786050"/>
              <a:gd name="connsiteX3975" fmla="*/ 879946 w 4664922"/>
              <a:gd name="connsiteY3975" fmla="*/ 50658 h 1786050"/>
              <a:gd name="connsiteX3976" fmla="*/ 861841 w 4664922"/>
              <a:gd name="connsiteY3976" fmla="*/ 57889 h 1786050"/>
              <a:gd name="connsiteX3977" fmla="*/ 830547 w 4664922"/>
              <a:gd name="connsiteY3977" fmla="*/ 73854 h 1786050"/>
              <a:gd name="connsiteX3978" fmla="*/ 818978 w 4664922"/>
              <a:gd name="connsiteY3978" fmla="*/ 78539 h 1786050"/>
              <a:gd name="connsiteX3979" fmla="*/ 809029 w 4664922"/>
              <a:gd name="connsiteY3979" fmla="*/ 81779 h 1786050"/>
              <a:gd name="connsiteX3980" fmla="*/ 802840 w 4664922"/>
              <a:gd name="connsiteY3980" fmla="*/ 86984 h 1786050"/>
              <a:gd name="connsiteX3981" fmla="*/ 789478 w 4664922"/>
              <a:gd name="connsiteY3981" fmla="*/ 88431 h 1786050"/>
              <a:gd name="connsiteX3982" fmla="*/ 848190 w 4664922"/>
              <a:gd name="connsiteY3982" fmla="*/ 35330 h 1786050"/>
              <a:gd name="connsiteX3983" fmla="*/ 823780 w 4664922"/>
              <a:gd name="connsiteY3983" fmla="*/ 45684 h 1786050"/>
              <a:gd name="connsiteX3984" fmla="*/ 825688 w 4664922"/>
              <a:gd name="connsiteY3984" fmla="*/ 50138 h 1786050"/>
              <a:gd name="connsiteX3985" fmla="*/ 828002 w 4664922"/>
              <a:gd name="connsiteY3985" fmla="*/ 54013 h 1786050"/>
              <a:gd name="connsiteX3986" fmla="*/ 810649 w 4664922"/>
              <a:gd name="connsiteY3986" fmla="*/ 59335 h 1786050"/>
              <a:gd name="connsiteX3987" fmla="*/ 788610 w 4664922"/>
              <a:gd name="connsiteY3987" fmla="*/ 65409 h 1786050"/>
              <a:gd name="connsiteX3988" fmla="*/ 773166 w 4664922"/>
              <a:gd name="connsiteY3988" fmla="*/ 72176 h 1786050"/>
              <a:gd name="connsiteX3989" fmla="*/ 762522 w 4664922"/>
              <a:gd name="connsiteY3989" fmla="*/ 76399 h 1786050"/>
              <a:gd name="connsiteX3990" fmla="*/ 762811 w 4664922"/>
              <a:gd name="connsiteY3990" fmla="*/ 78828 h 1786050"/>
              <a:gd name="connsiteX3991" fmla="*/ 789130 w 4664922"/>
              <a:gd name="connsiteY3991" fmla="*/ 86117 h 1786050"/>
              <a:gd name="connsiteX3992" fmla="*/ 789130 w 4664922"/>
              <a:gd name="connsiteY3992" fmla="*/ 86117 h 1786050"/>
              <a:gd name="connsiteX3993" fmla="*/ 801336 w 4664922"/>
              <a:gd name="connsiteY3993" fmla="*/ 84786 h 1786050"/>
              <a:gd name="connsiteX3994" fmla="*/ 805847 w 4664922"/>
              <a:gd name="connsiteY3994" fmla="*/ 81721 h 1786050"/>
              <a:gd name="connsiteX3995" fmla="*/ 817995 w 4664922"/>
              <a:gd name="connsiteY3995" fmla="*/ 76225 h 1786050"/>
              <a:gd name="connsiteX3996" fmla="*/ 827655 w 4664922"/>
              <a:gd name="connsiteY3996" fmla="*/ 73507 h 1786050"/>
              <a:gd name="connsiteX3997" fmla="*/ 861031 w 4664922"/>
              <a:gd name="connsiteY3997" fmla="*/ 55575 h 1786050"/>
              <a:gd name="connsiteX3998" fmla="*/ 877112 w 4664922"/>
              <a:gd name="connsiteY3998" fmla="*/ 50196 h 1786050"/>
              <a:gd name="connsiteX3999" fmla="*/ 862245 w 4664922"/>
              <a:gd name="connsiteY3999" fmla="*/ 38337 h 1786050"/>
              <a:gd name="connsiteX4000" fmla="*/ 848132 w 4664922"/>
              <a:gd name="connsiteY4000" fmla="*/ 35387 h 1786050"/>
              <a:gd name="connsiteX4001" fmla="*/ 926395 w 4664922"/>
              <a:gd name="connsiteY4001" fmla="*/ 86637 h 1786050"/>
              <a:gd name="connsiteX4002" fmla="*/ 926395 w 4664922"/>
              <a:gd name="connsiteY4002" fmla="*/ 86637 h 1786050"/>
              <a:gd name="connsiteX4003" fmla="*/ 904704 w 4664922"/>
              <a:gd name="connsiteY4003" fmla="*/ 82820 h 1786050"/>
              <a:gd name="connsiteX4004" fmla="*/ 902910 w 4664922"/>
              <a:gd name="connsiteY4004" fmla="*/ 80506 h 1786050"/>
              <a:gd name="connsiteX4005" fmla="*/ 929924 w 4664922"/>
              <a:gd name="connsiteY4005" fmla="*/ 71251 h 1786050"/>
              <a:gd name="connsiteX4006" fmla="*/ 940104 w 4664922"/>
              <a:gd name="connsiteY4006" fmla="*/ 77672 h 1786050"/>
              <a:gd name="connsiteX4007" fmla="*/ 935766 w 4664922"/>
              <a:gd name="connsiteY4007" fmla="*/ 84844 h 1786050"/>
              <a:gd name="connsiteX4008" fmla="*/ 926337 w 4664922"/>
              <a:gd name="connsiteY4008" fmla="*/ 86695 h 1786050"/>
              <a:gd name="connsiteX4009" fmla="*/ 905224 w 4664922"/>
              <a:gd name="connsiteY4009" fmla="*/ 80853 h 1786050"/>
              <a:gd name="connsiteX4010" fmla="*/ 905224 w 4664922"/>
              <a:gd name="connsiteY4010" fmla="*/ 80853 h 1786050"/>
              <a:gd name="connsiteX4011" fmla="*/ 926164 w 4664922"/>
              <a:gd name="connsiteY4011" fmla="*/ 84555 h 1786050"/>
              <a:gd name="connsiteX4012" fmla="*/ 934493 w 4664922"/>
              <a:gd name="connsiteY4012" fmla="*/ 82993 h 1786050"/>
              <a:gd name="connsiteX4013" fmla="*/ 937617 w 4664922"/>
              <a:gd name="connsiteY4013" fmla="*/ 77845 h 1786050"/>
              <a:gd name="connsiteX4014" fmla="*/ 929692 w 4664922"/>
              <a:gd name="connsiteY4014" fmla="*/ 73680 h 1786050"/>
              <a:gd name="connsiteX4015" fmla="*/ 905166 w 4664922"/>
              <a:gd name="connsiteY4015" fmla="*/ 80679 h 1786050"/>
              <a:gd name="connsiteX4016" fmla="*/ 1126536 w 4664922"/>
              <a:gd name="connsiteY4016" fmla="*/ 68937 h 1786050"/>
              <a:gd name="connsiteX4017" fmla="*/ 1126536 w 4664922"/>
              <a:gd name="connsiteY4017" fmla="*/ 68937 h 1786050"/>
              <a:gd name="connsiteX4018" fmla="*/ 1102993 w 4664922"/>
              <a:gd name="connsiteY4018" fmla="*/ 62690 h 1786050"/>
              <a:gd name="connsiteX4019" fmla="*/ 1100622 w 4664922"/>
              <a:gd name="connsiteY4019" fmla="*/ 58236 h 1786050"/>
              <a:gd name="connsiteX4020" fmla="*/ 1112769 w 4664922"/>
              <a:gd name="connsiteY4020" fmla="*/ 46956 h 1786050"/>
              <a:gd name="connsiteX4021" fmla="*/ 1123586 w 4664922"/>
              <a:gd name="connsiteY4021" fmla="*/ 37065 h 1786050"/>
              <a:gd name="connsiteX4022" fmla="*/ 1124107 w 4664922"/>
              <a:gd name="connsiteY4022" fmla="*/ 34231 h 1786050"/>
              <a:gd name="connsiteX4023" fmla="*/ 1142790 w 4664922"/>
              <a:gd name="connsiteY4023" fmla="*/ 30239 h 1786050"/>
              <a:gd name="connsiteX4024" fmla="*/ 1170208 w 4664922"/>
              <a:gd name="connsiteY4024" fmla="*/ 37296 h 1786050"/>
              <a:gd name="connsiteX4025" fmla="*/ 1177208 w 4664922"/>
              <a:gd name="connsiteY4025" fmla="*/ 43081 h 1786050"/>
              <a:gd name="connsiteX4026" fmla="*/ 1183513 w 4664922"/>
              <a:gd name="connsiteY4026" fmla="*/ 48345 h 1786050"/>
              <a:gd name="connsiteX4027" fmla="*/ 1182182 w 4664922"/>
              <a:gd name="connsiteY4027" fmla="*/ 52683 h 1786050"/>
              <a:gd name="connsiteX4028" fmla="*/ 1126478 w 4664922"/>
              <a:gd name="connsiteY4028" fmla="*/ 68764 h 1786050"/>
              <a:gd name="connsiteX4029" fmla="*/ 1142790 w 4664922"/>
              <a:gd name="connsiteY4029" fmla="*/ 32495 h 1786050"/>
              <a:gd name="connsiteX4030" fmla="*/ 1125900 w 4664922"/>
              <a:gd name="connsiteY4030" fmla="*/ 35619 h 1786050"/>
              <a:gd name="connsiteX4031" fmla="*/ 1125900 w 4664922"/>
              <a:gd name="connsiteY4031" fmla="*/ 36429 h 1786050"/>
              <a:gd name="connsiteX4032" fmla="*/ 1114331 w 4664922"/>
              <a:gd name="connsiteY4032" fmla="*/ 48923 h 1786050"/>
              <a:gd name="connsiteX4033" fmla="*/ 1103225 w 4664922"/>
              <a:gd name="connsiteY4033" fmla="*/ 58352 h 1786050"/>
              <a:gd name="connsiteX4034" fmla="*/ 1104787 w 4664922"/>
              <a:gd name="connsiteY4034" fmla="*/ 60897 h 1786050"/>
              <a:gd name="connsiteX4035" fmla="*/ 1126883 w 4664922"/>
              <a:gd name="connsiteY4035" fmla="*/ 66681 h 1786050"/>
              <a:gd name="connsiteX4036" fmla="*/ 1180736 w 4664922"/>
              <a:gd name="connsiteY4036" fmla="*/ 51352 h 1786050"/>
              <a:gd name="connsiteX4037" fmla="*/ 1181662 w 4664922"/>
              <a:gd name="connsiteY4037" fmla="*/ 48923 h 1786050"/>
              <a:gd name="connsiteX4038" fmla="*/ 1176572 w 4664922"/>
              <a:gd name="connsiteY4038" fmla="*/ 45163 h 1786050"/>
              <a:gd name="connsiteX4039" fmla="*/ 1168358 w 4664922"/>
              <a:gd name="connsiteY4039" fmla="*/ 37701 h 1786050"/>
              <a:gd name="connsiteX4040" fmla="*/ 1142732 w 4664922"/>
              <a:gd name="connsiteY4040" fmla="*/ 32322 h 1786050"/>
              <a:gd name="connsiteX4041" fmla="*/ 727873 w 4664922"/>
              <a:gd name="connsiteY4041" fmla="*/ 67838 h 1786050"/>
              <a:gd name="connsiteX4042" fmla="*/ 703637 w 4664922"/>
              <a:gd name="connsiteY4042" fmla="*/ 57079 h 1786050"/>
              <a:gd name="connsiteX4043" fmla="*/ 703637 w 4664922"/>
              <a:gd name="connsiteY4043" fmla="*/ 53435 h 1786050"/>
              <a:gd name="connsiteX4044" fmla="*/ 721453 w 4664922"/>
              <a:gd name="connsiteY4044" fmla="*/ 49444 h 1786050"/>
              <a:gd name="connsiteX4045" fmla="*/ 746094 w 4664922"/>
              <a:gd name="connsiteY4045" fmla="*/ 45163 h 1786050"/>
              <a:gd name="connsiteX4046" fmla="*/ 771199 w 4664922"/>
              <a:gd name="connsiteY4046" fmla="*/ 40709 h 1786050"/>
              <a:gd name="connsiteX4047" fmla="*/ 795724 w 4664922"/>
              <a:gd name="connsiteY4047" fmla="*/ 46493 h 1786050"/>
              <a:gd name="connsiteX4048" fmla="*/ 796072 w 4664922"/>
              <a:gd name="connsiteY4048" fmla="*/ 49906 h 1786050"/>
              <a:gd name="connsiteX4049" fmla="*/ 789825 w 4664922"/>
              <a:gd name="connsiteY4049" fmla="*/ 53030 h 1786050"/>
              <a:gd name="connsiteX4050" fmla="*/ 782709 w 4664922"/>
              <a:gd name="connsiteY4050" fmla="*/ 52336 h 1786050"/>
              <a:gd name="connsiteX4051" fmla="*/ 771141 w 4664922"/>
              <a:gd name="connsiteY4051" fmla="*/ 51352 h 1786050"/>
              <a:gd name="connsiteX4052" fmla="*/ 749507 w 4664922"/>
              <a:gd name="connsiteY4052" fmla="*/ 59219 h 1786050"/>
              <a:gd name="connsiteX4053" fmla="*/ 727873 w 4664922"/>
              <a:gd name="connsiteY4053" fmla="*/ 67838 h 1786050"/>
              <a:gd name="connsiteX4054" fmla="*/ 771256 w 4664922"/>
              <a:gd name="connsiteY4054" fmla="*/ 42965 h 1786050"/>
              <a:gd name="connsiteX4055" fmla="*/ 747193 w 4664922"/>
              <a:gd name="connsiteY4055" fmla="*/ 47130 h 1786050"/>
              <a:gd name="connsiteX4056" fmla="*/ 721626 w 4664922"/>
              <a:gd name="connsiteY4056" fmla="*/ 51700 h 1786050"/>
              <a:gd name="connsiteX4057" fmla="*/ 705603 w 4664922"/>
              <a:gd name="connsiteY4057" fmla="*/ 54650 h 1786050"/>
              <a:gd name="connsiteX4058" fmla="*/ 705603 w 4664922"/>
              <a:gd name="connsiteY4058" fmla="*/ 56211 h 1786050"/>
              <a:gd name="connsiteX4059" fmla="*/ 727757 w 4664922"/>
              <a:gd name="connsiteY4059" fmla="*/ 65582 h 1786050"/>
              <a:gd name="connsiteX4060" fmla="*/ 748177 w 4664922"/>
              <a:gd name="connsiteY4060" fmla="*/ 57426 h 1786050"/>
              <a:gd name="connsiteX4061" fmla="*/ 771314 w 4664922"/>
              <a:gd name="connsiteY4061" fmla="*/ 48981 h 1786050"/>
              <a:gd name="connsiteX4062" fmla="*/ 782883 w 4664922"/>
              <a:gd name="connsiteY4062" fmla="*/ 49964 h 1786050"/>
              <a:gd name="connsiteX4063" fmla="*/ 789651 w 4664922"/>
              <a:gd name="connsiteY4063" fmla="*/ 50658 h 1786050"/>
              <a:gd name="connsiteX4064" fmla="*/ 793816 w 4664922"/>
              <a:gd name="connsiteY4064" fmla="*/ 48923 h 1786050"/>
              <a:gd name="connsiteX4065" fmla="*/ 793816 w 4664922"/>
              <a:gd name="connsiteY4065" fmla="*/ 47650 h 1786050"/>
              <a:gd name="connsiteX4066" fmla="*/ 771256 w 4664922"/>
              <a:gd name="connsiteY4066" fmla="*/ 43081 h 1786050"/>
              <a:gd name="connsiteX4067" fmla="*/ 994420 w 4664922"/>
              <a:gd name="connsiteY4067" fmla="*/ 57310 h 1786050"/>
              <a:gd name="connsiteX4068" fmla="*/ 994420 w 4664922"/>
              <a:gd name="connsiteY4068" fmla="*/ 57310 h 1786050"/>
              <a:gd name="connsiteX4069" fmla="*/ 956648 w 4664922"/>
              <a:gd name="connsiteY4069" fmla="*/ 48576 h 1786050"/>
              <a:gd name="connsiteX4070" fmla="*/ 955664 w 4664922"/>
              <a:gd name="connsiteY4070" fmla="*/ 45568 h 1786050"/>
              <a:gd name="connsiteX4071" fmla="*/ 972613 w 4664922"/>
              <a:gd name="connsiteY4071" fmla="*/ 37412 h 1786050"/>
              <a:gd name="connsiteX4072" fmla="*/ 986090 w 4664922"/>
              <a:gd name="connsiteY4072" fmla="*/ 31975 h 1786050"/>
              <a:gd name="connsiteX4073" fmla="*/ 986090 w 4664922"/>
              <a:gd name="connsiteY4073" fmla="*/ 31975 h 1786050"/>
              <a:gd name="connsiteX4074" fmla="*/ 986090 w 4664922"/>
              <a:gd name="connsiteY4074" fmla="*/ 31975 h 1786050"/>
              <a:gd name="connsiteX4075" fmla="*/ 979901 w 4664922"/>
              <a:gd name="connsiteY4075" fmla="*/ 22199 h 1786050"/>
              <a:gd name="connsiteX4076" fmla="*/ 984876 w 4664922"/>
              <a:gd name="connsiteY4076" fmla="*/ 19943 h 1786050"/>
              <a:gd name="connsiteX4077" fmla="*/ 1006625 w 4664922"/>
              <a:gd name="connsiteY4077" fmla="*/ 26017 h 1786050"/>
              <a:gd name="connsiteX4078" fmla="*/ 1026639 w 4664922"/>
              <a:gd name="connsiteY4078" fmla="*/ 29256 h 1786050"/>
              <a:gd name="connsiteX4079" fmla="*/ 1034274 w 4664922"/>
              <a:gd name="connsiteY4079" fmla="*/ 29256 h 1786050"/>
              <a:gd name="connsiteX4080" fmla="*/ 1040580 w 4664922"/>
              <a:gd name="connsiteY4080" fmla="*/ 29256 h 1786050"/>
              <a:gd name="connsiteX4081" fmla="*/ 1052669 w 4664922"/>
              <a:gd name="connsiteY4081" fmla="*/ 32495 h 1786050"/>
              <a:gd name="connsiteX4082" fmla="*/ 1054173 w 4664922"/>
              <a:gd name="connsiteY4082" fmla="*/ 39668 h 1786050"/>
              <a:gd name="connsiteX4083" fmla="*/ 994420 w 4664922"/>
              <a:gd name="connsiteY4083" fmla="*/ 57426 h 1786050"/>
              <a:gd name="connsiteX4084" fmla="*/ 984586 w 4664922"/>
              <a:gd name="connsiteY4084" fmla="*/ 21910 h 1786050"/>
              <a:gd name="connsiteX4085" fmla="*/ 981752 w 4664922"/>
              <a:gd name="connsiteY4085" fmla="*/ 22662 h 1786050"/>
              <a:gd name="connsiteX4086" fmla="*/ 987536 w 4664922"/>
              <a:gd name="connsiteY4086" fmla="*/ 29950 h 1786050"/>
              <a:gd name="connsiteX4087" fmla="*/ 988578 w 4664922"/>
              <a:gd name="connsiteY4087" fmla="*/ 32495 h 1786050"/>
              <a:gd name="connsiteX4088" fmla="*/ 973538 w 4664922"/>
              <a:gd name="connsiteY4088" fmla="*/ 39552 h 1786050"/>
              <a:gd name="connsiteX4089" fmla="*/ 958152 w 4664922"/>
              <a:gd name="connsiteY4089" fmla="*/ 46146 h 1786050"/>
              <a:gd name="connsiteX4090" fmla="*/ 958556 w 4664922"/>
              <a:gd name="connsiteY4090" fmla="*/ 46956 h 1786050"/>
              <a:gd name="connsiteX4091" fmla="*/ 994709 w 4664922"/>
              <a:gd name="connsiteY4091" fmla="*/ 55054 h 1786050"/>
              <a:gd name="connsiteX4092" fmla="*/ 1051917 w 4664922"/>
              <a:gd name="connsiteY4092" fmla="*/ 38742 h 1786050"/>
              <a:gd name="connsiteX4093" fmla="*/ 1050933 w 4664922"/>
              <a:gd name="connsiteY4093" fmla="*/ 33363 h 1786050"/>
              <a:gd name="connsiteX4094" fmla="*/ 1040580 w 4664922"/>
              <a:gd name="connsiteY4094" fmla="*/ 30876 h 1786050"/>
              <a:gd name="connsiteX4095" fmla="*/ 1034390 w 4664922"/>
              <a:gd name="connsiteY4095" fmla="*/ 30876 h 1786050"/>
              <a:gd name="connsiteX4096" fmla="*/ 1026639 w 4664922"/>
              <a:gd name="connsiteY4096" fmla="*/ 30876 h 1786050"/>
              <a:gd name="connsiteX4097" fmla="*/ 1005757 w 4664922"/>
              <a:gd name="connsiteY4097" fmla="*/ 27463 h 1786050"/>
              <a:gd name="connsiteX4098" fmla="*/ 984586 w 4664922"/>
              <a:gd name="connsiteY4098" fmla="*/ 22025 h 1786050"/>
              <a:gd name="connsiteX4099" fmla="*/ 1212493 w 4664922"/>
              <a:gd name="connsiteY4099" fmla="*/ 51352 h 1786050"/>
              <a:gd name="connsiteX4100" fmla="*/ 1194098 w 4664922"/>
              <a:gd name="connsiteY4100" fmla="*/ 46089 h 1786050"/>
              <a:gd name="connsiteX4101" fmla="*/ 1193289 w 4664922"/>
              <a:gd name="connsiteY4101" fmla="*/ 41982 h 1786050"/>
              <a:gd name="connsiteX4102" fmla="*/ 1225508 w 4664922"/>
              <a:gd name="connsiteY4102" fmla="*/ 32032 h 1786050"/>
              <a:gd name="connsiteX4103" fmla="*/ 1227359 w 4664922"/>
              <a:gd name="connsiteY4103" fmla="*/ 32032 h 1786050"/>
              <a:gd name="connsiteX4104" fmla="*/ 1234763 w 4664922"/>
              <a:gd name="connsiteY4104" fmla="*/ 28562 h 1786050"/>
              <a:gd name="connsiteX4105" fmla="*/ 1248935 w 4664922"/>
              <a:gd name="connsiteY4105" fmla="*/ 22777 h 1786050"/>
              <a:gd name="connsiteX4106" fmla="*/ 1254083 w 4664922"/>
              <a:gd name="connsiteY4106" fmla="*/ 23356 h 1786050"/>
              <a:gd name="connsiteX4107" fmla="*/ 1265999 w 4664922"/>
              <a:gd name="connsiteY4107" fmla="*/ 34404 h 1786050"/>
              <a:gd name="connsiteX4108" fmla="*/ 1240258 w 4664922"/>
              <a:gd name="connsiteY4108" fmla="*/ 48981 h 1786050"/>
              <a:gd name="connsiteX4109" fmla="*/ 1233664 w 4664922"/>
              <a:gd name="connsiteY4109" fmla="*/ 49733 h 1786050"/>
              <a:gd name="connsiteX4110" fmla="*/ 1212493 w 4664922"/>
              <a:gd name="connsiteY4110" fmla="*/ 51468 h 1786050"/>
              <a:gd name="connsiteX4111" fmla="*/ 1225508 w 4664922"/>
              <a:gd name="connsiteY4111" fmla="*/ 33999 h 1786050"/>
              <a:gd name="connsiteX4112" fmla="*/ 1195313 w 4664922"/>
              <a:gd name="connsiteY4112" fmla="*/ 42676 h 1786050"/>
              <a:gd name="connsiteX4113" fmla="*/ 1195776 w 4664922"/>
              <a:gd name="connsiteY4113" fmla="*/ 44353 h 1786050"/>
              <a:gd name="connsiteX4114" fmla="*/ 1212493 w 4664922"/>
              <a:gd name="connsiteY4114" fmla="*/ 48865 h 1786050"/>
              <a:gd name="connsiteX4115" fmla="*/ 1233432 w 4664922"/>
              <a:gd name="connsiteY4115" fmla="*/ 47130 h 1786050"/>
              <a:gd name="connsiteX4116" fmla="*/ 1240027 w 4664922"/>
              <a:gd name="connsiteY4116" fmla="*/ 46378 h 1786050"/>
              <a:gd name="connsiteX4117" fmla="*/ 1263743 w 4664922"/>
              <a:gd name="connsiteY4117" fmla="*/ 33941 h 1786050"/>
              <a:gd name="connsiteX4118" fmla="*/ 1253678 w 4664922"/>
              <a:gd name="connsiteY4118" fmla="*/ 25207 h 1786050"/>
              <a:gd name="connsiteX4119" fmla="*/ 1248935 w 4664922"/>
              <a:gd name="connsiteY4119" fmla="*/ 24686 h 1786050"/>
              <a:gd name="connsiteX4120" fmla="*/ 1236209 w 4664922"/>
              <a:gd name="connsiteY4120" fmla="*/ 30124 h 1786050"/>
              <a:gd name="connsiteX4121" fmla="*/ 1227128 w 4664922"/>
              <a:gd name="connsiteY4121" fmla="*/ 34115 h 1786050"/>
              <a:gd name="connsiteX4122" fmla="*/ 1953131 w 4664922"/>
              <a:gd name="connsiteY4122" fmla="*/ 36139 h 1786050"/>
              <a:gd name="connsiteX4123" fmla="*/ 1934852 w 4664922"/>
              <a:gd name="connsiteY4123" fmla="*/ 32206 h 1786050"/>
              <a:gd name="connsiteX4124" fmla="*/ 1932307 w 4664922"/>
              <a:gd name="connsiteY4124" fmla="*/ 26422 h 1786050"/>
              <a:gd name="connsiteX4125" fmla="*/ 1956602 w 4664922"/>
              <a:gd name="connsiteY4125" fmla="*/ 18728 h 1786050"/>
              <a:gd name="connsiteX4126" fmla="*/ 1972219 w 4664922"/>
              <a:gd name="connsiteY4126" fmla="*/ 23009 h 1786050"/>
              <a:gd name="connsiteX4127" fmla="*/ 1973029 w 4664922"/>
              <a:gd name="connsiteY4127" fmla="*/ 27058 h 1786050"/>
              <a:gd name="connsiteX4128" fmla="*/ 1953131 w 4664922"/>
              <a:gd name="connsiteY4128" fmla="*/ 36486 h 1786050"/>
              <a:gd name="connsiteX4129" fmla="*/ 1956602 w 4664922"/>
              <a:gd name="connsiteY4129" fmla="*/ 20753 h 1786050"/>
              <a:gd name="connsiteX4130" fmla="*/ 1934447 w 4664922"/>
              <a:gd name="connsiteY4130" fmla="*/ 26942 h 1786050"/>
              <a:gd name="connsiteX4131" fmla="*/ 1936298 w 4664922"/>
              <a:gd name="connsiteY4131" fmla="*/ 30471 h 1786050"/>
              <a:gd name="connsiteX4132" fmla="*/ 1953131 w 4664922"/>
              <a:gd name="connsiteY4132" fmla="*/ 33883 h 1786050"/>
              <a:gd name="connsiteX4133" fmla="*/ 1970831 w 4664922"/>
              <a:gd name="connsiteY4133" fmla="*/ 26248 h 1786050"/>
              <a:gd name="connsiteX4134" fmla="*/ 1970427 w 4664922"/>
              <a:gd name="connsiteY4134" fmla="*/ 24108 h 1786050"/>
              <a:gd name="connsiteX4135" fmla="*/ 1956602 w 4664922"/>
              <a:gd name="connsiteY4135" fmla="*/ 21100 h 1786050"/>
              <a:gd name="connsiteX4136" fmla="*/ 1039076 w 4664922"/>
              <a:gd name="connsiteY4136" fmla="*/ 24397 h 1786050"/>
              <a:gd name="connsiteX4137" fmla="*/ 1002403 w 4664922"/>
              <a:gd name="connsiteY4137" fmla="*/ 13985 h 1786050"/>
              <a:gd name="connsiteX4138" fmla="*/ 1002403 w 4664922"/>
              <a:gd name="connsiteY4138" fmla="*/ 12770 h 1786050"/>
              <a:gd name="connsiteX4139" fmla="*/ 1016169 w 4664922"/>
              <a:gd name="connsiteY4139" fmla="*/ 11035 h 1786050"/>
              <a:gd name="connsiteX4140" fmla="*/ 1039712 w 4664922"/>
              <a:gd name="connsiteY4140" fmla="*/ 8085 h 1786050"/>
              <a:gd name="connsiteX4141" fmla="*/ 1039712 w 4664922"/>
              <a:gd name="connsiteY4141" fmla="*/ 8085 h 1786050"/>
              <a:gd name="connsiteX4142" fmla="*/ 1039712 w 4664922"/>
              <a:gd name="connsiteY4142" fmla="*/ 8085 h 1786050"/>
              <a:gd name="connsiteX4143" fmla="*/ 1039712 w 4664922"/>
              <a:gd name="connsiteY4143" fmla="*/ 5366 h 1786050"/>
              <a:gd name="connsiteX4144" fmla="*/ 1066668 w 4664922"/>
              <a:gd name="connsiteY4144" fmla="*/ -129 h 1786050"/>
              <a:gd name="connsiteX4145" fmla="*/ 1090268 w 4664922"/>
              <a:gd name="connsiteY4145" fmla="*/ 5077 h 1786050"/>
              <a:gd name="connsiteX4146" fmla="*/ 1091598 w 4664922"/>
              <a:gd name="connsiteY4146" fmla="*/ 10861 h 1786050"/>
              <a:gd name="connsiteX4147" fmla="*/ 1076559 w 4664922"/>
              <a:gd name="connsiteY4147" fmla="*/ 15142 h 1786050"/>
              <a:gd name="connsiteX4148" fmla="*/ 1065800 w 4664922"/>
              <a:gd name="connsiteY4148" fmla="*/ 14448 h 1786050"/>
              <a:gd name="connsiteX4149" fmla="*/ 1056487 w 4664922"/>
              <a:gd name="connsiteY4149" fmla="*/ 18092 h 1786050"/>
              <a:gd name="connsiteX4150" fmla="*/ 1039076 w 4664922"/>
              <a:gd name="connsiteY4150" fmla="*/ 24744 h 1786050"/>
              <a:gd name="connsiteX4151" fmla="*/ 1004947 w 4664922"/>
              <a:gd name="connsiteY4151" fmla="*/ 14043 h 1786050"/>
              <a:gd name="connsiteX4152" fmla="*/ 1039076 w 4664922"/>
              <a:gd name="connsiteY4152" fmla="*/ 22141 h 1786050"/>
              <a:gd name="connsiteX4153" fmla="*/ 1054520 w 4664922"/>
              <a:gd name="connsiteY4153" fmla="*/ 16357 h 1786050"/>
              <a:gd name="connsiteX4154" fmla="*/ 1066089 w 4664922"/>
              <a:gd name="connsiteY4154" fmla="*/ 11960 h 1786050"/>
              <a:gd name="connsiteX4155" fmla="*/ 1076559 w 4664922"/>
              <a:gd name="connsiteY4155" fmla="*/ 12655 h 1786050"/>
              <a:gd name="connsiteX4156" fmla="*/ 1089516 w 4664922"/>
              <a:gd name="connsiteY4156" fmla="*/ 9647 h 1786050"/>
              <a:gd name="connsiteX4157" fmla="*/ 1088532 w 4664922"/>
              <a:gd name="connsiteY4157" fmla="*/ 6523 h 1786050"/>
              <a:gd name="connsiteX4158" fmla="*/ 1066668 w 4664922"/>
              <a:gd name="connsiteY4158" fmla="*/ 2127 h 1786050"/>
              <a:gd name="connsiteX4159" fmla="*/ 1041736 w 4664922"/>
              <a:gd name="connsiteY4159" fmla="*/ 6465 h 1786050"/>
              <a:gd name="connsiteX4160" fmla="*/ 1041736 w 4664922"/>
              <a:gd name="connsiteY4160" fmla="*/ 6465 h 1786050"/>
              <a:gd name="connsiteX4161" fmla="*/ 1042084 w 4664922"/>
              <a:gd name="connsiteY4161" fmla="*/ 9068 h 1786050"/>
              <a:gd name="connsiteX4162" fmla="*/ 1016574 w 4664922"/>
              <a:gd name="connsiteY4162" fmla="*/ 13291 h 1786050"/>
              <a:gd name="connsiteX4163" fmla="*/ 1004947 w 4664922"/>
              <a:gd name="connsiteY4163" fmla="*/ 14390 h 178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Lst>
            <a:rect l="l" t="t" r="r" b="b"/>
            <a:pathLst>
              <a:path w="4664922" h="1786050">
                <a:moveTo>
                  <a:pt x="768654" y="1785814"/>
                </a:moveTo>
                <a:cubicBezTo>
                  <a:pt x="767034" y="1785675"/>
                  <a:pt x="765472" y="1785200"/>
                  <a:pt x="764084" y="1784425"/>
                </a:cubicBezTo>
                <a:cubicBezTo>
                  <a:pt x="762869" y="1783685"/>
                  <a:pt x="761423" y="1783303"/>
                  <a:pt x="759977" y="1783326"/>
                </a:cubicBezTo>
                <a:cubicBezTo>
                  <a:pt x="757663" y="1784136"/>
                  <a:pt x="755118" y="1781533"/>
                  <a:pt x="751416" y="1777831"/>
                </a:cubicBezTo>
                <a:cubicBezTo>
                  <a:pt x="748177" y="1773695"/>
                  <a:pt x="743780" y="1770583"/>
                  <a:pt x="738806" y="1768865"/>
                </a:cubicBezTo>
                <a:cubicBezTo>
                  <a:pt x="733195" y="1767298"/>
                  <a:pt x="727931" y="1764752"/>
                  <a:pt x="723246" y="1761345"/>
                </a:cubicBezTo>
                <a:cubicBezTo>
                  <a:pt x="720469" y="1759280"/>
                  <a:pt x="717404" y="1757695"/>
                  <a:pt x="714106" y="1756660"/>
                </a:cubicBezTo>
                <a:lnTo>
                  <a:pt x="713181" y="1756660"/>
                </a:lnTo>
                <a:cubicBezTo>
                  <a:pt x="710809" y="1756660"/>
                  <a:pt x="709942" y="1753016"/>
                  <a:pt x="708843" y="1748388"/>
                </a:cubicBezTo>
                <a:cubicBezTo>
                  <a:pt x="707975" y="1744918"/>
                  <a:pt x="706702" y="1739654"/>
                  <a:pt x="705083" y="1739654"/>
                </a:cubicBezTo>
                <a:cubicBezTo>
                  <a:pt x="702943" y="1739735"/>
                  <a:pt x="700918" y="1739012"/>
                  <a:pt x="699298" y="1737629"/>
                </a:cubicBezTo>
                <a:cubicBezTo>
                  <a:pt x="698141" y="1736582"/>
                  <a:pt x="696695" y="1735998"/>
                  <a:pt x="695133" y="1736010"/>
                </a:cubicBezTo>
                <a:cubicBezTo>
                  <a:pt x="676392" y="1736010"/>
                  <a:pt x="670029" y="1737861"/>
                  <a:pt x="667947" y="1739422"/>
                </a:cubicBezTo>
                <a:cubicBezTo>
                  <a:pt x="667195" y="1740007"/>
                  <a:pt x="666269" y="1740331"/>
                  <a:pt x="665286" y="1740348"/>
                </a:cubicBezTo>
                <a:cubicBezTo>
                  <a:pt x="662741" y="1740348"/>
                  <a:pt x="660254" y="1738092"/>
                  <a:pt x="657650" y="1735720"/>
                </a:cubicBezTo>
                <a:cubicBezTo>
                  <a:pt x="655047" y="1733349"/>
                  <a:pt x="652618" y="1731209"/>
                  <a:pt x="650304" y="1731209"/>
                </a:cubicBezTo>
                <a:cubicBezTo>
                  <a:pt x="643479" y="1731209"/>
                  <a:pt x="635901" y="1724383"/>
                  <a:pt x="632430" y="1719640"/>
                </a:cubicBezTo>
                <a:cubicBezTo>
                  <a:pt x="631968" y="1719061"/>
                  <a:pt x="630290" y="1718309"/>
                  <a:pt x="624853" y="1718309"/>
                </a:cubicBezTo>
                <a:cubicBezTo>
                  <a:pt x="622192" y="1718309"/>
                  <a:pt x="619068" y="1718309"/>
                  <a:pt x="615771" y="1718656"/>
                </a:cubicBezTo>
                <a:cubicBezTo>
                  <a:pt x="612474" y="1719003"/>
                  <a:pt x="608425" y="1719003"/>
                  <a:pt x="604896" y="1719003"/>
                </a:cubicBezTo>
                <a:cubicBezTo>
                  <a:pt x="599864" y="1719489"/>
                  <a:pt x="594773" y="1718552"/>
                  <a:pt x="590262" y="1716285"/>
                </a:cubicBezTo>
                <a:cubicBezTo>
                  <a:pt x="581643" y="1710564"/>
                  <a:pt x="571636" y="1707232"/>
                  <a:pt x="561340" y="1706625"/>
                </a:cubicBezTo>
                <a:cubicBezTo>
                  <a:pt x="560414" y="1706561"/>
                  <a:pt x="559547" y="1706561"/>
                  <a:pt x="558621" y="1706625"/>
                </a:cubicBezTo>
                <a:cubicBezTo>
                  <a:pt x="555092" y="1707596"/>
                  <a:pt x="551796" y="1709141"/>
                  <a:pt x="548788" y="1711194"/>
                </a:cubicBezTo>
                <a:cubicBezTo>
                  <a:pt x="548440" y="1711426"/>
                  <a:pt x="547978" y="1711426"/>
                  <a:pt x="547630" y="1711194"/>
                </a:cubicBezTo>
                <a:cubicBezTo>
                  <a:pt x="544912" y="1709656"/>
                  <a:pt x="542425" y="1707706"/>
                  <a:pt x="540285" y="1705410"/>
                </a:cubicBezTo>
                <a:cubicBezTo>
                  <a:pt x="521600" y="1685280"/>
                  <a:pt x="504190" y="1672670"/>
                  <a:pt x="489960" y="1669026"/>
                </a:cubicBezTo>
                <a:cubicBezTo>
                  <a:pt x="482035" y="1667424"/>
                  <a:pt x="475325" y="1662316"/>
                  <a:pt x="471623" y="1655143"/>
                </a:cubicBezTo>
                <a:cubicBezTo>
                  <a:pt x="470466" y="1653234"/>
                  <a:pt x="469656" y="1651846"/>
                  <a:pt x="468615" y="1651673"/>
                </a:cubicBezTo>
                <a:cubicBezTo>
                  <a:pt x="466128" y="1651210"/>
                  <a:pt x="465434" y="1649590"/>
                  <a:pt x="465550" y="1648375"/>
                </a:cubicBezTo>
                <a:cubicBezTo>
                  <a:pt x="465550" y="1645657"/>
                  <a:pt x="469483" y="1642996"/>
                  <a:pt x="476077" y="1642996"/>
                </a:cubicBezTo>
                <a:cubicBezTo>
                  <a:pt x="482671" y="1642996"/>
                  <a:pt x="486663" y="1641897"/>
                  <a:pt x="488629" y="1639583"/>
                </a:cubicBezTo>
                <a:cubicBezTo>
                  <a:pt x="490075" y="1637547"/>
                  <a:pt x="490596" y="1634950"/>
                  <a:pt x="489902" y="1632526"/>
                </a:cubicBezTo>
                <a:cubicBezTo>
                  <a:pt x="488803" y="1625932"/>
                  <a:pt x="495166" y="1622924"/>
                  <a:pt x="500314" y="1620495"/>
                </a:cubicBezTo>
                <a:cubicBezTo>
                  <a:pt x="503090" y="1619164"/>
                  <a:pt x="506098" y="1617834"/>
                  <a:pt x="506098" y="1616561"/>
                </a:cubicBezTo>
                <a:cubicBezTo>
                  <a:pt x="506098" y="1615289"/>
                  <a:pt x="502628" y="1611702"/>
                  <a:pt x="500314" y="1609388"/>
                </a:cubicBezTo>
                <a:cubicBezTo>
                  <a:pt x="498000" y="1607075"/>
                  <a:pt x="494530" y="1604183"/>
                  <a:pt x="494530" y="1602100"/>
                </a:cubicBezTo>
                <a:cubicBezTo>
                  <a:pt x="494761" y="1601157"/>
                  <a:pt x="495513" y="1600423"/>
                  <a:pt x="496438" y="1600191"/>
                </a:cubicBezTo>
                <a:cubicBezTo>
                  <a:pt x="503727" y="1597646"/>
                  <a:pt x="527848" y="1586945"/>
                  <a:pt x="529641" y="1582375"/>
                </a:cubicBezTo>
                <a:cubicBezTo>
                  <a:pt x="529641" y="1582375"/>
                  <a:pt x="529641" y="1582086"/>
                  <a:pt x="529641" y="1582028"/>
                </a:cubicBezTo>
                <a:cubicBezTo>
                  <a:pt x="529641" y="1581970"/>
                  <a:pt x="529005" y="1580871"/>
                  <a:pt x="523220" y="1580871"/>
                </a:cubicBezTo>
                <a:cubicBezTo>
                  <a:pt x="516395" y="1581074"/>
                  <a:pt x="509627" y="1581866"/>
                  <a:pt x="502975" y="1583243"/>
                </a:cubicBezTo>
                <a:cubicBezTo>
                  <a:pt x="502396" y="1583324"/>
                  <a:pt x="501818" y="1582954"/>
                  <a:pt x="501644" y="1582375"/>
                </a:cubicBezTo>
                <a:lnTo>
                  <a:pt x="501644" y="1581797"/>
                </a:lnTo>
                <a:cubicBezTo>
                  <a:pt x="500546" y="1576938"/>
                  <a:pt x="499388" y="1571905"/>
                  <a:pt x="501008" y="1569476"/>
                </a:cubicBezTo>
                <a:cubicBezTo>
                  <a:pt x="501529" y="1568695"/>
                  <a:pt x="502396" y="1568169"/>
                  <a:pt x="503322" y="1568030"/>
                </a:cubicBezTo>
                <a:cubicBezTo>
                  <a:pt x="506793" y="1566306"/>
                  <a:pt x="510031" y="1564039"/>
                  <a:pt x="512809" y="1561320"/>
                </a:cubicBezTo>
                <a:cubicBezTo>
                  <a:pt x="518593" y="1556461"/>
                  <a:pt x="522237" y="1553511"/>
                  <a:pt x="524724" y="1553511"/>
                </a:cubicBezTo>
                <a:cubicBezTo>
                  <a:pt x="526054" y="1553511"/>
                  <a:pt x="528600" y="1553858"/>
                  <a:pt x="531550" y="1554205"/>
                </a:cubicBezTo>
                <a:cubicBezTo>
                  <a:pt x="535367" y="1554795"/>
                  <a:pt x="539243" y="1555159"/>
                  <a:pt x="543119" y="1555304"/>
                </a:cubicBezTo>
                <a:cubicBezTo>
                  <a:pt x="544044" y="1555373"/>
                  <a:pt x="544970" y="1555275"/>
                  <a:pt x="545895" y="1555015"/>
                </a:cubicBezTo>
                <a:cubicBezTo>
                  <a:pt x="546358" y="1552707"/>
                  <a:pt x="547110" y="1550474"/>
                  <a:pt x="548151" y="1548363"/>
                </a:cubicBezTo>
                <a:cubicBezTo>
                  <a:pt x="549424" y="1545297"/>
                  <a:pt x="551332" y="1540669"/>
                  <a:pt x="550754" y="1539339"/>
                </a:cubicBezTo>
                <a:cubicBezTo>
                  <a:pt x="550060" y="1538049"/>
                  <a:pt x="549192" y="1536863"/>
                  <a:pt x="548209" y="1535811"/>
                </a:cubicBezTo>
                <a:cubicBezTo>
                  <a:pt x="546011" y="1533323"/>
                  <a:pt x="543755" y="1530662"/>
                  <a:pt x="544738" y="1528175"/>
                </a:cubicBezTo>
                <a:cubicBezTo>
                  <a:pt x="545722" y="1525688"/>
                  <a:pt x="547862" y="1525456"/>
                  <a:pt x="550118" y="1524647"/>
                </a:cubicBezTo>
                <a:cubicBezTo>
                  <a:pt x="552374" y="1523837"/>
                  <a:pt x="554340" y="1523143"/>
                  <a:pt x="554340" y="1521928"/>
                </a:cubicBezTo>
                <a:cubicBezTo>
                  <a:pt x="554340" y="1520713"/>
                  <a:pt x="552548" y="1519209"/>
                  <a:pt x="550986" y="1518052"/>
                </a:cubicBezTo>
                <a:cubicBezTo>
                  <a:pt x="549424" y="1516895"/>
                  <a:pt x="547688" y="1515681"/>
                  <a:pt x="547688" y="1514003"/>
                </a:cubicBezTo>
                <a:cubicBezTo>
                  <a:pt x="547688" y="1512326"/>
                  <a:pt x="549134" y="1511227"/>
                  <a:pt x="550986" y="1509549"/>
                </a:cubicBezTo>
                <a:cubicBezTo>
                  <a:pt x="552836" y="1507872"/>
                  <a:pt x="555844" y="1505037"/>
                  <a:pt x="555556" y="1502724"/>
                </a:cubicBezTo>
                <a:cubicBezTo>
                  <a:pt x="555266" y="1500410"/>
                  <a:pt x="552605" y="1499022"/>
                  <a:pt x="547862" y="1496939"/>
                </a:cubicBezTo>
                <a:cubicBezTo>
                  <a:pt x="545317" y="1495985"/>
                  <a:pt x="542829" y="1494886"/>
                  <a:pt x="540400" y="1493642"/>
                </a:cubicBezTo>
                <a:cubicBezTo>
                  <a:pt x="536640" y="1491820"/>
                  <a:pt x="532649" y="1490721"/>
                  <a:pt x="528484" y="1490403"/>
                </a:cubicBezTo>
                <a:cubicBezTo>
                  <a:pt x="524666" y="1490067"/>
                  <a:pt x="520964" y="1489113"/>
                  <a:pt x="517436" y="1487568"/>
                </a:cubicBezTo>
                <a:cubicBezTo>
                  <a:pt x="512693" y="1485937"/>
                  <a:pt x="507718" y="1485191"/>
                  <a:pt x="502744" y="1485370"/>
                </a:cubicBezTo>
                <a:cubicBezTo>
                  <a:pt x="497364" y="1485370"/>
                  <a:pt x="494414" y="1485370"/>
                  <a:pt x="494414" y="1482941"/>
                </a:cubicBezTo>
                <a:cubicBezTo>
                  <a:pt x="492794" y="1480529"/>
                  <a:pt x="490827" y="1478348"/>
                  <a:pt x="488629" y="1476462"/>
                </a:cubicBezTo>
                <a:cubicBezTo>
                  <a:pt x="486200" y="1474183"/>
                  <a:pt x="484002" y="1471667"/>
                  <a:pt x="482093" y="1468943"/>
                </a:cubicBezTo>
                <a:cubicBezTo>
                  <a:pt x="481225" y="1467728"/>
                  <a:pt x="479779" y="1467086"/>
                  <a:pt x="478333" y="1467265"/>
                </a:cubicBezTo>
                <a:cubicBezTo>
                  <a:pt x="474862" y="1467502"/>
                  <a:pt x="471508" y="1468642"/>
                  <a:pt x="468615" y="1470562"/>
                </a:cubicBezTo>
                <a:cubicBezTo>
                  <a:pt x="464393" y="1474253"/>
                  <a:pt x="458203" y="1474744"/>
                  <a:pt x="453460" y="1471777"/>
                </a:cubicBezTo>
                <a:cubicBezTo>
                  <a:pt x="452187" y="1470996"/>
                  <a:pt x="450973" y="1470146"/>
                  <a:pt x="449816" y="1469232"/>
                </a:cubicBezTo>
                <a:cubicBezTo>
                  <a:pt x="446634" y="1466860"/>
                  <a:pt x="443626" y="1464720"/>
                  <a:pt x="441139" y="1465761"/>
                </a:cubicBezTo>
                <a:cubicBezTo>
                  <a:pt x="439693" y="1466357"/>
                  <a:pt x="438189" y="1466652"/>
                  <a:pt x="436627" y="1466629"/>
                </a:cubicBezTo>
                <a:cubicBezTo>
                  <a:pt x="434140" y="1466831"/>
                  <a:pt x="431653" y="1465848"/>
                  <a:pt x="429975" y="1463968"/>
                </a:cubicBezTo>
                <a:cubicBezTo>
                  <a:pt x="428934" y="1462504"/>
                  <a:pt x="428703" y="1460613"/>
                  <a:pt x="429339" y="1458935"/>
                </a:cubicBezTo>
                <a:cubicBezTo>
                  <a:pt x="430959" y="1453556"/>
                  <a:pt x="421762" y="1440830"/>
                  <a:pt x="417770" y="1439153"/>
                </a:cubicBezTo>
                <a:cubicBezTo>
                  <a:pt x="415688" y="1438609"/>
                  <a:pt x="413548" y="1438395"/>
                  <a:pt x="411407" y="1438516"/>
                </a:cubicBezTo>
                <a:cubicBezTo>
                  <a:pt x="406085" y="1438516"/>
                  <a:pt x="399491" y="1438516"/>
                  <a:pt x="397235" y="1433773"/>
                </a:cubicBezTo>
                <a:cubicBezTo>
                  <a:pt x="396310" y="1432003"/>
                  <a:pt x="395326" y="1430303"/>
                  <a:pt x="394170" y="1428683"/>
                </a:cubicBezTo>
                <a:cubicBezTo>
                  <a:pt x="391624" y="1424807"/>
                  <a:pt x="389195" y="1421105"/>
                  <a:pt x="391220" y="1417577"/>
                </a:cubicBezTo>
                <a:cubicBezTo>
                  <a:pt x="393244" y="1414048"/>
                  <a:pt x="390526" y="1402711"/>
                  <a:pt x="387576" y="1398083"/>
                </a:cubicBezTo>
                <a:cubicBezTo>
                  <a:pt x="386361" y="1396117"/>
                  <a:pt x="381791" y="1394902"/>
                  <a:pt x="376007" y="1394902"/>
                </a:cubicBezTo>
                <a:cubicBezTo>
                  <a:pt x="372883" y="1394798"/>
                  <a:pt x="369759" y="1395208"/>
                  <a:pt x="366810" y="1396117"/>
                </a:cubicBezTo>
                <a:cubicBezTo>
                  <a:pt x="365594" y="1396579"/>
                  <a:pt x="364264" y="1396793"/>
                  <a:pt x="362934" y="1396753"/>
                </a:cubicBezTo>
                <a:cubicBezTo>
                  <a:pt x="361314" y="1396753"/>
                  <a:pt x="359521" y="1396753"/>
                  <a:pt x="357786" y="1396348"/>
                </a:cubicBezTo>
                <a:cubicBezTo>
                  <a:pt x="356050" y="1395943"/>
                  <a:pt x="354199" y="1395943"/>
                  <a:pt x="352637" y="1395943"/>
                </a:cubicBezTo>
                <a:cubicBezTo>
                  <a:pt x="351307" y="1395879"/>
                  <a:pt x="349977" y="1396140"/>
                  <a:pt x="348762" y="1396695"/>
                </a:cubicBezTo>
                <a:cubicBezTo>
                  <a:pt x="347547" y="1397418"/>
                  <a:pt x="346390" y="1398251"/>
                  <a:pt x="345291" y="1399182"/>
                </a:cubicBezTo>
                <a:cubicBezTo>
                  <a:pt x="342688" y="1401820"/>
                  <a:pt x="339160" y="1403353"/>
                  <a:pt x="335458" y="1403463"/>
                </a:cubicBezTo>
                <a:cubicBezTo>
                  <a:pt x="328517" y="1403463"/>
                  <a:pt x="325913" y="1401323"/>
                  <a:pt x="322847" y="1388076"/>
                </a:cubicBezTo>
                <a:cubicBezTo>
                  <a:pt x="321865" y="1383738"/>
                  <a:pt x="320707" y="1380036"/>
                  <a:pt x="319724" y="1376797"/>
                </a:cubicBezTo>
                <a:cubicBezTo>
                  <a:pt x="317584" y="1369913"/>
                  <a:pt x="316022" y="1365228"/>
                  <a:pt x="318914" y="1361641"/>
                </a:cubicBezTo>
                <a:cubicBezTo>
                  <a:pt x="319782" y="1360652"/>
                  <a:pt x="321055" y="1360114"/>
                  <a:pt x="322327" y="1360195"/>
                </a:cubicBezTo>
                <a:cubicBezTo>
                  <a:pt x="324930" y="1360450"/>
                  <a:pt x="327417" y="1361196"/>
                  <a:pt x="329731" y="1362393"/>
                </a:cubicBezTo>
                <a:cubicBezTo>
                  <a:pt x="333086" y="1363839"/>
                  <a:pt x="336672" y="1365285"/>
                  <a:pt x="338640" y="1364360"/>
                </a:cubicBezTo>
                <a:cubicBezTo>
                  <a:pt x="347952" y="1360253"/>
                  <a:pt x="352637" y="1356204"/>
                  <a:pt x="351943" y="1352791"/>
                </a:cubicBezTo>
                <a:cubicBezTo>
                  <a:pt x="349109" y="1346723"/>
                  <a:pt x="343961" y="1342026"/>
                  <a:pt x="337656" y="1339718"/>
                </a:cubicBezTo>
                <a:cubicBezTo>
                  <a:pt x="334995" y="1339082"/>
                  <a:pt x="333086" y="1336363"/>
                  <a:pt x="330830" y="1333298"/>
                </a:cubicBezTo>
                <a:cubicBezTo>
                  <a:pt x="328748" y="1329561"/>
                  <a:pt x="325567" y="1326524"/>
                  <a:pt x="321749" y="1324563"/>
                </a:cubicBezTo>
                <a:cubicBezTo>
                  <a:pt x="317873" y="1322747"/>
                  <a:pt x="315039" y="1319282"/>
                  <a:pt x="313998" y="1315135"/>
                </a:cubicBezTo>
                <a:cubicBezTo>
                  <a:pt x="313188" y="1312080"/>
                  <a:pt x="311336" y="1309396"/>
                  <a:pt x="308792" y="1307499"/>
                </a:cubicBezTo>
                <a:cubicBezTo>
                  <a:pt x="303586" y="1304144"/>
                  <a:pt x="304280" y="1298475"/>
                  <a:pt x="304916" y="1293501"/>
                </a:cubicBezTo>
                <a:cubicBezTo>
                  <a:pt x="305205" y="1291436"/>
                  <a:pt x="305321" y="1289342"/>
                  <a:pt x="305263" y="1287254"/>
                </a:cubicBezTo>
                <a:cubicBezTo>
                  <a:pt x="305263" y="1285113"/>
                  <a:pt x="305263" y="1282684"/>
                  <a:pt x="305263" y="1280370"/>
                </a:cubicBezTo>
                <a:cubicBezTo>
                  <a:pt x="305263" y="1275858"/>
                  <a:pt x="305263" y="1270305"/>
                  <a:pt x="303586" y="1269380"/>
                </a:cubicBezTo>
                <a:lnTo>
                  <a:pt x="302313" y="1268743"/>
                </a:lnTo>
                <a:cubicBezTo>
                  <a:pt x="296123" y="1265065"/>
                  <a:pt x="289240" y="1262629"/>
                  <a:pt x="282126" y="1261571"/>
                </a:cubicBezTo>
                <a:cubicBezTo>
                  <a:pt x="281084" y="1261524"/>
                  <a:pt x="280043" y="1261727"/>
                  <a:pt x="279118" y="1262149"/>
                </a:cubicBezTo>
                <a:lnTo>
                  <a:pt x="278597" y="1262149"/>
                </a:lnTo>
                <a:cubicBezTo>
                  <a:pt x="275647" y="1263815"/>
                  <a:pt x="272407" y="1264879"/>
                  <a:pt x="269053" y="1265273"/>
                </a:cubicBezTo>
                <a:cubicBezTo>
                  <a:pt x="266565" y="1265227"/>
                  <a:pt x="264309" y="1263740"/>
                  <a:pt x="263268" y="1261455"/>
                </a:cubicBezTo>
                <a:cubicBezTo>
                  <a:pt x="261417" y="1256359"/>
                  <a:pt x="255806" y="1253652"/>
                  <a:pt x="250658" y="1255324"/>
                </a:cubicBezTo>
                <a:cubicBezTo>
                  <a:pt x="249270" y="1255711"/>
                  <a:pt x="247881" y="1255908"/>
                  <a:pt x="246435" y="1255902"/>
                </a:cubicBezTo>
                <a:cubicBezTo>
                  <a:pt x="242097" y="1255734"/>
                  <a:pt x="237932" y="1253941"/>
                  <a:pt x="234866" y="1250869"/>
                </a:cubicBezTo>
                <a:cubicBezTo>
                  <a:pt x="232726" y="1248232"/>
                  <a:pt x="231454" y="1245004"/>
                  <a:pt x="231164" y="1241615"/>
                </a:cubicBezTo>
                <a:cubicBezTo>
                  <a:pt x="230760" y="1238184"/>
                  <a:pt x="229487" y="1234910"/>
                  <a:pt x="227520" y="1232070"/>
                </a:cubicBezTo>
                <a:cubicBezTo>
                  <a:pt x="223356" y="1227848"/>
                  <a:pt x="216645" y="1220096"/>
                  <a:pt x="218786" y="1215064"/>
                </a:cubicBezTo>
                <a:cubicBezTo>
                  <a:pt x="220868" y="1210298"/>
                  <a:pt x="219769" y="1204721"/>
                  <a:pt x="216009" y="1201124"/>
                </a:cubicBezTo>
                <a:cubicBezTo>
                  <a:pt x="212654" y="1198156"/>
                  <a:pt x="210572" y="1194014"/>
                  <a:pt x="210225" y="1189555"/>
                </a:cubicBezTo>
                <a:cubicBezTo>
                  <a:pt x="210283" y="1187802"/>
                  <a:pt x="211035" y="1186148"/>
                  <a:pt x="212365" y="1184985"/>
                </a:cubicBezTo>
                <a:cubicBezTo>
                  <a:pt x="213695" y="1184025"/>
                  <a:pt x="215141" y="1183244"/>
                  <a:pt x="216645" y="1182671"/>
                </a:cubicBezTo>
                <a:cubicBezTo>
                  <a:pt x="218381" y="1181919"/>
                  <a:pt x="220116" y="1181167"/>
                  <a:pt x="220405" y="1180126"/>
                </a:cubicBezTo>
                <a:cubicBezTo>
                  <a:pt x="220695" y="1179085"/>
                  <a:pt x="220405" y="1178622"/>
                  <a:pt x="219480" y="1177407"/>
                </a:cubicBezTo>
                <a:lnTo>
                  <a:pt x="218555" y="1176135"/>
                </a:lnTo>
                <a:cubicBezTo>
                  <a:pt x="215199" y="1172311"/>
                  <a:pt x="213291" y="1167412"/>
                  <a:pt x="213175" y="1162310"/>
                </a:cubicBezTo>
                <a:cubicBezTo>
                  <a:pt x="212943" y="1159823"/>
                  <a:pt x="212597" y="1157347"/>
                  <a:pt x="212076" y="1154906"/>
                </a:cubicBezTo>
                <a:cubicBezTo>
                  <a:pt x="211382" y="1152112"/>
                  <a:pt x="211150" y="1149220"/>
                  <a:pt x="211382" y="1146345"/>
                </a:cubicBezTo>
                <a:cubicBezTo>
                  <a:pt x="211902" y="1143800"/>
                  <a:pt x="213233" y="1141498"/>
                  <a:pt x="215199" y="1139809"/>
                </a:cubicBezTo>
                <a:cubicBezTo>
                  <a:pt x="217397" y="1137547"/>
                  <a:pt x="219191" y="1134950"/>
                  <a:pt x="220579" y="1132115"/>
                </a:cubicBezTo>
                <a:cubicBezTo>
                  <a:pt x="221736" y="1129958"/>
                  <a:pt x="223240" y="1128002"/>
                  <a:pt x="225033" y="1126331"/>
                </a:cubicBezTo>
                <a:cubicBezTo>
                  <a:pt x="228214" y="1123034"/>
                  <a:pt x="230124" y="1121125"/>
                  <a:pt x="226190" y="1115456"/>
                </a:cubicBezTo>
                <a:cubicBezTo>
                  <a:pt x="225843" y="1115022"/>
                  <a:pt x="225843" y="1114386"/>
                  <a:pt x="226190" y="1113952"/>
                </a:cubicBezTo>
                <a:cubicBezTo>
                  <a:pt x="227058" y="1113154"/>
                  <a:pt x="227810" y="1112240"/>
                  <a:pt x="228446" y="1111233"/>
                </a:cubicBezTo>
                <a:cubicBezTo>
                  <a:pt x="231049" y="1107103"/>
                  <a:pt x="235214" y="1104205"/>
                  <a:pt x="240015" y="1103193"/>
                </a:cubicBezTo>
                <a:cubicBezTo>
                  <a:pt x="244411" y="1101678"/>
                  <a:pt x="248633" y="1099740"/>
                  <a:pt x="252682" y="1097409"/>
                </a:cubicBezTo>
                <a:cubicBezTo>
                  <a:pt x="256848" y="1094580"/>
                  <a:pt x="261880" y="1093406"/>
                  <a:pt x="266855" y="1094112"/>
                </a:cubicBezTo>
                <a:cubicBezTo>
                  <a:pt x="269573" y="1094597"/>
                  <a:pt x="272349" y="1094863"/>
                  <a:pt x="275126" y="1094921"/>
                </a:cubicBezTo>
                <a:cubicBezTo>
                  <a:pt x="279233" y="1094921"/>
                  <a:pt x="279696" y="1093996"/>
                  <a:pt x="279696" y="1093996"/>
                </a:cubicBezTo>
                <a:cubicBezTo>
                  <a:pt x="279696" y="1093996"/>
                  <a:pt x="279696" y="1093360"/>
                  <a:pt x="278712" y="1092318"/>
                </a:cubicBezTo>
                <a:cubicBezTo>
                  <a:pt x="276919" y="1090294"/>
                  <a:pt x="272928" y="1090294"/>
                  <a:pt x="268705" y="1090236"/>
                </a:cubicBezTo>
                <a:cubicBezTo>
                  <a:pt x="263904" y="1090739"/>
                  <a:pt x="259104" y="1089657"/>
                  <a:pt x="254996" y="1087170"/>
                </a:cubicBezTo>
                <a:cubicBezTo>
                  <a:pt x="252220" y="1084480"/>
                  <a:pt x="249848" y="1081351"/>
                  <a:pt x="248055" y="1077915"/>
                </a:cubicBezTo>
                <a:cubicBezTo>
                  <a:pt x="245394" y="1073635"/>
                  <a:pt x="242675" y="1069238"/>
                  <a:pt x="240131" y="1069238"/>
                </a:cubicBezTo>
                <a:cubicBezTo>
                  <a:pt x="239725" y="1069244"/>
                  <a:pt x="239263" y="1069366"/>
                  <a:pt x="238915" y="1069585"/>
                </a:cubicBezTo>
                <a:cubicBezTo>
                  <a:pt x="235214" y="1071344"/>
                  <a:pt x="231338" y="1072738"/>
                  <a:pt x="227346" y="1073750"/>
                </a:cubicBezTo>
                <a:cubicBezTo>
                  <a:pt x="226884" y="1073872"/>
                  <a:pt x="226421" y="1073681"/>
                  <a:pt x="226190" y="1073288"/>
                </a:cubicBezTo>
                <a:cubicBezTo>
                  <a:pt x="225958" y="1072900"/>
                  <a:pt x="225958" y="1072403"/>
                  <a:pt x="226190" y="1072015"/>
                </a:cubicBezTo>
                <a:cubicBezTo>
                  <a:pt x="230066" y="1066011"/>
                  <a:pt x="234462" y="1060394"/>
                  <a:pt x="239379" y="1055240"/>
                </a:cubicBezTo>
                <a:cubicBezTo>
                  <a:pt x="244700" y="1050416"/>
                  <a:pt x="250484" y="1046205"/>
                  <a:pt x="256732" y="1042688"/>
                </a:cubicBezTo>
                <a:cubicBezTo>
                  <a:pt x="266739" y="1036556"/>
                  <a:pt x="277093" y="1030194"/>
                  <a:pt x="280852" y="1021690"/>
                </a:cubicBezTo>
                <a:cubicBezTo>
                  <a:pt x="284266" y="1014055"/>
                  <a:pt x="293463" y="1007461"/>
                  <a:pt x="302313" y="1001040"/>
                </a:cubicBezTo>
                <a:cubicBezTo>
                  <a:pt x="311163" y="994619"/>
                  <a:pt x="318914" y="989066"/>
                  <a:pt x="321228" y="982993"/>
                </a:cubicBezTo>
                <a:cubicBezTo>
                  <a:pt x="323542" y="976919"/>
                  <a:pt x="324467" y="974200"/>
                  <a:pt x="314171" y="962284"/>
                </a:cubicBezTo>
                <a:cubicBezTo>
                  <a:pt x="308098" y="956240"/>
                  <a:pt x="301098" y="951132"/>
                  <a:pt x="293521" y="947129"/>
                </a:cubicBezTo>
                <a:cubicBezTo>
                  <a:pt x="285770" y="942502"/>
                  <a:pt x="279638" y="938800"/>
                  <a:pt x="279118" y="935040"/>
                </a:cubicBezTo>
                <a:cubicBezTo>
                  <a:pt x="278597" y="931280"/>
                  <a:pt x="283166" y="929255"/>
                  <a:pt x="287563" y="927115"/>
                </a:cubicBezTo>
                <a:cubicBezTo>
                  <a:pt x="291959" y="924975"/>
                  <a:pt x="296471" y="923124"/>
                  <a:pt x="296065" y="919653"/>
                </a:cubicBezTo>
                <a:cubicBezTo>
                  <a:pt x="295661" y="916182"/>
                  <a:pt x="292653" y="913869"/>
                  <a:pt x="289182" y="911844"/>
                </a:cubicBezTo>
                <a:cubicBezTo>
                  <a:pt x="286232" y="910404"/>
                  <a:pt x="283687" y="908281"/>
                  <a:pt x="281720" y="905655"/>
                </a:cubicBezTo>
                <a:cubicBezTo>
                  <a:pt x="279696" y="901958"/>
                  <a:pt x="280564" y="897331"/>
                  <a:pt x="283860" y="894664"/>
                </a:cubicBezTo>
                <a:cubicBezTo>
                  <a:pt x="284786" y="893450"/>
                  <a:pt x="285828" y="892235"/>
                  <a:pt x="285654" y="891599"/>
                </a:cubicBezTo>
                <a:cubicBezTo>
                  <a:pt x="285480" y="890962"/>
                  <a:pt x="282299" y="889343"/>
                  <a:pt x="279870" y="888417"/>
                </a:cubicBezTo>
                <a:cubicBezTo>
                  <a:pt x="276110" y="886913"/>
                  <a:pt x="272292" y="885351"/>
                  <a:pt x="271713" y="882633"/>
                </a:cubicBezTo>
                <a:cubicBezTo>
                  <a:pt x="271135" y="879914"/>
                  <a:pt x="273680" y="878699"/>
                  <a:pt x="275531" y="877890"/>
                </a:cubicBezTo>
                <a:cubicBezTo>
                  <a:pt x="277382" y="877080"/>
                  <a:pt x="278712" y="876154"/>
                  <a:pt x="278192" y="874708"/>
                </a:cubicBezTo>
                <a:cubicBezTo>
                  <a:pt x="277614" y="873314"/>
                  <a:pt x="276977" y="871961"/>
                  <a:pt x="276225" y="870659"/>
                </a:cubicBezTo>
                <a:cubicBezTo>
                  <a:pt x="273449" y="865627"/>
                  <a:pt x="269631" y="858743"/>
                  <a:pt x="274374" y="852669"/>
                </a:cubicBezTo>
                <a:cubicBezTo>
                  <a:pt x="276457" y="850350"/>
                  <a:pt x="279233" y="848811"/>
                  <a:pt x="282299" y="848331"/>
                </a:cubicBezTo>
                <a:cubicBezTo>
                  <a:pt x="284324" y="847810"/>
                  <a:pt x="285596" y="847406"/>
                  <a:pt x="286001" y="846538"/>
                </a:cubicBezTo>
                <a:cubicBezTo>
                  <a:pt x="286406" y="845670"/>
                  <a:pt x="285596" y="842257"/>
                  <a:pt x="283166" y="837803"/>
                </a:cubicBezTo>
                <a:cubicBezTo>
                  <a:pt x="275126" y="823111"/>
                  <a:pt x="263037" y="805121"/>
                  <a:pt x="258467" y="798354"/>
                </a:cubicBezTo>
                <a:lnTo>
                  <a:pt x="257368" y="796618"/>
                </a:lnTo>
                <a:cubicBezTo>
                  <a:pt x="256326" y="795051"/>
                  <a:pt x="255980" y="793124"/>
                  <a:pt x="256442" y="791297"/>
                </a:cubicBezTo>
                <a:cubicBezTo>
                  <a:pt x="258062" y="786247"/>
                  <a:pt x="261359" y="781897"/>
                  <a:pt x="265755" y="778976"/>
                </a:cubicBezTo>
                <a:cubicBezTo>
                  <a:pt x="270903" y="775447"/>
                  <a:pt x="282241" y="763705"/>
                  <a:pt x="282241" y="759714"/>
                </a:cubicBezTo>
                <a:cubicBezTo>
                  <a:pt x="282241" y="755722"/>
                  <a:pt x="268243" y="743344"/>
                  <a:pt x="263384" y="740451"/>
                </a:cubicBezTo>
                <a:cubicBezTo>
                  <a:pt x="261938" y="739757"/>
                  <a:pt x="260434" y="739231"/>
                  <a:pt x="258872" y="738890"/>
                </a:cubicBezTo>
                <a:cubicBezTo>
                  <a:pt x="253434" y="738207"/>
                  <a:pt x="248691" y="735014"/>
                  <a:pt x="245973" y="730271"/>
                </a:cubicBezTo>
                <a:cubicBezTo>
                  <a:pt x="244931" y="728246"/>
                  <a:pt x="243891" y="726511"/>
                  <a:pt x="242965" y="725065"/>
                </a:cubicBezTo>
                <a:cubicBezTo>
                  <a:pt x="240419" y="720900"/>
                  <a:pt x="238569" y="717950"/>
                  <a:pt x="242039" y="713496"/>
                </a:cubicBezTo>
                <a:cubicBezTo>
                  <a:pt x="245105" y="709586"/>
                  <a:pt x="246493" y="704611"/>
                  <a:pt x="245915" y="699671"/>
                </a:cubicBezTo>
                <a:cubicBezTo>
                  <a:pt x="245915" y="696548"/>
                  <a:pt x="248576" y="695969"/>
                  <a:pt x="250774" y="695564"/>
                </a:cubicBezTo>
                <a:cubicBezTo>
                  <a:pt x="252972" y="695159"/>
                  <a:pt x="255632" y="694581"/>
                  <a:pt x="256558" y="691342"/>
                </a:cubicBezTo>
                <a:cubicBezTo>
                  <a:pt x="259104" y="682231"/>
                  <a:pt x="266855" y="675521"/>
                  <a:pt x="276225" y="674278"/>
                </a:cubicBezTo>
                <a:cubicBezTo>
                  <a:pt x="280158" y="673624"/>
                  <a:pt x="283860" y="671785"/>
                  <a:pt x="286753" y="669014"/>
                </a:cubicBezTo>
                <a:cubicBezTo>
                  <a:pt x="289703" y="666179"/>
                  <a:pt x="293405" y="664323"/>
                  <a:pt x="297454" y="663692"/>
                </a:cubicBezTo>
                <a:cubicBezTo>
                  <a:pt x="297975" y="663634"/>
                  <a:pt x="298553" y="663634"/>
                  <a:pt x="299074" y="663692"/>
                </a:cubicBezTo>
                <a:cubicBezTo>
                  <a:pt x="300289" y="663952"/>
                  <a:pt x="301503" y="664091"/>
                  <a:pt x="302718" y="664097"/>
                </a:cubicBezTo>
                <a:cubicBezTo>
                  <a:pt x="305784" y="664097"/>
                  <a:pt x="310064" y="663172"/>
                  <a:pt x="311626" y="654784"/>
                </a:cubicBezTo>
                <a:cubicBezTo>
                  <a:pt x="311684" y="654431"/>
                  <a:pt x="311915" y="654130"/>
                  <a:pt x="312262" y="653974"/>
                </a:cubicBezTo>
                <a:cubicBezTo>
                  <a:pt x="312610" y="653801"/>
                  <a:pt x="313014" y="653801"/>
                  <a:pt x="313361" y="653974"/>
                </a:cubicBezTo>
                <a:cubicBezTo>
                  <a:pt x="314113" y="654385"/>
                  <a:pt x="314807" y="654888"/>
                  <a:pt x="315386" y="655478"/>
                </a:cubicBezTo>
                <a:cubicBezTo>
                  <a:pt x="317989" y="658023"/>
                  <a:pt x="321401" y="659556"/>
                  <a:pt x="325046" y="659817"/>
                </a:cubicBezTo>
                <a:cubicBezTo>
                  <a:pt x="327244" y="659967"/>
                  <a:pt x="329268" y="658683"/>
                  <a:pt x="330078" y="656635"/>
                </a:cubicBezTo>
                <a:cubicBezTo>
                  <a:pt x="331582" y="652013"/>
                  <a:pt x="335804" y="648826"/>
                  <a:pt x="340664" y="648653"/>
                </a:cubicBezTo>
                <a:cubicBezTo>
                  <a:pt x="344481" y="648872"/>
                  <a:pt x="348125" y="650203"/>
                  <a:pt x="351191" y="652470"/>
                </a:cubicBezTo>
                <a:cubicBezTo>
                  <a:pt x="354893" y="655027"/>
                  <a:pt x="359232" y="656398"/>
                  <a:pt x="363744" y="656404"/>
                </a:cubicBezTo>
                <a:cubicBezTo>
                  <a:pt x="366578" y="656404"/>
                  <a:pt x="369528" y="656404"/>
                  <a:pt x="369528" y="660511"/>
                </a:cubicBezTo>
                <a:cubicBezTo>
                  <a:pt x="369702" y="661477"/>
                  <a:pt x="369470" y="662466"/>
                  <a:pt x="368834" y="663229"/>
                </a:cubicBezTo>
                <a:cubicBezTo>
                  <a:pt x="367041" y="665427"/>
                  <a:pt x="362529" y="665774"/>
                  <a:pt x="357786" y="666122"/>
                </a:cubicBezTo>
                <a:cubicBezTo>
                  <a:pt x="354778" y="665983"/>
                  <a:pt x="351770" y="666579"/>
                  <a:pt x="349051" y="667857"/>
                </a:cubicBezTo>
                <a:cubicBezTo>
                  <a:pt x="348473" y="668719"/>
                  <a:pt x="348473" y="669829"/>
                  <a:pt x="349051" y="670691"/>
                </a:cubicBezTo>
                <a:cubicBezTo>
                  <a:pt x="351191" y="674006"/>
                  <a:pt x="354951" y="675857"/>
                  <a:pt x="358885" y="675492"/>
                </a:cubicBezTo>
                <a:cubicBezTo>
                  <a:pt x="360446" y="675469"/>
                  <a:pt x="362008" y="675273"/>
                  <a:pt x="363512" y="674914"/>
                </a:cubicBezTo>
                <a:cubicBezTo>
                  <a:pt x="365132" y="674526"/>
                  <a:pt x="366752" y="674330"/>
                  <a:pt x="368429" y="674335"/>
                </a:cubicBezTo>
                <a:cubicBezTo>
                  <a:pt x="371957" y="674463"/>
                  <a:pt x="375486" y="675186"/>
                  <a:pt x="378783" y="676476"/>
                </a:cubicBezTo>
                <a:cubicBezTo>
                  <a:pt x="382659" y="677864"/>
                  <a:pt x="385609" y="678616"/>
                  <a:pt x="388154" y="676476"/>
                </a:cubicBezTo>
                <a:cubicBezTo>
                  <a:pt x="391509" y="673931"/>
                  <a:pt x="395558" y="672496"/>
                  <a:pt x="399723" y="672369"/>
                </a:cubicBezTo>
                <a:cubicBezTo>
                  <a:pt x="403599" y="672195"/>
                  <a:pt x="407243" y="674006"/>
                  <a:pt x="409441" y="677170"/>
                </a:cubicBezTo>
                <a:cubicBezTo>
                  <a:pt x="411639" y="680409"/>
                  <a:pt x="413490" y="680814"/>
                  <a:pt x="414820" y="680814"/>
                </a:cubicBezTo>
                <a:cubicBezTo>
                  <a:pt x="417423" y="680513"/>
                  <a:pt x="419910" y="679686"/>
                  <a:pt x="422166" y="678384"/>
                </a:cubicBezTo>
                <a:cubicBezTo>
                  <a:pt x="423150" y="677997"/>
                  <a:pt x="424249" y="677818"/>
                  <a:pt x="425290" y="677864"/>
                </a:cubicBezTo>
                <a:cubicBezTo>
                  <a:pt x="435817" y="677864"/>
                  <a:pt x="465781" y="689433"/>
                  <a:pt x="487067" y="703547"/>
                </a:cubicBezTo>
                <a:lnTo>
                  <a:pt x="491984" y="706786"/>
                </a:lnTo>
                <a:cubicBezTo>
                  <a:pt x="511767" y="719975"/>
                  <a:pt x="518246" y="724139"/>
                  <a:pt x="526344" y="723561"/>
                </a:cubicBezTo>
                <a:cubicBezTo>
                  <a:pt x="530740" y="723578"/>
                  <a:pt x="534847" y="725736"/>
                  <a:pt x="537334" y="729345"/>
                </a:cubicBezTo>
                <a:cubicBezTo>
                  <a:pt x="539995" y="733175"/>
                  <a:pt x="544276" y="735593"/>
                  <a:pt x="548903" y="735940"/>
                </a:cubicBezTo>
                <a:cubicBezTo>
                  <a:pt x="558795" y="736183"/>
                  <a:pt x="567819" y="741672"/>
                  <a:pt x="572561" y="750343"/>
                </a:cubicBezTo>
                <a:cubicBezTo>
                  <a:pt x="573256" y="752078"/>
                  <a:pt x="576321" y="753351"/>
                  <a:pt x="579272" y="754623"/>
                </a:cubicBezTo>
                <a:cubicBezTo>
                  <a:pt x="583552" y="756474"/>
                  <a:pt x="588411" y="758557"/>
                  <a:pt x="588411" y="762895"/>
                </a:cubicBezTo>
                <a:cubicBezTo>
                  <a:pt x="588758" y="765660"/>
                  <a:pt x="589510" y="768361"/>
                  <a:pt x="590551" y="770935"/>
                </a:cubicBezTo>
                <a:cubicBezTo>
                  <a:pt x="593212" y="778802"/>
                  <a:pt x="596856" y="789619"/>
                  <a:pt x="590551" y="795982"/>
                </a:cubicBezTo>
                <a:cubicBezTo>
                  <a:pt x="581470" y="805121"/>
                  <a:pt x="545664" y="831498"/>
                  <a:pt x="516799" y="831498"/>
                </a:cubicBezTo>
                <a:cubicBezTo>
                  <a:pt x="514659" y="831493"/>
                  <a:pt x="512519" y="831342"/>
                  <a:pt x="510379" y="831036"/>
                </a:cubicBezTo>
                <a:cubicBezTo>
                  <a:pt x="485737" y="827449"/>
                  <a:pt x="472722" y="825251"/>
                  <a:pt x="457625" y="822475"/>
                </a:cubicBezTo>
                <a:lnTo>
                  <a:pt x="446519" y="820566"/>
                </a:lnTo>
                <a:cubicBezTo>
                  <a:pt x="438073" y="819004"/>
                  <a:pt x="429859" y="816355"/>
                  <a:pt x="422108" y="812699"/>
                </a:cubicBezTo>
                <a:cubicBezTo>
                  <a:pt x="414820" y="809194"/>
                  <a:pt x="407011" y="806816"/>
                  <a:pt x="398971" y="805642"/>
                </a:cubicBezTo>
                <a:cubicBezTo>
                  <a:pt x="384625" y="804595"/>
                  <a:pt x="371090" y="798793"/>
                  <a:pt x="360446" y="789156"/>
                </a:cubicBezTo>
                <a:cubicBezTo>
                  <a:pt x="355414" y="783401"/>
                  <a:pt x="347894" y="780428"/>
                  <a:pt x="340259" y="781174"/>
                </a:cubicBezTo>
                <a:lnTo>
                  <a:pt x="341821" y="781810"/>
                </a:lnTo>
                <a:cubicBezTo>
                  <a:pt x="344829" y="783083"/>
                  <a:pt x="349398" y="785049"/>
                  <a:pt x="350208" y="788925"/>
                </a:cubicBezTo>
                <a:cubicBezTo>
                  <a:pt x="351365" y="794709"/>
                  <a:pt x="367966" y="808361"/>
                  <a:pt x="376007" y="810270"/>
                </a:cubicBezTo>
                <a:cubicBezTo>
                  <a:pt x="379477" y="811247"/>
                  <a:pt x="382312" y="813648"/>
                  <a:pt x="383873" y="816864"/>
                </a:cubicBezTo>
                <a:cubicBezTo>
                  <a:pt x="385262" y="820236"/>
                  <a:pt x="388616" y="822405"/>
                  <a:pt x="392261" y="822359"/>
                </a:cubicBezTo>
                <a:cubicBezTo>
                  <a:pt x="399260" y="822741"/>
                  <a:pt x="405855" y="825783"/>
                  <a:pt x="410655" y="830862"/>
                </a:cubicBezTo>
                <a:cubicBezTo>
                  <a:pt x="412911" y="832939"/>
                  <a:pt x="414300" y="835831"/>
                  <a:pt x="414415" y="838902"/>
                </a:cubicBezTo>
                <a:cubicBezTo>
                  <a:pt x="414415" y="840852"/>
                  <a:pt x="414588" y="842790"/>
                  <a:pt x="415052" y="844687"/>
                </a:cubicBezTo>
                <a:cubicBezTo>
                  <a:pt x="415919" y="848967"/>
                  <a:pt x="416902" y="853768"/>
                  <a:pt x="411870" y="857239"/>
                </a:cubicBezTo>
                <a:cubicBezTo>
                  <a:pt x="408399" y="859611"/>
                  <a:pt x="409151" y="863428"/>
                  <a:pt x="410597" y="868519"/>
                </a:cubicBezTo>
                <a:cubicBezTo>
                  <a:pt x="411234" y="870381"/>
                  <a:pt x="411581" y="872336"/>
                  <a:pt x="411581" y="874303"/>
                </a:cubicBezTo>
                <a:cubicBezTo>
                  <a:pt x="411870" y="876299"/>
                  <a:pt x="412622" y="878196"/>
                  <a:pt x="413837" y="879798"/>
                </a:cubicBezTo>
                <a:cubicBezTo>
                  <a:pt x="416729" y="883980"/>
                  <a:pt x="418233" y="888990"/>
                  <a:pt x="418060" y="894086"/>
                </a:cubicBezTo>
                <a:cubicBezTo>
                  <a:pt x="417192" y="898361"/>
                  <a:pt x="418060" y="902803"/>
                  <a:pt x="420547" y="906407"/>
                </a:cubicBezTo>
                <a:cubicBezTo>
                  <a:pt x="423381" y="908871"/>
                  <a:pt x="427315" y="909704"/>
                  <a:pt x="430901" y="908605"/>
                </a:cubicBezTo>
                <a:cubicBezTo>
                  <a:pt x="432115" y="908420"/>
                  <a:pt x="433273" y="908321"/>
                  <a:pt x="434487" y="908316"/>
                </a:cubicBezTo>
                <a:cubicBezTo>
                  <a:pt x="446056" y="908316"/>
                  <a:pt x="456815" y="916992"/>
                  <a:pt x="457220" y="923760"/>
                </a:cubicBezTo>
                <a:cubicBezTo>
                  <a:pt x="457220" y="926016"/>
                  <a:pt x="460922" y="926305"/>
                  <a:pt x="466302" y="926421"/>
                </a:cubicBezTo>
                <a:cubicBezTo>
                  <a:pt x="471681" y="926537"/>
                  <a:pt x="476193" y="926710"/>
                  <a:pt x="478449" y="929660"/>
                </a:cubicBezTo>
                <a:cubicBezTo>
                  <a:pt x="480011" y="931170"/>
                  <a:pt x="482093" y="931945"/>
                  <a:pt x="484233" y="931800"/>
                </a:cubicBezTo>
                <a:cubicBezTo>
                  <a:pt x="489035" y="931962"/>
                  <a:pt x="493604" y="930065"/>
                  <a:pt x="496901" y="926594"/>
                </a:cubicBezTo>
                <a:cubicBezTo>
                  <a:pt x="499215" y="922522"/>
                  <a:pt x="499794" y="917681"/>
                  <a:pt x="498520" y="913175"/>
                </a:cubicBezTo>
                <a:cubicBezTo>
                  <a:pt x="497884" y="912139"/>
                  <a:pt x="496670" y="911561"/>
                  <a:pt x="495455" y="911671"/>
                </a:cubicBezTo>
                <a:cubicBezTo>
                  <a:pt x="489150" y="911671"/>
                  <a:pt x="472318" y="911671"/>
                  <a:pt x="467806" y="901721"/>
                </a:cubicBezTo>
                <a:cubicBezTo>
                  <a:pt x="466302" y="898818"/>
                  <a:pt x="464393" y="896180"/>
                  <a:pt x="462021" y="893912"/>
                </a:cubicBezTo>
                <a:cubicBezTo>
                  <a:pt x="459533" y="891136"/>
                  <a:pt x="457393" y="888706"/>
                  <a:pt x="459418" y="884947"/>
                </a:cubicBezTo>
                <a:lnTo>
                  <a:pt x="459418" y="884542"/>
                </a:lnTo>
                <a:cubicBezTo>
                  <a:pt x="462310" y="879104"/>
                  <a:pt x="467632" y="869039"/>
                  <a:pt x="476308" y="869039"/>
                </a:cubicBezTo>
                <a:lnTo>
                  <a:pt x="476829" y="869039"/>
                </a:lnTo>
                <a:cubicBezTo>
                  <a:pt x="481457" y="869039"/>
                  <a:pt x="487935" y="874419"/>
                  <a:pt x="494182" y="879336"/>
                </a:cubicBezTo>
                <a:cubicBezTo>
                  <a:pt x="497884" y="883020"/>
                  <a:pt x="502396" y="885860"/>
                  <a:pt x="507313" y="887665"/>
                </a:cubicBezTo>
                <a:lnTo>
                  <a:pt x="507718" y="887665"/>
                </a:lnTo>
                <a:cubicBezTo>
                  <a:pt x="513849" y="886450"/>
                  <a:pt x="532244" y="888417"/>
                  <a:pt x="537103" y="894549"/>
                </a:cubicBezTo>
                <a:cubicBezTo>
                  <a:pt x="539127" y="897210"/>
                  <a:pt x="548267" y="899350"/>
                  <a:pt x="557522" y="899350"/>
                </a:cubicBezTo>
                <a:cubicBezTo>
                  <a:pt x="564347" y="899350"/>
                  <a:pt x="567645" y="898019"/>
                  <a:pt x="567761" y="897094"/>
                </a:cubicBezTo>
                <a:cubicBezTo>
                  <a:pt x="568339" y="893392"/>
                  <a:pt x="567761" y="887260"/>
                  <a:pt x="556770" y="876675"/>
                </a:cubicBezTo>
                <a:cubicBezTo>
                  <a:pt x="551911" y="872886"/>
                  <a:pt x="549076" y="867044"/>
                  <a:pt x="549192" y="860883"/>
                </a:cubicBezTo>
                <a:cubicBezTo>
                  <a:pt x="549597" y="856852"/>
                  <a:pt x="551853" y="853248"/>
                  <a:pt x="555324" y="851108"/>
                </a:cubicBezTo>
                <a:cubicBezTo>
                  <a:pt x="558332" y="848933"/>
                  <a:pt x="561166" y="846578"/>
                  <a:pt x="563885" y="844051"/>
                </a:cubicBezTo>
                <a:cubicBezTo>
                  <a:pt x="570190" y="838266"/>
                  <a:pt x="576726" y="832482"/>
                  <a:pt x="582106" y="831961"/>
                </a:cubicBezTo>
                <a:cubicBezTo>
                  <a:pt x="585172" y="831556"/>
                  <a:pt x="600674" y="829416"/>
                  <a:pt x="605532" y="821954"/>
                </a:cubicBezTo>
                <a:cubicBezTo>
                  <a:pt x="608946" y="816632"/>
                  <a:pt x="612300" y="812236"/>
                  <a:pt x="618895" y="812236"/>
                </a:cubicBezTo>
                <a:cubicBezTo>
                  <a:pt x="620630" y="812254"/>
                  <a:pt x="622423" y="812508"/>
                  <a:pt x="624101" y="812988"/>
                </a:cubicBezTo>
                <a:cubicBezTo>
                  <a:pt x="628092" y="813758"/>
                  <a:pt x="632083" y="814087"/>
                  <a:pt x="636132" y="813972"/>
                </a:cubicBezTo>
                <a:cubicBezTo>
                  <a:pt x="643883" y="813972"/>
                  <a:pt x="651172" y="813972"/>
                  <a:pt x="652387" y="819062"/>
                </a:cubicBezTo>
                <a:cubicBezTo>
                  <a:pt x="653601" y="824152"/>
                  <a:pt x="655973" y="827276"/>
                  <a:pt x="657419" y="827276"/>
                </a:cubicBezTo>
                <a:cubicBezTo>
                  <a:pt x="657882" y="827235"/>
                  <a:pt x="658286" y="827004"/>
                  <a:pt x="658518" y="826639"/>
                </a:cubicBezTo>
                <a:cubicBezTo>
                  <a:pt x="659096" y="826003"/>
                  <a:pt x="659848" y="825639"/>
                  <a:pt x="660716" y="825656"/>
                </a:cubicBezTo>
                <a:cubicBezTo>
                  <a:pt x="662625" y="825928"/>
                  <a:pt x="664418" y="826663"/>
                  <a:pt x="665922" y="827796"/>
                </a:cubicBezTo>
                <a:cubicBezTo>
                  <a:pt x="667021" y="828548"/>
                  <a:pt x="668236" y="829098"/>
                  <a:pt x="669509" y="829416"/>
                </a:cubicBezTo>
                <a:cubicBezTo>
                  <a:pt x="669913" y="829416"/>
                  <a:pt x="669913" y="828201"/>
                  <a:pt x="669913" y="827854"/>
                </a:cubicBezTo>
                <a:cubicBezTo>
                  <a:pt x="670145" y="824337"/>
                  <a:pt x="671591" y="821005"/>
                  <a:pt x="673905" y="818368"/>
                </a:cubicBezTo>
                <a:cubicBezTo>
                  <a:pt x="676681" y="815146"/>
                  <a:pt x="678301" y="811062"/>
                  <a:pt x="678417" y="806799"/>
                </a:cubicBezTo>
                <a:lnTo>
                  <a:pt x="678417" y="804774"/>
                </a:lnTo>
                <a:cubicBezTo>
                  <a:pt x="678417" y="797486"/>
                  <a:pt x="678417" y="789214"/>
                  <a:pt x="674888" y="785570"/>
                </a:cubicBezTo>
                <a:cubicBezTo>
                  <a:pt x="673557" y="784257"/>
                  <a:pt x="671707" y="783569"/>
                  <a:pt x="669855" y="783661"/>
                </a:cubicBezTo>
                <a:lnTo>
                  <a:pt x="669046" y="783661"/>
                </a:lnTo>
                <a:cubicBezTo>
                  <a:pt x="662394" y="783661"/>
                  <a:pt x="657882" y="784182"/>
                  <a:pt x="656436" y="781463"/>
                </a:cubicBezTo>
                <a:cubicBezTo>
                  <a:pt x="655452" y="779612"/>
                  <a:pt x="656436" y="776836"/>
                  <a:pt x="659617" y="772150"/>
                </a:cubicBezTo>
                <a:cubicBezTo>
                  <a:pt x="667137" y="761391"/>
                  <a:pt x="671765" y="748260"/>
                  <a:pt x="669971" y="742881"/>
                </a:cubicBezTo>
                <a:cubicBezTo>
                  <a:pt x="669509" y="740648"/>
                  <a:pt x="669509" y="738346"/>
                  <a:pt x="669971" y="736113"/>
                </a:cubicBezTo>
                <a:cubicBezTo>
                  <a:pt x="670376" y="731023"/>
                  <a:pt x="670781" y="726627"/>
                  <a:pt x="662972" y="724544"/>
                </a:cubicBezTo>
                <a:cubicBezTo>
                  <a:pt x="655163" y="722462"/>
                  <a:pt x="651403" y="717487"/>
                  <a:pt x="651750" y="713901"/>
                </a:cubicBezTo>
                <a:cubicBezTo>
                  <a:pt x="652097" y="710315"/>
                  <a:pt x="655105" y="710083"/>
                  <a:pt x="658923" y="711934"/>
                </a:cubicBezTo>
                <a:cubicBezTo>
                  <a:pt x="665922" y="715139"/>
                  <a:pt x="673499" y="716816"/>
                  <a:pt x="681193" y="716851"/>
                </a:cubicBezTo>
                <a:cubicBezTo>
                  <a:pt x="684837" y="716863"/>
                  <a:pt x="688540" y="716417"/>
                  <a:pt x="692068" y="715521"/>
                </a:cubicBezTo>
                <a:cubicBezTo>
                  <a:pt x="695712" y="714601"/>
                  <a:pt x="699414" y="714150"/>
                  <a:pt x="703174" y="714190"/>
                </a:cubicBezTo>
                <a:cubicBezTo>
                  <a:pt x="714742" y="714190"/>
                  <a:pt x="727179" y="717892"/>
                  <a:pt x="728221" y="726164"/>
                </a:cubicBezTo>
                <a:cubicBezTo>
                  <a:pt x="730129" y="731873"/>
                  <a:pt x="733600" y="736940"/>
                  <a:pt x="738228" y="740799"/>
                </a:cubicBezTo>
                <a:cubicBezTo>
                  <a:pt x="743260" y="746120"/>
                  <a:pt x="747193" y="750285"/>
                  <a:pt x="744475" y="753293"/>
                </a:cubicBezTo>
                <a:cubicBezTo>
                  <a:pt x="742566" y="755375"/>
                  <a:pt x="739095" y="754913"/>
                  <a:pt x="735104" y="753871"/>
                </a:cubicBezTo>
                <a:cubicBezTo>
                  <a:pt x="732617" y="753114"/>
                  <a:pt x="730013" y="752685"/>
                  <a:pt x="727411" y="752599"/>
                </a:cubicBezTo>
                <a:cubicBezTo>
                  <a:pt x="724807" y="752576"/>
                  <a:pt x="722205" y="753299"/>
                  <a:pt x="720006" y="754681"/>
                </a:cubicBezTo>
                <a:cubicBezTo>
                  <a:pt x="716073" y="757220"/>
                  <a:pt x="711561" y="758753"/>
                  <a:pt x="706876" y="759135"/>
                </a:cubicBezTo>
                <a:cubicBezTo>
                  <a:pt x="703753" y="759540"/>
                  <a:pt x="702307" y="759771"/>
                  <a:pt x="701439" y="761507"/>
                </a:cubicBezTo>
                <a:cubicBezTo>
                  <a:pt x="698604" y="765550"/>
                  <a:pt x="697563" y="770548"/>
                  <a:pt x="698431" y="775389"/>
                </a:cubicBezTo>
                <a:cubicBezTo>
                  <a:pt x="699067" y="776483"/>
                  <a:pt x="700166" y="777183"/>
                  <a:pt x="701439" y="777241"/>
                </a:cubicBezTo>
                <a:cubicBezTo>
                  <a:pt x="705603" y="777877"/>
                  <a:pt x="708496" y="782504"/>
                  <a:pt x="711504" y="787363"/>
                </a:cubicBezTo>
                <a:cubicBezTo>
                  <a:pt x="714512" y="792222"/>
                  <a:pt x="718040" y="797833"/>
                  <a:pt x="722725" y="797833"/>
                </a:cubicBezTo>
                <a:lnTo>
                  <a:pt x="722725" y="797833"/>
                </a:lnTo>
                <a:cubicBezTo>
                  <a:pt x="724807" y="797833"/>
                  <a:pt x="727757" y="797833"/>
                  <a:pt x="731286" y="797833"/>
                </a:cubicBezTo>
                <a:lnTo>
                  <a:pt x="738690" y="797833"/>
                </a:lnTo>
                <a:cubicBezTo>
                  <a:pt x="745458" y="797833"/>
                  <a:pt x="765992" y="797833"/>
                  <a:pt x="768191" y="792453"/>
                </a:cubicBezTo>
                <a:cubicBezTo>
                  <a:pt x="769174" y="788682"/>
                  <a:pt x="769522" y="784766"/>
                  <a:pt x="769174" y="780885"/>
                </a:cubicBezTo>
                <a:cubicBezTo>
                  <a:pt x="769174" y="773538"/>
                  <a:pt x="769174" y="765903"/>
                  <a:pt x="774959" y="763127"/>
                </a:cubicBezTo>
                <a:cubicBezTo>
                  <a:pt x="779702" y="761328"/>
                  <a:pt x="784677" y="760142"/>
                  <a:pt x="789709" y="759598"/>
                </a:cubicBezTo>
                <a:cubicBezTo>
                  <a:pt x="796188" y="758557"/>
                  <a:pt x="804170" y="757226"/>
                  <a:pt x="804170" y="754797"/>
                </a:cubicBezTo>
                <a:cubicBezTo>
                  <a:pt x="804170" y="751326"/>
                  <a:pt x="808509" y="749707"/>
                  <a:pt x="814003" y="747624"/>
                </a:cubicBezTo>
                <a:cubicBezTo>
                  <a:pt x="820250" y="745785"/>
                  <a:pt x="825978" y="742470"/>
                  <a:pt x="830721" y="737964"/>
                </a:cubicBezTo>
                <a:cubicBezTo>
                  <a:pt x="839281" y="728246"/>
                  <a:pt x="879714" y="718644"/>
                  <a:pt x="891225" y="718644"/>
                </a:cubicBezTo>
                <a:cubicBezTo>
                  <a:pt x="892383" y="718586"/>
                  <a:pt x="893481" y="718725"/>
                  <a:pt x="894581" y="719049"/>
                </a:cubicBezTo>
                <a:cubicBezTo>
                  <a:pt x="897126" y="720142"/>
                  <a:pt x="899266" y="721953"/>
                  <a:pt x="900828" y="724255"/>
                </a:cubicBezTo>
                <a:cubicBezTo>
                  <a:pt x="902678" y="726627"/>
                  <a:pt x="903546" y="727494"/>
                  <a:pt x="905802" y="726337"/>
                </a:cubicBezTo>
                <a:cubicBezTo>
                  <a:pt x="908058" y="725181"/>
                  <a:pt x="908000" y="723330"/>
                  <a:pt x="907943" y="720206"/>
                </a:cubicBezTo>
                <a:cubicBezTo>
                  <a:pt x="907364" y="716915"/>
                  <a:pt x="908406" y="713560"/>
                  <a:pt x="910777" y="711182"/>
                </a:cubicBezTo>
                <a:cubicBezTo>
                  <a:pt x="921825" y="705005"/>
                  <a:pt x="933915" y="700909"/>
                  <a:pt x="946467" y="699093"/>
                </a:cubicBezTo>
                <a:cubicBezTo>
                  <a:pt x="949070" y="699093"/>
                  <a:pt x="949706" y="700134"/>
                  <a:pt x="949822" y="701002"/>
                </a:cubicBezTo>
                <a:cubicBezTo>
                  <a:pt x="949475" y="703587"/>
                  <a:pt x="948318" y="706011"/>
                  <a:pt x="946583" y="707943"/>
                </a:cubicBezTo>
                <a:cubicBezTo>
                  <a:pt x="943979" y="711761"/>
                  <a:pt x="940798" y="716099"/>
                  <a:pt x="943459" y="718991"/>
                </a:cubicBezTo>
                <a:cubicBezTo>
                  <a:pt x="946120" y="721884"/>
                  <a:pt x="946641" y="724082"/>
                  <a:pt x="945773" y="725875"/>
                </a:cubicBezTo>
                <a:cubicBezTo>
                  <a:pt x="944905" y="727668"/>
                  <a:pt x="941492" y="729114"/>
                  <a:pt x="936113" y="728883"/>
                </a:cubicBezTo>
                <a:lnTo>
                  <a:pt x="934551" y="728883"/>
                </a:lnTo>
                <a:cubicBezTo>
                  <a:pt x="929576" y="728883"/>
                  <a:pt x="926974" y="730040"/>
                  <a:pt x="926742" y="730907"/>
                </a:cubicBezTo>
                <a:cubicBezTo>
                  <a:pt x="926510" y="731775"/>
                  <a:pt x="927320" y="732527"/>
                  <a:pt x="929866" y="734089"/>
                </a:cubicBezTo>
                <a:cubicBezTo>
                  <a:pt x="934956" y="736078"/>
                  <a:pt x="940393" y="736929"/>
                  <a:pt x="945831" y="736576"/>
                </a:cubicBezTo>
                <a:cubicBezTo>
                  <a:pt x="948376" y="736576"/>
                  <a:pt x="950979" y="736576"/>
                  <a:pt x="953466" y="736576"/>
                </a:cubicBezTo>
                <a:lnTo>
                  <a:pt x="959829" y="736576"/>
                </a:lnTo>
                <a:cubicBezTo>
                  <a:pt x="961969" y="736530"/>
                  <a:pt x="964167" y="736680"/>
                  <a:pt x="966307" y="737039"/>
                </a:cubicBezTo>
                <a:cubicBezTo>
                  <a:pt x="968505" y="737559"/>
                  <a:pt x="969663" y="735998"/>
                  <a:pt x="972092" y="732642"/>
                </a:cubicBezTo>
                <a:cubicBezTo>
                  <a:pt x="976315" y="725481"/>
                  <a:pt x="983314" y="720362"/>
                  <a:pt x="991412" y="718471"/>
                </a:cubicBezTo>
                <a:cubicBezTo>
                  <a:pt x="996039" y="717343"/>
                  <a:pt x="1000783" y="716799"/>
                  <a:pt x="1005584" y="716851"/>
                </a:cubicBezTo>
                <a:cubicBezTo>
                  <a:pt x="1011252" y="716955"/>
                  <a:pt x="1016921" y="717418"/>
                  <a:pt x="1022532" y="718239"/>
                </a:cubicBezTo>
                <a:cubicBezTo>
                  <a:pt x="1027391" y="719350"/>
                  <a:pt x="1032424" y="719448"/>
                  <a:pt x="1037282" y="718528"/>
                </a:cubicBezTo>
                <a:cubicBezTo>
                  <a:pt x="1041448" y="716406"/>
                  <a:pt x="1045496" y="714046"/>
                  <a:pt x="1049429" y="711471"/>
                </a:cubicBezTo>
                <a:cubicBezTo>
                  <a:pt x="1059668" y="705109"/>
                  <a:pt x="1072567" y="697242"/>
                  <a:pt x="1078352" y="697242"/>
                </a:cubicBezTo>
                <a:cubicBezTo>
                  <a:pt x="1078931" y="697143"/>
                  <a:pt x="1079509" y="697143"/>
                  <a:pt x="1080087" y="697242"/>
                </a:cubicBezTo>
                <a:cubicBezTo>
                  <a:pt x="1091309" y="701233"/>
                  <a:pt x="1097440" y="704993"/>
                  <a:pt x="1098192" y="708290"/>
                </a:cubicBezTo>
                <a:cubicBezTo>
                  <a:pt x="1098424" y="709522"/>
                  <a:pt x="1098019" y="710795"/>
                  <a:pt x="1097094" y="711645"/>
                </a:cubicBezTo>
                <a:cubicBezTo>
                  <a:pt x="1095532" y="713207"/>
                  <a:pt x="1090730" y="718008"/>
                  <a:pt x="1091309" y="721594"/>
                </a:cubicBezTo>
                <a:cubicBezTo>
                  <a:pt x="1091714" y="723387"/>
                  <a:pt x="1093450" y="724833"/>
                  <a:pt x="1096515" y="725990"/>
                </a:cubicBezTo>
                <a:cubicBezTo>
                  <a:pt x="1103051" y="728362"/>
                  <a:pt x="1109125" y="728478"/>
                  <a:pt x="1110282" y="726337"/>
                </a:cubicBezTo>
                <a:cubicBezTo>
                  <a:pt x="1110861" y="725412"/>
                  <a:pt x="1110282" y="723850"/>
                  <a:pt x="1109241" y="721941"/>
                </a:cubicBezTo>
                <a:cubicBezTo>
                  <a:pt x="1108026" y="720270"/>
                  <a:pt x="1107737" y="718060"/>
                  <a:pt x="1108605" y="716157"/>
                </a:cubicBezTo>
                <a:cubicBezTo>
                  <a:pt x="1110455" y="712744"/>
                  <a:pt x="1117281" y="711009"/>
                  <a:pt x="1128792" y="711009"/>
                </a:cubicBezTo>
                <a:cubicBezTo>
                  <a:pt x="1132841" y="711431"/>
                  <a:pt x="1136717" y="709343"/>
                  <a:pt x="1138626" y="705745"/>
                </a:cubicBezTo>
                <a:cubicBezTo>
                  <a:pt x="1139667" y="702997"/>
                  <a:pt x="1138799" y="699903"/>
                  <a:pt x="1136543" y="698052"/>
                </a:cubicBezTo>
                <a:cubicBezTo>
                  <a:pt x="1130411" y="692267"/>
                  <a:pt x="1123239" y="683591"/>
                  <a:pt x="1123644" y="674509"/>
                </a:cubicBezTo>
                <a:cubicBezTo>
                  <a:pt x="1124049" y="671588"/>
                  <a:pt x="1123239" y="668626"/>
                  <a:pt x="1121330" y="666353"/>
                </a:cubicBezTo>
                <a:cubicBezTo>
                  <a:pt x="1117339" y="663397"/>
                  <a:pt x="1112307" y="662240"/>
                  <a:pt x="1107447" y="663172"/>
                </a:cubicBezTo>
                <a:cubicBezTo>
                  <a:pt x="1099523" y="663692"/>
                  <a:pt x="1097788" y="661610"/>
                  <a:pt x="1095879" y="659469"/>
                </a:cubicBezTo>
                <a:cubicBezTo>
                  <a:pt x="1093680" y="656878"/>
                  <a:pt x="1090499" y="655311"/>
                  <a:pt x="1087086" y="655131"/>
                </a:cubicBezTo>
                <a:cubicBezTo>
                  <a:pt x="1080377" y="654177"/>
                  <a:pt x="1075055" y="648948"/>
                  <a:pt x="1073956" y="642232"/>
                </a:cubicBezTo>
                <a:cubicBezTo>
                  <a:pt x="1072972" y="637668"/>
                  <a:pt x="1075055" y="632994"/>
                  <a:pt x="1079104" y="630663"/>
                </a:cubicBezTo>
                <a:cubicBezTo>
                  <a:pt x="1080781" y="629784"/>
                  <a:pt x="1082633" y="629327"/>
                  <a:pt x="1084541" y="629333"/>
                </a:cubicBezTo>
                <a:cubicBezTo>
                  <a:pt x="1090557" y="630154"/>
                  <a:pt x="1096342" y="632329"/>
                  <a:pt x="1101432" y="635696"/>
                </a:cubicBezTo>
                <a:cubicBezTo>
                  <a:pt x="1104903" y="637546"/>
                  <a:pt x="1108836" y="639687"/>
                  <a:pt x="1113001" y="641480"/>
                </a:cubicBezTo>
                <a:cubicBezTo>
                  <a:pt x="1118438" y="643661"/>
                  <a:pt x="1123066" y="647507"/>
                  <a:pt x="1126189" y="652470"/>
                </a:cubicBezTo>
                <a:cubicBezTo>
                  <a:pt x="1128329" y="655594"/>
                  <a:pt x="1129255" y="656751"/>
                  <a:pt x="1132552" y="656288"/>
                </a:cubicBezTo>
                <a:cubicBezTo>
                  <a:pt x="1137816" y="656120"/>
                  <a:pt x="1143080" y="656606"/>
                  <a:pt x="1148228" y="657734"/>
                </a:cubicBezTo>
                <a:cubicBezTo>
                  <a:pt x="1158697" y="659649"/>
                  <a:pt x="1169283" y="660673"/>
                  <a:pt x="1179926" y="660800"/>
                </a:cubicBezTo>
                <a:lnTo>
                  <a:pt x="1185711" y="660800"/>
                </a:lnTo>
                <a:cubicBezTo>
                  <a:pt x="1208849" y="660800"/>
                  <a:pt x="1220417" y="665543"/>
                  <a:pt x="1233606" y="674335"/>
                </a:cubicBezTo>
                <a:cubicBezTo>
                  <a:pt x="1240085" y="678564"/>
                  <a:pt x="1247199" y="681670"/>
                  <a:pt x="1254662" y="683533"/>
                </a:cubicBezTo>
                <a:cubicBezTo>
                  <a:pt x="1259867" y="684967"/>
                  <a:pt x="1264957" y="686905"/>
                  <a:pt x="1269817" y="689317"/>
                </a:cubicBezTo>
                <a:cubicBezTo>
                  <a:pt x="1276874" y="692707"/>
                  <a:pt x="1284104" y="695738"/>
                  <a:pt x="1291508" y="698399"/>
                </a:cubicBezTo>
                <a:cubicBezTo>
                  <a:pt x="1299317" y="701019"/>
                  <a:pt x="1306779" y="704368"/>
                  <a:pt x="1313952" y="708406"/>
                </a:cubicBezTo>
                <a:cubicBezTo>
                  <a:pt x="1315976" y="709910"/>
                  <a:pt x="1319389" y="713091"/>
                  <a:pt x="1323323" y="716678"/>
                </a:cubicBezTo>
                <a:cubicBezTo>
                  <a:pt x="1331016" y="723792"/>
                  <a:pt x="1342642" y="734436"/>
                  <a:pt x="1346113" y="734436"/>
                </a:cubicBezTo>
                <a:cubicBezTo>
                  <a:pt x="1349584" y="734436"/>
                  <a:pt x="1356988" y="724891"/>
                  <a:pt x="1360921" y="716446"/>
                </a:cubicBezTo>
                <a:cubicBezTo>
                  <a:pt x="1362541" y="712975"/>
                  <a:pt x="1363120" y="710199"/>
                  <a:pt x="1362425" y="709100"/>
                </a:cubicBezTo>
                <a:cubicBezTo>
                  <a:pt x="1361731" y="708001"/>
                  <a:pt x="1359533" y="707017"/>
                  <a:pt x="1357161" y="706728"/>
                </a:cubicBezTo>
                <a:cubicBezTo>
                  <a:pt x="1352707" y="706630"/>
                  <a:pt x="1348601" y="704495"/>
                  <a:pt x="1345939" y="700944"/>
                </a:cubicBezTo>
                <a:cubicBezTo>
                  <a:pt x="1343510" y="697473"/>
                  <a:pt x="1341833" y="693534"/>
                  <a:pt x="1341023" y="689375"/>
                </a:cubicBezTo>
                <a:cubicBezTo>
                  <a:pt x="1340618" y="685037"/>
                  <a:pt x="1338188" y="681132"/>
                  <a:pt x="1334544" y="678789"/>
                </a:cubicBezTo>
                <a:cubicBezTo>
                  <a:pt x="1329570" y="676401"/>
                  <a:pt x="1324306" y="674596"/>
                  <a:pt x="1318926" y="673410"/>
                </a:cubicBezTo>
                <a:cubicBezTo>
                  <a:pt x="1312795" y="672415"/>
                  <a:pt x="1306952" y="670020"/>
                  <a:pt x="1301920" y="666411"/>
                </a:cubicBezTo>
                <a:cubicBezTo>
                  <a:pt x="1300590" y="664791"/>
                  <a:pt x="1300127" y="662662"/>
                  <a:pt x="1300532" y="660626"/>
                </a:cubicBezTo>
                <a:cubicBezTo>
                  <a:pt x="1302209" y="654582"/>
                  <a:pt x="1306142" y="649393"/>
                  <a:pt x="1311464" y="646107"/>
                </a:cubicBezTo>
                <a:cubicBezTo>
                  <a:pt x="1314588" y="644083"/>
                  <a:pt x="1314067" y="642001"/>
                  <a:pt x="1312795" y="638819"/>
                </a:cubicBezTo>
                <a:cubicBezTo>
                  <a:pt x="1312043" y="636910"/>
                  <a:pt x="1311233" y="634770"/>
                  <a:pt x="1312795" y="633324"/>
                </a:cubicBezTo>
                <a:cubicBezTo>
                  <a:pt x="1315976" y="628106"/>
                  <a:pt x="1317596" y="622079"/>
                  <a:pt x="1317422" y="615971"/>
                </a:cubicBezTo>
                <a:cubicBezTo>
                  <a:pt x="1317422" y="614582"/>
                  <a:pt x="1316902" y="613599"/>
                  <a:pt x="1316323" y="613310"/>
                </a:cubicBezTo>
                <a:cubicBezTo>
                  <a:pt x="1314588" y="612708"/>
                  <a:pt x="1312795" y="612569"/>
                  <a:pt x="1311002" y="612905"/>
                </a:cubicBezTo>
                <a:cubicBezTo>
                  <a:pt x="1309960" y="612963"/>
                  <a:pt x="1308977" y="612963"/>
                  <a:pt x="1307936" y="612905"/>
                </a:cubicBezTo>
                <a:cubicBezTo>
                  <a:pt x="1304928" y="613021"/>
                  <a:pt x="1302151" y="611545"/>
                  <a:pt x="1300532" y="609029"/>
                </a:cubicBezTo>
                <a:cubicBezTo>
                  <a:pt x="1298623" y="605750"/>
                  <a:pt x="1298276" y="601776"/>
                  <a:pt x="1299606" y="598212"/>
                </a:cubicBezTo>
                <a:cubicBezTo>
                  <a:pt x="1301573" y="591728"/>
                  <a:pt x="1306200" y="586377"/>
                  <a:pt x="1312332" y="583520"/>
                </a:cubicBezTo>
                <a:lnTo>
                  <a:pt x="1316670" y="581842"/>
                </a:lnTo>
                <a:cubicBezTo>
                  <a:pt x="1327371" y="577793"/>
                  <a:pt x="1343626" y="571662"/>
                  <a:pt x="1348079" y="556391"/>
                </a:cubicBezTo>
                <a:cubicBezTo>
                  <a:pt x="1351493" y="545210"/>
                  <a:pt x="1356352" y="534508"/>
                  <a:pt x="1362425" y="524519"/>
                </a:cubicBezTo>
                <a:cubicBezTo>
                  <a:pt x="1363929" y="521800"/>
                  <a:pt x="1365260" y="519486"/>
                  <a:pt x="1366301" y="517462"/>
                </a:cubicBezTo>
                <a:cubicBezTo>
                  <a:pt x="1366822" y="516363"/>
                  <a:pt x="1367342" y="515321"/>
                  <a:pt x="1367805" y="514222"/>
                </a:cubicBezTo>
                <a:cubicBezTo>
                  <a:pt x="1370871" y="507860"/>
                  <a:pt x="1373994" y="501265"/>
                  <a:pt x="1380704" y="501265"/>
                </a:cubicBezTo>
                <a:cubicBezTo>
                  <a:pt x="1381456" y="501213"/>
                  <a:pt x="1382150" y="501213"/>
                  <a:pt x="1382902" y="501265"/>
                </a:cubicBezTo>
                <a:cubicBezTo>
                  <a:pt x="1397652" y="502995"/>
                  <a:pt x="1412460" y="503863"/>
                  <a:pt x="1427269" y="503868"/>
                </a:cubicBezTo>
                <a:cubicBezTo>
                  <a:pt x="1430508" y="503868"/>
                  <a:pt x="1433053" y="503868"/>
                  <a:pt x="1434673" y="503868"/>
                </a:cubicBezTo>
                <a:lnTo>
                  <a:pt x="1436639" y="503868"/>
                </a:lnTo>
                <a:cubicBezTo>
                  <a:pt x="1445779" y="503868"/>
                  <a:pt x="1468858" y="508785"/>
                  <a:pt x="1469784" y="516247"/>
                </a:cubicBezTo>
                <a:cubicBezTo>
                  <a:pt x="1470710" y="523709"/>
                  <a:pt x="1469784" y="553672"/>
                  <a:pt x="1457695" y="563679"/>
                </a:cubicBezTo>
                <a:cubicBezTo>
                  <a:pt x="1448960" y="570910"/>
                  <a:pt x="1444911" y="575942"/>
                  <a:pt x="1445374" y="579066"/>
                </a:cubicBezTo>
                <a:cubicBezTo>
                  <a:pt x="1445374" y="580454"/>
                  <a:pt x="1446588" y="581495"/>
                  <a:pt x="1448555" y="582363"/>
                </a:cubicBezTo>
                <a:cubicBezTo>
                  <a:pt x="1456075" y="585834"/>
                  <a:pt x="1474007" y="600411"/>
                  <a:pt x="1471404" y="614698"/>
                </a:cubicBezTo>
                <a:cubicBezTo>
                  <a:pt x="1470420" y="619846"/>
                  <a:pt x="1469032" y="624913"/>
                  <a:pt x="1467239" y="629853"/>
                </a:cubicBezTo>
                <a:cubicBezTo>
                  <a:pt x="1465446" y="634018"/>
                  <a:pt x="1464520" y="638507"/>
                  <a:pt x="1464520" y="643042"/>
                </a:cubicBezTo>
                <a:cubicBezTo>
                  <a:pt x="1464520" y="643967"/>
                  <a:pt x="1464520" y="645008"/>
                  <a:pt x="1464925" y="646107"/>
                </a:cubicBezTo>
                <a:cubicBezTo>
                  <a:pt x="1466429" y="653749"/>
                  <a:pt x="1466429" y="661604"/>
                  <a:pt x="1464925" y="669245"/>
                </a:cubicBezTo>
                <a:cubicBezTo>
                  <a:pt x="1463942" y="673959"/>
                  <a:pt x="1463942" y="678818"/>
                  <a:pt x="1464925" y="683533"/>
                </a:cubicBezTo>
                <a:cubicBezTo>
                  <a:pt x="1465735" y="687917"/>
                  <a:pt x="1465966" y="692389"/>
                  <a:pt x="1465619" y="696837"/>
                </a:cubicBezTo>
                <a:cubicBezTo>
                  <a:pt x="1464636" y="703142"/>
                  <a:pt x="1479386" y="713901"/>
                  <a:pt x="1484881" y="717950"/>
                </a:cubicBezTo>
                <a:lnTo>
                  <a:pt x="1486617" y="719223"/>
                </a:lnTo>
                <a:cubicBezTo>
                  <a:pt x="1489162" y="720727"/>
                  <a:pt x="1490608" y="723526"/>
                  <a:pt x="1490377" y="726453"/>
                </a:cubicBezTo>
                <a:cubicBezTo>
                  <a:pt x="1489798" y="728865"/>
                  <a:pt x="1487889" y="730728"/>
                  <a:pt x="1485460" y="731254"/>
                </a:cubicBezTo>
                <a:cubicBezTo>
                  <a:pt x="1482105" y="733152"/>
                  <a:pt x="1479733" y="736327"/>
                  <a:pt x="1478808" y="740047"/>
                </a:cubicBezTo>
                <a:cubicBezTo>
                  <a:pt x="1477709" y="742493"/>
                  <a:pt x="1477709" y="745293"/>
                  <a:pt x="1478808" y="747740"/>
                </a:cubicBezTo>
                <a:cubicBezTo>
                  <a:pt x="1480775" y="750898"/>
                  <a:pt x="1480890" y="754866"/>
                  <a:pt x="1479155" y="758152"/>
                </a:cubicBezTo>
                <a:cubicBezTo>
                  <a:pt x="1478114" y="760651"/>
                  <a:pt x="1475742" y="762322"/>
                  <a:pt x="1473024" y="762432"/>
                </a:cubicBezTo>
                <a:cubicBezTo>
                  <a:pt x="1470941" y="762432"/>
                  <a:pt x="1469206" y="764341"/>
                  <a:pt x="1467239" y="766308"/>
                </a:cubicBezTo>
                <a:cubicBezTo>
                  <a:pt x="1465446" y="768905"/>
                  <a:pt x="1462727" y="770704"/>
                  <a:pt x="1459603" y="771340"/>
                </a:cubicBezTo>
                <a:cubicBezTo>
                  <a:pt x="1457463" y="771340"/>
                  <a:pt x="1457232" y="772324"/>
                  <a:pt x="1456769" y="774290"/>
                </a:cubicBezTo>
                <a:cubicBezTo>
                  <a:pt x="1456480" y="776731"/>
                  <a:pt x="1454976" y="778883"/>
                  <a:pt x="1452836" y="780075"/>
                </a:cubicBezTo>
                <a:cubicBezTo>
                  <a:pt x="1450811" y="781174"/>
                  <a:pt x="1450291" y="783488"/>
                  <a:pt x="1449654" y="786148"/>
                </a:cubicBezTo>
                <a:cubicBezTo>
                  <a:pt x="1449423" y="789735"/>
                  <a:pt x="1447398" y="792951"/>
                  <a:pt x="1444217" y="794652"/>
                </a:cubicBezTo>
                <a:lnTo>
                  <a:pt x="1442308" y="795461"/>
                </a:lnTo>
                <a:cubicBezTo>
                  <a:pt x="1438432" y="797081"/>
                  <a:pt x="1433111" y="799337"/>
                  <a:pt x="1432359" y="801593"/>
                </a:cubicBezTo>
                <a:cubicBezTo>
                  <a:pt x="1432127" y="802061"/>
                  <a:pt x="1432127" y="802628"/>
                  <a:pt x="1432359" y="803097"/>
                </a:cubicBezTo>
                <a:cubicBezTo>
                  <a:pt x="1433400" y="804832"/>
                  <a:pt x="1434731" y="807319"/>
                  <a:pt x="1433689" y="809228"/>
                </a:cubicBezTo>
                <a:cubicBezTo>
                  <a:pt x="1432648" y="811137"/>
                  <a:pt x="1429987" y="811773"/>
                  <a:pt x="1424839" y="811253"/>
                </a:cubicBezTo>
                <a:cubicBezTo>
                  <a:pt x="1421426" y="810906"/>
                  <a:pt x="1420906" y="811716"/>
                  <a:pt x="1420096" y="813046"/>
                </a:cubicBezTo>
                <a:cubicBezTo>
                  <a:pt x="1419286" y="814376"/>
                  <a:pt x="1417204" y="816980"/>
                  <a:pt x="1410725" y="816517"/>
                </a:cubicBezTo>
                <a:cubicBezTo>
                  <a:pt x="1406561" y="816534"/>
                  <a:pt x="1402743" y="814324"/>
                  <a:pt x="1400660" y="810732"/>
                </a:cubicBezTo>
                <a:cubicBezTo>
                  <a:pt x="1399677" y="809286"/>
                  <a:pt x="1399214" y="808766"/>
                  <a:pt x="1398347" y="808766"/>
                </a:cubicBezTo>
                <a:cubicBezTo>
                  <a:pt x="1397363" y="808893"/>
                  <a:pt x="1396438" y="809228"/>
                  <a:pt x="1395570" y="809749"/>
                </a:cubicBezTo>
                <a:cubicBezTo>
                  <a:pt x="1391752" y="812271"/>
                  <a:pt x="1387414" y="813896"/>
                  <a:pt x="1382902" y="814492"/>
                </a:cubicBezTo>
                <a:cubicBezTo>
                  <a:pt x="1380531" y="814724"/>
                  <a:pt x="1378448" y="813000"/>
                  <a:pt x="1378217" y="810651"/>
                </a:cubicBezTo>
                <a:cubicBezTo>
                  <a:pt x="1378217" y="810617"/>
                  <a:pt x="1378217" y="810588"/>
                  <a:pt x="1378217" y="810559"/>
                </a:cubicBezTo>
                <a:cubicBezTo>
                  <a:pt x="1376887" y="806990"/>
                  <a:pt x="1373531" y="804578"/>
                  <a:pt x="1369714" y="804427"/>
                </a:cubicBezTo>
                <a:cubicBezTo>
                  <a:pt x="1367978" y="804346"/>
                  <a:pt x="1366358" y="805463"/>
                  <a:pt x="1365838" y="807146"/>
                </a:cubicBezTo>
                <a:cubicBezTo>
                  <a:pt x="1364797" y="809656"/>
                  <a:pt x="1365086" y="812525"/>
                  <a:pt x="1366590" y="814781"/>
                </a:cubicBezTo>
                <a:cubicBezTo>
                  <a:pt x="1369193" y="818165"/>
                  <a:pt x="1373821" y="819253"/>
                  <a:pt x="1377639" y="817384"/>
                </a:cubicBezTo>
                <a:cubicBezTo>
                  <a:pt x="1378969" y="816864"/>
                  <a:pt x="1380415" y="816592"/>
                  <a:pt x="1381861" y="816575"/>
                </a:cubicBezTo>
                <a:cubicBezTo>
                  <a:pt x="1384637" y="816742"/>
                  <a:pt x="1387240" y="817893"/>
                  <a:pt x="1389207" y="819814"/>
                </a:cubicBezTo>
                <a:cubicBezTo>
                  <a:pt x="1392100" y="822544"/>
                  <a:pt x="1395917" y="824094"/>
                  <a:pt x="1399908" y="824152"/>
                </a:cubicBezTo>
                <a:cubicBezTo>
                  <a:pt x="1404651" y="824141"/>
                  <a:pt x="1409395" y="823423"/>
                  <a:pt x="1413906" y="822012"/>
                </a:cubicBezTo>
                <a:cubicBezTo>
                  <a:pt x="1417493" y="820976"/>
                  <a:pt x="1421137" y="820352"/>
                  <a:pt x="1424839" y="820161"/>
                </a:cubicBezTo>
                <a:cubicBezTo>
                  <a:pt x="1427327" y="820103"/>
                  <a:pt x="1429813" y="820722"/>
                  <a:pt x="1431954" y="821954"/>
                </a:cubicBezTo>
                <a:cubicBezTo>
                  <a:pt x="1437276" y="825124"/>
                  <a:pt x="1443176" y="827096"/>
                  <a:pt x="1449307" y="827738"/>
                </a:cubicBezTo>
                <a:cubicBezTo>
                  <a:pt x="1450869" y="827889"/>
                  <a:pt x="1452431" y="827386"/>
                  <a:pt x="1453645" y="826350"/>
                </a:cubicBezTo>
                <a:cubicBezTo>
                  <a:pt x="1454455" y="825402"/>
                  <a:pt x="1454803" y="824164"/>
                  <a:pt x="1454629" y="822937"/>
                </a:cubicBezTo>
                <a:cubicBezTo>
                  <a:pt x="1454282" y="813277"/>
                  <a:pt x="1464289" y="808245"/>
                  <a:pt x="1474874" y="802923"/>
                </a:cubicBezTo>
                <a:lnTo>
                  <a:pt x="1480312" y="800089"/>
                </a:lnTo>
                <a:lnTo>
                  <a:pt x="1484593" y="797833"/>
                </a:lnTo>
                <a:cubicBezTo>
                  <a:pt x="1494484" y="792743"/>
                  <a:pt x="1500962" y="789388"/>
                  <a:pt x="1500326" y="783025"/>
                </a:cubicBezTo>
                <a:cubicBezTo>
                  <a:pt x="1499921" y="778860"/>
                  <a:pt x="1505069" y="774175"/>
                  <a:pt x="1511143" y="768737"/>
                </a:cubicBezTo>
                <a:cubicBezTo>
                  <a:pt x="1517217" y="763300"/>
                  <a:pt x="1525199" y="755954"/>
                  <a:pt x="1523058" y="751095"/>
                </a:cubicBezTo>
                <a:lnTo>
                  <a:pt x="1523058" y="750632"/>
                </a:lnTo>
                <a:cubicBezTo>
                  <a:pt x="1518258" y="739757"/>
                  <a:pt x="1509291" y="719570"/>
                  <a:pt x="1517911" y="711818"/>
                </a:cubicBezTo>
                <a:cubicBezTo>
                  <a:pt x="1524389" y="706034"/>
                  <a:pt x="1541685" y="703258"/>
                  <a:pt x="1553138" y="701464"/>
                </a:cubicBezTo>
                <a:cubicBezTo>
                  <a:pt x="1556204" y="701002"/>
                  <a:pt x="1558922" y="700597"/>
                  <a:pt x="1560368" y="700250"/>
                </a:cubicBezTo>
                <a:cubicBezTo>
                  <a:pt x="1566153" y="698919"/>
                  <a:pt x="1572458" y="702795"/>
                  <a:pt x="1578936" y="711818"/>
                </a:cubicBezTo>
                <a:cubicBezTo>
                  <a:pt x="1580498" y="713756"/>
                  <a:pt x="1582292" y="715469"/>
                  <a:pt x="1584316" y="716909"/>
                </a:cubicBezTo>
                <a:cubicBezTo>
                  <a:pt x="1588596" y="720380"/>
                  <a:pt x="1593455" y="724313"/>
                  <a:pt x="1592819" y="729982"/>
                </a:cubicBezTo>
                <a:cubicBezTo>
                  <a:pt x="1592009" y="734077"/>
                  <a:pt x="1590447" y="737993"/>
                  <a:pt x="1588249" y="741551"/>
                </a:cubicBezTo>
                <a:cubicBezTo>
                  <a:pt x="1586803" y="744269"/>
                  <a:pt x="1584779" y="747971"/>
                  <a:pt x="1585588" y="748665"/>
                </a:cubicBezTo>
                <a:cubicBezTo>
                  <a:pt x="1586919" y="750192"/>
                  <a:pt x="1587902" y="751986"/>
                  <a:pt x="1588423" y="753929"/>
                </a:cubicBezTo>
                <a:cubicBezTo>
                  <a:pt x="1589406" y="760119"/>
                  <a:pt x="1593513" y="765353"/>
                  <a:pt x="1599298" y="767754"/>
                </a:cubicBezTo>
                <a:cubicBezTo>
                  <a:pt x="1607396" y="770218"/>
                  <a:pt x="1615725" y="771578"/>
                  <a:pt x="1624171" y="771803"/>
                </a:cubicBezTo>
                <a:cubicBezTo>
                  <a:pt x="1625559" y="771884"/>
                  <a:pt x="1627005" y="771722"/>
                  <a:pt x="1628335" y="771340"/>
                </a:cubicBezTo>
                <a:cubicBezTo>
                  <a:pt x="1625732" y="769912"/>
                  <a:pt x="1623014" y="768732"/>
                  <a:pt x="1620237" y="767812"/>
                </a:cubicBezTo>
                <a:cubicBezTo>
                  <a:pt x="1610288" y="764110"/>
                  <a:pt x="1596695" y="759019"/>
                  <a:pt x="1597099" y="750169"/>
                </a:cubicBezTo>
                <a:cubicBezTo>
                  <a:pt x="1597736" y="744720"/>
                  <a:pt x="1601091" y="739983"/>
                  <a:pt x="1606066" y="737617"/>
                </a:cubicBezTo>
                <a:cubicBezTo>
                  <a:pt x="1610346" y="734783"/>
                  <a:pt x="1611850" y="733510"/>
                  <a:pt x="1609825" y="730676"/>
                </a:cubicBezTo>
                <a:cubicBezTo>
                  <a:pt x="1608032" y="727633"/>
                  <a:pt x="1606933" y="724203"/>
                  <a:pt x="1606702" y="720669"/>
                </a:cubicBezTo>
                <a:cubicBezTo>
                  <a:pt x="1606933" y="716122"/>
                  <a:pt x="1604330" y="711905"/>
                  <a:pt x="1600165" y="710083"/>
                </a:cubicBezTo>
                <a:lnTo>
                  <a:pt x="1594901" y="707422"/>
                </a:lnTo>
                <a:cubicBezTo>
                  <a:pt x="1583332" y="701638"/>
                  <a:pt x="1564765" y="692036"/>
                  <a:pt x="1551981" y="692036"/>
                </a:cubicBezTo>
                <a:cubicBezTo>
                  <a:pt x="1550766" y="692042"/>
                  <a:pt x="1549609" y="692134"/>
                  <a:pt x="1548394" y="692325"/>
                </a:cubicBezTo>
                <a:cubicBezTo>
                  <a:pt x="1543073" y="693447"/>
                  <a:pt x="1537809" y="694934"/>
                  <a:pt x="1532719" y="696779"/>
                </a:cubicBezTo>
                <a:cubicBezTo>
                  <a:pt x="1525546" y="699151"/>
                  <a:pt x="1519762" y="700886"/>
                  <a:pt x="1515828" y="699151"/>
                </a:cubicBezTo>
                <a:cubicBezTo>
                  <a:pt x="1514498" y="698647"/>
                  <a:pt x="1513052" y="698410"/>
                  <a:pt x="1511605" y="698456"/>
                </a:cubicBezTo>
                <a:cubicBezTo>
                  <a:pt x="1510217" y="698456"/>
                  <a:pt x="1508713" y="698456"/>
                  <a:pt x="1507267" y="698746"/>
                </a:cubicBezTo>
                <a:cubicBezTo>
                  <a:pt x="1505763" y="698925"/>
                  <a:pt x="1504259" y="699023"/>
                  <a:pt x="1502756" y="699035"/>
                </a:cubicBezTo>
                <a:cubicBezTo>
                  <a:pt x="1499458" y="699330"/>
                  <a:pt x="1496219" y="697826"/>
                  <a:pt x="1494310" y="695102"/>
                </a:cubicBezTo>
                <a:cubicBezTo>
                  <a:pt x="1492401" y="691556"/>
                  <a:pt x="1491996" y="687379"/>
                  <a:pt x="1493211" y="683533"/>
                </a:cubicBezTo>
                <a:cubicBezTo>
                  <a:pt x="1494484" y="678211"/>
                  <a:pt x="1494484" y="672658"/>
                  <a:pt x="1493211" y="667336"/>
                </a:cubicBezTo>
                <a:cubicBezTo>
                  <a:pt x="1491129" y="659065"/>
                  <a:pt x="1497376" y="648016"/>
                  <a:pt x="1502871" y="638414"/>
                </a:cubicBezTo>
                <a:cubicBezTo>
                  <a:pt x="1506862" y="631299"/>
                  <a:pt x="1510680" y="624531"/>
                  <a:pt x="1509465" y="621639"/>
                </a:cubicBezTo>
                <a:cubicBezTo>
                  <a:pt x="1506284" y="614120"/>
                  <a:pt x="1484129" y="589131"/>
                  <a:pt x="1478634" y="584445"/>
                </a:cubicBezTo>
                <a:cubicBezTo>
                  <a:pt x="1477651" y="583711"/>
                  <a:pt x="1477130" y="582583"/>
                  <a:pt x="1477073" y="581380"/>
                </a:cubicBezTo>
                <a:cubicBezTo>
                  <a:pt x="1477073" y="578950"/>
                  <a:pt x="1479791" y="576810"/>
                  <a:pt x="1482857" y="574323"/>
                </a:cubicBezTo>
                <a:cubicBezTo>
                  <a:pt x="1485923" y="571835"/>
                  <a:pt x="1489220" y="569290"/>
                  <a:pt x="1489220" y="566629"/>
                </a:cubicBezTo>
                <a:cubicBezTo>
                  <a:pt x="1489220" y="562465"/>
                  <a:pt x="1495004" y="560845"/>
                  <a:pt x="1502756" y="558473"/>
                </a:cubicBezTo>
                <a:cubicBezTo>
                  <a:pt x="1510507" y="556102"/>
                  <a:pt x="1518258" y="553904"/>
                  <a:pt x="1522191" y="548987"/>
                </a:cubicBezTo>
                <a:cubicBezTo>
                  <a:pt x="1530058" y="539211"/>
                  <a:pt x="1531099" y="524403"/>
                  <a:pt x="1529017" y="521684"/>
                </a:cubicBezTo>
                <a:cubicBezTo>
                  <a:pt x="1527050" y="518682"/>
                  <a:pt x="1526761" y="514911"/>
                  <a:pt x="1528149" y="511619"/>
                </a:cubicBezTo>
                <a:cubicBezTo>
                  <a:pt x="1529190" y="509433"/>
                  <a:pt x="1531504" y="508137"/>
                  <a:pt x="1533933" y="508380"/>
                </a:cubicBezTo>
                <a:cubicBezTo>
                  <a:pt x="1535206" y="508415"/>
                  <a:pt x="1536479" y="508629"/>
                  <a:pt x="1537693" y="509016"/>
                </a:cubicBezTo>
                <a:cubicBezTo>
                  <a:pt x="1550882" y="515483"/>
                  <a:pt x="1556435" y="531385"/>
                  <a:pt x="1550072" y="544649"/>
                </a:cubicBezTo>
                <a:cubicBezTo>
                  <a:pt x="1541337" y="558242"/>
                  <a:pt x="1539139" y="566629"/>
                  <a:pt x="1543362" y="570274"/>
                </a:cubicBezTo>
                <a:cubicBezTo>
                  <a:pt x="1546659" y="573108"/>
                  <a:pt x="1545502" y="576463"/>
                  <a:pt x="1544461" y="579471"/>
                </a:cubicBezTo>
                <a:cubicBezTo>
                  <a:pt x="1543420" y="582479"/>
                  <a:pt x="1542437" y="585255"/>
                  <a:pt x="1545097" y="588032"/>
                </a:cubicBezTo>
                <a:cubicBezTo>
                  <a:pt x="1548452" y="589998"/>
                  <a:pt x="1552328" y="590831"/>
                  <a:pt x="1556204" y="590403"/>
                </a:cubicBezTo>
                <a:cubicBezTo>
                  <a:pt x="1559269" y="590403"/>
                  <a:pt x="1562682" y="590403"/>
                  <a:pt x="1566269" y="589998"/>
                </a:cubicBezTo>
                <a:cubicBezTo>
                  <a:pt x="1569855" y="589594"/>
                  <a:pt x="1573672" y="589594"/>
                  <a:pt x="1577201" y="589594"/>
                </a:cubicBezTo>
                <a:cubicBezTo>
                  <a:pt x="1582002" y="589270"/>
                  <a:pt x="1586803" y="590062"/>
                  <a:pt x="1591199" y="591907"/>
                </a:cubicBezTo>
                <a:cubicBezTo>
                  <a:pt x="1594843" y="593758"/>
                  <a:pt x="1598777" y="596246"/>
                  <a:pt x="1602768" y="598617"/>
                </a:cubicBezTo>
                <a:cubicBezTo>
                  <a:pt x="1610056" y="603187"/>
                  <a:pt x="1617577" y="607930"/>
                  <a:pt x="1621915" y="607930"/>
                </a:cubicBezTo>
                <a:lnTo>
                  <a:pt x="1622262" y="607930"/>
                </a:lnTo>
                <a:cubicBezTo>
                  <a:pt x="1626774" y="607641"/>
                  <a:pt x="1630013" y="605906"/>
                  <a:pt x="1630186" y="604864"/>
                </a:cubicBezTo>
                <a:cubicBezTo>
                  <a:pt x="1630360" y="603823"/>
                  <a:pt x="1629434" y="603245"/>
                  <a:pt x="1625964" y="602030"/>
                </a:cubicBezTo>
                <a:cubicBezTo>
                  <a:pt x="1622956" y="601035"/>
                  <a:pt x="1620411" y="598976"/>
                  <a:pt x="1618849" y="596246"/>
                </a:cubicBezTo>
                <a:cubicBezTo>
                  <a:pt x="1616709" y="593238"/>
                  <a:pt x="1614511" y="590114"/>
                  <a:pt x="1601496" y="588205"/>
                </a:cubicBezTo>
                <a:cubicBezTo>
                  <a:pt x="1586572" y="585990"/>
                  <a:pt x="1573268" y="577591"/>
                  <a:pt x="1564880" y="565068"/>
                </a:cubicBezTo>
                <a:cubicBezTo>
                  <a:pt x="1563607" y="563020"/>
                  <a:pt x="1563376" y="560481"/>
                  <a:pt x="1564301" y="558242"/>
                </a:cubicBezTo>
                <a:cubicBezTo>
                  <a:pt x="1568525" y="551891"/>
                  <a:pt x="1575639" y="548038"/>
                  <a:pt x="1583275" y="547946"/>
                </a:cubicBezTo>
                <a:cubicBezTo>
                  <a:pt x="1587613" y="547975"/>
                  <a:pt x="1591835" y="549328"/>
                  <a:pt x="1595422" y="551821"/>
                </a:cubicBezTo>
                <a:cubicBezTo>
                  <a:pt x="1599471" y="554326"/>
                  <a:pt x="1604098" y="555593"/>
                  <a:pt x="1608842" y="555465"/>
                </a:cubicBezTo>
                <a:cubicBezTo>
                  <a:pt x="1615147" y="555465"/>
                  <a:pt x="1619485" y="553499"/>
                  <a:pt x="1619775" y="552110"/>
                </a:cubicBezTo>
                <a:cubicBezTo>
                  <a:pt x="1619775" y="551648"/>
                  <a:pt x="1619196" y="550722"/>
                  <a:pt x="1616940" y="549739"/>
                </a:cubicBezTo>
                <a:cubicBezTo>
                  <a:pt x="1613469" y="548246"/>
                  <a:pt x="1609883" y="547032"/>
                  <a:pt x="1606181" y="546095"/>
                </a:cubicBezTo>
                <a:cubicBezTo>
                  <a:pt x="1602306" y="544996"/>
                  <a:pt x="1600396" y="544417"/>
                  <a:pt x="1599760" y="542682"/>
                </a:cubicBezTo>
                <a:cubicBezTo>
                  <a:pt x="1599124" y="540946"/>
                  <a:pt x="1600570" y="540021"/>
                  <a:pt x="1601669" y="538980"/>
                </a:cubicBezTo>
                <a:cubicBezTo>
                  <a:pt x="1602768" y="537939"/>
                  <a:pt x="1603173" y="537187"/>
                  <a:pt x="1603173" y="537187"/>
                </a:cubicBezTo>
                <a:cubicBezTo>
                  <a:pt x="1600454" y="536955"/>
                  <a:pt x="1597736" y="536955"/>
                  <a:pt x="1595017" y="537187"/>
                </a:cubicBezTo>
                <a:lnTo>
                  <a:pt x="1591141" y="537187"/>
                </a:lnTo>
                <a:cubicBezTo>
                  <a:pt x="1586861" y="537187"/>
                  <a:pt x="1586398" y="534989"/>
                  <a:pt x="1586340" y="534005"/>
                </a:cubicBezTo>
                <a:cubicBezTo>
                  <a:pt x="1586340" y="529436"/>
                  <a:pt x="1596984" y="521511"/>
                  <a:pt x="1608495" y="521222"/>
                </a:cubicBezTo>
                <a:lnTo>
                  <a:pt x="1609304" y="521222"/>
                </a:lnTo>
                <a:cubicBezTo>
                  <a:pt x="1614106" y="520580"/>
                  <a:pt x="1618733" y="523073"/>
                  <a:pt x="1620873" y="527411"/>
                </a:cubicBezTo>
                <a:cubicBezTo>
                  <a:pt x="1622031" y="530361"/>
                  <a:pt x="1625154" y="532015"/>
                  <a:pt x="1628220" y="531287"/>
                </a:cubicBezTo>
                <a:cubicBezTo>
                  <a:pt x="1639789" y="530535"/>
                  <a:pt x="1675652" y="535162"/>
                  <a:pt x="1691848" y="547714"/>
                </a:cubicBezTo>
                <a:cubicBezTo>
                  <a:pt x="1702434" y="556102"/>
                  <a:pt x="1718572" y="565820"/>
                  <a:pt x="1729216" y="565820"/>
                </a:cubicBezTo>
                <a:cubicBezTo>
                  <a:pt x="1732050" y="566063"/>
                  <a:pt x="1734827" y="564946"/>
                  <a:pt x="1736678" y="562812"/>
                </a:cubicBezTo>
                <a:cubicBezTo>
                  <a:pt x="1739396" y="559115"/>
                  <a:pt x="1739859" y="554199"/>
                  <a:pt x="1737776" y="550086"/>
                </a:cubicBezTo>
                <a:cubicBezTo>
                  <a:pt x="1734884" y="543521"/>
                  <a:pt x="1728811" y="538934"/>
                  <a:pt x="1721696" y="537996"/>
                </a:cubicBezTo>
                <a:cubicBezTo>
                  <a:pt x="1708565" y="536782"/>
                  <a:pt x="1683576" y="524056"/>
                  <a:pt x="1683576" y="517057"/>
                </a:cubicBezTo>
                <a:cubicBezTo>
                  <a:pt x="1683750" y="514998"/>
                  <a:pt x="1684444" y="513013"/>
                  <a:pt x="1685544" y="511272"/>
                </a:cubicBezTo>
                <a:cubicBezTo>
                  <a:pt x="1687510" y="507570"/>
                  <a:pt x="1689188" y="504389"/>
                  <a:pt x="1683461" y="498662"/>
                </a:cubicBezTo>
                <a:cubicBezTo>
                  <a:pt x="1679875" y="495128"/>
                  <a:pt x="1678371" y="489974"/>
                  <a:pt x="1679528" y="485069"/>
                </a:cubicBezTo>
                <a:cubicBezTo>
                  <a:pt x="1681321" y="478058"/>
                  <a:pt x="1686411" y="472355"/>
                  <a:pt x="1693179" y="469740"/>
                </a:cubicBezTo>
                <a:cubicBezTo>
                  <a:pt x="1703301" y="466096"/>
                  <a:pt x="1742346" y="464534"/>
                  <a:pt x="1763344" y="463956"/>
                </a:cubicBezTo>
                <a:lnTo>
                  <a:pt x="1764212" y="463956"/>
                </a:lnTo>
                <a:cubicBezTo>
                  <a:pt x="1771153" y="463597"/>
                  <a:pt x="1778037" y="462805"/>
                  <a:pt x="1784862" y="461584"/>
                </a:cubicBezTo>
                <a:cubicBezTo>
                  <a:pt x="1789200" y="460774"/>
                  <a:pt x="1793538" y="460271"/>
                  <a:pt x="1797935" y="460080"/>
                </a:cubicBezTo>
                <a:cubicBezTo>
                  <a:pt x="1800596" y="459843"/>
                  <a:pt x="1803257" y="460601"/>
                  <a:pt x="1805397" y="462220"/>
                </a:cubicBezTo>
                <a:cubicBezTo>
                  <a:pt x="1806322" y="463296"/>
                  <a:pt x="1807653" y="463973"/>
                  <a:pt x="1809099" y="464129"/>
                </a:cubicBezTo>
                <a:cubicBezTo>
                  <a:pt x="1811471" y="464129"/>
                  <a:pt x="1813784" y="461353"/>
                  <a:pt x="1816503" y="458345"/>
                </a:cubicBezTo>
                <a:lnTo>
                  <a:pt x="1816503" y="458345"/>
                </a:lnTo>
                <a:cubicBezTo>
                  <a:pt x="1820262" y="455591"/>
                  <a:pt x="1824890" y="454278"/>
                  <a:pt x="1829518" y="454643"/>
                </a:cubicBezTo>
                <a:cubicBezTo>
                  <a:pt x="1834666" y="454643"/>
                  <a:pt x="1844326" y="455800"/>
                  <a:pt x="1844326" y="460427"/>
                </a:cubicBezTo>
                <a:cubicBezTo>
                  <a:pt x="1844268" y="460884"/>
                  <a:pt x="1844442" y="461330"/>
                  <a:pt x="1844788" y="461642"/>
                </a:cubicBezTo>
                <a:cubicBezTo>
                  <a:pt x="1845656" y="462452"/>
                  <a:pt x="1847970" y="461642"/>
                  <a:pt x="1849069" y="460659"/>
                </a:cubicBezTo>
                <a:cubicBezTo>
                  <a:pt x="1849706" y="459993"/>
                  <a:pt x="1849937" y="459062"/>
                  <a:pt x="1849764" y="458171"/>
                </a:cubicBezTo>
                <a:cubicBezTo>
                  <a:pt x="1849648" y="455979"/>
                  <a:pt x="1850573" y="453856"/>
                  <a:pt x="1852193" y="452387"/>
                </a:cubicBezTo>
                <a:cubicBezTo>
                  <a:pt x="1853928" y="450362"/>
                  <a:pt x="1854680" y="449379"/>
                  <a:pt x="1852945" y="447354"/>
                </a:cubicBezTo>
                <a:cubicBezTo>
                  <a:pt x="1852598" y="446886"/>
                  <a:pt x="1852193" y="446464"/>
                  <a:pt x="1851730" y="446082"/>
                </a:cubicBezTo>
                <a:cubicBezTo>
                  <a:pt x="1849474" y="444335"/>
                  <a:pt x="1847912" y="441859"/>
                  <a:pt x="1847334" y="439083"/>
                </a:cubicBezTo>
                <a:cubicBezTo>
                  <a:pt x="1846986" y="437521"/>
                  <a:pt x="1846871" y="437058"/>
                  <a:pt x="1843516" y="436711"/>
                </a:cubicBezTo>
                <a:cubicBezTo>
                  <a:pt x="1836227" y="435901"/>
                  <a:pt x="1831947" y="434339"/>
                  <a:pt x="1831195" y="431910"/>
                </a:cubicBezTo>
                <a:cubicBezTo>
                  <a:pt x="1830617" y="430389"/>
                  <a:pt x="1831079" y="428677"/>
                  <a:pt x="1832237" y="427572"/>
                </a:cubicBezTo>
                <a:cubicBezTo>
                  <a:pt x="1833567" y="426270"/>
                  <a:pt x="1835475" y="425634"/>
                  <a:pt x="1837327" y="425836"/>
                </a:cubicBezTo>
                <a:cubicBezTo>
                  <a:pt x="1840045" y="425946"/>
                  <a:pt x="1842706" y="426293"/>
                  <a:pt x="1845367" y="426878"/>
                </a:cubicBezTo>
                <a:cubicBezTo>
                  <a:pt x="1847276" y="427329"/>
                  <a:pt x="1849185" y="427618"/>
                  <a:pt x="1851152" y="427745"/>
                </a:cubicBezTo>
                <a:cubicBezTo>
                  <a:pt x="1852250" y="427745"/>
                  <a:pt x="1852482" y="427745"/>
                  <a:pt x="1852482" y="427745"/>
                </a:cubicBezTo>
                <a:cubicBezTo>
                  <a:pt x="1852077" y="422586"/>
                  <a:pt x="1847623" y="418704"/>
                  <a:pt x="1842475" y="419086"/>
                </a:cubicBezTo>
                <a:cubicBezTo>
                  <a:pt x="1842186" y="419103"/>
                  <a:pt x="1841896" y="419138"/>
                  <a:pt x="1841607" y="419184"/>
                </a:cubicBezTo>
                <a:cubicBezTo>
                  <a:pt x="1835823" y="419763"/>
                  <a:pt x="1826568" y="416755"/>
                  <a:pt x="1824832" y="412648"/>
                </a:cubicBezTo>
                <a:cubicBezTo>
                  <a:pt x="1824312" y="411300"/>
                  <a:pt x="1824659" y="409761"/>
                  <a:pt x="1825700" y="408772"/>
                </a:cubicBezTo>
                <a:cubicBezTo>
                  <a:pt x="1826799" y="407806"/>
                  <a:pt x="1828245" y="407326"/>
                  <a:pt x="1829691" y="407442"/>
                </a:cubicBezTo>
                <a:cubicBezTo>
                  <a:pt x="1832699" y="407656"/>
                  <a:pt x="1835649" y="408234"/>
                  <a:pt x="1838541" y="409177"/>
                </a:cubicBezTo>
                <a:cubicBezTo>
                  <a:pt x="1843111" y="410450"/>
                  <a:pt x="1847854" y="411549"/>
                  <a:pt x="1849069" y="410045"/>
                </a:cubicBezTo>
                <a:cubicBezTo>
                  <a:pt x="1850284" y="408755"/>
                  <a:pt x="1850573" y="406863"/>
                  <a:pt x="1849879" y="405244"/>
                </a:cubicBezTo>
                <a:cubicBezTo>
                  <a:pt x="1848433" y="402814"/>
                  <a:pt x="1845598" y="401582"/>
                  <a:pt x="1842822" y="402178"/>
                </a:cubicBezTo>
                <a:cubicBezTo>
                  <a:pt x="1842012" y="402444"/>
                  <a:pt x="1841087" y="402444"/>
                  <a:pt x="1840277" y="402178"/>
                </a:cubicBezTo>
                <a:cubicBezTo>
                  <a:pt x="1839756" y="401866"/>
                  <a:pt x="1839409" y="401293"/>
                  <a:pt x="1839409" y="400674"/>
                </a:cubicBezTo>
                <a:cubicBezTo>
                  <a:pt x="1839409" y="397840"/>
                  <a:pt x="1847565" y="393154"/>
                  <a:pt x="1851556" y="393154"/>
                </a:cubicBezTo>
                <a:cubicBezTo>
                  <a:pt x="1852077" y="393056"/>
                  <a:pt x="1852656" y="393056"/>
                  <a:pt x="1853176" y="393154"/>
                </a:cubicBezTo>
                <a:cubicBezTo>
                  <a:pt x="1853523" y="393212"/>
                  <a:pt x="1853812" y="393212"/>
                  <a:pt x="1854160" y="393154"/>
                </a:cubicBezTo>
                <a:cubicBezTo>
                  <a:pt x="1856242" y="393091"/>
                  <a:pt x="1858093" y="391795"/>
                  <a:pt x="1858845" y="389857"/>
                </a:cubicBezTo>
                <a:cubicBezTo>
                  <a:pt x="1858845" y="389047"/>
                  <a:pt x="1857341" y="388758"/>
                  <a:pt x="1856705" y="388700"/>
                </a:cubicBezTo>
                <a:cubicBezTo>
                  <a:pt x="1853754" y="388353"/>
                  <a:pt x="1853523" y="386849"/>
                  <a:pt x="1853581" y="386155"/>
                </a:cubicBezTo>
                <a:cubicBezTo>
                  <a:pt x="1853581" y="383668"/>
                  <a:pt x="1858671" y="380891"/>
                  <a:pt x="1863009" y="380891"/>
                </a:cubicBezTo>
                <a:cubicBezTo>
                  <a:pt x="1865208" y="380741"/>
                  <a:pt x="1867290" y="381591"/>
                  <a:pt x="1868794" y="383205"/>
                </a:cubicBezTo>
                <a:cubicBezTo>
                  <a:pt x="1870761" y="385345"/>
                  <a:pt x="1873595" y="386508"/>
                  <a:pt x="1876488" y="386387"/>
                </a:cubicBezTo>
                <a:cubicBezTo>
                  <a:pt x="1881057" y="386491"/>
                  <a:pt x="1885395" y="384327"/>
                  <a:pt x="1888056" y="380602"/>
                </a:cubicBezTo>
                <a:cubicBezTo>
                  <a:pt x="1892568" y="373719"/>
                  <a:pt x="1898410" y="372677"/>
                  <a:pt x="1910037" y="370479"/>
                </a:cubicBezTo>
                <a:lnTo>
                  <a:pt x="1914549" y="369612"/>
                </a:lnTo>
                <a:cubicBezTo>
                  <a:pt x="1918598" y="369189"/>
                  <a:pt x="1922242" y="367090"/>
                  <a:pt x="1924672" y="363827"/>
                </a:cubicBezTo>
                <a:cubicBezTo>
                  <a:pt x="1927159" y="360877"/>
                  <a:pt x="1929762" y="358043"/>
                  <a:pt x="1940231" y="357522"/>
                </a:cubicBezTo>
                <a:lnTo>
                  <a:pt x="1943529" y="357522"/>
                </a:lnTo>
                <a:cubicBezTo>
                  <a:pt x="1957816" y="357233"/>
                  <a:pt x="1972451" y="356944"/>
                  <a:pt x="1973492" y="353589"/>
                </a:cubicBezTo>
                <a:cubicBezTo>
                  <a:pt x="1974533" y="350234"/>
                  <a:pt x="1982516" y="349771"/>
                  <a:pt x="2001142" y="348499"/>
                </a:cubicBezTo>
                <a:cubicBezTo>
                  <a:pt x="2006810" y="348238"/>
                  <a:pt x="2012480" y="347660"/>
                  <a:pt x="2018090" y="346763"/>
                </a:cubicBezTo>
                <a:cubicBezTo>
                  <a:pt x="2017049" y="346243"/>
                  <a:pt x="2014909" y="345548"/>
                  <a:pt x="2013232" y="344970"/>
                </a:cubicBezTo>
                <a:cubicBezTo>
                  <a:pt x="2008604" y="343408"/>
                  <a:pt x="2003340" y="341673"/>
                  <a:pt x="2002067" y="338549"/>
                </a:cubicBezTo>
                <a:cubicBezTo>
                  <a:pt x="2001547" y="337491"/>
                  <a:pt x="2001547" y="336253"/>
                  <a:pt x="2002067" y="335194"/>
                </a:cubicBezTo>
                <a:cubicBezTo>
                  <a:pt x="2003571" y="332811"/>
                  <a:pt x="2006348" y="331527"/>
                  <a:pt x="2009124" y="331897"/>
                </a:cubicBezTo>
                <a:cubicBezTo>
                  <a:pt x="2011380" y="331961"/>
                  <a:pt x="2013636" y="332158"/>
                  <a:pt x="2015834" y="332476"/>
                </a:cubicBezTo>
                <a:cubicBezTo>
                  <a:pt x="2018321" y="332875"/>
                  <a:pt x="2020809" y="333106"/>
                  <a:pt x="2023354" y="333170"/>
                </a:cubicBezTo>
                <a:cubicBezTo>
                  <a:pt x="2025321" y="333268"/>
                  <a:pt x="2027287" y="332956"/>
                  <a:pt x="2029139" y="332244"/>
                </a:cubicBezTo>
                <a:cubicBezTo>
                  <a:pt x="2034518" y="329942"/>
                  <a:pt x="2039724" y="327351"/>
                  <a:pt x="2044814" y="324493"/>
                </a:cubicBezTo>
                <a:lnTo>
                  <a:pt x="2046781" y="323394"/>
                </a:lnTo>
                <a:cubicBezTo>
                  <a:pt x="2049037" y="322179"/>
                  <a:pt x="2052565" y="323857"/>
                  <a:pt x="2056267" y="325824"/>
                </a:cubicBezTo>
                <a:cubicBezTo>
                  <a:pt x="2058234" y="327073"/>
                  <a:pt x="2060432" y="327941"/>
                  <a:pt x="2062746" y="328369"/>
                </a:cubicBezTo>
                <a:cubicBezTo>
                  <a:pt x="2063498" y="328369"/>
                  <a:pt x="2064076" y="328369"/>
                  <a:pt x="2064424" y="326923"/>
                </a:cubicBezTo>
                <a:cubicBezTo>
                  <a:pt x="2066101" y="320791"/>
                  <a:pt x="2077439" y="317378"/>
                  <a:pt x="2084611" y="317378"/>
                </a:cubicBezTo>
                <a:cubicBezTo>
                  <a:pt x="2087272" y="317159"/>
                  <a:pt x="2089990" y="317916"/>
                  <a:pt x="2092131" y="319519"/>
                </a:cubicBezTo>
                <a:cubicBezTo>
                  <a:pt x="2092825" y="320172"/>
                  <a:pt x="2093230" y="321103"/>
                  <a:pt x="2093172" y="322064"/>
                </a:cubicBezTo>
                <a:cubicBezTo>
                  <a:pt x="2093172" y="324667"/>
                  <a:pt x="2090222" y="327385"/>
                  <a:pt x="2087388" y="330046"/>
                </a:cubicBezTo>
                <a:cubicBezTo>
                  <a:pt x="2085942" y="331435"/>
                  <a:pt x="2083512" y="333633"/>
                  <a:pt x="2083570" y="334442"/>
                </a:cubicBezTo>
                <a:lnTo>
                  <a:pt x="2083570" y="334442"/>
                </a:lnTo>
                <a:lnTo>
                  <a:pt x="2084033" y="334442"/>
                </a:lnTo>
                <a:cubicBezTo>
                  <a:pt x="2087330" y="335044"/>
                  <a:pt x="2090742" y="334830"/>
                  <a:pt x="2093982" y="333806"/>
                </a:cubicBezTo>
                <a:cubicBezTo>
                  <a:pt x="2096527" y="332886"/>
                  <a:pt x="2099246" y="332707"/>
                  <a:pt x="2101907" y="333286"/>
                </a:cubicBezTo>
                <a:cubicBezTo>
                  <a:pt x="2104278" y="334182"/>
                  <a:pt x="2106765" y="334627"/>
                  <a:pt x="2109253" y="334616"/>
                </a:cubicBezTo>
                <a:cubicBezTo>
                  <a:pt x="2112839" y="335108"/>
                  <a:pt x="2116368" y="333395"/>
                  <a:pt x="2118161" y="330278"/>
                </a:cubicBezTo>
                <a:cubicBezTo>
                  <a:pt x="2120359" y="324956"/>
                  <a:pt x="2128225" y="322526"/>
                  <a:pt x="2134705" y="322526"/>
                </a:cubicBezTo>
                <a:cubicBezTo>
                  <a:pt x="2137770" y="322417"/>
                  <a:pt x="2140836" y="323093"/>
                  <a:pt x="2143554" y="324493"/>
                </a:cubicBezTo>
                <a:cubicBezTo>
                  <a:pt x="2148760" y="327351"/>
                  <a:pt x="2154429" y="329138"/>
                  <a:pt x="2160329" y="329757"/>
                </a:cubicBezTo>
                <a:cubicBezTo>
                  <a:pt x="2161602" y="329757"/>
                  <a:pt x="2162469" y="329757"/>
                  <a:pt x="2162585" y="329121"/>
                </a:cubicBezTo>
                <a:cubicBezTo>
                  <a:pt x="2162701" y="328484"/>
                  <a:pt x="2158709" y="326576"/>
                  <a:pt x="2156453" y="325592"/>
                </a:cubicBezTo>
                <a:cubicBezTo>
                  <a:pt x="2151074" y="323105"/>
                  <a:pt x="2144885" y="320328"/>
                  <a:pt x="2144885" y="315817"/>
                </a:cubicBezTo>
                <a:cubicBezTo>
                  <a:pt x="2144827" y="314833"/>
                  <a:pt x="2145174" y="313873"/>
                  <a:pt x="2145868" y="313156"/>
                </a:cubicBezTo>
                <a:cubicBezTo>
                  <a:pt x="2150264" y="308528"/>
                  <a:pt x="2169006" y="308181"/>
                  <a:pt x="2174386" y="308181"/>
                </a:cubicBezTo>
                <a:cubicBezTo>
                  <a:pt x="2178839" y="308106"/>
                  <a:pt x="2183293" y="308378"/>
                  <a:pt x="2187747" y="308991"/>
                </a:cubicBezTo>
                <a:cubicBezTo>
                  <a:pt x="2194573" y="310148"/>
                  <a:pt x="2199952" y="309627"/>
                  <a:pt x="2201456" y="307718"/>
                </a:cubicBezTo>
                <a:cubicBezTo>
                  <a:pt x="2201920" y="307065"/>
                  <a:pt x="2202035" y="306226"/>
                  <a:pt x="2201804" y="305462"/>
                </a:cubicBezTo>
                <a:cubicBezTo>
                  <a:pt x="2201572" y="303814"/>
                  <a:pt x="2201572" y="302136"/>
                  <a:pt x="2201804" y="300488"/>
                </a:cubicBezTo>
                <a:cubicBezTo>
                  <a:pt x="2201804" y="297191"/>
                  <a:pt x="2202208" y="295571"/>
                  <a:pt x="2197581" y="294703"/>
                </a:cubicBezTo>
                <a:cubicBezTo>
                  <a:pt x="2196019" y="294553"/>
                  <a:pt x="2194746" y="293321"/>
                  <a:pt x="2194573" y="291753"/>
                </a:cubicBezTo>
                <a:cubicBezTo>
                  <a:pt x="2193879" y="285622"/>
                  <a:pt x="2207935" y="272433"/>
                  <a:pt x="2215860" y="268616"/>
                </a:cubicBezTo>
                <a:cubicBezTo>
                  <a:pt x="2219330" y="266672"/>
                  <a:pt x="2222280" y="263913"/>
                  <a:pt x="2224478" y="260575"/>
                </a:cubicBezTo>
                <a:cubicBezTo>
                  <a:pt x="2229511" y="252917"/>
                  <a:pt x="2237435" y="247635"/>
                  <a:pt x="2246459" y="245941"/>
                </a:cubicBezTo>
                <a:cubicBezTo>
                  <a:pt x="2254616" y="244379"/>
                  <a:pt x="2260978" y="242644"/>
                  <a:pt x="2266127" y="241255"/>
                </a:cubicBezTo>
                <a:cubicBezTo>
                  <a:pt x="2271448" y="239416"/>
                  <a:pt x="2277059" y="238398"/>
                  <a:pt x="2282670" y="238247"/>
                </a:cubicBezTo>
                <a:cubicBezTo>
                  <a:pt x="2290884" y="239236"/>
                  <a:pt x="2298924" y="241180"/>
                  <a:pt x="2306676" y="244032"/>
                </a:cubicBezTo>
                <a:lnTo>
                  <a:pt x="2311592" y="245536"/>
                </a:lnTo>
                <a:cubicBezTo>
                  <a:pt x="2315005" y="246484"/>
                  <a:pt x="2318475" y="246988"/>
                  <a:pt x="2322004" y="247040"/>
                </a:cubicBezTo>
                <a:cubicBezTo>
                  <a:pt x="2327384" y="247445"/>
                  <a:pt x="2332416" y="247734"/>
                  <a:pt x="2335250" y="251609"/>
                </a:cubicBezTo>
                <a:cubicBezTo>
                  <a:pt x="2338085" y="255485"/>
                  <a:pt x="2339531" y="257741"/>
                  <a:pt x="2338548" y="260170"/>
                </a:cubicBezTo>
                <a:cubicBezTo>
                  <a:pt x="2337564" y="262600"/>
                  <a:pt x="2335540" y="263120"/>
                  <a:pt x="2331259" y="263872"/>
                </a:cubicBezTo>
                <a:cubicBezTo>
                  <a:pt x="2326921" y="264862"/>
                  <a:pt x="2322756" y="266498"/>
                  <a:pt x="2318939" y="268731"/>
                </a:cubicBezTo>
                <a:cubicBezTo>
                  <a:pt x="2314889" y="271143"/>
                  <a:pt x="2310435" y="272792"/>
                  <a:pt x="2305750" y="273590"/>
                </a:cubicBezTo>
                <a:cubicBezTo>
                  <a:pt x="2303436" y="273590"/>
                  <a:pt x="2301296" y="274169"/>
                  <a:pt x="2299503" y="274516"/>
                </a:cubicBezTo>
                <a:lnTo>
                  <a:pt x="2301354" y="274516"/>
                </a:lnTo>
                <a:cubicBezTo>
                  <a:pt x="2302395" y="274516"/>
                  <a:pt x="2327615" y="274516"/>
                  <a:pt x="2330854" y="280011"/>
                </a:cubicBezTo>
                <a:cubicBezTo>
                  <a:pt x="2331259" y="280474"/>
                  <a:pt x="2333630" y="281226"/>
                  <a:pt x="2345026" y="281226"/>
                </a:cubicBezTo>
                <a:lnTo>
                  <a:pt x="2353992" y="281226"/>
                </a:lnTo>
                <a:lnTo>
                  <a:pt x="2362553" y="281226"/>
                </a:lnTo>
                <a:cubicBezTo>
                  <a:pt x="2372849" y="281226"/>
                  <a:pt x="2375799" y="281862"/>
                  <a:pt x="2375799" y="283944"/>
                </a:cubicBezTo>
                <a:cubicBezTo>
                  <a:pt x="2375799" y="286027"/>
                  <a:pt x="2373023" y="288861"/>
                  <a:pt x="2366082" y="295860"/>
                </a:cubicBezTo>
                <a:cubicBezTo>
                  <a:pt x="2361974" y="299557"/>
                  <a:pt x="2358388" y="303756"/>
                  <a:pt x="2355322" y="308355"/>
                </a:cubicBezTo>
                <a:cubicBezTo>
                  <a:pt x="2361280" y="309361"/>
                  <a:pt x="2367296" y="309864"/>
                  <a:pt x="2373312" y="309859"/>
                </a:cubicBezTo>
                <a:cubicBezTo>
                  <a:pt x="2382451" y="309859"/>
                  <a:pt x="2387946" y="308470"/>
                  <a:pt x="2388062" y="306099"/>
                </a:cubicBezTo>
                <a:cubicBezTo>
                  <a:pt x="2388525" y="297885"/>
                  <a:pt x="2399631" y="292852"/>
                  <a:pt x="2407267" y="294993"/>
                </a:cubicBezTo>
                <a:cubicBezTo>
                  <a:pt x="2412993" y="296132"/>
                  <a:pt x="2418778" y="296641"/>
                  <a:pt x="2424620" y="296497"/>
                </a:cubicBezTo>
                <a:cubicBezTo>
                  <a:pt x="2429710" y="297034"/>
                  <a:pt x="2434916" y="296358"/>
                  <a:pt x="2439717" y="294530"/>
                </a:cubicBezTo>
                <a:cubicBezTo>
                  <a:pt x="2440527" y="293685"/>
                  <a:pt x="2441742" y="293257"/>
                  <a:pt x="2442898" y="293373"/>
                </a:cubicBezTo>
                <a:cubicBezTo>
                  <a:pt x="2445733" y="293622"/>
                  <a:pt x="2448452" y="294246"/>
                  <a:pt x="2451113" y="295224"/>
                </a:cubicBezTo>
                <a:cubicBezTo>
                  <a:pt x="2452790" y="295849"/>
                  <a:pt x="2454583" y="296294"/>
                  <a:pt x="2456377" y="296554"/>
                </a:cubicBezTo>
                <a:lnTo>
                  <a:pt x="2456377" y="296554"/>
                </a:lnTo>
                <a:cubicBezTo>
                  <a:pt x="2456377" y="294703"/>
                  <a:pt x="2459731" y="294703"/>
                  <a:pt x="2461062" y="294703"/>
                </a:cubicBezTo>
                <a:cubicBezTo>
                  <a:pt x="2468870" y="294703"/>
                  <a:pt x="2489232" y="298810"/>
                  <a:pt x="2497735" y="305289"/>
                </a:cubicBezTo>
                <a:cubicBezTo>
                  <a:pt x="2499470" y="306689"/>
                  <a:pt x="2501611" y="307464"/>
                  <a:pt x="2503867" y="307487"/>
                </a:cubicBezTo>
                <a:cubicBezTo>
                  <a:pt x="2506759" y="307238"/>
                  <a:pt x="2509593" y="306411"/>
                  <a:pt x="2512139" y="305057"/>
                </a:cubicBezTo>
                <a:cubicBezTo>
                  <a:pt x="2513931" y="304057"/>
                  <a:pt x="2515898" y="303409"/>
                  <a:pt x="2517923" y="303149"/>
                </a:cubicBezTo>
                <a:cubicBezTo>
                  <a:pt x="2519195" y="303137"/>
                  <a:pt x="2520468" y="303635"/>
                  <a:pt x="2521394" y="304537"/>
                </a:cubicBezTo>
                <a:cubicBezTo>
                  <a:pt x="2527756" y="310958"/>
                  <a:pt x="2527525" y="323857"/>
                  <a:pt x="2527178" y="327675"/>
                </a:cubicBezTo>
                <a:cubicBezTo>
                  <a:pt x="2527178" y="328658"/>
                  <a:pt x="2527178" y="329005"/>
                  <a:pt x="2527178" y="329063"/>
                </a:cubicBezTo>
                <a:cubicBezTo>
                  <a:pt x="2527409" y="329132"/>
                  <a:pt x="2527640" y="329132"/>
                  <a:pt x="2527872" y="329063"/>
                </a:cubicBezTo>
                <a:cubicBezTo>
                  <a:pt x="2529087" y="328930"/>
                  <a:pt x="2530359" y="328658"/>
                  <a:pt x="2531516" y="328253"/>
                </a:cubicBezTo>
                <a:cubicBezTo>
                  <a:pt x="2533599" y="327570"/>
                  <a:pt x="2535797" y="327166"/>
                  <a:pt x="2537995" y="327038"/>
                </a:cubicBezTo>
                <a:cubicBezTo>
                  <a:pt x="2540482" y="326940"/>
                  <a:pt x="2542911" y="328033"/>
                  <a:pt x="2544473" y="329988"/>
                </a:cubicBezTo>
                <a:cubicBezTo>
                  <a:pt x="2547134" y="333453"/>
                  <a:pt x="2547423" y="338168"/>
                  <a:pt x="2545283" y="341962"/>
                </a:cubicBezTo>
                <a:cubicBezTo>
                  <a:pt x="2545110" y="342355"/>
                  <a:pt x="2544936" y="342760"/>
                  <a:pt x="2544820" y="343177"/>
                </a:cubicBezTo>
                <a:lnTo>
                  <a:pt x="2545688" y="343177"/>
                </a:lnTo>
                <a:cubicBezTo>
                  <a:pt x="2546382" y="343090"/>
                  <a:pt x="2547018" y="343090"/>
                  <a:pt x="2547712" y="343177"/>
                </a:cubicBezTo>
                <a:cubicBezTo>
                  <a:pt x="2552398" y="343483"/>
                  <a:pt x="2556331" y="346815"/>
                  <a:pt x="2557430" y="351391"/>
                </a:cubicBezTo>
                <a:cubicBezTo>
                  <a:pt x="2558009" y="354376"/>
                  <a:pt x="2556216" y="357308"/>
                  <a:pt x="2553266" y="358101"/>
                </a:cubicBezTo>
                <a:cubicBezTo>
                  <a:pt x="2550200" y="359200"/>
                  <a:pt x="2546960" y="359807"/>
                  <a:pt x="2543663" y="359894"/>
                </a:cubicBezTo>
                <a:cubicBezTo>
                  <a:pt x="2542159" y="359894"/>
                  <a:pt x="2540482" y="359894"/>
                  <a:pt x="2540193" y="360530"/>
                </a:cubicBezTo>
                <a:cubicBezTo>
                  <a:pt x="2540077" y="360883"/>
                  <a:pt x="2540077" y="361276"/>
                  <a:pt x="2540193" y="361629"/>
                </a:cubicBezTo>
                <a:cubicBezTo>
                  <a:pt x="2540597" y="363307"/>
                  <a:pt x="2543201" y="364232"/>
                  <a:pt x="2545688" y="365158"/>
                </a:cubicBezTo>
                <a:cubicBezTo>
                  <a:pt x="2548175" y="366083"/>
                  <a:pt x="2552630" y="367645"/>
                  <a:pt x="2552340" y="371289"/>
                </a:cubicBezTo>
                <a:cubicBezTo>
                  <a:pt x="2551241" y="378965"/>
                  <a:pt x="2546266" y="385536"/>
                  <a:pt x="2539151" y="388643"/>
                </a:cubicBezTo>
                <a:cubicBezTo>
                  <a:pt x="2528392" y="393501"/>
                  <a:pt x="2509651" y="401657"/>
                  <a:pt x="2505544" y="401657"/>
                </a:cubicBezTo>
                <a:cubicBezTo>
                  <a:pt x="2504561" y="401657"/>
                  <a:pt x="2503230" y="404492"/>
                  <a:pt x="2502189" y="406748"/>
                </a:cubicBezTo>
                <a:cubicBezTo>
                  <a:pt x="2500164" y="410970"/>
                  <a:pt x="2497677" y="416234"/>
                  <a:pt x="2492934" y="416234"/>
                </a:cubicBezTo>
                <a:lnTo>
                  <a:pt x="2492298" y="416234"/>
                </a:lnTo>
                <a:cubicBezTo>
                  <a:pt x="2484547" y="416234"/>
                  <a:pt x="2449782" y="427803"/>
                  <a:pt x="2446832" y="434513"/>
                </a:cubicBezTo>
                <a:cubicBezTo>
                  <a:pt x="2443882" y="441223"/>
                  <a:pt x="2429479" y="447470"/>
                  <a:pt x="2420976" y="451172"/>
                </a:cubicBezTo>
                <a:lnTo>
                  <a:pt x="2418026" y="452445"/>
                </a:lnTo>
                <a:cubicBezTo>
                  <a:pt x="2415712" y="453596"/>
                  <a:pt x="2413687" y="455331"/>
                  <a:pt x="2412241" y="457477"/>
                </a:cubicBezTo>
                <a:cubicBezTo>
                  <a:pt x="2408423" y="462949"/>
                  <a:pt x="2402407" y="466460"/>
                  <a:pt x="2395755" y="467079"/>
                </a:cubicBezTo>
                <a:cubicBezTo>
                  <a:pt x="2392458" y="467600"/>
                  <a:pt x="2389392" y="467947"/>
                  <a:pt x="2386674" y="468294"/>
                </a:cubicBezTo>
                <a:cubicBezTo>
                  <a:pt x="2376725" y="469567"/>
                  <a:pt x="2370767" y="470319"/>
                  <a:pt x="2366602" y="475930"/>
                </a:cubicBezTo>
                <a:cubicBezTo>
                  <a:pt x="2363652" y="479389"/>
                  <a:pt x="2359545" y="481604"/>
                  <a:pt x="2355033" y="482119"/>
                </a:cubicBezTo>
                <a:cubicBezTo>
                  <a:pt x="2349653" y="483085"/>
                  <a:pt x="2344737" y="485624"/>
                  <a:pt x="2340803" y="489407"/>
                </a:cubicBezTo>
                <a:cubicBezTo>
                  <a:pt x="2335019" y="494931"/>
                  <a:pt x="2330738" y="501809"/>
                  <a:pt x="2328309" y="509421"/>
                </a:cubicBezTo>
                <a:cubicBezTo>
                  <a:pt x="2329871" y="508820"/>
                  <a:pt x="2331259" y="507894"/>
                  <a:pt x="2332416" y="506703"/>
                </a:cubicBezTo>
                <a:cubicBezTo>
                  <a:pt x="2343985" y="496811"/>
                  <a:pt x="2349769" y="496117"/>
                  <a:pt x="2371692" y="493456"/>
                </a:cubicBezTo>
                <a:lnTo>
                  <a:pt x="2377824" y="492704"/>
                </a:lnTo>
                <a:cubicBezTo>
                  <a:pt x="2391244" y="491027"/>
                  <a:pt x="2418315" y="483044"/>
                  <a:pt x="2418315" y="479285"/>
                </a:cubicBezTo>
                <a:cubicBezTo>
                  <a:pt x="2418315" y="475525"/>
                  <a:pt x="2424793" y="474946"/>
                  <a:pt x="2435263" y="473847"/>
                </a:cubicBezTo>
                <a:cubicBezTo>
                  <a:pt x="2441858" y="473153"/>
                  <a:pt x="2450071" y="472285"/>
                  <a:pt x="2451633" y="470319"/>
                </a:cubicBezTo>
                <a:cubicBezTo>
                  <a:pt x="2451749" y="470139"/>
                  <a:pt x="2451749" y="469920"/>
                  <a:pt x="2451633" y="469740"/>
                </a:cubicBezTo>
                <a:cubicBezTo>
                  <a:pt x="2451633" y="469220"/>
                  <a:pt x="2448625" y="469162"/>
                  <a:pt x="2447006" y="469162"/>
                </a:cubicBezTo>
                <a:cubicBezTo>
                  <a:pt x="2442898" y="469613"/>
                  <a:pt x="2438734" y="468479"/>
                  <a:pt x="2435437" y="465980"/>
                </a:cubicBezTo>
                <a:cubicBezTo>
                  <a:pt x="2434222" y="464511"/>
                  <a:pt x="2434106" y="462446"/>
                  <a:pt x="2435090" y="460832"/>
                </a:cubicBezTo>
                <a:cubicBezTo>
                  <a:pt x="2440990" y="451699"/>
                  <a:pt x="2450997" y="446024"/>
                  <a:pt x="2461872" y="445619"/>
                </a:cubicBezTo>
                <a:cubicBezTo>
                  <a:pt x="2463665" y="445613"/>
                  <a:pt x="2465458" y="445845"/>
                  <a:pt x="2467193" y="446313"/>
                </a:cubicBezTo>
                <a:cubicBezTo>
                  <a:pt x="2478993" y="449165"/>
                  <a:pt x="2489984" y="454776"/>
                  <a:pt x="2499181" y="462683"/>
                </a:cubicBezTo>
                <a:cubicBezTo>
                  <a:pt x="2502536" y="464685"/>
                  <a:pt x="2506469" y="465575"/>
                  <a:pt x="2510403" y="465228"/>
                </a:cubicBezTo>
                <a:cubicBezTo>
                  <a:pt x="2515667" y="465708"/>
                  <a:pt x="2520930" y="464338"/>
                  <a:pt x="2525327" y="461353"/>
                </a:cubicBezTo>
                <a:cubicBezTo>
                  <a:pt x="2525558" y="460884"/>
                  <a:pt x="2525558" y="460317"/>
                  <a:pt x="2525327" y="459849"/>
                </a:cubicBezTo>
                <a:cubicBezTo>
                  <a:pt x="2524864" y="458513"/>
                  <a:pt x="2525038" y="457026"/>
                  <a:pt x="2525848" y="455858"/>
                </a:cubicBezTo>
                <a:cubicBezTo>
                  <a:pt x="2527004" y="454550"/>
                  <a:pt x="2528740" y="453850"/>
                  <a:pt x="2530475" y="453949"/>
                </a:cubicBezTo>
                <a:cubicBezTo>
                  <a:pt x="2535623" y="453960"/>
                  <a:pt x="2540077" y="457535"/>
                  <a:pt x="2541234" y="462568"/>
                </a:cubicBezTo>
                <a:cubicBezTo>
                  <a:pt x="2541697" y="466408"/>
                  <a:pt x="2541697" y="470296"/>
                  <a:pt x="2541234" y="474136"/>
                </a:cubicBezTo>
                <a:cubicBezTo>
                  <a:pt x="2540713" y="479632"/>
                  <a:pt x="2540193" y="485416"/>
                  <a:pt x="2542044" y="487498"/>
                </a:cubicBezTo>
                <a:cubicBezTo>
                  <a:pt x="2542738" y="488175"/>
                  <a:pt x="2543721" y="488459"/>
                  <a:pt x="2544647" y="488250"/>
                </a:cubicBezTo>
                <a:cubicBezTo>
                  <a:pt x="2545977" y="488250"/>
                  <a:pt x="2546787" y="487845"/>
                  <a:pt x="2547134" y="487325"/>
                </a:cubicBezTo>
                <a:cubicBezTo>
                  <a:pt x="2547481" y="486804"/>
                  <a:pt x="2547134" y="484375"/>
                  <a:pt x="2546440" y="482466"/>
                </a:cubicBezTo>
                <a:cubicBezTo>
                  <a:pt x="2545514" y="479574"/>
                  <a:pt x="2544184" y="475525"/>
                  <a:pt x="2547886" y="473789"/>
                </a:cubicBezTo>
                <a:cubicBezTo>
                  <a:pt x="2552860" y="471476"/>
                  <a:pt x="2579006" y="468699"/>
                  <a:pt x="2607697" y="465749"/>
                </a:cubicBezTo>
                <a:lnTo>
                  <a:pt x="2616894" y="464823"/>
                </a:lnTo>
                <a:cubicBezTo>
                  <a:pt x="2618514" y="464737"/>
                  <a:pt x="2620191" y="464737"/>
                  <a:pt x="2621811" y="464823"/>
                </a:cubicBezTo>
                <a:cubicBezTo>
                  <a:pt x="2629215" y="465095"/>
                  <a:pt x="2636504" y="466460"/>
                  <a:pt x="2643503" y="468873"/>
                </a:cubicBezTo>
                <a:cubicBezTo>
                  <a:pt x="2651196" y="471637"/>
                  <a:pt x="2659294" y="472951"/>
                  <a:pt x="2667450" y="472748"/>
                </a:cubicBezTo>
                <a:cubicBezTo>
                  <a:pt x="2669995" y="472748"/>
                  <a:pt x="2672483" y="472748"/>
                  <a:pt x="2674854" y="472748"/>
                </a:cubicBezTo>
                <a:cubicBezTo>
                  <a:pt x="2683473" y="472748"/>
                  <a:pt x="2693827" y="473963"/>
                  <a:pt x="2694521" y="477260"/>
                </a:cubicBezTo>
                <a:cubicBezTo>
                  <a:pt x="2694521" y="477896"/>
                  <a:pt x="2694521" y="479111"/>
                  <a:pt x="2692612" y="480036"/>
                </a:cubicBezTo>
                <a:lnTo>
                  <a:pt x="2689894" y="481135"/>
                </a:lnTo>
                <a:cubicBezTo>
                  <a:pt x="2683820" y="483507"/>
                  <a:pt x="2680002" y="485474"/>
                  <a:pt x="2681911" y="491547"/>
                </a:cubicBezTo>
                <a:cubicBezTo>
                  <a:pt x="2683415" y="496117"/>
                  <a:pt x="2696603" y="499357"/>
                  <a:pt x="2707536" y="499357"/>
                </a:cubicBezTo>
                <a:cubicBezTo>
                  <a:pt x="2714998" y="499357"/>
                  <a:pt x="2717948" y="497910"/>
                  <a:pt x="2718064" y="496985"/>
                </a:cubicBezTo>
                <a:cubicBezTo>
                  <a:pt x="2718180" y="494220"/>
                  <a:pt x="2720378" y="492010"/>
                  <a:pt x="2723154" y="491952"/>
                </a:cubicBezTo>
                <a:cubicBezTo>
                  <a:pt x="2727030" y="492542"/>
                  <a:pt x="2730327" y="495041"/>
                  <a:pt x="2731947" y="498604"/>
                </a:cubicBezTo>
                <a:cubicBezTo>
                  <a:pt x="2733682" y="501786"/>
                  <a:pt x="2736806" y="501959"/>
                  <a:pt x="2743516" y="502075"/>
                </a:cubicBezTo>
                <a:cubicBezTo>
                  <a:pt x="2751671" y="501988"/>
                  <a:pt x="2759770" y="502943"/>
                  <a:pt x="2767694" y="504910"/>
                </a:cubicBezTo>
                <a:cubicBezTo>
                  <a:pt x="2771107" y="505818"/>
                  <a:pt x="2774578" y="506304"/>
                  <a:pt x="2778106" y="506356"/>
                </a:cubicBezTo>
                <a:cubicBezTo>
                  <a:pt x="2782155" y="506332"/>
                  <a:pt x="2786147" y="505233"/>
                  <a:pt x="2789675" y="503174"/>
                </a:cubicBezTo>
                <a:cubicBezTo>
                  <a:pt x="2791816" y="501884"/>
                  <a:pt x="2794187" y="501132"/>
                  <a:pt x="2796674" y="500976"/>
                </a:cubicBezTo>
                <a:cubicBezTo>
                  <a:pt x="2798062" y="500988"/>
                  <a:pt x="2799393" y="501242"/>
                  <a:pt x="2800665" y="501728"/>
                </a:cubicBezTo>
                <a:lnTo>
                  <a:pt x="2805525" y="503521"/>
                </a:lnTo>
                <a:cubicBezTo>
                  <a:pt x="2807839" y="504568"/>
                  <a:pt x="2810268" y="505291"/>
                  <a:pt x="2812755" y="505662"/>
                </a:cubicBezTo>
                <a:cubicBezTo>
                  <a:pt x="2813623" y="505662"/>
                  <a:pt x="2814953" y="505662"/>
                  <a:pt x="2815358" y="501439"/>
                </a:cubicBezTo>
                <a:cubicBezTo>
                  <a:pt x="2815647" y="499119"/>
                  <a:pt x="2816110" y="496829"/>
                  <a:pt x="2816862" y="494613"/>
                </a:cubicBezTo>
                <a:cubicBezTo>
                  <a:pt x="2818655" y="490304"/>
                  <a:pt x="2818250" y="485399"/>
                  <a:pt x="2815821" y="481425"/>
                </a:cubicBezTo>
                <a:cubicBezTo>
                  <a:pt x="2812986" y="475704"/>
                  <a:pt x="2815300" y="468757"/>
                  <a:pt x="2821026" y="465923"/>
                </a:cubicBezTo>
                <a:cubicBezTo>
                  <a:pt x="2824208" y="464355"/>
                  <a:pt x="2827910" y="464314"/>
                  <a:pt x="2831091" y="465807"/>
                </a:cubicBezTo>
                <a:cubicBezTo>
                  <a:pt x="2831670" y="466079"/>
                  <a:pt x="2832364" y="466235"/>
                  <a:pt x="2833001" y="466270"/>
                </a:cubicBezTo>
                <a:cubicBezTo>
                  <a:pt x="2835141" y="466270"/>
                  <a:pt x="2836240" y="463493"/>
                  <a:pt x="2837513" y="459617"/>
                </a:cubicBezTo>
                <a:cubicBezTo>
                  <a:pt x="2838785" y="455742"/>
                  <a:pt x="2840115" y="451866"/>
                  <a:pt x="2843702" y="452387"/>
                </a:cubicBezTo>
                <a:cubicBezTo>
                  <a:pt x="2847288" y="452908"/>
                  <a:pt x="2848098" y="454990"/>
                  <a:pt x="2850180" y="457824"/>
                </a:cubicBezTo>
                <a:cubicBezTo>
                  <a:pt x="2854287" y="464204"/>
                  <a:pt x="2860708" y="468774"/>
                  <a:pt x="2868054" y="470608"/>
                </a:cubicBezTo>
                <a:cubicBezTo>
                  <a:pt x="2874302" y="472222"/>
                  <a:pt x="2880722" y="473402"/>
                  <a:pt x="2887143" y="474136"/>
                </a:cubicBezTo>
                <a:cubicBezTo>
                  <a:pt x="2894200" y="475120"/>
                  <a:pt x="2898712" y="475698"/>
                  <a:pt x="2899810" y="477896"/>
                </a:cubicBezTo>
                <a:cubicBezTo>
                  <a:pt x="2900216" y="478735"/>
                  <a:pt x="2900216" y="479718"/>
                  <a:pt x="2899810" y="480557"/>
                </a:cubicBezTo>
                <a:cubicBezTo>
                  <a:pt x="2899579" y="481026"/>
                  <a:pt x="2899579" y="481593"/>
                  <a:pt x="2899810" y="482061"/>
                </a:cubicBezTo>
                <a:cubicBezTo>
                  <a:pt x="2901083" y="483316"/>
                  <a:pt x="2902760" y="483987"/>
                  <a:pt x="2904554" y="483912"/>
                </a:cubicBezTo>
                <a:cubicBezTo>
                  <a:pt x="2905595" y="484022"/>
                  <a:pt x="2906694" y="483663"/>
                  <a:pt x="2907446" y="482929"/>
                </a:cubicBezTo>
                <a:cubicBezTo>
                  <a:pt x="2907677" y="482397"/>
                  <a:pt x="2907677" y="481783"/>
                  <a:pt x="2907446" y="481251"/>
                </a:cubicBezTo>
                <a:cubicBezTo>
                  <a:pt x="2907272" y="480424"/>
                  <a:pt x="2907446" y="479556"/>
                  <a:pt x="2907967" y="478880"/>
                </a:cubicBezTo>
                <a:cubicBezTo>
                  <a:pt x="2910281" y="475987"/>
                  <a:pt x="2919535" y="475525"/>
                  <a:pt x="2924394" y="475525"/>
                </a:cubicBezTo>
                <a:cubicBezTo>
                  <a:pt x="2925262" y="475525"/>
                  <a:pt x="2945565" y="475525"/>
                  <a:pt x="2946028" y="480441"/>
                </a:cubicBezTo>
                <a:cubicBezTo>
                  <a:pt x="2946375" y="484086"/>
                  <a:pt x="2955052" y="491200"/>
                  <a:pt x="2963381" y="492357"/>
                </a:cubicBezTo>
                <a:cubicBezTo>
                  <a:pt x="2969571" y="493225"/>
                  <a:pt x="2972984" y="496638"/>
                  <a:pt x="2973099" y="499530"/>
                </a:cubicBezTo>
                <a:cubicBezTo>
                  <a:pt x="2973215" y="502422"/>
                  <a:pt x="2971595" y="503579"/>
                  <a:pt x="2968761" y="504273"/>
                </a:cubicBezTo>
                <a:cubicBezTo>
                  <a:pt x="2968529" y="504296"/>
                  <a:pt x="2968298" y="504424"/>
                  <a:pt x="2968183" y="504620"/>
                </a:cubicBezTo>
                <a:cubicBezTo>
                  <a:pt x="2967719" y="505893"/>
                  <a:pt x="2970381" y="509942"/>
                  <a:pt x="2972174" y="512603"/>
                </a:cubicBezTo>
                <a:cubicBezTo>
                  <a:pt x="2975124" y="516999"/>
                  <a:pt x="2976859" y="519776"/>
                  <a:pt x="2976107" y="521742"/>
                </a:cubicBezTo>
                <a:cubicBezTo>
                  <a:pt x="2975876" y="522488"/>
                  <a:pt x="2975240" y="523049"/>
                  <a:pt x="2974488" y="523246"/>
                </a:cubicBezTo>
                <a:cubicBezTo>
                  <a:pt x="2971943" y="524039"/>
                  <a:pt x="2970149" y="526347"/>
                  <a:pt x="2969975" y="529031"/>
                </a:cubicBezTo>
                <a:cubicBezTo>
                  <a:pt x="2969975" y="531344"/>
                  <a:pt x="2973504" y="531807"/>
                  <a:pt x="2975413" y="531865"/>
                </a:cubicBezTo>
                <a:cubicBezTo>
                  <a:pt x="2980272" y="532021"/>
                  <a:pt x="2984379" y="535608"/>
                  <a:pt x="2985189" y="540426"/>
                </a:cubicBezTo>
                <a:cubicBezTo>
                  <a:pt x="2986577" y="544944"/>
                  <a:pt x="2984958" y="549837"/>
                  <a:pt x="2981140" y="552631"/>
                </a:cubicBezTo>
                <a:cubicBezTo>
                  <a:pt x="2978305" y="554118"/>
                  <a:pt x="2975182" y="554910"/>
                  <a:pt x="2972001" y="554945"/>
                </a:cubicBezTo>
                <a:cubicBezTo>
                  <a:pt x="2967604" y="554945"/>
                  <a:pt x="2963381" y="553343"/>
                  <a:pt x="2960084" y="550433"/>
                </a:cubicBezTo>
                <a:cubicBezTo>
                  <a:pt x="2957770" y="548478"/>
                  <a:pt x="2954878" y="547379"/>
                  <a:pt x="2951870" y="547309"/>
                </a:cubicBezTo>
                <a:cubicBezTo>
                  <a:pt x="2951176" y="547263"/>
                  <a:pt x="2950482" y="547385"/>
                  <a:pt x="2949846" y="547656"/>
                </a:cubicBezTo>
                <a:cubicBezTo>
                  <a:pt x="2950077" y="547876"/>
                  <a:pt x="2950309" y="548073"/>
                  <a:pt x="2950598" y="548235"/>
                </a:cubicBezTo>
                <a:cubicBezTo>
                  <a:pt x="2955110" y="551243"/>
                  <a:pt x="2974372" y="567786"/>
                  <a:pt x="2976049" y="576810"/>
                </a:cubicBezTo>
                <a:cubicBezTo>
                  <a:pt x="2977611" y="584850"/>
                  <a:pt x="3006360" y="612673"/>
                  <a:pt x="3015326" y="612673"/>
                </a:cubicBezTo>
                <a:lnTo>
                  <a:pt x="3015673" y="612673"/>
                </a:lnTo>
                <a:cubicBezTo>
                  <a:pt x="3019375" y="612436"/>
                  <a:pt x="3022961" y="613859"/>
                  <a:pt x="3025507" y="616549"/>
                </a:cubicBezTo>
                <a:cubicBezTo>
                  <a:pt x="3027704" y="618516"/>
                  <a:pt x="3029266" y="619673"/>
                  <a:pt x="3032158" y="618053"/>
                </a:cubicBezTo>
                <a:cubicBezTo>
                  <a:pt x="3035571" y="615357"/>
                  <a:pt x="3038232" y="611858"/>
                  <a:pt x="3039910" y="607872"/>
                </a:cubicBezTo>
                <a:cubicBezTo>
                  <a:pt x="3042744" y="602609"/>
                  <a:pt x="3045694" y="597634"/>
                  <a:pt x="3049917" y="596940"/>
                </a:cubicBezTo>
                <a:cubicBezTo>
                  <a:pt x="3053271" y="596361"/>
                  <a:pt x="3055180" y="590577"/>
                  <a:pt x="3057147" y="584503"/>
                </a:cubicBezTo>
                <a:cubicBezTo>
                  <a:pt x="3058593" y="579002"/>
                  <a:pt x="3060964" y="573785"/>
                  <a:pt x="3064146" y="569059"/>
                </a:cubicBezTo>
                <a:cubicBezTo>
                  <a:pt x="3067732" y="564489"/>
                  <a:pt x="3069931" y="562638"/>
                  <a:pt x="3072476" y="562638"/>
                </a:cubicBezTo>
                <a:cubicBezTo>
                  <a:pt x="3075021" y="562638"/>
                  <a:pt x="3078261" y="565877"/>
                  <a:pt x="3081268" y="570331"/>
                </a:cubicBezTo>
                <a:cubicBezTo>
                  <a:pt x="3087052" y="577909"/>
                  <a:pt x="3106489" y="586759"/>
                  <a:pt x="3121759" y="585602"/>
                </a:cubicBezTo>
                <a:cubicBezTo>
                  <a:pt x="3127891" y="584989"/>
                  <a:pt x="3133849" y="583017"/>
                  <a:pt x="3139112" y="579818"/>
                </a:cubicBezTo>
                <a:cubicBezTo>
                  <a:pt x="3143393" y="577134"/>
                  <a:pt x="3148310" y="575503"/>
                  <a:pt x="3153342" y="575075"/>
                </a:cubicBezTo>
                <a:lnTo>
                  <a:pt x="3154094" y="575075"/>
                </a:lnTo>
                <a:cubicBezTo>
                  <a:pt x="3160689" y="575601"/>
                  <a:pt x="3167225" y="576879"/>
                  <a:pt x="3173530" y="578892"/>
                </a:cubicBezTo>
                <a:cubicBezTo>
                  <a:pt x="3179661" y="580865"/>
                  <a:pt x="3185967" y="582126"/>
                  <a:pt x="3192387" y="582652"/>
                </a:cubicBezTo>
                <a:cubicBezTo>
                  <a:pt x="3193312" y="582652"/>
                  <a:pt x="3194296" y="582560"/>
                  <a:pt x="3195222" y="582363"/>
                </a:cubicBezTo>
                <a:lnTo>
                  <a:pt x="3196956" y="582363"/>
                </a:lnTo>
                <a:cubicBezTo>
                  <a:pt x="3200774" y="582363"/>
                  <a:pt x="3202741" y="585313"/>
                  <a:pt x="3204129" y="588147"/>
                </a:cubicBezTo>
                <a:cubicBezTo>
                  <a:pt x="3206096" y="593423"/>
                  <a:pt x="3211591" y="596500"/>
                  <a:pt x="3217144" y="595436"/>
                </a:cubicBezTo>
                <a:cubicBezTo>
                  <a:pt x="3224664" y="594684"/>
                  <a:pt x="3226688" y="592717"/>
                  <a:pt x="3226746" y="591618"/>
                </a:cubicBezTo>
                <a:cubicBezTo>
                  <a:pt x="3226804" y="590519"/>
                  <a:pt x="3223680" y="587685"/>
                  <a:pt x="3217087" y="586817"/>
                </a:cubicBezTo>
                <a:cubicBezTo>
                  <a:pt x="3215351" y="586817"/>
                  <a:pt x="3209971" y="585834"/>
                  <a:pt x="3210145" y="582942"/>
                </a:cubicBezTo>
                <a:cubicBezTo>
                  <a:pt x="3210319" y="580049"/>
                  <a:pt x="3216682" y="578430"/>
                  <a:pt x="3222524" y="578430"/>
                </a:cubicBezTo>
                <a:lnTo>
                  <a:pt x="3224954" y="578430"/>
                </a:lnTo>
                <a:cubicBezTo>
                  <a:pt x="3228656" y="578586"/>
                  <a:pt x="3232415" y="578256"/>
                  <a:pt x="3236059" y="577446"/>
                </a:cubicBezTo>
                <a:cubicBezTo>
                  <a:pt x="3238315" y="576949"/>
                  <a:pt x="3240687" y="576660"/>
                  <a:pt x="3243001" y="576579"/>
                </a:cubicBezTo>
                <a:cubicBezTo>
                  <a:pt x="3246356" y="576417"/>
                  <a:pt x="3249537" y="577857"/>
                  <a:pt x="3251620" y="580454"/>
                </a:cubicBezTo>
                <a:cubicBezTo>
                  <a:pt x="3254628" y="583369"/>
                  <a:pt x="3258677" y="584885"/>
                  <a:pt x="3262841" y="584619"/>
                </a:cubicBezTo>
                <a:cubicBezTo>
                  <a:pt x="3265907" y="584845"/>
                  <a:pt x="3268915" y="584006"/>
                  <a:pt x="3271402" y="582247"/>
                </a:cubicBezTo>
                <a:cubicBezTo>
                  <a:pt x="3271691" y="581993"/>
                  <a:pt x="3271865" y="581640"/>
                  <a:pt x="3271865" y="581264"/>
                </a:cubicBezTo>
                <a:cubicBezTo>
                  <a:pt x="3271807" y="580379"/>
                  <a:pt x="3271807" y="579488"/>
                  <a:pt x="3271865" y="578603"/>
                </a:cubicBezTo>
                <a:cubicBezTo>
                  <a:pt x="3272848" y="572466"/>
                  <a:pt x="3269725" y="566404"/>
                  <a:pt x="3264114" y="563679"/>
                </a:cubicBezTo>
                <a:cubicBezTo>
                  <a:pt x="3262205" y="562754"/>
                  <a:pt x="3261222" y="561713"/>
                  <a:pt x="3261048" y="560324"/>
                </a:cubicBezTo>
                <a:cubicBezTo>
                  <a:pt x="3261048" y="557721"/>
                  <a:pt x="3264056" y="555581"/>
                  <a:pt x="3267411" y="553210"/>
                </a:cubicBezTo>
                <a:cubicBezTo>
                  <a:pt x="3268973" y="552168"/>
                  <a:pt x="3271807" y="550202"/>
                  <a:pt x="3271865" y="549450"/>
                </a:cubicBezTo>
                <a:lnTo>
                  <a:pt x="3271865" y="549450"/>
                </a:lnTo>
                <a:cubicBezTo>
                  <a:pt x="3271749" y="549288"/>
                  <a:pt x="3271518" y="549172"/>
                  <a:pt x="3271345" y="549103"/>
                </a:cubicBezTo>
                <a:cubicBezTo>
                  <a:pt x="3269378" y="548119"/>
                  <a:pt x="3266717" y="549103"/>
                  <a:pt x="3263941" y="550433"/>
                </a:cubicBezTo>
                <a:cubicBezTo>
                  <a:pt x="3261685" y="551648"/>
                  <a:pt x="3259255" y="552377"/>
                  <a:pt x="3256710" y="552573"/>
                </a:cubicBezTo>
                <a:cubicBezTo>
                  <a:pt x="3253644" y="552469"/>
                  <a:pt x="3250868" y="550896"/>
                  <a:pt x="3249190" y="548351"/>
                </a:cubicBezTo>
                <a:cubicBezTo>
                  <a:pt x="3247050" y="546043"/>
                  <a:pt x="3246587" y="542659"/>
                  <a:pt x="3247975" y="539848"/>
                </a:cubicBezTo>
                <a:cubicBezTo>
                  <a:pt x="3251099" y="533311"/>
                  <a:pt x="3262494" y="529320"/>
                  <a:pt x="3271113" y="529320"/>
                </a:cubicBezTo>
                <a:cubicBezTo>
                  <a:pt x="3272443" y="529227"/>
                  <a:pt x="3273774" y="529227"/>
                  <a:pt x="3275104" y="529320"/>
                </a:cubicBezTo>
                <a:cubicBezTo>
                  <a:pt x="3277418" y="529673"/>
                  <a:pt x="3279790" y="529846"/>
                  <a:pt x="3282162" y="529840"/>
                </a:cubicBezTo>
                <a:cubicBezTo>
                  <a:pt x="3290433" y="529840"/>
                  <a:pt x="3297606" y="527816"/>
                  <a:pt x="3298878" y="525155"/>
                </a:cubicBezTo>
                <a:cubicBezTo>
                  <a:pt x="3298878" y="524692"/>
                  <a:pt x="3299283" y="523940"/>
                  <a:pt x="3298300" y="522726"/>
                </a:cubicBezTo>
                <a:cubicBezTo>
                  <a:pt x="3295061" y="518619"/>
                  <a:pt x="3293903" y="514743"/>
                  <a:pt x="3295234" y="511967"/>
                </a:cubicBezTo>
                <a:cubicBezTo>
                  <a:pt x="3296102" y="510116"/>
                  <a:pt x="3298647" y="507802"/>
                  <a:pt x="3305357" y="508322"/>
                </a:cubicBezTo>
                <a:cubicBezTo>
                  <a:pt x="3309811" y="508912"/>
                  <a:pt x="3314091" y="510139"/>
                  <a:pt x="3318199" y="511967"/>
                </a:cubicBezTo>
                <a:cubicBezTo>
                  <a:pt x="3325371" y="515217"/>
                  <a:pt x="3333064" y="516970"/>
                  <a:pt x="3340931" y="517115"/>
                </a:cubicBezTo>
                <a:cubicBezTo>
                  <a:pt x="3342724" y="517115"/>
                  <a:pt x="3344517" y="517115"/>
                  <a:pt x="3346311" y="516825"/>
                </a:cubicBezTo>
                <a:cubicBezTo>
                  <a:pt x="3348104" y="516536"/>
                  <a:pt x="3350475" y="516825"/>
                  <a:pt x="3352905" y="516825"/>
                </a:cubicBezTo>
                <a:cubicBezTo>
                  <a:pt x="3372225" y="517855"/>
                  <a:pt x="3391487" y="520545"/>
                  <a:pt x="3410344" y="524866"/>
                </a:cubicBezTo>
                <a:cubicBezTo>
                  <a:pt x="3415088" y="525791"/>
                  <a:pt x="3419310" y="526659"/>
                  <a:pt x="3422549" y="527180"/>
                </a:cubicBezTo>
                <a:lnTo>
                  <a:pt x="3430359" y="528510"/>
                </a:lnTo>
                <a:cubicBezTo>
                  <a:pt x="3440828" y="530245"/>
                  <a:pt x="3447191" y="531287"/>
                  <a:pt x="3449158" y="534294"/>
                </a:cubicBezTo>
                <a:cubicBezTo>
                  <a:pt x="3449678" y="535052"/>
                  <a:pt x="3449852" y="535995"/>
                  <a:pt x="3449678" y="536897"/>
                </a:cubicBezTo>
                <a:cubicBezTo>
                  <a:pt x="3449273" y="539327"/>
                  <a:pt x="3446092" y="540542"/>
                  <a:pt x="3439960" y="540542"/>
                </a:cubicBezTo>
                <a:cubicBezTo>
                  <a:pt x="3433482" y="540432"/>
                  <a:pt x="3427061" y="539500"/>
                  <a:pt x="3420814" y="537765"/>
                </a:cubicBezTo>
                <a:cubicBezTo>
                  <a:pt x="3415030" y="535972"/>
                  <a:pt x="3407799" y="537187"/>
                  <a:pt x="3406295" y="540021"/>
                </a:cubicBezTo>
                <a:cubicBezTo>
                  <a:pt x="3405775" y="541097"/>
                  <a:pt x="3406006" y="542364"/>
                  <a:pt x="3406758" y="543260"/>
                </a:cubicBezTo>
                <a:cubicBezTo>
                  <a:pt x="3408378" y="545690"/>
                  <a:pt x="3415319" y="546326"/>
                  <a:pt x="3421508" y="546847"/>
                </a:cubicBezTo>
                <a:cubicBezTo>
                  <a:pt x="3429780" y="547599"/>
                  <a:pt x="3437647" y="548293"/>
                  <a:pt x="3437647" y="553210"/>
                </a:cubicBezTo>
                <a:cubicBezTo>
                  <a:pt x="3437647" y="558126"/>
                  <a:pt x="3431863" y="559457"/>
                  <a:pt x="3426541" y="561076"/>
                </a:cubicBezTo>
                <a:cubicBezTo>
                  <a:pt x="3421219" y="562696"/>
                  <a:pt x="3416996" y="563911"/>
                  <a:pt x="3416186" y="566861"/>
                </a:cubicBezTo>
                <a:cubicBezTo>
                  <a:pt x="3415840" y="568399"/>
                  <a:pt x="3416244" y="570013"/>
                  <a:pt x="3417286" y="571199"/>
                </a:cubicBezTo>
                <a:cubicBezTo>
                  <a:pt x="3419831" y="574109"/>
                  <a:pt x="3423533" y="575699"/>
                  <a:pt x="3427409" y="575537"/>
                </a:cubicBezTo>
                <a:cubicBezTo>
                  <a:pt x="3434350" y="574890"/>
                  <a:pt x="3440654" y="571124"/>
                  <a:pt x="3444530" y="565299"/>
                </a:cubicBezTo>
                <a:cubicBezTo>
                  <a:pt x="3450430" y="560243"/>
                  <a:pt x="3454479" y="553395"/>
                  <a:pt x="3456099" y="545805"/>
                </a:cubicBezTo>
                <a:cubicBezTo>
                  <a:pt x="3456909" y="542335"/>
                  <a:pt x="3457603" y="539616"/>
                  <a:pt x="3461074" y="538401"/>
                </a:cubicBezTo>
                <a:cubicBezTo>
                  <a:pt x="3464313" y="537777"/>
                  <a:pt x="3467668" y="537540"/>
                  <a:pt x="3470965" y="537707"/>
                </a:cubicBezTo>
                <a:cubicBezTo>
                  <a:pt x="3488665" y="537707"/>
                  <a:pt x="3542634" y="541583"/>
                  <a:pt x="3550386" y="553383"/>
                </a:cubicBezTo>
                <a:cubicBezTo>
                  <a:pt x="3552699" y="556854"/>
                  <a:pt x="3553220" y="559630"/>
                  <a:pt x="3552063" y="561713"/>
                </a:cubicBezTo>
                <a:cubicBezTo>
                  <a:pt x="3550154" y="565357"/>
                  <a:pt x="3543675" y="565820"/>
                  <a:pt x="3537601" y="565820"/>
                </a:cubicBezTo>
                <a:lnTo>
                  <a:pt x="3531817" y="565820"/>
                </a:lnTo>
                <a:lnTo>
                  <a:pt x="3527074" y="565820"/>
                </a:lnTo>
                <a:cubicBezTo>
                  <a:pt x="3524356" y="565820"/>
                  <a:pt x="3522446" y="566456"/>
                  <a:pt x="3521752" y="567671"/>
                </a:cubicBezTo>
                <a:cubicBezTo>
                  <a:pt x="3521348" y="568382"/>
                  <a:pt x="3521348" y="569273"/>
                  <a:pt x="3521752" y="569984"/>
                </a:cubicBezTo>
                <a:cubicBezTo>
                  <a:pt x="3523025" y="571882"/>
                  <a:pt x="3525281" y="572929"/>
                  <a:pt x="3527537" y="572703"/>
                </a:cubicBezTo>
                <a:cubicBezTo>
                  <a:pt x="3528231" y="572755"/>
                  <a:pt x="3528983" y="572755"/>
                  <a:pt x="3529677" y="572703"/>
                </a:cubicBezTo>
                <a:cubicBezTo>
                  <a:pt x="3530834" y="572454"/>
                  <a:pt x="3531991" y="572339"/>
                  <a:pt x="3533147" y="572356"/>
                </a:cubicBezTo>
                <a:cubicBezTo>
                  <a:pt x="3543270" y="572356"/>
                  <a:pt x="3565367" y="579644"/>
                  <a:pt x="3565367" y="585082"/>
                </a:cubicBezTo>
                <a:cubicBezTo>
                  <a:pt x="3565483" y="586568"/>
                  <a:pt x="3566119" y="587968"/>
                  <a:pt x="3567160" y="589015"/>
                </a:cubicBezTo>
                <a:cubicBezTo>
                  <a:pt x="3569358" y="591445"/>
                  <a:pt x="3572135" y="591676"/>
                  <a:pt x="3573754" y="589015"/>
                </a:cubicBezTo>
                <a:cubicBezTo>
                  <a:pt x="3575374" y="587066"/>
                  <a:pt x="3577919" y="586106"/>
                  <a:pt x="3580406" y="586470"/>
                </a:cubicBezTo>
                <a:cubicBezTo>
                  <a:pt x="3589430" y="586470"/>
                  <a:pt x="3606321" y="593006"/>
                  <a:pt x="3610023" y="599138"/>
                </a:cubicBezTo>
                <a:cubicBezTo>
                  <a:pt x="3611469" y="601955"/>
                  <a:pt x="3611469" y="605287"/>
                  <a:pt x="3610023" y="608104"/>
                </a:cubicBezTo>
                <a:cubicBezTo>
                  <a:pt x="3609560" y="609318"/>
                  <a:pt x="3609155" y="610475"/>
                  <a:pt x="3609502" y="610938"/>
                </a:cubicBezTo>
                <a:cubicBezTo>
                  <a:pt x="3609849" y="611401"/>
                  <a:pt x="3611122" y="612037"/>
                  <a:pt x="3616154" y="611864"/>
                </a:cubicBezTo>
                <a:lnTo>
                  <a:pt x="3636110" y="611864"/>
                </a:lnTo>
                <a:cubicBezTo>
                  <a:pt x="3650687" y="612471"/>
                  <a:pt x="3665322" y="611285"/>
                  <a:pt x="3679609" y="608335"/>
                </a:cubicBezTo>
                <a:cubicBezTo>
                  <a:pt x="3699219" y="603974"/>
                  <a:pt x="3719291" y="601880"/>
                  <a:pt x="3739420" y="602088"/>
                </a:cubicBezTo>
                <a:cubicBezTo>
                  <a:pt x="3754402" y="601550"/>
                  <a:pt x="3769442" y="603505"/>
                  <a:pt x="3783787" y="607872"/>
                </a:cubicBezTo>
                <a:cubicBezTo>
                  <a:pt x="3805015" y="616260"/>
                  <a:pt x="3829542" y="632803"/>
                  <a:pt x="3830815" y="643215"/>
                </a:cubicBezTo>
                <a:cubicBezTo>
                  <a:pt x="3831045" y="645338"/>
                  <a:pt x="3830120" y="647426"/>
                  <a:pt x="3828385" y="648653"/>
                </a:cubicBezTo>
                <a:cubicBezTo>
                  <a:pt x="3824914" y="650272"/>
                  <a:pt x="3823410" y="654385"/>
                  <a:pt x="3825030" y="657850"/>
                </a:cubicBezTo>
                <a:cubicBezTo>
                  <a:pt x="3826302" y="660545"/>
                  <a:pt x="3825782" y="663744"/>
                  <a:pt x="3823700" y="665890"/>
                </a:cubicBezTo>
                <a:cubicBezTo>
                  <a:pt x="3822427" y="667163"/>
                  <a:pt x="3822254" y="667799"/>
                  <a:pt x="3822369" y="668030"/>
                </a:cubicBezTo>
                <a:cubicBezTo>
                  <a:pt x="3823006" y="669592"/>
                  <a:pt x="3832781" y="669592"/>
                  <a:pt x="3837467" y="669592"/>
                </a:cubicBezTo>
                <a:cubicBezTo>
                  <a:pt x="3850886" y="669592"/>
                  <a:pt x="3859563" y="673063"/>
                  <a:pt x="3859563" y="678384"/>
                </a:cubicBezTo>
                <a:cubicBezTo>
                  <a:pt x="3859563" y="683706"/>
                  <a:pt x="3863091" y="702621"/>
                  <a:pt x="3865347" y="703605"/>
                </a:cubicBezTo>
                <a:cubicBezTo>
                  <a:pt x="3865984" y="701117"/>
                  <a:pt x="3866215" y="698526"/>
                  <a:pt x="3865926" y="695969"/>
                </a:cubicBezTo>
                <a:cubicBezTo>
                  <a:pt x="3865926" y="689491"/>
                  <a:pt x="3865926" y="681450"/>
                  <a:pt x="3870669" y="678269"/>
                </a:cubicBezTo>
                <a:cubicBezTo>
                  <a:pt x="3876454" y="674451"/>
                  <a:pt x="3914631" y="671212"/>
                  <a:pt x="3935628" y="671212"/>
                </a:cubicBezTo>
                <a:cubicBezTo>
                  <a:pt x="3951940" y="671212"/>
                  <a:pt x="3953792" y="672947"/>
                  <a:pt x="3954428" y="673526"/>
                </a:cubicBezTo>
                <a:cubicBezTo>
                  <a:pt x="3957782" y="676649"/>
                  <a:pt x="3985953" y="683417"/>
                  <a:pt x="4006488" y="683417"/>
                </a:cubicBezTo>
                <a:cubicBezTo>
                  <a:pt x="4011520" y="683758"/>
                  <a:pt x="4016610" y="682948"/>
                  <a:pt x="4021295" y="681045"/>
                </a:cubicBezTo>
                <a:cubicBezTo>
                  <a:pt x="4026501" y="677644"/>
                  <a:pt x="4031187" y="673450"/>
                  <a:pt x="4035120" y="668609"/>
                </a:cubicBezTo>
                <a:cubicBezTo>
                  <a:pt x="4040905" y="662073"/>
                  <a:pt x="4046689" y="655941"/>
                  <a:pt x="4054093" y="655478"/>
                </a:cubicBezTo>
                <a:lnTo>
                  <a:pt x="4056523" y="655478"/>
                </a:lnTo>
                <a:cubicBezTo>
                  <a:pt x="4067398" y="655478"/>
                  <a:pt x="4082495" y="659412"/>
                  <a:pt x="4087700" y="665370"/>
                </a:cubicBezTo>
                <a:cubicBezTo>
                  <a:pt x="4089204" y="666902"/>
                  <a:pt x="4089899" y="669037"/>
                  <a:pt x="4089610" y="671154"/>
                </a:cubicBezTo>
                <a:cubicBezTo>
                  <a:pt x="4088568" y="677760"/>
                  <a:pt x="4082958" y="682659"/>
                  <a:pt x="4076247" y="682723"/>
                </a:cubicBezTo>
                <a:cubicBezTo>
                  <a:pt x="4073066" y="682688"/>
                  <a:pt x="4070000" y="681520"/>
                  <a:pt x="4067571" y="679426"/>
                </a:cubicBezTo>
                <a:cubicBezTo>
                  <a:pt x="4065373" y="677338"/>
                  <a:pt x="4062538" y="676053"/>
                  <a:pt x="4059530" y="675782"/>
                </a:cubicBezTo>
                <a:cubicBezTo>
                  <a:pt x="4058316" y="675701"/>
                  <a:pt x="4057101" y="676244"/>
                  <a:pt x="4056349" y="677228"/>
                </a:cubicBezTo>
                <a:cubicBezTo>
                  <a:pt x="4055077" y="679842"/>
                  <a:pt x="4055077" y="682885"/>
                  <a:pt x="4056349" y="685499"/>
                </a:cubicBezTo>
                <a:cubicBezTo>
                  <a:pt x="4058374" y="691284"/>
                  <a:pt x="4063869" y="693193"/>
                  <a:pt x="4069711" y="694928"/>
                </a:cubicBezTo>
                <a:cubicBezTo>
                  <a:pt x="4074859" y="695836"/>
                  <a:pt x="4079545" y="698543"/>
                  <a:pt x="4082900" y="702564"/>
                </a:cubicBezTo>
                <a:cubicBezTo>
                  <a:pt x="4090014" y="711431"/>
                  <a:pt x="4100485" y="716909"/>
                  <a:pt x="4111822" y="717661"/>
                </a:cubicBezTo>
                <a:cubicBezTo>
                  <a:pt x="4114252" y="717690"/>
                  <a:pt x="4116623" y="717239"/>
                  <a:pt x="4118879" y="716330"/>
                </a:cubicBezTo>
                <a:cubicBezTo>
                  <a:pt x="4126514" y="713033"/>
                  <a:pt x="4131084" y="708695"/>
                  <a:pt x="4131836" y="704183"/>
                </a:cubicBezTo>
                <a:cubicBezTo>
                  <a:pt x="4132009" y="699156"/>
                  <a:pt x="4129580" y="694384"/>
                  <a:pt x="4125473" y="691515"/>
                </a:cubicBezTo>
                <a:cubicBezTo>
                  <a:pt x="4110144" y="677633"/>
                  <a:pt x="4109103" y="672831"/>
                  <a:pt x="4109682" y="670518"/>
                </a:cubicBezTo>
                <a:cubicBezTo>
                  <a:pt x="4110029" y="669118"/>
                  <a:pt x="4111186" y="668054"/>
                  <a:pt x="4112574" y="667799"/>
                </a:cubicBezTo>
                <a:cubicBezTo>
                  <a:pt x="4114830" y="667163"/>
                  <a:pt x="4115466" y="664965"/>
                  <a:pt x="4116392" y="661089"/>
                </a:cubicBezTo>
                <a:cubicBezTo>
                  <a:pt x="4117028" y="657335"/>
                  <a:pt x="4118590" y="653795"/>
                  <a:pt x="4120904" y="650793"/>
                </a:cubicBezTo>
                <a:cubicBezTo>
                  <a:pt x="4122581" y="649312"/>
                  <a:pt x="4124837" y="648635"/>
                  <a:pt x="4127093" y="648942"/>
                </a:cubicBezTo>
                <a:cubicBezTo>
                  <a:pt x="4140860" y="648942"/>
                  <a:pt x="4174467" y="660800"/>
                  <a:pt x="4184937" y="664965"/>
                </a:cubicBezTo>
                <a:cubicBezTo>
                  <a:pt x="4188350" y="666150"/>
                  <a:pt x="4192168" y="665659"/>
                  <a:pt x="4195176" y="663634"/>
                </a:cubicBezTo>
                <a:cubicBezTo>
                  <a:pt x="4198530" y="661749"/>
                  <a:pt x="4202290" y="660719"/>
                  <a:pt x="4206166" y="660626"/>
                </a:cubicBezTo>
                <a:cubicBezTo>
                  <a:pt x="4207381" y="660615"/>
                  <a:pt x="4208595" y="660713"/>
                  <a:pt x="4209753" y="660916"/>
                </a:cubicBezTo>
                <a:cubicBezTo>
                  <a:pt x="4226816" y="662848"/>
                  <a:pt x="4244054" y="663837"/>
                  <a:pt x="4261233" y="663866"/>
                </a:cubicBezTo>
                <a:cubicBezTo>
                  <a:pt x="4265341" y="663952"/>
                  <a:pt x="4269505" y="663779"/>
                  <a:pt x="4273612" y="663345"/>
                </a:cubicBezTo>
                <a:cubicBezTo>
                  <a:pt x="4276968" y="662576"/>
                  <a:pt x="4280496" y="663981"/>
                  <a:pt x="4282405" y="666874"/>
                </a:cubicBezTo>
                <a:cubicBezTo>
                  <a:pt x="4286512" y="671605"/>
                  <a:pt x="4292643" y="674168"/>
                  <a:pt x="4298890" y="673815"/>
                </a:cubicBezTo>
                <a:cubicBezTo>
                  <a:pt x="4318211" y="674972"/>
                  <a:pt x="4365064" y="694350"/>
                  <a:pt x="4375997" y="705629"/>
                </a:cubicBezTo>
                <a:cubicBezTo>
                  <a:pt x="4381260" y="711124"/>
                  <a:pt x="4391383" y="714074"/>
                  <a:pt x="4400233" y="716678"/>
                </a:cubicBezTo>
                <a:cubicBezTo>
                  <a:pt x="4409084" y="719280"/>
                  <a:pt x="4416546" y="721421"/>
                  <a:pt x="4419322" y="725585"/>
                </a:cubicBezTo>
                <a:cubicBezTo>
                  <a:pt x="4423082" y="731370"/>
                  <a:pt x="4435634" y="736229"/>
                  <a:pt x="4447781" y="740856"/>
                </a:cubicBezTo>
                <a:lnTo>
                  <a:pt x="4459350" y="745368"/>
                </a:lnTo>
                <a:cubicBezTo>
                  <a:pt x="4471556" y="750516"/>
                  <a:pt x="4511410" y="768101"/>
                  <a:pt x="4512856" y="777356"/>
                </a:cubicBezTo>
                <a:cubicBezTo>
                  <a:pt x="4513377" y="780653"/>
                  <a:pt x="4515748" y="782042"/>
                  <a:pt x="4518236" y="783546"/>
                </a:cubicBezTo>
                <a:cubicBezTo>
                  <a:pt x="4520724" y="785049"/>
                  <a:pt x="4524368" y="787247"/>
                  <a:pt x="4523384" y="792280"/>
                </a:cubicBezTo>
                <a:cubicBezTo>
                  <a:pt x="4520550" y="806683"/>
                  <a:pt x="4520839" y="816459"/>
                  <a:pt x="4524136" y="819062"/>
                </a:cubicBezTo>
                <a:cubicBezTo>
                  <a:pt x="4535705" y="827854"/>
                  <a:pt x="4539060" y="828895"/>
                  <a:pt x="4539985" y="828895"/>
                </a:cubicBezTo>
                <a:cubicBezTo>
                  <a:pt x="4540043" y="828566"/>
                  <a:pt x="4540043" y="828242"/>
                  <a:pt x="4539985" y="827912"/>
                </a:cubicBezTo>
                <a:cubicBezTo>
                  <a:pt x="4539176" y="824464"/>
                  <a:pt x="4540217" y="820838"/>
                  <a:pt x="4542762" y="818368"/>
                </a:cubicBezTo>
                <a:cubicBezTo>
                  <a:pt x="4545018" y="815360"/>
                  <a:pt x="4546174" y="813509"/>
                  <a:pt x="4544208" y="810906"/>
                </a:cubicBezTo>
                <a:cubicBezTo>
                  <a:pt x="4542357" y="808528"/>
                  <a:pt x="4539985" y="806562"/>
                  <a:pt x="4537325" y="805121"/>
                </a:cubicBezTo>
                <a:cubicBezTo>
                  <a:pt x="4534143" y="803213"/>
                  <a:pt x="4531193" y="801362"/>
                  <a:pt x="4531540" y="797486"/>
                </a:cubicBezTo>
                <a:cubicBezTo>
                  <a:pt x="4531887" y="793610"/>
                  <a:pt x="4542068" y="792569"/>
                  <a:pt x="4548142" y="792569"/>
                </a:cubicBezTo>
                <a:cubicBezTo>
                  <a:pt x="4555141" y="792569"/>
                  <a:pt x="4567404" y="793610"/>
                  <a:pt x="4569197" y="797544"/>
                </a:cubicBezTo>
                <a:cubicBezTo>
                  <a:pt x="4571337" y="801269"/>
                  <a:pt x="4574866" y="803988"/>
                  <a:pt x="4579030" y="805121"/>
                </a:cubicBezTo>
                <a:cubicBezTo>
                  <a:pt x="4579435" y="805121"/>
                  <a:pt x="4579609" y="805121"/>
                  <a:pt x="4579609" y="804485"/>
                </a:cubicBezTo>
                <a:cubicBezTo>
                  <a:pt x="4579609" y="802403"/>
                  <a:pt x="4582038" y="801362"/>
                  <a:pt x="4586781" y="801362"/>
                </a:cubicBezTo>
                <a:cubicBezTo>
                  <a:pt x="4596788" y="801362"/>
                  <a:pt x="4614373" y="805758"/>
                  <a:pt x="4619174" y="812930"/>
                </a:cubicBezTo>
                <a:cubicBezTo>
                  <a:pt x="4625422" y="821896"/>
                  <a:pt x="4651046" y="838324"/>
                  <a:pt x="4659029" y="841158"/>
                </a:cubicBezTo>
                <a:cubicBezTo>
                  <a:pt x="4664813" y="843067"/>
                  <a:pt x="4664813" y="845670"/>
                  <a:pt x="4664813" y="846943"/>
                </a:cubicBezTo>
                <a:cubicBezTo>
                  <a:pt x="4664409" y="849372"/>
                  <a:pt x="4661227" y="850876"/>
                  <a:pt x="4656715" y="850876"/>
                </a:cubicBezTo>
                <a:lnTo>
                  <a:pt x="4655211" y="850876"/>
                </a:lnTo>
                <a:cubicBezTo>
                  <a:pt x="4648096" y="850876"/>
                  <a:pt x="4643643" y="860016"/>
                  <a:pt x="4642659" y="864875"/>
                </a:cubicBezTo>
                <a:cubicBezTo>
                  <a:pt x="4642139" y="867350"/>
                  <a:pt x="4639767" y="868993"/>
                  <a:pt x="4637279" y="868634"/>
                </a:cubicBezTo>
                <a:cubicBezTo>
                  <a:pt x="4632999" y="868449"/>
                  <a:pt x="4628892" y="866772"/>
                  <a:pt x="4625710" y="863891"/>
                </a:cubicBezTo>
                <a:cubicBezTo>
                  <a:pt x="4624727" y="862983"/>
                  <a:pt x="4623455" y="862486"/>
                  <a:pt x="4622124" y="862503"/>
                </a:cubicBezTo>
                <a:cubicBezTo>
                  <a:pt x="4620910" y="862393"/>
                  <a:pt x="4619695" y="862861"/>
                  <a:pt x="4618885" y="863776"/>
                </a:cubicBezTo>
                <a:lnTo>
                  <a:pt x="4618885" y="863776"/>
                </a:lnTo>
                <a:cubicBezTo>
                  <a:pt x="4619405" y="864088"/>
                  <a:pt x="4619984" y="864284"/>
                  <a:pt x="4620620" y="864354"/>
                </a:cubicBezTo>
                <a:cubicBezTo>
                  <a:pt x="4625422" y="865222"/>
                  <a:pt x="4631206" y="868924"/>
                  <a:pt x="4630916" y="871932"/>
                </a:cubicBezTo>
                <a:cubicBezTo>
                  <a:pt x="4630916" y="872799"/>
                  <a:pt x="4630222" y="874303"/>
                  <a:pt x="4626868" y="874303"/>
                </a:cubicBezTo>
                <a:lnTo>
                  <a:pt x="4624438" y="874303"/>
                </a:lnTo>
                <a:cubicBezTo>
                  <a:pt x="4618653" y="874303"/>
                  <a:pt x="4604540" y="874303"/>
                  <a:pt x="4595516" y="867593"/>
                </a:cubicBezTo>
                <a:cubicBezTo>
                  <a:pt x="4593896" y="866211"/>
                  <a:pt x="4591872" y="865366"/>
                  <a:pt x="4589731" y="865164"/>
                </a:cubicBezTo>
                <a:cubicBezTo>
                  <a:pt x="4588401" y="865002"/>
                  <a:pt x="4587187" y="865812"/>
                  <a:pt x="4586839" y="867073"/>
                </a:cubicBezTo>
                <a:cubicBezTo>
                  <a:pt x="4586723" y="867911"/>
                  <a:pt x="4587302" y="868692"/>
                  <a:pt x="4588112" y="868866"/>
                </a:cubicBezTo>
                <a:cubicBezTo>
                  <a:pt x="4592681" y="870370"/>
                  <a:pt x="4595169" y="884426"/>
                  <a:pt x="4594937" y="891309"/>
                </a:cubicBezTo>
                <a:cubicBezTo>
                  <a:pt x="4594937" y="895416"/>
                  <a:pt x="4593838" y="897614"/>
                  <a:pt x="4592103" y="898077"/>
                </a:cubicBezTo>
                <a:cubicBezTo>
                  <a:pt x="4590368" y="898540"/>
                  <a:pt x="4591409" y="900391"/>
                  <a:pt x="4592103" y="903110"/>
                </a:cubicBezTo>
                <a:cubicBezTo>
                  <a:pt x="4592797" y="905828"/>
                  <a:pt x="4593144" y="908489"/>
                  <a:pt x="4592103" y="910109"/>
                </a:cubicBezTo>
                <a:cubicBezTo>
                  <a:pt x="4591467" y="910948"/>
                  <a:pt x="4590425" y="911433"/>
                  <a:pt x="4589385" y="911439"/>
                </a:cubicBezTo>
                <a:lnTo>
                  <a:pt x="4588864" y="911439"/>
                </a:lnTo>
                <a:cubicBezTo>
                  <a:pt x="4586145" y="911190"/>
                  <a:pt x="4583600" y="910143"/>
                  <a:pt x="4581518" y="908431"/>
                </a:cubicBezTo>
                <a:cubicBezTo>
                  <a:pt x="4580534" y="907616"/>
                  <a:pt x="4579377" y="907020"/>
                  <a:pt x="4578105" y="906696"/>
                </a:cubicBezTo>
                <a:cubicBezTo>
                  <a:pt x="4578105" y="906696"/>
                  <a:pt x="4577526" y="906696"/>
                  <a:pt x="4576948" y="907621"/>
                </a:cubicBezTo>
                <a:cubicBezTo>
                  <a:pt x="4576890" y="907783"/>
                  <a:pt x="4576890" y="907980"/>
                  <a:pt x="4576948" y="908142"/>
                </a:cubicBezTo>
                <a:cubicBezTo>
                  <a:pt x="4577295" y="909357"/>
                  <a:pt x="4580361" y="911034"/>
                  <a:pt x="4582732" y="912365"/>
                </a:cubicBezTo>
                <a:cubicBezTo>
                  <a:pt x="4586608" y="914505"/>
                  <a:pt x="4590252" y="916530"/>
                  <a:pt x="4590541" y="919306"/>
                </a:cubicBezTo>
                <a:cubicBezTo>
                  <a:pt x="4590657" y="920712"/>
                  <a:pt x="4590021" y="922065"/>
                  <a:pt x="4588864" y="922892"/>
                </a:cubicBezTo>
                <a:cubicBezTo>
                  <a:pt x="4587187" y="924552"/>
                  <a:pt x="4584988" y="925518"/>
                  <a:pt x="4582617" y="925611"/>
                </a:cubicBezTo>
                <a:cubicBezTo>
                  <a:pt x="4581518" y="925576"/>
                  <a:pt x="4580419" y="925397"/>
                  <a:pt x="4579377" y="925091"/>
                </a:cubicBezTo>
                <a:cubicBezTo>
                  <a:pt x="4578626" y="924853"/>
                  <a:pt x="4577816" y="924715"/>
                  <a:pt x="4577006" y="924686"/>
                </a:cubicBezTo>
                <a:cubicBezTo>
                  <a:pt x="4575849" y="924680"/>
                  <a:pt x="4574692" y="925189"/>
                  <a:pt x="4573940" y="926074"/>
                </a:cubicBezTo>
                <a:cubicBezTo>
                  <a:pt x="4572783" y="927248"/>
                  <a:pt x="4571221" y="927913"/>
                  <a:pt x="4569544" y="927925"/>
                </a:cubicBezTo>
                <a:cubicBezTo>
                  <a:pt x="4567751" y="927780"/>
                  <a:pt x="4566015" y="927248"/>
                  <a:pt x="4564453" y="926363"/>
                </a:cubicBezTo>
                <a:cubicBezTo>
                  <a:pt x="4562197" y="924969"/>
                  <a:pt x="4559537" y="924396"/>
                  <a:pt x="4556876" y="924743"/>
                </a:cubicBezTo>
                <a:cubicBezTo>
                  <a:pt x="4550224" y="926716"/>
                  <a:pt x="4543167" y="923025"/>
                  <a:pt x="4541027" y="916414"/>
                </a:cubicBezTo>
                <a:cubicBezTo>
                  <a:pt x="4539985" y="913753"/>
                  <a:pt x="4536283" y="913059"/>
                  <a:pt x="4531193" y="912191"/>
                </a:cubicBezTo>
                <a:cubicBezTo>
                  <a:pt x="4525409" y="911185"/>
                  <a:pt x="4519856" y="909293"/>
                  <a:pt x="4514650" y="906580"/>
                </a:cubicBezTo>
                <a:cubicBezTo>
                  <a:pt x="4504701" y="901935"/>
                  <a:pt x="4497354" y="893022"/>
                  <a:pt x="4494694" y="882344"/>
                </a:cubicBezTo>
                <a:cubicBezTo>
                  <a:pt x="4493305" y="877080"/>
                  <a:pt x="4472828" y="867767"/>
                  <a:pt x="4459987" y="867767"/>
                </a:cubicBezTo>
                <a:cubicBezTo>
                  <a:pt x="4457847" y="867651"/>
                  <a:pt x="4455707" y="868073"/>
                  <a:pt x="4453797" y="868982"/>
                </a:cubicBezTo>
                <a:cubicBezTo>
                  <a:pt x="4448881" y="871336"/>
                  <a:pt x="4443501" y="872504"/>
                  <a:pt x="4438064" y="872394"/>
                </a:cubicBezTo>
                <a:cubicBezTo>
                  <a:pt x="4432279" y="872394"/>
                  <a:pt x="4424875" y="871122"/>
                  <a:pt x="4423892" y="867477"/>
                </a:cubicBezTo>
                <a:cubicBezTo>
                  <a:pt x="4422967" y="865638"/>
                  <a:pt x="4421636" y="864001"/>
                  <a:pt x="4420074" y="862676"/>
                </a:cubicBezTo>
                <a:cubicBezTo>
                  <a:pt x="4416141" y="858685"/>
                  <a:pt x="4411282" y="853768"/>
                  <a:pt x="4414290" y="848042"/>
                </a:cubicBezTo>
                <a:cubicBezTo>
                  <a:pt x="4415158" y="846364"/>
                  <a:pt x="4416314" y="844398"/>
                  <a:pt x="4417413" y="842547"/>
                </a:cubicBezTo>
                <a:cubicBezTo>
                  <a:pt x="4419149" y="839944"/>
                  <a:pt x="4420595" y="837150"/>
                  <a:pt x="4421694" y="834217"/>
                </a:cubicBezTo>
                <a:cubicBezTo>
                  <a:pt x="4420884" y="834338"/>
                  <a:pt x="4420074" y="834616"/>
                  <a:pt x="4419380" y="835027"/>
                </a:cubicBezTo>
                <a:cubicBezTo>
                  <a:pt x="4417066" y="836369"/>
                  <a:pt x="4414464" y="837138"/>
                  <a:pt x="4411802" y="837283"/>
                </a:cubicBezTo>
                <a:cubicBezTo>
                  <a:pt x="4410530" y="837242"/>
                  <a:pt x="4409257" y="836988"/>
                  <a:pt x="4408042" y="836531"/>
                </a:cubicBezTo>
                <a:cubicBezTo>
                  <a:pt x="4406886" y="836091"/>
                  <a:pt x="4405671" y="835912"/>
                  <a:pt x="4404456" y="836010"/>
                </a:cubicBezTo>
                <a:cubicBezTo>
                  <a:pt x="4403010" y="836010"/>
                  <a:pt x="4402432" y="837225"/>
                  <a:pt x="4401564" y="839192"/>
                </a:cubicBezTo>
                <a:cubicBezTo>
                  <a:pt x="4400697" y="842570"/>
                  <a:pt x="4397689" y="844947"/>
                  <a:pt x="4394218" y="844976"/>
                </a:cubicBezTo>
                <a:cubicBezTo>
                  <a:pt x="4391788" y="844860"/>
                  <a:pt x="4389648" y="846497"/>
                  <a:pt x="4389128" y="848852"/>
                </a:cubicBezTo>
                <a:cubicBezTo>
                  <a:pt x="4388491" y="851848"/>
                  <a:pt x="4389995" y="854879"/>
                  <a:pt x="4392772" y="856198"/>
                </a:cubicBezTo>
                <a:cubicBezTo>
                  <a:pt x="4397689" y="858373"/>
                  <a:pt x="4401159" y="862838"/>
                  <a:pt x="4402085" y="868114"/>
                </a:cubicBezTo>
                <a:cubicBezTo>
                  <a:pt x="4401969" y="870890"/>
                  <a:pt x="4400233" y="873337"/>
                  <a:pt x="4397631" y="874361"/>
                </a:cubicBezTo>
                <a:cubicBezTo>
                  <a:pt x="4393234" y="876559"/>
                  <a:pt x="4393003" y="878179"/>
                  <a:pt x="4392656" y="880955"/>
                </a:cubicBezTo>
                <a:cubicBezTo>
                  <a:pt x="4392425" y="883448"/>
                  <a:pt x="4391673" y="885855"/>
                  <a:pt x="4390400" y="888012"/>
                </a:cubicBezTo>
                <a:cubicBezTo>
                  <a:pt x="4387218" y="893450"/>
                  <a:pt x="4373625" y="898887"/>
                  <a:pt x="4362693" y="903283"/>
                </a:cubicBezTo>
                <a:cubicBezTo>
                  <a:pt x="4358933" y="904729"/>
                  <a:pt x="4355752" y="906060"/>
                  <a:pt x="4353553" y="907101"/>
                </a:cubicBezTo>
                <a:cubicBezTo>
                  <a:pt x="4346959" y="909849"/>
                  <a:pt x="4339844" y="911248"/>
                  <a:pt x="4332672" y="911208"/>
                </a:cubicBezTo>
                <a:cubicBezTo>
                  <a:pt x="4328680" y="911468"/>
                  <a:pt x="4324689" y="910710"/>
                  <a:pt x="4321103" y="909010"/>
                </a:cubicBezTo>
                <a:cubicBezTo>
                  <a:pt x="4319078" y="907789"/>
                  <a:pt x="4317459" y="905973"/>
                  <a:pt x="4316475" y="903804"/>
                </a:cubicBezTo>
                <a:cubicBezTo>
                  <a:pt x="4314509" y="899853"/>
                  <a:pt x="4310980" y="896944"/>
                  <a:pt x="4306700" y="895821"/>
                </a:cubicBezTo>
                <a:cubicBezTo>
                  <a:pt x="4303518" y="894578"/>
                  <a:pt x="4300105" y="893970"/>
                  <a:pt x="4296692" y="894028"/>
                </a:cubicBezTo>
                <a:cubicBezTo>
                  <a:pt x="4291197" y="893588"/>
                  <a:pt x="4285760" y="895405"/>
                  <a:pt x="4281653" y="899061"/>
                </a:cubicBezTo>
                <a:cubicBezTo>
                  <a:pt x="4280959" y="899911"/>
                  <a:pt x="4280785" y="901045"/>
                  <a:pt x="4281132" y="902068"/>
                </a:cubicBezTo>
                <a:cubicBezTo>
                  <a:pt x="4283620" y="906598"/>
                  <a:pt x="4288536" y="909201"/>
                  <a:pt x="4293685" y="908663"/>
                </a:cubicBezTo>
                <a:cubicBezTo>
                  <a:pt x="4296750" y="908697"/>
                  <a:pt x="4299816" y="907876"/>
                  <a:pt x="4302476" y="906291"/>
                </a:cubicBezTo>
                <a:cubicBezTo>
                  <a:pt x="4303865" y="905290"/>
                  <a:pt x="4305484" y="904706"/>
                  <a:pt x="4307220" y="904614"/>
                </a:cubicBezTo>
                <a:cubicBezTo>
                  <a:pt x="4312657" y="904614"/>
                  <a:pt x="4312657" y="912943"/>
                  <a:pt x="4312657" y="916530"/>
                </a:cubicBezTo>
                <a:cubicBezTo>
                  <a:pt x="4313004" y="919219"/>
                  <a:pt x="4314451" y="921660"/>
                  <a:pt x="4316591" y="923297"/>
                </a:cubicBezTo>
                <a:cubicBezTo>
                  <a:pt x="4320235" y="926537"/>
                  <a:pt x="4324862" y="927751"/>
                  <a:pt x="4327003" y="925785"/>
                </a:cubicBezTo>
                <a:cubicBezTo>
                  <a:pt x="4327639" y="925218"/>
                  <a:pt x="4328449" y="924905"/>
                  <a:pt x="4329258" y="924917"/>
                </a:cubicBezTo>
                <a:cubicBezTo>
                  <a:pt x="4333134" y="924917"/>
                  <a:pt x="4337877" y="930701"/>
                  <a:pt x="4339729" y="933189"/>
                </a:cubicBezTo>
                <a:cubicBezTo>
                  <a:pt x="4344471" y="939436"/>
                  <a:pt x="4348868" y="948517"/>
                  <a:pt x="4347364" y="953608"/>
                </a:cubicBezTo>
                <a:cubicBezTo>
                  <a:pt x="4346265" y="957425"/>
                  <a:pt x="4350719" y="961764"/>
                  <a:pt x="4355000" y="965929"/>
                </a:cubicBezTo>
                <a:cubicBezTo>
                  <a:pt x="4359280" y="970093"/>
                  <a:pt x="4363387" y="974085"/>
                  <a:pt x="4363156" y="978423"/>
                </a:cubicBezTo>
                <a:cubicBezTo>
                  <a:pt x="4363271" y="980910"/>
                  <a:pt x="4364139" y="983305"/>
                  <a:pt x="4365701" y="985249"/>
                </a:cubicBezTo>
                <a:cubicBezTo>
                  <a:pt x="4368188" y="989355"/>
                  <a:pt x="4371022" y="993983"/>
                  <a:pt x="4363676" y="1001329"/>
                </a:cubicBezTo>
                <a:cubicBezTo>
                  <a:pt x="4360321" y="1005309"/>
                  <a:pt x="4355520" y="1007704"/>
                  <a:pt x="4350314" y="1007923"/>
                </a:cubicBezTo>
                <a:cubicBezTo>
                  <a:pt x="4346843" y="1007721"/>
                  <a:pt x="4343431" y="1007062"/>
                  <a:pt x="4340133" y="1005957"/>
                </a:cubicBezTo>
                <a:cubicBezTo>
                  <a:pt x="4337935" y="1005321"/>
                  <a:pt x="4335448" y="1004626"/>
                  <a:pt x="4332730" y="1004048"/>
                </a:cubicBezTo>
                <a:cubicBezTo>
                  <a:pt x="4328564" y="1003209"/>
                  <a:pt x="4324400" y="1002654"/>
                  <a:pt x="4320177" y="1002370"/>
                </a:cubicBezTo>
                <a:cubicBezTo>
                  <a:pt x="4313467" y="1001734"/>
                  <a:pt x="4308608" y="1001329"/>
                  <a:pt x="4307625" y="997164"/>
                </a:cubicBezTo>
                <a:cubicBezTo>
                  <a:pt x="4307220" y="995313"/>
                  <a:pt x="4305022" y="995082"/>
                  <a:pt x="4304096" y="995082"/>
                </a:cubicBezTo>
                <a:cubicBezTo>
                  <a:pt x="4302246" y="994989"/>
                  <a:pt x="4300452" y="995736"/>
                  <a:pt x="4299238" y="997107"/>
                </a:cubicBezTo>
                <a:cubicBezTo>
                  <a:pt x="4298890" y="997702"/>
                  <a:pt x="4298890" y="998420"/>
                  <a:pt x="4299238" y="999016"/>
                </a:cubicBezTo>
                <a:cubicBezTo>
                  <a:pt x="4299469" y="999872"/>
                  <a:pt x="4299295" y="1000780"/>
                  <a:pt x="4298775" y="1001503"/>
                </a:cubicBezTo>
                <a:cubicBezTo>
                  <a:pt x="4294841" y="1008270"/>
                  <a:pt x="4265225" y="1023021"/>
                  <a:pt x="4241451" y="1028285"/>
                </a:cubicBezTo>
                <a:cubicBezTo>
                  <a:pt x="4216636" y="1034069"/>
                  <a:pt x="4198010" y="1043035"/>
                  <a:pt x="4196217" y="1048183"/>
                </a:cubicBezTo>
                <a:cubicBezTo>
                  <a:pt x="4195060" y="1051365"/>
                  <a:pt x="4192572" y="1052117"/>
                  <a:pt x="4189912" y="1052926"/>
                </a:cubicBezTo>
                <a:cubicBezTo>
                  <a:pt x="4186152" y="1053707"/>
                  <a:pt x="4182739" y="1055749"/>
                  <a:pt x="4180309" y="1058711"/>
                </a:cubicBezTo>
                <a:cubicBezTo>
                  <a:pt x="4176665" y="1063223"/>
                  <a:pt x="4175740" y="1063685"/>
                  <a:pt x="4173716" y="1064495"/>
                </a:cubicBezTo>
                <a:cubicBezTo>
                  <a:pt x="4170129" y="1065698"/>
                  <a:pt x="4166832" y="1067561"/>
                  <a:pt x="4163940" y="1069990"/>
                </a:cubicBezTo>
                <a:cubicBezTo>
                  <a:pt x="4151677" y="1079234"/>
                  <a:pt x="4138257" y="1086765"/>
                  <a:pt x="4123969" y="1092376"/>
                </a:cubicBezTo>
                <a:cubicBezTo>
                  <a:pt x="4119862" y="1093591"/>
                  <a:pt x="4119573" y="1096252"/>
                  <a:pt x="4119226" y="1099607"/>
                </a:cubicBezTo>
                <a:cubicBezTo>
                  <a:pt x="4118879" y="1102962"/>
                  <a:pt x="4118358" y="1107127"/>
                  <a:pt x="4112632" y="1108573"/>
                </a:cubicBezTo>
                <a:cubicBezTo>
                  <a:pt x="4108814" y="1109498"/>
                  <a:pt x="4106211" y="1106143"/>
                  <a:pt x="4103319" y="1102152"/>
                </a:cubicBezTo>
                <a:cubicBezTo>
                  <a:pt x="4100485" y="1097536"/>
                  <a:pt x="4096493" y="1093730"/>
                  <a:pt x="4091750" y="1091104"/>
                </a:cubicBezTo>
                <a:cubicBezTo>
                  <a:pt x="4083189" y="1088084"/>
                  <a:pt x="4074165" y="1086713"/>
                  <a:pt x="4065084" y="1087055"/>
                </a:cubicBezTo>
                <a:cubicBezTo>
                  <a:pt x="4047731" y="1087055"/>
                  <a:pt x="4033154" y="1090409"/>
                  <a:pt x="4024593" y="1096252"/>
                </a:cubicBezTo>
                <a:cubicBezTo>
                  <a:pt x="4019329" y="1099942"/>
                  <a:pt x="4014354" y="1103980"/>
                  <a:pt x="4009611" y="1108341"/>
                </a:cubicBezTo>
                <a:cubicBezTo>
                  <a:pt x="4005562" y="1111985"/>
                  <a:pt x="4003132" y="1114126"/>
                  <a:pt x="4001050" y="1114126"/>
                </a:cubicBezTo>
                <a:cubicBezTo>
                  <a:pt x="3998968" y="1114126"/>
                  <a:pt x="3997753" y="1111176"/>
                  <a:pt x="3997464" y="1110076"/>
                </a:cubicBezTo>
                <a:cubicBezTo>
                  <a:pt x="3996712" y="1106363"/>
                  <a:pt x="3996539" y="1102557"/>
                  <a:pt x="3997001" y="1098797"/>
                </a:cubicBezTo>
                <a:cubicBezTo>
                  <a:pt x="3997001" y="1094227"/>
                  <a:pt x="3997464" y="1089947"/>
                  <a:pt x="3995729" y="1088154"/>
                </a:cubicBezTo>
                <a:cubicBezTo>
                  <a:pt x="3994977" y="1087413"/>
                  <a:pt x="3993935" y="1087031"/>
                  <a:pt x="3992894" y="1087112"/>
                </a:cubicBezTo>
                <a:cubicBezTo>
                  <a:pt x="3987110" y="1087112"/>
                  <a:pt x="3979937" y="1096367"/>
                  <a:pt x="3974095" y="1103829"/>
                </a:cubicBezTo>
                <a:cubicBezTo>
                  <a:pt x="3971723" y="1107127"/>
                  <a:pt x="3969062" y="1110221"/>
                  <a:pt x="3966170" y="1113085"/>
                </a:cubicBezTo>
                <a:cubicBezTo>
                  <a:pt x="3965129" y="1114189"/>
                  <a:pt x="3963741" y="1114889"/>
                  <a:pt x="3962237" y="1115051"/>
                </a:cubicBezTo>
                <a:cubicBezTo>
                  <a:pt x="3960096" y="1115051"/>
                  <a:pt x="3959171" y="1113085"/>
                  <a:pt x="3958361" y="1111407"/>
                </a:cubicBezTo>
                <a:cubicBezTo>
                  <a:pt x="3957551" y="1109729"/>
                  <a:pt x="3956742" y="1108168"/>
                  <a:pt x="3955180" y="1108515"/>
                </a:cubicBezTo>
                <a:cubicBezTo>
                  <a:pt x="3952114" y="1108746"/>
                  <a:pt x="3949106" y="1108532"/>
                  <a:pt x="3946098" y="1107878"/>
                </a:cubicBezTo>
                <a:cubicBezTo>
                  <a:pt x="3943379" y="1107404"/>
                  <a:pt x="3940661" y="1107115"/>
                  <a:pt x="3937942" y="1107011"/>
                </a:cubicBezTo>
                <a:cubicBezTo>
                  <a:pt x="3934818" y="1107011"/>
                  <a:pt x="3932967" y="1107705"/>
                  <a:pt x="3932158" y="1109209"/>
                </a:cubicBezTo>
                <a:cubicBezTo>
                  <a:pt x="3931348" y="1110713"/>
                  <a:pt x="3929381" y="1113258"/>
                  <a:pt x="3927298" y="1116092"/>
                </a:cubicBezTo>
                <a:cubicBezTo>
                  <a:pt x="3921514" y="1123496"/>
                  <a:pt x="3913474" y="1134776"/>
                  <a:pt x="3911739" y="1143163"/>
                </a:cubicBezTo>
                <a:cubicBezTo>
                  <a:pt x="3910466" y="1148682"/>
                  <a:pt x="3906764" y="1153338"/>
                  <a:pt x="3901674" y="1155831"/>
                </a:cubicBezTo>
                <a:cubicBezTo>
                  <a:pt x="3896583" y="1158966"/>
                  <a:pt x="3892071" y="1163027"/>
                  <a:pt x="3888485" y="1167805"/>
                </a:cubicBezTo>
                <a:cubicBezTo>
                  <a:pt x="3883279" y="1173902"/>
                  <a:pt x="3881949" y="1182376"/>
                  <a:pt x="3884957" y="1189786"/>
                </a:cubicBezTo>
                <a:cubicBezTo>
                  <a:pt x="3885940" y="1192227"/>
                  <a:pt x="3888138" y="1193957"/>
                  <a:pt x="3890741" y="1194298"/>
                </a:cubicBezTo>
                <a:cubicBezTo>
                  <a:pt x="3892708" y="1194170"/>
                  <a:pt x="3894674" y="1193800"/>
                  <a:pt x="3896526" y="1193199"/>
                </a:cubicBezTo>
                <a:cubicBezTo>
                  <a:pt x="3898376" y="1192586"/>
                  <a:pt x="3900343" y="1192250"/>
                  <a:pt x="3902310" y="1192215"/>
                </a:cubicBezTo>
                <a:cubicBezTo>
                  <a:pt x="3904392" y="1192244"/>
                  <a:pt x="3906475" y="1192557"/>
                  <a:pt x="3908441" y="1193141"/>
                </a:cubicBezTo>
                <a:cubicBezTo>
                  <a:pt x="3913705" y="1194587"/>
                  <a:pt x="3917523" y="1195802"/>
                  <a:pt x="3918101" y="1198925"/>
                </a:cubicBezTo>
                <a:cubicBezTo>
                  <a:pt x="3918680" y="1202049"/>
                  <a:pt x="3916077" y="1204710"/>
                  <a:pt x="3909598" y="1209800"/>
                </a:cubicBezTo>
                <a:cubicBezTo>
                  <a:pt x="3901963" y="1216094"/>
                  <a:pt x="3898550" y="1226199"/>
                  <a:pt x="3900864" y="1235830"/>
                </a:cubicBezTo>
                <a:cubicBezTo>
                  <a:pt x="3901442" y="1237507"/>
                  <a:pt x="3902194" y="1238491"/>
                  <a:pt x="3903004" y="1238491"/>
                </a:cubicBezTo>
                <a:lnTo>
                  <a:pt x="3903872" y="1238491"/>
                </a:lnTo>
                <a:cubicBezTo>
                  <a:pt x="3910524" y="1239636"/>
                  <a:pt x="3916193" y="1243957"/>
                  <a:pt x="3919027" y="1250060"/>
                </a:cubicBezTo>
                <a:cubicBezTo>
                  <a:pt x="3920357" y="1253108"/>
                  <a:pt x="3919547" y="1256683"/>
                  <a:pt x="3916945" y="1258794"/>
                </a:cubicBezTo>
                <a:cubicBezTo>
                  <a:pt x="3914978" y="1260836"/>
                  <a:pt x="3912259" y="1262016"/>
                  <a:pt x="3909425" y="1262091"/>
                </a:cubicBezTo>
                <a:cubicBezTo>
                  <a:pt x="3907574" y="1261993"/>
                  <a:pt x="3905723" y="1261623"/>
                  <a:pt x="3903930" y="1260992"/>
                </a:cubicBezTo>
                <a:cubicBezTo>
                  <a:pt x="3901268" y="1259876"/>
                  <a:pt x="3898376" y="1259616"/>
                  <a:pt x="3895542" y="1260240"/>
                </a:cubicBezTo>
                <a:cubicBezTo>
                  <a:pt x="3889758" y="1261918"/>
                  <a:pt x="3880387" y="1275569"/>
                  <a:pt x="3877264" y="1284940"/>
                </a:cubicBezTo>
                <a:cubicBezTo>
                  <a:pt x="3876222" y="1287022"/>
                  <a:pt x="3875991" y="1289423"/>
                  <a:pt x="3876685" y="1291650"/>
                </a:cubicBezTo>
                <a:lnTo>
                  <a:pt x="3878073" y="1293385"/>
                </a:lnTo>
                <a:cubicBezTo>
                  <a:pt x="3882990" y="1299169"/>
                  <a:pt x="3892014" y="1310391"/>
                  <a:pt x="3881428" y="1320167"/>
                </a:cubicBezTo>
                <a:cubicBezTo>
                  <a:pt x="3878073" y="1323325"/>
                  <a:pt x="3873619" y="1325032"/>
                  <a:pt x="3869050" y="1324910"/>
                </a:cubicBezTo>
                <a:cubicBezTo>
                  <a:pt x="3866793" y="1324870"/>
                  <a:pt x="3864537" y="1324673"/>
                  <a:pt x="3862281" y="1324332"/>
                </a:cubicBezTo>
                <a:cubicBezTo>
                  <a:pt x="3860257" y="1324002"/>
                  <a:pt x="3858175" y="1323805"/>
                  <a:pt x="3856092" y="1323753"/>
                </a:cubicBezTo>
                <a:cubicBezTo>
                  <a:pt x="3853431" y="1323655"/>
                  <a:pt x="3850828" y="1324407"/>
                  <a:pt x="3848630" y="1325894"/>
                </a:cubicBezTo>
                <a:lnTo>
                  <a:pt x="3842846" y="1329885"/>
                </a:lnTo>
                <a:cubicBezTo>
                  <a:pt x="3833823" y="1335669"/>
                  <a:pt x="3821386" y="1344230"/>
                  <a:pt x="3822832" y="1349725"/>
                </a:cubicBezTo>
                <a:cubicBezTo>
                  <a:pt x="3823294" y="1351403"/>
                  <a:pt x="3823873" y="1353312"/>
                  <a:pt x="3824567" y="1355510"/>
                </a:cubicBezTo>
                <a:cubicBezTo>
                  <a:pt x="3827112" y="1363435"/>
                  <a:pt x="3830005" y="1372400"/>
                  <a:pt x="3824567" y="1374309"/>
                </a:cubicBezTo>
                <a:cubicBezTo>
                  <a:pt x="3821848" y="1375067"/>
                  <a:pt x="3819014" y="1375362"/>
                  <a:pt x="3816180" y="1375177"/>
                </a:cubicBezTo>
                <a:cubicBezTo>
                  <a:pt x="3811726" y="1375177"/>
                  <a:pt x="3807041" y="1375177"/>
                  <a:pt x="3804611" y="1378011"/>
                </a:cubicBezTo>
                <a:cubicBezTo>
                  <a:pt x="3801777" y="1380904"/>
                  <a:pt x="3798364" y="1383131"/>
                  <a:pt x="3794604" y="1384548"/>
                </a:cubicBezTo>
                <a:cubicBezTo>
                  <a:pt x="3790902" y="1386341"/>
                  <a:pt x="3787084" y="1388134"/>
                  <a:pt x="3786159" y="1390332"/>
                </a:cubicBezTo>
                <a:cubicBezTo>
                  <a:pt x="3785580" y="1393068"/>
                  <a:pt x="3785291" y="1395862"/>
                  <a:pt x="3785291" y="1398662"/>
                </a:cubicBezTo>
                <a:cubicBezTo>
                  <a:pt x="3785291" y="1406181"/>
                  <a:pt x="3784713" y="1415494"/>
                  <a:pt x="3779507" y="1418734"/>
                </a:cubicBezTo>
                <a:cubicBezTo>
                  <a:pt x="3777251" y="1420099"/>
                  <a:pt x="3775515" y="1422123"/>
                  <a:pt x="3774474" y="1424518"/>
                </a:cubicBezTo>
                <a:cubicBezTo>
                  <a:pt x="3772334" y="1428423"/>
                  <a:pt x="3769384" y="1431847"/>
                  <a:pt x="3765855" y="1434583"/>
                </a:cubicBezTo>
                <a:cubicBezTo>
                  <a:pt x="3762442" y="1437475"/>
                  <a:pt x="3758335" y="1441814"/>
                  <a:pt x="3754287" y="1446152"/>
                </a:cubicBezTo>
                <a:cubicBezTo>
                  <a:pt x="3746072" y="1454829"/>
                  <a:pt x="3740866" y="1460092"/>
                  <a:pt x="3737570" y="1460092"/>
                </a:cubicBezTo>
                <a:cubicBezTo>
                  <a:pt x="3736875" y="1460104"/>
                  <a:pt x="3736181" y="1459809"/>
                  <a:pt x="3735660" y="1459282"/>
                </a:cubicBezTo>
                <a:cubicBezTo>
                  <a:pt x="3733867" y="1456847"/>
                  <a:pt x="3732826" y="1453926"/>
                  <a:pt x="3732653" y="1450895"/>
                </a:cubicBezTo>
                <a:cubicBezTo>
                  <a:pt x="3732363" y="1446701"/>
                  <a:pt x="3730917" y="1442681"/>
                  <a:pt x="3728372" y="1439326"/>
                </a:cubicBezTo>
                <a:cubicBezTo>
                  <a:pt x="3725364" y="1436145"/>
                  <a:pt x="3724901" y="1427757"/>
                  <a:pt x="3724323" y="1418618"/>
                </a:cubicBezTo>
                <a:cubicBezTo>
                  <a:pt x="3723745" y="1409479"/>
                  <a:pt x="3723166" y="1398546"/>
                  <a:pt x="3719753" y="1392704"/>
                </a:cubicBezTo>
                <a:cubicBezTo>
                  <a:pt x="3712523" y="1380383"/>
                  <a:pt x="3705003" y="1313052"/>
                  <a:pt x="3704598" y="1291187"/>
                </a:cubicBezTo>
                <a:cubicBezTo>
                  <a:pt x="3704714" y="1267529"/>
                  <a:pt x="3713796" y="1244802"/>
                  <a:pt x="3729992" y="1227558"/>
                </a:cubicBezTo>
                <a:cubicBezTo>
                  <a:pt x="3736470" y="1220710"/>
                  <a:pt x="3739189" y="1211154"/>
                  <a:pt x="3737280" y="1201933"/>
                </a:cubicBezTo>
                <a:cubicBezTo>
                  <a:pt x="3736760" y="1197942"/>
                  <a:pt x="3736354" y="1194529"/>
                  <a:pt x="3739941" y="1194067"/>
                </a:cubicBezTo>
                <a:cubicBezTo>
                  <a:pt x="3741445" y="1194067"/>
                  <a:pt x="3743527" y="1193777"/>
                  <a:pt x="3746015" y="1193662"/>
                </a:cubicBezTo>
                <a:cubicBezTo>
                  <a:pt x="3751510" y="1193315"/>
                  <a:pt x="3764409" y="1192620"/>
                  <a:pt x="3764409" y="1189902"/>
                </a:cubicBezTo>
                <a:cubicBezTo>
                  <a:pt x="3764409" y="1187183"/>
                  <a:pt x="3767590" y="1186373"/>
                  <a:pt x="3772854" y="1184522"/>
                </a:cubicBezTo>
                <a:cubicBezTo>
                  <a:pt x="3787662" y="1180305"/>
                  <a:pt x="3800562" y="1171166"/>
                  <a:pt x="3809412" y="1158608"/>
                </a:cubicBezTo>
                <a:cubicBezTo>
                  <a:pt x="3818378" y="1146264"/>
                  <a:pt x="3829599" y="1135777"/>
                  <a:pt x="3842557" y="1127719"/>
                </a:cubicBezTo>
                <a:cubicBezTo>
                  <a:pt x="3849382" y="1123843"/>
                  <a:pt x="3855283" y="1118580"/>
                  <a:pt x="3859910" y="1112275"/>
                </a:cubicBezTo>
                <a:cubicBezTo>
                  <a:pt x="3863091" y="1106883"/>
                  <a:pt x="3867545" y="1102372"/>
                  <a:pt x="3872925" y="1099144"/>
                </a:cubicBezTo>
                <a:cubicBezTo>
                  <a:pt x="3877784" y="1095731"/>
                  <a:pt x="3881602" y="1093360"/>
                  <a:pt x="3882007" y="1088096"/>
                </a:cubicBezTo>
                <a:cubicBezTo>
                  <a:pt x="3882643" y="1078956"/>
                  <a:pt x="3899996" y="1075370"/>
                  <a:pt x="3911449" y="1072998"/>
                </a:cubicBezTo>
                <a:cubicBezTo>
                  <a:pt x="3913879" y="1072565"/>
                  <a:pt x="3916309" y="1072009"/>
                  <a:pt x="3918680" y="1071321"/>
                </a:cubicBezTo>
                <a:cubicBezTo>
                  <a:pt x="3925448" y="1069354"/>
                  <a:pt x="3925621" y="1066057"/>
                  <a:pt x="3925910" y="1061082"/>
                </a:cubicBezTo>
                <a:lnTo>
                  <a:pt x="3925910" y="1059868"/>
                </a:lnTo>
                <a:cubicBezTo>
                  <a:pt x="3925910" y="1056744"/>
                  <a:pt x="3929092" y="1054893"/>
                  <a:pt x="3931695" y="1053273"/>
                </a:cubicBezTo>
                <a:cubicBezTo>
                  <a:pt x="3933257" y="1052290"/>
                  <a:pt x="3935108" y="1051191"/>
                  <a:pt x="3935223" y="1050266"/>
                </a:cubicBezTo>
                <a:cubicBezTo>
                  <a:pt x="3935165" y="1049623"/>
                  <a:pt x="3934818" y="1049039"/>
                  <a:pt x="3934298" y="1048646"/>
                </a:cubicBezTo>
                <a:cubicBezTo>
                  <a:pt x="3931001" y="1045349"/>
                  <a:pt x="3932678" y="1042225"/>
                  <a:pt x="3934298" y="1038581"/>
                </a:cubicBezTo>
                <a:cubicBezTo>
                  <a:pt x="3936901" y="1034324"/>
                  <a:pt x="3938231" y="1029407"/>
                  <a:pt x="3938173" y="1024409"/>
                </a:cubicBezTo>
                <a:cubicBezTo>
                  <a:pt x="3937711" y="1018023"/>
                  <a:pt x="3939967" y="1011741"/>
                  <a:pt x="3944305" y="1007056"/>
                </a:cubicBezTo>
                <a:cubicBezTo>
                  <a:pt x="3948354" y="1002723"/>
                  <a:pt x="3954428" y="1000930"/>
                  <a:pt x="3960154" y="1002370"/>
                </a:cubicBezTo>
                <a:cubicBezTo>
                  <a:pt x="3961889" y="1002885"/>
                  <a:pt x="3963741" y="1003175"/>
                  <a:pt x="3965533" y="1003238"/>
                </a:cubicBezTo>
                <a:cubicBezTo>
                  <a:pt x="3966979" y="1003238"/>
                  <a:pt x="3967327" y="1002891"/>
                  <a:pt x="3967327" y="1002891"/>
                </a:cubicBezTo>
                <a:cubicBezTo>
                  <a:pt x="3967327" y="1002891"/>
                  <a:pt x="3965939" y="1000693"/>
                  <a:pt x="3959807" y="998090"/>
                </a:cubicBezTo>
                <a:cubicBezTo>
                  <a:pt x="3956221" y="996812"/>
                  <a:pt x="3952461" y="996222"/>
                  <a:pt x="3948643" y="996355"/>
                </a:cubicBezTo>
                <a:cubicBezTo>
                  <a:pt x="3934876" y="996355"/>
                  <a:pt x="3915151" y="1001734"/>
                  <a:pt x="3914573" y="1013708"/>
                </a:cubicBezTo>
                <a:cubicBezTo>
                  <a:pt x="3914457" y="1018364"/>
                  <a:pt x="3914631" y="1023027"/>
                  <a:pt x="3915209" y="1027648"/>
                </a:cubicBezTo>
                <a:cubicBezTo>
                  <a:pt x="3915787" y="1033433"/>
                  <a:pt x="3916251" y="1037482"/>
                  <a:pt x="3914110" y="1039796"/>
                </a:cubicBezTo>
                <a:cubicBezTo>
                  <a:pt x="3912375" y="1041386"/>
                  <a:pt x="3909945" y="1042000"/>
                  <a:pt x="3907689" y="1041415"/>
                </a:cubicBezTo>
                <a:cubicBezTo>
                  <a:pt x="3906590" y="1041357"/>
                  <a:pt x="3905549" y="1041357"/>
                  <a:pt x="3904450" y="1041415"/>
                </a:cubicBezTo>
                <a:cubicBezTo>
                  <a:pt x="3891667" y="1041415"/>
                  <a:pt x="3877090" y="1048993"/>
                  <a:pt x="3863381" y="1062702"/>
                </a:cubicBezTo>
                <a:cubicBezTo>
                  <a:pt x="3848052" y="1078031"/>
                  <a:pt x="3836946" y="1079188"/>
                  <a:pt x="3833938" y="1079188"/>
                </a:cubicBezTo>
                <a:cubicBezTo>
                  <a:pt x="3831740" y="1079610"/>
                  <a:pt x="3829484" y="1078708"/>
                  <a:pt x="3828153" y="1076874"/>
                </a:cubicBezTo>
                <a:cubicBezTo>
                  <a:pt x="3826997" y="1074676"/>
                  <a:pt x="3829831" y="1072709"/>
                  <a:pt x="3832781" y="1070742"/>
                </a:cubicBezTo>
                <a:cubicBezTo>
                  <a:pt x="3834285" y="1069701"/>
                  <a:pt x="3837119" y="1067792"/>
                  <a:pt x="3837004" y="1066983"/>
                </a:cubicBezTo>
                <a:cubicBezTo>
                  <a:pt x="3836888" y="1066173"/>
                  <a:pt x="3837004" y="1066520"/>
                  <a:pt x="3835963" y="1066115"/>
                </a:cubicBezTo>
                <a:cubicBezTo>
                  <a:pt x="3833707" y="1065276"/>
                  <a:pt x="3831335" y="1064808"/>
                  <a:pt x="3828905" y="1064727"/>
                </a:cubicBezTo>
                <a:cubicBezTo>
                  <a:pt x="3825261" y="1064380"/>
                  <a:pt x="3821848" y="1064032"/>
                  <a:pt x="3820171" y="1061545"/>
                </a:cubicBezTo>
                <a:cubicBezTo>
                  <a:pt x="3819072" y="1059237"/>
                  <a:pt x="3819072" y="1056565"/>
                  <a:pt x="3820171" y="1054257"/>
                </a:cubicBezTo>
                <a:cubicBezTo>
                  <a:pt x="3822312" y="1048866"/>
                  <a:pt x="3825493" y="1043955"/>
                  <a:pt x="3829542" y="1039796"/>
                </a:cubicBezTo>
                <a:cubicBezTo>
                  <a:pt x="3832492" y="1036383"/>
                  <a:pt x="3835327" y="1033144"/>
                  <a:pt x="3834979" y="1031350"/>
                </a:cubicBezTo>
                <a:cubicBezTo>
                  <a:pt x="3834863" y="1030818"/>
                  <a:pt x="3834459" y="1030373"/>
                  <a:pt x="3833996" y="1030136"/>
                </a:cubicBezTo>
                <a:cubicBezTo>
                  <a:pt x="3831219" y="1028400"/>
                  <a:pt x="3827691" y="1031119"/>
                  <a:pt x="3824162" y="1033838"/>
                </a:cubicBezTo>
                <a:cubicBezTo>
                  <a:pt x="3821964" y="1036076"/>
                  <a:pt x="3819130" y="1037592"/>
                  <a:pt x="3816006" y="1038176"/>
                </a:cubicBezTo>
                <a:cubicBezTo>
                  <a:pt x="3815428" y="1038170"/>
                  <a:pt x="3814907" y="1038072"/>
                  <a:pt x="3814386" y="1037887"/>
                </a:cubicBezTo>
                <a:cubicBezTo>
                  <a:pt x="3812246" y="1036822"/>
                  <a:pt x="3810569" y="1035041"/>
                  <a:pt x="3809643" y="1032854"/>
                </a:cubicBezTo>
                <a:cubicBezTo>
                  <a:pt x="3808081" y="1030194"/>
                  <a:pt x="3806751" y="1027938"/>
                  <a:pt x="3803859" y="1027938"/>
                </a:cubicBezTo>
                <a:cubicBezTo>
                  <a:pt x="3801545" y="1028129"/>
                  <a:pt x="3799289" y="1028886"/>
                  <a:pt x="3797322" y="1030136"/>
                </a:cubicBezTo>
                <a:cubicBezTo>
                  <a:pt x="3789629" y="1033861"/>
                  <a:pt x="3781069" y="1035556"/>
                  <a:pt x="3772507" y="1035052"/>
                </a:cubicBezTo>
                <a:cubicBezTo>
                  <a:pt x="3768285" y="1035052"/>
                  <a:pt x="3764236" y="1035052"/>
                  <a:pt x="3760938" y="1034590"/>
                </a:cubicBezTo>
                <a:cubicBezTo>
                  <a:pt x="3757641" y="1034127"/>
                  <a:pt x="3754402" y="1034243"/>
                  <a:pt x="3752262" y="1034590"/>
                </a:cubicBezTo>
                <a:cubicBezTo>
                  <a:pt x="3744626" y="1034879"/>
                  <a:pt x="3738784" y="1051943"/>
                  <a:pt x="3738784" y="1058479"/>
                </a:cubicBezTo>
                <a:cubicBezTo>
                  <a:pt x="3738784" y="1062528"/>
                  <a:pt x="3735892" y="1063223"/>
                  <a:pt x="3732537" y="1064264"/>
                </a:cubicBezTo>
                <a:cubicBezTo>
                  <a:pt x="3727215" y="1065328"/>
                  <a:pt x="3722299" y="1067763"/>
                  <a:pt x="3718192" y="1071321"/>
                </a:cubicBezTo>
                <a:cubicBezTo>
                  <a:pt x="3714605" y="1074387"/>
                  <a:pt x="3710440" y="1077105"/>
                  <a:pt x="3706044" y="1080460"/>
                </a:cubicBezTo>
                <a:cubicBezTo>
                  <a:pt x="3695111" y="1087124"/>
                  <a:pt x="3685683" y="1096038"/>
                  <a:pt x="3678452" y="1106606"/>
                </a:cubicBezTo>
                <a:cubicBezTo>
                  <a:pt x="3674345" y="1113547"/>
                  <a:pt x="3669949" y="1121992"/>
                  <a:pt x="3671916" y="1125463"/>
                </a:cubicBezTo>
                <a:cubicBezTo>
                  <a:pt x="3672841" y="1127083"/>
                  <a:pt x="3675329" y="1127893"/>
                  <a:pt x="3679494" y="1127893"/>
                </a:cubicBezTo>
                <a:cubicBezTo>
                  <a:pt x="3688633" y="1127893"/>
                  <a:pt x="3694707" y="1132694"/>
                  <a:pt x="3694707" y="1135875"/>
                </a:cubicBezTo>
                <a:cubicBezTo>
                  <a:pt x="3694707" y="1136731"/>
                  <a:pt x="3694244" y="1137529"/>
                  <a:pt x="3693550" y="1138015"/>
                </a:cubicBezTo>
                <a:cubicBezTo>
                  <a:pt x="3692567" y="1138524"/>
                  <a:pt x="3691467" y="1138750"/>
                  <a:pt x="3690368" y="1138652"/>
                </a:cubicBezTo>
                <a:lnTo>
                  <a:pt x="3688170" y="1138652"/>
                </a:lnTo>
                <a:cubicBezTo>
                  <a:pt x="3679262" y="1138276"/>
                  <a:pt x="3670470" y="1140572"/>
                  <a:pt x="3662892" y="1145246"/>
                </a:cubicBezTo>
                <a:cubicBezTo>
                  <a:pt x="3661736" y="1146409"/>
                  <a:pt x="3660174" y="1147085"/>
                  <a:pt x="3658496" y="1147155"/>
                </a:cubicBezTo>
                <a:cubicBezTo>
                  <a:pt x="3656876" y="1147016"/>
                  <a:pt x="3655257" y="1146478"/>
                  <a:pt x="3653868" y="1145593"/>
                </a:cubicBezTo>
                <a:cubicBezTo>
                  <a:pt x="3652307" y="1144644"/>
                  <a:pt x="3650514" y="1144089"/>
                  <a:pt x="3648663" y="1143973"/>
                </a:cubicBezTo>
                <a:cubicBezTo>
                  <a:pt x="3646754" y="1144066"/>
                  <a:pt x="3644903" y="1144685"/>
                  <a:pt x="3643341" y="1145766"/>
                </a:cubicBezTo>
                <a:cubicBezTo>
                  <a:pt x="3637094" y="1149706"/>
                  <a:pt x="3629864" y="1151719"/>
                  <a:pt x="3622517" y="1151551"/>
                </a:cubicBezTo>
                <a:cubicBezTo>
                  <a:pt x="3619683" y="1151528"/>
                  <a:pt x="3616791" y="1151337"/>
                  <a:pt x="3613956" y="1150972"/>
                </a:cubicBezTo>
                <a:cubicBezTo>
                  <a:pt x="3610717" y="1151071"/>
                  <a:pt x="3607536" y="1151904"/>
                  <a:pt x="3604644" y="1153402"/>
                </a:cubicBezTo>
                <a:cubicBezTo>
                  <a:pt x="3600826" y="1155166"/>
                  <a:pt x="3596719" y="1156225"/>
                  <a:pt x="3592554" y="1156525"/>
                </a:cubicBezTo>
                <a:cubicBezTo>
                  <a:pt x="3590298" y="1156560"/>
                  <a:pt x="3588042" y="1156005"/>
                  <a:pt x="3586075" y="1154906"/>
                </a:cubicBezTo>
                <a:cubicBezTo>
                  <a:pt x="3581910" y="1152534"/>
                  <a:pt x="3581506" y="1150220"/>
                  <a:pt x="3581910" y="1148716"/>
                </a:cubicBezTo>
                <a:cubicBezTo>
                  <a:pt x="3582836" y="1145246"/>
                  <a:pt x="3588621" y="1143395"/>
                  <a:pt x="3593479" y="1143395"/>
                </a:cubicBezTo>
                <a:lnTo>
                  <a:pt x="3595446" y="1143395"/>
                </a:lnTo>
                <a:cubicBezTo>
                  <a:pt x="3600131" y="1143858"/>
                  <a:pt x="3603602" y="1141139"/>
                  <a:pt x="3603718" y="1139404"/>
                </a:cubicBezTo>
                <a:cubicBezTo>
                  <a:pt x="3603834" y="1137668"/>
                  <a:pt x="3602387" y="1137495"/>
                  <a:pt x="3600016" y="1137205"/>
                </a:cubicBezTo>
                <a:cubicBezTo>
                  <a:pt x="3596140" y="1136309"/>
                  <a:pt x="3592785" y="1133810"/>
                  <a:pt x="3590877" y="1130322"/>
                </a:cubicBezTo>
                <a:cubicBezTo>
                  <a:pt x="3589141" y="1127950"/>
                  <a:pt x="3587637" y="1125868"/>
                  <a:pt x="3585555" y="1125868"/>
                </a:cubicBezTo>
                <a:cubicBezTo>
                  <a:pt x="3584224" y="1125966"/>
                  <a:pt x="3582894" y="1126470"/>
                  <a:pt x="3581852" y="1127314"/>
                </a:cubicBezTo>
                <a:cubicBezTo>
                  <a:pt x="3579366" y="1129148"/>
                  <a:pt x="3576358" y="1130195"/>
                  <a:pt x="3573292" y="1130322"/>
                </a:cubicBezTo>
                <a:cubicBezTo>
                  <a:pt x="3569127" y="1129894"/>
                  <a:pt x="3565193" y="1128031"/>
                  <a:pt x="3562243" y="1125058"/>
                </a:cubicBezTo>
                <a:lnTo>
                  <a:pt x="3559929" y="1123265"/>
                </a:lnTo>
                <a:cubicBezTo>
                  <a:pt x="3554724" y="1120731"/>
                  <a:pt x="3548997" y="1119575"/>
                  <a:pt x="3543213" y="1119910"/>
                </a:cubicBezTo>
                <a:cubicBezTo>
                  <a:pt x="3533090" y="1119910"/>
                  <a:pt x="3525860" y="1122687"/>
                  <a:pt x="3523256" y="1127314"/>
                </a:cubicBezTo>
                <a:cubicBezTo>
                  <a:pt x="3521116" y="1132763"/>
                  <a:pt x="3515910" y="1136378"/>
                  <a:pt x="3510068" y="1136453"/>
                </a:cubicBezTo>
                <a:cubicBezTo>
                  <a:pt x="3506365" y="1136263"/>
                  <a:pt x="3502722" y="1135540"/>
                  <a:pt x="3499251" y="1134313"/>
                </a:cubicBezTo>
                <a:cubicBezTo>
                  <a:pt x="3495722" y="1133434"/>
                  <a:pt x="3492020" y="1133868"/>
                  <a:pt x="3488839" y="1135528"/>
                </a:cubicBezTo>
                <a:cubicBezTo>
                  <a:pt x="3485079" y="1137263"/>
                  <a:pt x="3481030" y="1138189"/>
                  <a:pt x="3476923" y="1138247"/>
                </a:cubicBezTo>
                <a:cubicBezTo>
                  <a:pt x="3475766" y="1138247"/>
                  <a:pt x="3474494" y="1138247"/>
                  <a:pt x="3473221" y="1138247"/>
                </a:cubicBezTo>
                <a:lnTo>
                  <a:pt x="3466569" y="1137379"/>
                </a:lnTo>
                <a:cubicBezTo>
                  <a:pt x="3462751" y="1136766"/>
                  <a:pt x="3458875" y="1136401"/>
                  <a:pt x="3455000" y="1136280"/>
                </a:cubicBezTo>
                <a:cubicBezTo>
                  <a:pt x="3452629" y="1135997"/>
                  <a:pt x="3450257" y="1136708"/>
                  <a:pt x="3448464" y="1138247"/>
                </a:cubicBezTo>
                <a:cubicBezTo>
                  <a:pt x="3446555" y="1140786"/>
                  <a:pt x="3443720" y="1142406"/>
                  <a:pt x="3440539" y="1142701"/>
                </a:cubicBezTo>
                <a:cubicBezTo>
                  <a:pt x="3437473" y="1142464"/>
                  <a:pt x="3434639" y="1141029"/>
                  <a:pt x="3432672" y="1138709"/>
                </a:cubicBezTo>
                <a:cubicBezTo>
                  <a:pt x="3428739" y="1134776"/>
                  <a:pt x="3409997" y="1130322"/>
                  <a:pt x="3390851" y="1130322"/>
                </a:cubicBezTo>
                <a:cubicBezTo>
                  <a:pt x="3385298" y="1130258"/>
                  <a:pt x="3379803" y="1130721"/>
                  <a:pt x="3374365" y="1131710"/>
                </a:cubicBezTo>
                <a:cubicBezTo>
                  <a:pt x="3352616" y="1135991"/>
                  <a:pt x="3324272" y="1152245"/>
                  <a:pt x="3323983" y="1157335"/>
                </a:cubicBezTo>
                <a:cubicBezTo>
                  <a:pt x="3323983" y="1161211"/>
                  <a:pt x="3317099" y="1165491"/>
                  <a:pt x="3309406" y="1170408"/>
                </a:cubicBezTo>
                <a:cubicBezTo>
                  <a:pt x="3303332" y="1173543"/>
                  <a:pt x="3297953" y="1177893"/>
                  <a:pt x="3293615" y="1183192"/>
                </a:cubicBezTo>
                <a:cubicBezTo>
                  <a:pt x="3289276" y="1192158"/>
                  <a:pt x="3280079" y="1200545"/>
                  <a:pt x="3263419" y="1214312"/>
                </a:cubicBezTo>
                <a:cubicBezTo>
                  <a:pt x="3256363" y="1219842"/>
                  <a:pt x="3249016" y="1224978"/>
                  <a:pt x="3241439" y="1229698"/>
                </a:cubicBezTo>
                <a:cubicBezTo>
                  <a:pt x="3233051" y="1235078"/>
                  <a:pt x="3225821" y="1239706"/>
                  <a:pt x="3224548" y="1243292"/>
                </a:cubicBezTo>
                <a:lnTo>
                  <a:pt x="3224548" y="1244160"/>
                </a:lnTo>
                <a:cubicBezTo>
                  <a:pt x="3222466" y="1252489"/>
                  <a:pt x="3216971" y="1259564"/>
                  <a:pt x="3209393" y="1263653"/>
                </a:cubicBezTo>
                <a:cubicBezTo>
                  <a:pt x="3205691" y="1265793"/>
                  <a:pt x="3201122" y="1268628"/>
                  <a:pt x="3196320" y="1271578"/>
                </a:cubicBezTo>
                <a:cubicBezTo>
                  <a:pt x="3189148" y="1276246"/>
                  <a:pt x="3181743" y="1280497"/>
                  <a:pt x="3174108" y="1284303"/>
                </a:cubicBezTo>
                <a:cubicBezTo>
                  <a:pt x="3171852" y="1285385"/>
                  <a:pt x="3170059" y="1287173"/>
                  <a:pt x="3168960" y="1289394"/>
                </a:cubicBezTo>
                <a:cubicBezTo>
                  <a:pt x="3165952" y="1294565"/>
                  <a:pt x="3161441" y="1298701"/>
                  <a:pt x="3156061" y="1301252"/>
                </a:cubicBezTo>
                <a:cubicBezTo>
                  <a:pt x="3148483" y="1305243"/>
                  <a:pt x="3143740" y="1310738"/>
                  <a:pt x="3144492" y="1314498"/>
                </a:cubicBezTo>
                <a:cubicBezTo>
                  <a:pt x="3145012" y="1317217"/>
                  <a:pt x="3148541" y="1318894"/>
                  <a:pt x="3154325" y="1319357"/>
                </a:cubicBezTo>
                <a:cubicBezTo>
                  <a:pt x="3160977" y="1319617"/>
                  <a:pt x="3167688" y="1319247"/>
                  <a:pt x="3174282" y="1318258"/>
                </a:cubicBezTo>
                <a:cubicBezTo>
                  <a:pt x="3176827" y="1317859"/>
                  <a:pt x="3179430" y="1317605"/>
                  <a:pt x="3182033" y="1317506"/>
                </a:cubicBezTo>
                <a:cubicBezTo>
                  <a:pt x="3183537" y="1317298"/>
                  <a:pt x="3185099" y="1317813"/>
                  <a:pt x="3186197" y="1318894"/>
                </a:cubicBezTo>
                <a:cubicBezTo>
                  <a:pt x="3186661" y="1319745"/>
                  <a:pt x="3186661" y="1320763"/>
                  <a:pt x="3186197" y="1321613"/>
                </a:cubicBezTo>
                <a:cubicBezTo>
                  <a:pt x="3184520" y="1326588"/>
                  <a:pt x="3182843" y="1342726"/>
                  <a:pt x="3186197" y="1347180"/>
                </a:cubicBezTo>
                <a:cubicBezTo>
                  <a:pt x="3187065" y="1348337"/>
                  <a:pt x="3187701" y="1348164"/>
                  <a:pt x="3188280" y="1348048"/>
                </a:cubicBezTo>
                <a:cubicBezTo>
                  <a:pt x="3191693" y="1347296"/>
                  <a:pt x="3193486" y="1343999"/>
                  <a:pt x="3195510" y="1340123"/>
                </a:cubicBezTo>
                <a:cubicBezTo>
                  <a:pt x="3197420" y="1335403"/>
                  <a:pt x="3200716" y="1331372"/>
                  <a:pt x="3204997" y="1328554"/>
                </a:cubicBezTo>
                <a:cubicBezTo>
                  <a:pt x="3206327" y="1327611"/>
                  <a:pt x="3207889" y="1326998"/>
                  <a:pt x="3209509" y="1326761"/>
                </a:cubicBezTo>
                <a:cubicBezTo>
                  <a:pt x="3210145" y="1326715"/>
                  <a:pt x="3210723" y="1327004"/>
                  <a:pt x="3211071" y="1327513"/>
                </a:cubicBezTo>
                <a:cubicBezTo>
                  <a:pt x="3211823" y="1328670"/>
                  <a:pt x="3211071" y="1330463"/>
                  <a:pt x="3209913" y="1333298"/>
                </a:cubicBezTo>
                <a:cubicBezTo>
                  <a:pt x="3208815" y="1335640"/>
                  <a:pt x="3208005" y="1338081"/>
                  <a:pt x="3207369" y="1340586"/>
                </a:cubicBezTo>
                <a:cubicBezTo>
                  <a:pt x="3207021" y="1342952"/>
                  <a:pt x="3207889" y="1345329"/>
                  <a:pt x="3209625" y="1346949"/>
                </a:cubicBezTo>
                <a:cubicBezTo>
                  <a:pt x="3211649" y="1349436"/>
                  <a:pt x="3213905" y="1352213"/>
                  <a:pt x="3208236" y="1357303"/>
                </a:cubicBezTo>
                <a:cubicBezTo>
                  <a:pt x="3206617" y="1358807"/>
                  <a:pt x="3206385" y="1359675"/>
                  <a:pt x="3206443" y="1359964"/>
                </a:cubicBezTo>
                <a:cubicBezTo>
                  <a:pt x="3206501" y="1360253"/>
                  <a:pt x="3207427" y="1360716"/>
                  <a:pt x="3209219" y="1360716"/>
                </a:cubicBezTo>
                <a:cubicBezTo>
                  <a:pt x="3214079" y="1360739"/>
                  <a:pt x="3218764" y="1358628"/>
                  <a:pt x="3221946" y="1354931"/>
                </a:cubicBezTo>
                <a:lnTo>
                  <a:pt x="3222755" y="1353659"/>
                </a:lnTo>
                <a:cubicBezTo>
                  <a:pt x="3227498" y="1346255"/>
                  <a:pt x="3230044" y="1342669"/>
                  <a:pt x="3234903" y="1343999"/>
                </a:cubicBezTo>
                <a:cubicBezTo>
                  <a:pt x="3236233" y="1344381"/>
                  <a:pt x="3237621" y="1343895"/>
                  <a:pt x="3238431" y="1342784"/>
                </a:cubicBezTo>
                <a:cubicBezTo>
                  <a:pt x="3239530" y="1340760"/>
                  <a:pt x="3239703" y="1338324"/>
                  <a:pt x="3238778" y="1336190"/>
                </a:cubicBezTo>
                <a:cubicBezTo>
                  <a:pt x="3238315" y="1335368"/>
                  <a:pt x="3238315" y="1334350"/>
                  <a:pt x="3238778" y="1333529"/>
                </a:cubicBezTo>
                <a:cubicBezTo>
                  <a:pt x="3239935" y="1332436"/>
                  <a:pt x="3241497" y="1331921"/>
                  <a:pt x="3243059" y="1332141"/>
                </a:cubicBezTo>
                <a:cubicBezTo>
                  <a:pt x="3245777" y="1332251"/>
                  <a:pt x="3248438" y="1332522"/>
                  <a:pt x="3251099" y="1332951"/>
                </a:cubicBezTo>
                <a:cubicBezTo>
                  <a:pt x="3254916" y="1333633"/>
                  <a:pt x="3258792" y="1333945"/>
                  <a:pt x="3262668" y="1333876"/>
                </a:cubicBezTo>
                <a:lnTo>
                  <a:pt x="3263825" y="1333876"/>
                </a:lnTo>
                <a:cubicBezTo>
                  <a:pt x="3273022" y="1333876"/>
                  <a:pt x="3284475" y="1343016"/>
                  <a:pt x="3285285" y="1351229"/>
                </a:cubicBezTo>
                <a:cubicBezTo>
                  <a:pt x="3285979" y="1357014"/>
                  <a:pt x="3292284" y="1360080"/>
                  <a:pt x="3298358" y="1362798"/>
                </a:cubicBezTo>
                <a:lnTo>
                  <a:pt x="3301250" y="1364071"/>
                </a:lnTo>
                <a:cubicBezTo>
                  <a:pt x="3306166" y="1366385"/>
                  <a:pt x="3313224" y="1371648"/>
                  <a:pt x="3313455" y="1375929"/>
                </a:cubicBezTo>
                <a:cubicBezTo>
                  <a:pt x="3313513" y="1377398"/>
                  <a:pt x="3312703" y="1378757"/>
                  <a:pt x="3311373" y="1379399"/>
                </a:cubicBezTo>
                <a:cubicBezTo>
                  <a:pt x="3306803" y="1382118"/>
                  <a:pt x="3307034" y="1383102"/>
                  <a:pt x="3308596" y="1385994"/>
                </a:cubicBezTo>
                <a:cubicBezTo>
                  <a:pt x="3309638" y="1389279"/>
                  <a:pt x="3309984" y="1392750"/>
                  <a:pt x="3309580" y="1396174"/>
                </a:cubicBezTo>
                <a:cubicBezTo>
                  <a:pt x="3309232" y="1399697"/>
                  <a:pt x="3309464" y="1403255"/>
                  <a:pt x="3310274" y="1406702"/>
                </a:cubicBezTo>
                <a:cubicBezTo>
                  <a:pt x="3313860" y="1413441"/>
                  <a:pt x="3311836" y="1421817"/>
                  <a:pt x="3305530" y="1426138"/>
                </a:cubicBezTo>
                <a:cubicBezTo>
                  <a:pt x="3302060" y="1429134"/>
                  <a:pt x="3299630" y="1433200"/>
                  <a:pt x="3298705" y="1437707"/>
                </a:cubicBezTo>
                <a:cubicBezTo>
                  <a:pt x="3298184" y="1440367"/>
                  <a:pt x="3297143" y="1442884"/>
                  <a:pt x="3295581" y="1445111"/>
                </a:cubicBezTo>
                <a:cubicBezTo>
                  <a:pt x="3293846" y="1447985"/>
                  <a:pt x="3292805" y="1451242"/>
                  <a:pt x="3292631" y="1454597"/>
                </a:cubicBezTo>
                <a:cubicBezTo>
                  <a:pt x="3292573" y="1457270"/>
                  <a:pt x="3291763" y="1459867"/>
                  <a:pt x="3290317" y="1462117"/>
                </a:cubicBezTo>
                <a:cubicBezTo>
                  <a:pt x="3288929" y="1468219"/>
                  <a:pt x="3288177" y="1474438"/>
                  <a:pt x="3287946" y="1480685"/>
                </a:cubicBezTo>
                <a:cubicBezTo>
                  <a:pt x="3286442" y="1498038"/>
                  <a:pt x="3284360" y="1521696"/>
                  <a:pt x="3278748" y="1533728"/>
                </a:cubicBezTo>
                <a:cubicBezTo>
                  <a:pt x="3275451" y="1541421"/>
                  <a:pt x="3271171" y="1548681"/>
                  <a:pt x="3266139" y="1555362"/>
                </a:cubicBezTo>
                <a:cubicBezTo>
                  <a:pt x="3264577" y="1557404"/>
                  <a:pt x="3263073" y="1559527"/>
                  <a:pt x="3261742" y="1561725"/>
                </a:cubicBezTo>
                <a:cubicBezTo>
                  <a:pt x="3258330" y="1566682"/>
                  <a:pt x="3254628" y="1571414"/>
                  <a:pt x="3250636" y="1575897"/>
                </a:cubicBezTo>
                <a:cubicBezTo>
                  <a:pt x="3243753" y="1583370"/>
                  <a:pt x="3237737" y="1591572"/>
                  <a:pt x="3232704" y="1600365"/>
                </a:cubicBezTo>
                <a:cubicBezTo>
                  <a:pt x="3224896" y="1618586"/>
                  <a:pt x="3204187" y="1642070"/>
                  <a:pt x="3192560" y="1654391"/>
                </a:cubicBezTo>
                <a:cubicBezTo>
                  <a:pt x="3189032" y="1658093"/>
                  <a:pt x="3184578" y="1662605"/>
                  <a:pt x="3179835" y="1667464"/>
                </a:cubicBezTo>
                <a:cubicBezTo>
                  <a:pt x="3166704" y="1680826"/>
                  <a:pt x="3148714" y="1699163"/>
                  <a:pt x="3148426" y="1702980"/>
                </a:cubicBezTo>
                <a:cubicBezTo>
                  <a:pt x="3147905" y="1710211"/>
                  <a:pt x="3095324" y="1743471"/>
                  <a:pt x="3084797" y="1743471"/>
                </a:cubicBezTo>
                <a:cubicBezTo>
                  <a:pt x="3078145" y="1742251"/>
                  <a:pt x="3072071" y="1738902"/>
                  <a:pt x="3067444" y="1733927"/>
                </a:cubicBezTo>
                <a:cubicBezTo>
                  <a:pt x="3063684" y="1729762"/>
                  <a:pt x="3058651" y="1726887"/>
                  <a:pt x="3053156" y="1725713"/>
                </a:cubicBezTo>
                <a:cubicBezTo>
                  <a:pt x="3049859" y="1725713"/>
                  <a:pt x="3041587" y="1730109"/>
                  <a:pt x="3031117" y="1737861"/>
                </a:cubicBezTo>
                <a:cubicBezTo>
                  <a:pt x="3030770" y="1738057"/>
                  <a:pt x="3030307" y="1738057"/>
                  <a:pt x="3029960" y="1737861"/>
                </a:cubicBezTo>
                <a:cubicBezTo>
                  <a:pt x="3029613" y="1737693"/>
                  <a:pt x="3029324" y="1737334"/>
                  <a:pt x="3029324" y="1736935"/>
                </a:cubicBezTo>
                <a:cubicBezTo>
                  <a:pt x="3028861" y="1732481"/>
                  <a:pt x="3028803" y="1728143"/>
                  <a:pt x="3028745" y="1724325"/>
                </a:cubicBezTo>
                <a:cubicBezTo>
                  <a:pt x="3029093" y="1719906"/>
                  <a:pt x="3028630" y="1715469"/>
                  <a:pt x="3027473" y="1711194"/>
                </a:cubicBezTo>
                <a:cubicBezTo>
                  <a:pt x="3025564" y="1706220"/>
                  <a:pt x="3024985" y="1700834"/>
                  <a:pt x="3025853" y="1695576"/>
                </a:cubicBezTo>
                <a:cubicBezTo>
                  <a:pt x="3026316" y="1693222"/>
                  <a:pt x="3026316" y="1690810"/>
                  <a:pt x="3025853" y="1688462"/>
                </a:cubicBezTo>
                <a:cubicBezTo>
                  <a:pt x="3024581" y="1684065"/>
                  <a:pt x="3023597" y="1674058"/>
                  <a:pt x="3026895" y="1669720"/>
                </a:cubicBezTo>
                <a:cubicBezTo>
                  <a:pt x="3027820" y="1668390"/>
                  <a:pt x="3029382" y="1667609"/>
                  <a:pt x="3031001" y="1667638"/>
                </a:cubicBezTo>
                <a:cubicBezTo>
                  <a:pt x="3033142" y="1667638"/>
                  <a:pt x="3035976" y="1665035"/>
                  <a:pt x="3038695" y="1662547"/>
                </a:cubicBezTo>
                <a:cubicBezTo>
                  <a:pt x="3041645" y="1659013"/>
                  <a:pt x="3045752" y="1656647"/>
                  <a:pt x="3050263" y="1655895"/>
                </a:cubicBezTo>
                <a:cubicBezTo>
                  <a:pt x="3051767" y="1655895"/>
                  <a:pt x="3053271" y="1656381"/>
                  <a:pt x="3054486" y="1657284"/>
                </a:cubicBezTo>
                <a:cubicBezTo>
                  <a:pt x="3059114" y="1660257"/>
                  <a:pt x="3064436" y="1661876"/>
                  <a:pt x="3069931" y="1661969"/>
                </a:cubicBezTo>
                <a:cubicBezTo>
                  <a:pt x="3072071" y="1661969"/>
                  <a:pt x="3076987" y="1661622"/>
                  <a:pt x="3076987" y="1658209"/>
                </a:cubicBezTo>
                <a:cubicBezTo>
                  <a:pt x="3076987" y="1654796"/>
                  <a:pt x="3079995" y="1651846"/>
                  <a:pt x="3082772" y="1649590"/>
                </a:cubicBezTo>
                <a:cubicBezTo>
                  <a:pt x="3086243" y="1647560"/>
                  <a:pt x="3088788" y="1644199"/>
                  <a:pt x="3089771" y="1640277"/>
                </a:cubicBezTo>
                <a:cubicBezTo>
                  <a:pt x="3091044" y="1635337"/>
                  <a:pt x="3094110" y="1631074"/>
                  <a:pt x="3098448" y="1628361"/>
                </a:cubicBezTo>
                <a:cubicBezTo>
                  <a:pt x="3101861" y="1626152"/>
                  <a:pt x="3104463" y="1622936"/>
                  <a:pt x="3105910" y="1619164"/>
                </a:cubicBezTo>
                <a:cubicBezTo>
                  <a:pt x="3106315" y="1617834"/>
                  <a:pt x="3106719" y="1616214"/>
                  <a:pt x="3107183" y="1614421"/>
                </a:cubicBezTo>
                <a:cubicBezTo>
                  <a:pt x="3109785" y="1603951"/>
                  <a:pt x="3113719" y="1588102"/>
                  <a:pt x="3121007" y="1583763"/>
                </a:cubicBezTo>
                <a:cubicBezTo>
                  <a:pt x="3124536" y="1581623"/>
                  <a:pt x="3124015" y="1580351"/>
                  <a:pt x="3122453" y="1576591"/>
                </a:cubicBezTo>
                <a:cubicBezTo>
                  <a:pt x="3120313" y="1572073"/>
                  <a:pt x="3119330" y="1567070"/>
                  <a:pt x="3119677" y="1562072"/>
                </a:cubicBezTo>
                <a:cubicBezTo>
                  <a:pt x="3119966" y="1559723"/>
                  <a:pt x="3119330" y="1557352"/>
                  <a:pt x="3117884" y="1555478"/>
                </a:cubicBezTo>
                <a:cubicBezTo>
                  <a:pt x="3116322" y="1554055"/>
                  <a:pt x="3114240" y="1553326"/>
                  <a:pt x="3112099" y="1553453"/>
                </a:cubicBezTo>
                <a:cubicBezTo>
                  <a:pt x="3107703" y="1553615"/>
                  <a:pt x="3103365" y="1554974"/>
                  <a:pt x="3099663" y="1557386"/>
                </a:cubicBezTo>
                <a:cubicBezTo>
                  <a:pt x="3096481" y="1559000"/>
                  <a:pt x="3092952" y="1559851"/>
                  <a:pt x="3089366" y="1559874"/>
                </a:cubicBezTo>
                <a:cubicBezTo>
                  <a:pt x="3083177" y="1560510"/>
                  <a:pt x="3076178" y="1561204"/>
                  <a:pt x="3073401" y="1566641"/>
                </a:cubicBezTo>
                <a:cubicBezTo>
                  <a:pt x="3071666" y="1570928"/>
                  <a:pt x="3067328" y="1573566"/>
                  <a:pt x="3062700" y="1573120"/>
                </a:cubicBezTo>
                <a:cubicBezTo>
                  <a:pt x="3061254" y="1573201"/>
                  <a:pt x="3059750" y="1573201"/>
                  <a:pt x="3058304" y="1573120"/>
                </a:cubicBezTo>
                <a:cubicBezTo>
                  <a:pt x="3055007" y="1572773"/>
                  <a:pt x="3051652" y="1572773"/>
                  <a:pt x="3048355" y="1573120"/>
                </a:cubicBezTo>
                <a:cubicBezTo>
                  <a:pt x="3039158" y="1574416"/>
                  <a:pt x="3029787" y="1572050"/>
                  <a:pt x="3022267" y="1566526"/>
                </a:cubicBezTo>
                <a:cubicBezTo>
                  <a:pt x="3020879" y="1565161"/>
                  <a:pt x="3020243" y="1563246"/>
                  <a:pt x="3020416" y="1561320"/>
                </a:cubicBezTo>
                <a:cubicBezTo>
                  <a:pt x="3020416" y="1557826"/>
                  <a:pt x="3019548" y="1554384"/>
                  <a:pt x="3017871" y="1551313"/>
                </a:cubicBezTo>
                <a:cubicBezTo>
                  <a:pt x="3015731" y="1547194"/>
                  <a:pt x="3014632" y="1542596"/>
                  <a:pt x="3014747" y="1537951"/>
                </a:cubicBezTo>
                <a:cubicBezTo>
                  <a:pt x="3015094" y="1534133"/>
                  <a:pt x="3012896" y="1533381"/>
                  <a:pt x="3007864" y="1532166"/>
                </a:cubicBezTo>
                <a:cubicBezTo>
                  <a:pt x="3003352" y="1531258"/>
                  <a:pt x="2999129" y="1529141"/>
                  <a:pt x="2995717" y="1526035"/>
                </a:cubicBezTo>
                <a:cubicBezTo>
                  <a:pt x="2988717" y="1519649"/>
                  <a:pt x="2980040" y="1515467"/>
                  <a:pt x="2970670" y="1514003"/>
                </a:cubicBezTo>
                <a:cubicBezTo>
                  <a:pt x="2970265" y="1513916"/>
                  <a:pt x="2969918" y="1513916"/>
                  <a:pt x="2969513" y="1514003"/>
                </a:cubicBezTo>
                <a:cubicBezTo>
                  <a:pt x="2967777" y="1514871"/>
                  <a:pt x="2965175" y="1513483"/>
                  <a:pt x="2961357" y="1511285"/>
                </a:cubicBezTo>
                <a:cubicBezTo>
                  <a:pt x="2955630" y="1507525"/>
                  <a:pt x="2949094" y="1505165"/>
                  <a:pt x="2942269" y="1504401"/>
                </a:cubicBezTo>
                <a:cubicBezTo>
                  <a:pt x="2938103" y="1504592"/>
                  <a:pt x="2934112" y="1502891"/>
                  <a:pt x="2931336" y="1499773"/>
                </a:cubicBezTo>
                <a:cubicBezTo>
                  <a:pt x="2929369" y="1496008"/>
                  <a:pt x="2929138" y="1491560"/>
                  <a:pt x="2930758" y="1487626"/>
                </a:cubicBezTo>
                <a:cubicBezTo>
                  <a:pt x="2931567" y="1484850"/>
                  <a:pt x="2927634" y="1477388"/>
                  <a:pt x="2924163" y="1470851"/>
                </a:cubicBezTo>
                <a:cubicBezTo>
                  <a:pt x="2921213" y="1465854"/>
                  <a:pt x="2918841" y="1460561"/>
                  <a:pt x="2917049" y="1455060"/>
                </a:cubicBezTo>
                <a:cubicBezTo>
                  <a:pt x="2916412" y="1451213"/>
                  <a:pt x="2914793" y="1447592"/>
                  <a:pt x="2912363" y="1444532"/>
                </a:cubicBezTo>
                <a:cubicBezTo>
                  <a:pt x="2906578" y="1437903"/>
                  <a:pt x="2902818" y="1429788"/>
                  <a:pt x="2901430" y="1421105"/>
                </a:cubicBezTo>
                <a:cubicBezTo>
                  <a:pt x="2900910" y="1414390"/>
                  <a:pt x="2897439" y="1408241"/>
                  <a:pt x="2892002" y="1404273"/>
                </a:cubicBezTo>
                <a:cubicBezTo>
                  <a:pt x="2888821" y="1402670"/>
                  <a:pt x="2887316" y="1398951"/>
                  <a:pt x="2888531" y="1395596"/>
                </a:cubicBezTo>
                <a:cubicBezTo>
                  <a:pt x="2889977" y="1389812"/>
                  <a:pt x="2884077" y="1386052"/>
                  <a:pt x="2878350" y="1382292"/>
                </a:cubicBezTo>
                <a:cubicBezTo>
                  <a:pt x="2875574" y="1380782"/>
                  <a:pt x="2873086" y="1378827"/>
                  <a:pt x="2870946" y="1376507"/>
                </a:cubicBezTo>
                <a:cubicBezTo>
                  <a:pt x="2869211" y="1374020"/>
                  <a:pt x="2863947" y="1373268"/>
                  <a:pt x="2857815" y="1372400"/>
                </a:cubicBezTo>
                <a:cubicBezTo>
                  <a:pt x="2851048" y="1371787"/>
                  <a:pt x="2844454" y="1370029"/>
                  <a:pt x="2838264" y="1367194"/>
                </a:cubicBezTo>
                <a:cubicBezTo>
                  <a:pt x="2832943" y="1364395"/>
                  <a:pt x="2826927" y="1363192"/>
                  <a:pt x="2820911" y="1363724"/>
                </a:cubicBezTo>
                <a:cubicBezTo>
                  <a:pt x="2816515" y="1363990"/>
                  <a:pt x="2812119" y="1363562"/>
                  <a:pt x="2807896" y="1362451"/>
                </a:cubicBezTo>
                <a:cubicBezTo>
                  <a:pt x="2805293" y="1361803"/>
                  <a:pt x="2802574" y="1361514"/>
                  <a:pt x="2799914" y="1361584"/>
                </a:cubicBezTo>
                <a:cubicBezTo>
                  <a:pt x="2791237" y="1361919"/>
                  <a:pt x="2782561" y="1362983"/>
                  <a:pt x="2774057" y="1364765"/>
                </a:cubicBezTo>
                <a:cubicBezTo>
                  <a:pt x="2771975" y="1365205"/>
                  <a:pt x="2769892" y="1365517"/>
                  <a:pt x="2767810" y="1365690"/>
                </a:cubicBezTo>
                <a:cubicBezTo>
                  <a:pt x="2767174" y="1365737"/>
                  <a:pt x="2766538" y="1365737"/>
                  <a:pt x="2765901" y="1365690"/>
                </a:cubicBezTo>
                <a:cubicBezTo>
                  <a:pt x="2764397" y="1365690"/>
                  <a:pt x="2762083" y="1365343"/>
                  <a:pt x="2759423" y="1365343"/>
                </a:cubicBezTo>
                <a:cubicBezTo>
                  <a:pt x="2749589" y="1364667"/>
                  <a:pt x="2740044" y="1368889"/>
                  <a:pt x="2733971" y="1376623"/>
                </a:cubicBezTo>
                <a:cubicBezTo>
                  <a:pt x="2728187" y="1384258"/>
                  <a:pt x="2728187" y="1387035"/>
                  <a:pt x="2728939" y="1388192"/>
                </a:cubicBezTo>
                <a:cubicBezTo>
                  <a:pt x="2729691" y="1389349"/>
                  <a:pt x="2731831" y="1389580"/>
                  <a:pt x="2733971" y="1389580"/>
                </a:cubicBezTo>
                <a:lnTo>
                  <a:pt x="2735475" y="1389580"/>
                </a:lnTo>
                <a:cubicBezTo>
                  <a:pt x="2739524" y="1389580"/>
                  <a:pt x="2742416" y="1396059"/>
                  <a:pt x="2744672" y="1409884"/>
                </a:cubicBezTo>
                <a:cubicBezTo>
                  <a:pt x="2745656" y="1415668"/>
                  <a:pt x="2736111" y="1423130"/>
                  <a:pt x="2731889" y="1424865"/>
                </a:cubicBezTo>
                <a:cubicBezTo>
                  <a:pt x="2727666" y="1426600"/>
                  <a:pt x="2717138" y="1443607"/>
                  <a:pt x="2715576" y="1449970"/>
                </a:cubicBezTo>
                <a:cubicBezTo>
                  <a:pt x="2714130" y="1454048"/>
                  <a:pt x="2712164" y="1457935"/>
                  <a:pt x="2709792" y="1461538"/>
                </a:cubicBezTo>
                <a:cubicBezTo>
                  <a:pt x="2706322" y="1467323"/>
                  <a:pt x="2701925" y="1474843"/>
                  <a:pt x="2702735" y="1477735"/>
                </a:cubicBezTo>
                <a:cubicBezTo>
                  <a:pt x="2703313" y="1479869"/>
                  <a:pt x="2702851" y="1482137"/>
                  <a:pt x="2701579" y="1483924"/>
                </a:cubicBezTo>
                <a:cubicBezTo>
                  <a:pt x="2698801" y="1487765"/>
                  <a:pt x="2694637" y="1490409"/>
                  <a:pt x="2690010" y="1491328"/>
                </a:cubicBezTo>
                <a:cubicBezTo>
                  <a:pt x="2684572" y="1493260"/>
                  <a:pt x="2679424" y="1495927"/>
                  <a:pt x="2674681" y="1499253"/>
                </a:cubicBezTo>
                <a:cubicBezTo>
                  <a:pt x="2671441" y="1501497"/>
                  <a:pt x="2667971" y="1503435"/>
                  <a:pt x="2664327" y="1505037"/>
                </a:cubicBezTo>
                <a:cubicBezTo>
                  <a:pt x="2663054" y="1505413"/>
                  <a:pt x="2661666" y="1505570"/>
                  <a:pt x="2660336" y="1505500"/>
                </a:cubicBezTo>
                <a:cubicBezTo>
                  <a:pt x="2653220" y="1505500"/>
                  <a:pt x="2638701" y="1502666"/>
                  <a:pt x="2636330" y="1497171"/>
                </a:cubicBezTo>
                <a:cubicBezTo>
                  <a:pt x="2634710" y="1493468"/>
                  <a:pt x="2624761" y="1490576"/>
                  <a:pt x="2617299" y="1490576"/>
                </a:cubicBezTo>
                <a:cubicBezTo>
                  <a:pt x="2615506" y="1490513"/>
                  <a:pt x="2613655" y="1490744"/>
                  <a:pt x="2611920" y="1491270"/>
                </a:cubicBezTo>
                <a:cubicBezTo>
                  <a:pt x="2605326" y="1493700"/>
                  <a:pt x="2588782" y="1492369"/>
                  <a:pt x="2586989" y="1485486"/>
                </a:cubicBezTo>
                <a:cubicBezTo>
                  <a:pt x="2586468" y="1483577"/>
                  <a:pt x="2579932" y="1481495"/>
                  <a:pt x="2570330" y="1481495"/>
                </a:cubicBezTo>
                <a:cubicBezTo>
                  <a:pt x="2565008" y="1481119"/>
                  <a:pt x="2559628" y="1482137"/>
                  <a:pt x="2554827" y="1484445"/>
                </a:cubicBezTo>
                <a:cubicBezTo>
                  <a:pt x="2551878" y="1486452"/>
                  <a:pt x="2548754" y="1488176"/>
                  <a:pt x="2545456" y="1489593"/>
                </a:cubicBezTo>
                <a:cubicBezTo>
                  <a:pt x="2540019" y="1492254"/>
                  <a:pt x="2533887" y="1495377"/>
                  <a:pt x="2533483" y="1498212"/>
                </a:cubicBezTo>
                <a:cubicBezTo>
                  <a:pt x="2532904" y="1502319"/>
                  <a:pt x="2527294" y="1503186"/>
                  <a:pt x="2521394" y="1503996"/>
                </a:cubicBezTo>
                <a:cubicBezTo>
                  <a:pt x="2517865" y="1504291"/>
                  <a:pt x="2514394" y="1505269"/>
                  <a:pt x="2511213" y="1506888"/>
                </a:cubicBezTo>
                <a:cubicBezTo>
                  <a:pt x="2504792" y="1509572"/>
                  <a:pt x="2498024" y="1511250"/>
                  <a:pt x="2491083" y="1511863"/>
                </a:cubicBezTo>
                <a:cubicBezTo>
                  <a:pt x="2485935" y="1512332"/>
                  <a:pt x="2480903" y="1513483"/>
                  <a:pt x="2476043" y="1515276"/>
                </a:cubicBezTo>
                <a:cubicBezTo>
                  <a:pt x="2475291" y="1518399"/>
                  <a:pt x="2462508" y="1518746"/>
                  <a:pt x="2457013" y="1518746"/>
                </a:cubicBezTo>
                <a:cubicBezTo>
                  <a:pt x="2453369" y="1518746"/>
                  <a:pt x="2441279" y="1518746"/>
                  <a:pt x="2437924" y="1515739"/>
                </a:cubicBezTo>
                <a:cubicBezTo>
                  <a:pt x="2433297" y="1514125"/>
                  <a:pt x="2428379" y="1513454"/>
                  <a:pt x="2423521" y="1513772"/>
                </a:cubicBezTo>
                <a:cubicBezTo>
                  <a:pt x="2414034" y="1513483"/>
                  <a:pt x="2405011" y="1513135"/>
                  <a:pt x="2402929" y="1508913"/>
                </a:cubicBezTo>
                <a:cubicBezTo>
                  <a:pt x="2401019" y="1506050"/>
                  <a:pt x="2398474" y="1503661"/>
                  <a:pt x="2395524" y="1501914"/>
                </a:cubicBezTo>
                <a:cubicBezTo>
                  <a:pt x="2391764" y="1499195"/>
                  <a:pt x="2388236" y="1496708"/>
                  <a:pt x="2388236" y="1493064"/>
                </a:cubicBezTo>
                <a:cubicBezTo>
                  <a:pt x="2388236" y="1490923"/>
                  <a:pt x="2382451" y="1489477"/>
                  <a:pt x="2377535" y="1488320"/>
                </a:cubicBezTo>
                <a:cubicBezTo>
                  <a:pt x="2372617" y="1487163"/>
                  <a:pt x="2367123" y="1485775"/>
                  <a:pt x="2365966" y="1483057"/>
                </a:cubicBezTo>
                <a:cubicBezTo>
                  <a:pt x="2364809" y="1480338"/>
                  <a:pt x="2354397" y="1477272"/>
                  <a:pt x="2349075" y="1477272"/>
                </a:cubicBezTo>
                <a:cubicBezTo>
                  <a:pt x="2348265" y="1477174"/>
                  <a:pt x="2347397" y="1477295"/>
                  <a:pt x="2346645" y="1477619"/>
                </a:cubicBezTo>
                <a:cubicBezTo>
                  <a:pt x="2346067" y="1477955"/>
                  <a:pt x="2345373" y="1478117"/>
                  <a:pt x="2344679" y="1478082"/>
                </a:cubicBezTo>
                <a:cubicBezTo>
                  <a:pt x="2339357" y="1477382"/>
                  <a:pt x="2334152" y="1476144"/>
                  <a:pt x="2329119" y="1474380"/>
                </a:cubicBezTo>
                <a:cubicBezTo>
                  <a:pt x="2325648" y="1473396"/>
                  <a:pt x="2322409" y="1472413"/>
                  <a:pt x="2320789" y="1472124"/>
                </a:cubicBezTo>
                <a:cubicBezTo>
                  <a:pt x="2315873" y="1472170"/>
                  <a:pt x="2311014" y="1472749"/>
                  <a:pt x="2306212" y="1473859"/>
                </a:cubicBezTo>
                <a:cubicBezTo>
                  <a:pt x="2302800" y="1474617"/>
                  <a:pt x="2299387" y="1475120"/>
                  <a:pt x="2295917" y="1475363"/>
                </a:cubicBezTo>
                <a:cubicBezTo>
                  <a:pt x="2292619" y="1476190"/>
                  <a:pt x="2289553" y="1477735"/>
                  <a:pt x="2286950" y="1479875"/>
                </a:cubicBezTo>
                <a:cubicBezTo>
                  <a:pt x="2283885" y="1482229"/>
                  <a:pt x="2280414" y="1483976"/>
                  <a:pt x="2276712" y="1485023"/>
                </a:cubicBezTo>
                <a:cubicBezTo>
                  <a:pt x="2272085" y="1484676"/>
                  <a:pt x="2267573" y="1483294"/>
                  <a:pt x="2263523" y="1480974"/>
                </a:cubicBezTo>
                <a:cubicBezTo>
                  <a:pt x="2260458" y="1479308"/>
                  <a:pt x="2257103" y="1478117"/>
                  <a:pt x="2253690" y="1477446"/>
                </a:cubicBezTo>
                <a:cubicBezTo>
                  <a:pt x="2253458" y="1477405"/>
                  <a:pt x="2253227" y="1477405"/>
                  <a:pt x="2252996" y="1477446"/>
                </a:cubicBezTo>
                <a:cubicBezTo>
                  <a:pt x="2252475" y="1477839"/>
                  <a:pt x="2251781" y="1478047"/>
                  <a:pt x="2251144" y="1478024"/>
                </a:cubicBezTo>
                <a:cubicBezTo>
                  <a:pt x="2246228" y="1478024"/>
                  <a:pt x="2237147" y="1467612"/>
                  <a:pt x="2234486" y="1464373"/>
                </a:cubicBezTo>
                <a:cubicBezTo>
                  <a:pt x="2232403" y="1460295"/>
                  <a:pt x="2231651" y="1455656"/>
                  <a:pt x="2232345" y="1451127"/>
                </a:cubicBezTo>
                <a:cubicBezTo>
                  <a:pt x="2232808" y="1447667"/>
                  <a:pt x="2232403" y="1444162"/>
                  <a:pt x="2231188" y="1440888"/>
                </a:cubicBezTo>
                <a:cubicBezTo>
                  <a:pt x="2229569" y="1438459"/>
                  <a:pt x="2222801" y="1437244"/>
                  <a:pt x="2216843" y="1436203"/>
                </a:cubicBezTo>
                <a:cubicBezTo>
                  <a:pt x="2212736" y="1435746"/>
                  <a:pt x="2208687" y="1434710"/>
                  <a:pt x="2204869" y="1433137"/>
                </a:cubicBezTo>
                <a:cubicBezTo>
                  <a:pt x="2198912" y="1429192"/>
                  <a:pt x="2192259" y="1426479"/>
                  <a:pt x="2185260" y="1425154"/>
                </a:cubicBezTo>
                <a:cubicBezTo>
                  <a:pt x="2179071" y="1425386"/>
                  <a:pt x="2172882" y="1423882"/>
                  <a:pt x="2167502" y="1420816"/>
                </a:cubicBezTo>
                <a:cubicBezTo>
                  <a:pt x="2161313" y="1417374"/>
                  <a:pt x="2154719" y="1414748"/>
                  <a:pt x="2147835" y="1413007"/>
                </a:cubicBezTo>
                <a:cubicBezTo>
                  <a:pt x="2145116" y="1412255"/>
                  <a:pt x="2143844" y="1414048"/>
                  <a:pt x="2142050" y="1417403"/>
                </a:cubicBezTo>
                <a:cubicBezTo>
                  <a:pt x="2141298" y="1418925"/>
                  <a:pt x="2140373" y="1420342"/>
                  <a:pt x="2139274" y="1421626"/>
                </a:cubicBezTo>
                <a:cubicBezTo>
                  <a:pt x="2137423" y="1423078"/>
                  <a:pt x="2135341" y="1424194"/>
                  <a:pt x="2133085" y="1424923"/>
                </a:cubicBezTo>
                <a:cubicBezTo>
                  <a:pt x="2129498" y="1426369"/>
                  <a:pt x="2125796" y="1427873"/>
                  <a:pt x="2124986" y="1430707"/>
                </a:cubicBezTo>
                <a:cubicBezTo>
                  <a:pt x="2124177" y="1433542"/>
                  <a:pt x="2121400" y="1435393"/>
                  <a:pt x="2118682" y="1437186"/>
                </a:cubicBezTo>
                <a:cubicBezTo>
                  <a:pt x="2115095" y="1439558"/>
                  <a:pt x="2112897" y="1441177"/>
                  <a:pt x="2113649" y="1443838"/>
                </a:cubicBezTo>
                <a:cubicBezTo>
                  <a:pt x="2115905" y="1452630"/>
                  <a:pt x="2119434" y="1463274"/>
                  <a:pt x="2122962" y="1465877"/>
                </a:cubicBezTo>
                <a:cubicBezTo>
                  <a:pt x="2127763" y="1469752"/>
                  <a:pt x="2124929" y="1480222"/>
                  <a:pt x="2122384" y="1483577"/>
                </a:cubicBezTo>
                <a:cubicBezTo>
                  <a:pt x="2119722" y="1485729"/>
                  <a:pt x="2116599" y="1487216"/>
                  <a:pt x="2113244" y="1487915"/>
                </a:cubicBezTo>
                <a:cubicBezTo>
                  <a:pt x="2107980" y="1489651"/>
                  <a:pt x="2101675" y="1491849"/>
                  <a:pt x="2099824" y="1494799"/>
                </a:cubicBezTo>
                <a:cubicBezTo>
                  <a:pt x="2098899" y="1496511"/>
                  <a:pt x="2097106" y="1497564"/>
                  <a:pt x="2095196" y="1497518"/>
                </a:cubicBezTo>
                <a:cubicBezTo>
                  <a:pt x="2090569" y="1496661"/>
                  <a:pt x="2086173" y="1494672"/>
                  <a:pt x="2082471" y="1491733"/>
                </a:cubicBezTo>
                <a:lnTo>
                  <a:pt x="2078885" y="1489477"/>
                </a:lnTo>
                <a:cubicBezTo>
                  <a:pt x="2076281" y="1487956"/>
                  <a:pt x="2073273" y="1487175"/>
                  <a:pt x="2070266" y="1487221"/>
                </a:cubicBezTo>
                <a:cubicBezTo>
                  <a:pt x="2065986" y="1487210"/>
                  <a:pt x="2061820" y="1488546"/>
                  <a:pt x="2058350" y="1491039"/>
                </a:cubicBezTo>
                <a:cubicBezTo>
                  <a:pt x="2057598" y="1491641"/>
                  <a:pt x="2056672" y="1491947"/>
                  <a:pt x="2055689" y="1491907"/>
                </a:cubicBezTo>
                <a:cubicBezTo>
                  <a:pt x="2050599" y="1490883"/>
                  <a:pt x="2045797" y="1488812"/>
                  <a:pt x="2041517" y="1485833"/>
                </a:cubicBezTo>
                <a:cubicBezTo>
                  <a:pt x="2039434" y="1484462"/>
                  <a:pt x="2037178" y="1483323"/>
                  <a:pt x="2034807" y="1482420"/>
                </a:cubicBezTo>
                <a:cubicBezTo>
                  <a:pt x="2032204" y="1481900"/>
                  <a:pt x="2030989" y="1477908"/>
                  <a:pt x="2029659" y="1473744"/>
                </a:cubicBezTo>
                <a:cubicBezTo>
                  <a:pt x="2028849" y="1471256"/>
                  <a:pt x="2027519" y="1467034"/>
                  <a:pt x="2026477" y="1467034"/>
                </a:cubicBezTo>
                <a:lnTo>
                  <a:pt x="2025031" y="1467034"/>
                </a:lnTo>
                <a:cubicBezTo>
                  <a:pt x="2012537" y="1465709"/>
                  <a:pt x="2000101" y="1463505"/>
                  <a:pt x="1987896" y="1460439"/>
                </a:cubicBezTo>
                <a:cubicBezTo>
                  <a:pt x="1985813" y="1459913"/>
                  <a:pt x="1983615" y="1459658"/>
                  <a:pt x="1981474" y="1459687"/>
                </a:cubicBezTo>
                <a:cubicBezTo>
                  <a:pt x="1975690" y="1459687"/>
                  <a:pt x="1970600" y="1461134"/>
                  <a:pt x="1969906" y="1462985"/>
                </a:cubicBezTo>
                <a:cubicBezTo>
                  <a:pt x="1969211" y="1464836"/>
                  <a:pt x="1964989" y="1466339"/>
                  <a:pt x="1960535" y="1467323"/>
                </a:cubicBezTo>
                <a:cubicBezTo>
                  <a:pt x="1956081" y="1468306"/>
                  <a:pt x="1952263" y="1469116"/>
                  <a:pt x="1951222" y="1471198"/>
                </a:cubicBezTo>
                <a:cubicBezTo>
                  <a:pt x="1948851" y="1474368"/>
                  <a:pt x="1945553" y="1476763"/>
                  <a:pt x="1941793" y="1478082"/>
                </a:cubicBezTo>
                <a:cubicBezTo>
                  <a:pt x="1938670" y="1479354"/>
                  <a:pt x="1935778" y="1481200"/>
                  <a:pt x="1933348" y="1483519"/>
                </a:cubicBezTo>
                <a:cubicBezTo>
                  <a:pt x="1930630" y="1485885"/>
                  <a:pt x="1927390" y="1487557"/>
                  <a:pt x="1923920" y="1488378"/>
                </a:cubicBezTo>
                <a:cubicBezTo>
                  <a:pt x="1919119" y="1489998"/>
                  <a:pt x="1914144" y="1491675"/>
                  <a:pt x="1912351" y="1495377"/>
                </a:cubicBezTo>
                <a:cubicBezTo>
                  <a:pt x="1909169" y="1502550"/>
                  <a:pt x="1894997" y="1505905"/>
                  <a:pt x="1886437" y="1507293"/>
                </a:cubicBezTo>
                <a:cubicBezTo>
                  <a:pt x="1873942" y="1509434"/>
                  <a:pt x="1869083" y="1512037"/>
                  <a:pt x="1869083" y="1513656"/>
                </a:cubicBezTo>
                <a:cubicBezTo>
                  <a:pt x="1869083" y="1515276"/>
                  <a:pt x="1867869" y="1516433"/>
                  <a:pt x="1864687" y="1516433"/>
                </a:cubicBezTo>
                <a:cubicBezTo>
                  <a:pt x="1862489" y="1516300"/>
                  <a:pt x="1860349" y="1515970"/>
                  <a:pt x="1858209" y="1515449"/>
                </a:cubicBezTo>
                <a:cubicBezTo>
                  <a:pt x="1856300" y="1514992"/>
                  <a:pt x="1854391" y="1514703"/>
                  <a:pt x="1852424" y="1514582"/>
                </a:cubicBezTo>
                <a:cubicBezTo>
                  <a:pt x="1846986" y="1514582"/>
                  <a:pt x="1839293" y="1505211"/>
                  <a:pt x="1838368" y="1499079"/>
                </a:cubicBezTo>
                <a:cubicBezTo>
                  <a:pt x="1838021" y="1496650"/>
                  <a:pt x="1836922" y="1496650"/>
                  <a:pt x="1836401" y="1496650"/>
                </a:cubicBezTo>
                <a:cubicBezTo>
                  <a:pt x="1834319" y="1497032"/>
                  <a:pt x="1832352" y="1497859"/>
                  <a:pt x="1830617" y="1499079"/>
                </a:cubicBezTo>
                <a:cubicBezTo>
                  <a:pt x="1823444" y="1501787"/>
                  <a:pt x="1815866" y="1503215"/>
                  <a:pt x="1808231" y="1503302"/>
                </a:cubicBezTo>
                <a:cubicBezTo>
                  <a:pt x="1803199" y="1503302"/>
                  <a:pt x="1793423" y="1496592"/>
                  <a:pt x="1793423" y="1490866"/>
                </a:cubicBezTo>
                <a:cubicBezTo>
                  <a:pt x="1793423" y="1485139"/>
                  <a:pt x="1791803" y="1481726"/>
                  <a:pt x="1788680" y="1481726"/>
                </a:cubicBezTo>
                <a:cubicBezTo>
                  <a:pt x="1784226" y="1481726"/>
                  <a:pt x="1776012" y="1479817"/>
                  <a:pt x="1770690" y="1467091"/>
                </a:cubicBezTo>
                <a:cubicBezTo>
                  <a:pt x="1768550" y="1461174"/>
                  <a:pt x="1763749" y="1456651"/>
                  <a:pt x="1757675" y="1454944"/>
                </a:cubicBezTo>
                <a:cubicBezTo>
                  <a:pt x="1756287" y="1454412"/>
                  <a:pt x="1754899" y="1453793"/>
                  <a:pt x="1753568" y="1453093"/>
                </a:cubicBezTo>
                <a:cubicBezTo>
                  <a:pt x="1752816" y="1452706"/>
                  <a:pt x="1751949" y="1452526"/>
                  <a:pt x="1751081" y="1452573"/>
                </a:cubicBezTo>
                <a:cubicBezTo>
                  <a:pt x="1745007" y="1453521"/>
                  <a:pt x="1739165" y="1455476"/>
                  <a:pt x="1733728" y="1458357"/>
                </a:cubicBezTo>
                <a:cubicBezTo>
                  <a:pt x="1731298" y="1459398"/>
                  <a:pt x="1729216" y="1460324"/>
                  <a:pt x="1727539" y="1460960"/>
                </a:cubicBezTo>
                <a:cubicBezTo>
                  <a:pt x="1726035" y="1461504"/>
                  <a:pt x="1724415" y="1461758"/>
                  <a:pt x="1722795" y="1461712"/>
                </a:cubicBezTo>
                <a:cubicBezTo>
                  <a:pt x="1717589" y="1461359"/>
                  <a:pt x="1712441" y="1460329"/>
                  <a:pt x="1707524" y="1458646"/>
                </a:cubicBezTo>
                <a:cubicBezTo>
                  <a:pt x="1704979" y="1457952"/>
                  <a:pt x="1702549" y="1457258"/>
                  <a:pt x="1700293" y="1456795"/>
                </a:cubicBezTo>
                <a:cubicBezTo>
                  <a:pt x="1695897" y="1455193"/>
                  <a:pt x="1692196" y="1452231"/>
                  <a:pt x="1689592" y="1448350"/>
                </a:cubicBezTo>
                <a:cubicBezTo>
                  <a:pt x="1686238" y="1444417"/>
                  <a:pt x="1682998" y="1440830"/>
                  <a:pt x="1679585" y="1441640"/>
                </a:cubicBezTo>
                <a:cubicBezTo>
                  <a:pt x="1676173" y="1442450"/>
                  <a:pt x="1673801" y="1446730"/>
                  <a:pt x="1671545" y="1450953"/>
                </a:cubicBezTo>
                <a:cubicBezTo>
                  <a:pt x="1669289" y="1455176"/>
                  <a:pt x="1667149" y="1459225"/>
                  <a:pt x="1663505" y="1459225"/>
                </a:cubicBezTo>
                <a:cubicBezTo>
                  <a:pt x="1659860" y="1459225"/>
                  <a:pt x="1655117" y="1450606"/>
                  <a:pt x="1647771" y="1435335"/>
                </a:cubicBezTo>
                <a:cubicBezTo>
                  <a:pt x="1643722" y="1426502"/>
                  <a:pt x="1639210" y="1417924"/>
                  <a:pt x="1634120" y="1409652"/>
                </a:cubicBezTo>
                <a:cubicBezTo>
                  <a:pt x="1632732" y="1407512"/>
                  <a:pt x="1631228" y="1405082"/>
                  <a:pt x="1629550" y="1402537"/>
                </a:cubicBezTo>
                <a:cubicBezTo>
                  <a:pt x="1617981" y="1384201"/>
                  <a:pt x="1600050" y="1356262"/>
                  <a:pt x="1584432" y="1350477"/>
                </a:cubicBezTo>
                <a:cubicBezTo>
                  <a:pt x="1576680" y="1347643"/>
                  <a:pt x="1572226" y="1343999"/>
                  <a:pt x="1571301" y="1339603"/>
                </a:cubicBezTo>
                <a:cubicBezTo>
                  <a:pt x="1570780" y="1335166"/>
                  <a:pt x="1572631" y="1330781"/>
                  <a:pt x="1576160" y="1328034"/>
                </a:cubicBezTo>
                <a:cubicBezTo>
                  <a:pt x="1576622" y="1327571"/>
                  <a:pt x="1576796" y="1327224"/>
                  <a:pt x="1576680" y="1327050"/>
                </a:cubicBezTo>
                <a:cubicBezTo>
                  <a:pt x="1576564" y="1326877"/>
                  <a:pt x="1574193" y="1325546"/>
                  <a:pt x="1570202" y="1325546"/>
                </a:cubicBezTo>
                <a:cubicBezTo>
                  <a:pt x="1566442" y="1325460"/>
                  <a:pt x="1562682" y="1326293"/>
                  <a:pt x="1559327" y="1327976"/>
                </a:cubicBezTo>
                <a:cubicBezTo>
                  <a:pt x="1557187" y="1329249"/>
                  <a:pt x="1554873" y="1330810"/>
                  <a:pt x="1552386" y="1332488"/>
                </a:cubicBezTo>
                <a:cubicBezTo>
                  <a:pt x="1546948" y="1336734"/>
                  <a:pt x="1540759" y="1339984"/>
                  <a:pt x="1534165" y="1342090"/>
                </a:cubicBezTo>
                <a:cubicBezTo>
                  <a:pt x="1530289" y="1343403"/>
                  <a:pt x="1526588" y="1345358"/>
                  <a:pt x="1523348" y="1347874"/>
                </a:cubicBezTo>
                <a:cubicBezTo>
                  <a:pt x="1518605" y="1351571"/>
                  <a:pt x="1513052" y="1353983"/>
                  <a:pt x="1507094" y="1354874"/>
                </a:cubicBezTo>
                <a:cubicBezTo>
                  <a:pt x="1505995" y="1354879"/>
                  <a:pt x="1504953" y="1354706"/>
                  <a:pt x="1503912" y="1354353"/>
                </a:cubicBezTo>
                <a:cubicBezTo>
                  <a:pt x="1500326" y="1353138"/>
                  <a:pt x="1497260" y="1355336"/>
                  <a:pt x="1494368" y="1357592"/>
                </a:cubicBezTo>
                <a:cubicBezTo>
                  <a:pt x="1492517" y="1359478"/>
                  <a:pt x="1490087" y="1360687"/>
                  <a:pt x="1487485" y="1361005"/>
                </a:cubicBezTo>
                <a:cubicBezTo>
                  <a:pt x="1485749" y="1360965"/>
                  <a:pt x="1484071" y="1360236"/>
                  <a:pt x="1482857" y="1358980"/>
                </a:cubicBezTo>
                <a:cubicBezTo>
                  <a:pt x="1481527" y="1357905"/>
                  <a:pt x="1480717" y="1356297"/>
                  <a:pt x="1480717" y="1354584"/>
                </a:cubicBezTo>
                <a:cubicBezTo>
                  <a:pt x="1480717" y="1351576"/>
                  <a:pt x="1483898" y="1349147"/>
                  <a:pt x="1486906" y="1346718"/>
                </a:cubicBezTo>
                <a:cubicBezTo>
                  <a:pt x="1489914" y="1344288"/>
                  <a:pt x="1492228" y="1342495"/>
                  <a:pt x="1492228" y="1340586"/>
                </a:cubicBezTo>
                <a:cubicBezTo>
                  <a:pt x="1492228" y="1339718"/>
                  <a:pt x="1492228" y="1339313"/>
                  <a:pt x="1490782" y="1339313"/>
                </a:cubicBezTo>
                <a:cubicBezTo>
                  <a:pt x="1489393" y="1339406"/>
                  <a:pt x="1488005" y="1339660"/>
                  <a:pt x="1486675" y="1340065"/>
                </a:cubicBezTo>
                <a:cubicBezTo>
                  <a:pt x="1484997" y="1340517"/>
                  <a:pt x="1483262" y="1340789"/>
                  <a:pt x="1481527" y="1340875"/>
                </a:cubicBezTo>
                <a:cubicBezTo>
                  <a:pt x="1480196" y="1340985"/>
                  <a:pt x="1478866" y="1340476"/>
                  <a:pt x="1477940" y="1339487"/>
                </a:cubicBezTo>
                <a:cubicBezTo>
                  <a:pt x="1475626" y="1337086"/>
                  <a:pt x="1472503" y="1335588"/>
                  <a:pt x="1469206" y="1335264"/>
                </a:cubicBezTo>
                <a:cubicBezTo>
                  <a:pt x="1467412" y="1335264"/>
                  <a:pt x="1467181" y="1336074"/>
                  <a:pt x="1467181" y="1336942"/>
                </a:cubicBezTo>
                <a:cubicBezTo>
                  <a:pt x="1467412" y="1338943"/>
                  <a:pt x="1465966" y="1340742"/>
                  <a:pt x="1463942" y="1340968"/>
                </a:cubicBezTo>
                <a:cubicBezTo>
                  <a:pt x="1463826" y="1340985"/>
                  <a:pt x="1463653" y="1340997"/>
                  <a:pt x="1463479" y="1340991"/>
                </a:cubicBezTo>
                <a:cubicBezTo>
                  <a:pt x="1460182" y="1340927"/>
                  <a:pt x="1457463" y="1338463"/>
                  <a:pt x="1457059" y="1335207"/>
                </a:cubicBezTo>
                <a:cubicBezTo>
                  <a:pt x="1457059" y="1332546"/>
                  <a:pt x="1454282" y="1327860"/>
                  <a:pt x="1451274" y="1327860"/>
                </a:cubicBezTo>
                <a:cubicBezTo>
                  <a:pt x="1450233" y="1327924"/>
                  <a:pt x="1449250" y="1328456"/>
                  <a:pt x="1448613" y="1329306"/>
                </a:cubicBezTo>
                <a:cubicBezTo>
                  <a:pt x="1443292" y="1333679"/>
                  <a:pt x="1436582" y="1336039"/>
                  <a:pt x="1429698" y="1335959"/>
                </a:cubicBezTo>
                <a:cubicBezTo>
                  <a:pt x="1426921" y="1336219"/>
                  <a:pt x="1424145" y="1335363"/>
                  <a:pt x="1422005" y="1333587"/>
                </a:cubicBezTo>
                <a:cubicBezTo>
                  <a:pt x="1419344" y="1330405"/>
                  <a:pt x="1421022" y="1327802"/>
                  <a:pt x="1422525" y="1325951"/>
                </a:cubicBezTo>
                <a:cubicBezTo>
                  <a:pt x="1423740" y="1324604"/>
                  <a:pt x="1424492" y="1322938"/>
                  <a:pt x="1424781" y="1321150"/>
                </a:cubicBezTo>
                <a:cubicBezTo>
                  <a:pt x="1424723" y="1318409"/>
                  <a:pt x="1423971" y="1315725"/>
                  <a:pt x="1422583" y="1313341"/>
                </a:cubicBezTo>
                <a:cubicBezTo>
                  <a:pt x="1420616" y="1309813"/>
                  <a:pt x="1419749" y="1305798"/>
                  <a:pt x="1419980" y="1301773"/>
                </a:cubicBezTo>
                <a:cubicBezTo>
                  <a:pt x="1420096" y="1300135"/>
                  <a:pt x="1419576" y="1298516"/>
                  <a:pt x="1418418" y="1297318"/>
                </a:cubicBezTo>
                <a:cubicBezTo>
                  <a:pt x="1415352" y="1293877"/>
                  <a:pt x="1411072" y="1291794"/>
                  <a:pt x="1406445" y="1291534"/>
                </a:cubicBezTo>
                <a:cubicBezTo>
                  <a:pt x="1405577" y="1291505"/>
                  <a:pt x="1404767" y="1291644"/>
                  <a:pt x="1403957" y="1291939"/>
                </a:cubicBezTo>
                <a:cubicBezTo>
                  <a:pt x="1401991" y="1292679"/>
                  <a:pt x="1399908" y="1293050"/>
                  <a:pt x="1397826" y="1293038"/>
                </a:cubicBezTo>
                <a:cubicBezTo>
                  <a:pt x="1392273" y="1292749"/>
                  <a:pt x="1386836" y="1291355"/>
                  <a:pt x="1381861" y="1288931"/>
                </a:cubicBezTo>
                <a:cubicBezTo>
                  <a:pt x="1380010" y="1288248"/>
                  <a:pt x="1378043" y="1287954"/>
                  <a:pt x="1376077" y="1288063"/>
                </a:cubicBezTo>
                <a:cubicBezTo>
                  <a:pt x="1364970" y="1288063"/>
                  <a:pt x="1350393" y="1292402"/>
                  <a:pt x="1349641" y="1295988"/>
                </a:cubicBezTo>
                <a:cubicBezTo>
                  <a:pt x="1348774" y="1300558"/>
                  <a:pt x="1336164" y="1303739"/>
                  <a:pt x="1319851" y="1307557"/>
                </a:cubicBezTo>
                <a:cubicBezTo>
                  <a:pt x="1316208" y="1308263"/>
                  <a:pt x="1312564" y="1309171"/>
                  <a:pt x="1309035" y="1310276"/>
                </a:cubicBezTo>
                <a:cubicBezTo>
                  <a:pt x="1296193" y="1313532"/>
                  <a:pt x="1283120" y="1315985"/>
                  <a:pt x="1269990" y="1317622"/>
                </a:cubicBezTo>
                <a:cubicBezTo>
                  <a:pt x="1266288" y="1318368"/>
                  <a:pt x="1262702" y="1319617"/>
                  <a:pt x="1259347" y="1321324"/>
                </a:cubicBezTo>
                <a:cubicBezTo>
                  <a:pt x="1253967" y="1324135"/>
                  <a:pt x="1248067" y="1325772"/>
                  <a:pt x="1241993" y="1326125"/>
                </a:cubicBezTo>
                <a:cubicBezTo>
                  <a:pt x="1233143" y="1326125"/>
                  <a:pt x="1211451" y="1326935"/>
                  <a:pt x="1201502" y="1334339"/>
                </a:cubicBezTo>
                <a:cubicBezTo>
                  <a:pt x="1197164" y="1337225"/>
                  <a:pt x="1192016" y="1338625"/>
                  <a:pt x="1186810" y="1338330"/>
                </a:cubicBezTo>
                <a:cubicBezTo>
                  <a:pt x="1184207" y="1338330"/>
                  <a:pt x="1181604" y="1338330"/>
                  <a:pt x="1179117" y="1337925"/>
                </a:cubicBezTo>
                <a:cubicBezTo>
                  <a:pt x="1175588" y="1337393"/>
                  <a:pt x="1172002" y="1337393"/>
                  <a:pt x="1168473" y="1337925"/>
                </a:cubicBezTo>
                <a:cubicBezTo>
                  <a:pt x="1166102" y="1338614"/>
                  <a:pt x="1163672" y="1338926"/>
                  <a:pt x="1161243" y="1338851"/>
                </a:cubicBezTo>
                <a:cubicBezTo>
                  <a:pt x="1159103" y="1338851"/>
                  <a:pt x="1156962" y="1338851"/>
                  <a:pt x="1154880" y="1338561"/>
                </a:cubicBezTo>
                <a:cubicBezTo>
                  <a:pt x="1152798" y="1338272"/>
                  <a:pt x="1151294" y="1338561"/>
                  <a:pt x="1149790" y="1338561"/>
                </a:cubicBezTo>
                <a:cubicBezTo>
                  <a:pt x="1148402" y="1338429"/>
                  <a:pt x="1146956" y="1338671"/>
                  <a:pt x="1145682" y="1339256"/>
                </a:cubicBezTo>
                <a:cubicBezTo>
                  <a:pt x="1143022" y="1341049"/>
                  <a:pt x="1143600" y="1354642"/>
                  <a:pt x="1147244" y="1360774"/>
                </a:cubicBezTo>
                <a:cubicBezTo>
                  <a:pt x="1149038" y="1363724"/>
                  <a:pt x="1155805" y="1365980"/>
                  <a:pt x="1161301" y="1367773"/>
                </a:cubicBezTo>
                <a:cubicBezTo>
                  <a:pt x="1166796" y="1369566"/>
                  <a:pt x="1170902" y="1371012"/>
                  <a:pt x="1171597" y="1373094"/>
                </a:cubicBezTo>
                <a:cubicBezTo>
                  <a:pt x="1171886" y="1373656"/>
                  <a:pt x="1171886" y="1374327"/>
                  <a:pt x="1171597" y="1374888"/>
                </a:cubicBezTo>
                <a:cubicBezTo>
                  <a:pt x="1170093" y="1377144"/>
                  <a:pt x="1163094" y="1377780"/>
                  <a:pt x="1151698" y="1378590"/>
                </a:cubicBezTo>
                <a:cubicBezTo>
                  <a:pt x="1147996" y="1378590"/>
                  <a:pt x="1144526" y="1379110"/>
                  <a:pt x="1141865" y="1379399"/>
                </a:cubicBezTo>
                <a:cubicBezTo>
                  <a:pt x="1139898" y="1379527"/>
                  <a:pt x="1138047" y="1380603"/>
                  <a:pt x="1137006" y="1382292"/>
                </a:cubicBezTo>
                <a:cubicBezTo>
                  <a:pt x="1135329" y="1387214"/>
                  <a:pt x="1135675" y="1392594"/>
                  <a:pt x="1137931" y="1397273"/>
                </a:cubicBezTo>
                <a:cubicBezTo>
                  <a:pt x="1138568" y="1398748"/>
                  <a:pt x="1138568" y="1400426"/>
                  <a:pt x="1137931" y="1401901"/>
                </a:cubicBezTo>
                <a:cubicBezTo>
                  <a:pt x="1134981" y="1408322"/>
                  <a:pt x="1121966" y="1412833"/>
                  <a:pt x="1120578" y="1413470"/>
                </a:cubicBezTo>
                <a:cubicBezTo>
                  <a:pt x="1118900" y="1413915"/>
                  <a:pt x="1117918" y="1415627"/>
                  <a:pt x="1118380" y="1417293"/>
                </a:cubicBezTo>
                <a:cubicBezTo>
                  <a:pt x="1118380" y="1417311"/>
                  <a:pt x="1118380" y="1417328"/>
                  <a:pt x="1118380" y="1417345"/>
                </a:cubicBezTo>
                <a:cubicBezTo>
                  <a:pt x="1119364" y="1421788"/>
                  <a:pt x="1123008" y="1425154"/>
                  <a:pt x="1127519" y="1425791"/>
                </a:cubicBezTo>
                <a:cubicBezTo>
                  <a:pt x="1131395" y="1426074"/>
                  <a:pt x="1135155" y="1427219"/>
                  <a:pt x="1138568" y="1429146"/>
                </a:cubicBezTo>
                <a:cubicBezTo>
                  <a:pt x="1141113" y="1430638"/>
                  <a:pt x="1143947" y="1431564"/>
                  <a:pt x="1146898" y="1431864"/>
                </a:cubicBezTo>
                <a:cubicBezTo>
                  <a:pt x="1154417" y="1431864"/>
                  <a:pt x="1155227" y="1446210"/>
                  <a:pt x="1155227" y="1452399"/>
                </a:cubicBezTo>
                <a:cubicBezTo>
                  <a:pt x="1155227" y="1459572"/>
                  <a:pt x="1149154" y="1463216"/>
                  <a:pt x="1137179" y="1463216"/>
                </a:cubicBezTo>
                <a:cubicBezTo>
                  <a:pt x="1132031" y="1463002"/>
                  <a:pt x="1127057" y="1461180"/>
                  <a:pt x="1123008" y="1458010"/>
                </a:cubicBezTo>
                <a:cubicBezTo>
                  <a:pt x="1121041" y="1456489"/>
                  <a:pt x="1118785" y="1455372"/>
                  <a:pt x="1116356" y="1454713"/>
                </a:cubicBezTo>
                <a:cubicBezTo>
                  <a:pt x="1114100" y="1454250"/>
                  <a:pt x="1113232" y="1456448"/>
                  <a:pt x="1111959" y="1460497"/>
                </a:cubicBezTo>
                <a:cubicBezTo>
                  <a:pt x="1111497" y="1463505"/>
                  <a:pt x="1109819" y="1466212"/>
                  <a:pt x="1107390" y="1468017"/>
                </a:cubicBezTo>
                <a:cubicBezTo>
                  <a:pt x="1106811" y="1468341"/>
                  <a:pt x="1106175" y="1468520"/>
                  <a:pt x="1105539" y="1468538"/>
                </a:cubicBezTo>
                <a:cubicBezTo>
                  <a:pt x="1103341" y="1468538"/>
                  <a:pt x="1101895" y="1466571"/>
                  <a:pt x="1100333" y="1464546"/>
                </a:cubicBezTo>
                <a:cubicBezTo>
                  <a:pt x="1098771" y="1462522"/>
                  <a:pt x="1096688" y="1459687"/>
                  <a:pt x="1093565" y="1459687"/>
                </a:cubicBezTo>
                <a:cubicBezTo>
                  <a:pt x="1089574" y="1459687"/>
                  <a:pt x="1077369" y="1459687"/>
                  <a:pt x="1074303" y="1450432"/>
                </a:cubicBezTo>
                <a:cubicBezTo>
                  <a:pt x="1073262" y="1447309"/>
                  <a:pt x="1068518" y="1445111"/>
                  <a:pt x="1062734" y="1445111"/>
                </a:cubicBezTo>
                <a:cubicBezTo>
                  <a:pt x="1057991" y="1444891"/>
                  <a:pt x="1053305" y="1446528"/>
                  <a:pt x="1049719" y="1449680"/>
                </a:cubicBezTo>
                <a:cubicBezTo>
                  <a:pt x="1047810" y="1452174"/>
                  <a:pt x="1044976" y="1453776"/>
                  <a:pt x="1041852" y="1454134"/>
                </a:cubicBezTo>
                <a:cubicBezTo>
                  <a:pt x="1038902" y="1453677"/>
                  <a:pt x="1036241" y="1452231"/>
                  <a:pt x="1034217" y="1450028"/>
                </a:cubicBezTo>
                <a:lnTo>
                  <a:pt x="1032424" y="1448523"/>
                </a:lnTo>
                <a:cubicBezTo>
                  <a:pt x="1030920" y="1447540"/>
                  <a:pt x="1029184" y="1447077"/>
                  <a:pt x="1027391" y="1447193"/>
                </a:cubicBezTo>
                <a:cubicBezTo>
                  <a:pt x="1019582" y="1447193"/>
                  <a:pt x="1009112" y="1452688"/>
                  <a:pt x="1007550" y="1456564"/>
                </a:cubicBezTo>
                <a:cubicBezTo>
                  <a:pt x="1004543" y="1461249"/>
                  <a:pt x="999163" y="1463812"/>
                  <a:pt x="993610" y="1463158"/>
                </a:cubicBezTo>
                <a:cubicBezTo>
                  <a:pt x="988982" y="1463187"/>
                  <a:pt x="984412" y="1461926"/>
                  <a:pt x="980479" y="1459514"/>
                </a:cubicBezTo>
                <a:cubicBezTo>
                  <a:pt x="977009" y="1456963"/>
                  <a:pt x="973075" y="1455152"/>
                  <a:pt x="968911" y="1454192"/>
                </a:cubicBezTo>
                <a:cubicBezTo>
                  <a:pt x="968101" y="1454192"/>
                  <a:pt x="966423" y="1454192"/>
                  <a:pt x="966423" y="1458588"/>
                </a:cubicBezTo>
                <a:cubicBezTo>
                  <a:pt x="966423" y="1462985"/>
                  <a:pt x="964572" y="1463563"/>
                  <a:pt x="963415" y="1463563"/>
                </a:cubicBezTo>
                <a:cubicBezTo>
                  <a:pt x="960581" y="1463563"/>
                  <a:pt x="956879" y="1458704"/>
                  <a:pt x="956879" y="1454886"/>
                </a:cubicBezTo>
                <a:cubicBezTo>
                  <a:pt x="956879" y="1451069"/>
                  <a:pt x="943748" y="1442623"/>
                  <a:pt x="937443" y="1438459"/>
                </a:cubicBezTo>
                <a:lnTo>
                  <a:pt x="934436" y="1436492"/>
                </a:lnTo>
                <a:cubicBezTo>
                  <a:pt x="929287" y="1434155"/>
                  <a:pt x="923734" y="1432651"/>
                  <a:pt x="918123" y="1432038"/>
                </a:cubicBezTo>
                <a:cubicBezTo>
                  <a:pt x="908868" y="1430418"/>
                  <a:pt x="903200" y="1429261"/>
                  <a:pt x="902390" y="1426253"/>
                </a:cubicBezTo>
                <a:cubicBezTo>
                  <a:pt x="901926" y="1424287"/>
                  <a:pt x="897762" y="1421973"/>
                  <a:pt x="893077" y="1421973"/>
                </a:cubicBezTo>
                <a:cubicBezTo>
                  <a:pt x="889779" y="1421695"/>
                  <a:pt x="886656" y="1423460"/>
                  <a:pt x="885152" y="1426427"/>
                </a:cubicBezTo>
                <a:cubicBezTo>
                  <a:pt x="883764" y="1429782"/>
                  <a:pt x="881681" y="1431459"/>
                  <a:pt x="879078" y="1431459"/>
                </a:cubicBezTo>
                <a:cubicBezTo>
                  <a:pt x="876418" y="1431124"/>
                  <a:pt x="873872" y="1430112"/>
                  <a:pt x="871732" y="1428509"/>
                </a:cubicBezTo>
                <a:lnTo>
                  <a:pt x="869071" y="1426948"/>
                </a:lnTo>
                <a:cubicBezTo>
                  <a:pt x="868377" y="1426641"/>
                  <a:pt x="867567" y="1426502"/>
                  <a:pt x="866815" y="1426543"/>
                </a:cubicBezTo>
                <a:cubicBezTo>
                  <a:pt x="861205" y="1427451"/>
                  <a:pt x="855825" y="1429412"/>
                  <a:pt x="850966" y="1432327"/>
                </a:cubicBezTo>
                <a:lnTo>
                  <a:pt x="849520" y="1433079"/>
                </a:lnTo>
                <a:cubicBezTo>
                  <a:pt x="848421" y="1433600"/>
                  <a:pt x="846744" y="1434641"/>
                  <a:pt x="844719" y="1435798"/>
                </a:cubicBezTo>
                <a:cubicBezTo>
                  <a:pt x="837604" y="1440078"/>
                  <a:pt x="826787" y="1446557"/>
                  <a:pt x="819904" y="1446557"/>
                </a:cubicBezTo>
                <a:cubicBezTo>
                  <a:pt x="816606" y="1446557"/>
                  <a:pt x="815855" y="1448408"/>
                  <a:pt x="814755" y="1451242"/>
                </a:cubicBezTo>
                <a:cubicBezTo>
                  <a:pt x="813599" y="1455604"/>
                  <a:pt x="810070" y="1458935"/>
                  <a:pt x="805674" y="1459861"/>
                </a:cubicBezTo>
                <a:cubicBezTo>
                  <a:pt x="803013" y="1460127"/>
                  <a:pt x="800642" y="1461492"/>
                  <a:pt x="799022" y="1463621"/>
                </a:cubicBezTo>
                <a:cubicBezTo>
                  <a:pt x="797923" y="1466403"/>
                  <a:pt x="797923" y="1469515"/>
                  <a:pt x="799022" y="1472297"/>
                </a:cubicBezTo>
                <a:lnTo>
                  <a:pt x="799022" y="1472992"/>
                </a:lnTo>
                <a:cubicBezTo>
                  <a:pt x="799311" y="1474056"/>
                  <a:pt x="799716" y="1475097"/>
                  <a:pt x="800121" y="1476115"/>
                </a:cubicBezTo>
                <a:cubicBezTo>
                  <a:pt x="801914" y="1479337"/>
                  <a:pt x="802377" y="1483132"/>
                  <a:pt x="801451" y="1486701"/>
                </a:cubicBezTo>
                <a:cubicBezTo>
                  <a:pt x="799600" y="1489790"/>
                  <a:pt x="796303" y="1491745"/>
                  <a:pt x="792717" y="1491907"/>
                </a:cubicBezTo>
                <a:cubicBezTo>
                  <a:pt x="787627" y="1491907"/>
                  <a:pt x="784271" y="1487106"/>
                  <a:pt x="780801" y="1481957"/>
                </a:cubicBezTo>
                <a:cubicBezTo>
                  <a:pt x="778719" y="1478551"/>
                  <a:pt x="776115" y="1475508"/>
                  <a:pt x="773050" y="1472934"/>
                </a:cubicBezTo>
                <a:cubicBezTo>
                  <a:pt x="771372" y="1471661"/>
                  <a:pt x="769348" y="1470973"/>
                  <a:pt x="767266" y="1470967"/>
                </a:cubicBezTo>
                <a:cubicBezTo>
                  <a:pt x="762001" y="1471713"/>
                  <a:pt x="758299" y="1476503"/>
                  <a:pt x="758878" y="1481784"/>
                </a:cubicBezTo>
                <a:cubicBezTo>
                  <a:pt x="758878" y="1487106"/>
                  <a:pt x="755407" y="1489477"/>
                  <a:pt x="751763" y="1491965"/>
                </a:cubicBezTo>
                <a:cubicBezTo>
                  <a:pt x="748697" y="1493735"/>
                  <a:pt x="746094" y="1496239"/>
                  <a:pt x="744186" y="1499253"/>
                </a:cubicBezTo>
                <a:cubicBezTo>
                  <a:pt x="741814" y="1503360"/>
                  <a:pt x="744186" y="1505037"/>
                  <a:pt x="748466" y="1507582"/>
                </a:cubicBezTo>
                <a:cubicBezTo>
                  <a:pt x="750722" y="1508855"/>
                  <a:pt x="752804" y="1510070"/>
                  <a:pt x="752804" y="1512037"/>
                </a:cubicBezTo>
                <a:cubicBezTo>
                  <a:pt x="752804" y="1515854"/>
                  <a:pt x="747309" y="1519094"/>
                  <a:pt x="742566" y="1521465"/>
                </a:cubicBezTo>
                <a:cubicBezTo>
                  <a:pt x="739789" y="1524438"/>
                  <a:pt x="737822" y="1528054"/>
                  <a:pt x="736781" y="1531993"/>
                </a:cubicBezTo>
                <a:cubicBezTo>
                  <a:pt x="736203" y="1533555"/>
                  <a:pt x="736203" y="1535290"/>
                  <a:pt x="736781" y="1536852"/>
                </a:cubicBezTo>
                <a:cubicBezTo>
                  <a:pt x="737418" y="1537835"/>
                  <a:pt x="739905" y="1538529"/>
                  <a:pt x="742566" y="1539165"/>
                </a:cubicBezTo>
                <a:cubicBezTo>
                  <a:pt x="747309" y="1540438"/>
                  <a:pt x="753787" y="1542173"/>
                  <a:pt x="752920" y="1548536"/>
                </a:cubicBezTo>
                <a:cubicBezTo>
                  <a:pt x="752168" y="1553858"/>
                  <a:pt x="751300" y="1559758"/>
                  <a:pt x="752920" y="1561609"/>
                </a:cubicBezTo>
                <a:cubicBezTo>
                  <a:pt x="753267" y="1562014"/>
                  <a:pt x="754366" y="1562477"/>
                  <a:pt x="756217" y="1561609"/>
                </a:cubicBezTo>
                <a:cubicBezTo>
                  <a:pt x="759803" y="1560510"/>
                  <a:pt x="763506" y="1559984"/>
                  <a:pt x="767208" y="1560047"/>
                </a:cubicBezTo>
                <a:cubicBezTo>
                  <a:pt x="769058" y="1560047"/>
                  <a:pt x="770794" y="1560047"/>
                  <a:pt x="772356" y="1560047"/>
                </a:cubicBezTo>
                <a:lnTo>
                  <a:pt x="776000" y="1560047"/>
                </a:lnTo>
                <a:cubicBezTo>
                  <a:pt x="779644" y="1560047"/>
                  <a:pt x="782305" y="1563981"/>
                  <a:pt x="786007" y="1569418"/>
                </a:cubicBezTo>
                <a:cubicBezTo>
                  <a:pt x="788379" y="1573051"/>
                  <a:pt x="790982" y="1576533"/>
                  <a:pt x="793816" y="1579830"/>
                </a:cubicBezTo>
                <a:cubicBezTo>
                  <a:pt x="799600" y="1586713"/>
                  <a:pt x="803418" y="1591110"/>
                  <a:pt x="802435" y="1594580"/>
                </a:cubicBezTo>
                <a:cubicBezTo>
                  <a:pt x="801856" y="1596431"/>
                  <a:pt x="800121" y="1597704"/>
                  <a:pt x="796650" y="1598630"/>
                </a:cubicBezTo>
                <a:cubicBezTo>
                  <a:pt x="793180" y="1599555"/>
                  <a:pt x="792832" y="1600191"/>
                  <a:pt x="792774" y="1601117"/>
                </a:cubicBezTo>
                <a:cubicBezTo>
                  <a:pt x="792717" y="1602042"/>
                  <a:pt x="795262" y="1605282"/>
                  <a:pt x="802840" y="1608636"/>
                </a:cubicBezTo>
                <a:cubicBezTo>
                  <a:pt x="806021" y="1610123"/>
                  <a:pt x="809087" y="1611905"/>
                  <a:pt x="811921" y="1613958"/>
                </a:cubicBezTo>
                <a:cubicBezTo>
                  <a:pt x="812442" y="1614340"/>
                  <a:pt x="812557" y="1615069"/>
                  <a:pt x="812153" y="1615578"/>
                </a:cubicBezTo>
                <a:cubicBezTo>
                  <a:pt x="812095" y="1615665"/>
                  <a:pt x="812037" y="1615746"/>
                  <a:pt x="811921" y="1615809"/>
                </a:cubicBezTo>
                <a:cubicBezTo>
                  <a:pt x="806021" y="1619517"/>
                  <a:pt x="799832" y="1622803"/>
                  <a:pt x="793468" y="1625643"/>
                </a:cubicBezTo>
                <a:cubicBezTo>
                  <a:pt x="781900" y="1631022"/>
                  <a:pt x="770331" y="1636575"/>
                  <a:pt x="763679" y="1645078"/>
                </a:cubicBezTo>
                <a:cubicBezTo>
                  <a:pt x="760903" y="1648532"/>
                  <a:pt x="757895" y="1651835"/>
                  <a:pt x="754771" y="1654970"/>
                </a:cubicBezTo>
                <a:cubicBezTo>
                  <a:pt x="748524" y="1661448"/>
                  <a:pt x="743202" y="1667001"/>
                  <a:pt x="743202" y="1672786"/>
                </a:cubicBezTo>
                <a:cubicBezTo>
                  <a:pt x="743838" y="1676979"/>
                  <a:pt x="746152" y="1680716"/>
                  <a:pt x="749681" y="1683082"/>
                </a:cubicBezTo>
                <a:cubicBezTo>
                  <a:pt x="763852" y="1695287"/>
                  <a:pt x="762696" y="1703906"/>
                  <a:pt x="761249" y="1713913"/>
                </a:cubicBezTo>
                <a:cubicBezTo>
                  <a:pt x="760960" y="1716227"/>
                  <a:pt x="760613" y="1718599"/>
                  <a:pt x="760497" y="1721144"/>
                </a:cubicBezTo>
                <a:cubicBezTo>
                  <a:pt x="759977" y="1729415"/>
                  <a:pt x="780511" y="1754578"/>
                  <a:pt x="791560" y="1768055"/>
                </a:cubicBezTo>
                <a:cubicBezTo>
                  <a:pt x="791734" y="1768379"/>
                  <a:pt x="791734" y="1768773"/>
                  <a:pt x="791560" y="1769096"/>
                </a:cubicBezTo>
                <a:cubicBezTo>
                  <a:pt x="789593" y="1774008"/>
                  <a:pt x="785197" y="1777536"/>
                  <a:pt x="779991" y="1778409"/>
                </a:cubicBezTo>
                <a:cubicBezTo>
                  <a:pt x="777099" y="1779335"/>
                  <a:pt x="774612" y="1780145"/>
                  <a:pt x="773802" y="1782111"/>
                </a:cubicBezTo>
                <a:cubicBezTo>
                  <a:pt x="773570" y="1784431"/>
                  <a:pt x="771488" y="1786132"/>
                  <a:pt x="769174" y="1785900"/>
                </a:cubicBezTo>
                <a:cubicBezTo>
                  <a:pt x="769000" y="1785883"/>
                  <a:pt x="768827" y="1785854"/>
                  <a:pt x="768654" y="1785814"/>
                </a:cubicBezTo>
                <a:close/>
                <a:moveTo>
                  <a:pt x="760497" y="1781013"/>
                </a:moveTo>
                <a:cubicBezTo>
                  <a:pt x="762059" y="1781163"/>
                  <a:pt x="763621" y="1781631"/>
                  <a:pt x="765010" y="1782401"/>
                </a:cubicBezTo>
                <a:cubicBezTo>
                  <a:pt x="766166" y="1783008"/>
                  <a:pt x="767381" y="1783396"/>
                  <a:pt x="768654" y="1783558"/>
                </a:cubicBezTo>
                <a:cubicBezTo>
                  <a:pt x="769290" y="1783558"/>
                  <a:pt x="770042" y="1783558"/>
                  <a:pt x="770620" y="1781880"/>
                </a:cubicBezTo>
                <a:cubicBezTo>
                  <a:pt x="771835" y="1778930"/>
                  <a:pt x="774901" y="1777889"/>
                  <a:pt x="778198" y="1776848"/>
                </a:cubicBezTo>
                <a:cubicBezTo>
                  <a:pt x="782479" y="1776159"/>
                  <a:pt x="786123" y="1773441"/>
                  <a:pt x="788031" y="1769559"/>
                </a:cubicBezTo>
                <a:cubicBezTo>
                  <a:pt x="771893" y="1749834"/>
                  <a:pt x="756333" y="1729994"/>
                  <a:pt x="756853" y="1721606"/>
                </a:cubicBezTo>
                <a:cubicBezTo>
                  <a:pt x="756969" y="1719107"/>
                  <a:pt x="757259" y="1716614"/>
                  <a:pt x="757663" y="1714144"/>
                </a:cubicBezTo>
                <a:cubicBezTo>
                  <a:pt x="758936" y="1704427"/>
                  <a:pt x="759977" y="1696791"/>
                  <a:pt x="746731" y="1685222"/>
                </a:cubicBezTo>
                <a:cubicBezTo>
                  <a:pt x="742740" y="1682434"/>
                  <a:pt x="740136" y="1678113"/>
                  <a:pt x="739500" y="1673306"/>
                </a:cubicBezTo>
                <a:cubicBezTo>
                  <a:pt x="739500" y="1666539"/>
                  <a:pt x="744938" y="1660638"/>
                  <a:pt x="751531" y="1653813"/>
                </a:cubicBezTo>
                <a:cubicBezTo>
                  <a:pt x="754655" y="1650741"/>
                  <a:pt x="757547" y="1647496"/>
                  <a:pt x="760324" y="1644095"/>
                </a:cubicBezTo>
                <a:cubicBezTo>
                  <a:pt x="767381" y="1635129"/>
                  <a:pt x="779355" y="1629460"/>
                  <a:pt x="790866" y="1624023"/>
                </a:cubicBezTo>
                <a:cubicBezTo>
                  <a:pt x="796592" y="1621432"/>
                  <a:pt x="802203" y="1618516"/>
                  <a:pt x="807641" y="1615289"/>
                </a:cubicBezTo>
                <a:cubicBezTo>
                  <a:pt x="805327" y="1613681"/>
                  <a:pt x="802840" y="1612286"/>
                  <a:pt x="800294" y="1611124"/>
                </a:cubicBezTo>
                <a:cubicBezTo>
                  <a:pt x="792543" y="1607653"/>
                  <a:pt x="788726" y="1604356"/>
                  <a:pt x="788726" y="1601348"/>
                </a:cubicBezTo>
                <a:cubicBezTo>
                  <a:pt x="788726" y="1599381"/>
                  <a:pt x="790692" y="1597877"/>
                  <a:pt x="794220" y="1596836"/>
                </a:cubicBezTo>
                <a:cubicBezTo>
                  <a:pt x="796534" y="1596200"/>
                  <a:pt x="797865" y="1595332"/>
                  <a:pt x="798154" y="1594349"/>
                </a:cubicBezTo>
                <a:cubicBezTo>
                  <a:pt x="798848" y="1591977"/>
                  <a:pt x="795030" y="1587465"/>
                  <a:pt x="790056" y="1581739"/>
                </a:cubicBezTo>
                <a:cubicBezTo>
                  <a:pt x="787164" y="1578367"/>
                  <a:pt x="784503" y="1574809"/>
                  <a:pt x="782073" y="1571096"/>
                </a:cubicBezTo>
                <a:cubicBezTo>
                  <a:pt x="778834" y="1566410"/>
                  <a:pt x="776289" y="1562708"/>
                  <a:pt x="773918" y="1562708"/>
                </a:cubicBezTo>
                <a:lnTo>
                  <a:pt x="770158" y="1562708"/>
                </a:lnTo>
                <a:cubicBezTo>
                  <a:pt x="768596" y="1562708"/>
                  <a:pt x="766918" y="1562708"/>
                  <a:pt x="765125" y="1562708"/>
                </a:cubicBezTo>
                <a:cubicBezTo>
                  <a:pt x="761654" y="1562633"/>
                  <a:pt x="758184" y="1563125"/>
                  <a:pt x="754887" y="1564154"/>
                </a:cubicBezTo>
                <a:cubicBezTo>
                  <a:pt x="752977" y="1565167"/>
                  <a:pt x="750606" y="1564814"/>
                  <a:pt x="749102" y="1563287"/>
                </a:cubicBezTo>
                <a:cubicBezTo>
                  <a:pt x="746788" y="1560626"/>
                  <a:pt x="747656" y="1554726"/>
                  <a:pt x="748524" y="1548478"/>
                </a:cubicBezTo>
                <a:cubicBezTo>
                  <a:pt x="749102" y="1544372"/>
                  <a:pt x="745284" y="1542983"/>
                  <a:pt x="739789" y="1541479"/>
                </a:cubicBezTo>
                <a:cubicBezTo>
                  <a:pt x="737244" y="1541196"/>
                  <a:pt x="734815" y="1540051"/>
                  <a:pt x="732964" y="1538240"/>
                </a:cubicBezTo>
                <a:cubicBezTo>
                  <a:pt x="732038" y="1536117"/>
                  <a:pt x="732038" y="1533711"/>
                  <a:pt x="732964" y="1531588"/>
                </a:cubicBezTo>
                <a:cubicBezTo>
                  <a:pt x="734005" y="1527064"/>
                  <a:pt x="736319" y="1522934"/>
                  <a:pt x="739616" y="1519672"/>
                </a:cubicBezTo>
                <a:cubicBezTo>
                  <a:pt x="747136" y="1515912"/>
                  <a:pt x="748697" y="1513540"/>
                  <a:pt x="748697" y="1512210"/>
                </a:cubicBezTo>
                <a:cubicBezTo>
                  <a:pt x="748697" y="1510880"/>
                  <a:pt x="746904" y="1510533"/>
                  <a:pt x="745516" y="1509723"/>
                </a:cubicBezTo>
                <a:cubicBezTo>
                  <a:pt x="741988" y="1507698"/>
                  <a:pt x="736724" y="1504690"/>
                  <a:pt x="740368" y="1498154"/>
                </a:cubicBezTo>
                <a:cubicBezTo>
                  <a:pt x="742450" y="1494845"/>
                  <a:pt x="745284" y="1492069"/>
                  <a:pt x="748639" y="1490056"/>
                </a:cubicBezTo>
                <a:cubicBezTo>
                  <a:pt x="752052" y="1487742"/>
                  <a:pt x="754771" y="1485891"/>
                  <a:pt x="754771" y="1481784"/>
                </a:cubicBezTo>
                <a:cubicBezTo>
                  <a:pt x="754193" y="1475265"/>
                  <a:pt x="758936" y="1469469"/>
                  <a:pt x="765414" y="1468711"/>
                </a:cubicBezTo>
                <a:cubicBezTo>
                  <a:pt x="767902" y="1468775"/>
                  <a:pt x="770331" y="1469625"/>
                  <a:pt x="772298" y="1471141"/>
                </a:cubicBezTo>
                <a:cubicBezTo>
                  <a:pt x="775595" y="1473836"/>
                  <a:pt x="778371" y="1477064"/>
                  <a:pt x="780569" y="1480685"/>
                </a:cubicBezTo>
                <a:cubicBezTo>
                  <a:pt x="784329" y="1486469"/>
                  <a:pt x="787916" y="1491155"/>
                  <a:pt x="793006" y="1489188"/>
                </a:cubicBezTo>
                <a:cubicBezTo>
                  <a:pt x="794857" y="1488679"/>
                  <a:pt x="796361" y="1487447"/>
                  <a:pt x="797286" y="1485775"/>
                </a:cubicBezTo>
                <a:cubicBezTo>
                  <a:pt x="797980" y="1482762"/>
                  <a:pt x="797460" y="1479603"/>
                  <a:pt x="795956" y="1476925"/>
                </a:cubicBezTo>
                <a:cubicBezTo>
                  <a:pt x="795494" y="1475710"/>
                  <a:pt x="795030" y="1474611"/>
                  <a:pt x="794742" y="1473570"/>
                </a:cubicBezTo>
                <a:lnTo>
                  <a:pt x="794742" y="1472876"/>
                </a:lnTo>
                <a:cubicBezTo>
                  <a:pt x="793295" y="1469532"/>
                  <a:pt x="793295" y="1465750"/>
                  <a:pt x="794742" y="1462406"/>
                </a:cubicBezTo>
                <a:cubicBezTo>
                  <a:pt x="796650" y="1459786"/>
                  <a:pt x="799600" y="1458068"/>
                  <a:pt x="802840" y="1457663"/>
                </a:cubicBezTo>
                <a:cubicBezTo>
                  <a:pt x="806541" y="1456905"/>
                  <a:pt x="809491" y="1454065"/>
                  <a:pt x="810359" y="1450375"/>
                </a:cubicBezTo>
                <a:cubicBezTo>
                  <a:pt x="811459" y="1447540"/>
                  <a:pt x="812789" y="1444301"/>
                  <a:pt x="817590" y="1444301"/>
                </a:cubicBezTo>
                <a:cubicBezTo>
                  <a:pt x="823837" y="1444301"/>
                  <a:pt x="834943" y="1437764"/>
                  <a:pt x="841248" y="1433889"/>
                </a:cubicBezTo>
                <a:cubicBezTo>
                  <a:pt x="843388" y="1432616"/>
                  <a:pt x="845008" y="1431633"/>
                  <a:pt x="846165" y="1431055"/>
                </a:cubicBezTo>
                <a:lnTo>
                  <a:pt x="847611" y="1430303"/>
                </a:lnTo>
                <a:cubicBezTo>
                  <a:pt x="852817" y="1427295"/>
                  <a:pt x="858543" y="1425334"/>
                  <a:pt x="864501" y="1424518"/>
                </a:cubicBezTo>
                <a:cubicBezTo>
                  <a:pt x="865659" y="1424489"/>
                  <a:pt x="866757" y="1424726"/>
                  <a:pt x="867799" y="1425212"/>
                </a:cubicBezTo>
                <a:cubicBezTo>
                  <a:pt x="868782" y="1425681"/>
                  <a:pt x="869708" y="1426201"/>
                  <a:pt x="870575" y="1426774"/>
                </a:cubicBezTo>
                <a:cubicBezTo>
                  <a:pt x="872368" y="1428162"/>
                  <a:pt x="874508" y="1429076"/>
                  <a:pt x="876764" y="1429435"/>
                </a:cubicBezTo>
                <a:cubicBezTo>
                  <a:pt x="877806" y="1429435"/>
                  <a:pt x="879368" y="1429030"/>
                  <a:pt x="880756" y="1425733"/>
                </a:cubicBezTo>
                <a:cubicBezTo>
                  <a:pt x="882607" y="1421938"/>
                  <a:pt x="886540" y="1419648"/>
                  <a:pt x="890763" y="1419948"/>
                </a:cubicBezTo>
                <a:cubicBezTo>
                  <a:pt x="895622" y="1419948"/>
                  <a:pt x="901406" y="1422378"/>
                  <a:pt x="902332" y="1425733"/>
                </a:cubicBezTo>
                <a:cubicBezTo>
                  <a:pt x="902794" y="1427584"/>
                  <a:pt x="910603" y="1428972"/>
                  <a:pt x="916272" y="1429956"/>
                </a:cubicBezTo>
                <a:cubicBezTo>
                  <a:pt x="922288" y="1430574"/>
                  <a:pt x="928130" y="1432194"/>
                  <a:pt x="933626" y="1434757"/>
                </a:cubicBezTo>
                <a:lnTo>
                  <a:pt x="936633" y="1436781"/>
                </a:lnTo>
                <a:cubicBezTo>
                  <a:pt x="947855" y="1444127"/>
                  <a:pt x="957110" y="1450606"/>
                  <a:pt x="957110" y="1455060"/>
                </a:cubicBezTo>
                <a:cubicBezTo>
                  <a:pt x="957110" y="1457836"/>
                  <a:pt x="960060" y="1461481"/>
                  <a:pt x="961391" y="1461481"/>
                </a:cubicBezTo>
                <a:cubicBezTo>
                  <a:pt x="961796" y="1461481"/>
                  <a:pt x="962200" y="1460555"/>
                  <a:pt x="962200" y="1458762"/>
                </a:cubicBezTo>
                <a:cubicBezTo>
                  <a:pt x="962200" y="1453267"/>
                  <a:pt x="964746" y="1452110"/>
                  <a:pt x="966886" y="1452110"/>
                </a:cubicBezTo>
                <a:cubicBezTo>
                  <a:pt x="971513" y="1452989"/>
                  <a:pt x="975910" y="1454973"/>
                  <a:pt x="979612" y="1457894"/>
                </a:cubicBezTo>
                <a:cubicBezTo>
                  <a:pt x="983256" y="1460063"/>
                  <a:pt x="987363" y="1461203"/>
                  <a:pt x="991585" y="1461191"/>
                </a:cubicBezTo>
                <a:cubicBezTo>
                  <a:pt x="996097" y="1461648"/>
                  <a:pt x="1000493" y="1459664"/>
                  <a:pt x="1003154" y="1455985"/>
                </a:cubicBezTo>
                <a:cubicBezTo>
                  <a:pt x="1005179" y="1450895"/>
                  <a:pt x="1016632" y="1445226"/>
                  <a:pt x="1025077" y="1445226"/>
                </a:cubicBezTo>
                <a:cubicBezTo>
                  <a:pt x="1027391" y="1445099"/>
                  <a:pt x="1029647" y="1445753"/>
                  <a:pt x="1031556" y="1447077"/>
                </a:cubicBezTo>
                <a:lnTo>
                  <a:pt x="1033349" y="1448581"/>
                </a:lnTo>
                <a:cubicBezTo>
                  <a:pt x="1035836" y="1450664"/>
                  <a:pt x="1037630" y="1452168"/>
                  <a:pt x="1039538" y="1452168"/>
                </a:cubicBezTo>
                <a:cubicBezTo>
                  <a:pt x="1042026" y="1451728"/>
                  <a:pt x="1044282" y="1450369"/>
                  <a:pt x="1045786" y="1448350"/>
                </a:cubicBezTo>
                <a:cubicBezTo>
                  <a:pt x="1049835" y="1444821"/>
                  <a:pt x="1055041" y="1442965"/>
                  <a:pt x="1060420" y="1443144"/>
                </a:cubicBezTo>
                <a:cubicBezTo>
                  <a:pt x="1067478" y="1443144"/>
                  <a:pt x="1072915" y="1445805"/>
                  <a:pt x="1074303" y="1449970"/>
                </a:cubicBezTo>
                <a:cubicBezTo>
                  <a:pt x="1076038" y="1455233"/>
                  <a:pt x="1081533" y="1457721"/>
                  <a:pt x="1091656" y="1457721"/>
                </a:cubicBezTo>
                <a:cubicBezTo>
                  <a:pt x="1095300" y="1458097"/>
                  <a:pt x="1098540" y="1460266"/>
                  <a:pt x="1100275" y="1463505"/>
                </a:cubicBezTo>
                <a:cubicBezTo>
                  <a:pt x="1101432" y="1465067"/>
                  <a:pt x="1102531" y="1466571"/>
                  <a:pt x="1103630" y="1466571"/>
                </a:cubicBezTo>
                <a:cubicBezTo>
                  <a:pt x="1103919" y="1466617"/>
                  <a:pt x="1104151" y="1466617"/>
                  <a:pt x="1104439" y="1466571"/>
                </a:cubicBezTo>
                <a:cubicBezTo>
                  <a:pt x="1106175" y="1465703"/>
                  <a:pt x="1107101" y="1462927"/>
                  <a:pt x="1107911" y="1460324"/>
                </a:cubicBezTo>
                <a:cubicBezTo>
                  <a:pt x="1109009" y="1456853"/>
                  <a:pt x="1110282" y="1453035"/>
                  <a:pt x="1113695" y="1453035"/>
                </a:cubicBezTo>
                <a:lnTo>
                  <a:pt x="1114736" y="1453035"/>
                </a:lnTo>
                <a:cubicBezTo>
                  <a:pt x="1117396" y="1453799"/>
                  <a:pt x="1119884" y="1455031"/>
                  <a:pt x="1122140" y="1456680"/>
                </a:cubicBezTo>
                <a:cubicBezTo>
                  <a:pt x="1125842" y="1459589"/>
                  <a:pt x="1130411" y="1461267"/>
                  <a:pt x="1135097" y="1461481"/>
                </a:cubicBezTo>
                <a:cubicBezTo>
                  <a:pt x="1145567" y="1461481"/>
                  <a:pt x="1150946" y="1458646"/>
                  <a:pt x="1150946" y="1452977"/>
                </a:cubicBezTo>
                <a:cubicBezTo>
                  <a:pt x="1150946" y="1444532"/>
                  <a:pt x="1149327" y="1434699"/>
                  <a:pt x="1144815" y="1434699"/>
                </a:cubicBezTo>
                <a:cubicBezTo>
                  <a:pt x="1141518" y="1434444"/>
                  <a:pt x="1138337" y="1433438"/>
                  <a:pt x="1135502" y="1431749"/>
                </a:cubicBezTo>
                <a:cubicBezTo>
                  <a:pt x="1132437" y="1429990"/>
                  <a:pt x="1128965" y="1428926"/>
                  <a:pt x="1125437" y="1428625"/>
                </a:cubicBezTo>
                <a:cubicBezTo>
                  <a:pt x="1119768" y="1428047"/>
                  <a:pt x="1115083" y="1423864"/>
                  <a:pt x="1113868" y="1418271"/>
                </a:cubicBezTo>
                <a:cubicBezTo>
                  <a:pt x="1113174" y="1415518"/>
                  <a:pt x="1114794" y="1412718"/>
                  <a:pt x="1117512" y="1411908"/>
                </a:cubicBezTo>
                <a:cubicBezTo>
                  <a:pt x="1123991" y="1409768"/>
                  <a:pt x="1131800" y="1405661"/>
                  <a:pt x="1133651" y="1401670"/>
                </a:cubicBezTo>
                <a:cubicBezTo>
                  <a:pt x="1134114" y="1400773"/>
                  <a:pt x="1134114" y="1399732"/>
                  <a:pt x="1133651" y="1398835"/>
                </a:cubicBezTo>
                <a:cubicBezTo>
                  <a:pt x="1132957" y="1397042"/>
                  <a:pt x="1129544" y="1387613"/>
                  <a:pt x="1132899" y="1381945"/>
                </a:cubicBezTo>
                <a:cubicBezTo>
                  <a:pt x="1134287" y="1379619"/>
                  <a:pt x="1136717" y="1378127"/>
                  <a:pt x="1139435" y="1377953"/>
                </a:cubicBezTo>
                <a:cubicBezTo>
                  <a:pt x="1142154" y="1377606"/>
                  <a:pt x="1145682" y="1377317"/>
                  <a:pt x="1149385" y="1377086"/>
                </a:cubicBezTo>
                <a:cubicBezTo>
                  <a:pt x="1155863" y="1376623"/>
                  <a:pt x="1166738" y="1375871"/>
                  <a:pt x="1167606" y="1374367"/>
                </a:cubicBezTo>
                <a:cubicBezTo>
                  <a:pt x="1164829" y="1372701"/>
                  <a:pt x="1161821" y="1371452"/>
                  <a:pt x="1158697" y="1370665"/>
                </a:cubicBezTo>
                <a:cubicBezTo>
                  <a:pt x="1152624" y="1368641"/>
                  <a:pt x="1145682" y="1366385"/>
                  <a:pt x="1143484" y="1362683"/>
                </a:cubicBezTo>
                <a:cubicBezTo>
                  <a:pt x="1139840" y="1356609"/>
                  <a:pt x="1138047" y="1341165"/>
                  <a:pt x="1142559" y="1338156"/>
                </a:cubicBezTo>
                <a:cubicBezTo>
                  <a:pt x="1144178" y="1337272"/>
                  <a:pt x="1146088" y="1336890"/>
                  <a:pt x="1147938" y="1337058"/>
                </a:cubicBezTo>
                <a:cubicBezTo>
                  <a:pt x="1149500" y="1337058"/>
                  <a:pt x="1151294" y="1337058"/>
                  <a:pt x="1153202" y="1337058"/>
                </a:cubicBezTo>
                <a:cubicBezTo>
                  <a:pt x="1155111" y="1337058"/>
                  <a:pt x="1157367" y="1337347"/>
                  <a:pt x="1159391" y="1337347"/>
                </a:cubicBezTo>
                <a:cubicBezTo>
                  <a:pt x="1161590" y="1337433"/>
                  <a:pt x="1163788" y="1337156"/>
                  <a:pt x="1165928" y="1336537"/>
                </a:cubicBezTo>
                <a:cubicBezTo>
                  <a:pt x="1167664" y="1336068"/>
                  <a:pt x="1169399" y="1335854"/>
                  <a:pt x="1171192" y="1335901"/>
                </a:cubicBezTo>
                <a:cubicBezTo>
                  <a:pt x="1173101" y="1335901"/>
                  <a:pt x="1175241" y="1335901"/>
                  <a:pt x="1177439" y="1336248"/>
                </a:cubicBezTo>
                <a:cubicBezTo>
                  <a:pt x="1179637" y="1336595"/>
                  <a:pt x="1182414" y="1336595"/>
                  <a:pt x="1184959" y="1336595"/>
                </a:cubicBezTo>
                <a:cubicBezTo>
                  <a:pt x="1189645" y="1336942"/>
                  <a:pt x="1194330" y="1335698"/>
                  <a:pt x="1198263" y="1333066"/>
                </a:cubicBezTo>
                <a:cubicBezTo>
                  <a:pt x="1208791" y="1325257"/>
                  <a:pt x="1231061" y="1324390"/>
                  <a:pt x="1240143" y="1324390"/>
                </a:cubicBezTo>
                <a:cubicBezTo>
                  <a:pt x="1245927" y="1324043"/>
                  <a:pt x="1251538" y="1322463"/>
                  <a:pt x="1256628" y="1319762"/>
                </a:cubicBezTo>
                <a:cubicBezTo>
                  <a:pt x="1260156" y="1317975"/>
                  <a:pt x="1263974" y="1316690"/>
                  <a:pt x="1267850" y="1315944"/>
                </a:cubicBezTo>
                <a:cubicBezTo>
                  <a:pt x="1280807" y="1314313"/>
                  <a:pt x="1293706" y="1311895"/>
                  <a:pt x="1306374" y="1308714"/>
                </a:cubicBezTo>
                <a:cubicBezTo>
                  <a:pt x="1310018" y="1307563"/>
                  <a:pt x="1313778" y="1306620"/>
                  <a:pt x="1317538" y="1305879"/>
                </a:cubicBezTo>
                <a:cubicBezTo>
                  <a:pt x="1327140" y="1303739"/>
                  <a:pt x="1344956" y="1299748"/>
                  <a:pt x="1345650" y="1296219"/>
                </a:cubicBezTo>
                <a:cubicBezTo>
                  <a:pt x="1346865" y="1290435"/>
                  <a:pt x="1364854" y="1286502"/>
                  <a:pt x="1374573" y="1286502"/>
                </a:cubicBezTo>
                <a:cubicBezTo>
                  <a:pt x="1376887" y="1286380"/>
                  <a:pt x="1379258" y="1286733"/>
                  <a:pt x="1381456" y="1287543"/>
                </a:cubicBezTo>
                <a:cubicBezTo>
                  <a:pt x="1386141" y="1289851"/>
                  <a:pt x="1391290" y="1291187"/>
                  <a:pt x="1396495" y="1291476"/>
                </a:cubicBezTo>
                <a:cubicBezTo>
                  <a:pt x="1398289" y="1291494"/>
                  <a:pt x="1400082" y="1291175"/>
                  <a:pt x="1401759" y="1290551"/>
                </a:cubicBezTo>
                <a:cubicBezTo>
                  <a:pt x="1408180" y="1289203"/>
                  <a:pt x="1414774" y="1291413"/>
                  <a:pt x="1419112" y="1296335"/>
                </a:cubicBezTo>
                <a:cubicBezTo>
                  <a:pt x="1420732" y="1298018"/>
                  <a:pt x="1421484" y="1300338"/>
                  <a:pt x="1421137" y="1302640"/>
                </a:cubicBezTo>
                <a:cubicBezTo>
                  <a:pt x="1420964" y="1306238"/>
                  <a:pt x="1421831" y="1309807"/>
                  <a:pt x="1423624" y="1312936"/>
                </a:cubicBezTo>
                <a:cubicBezTo>
                  <a:pt x="1425186" y="1315672"/>
                  <a:pt x="1425996" y="1318761"/>
                  <a:pt x="1425996" y="1321902"/>
                </a:cubicBezTo>
                <a:cubicBezTo>
                  <a:pt x="1425649" y="1324031"/>
                  <a:pt x="1424723" y="1326027"/>
                  <a:pt x="1423335" y="1327687"/>
                </a:cubicBezTo>
                <a:cubicBezTo>
                  <a:pt x="1421716" y="1329943"/>
                  <a:pt x="1421195" y="1330752"/>
                  <a:pt x="1422699" y="1332488"/>
                </a:cubicBezTo>
                <a:cubicBezTo>
                  <a:pt x="1424376" y="1333743"/>
                  <a:pt x="1426401" y="1334321"/>
                  <a:pt x="1428483" y="1334107"/>
                </a:cubicBezTo>
                <a:cubicBezTo>
                  <a:pt x="1434789" y="1334275"/>
                  <a:pt x="1440920" y="1332227"/>
                  <a:pt x="1445836" y="1328323"/>
                </a:cubicBezTo>
                <a:cubicBezTo>
                  <a:pt x="1446878" y="1326975"/>
                  <a:pt x="1448498" y="1326165"/>
                  <a:pt x="1450233" y="1326125"/>
                </a:cubicBezTo>
                <a:cubicBezTo>
                  <a:pt x="1454571" y="1326125"/>
                  <a:pt x="1458099" y="1331909"/>
                  <a:pt x="1458099" y="1335727"/>
                </a:cubicBezTo>
                <a:cubicBezTo>
                  <a:pt x="1458447" y="1337786"/>
                  <a:pt x="1460182" y="1339313"/>
                  <a:pt x="1462265" y="1339371"/>
                </a:cubicBezTo>
                <a:cubicBezTo>
                  <a:pt x="1462959" y="1339371"/>
                  <a:pt x="1463711" y="1339371"/>
                  <a:pt x="1463711" y="1337578"/>
                </a:cubicBezTo>
                <a:cubicBezTo>
                  <a:pt x="1463653" y="1335473"/>
                  <a:pt x="1465272" y="1333697"/>
                  <a:pt x="1467354" y="1333622"/>
                </a:cubicBezTo>
                <a:cubicBezTo>
                  <a:pt x="1467586" y="1333610"/>
                  <a:pt x="1467818" y="1333622"/>
                  <a:pt x="1467991" y="1333645"/>
                </a:cubicBezTo>
                <a:cubicBezTo>
                  <a:pt x="1471982" y="1333969"/>
                  <a:pt x="1475742" y="1335762"/>
                  <a:pt x="1478461" y="1338677"/>
                </a:cubicBezTo>
                <a:cubicBezTo>
                  <a:pt x="1479271" y="1339660"/>
                  <a:pt x="1482163" y="1339140"/>
                  <a:pt x="1484939" y="1338677"/>
                </a:cubicBezTo>
                <a:cubicBezTo>
                  <a:pt x="1486443" y="1338238"/>
                  <a:pt x="1488005" y="1337966"/>
                  <a:pt x="1489567" y="1337867"/>
                </a:cubicBezTo>
                <a:cubicBezTo>
                  <a:pt x="1491360" y="1337601"/>
                  <a:pt x="1492980" y="1338822"/>
                  <a:pt x="1493269" y="1340592"/>
                </a:cubicBezTo>
                <a:cubicBezTo>
                  <a:pt x="1493269" y="1340858"/>
                  <a:pt x="1493269" y="1341130"/>
                  <a:pt x="1493269" y="1341396"/>
                </a:cubicBezTo>
                <a:cubicBezTo>
                  <a:pt x="1493269" y="1344404"/>
                  <a:pt x="1490145" y="1346891"/>
                  <a:pt x="1487079" y="1349321"/>
                </a:cubicBezTo>
                <a:cubicBezTo>
                  <a:pt x="1484014" y="1351750"/>
                  <a:pt x="1481815" y="1353543"/>
                  <a:pt x="1481758" y="1355510"/>
                </a:cubicBezTo>
                <a:cubicBezTo>
                  <a:pt x="1481815" y="1356539"/>
                  <a:pt x="1482337" y="1357494"/>
                  <a:pt x="1483146" y="1358113"/>
                </a:cubicBezTo>
                <a:cubicBezTo>
                  <a:pt x="1483956" y="1358963"/>
                  <a:pt x="1485113" y="1359478"/>
                  <a:pt x="1486270" y="1359559"/>
                </a:cubicBezTo>
                <a:cubicBezTo>
                  <a:pt x="1488468" y="1359235"/>
                  <a:pt x="1490492" y="1358200"/>
                  <a:pt x="1492054" y="1356609"/>
                </a:cubicBezTo>
                <a:cubicBezTo>
                  <a:pt x="1494426" y="1354324"/>
                  <a:pt x="1497492" y="1352901"/>
                  <a:pt x="1500789" y="1352560"/>
                </a:cubicBezTo>
                <a:cubicBezTo>
                  <a:pt x="1501772" y="1352537"/>
                  <a:pt x="1502756" y="1352699"/>
                  <a:pt x="1503681" y="1353023"/>
                </a:cubicBezTo>
                <a:cubicBezTo>
                  <a:pt x="1508540" y="1354642"/>
                  <a:pt x="1515250" y="1350651"/>
                  <a:pt x="1521034" y="1346775"/>
                </a:cubicBezTo>
                <a:cubicBezTo>
                  <a:pt x="1524562" y="1344219"/>
                  <a:pt x="1528438" y="1342264"/>
                  <a:pt x="1532603" y="1340991"/>
                </a:cubicBezTo>
                <a:cubicBezTo>
                  <a:pt x="1538908" y="1338990"/>
                  <a:pt x="1544750" y="1335872"/>
                  <a:pt x="1549956" y="1331794"/>
                </a:cubicBezTo>
                <a:cubicBezTo>
                  <a:pt x="1552444" y="1330116"/>
                  <a:pt x="1554816" y="1328497"/>
                  <a:pt x="1557013" y="1327224"/>
                </a:cubicBezTo>
                <a:cubicBezTo>
                  <a:pt x="1560715" y="1325309"/>
                  <a:pt x="1564880" y="1324349"/>
                  <a:pt x="1569045" y="1324447"/>
                </a:cubicBezTo>
                <a:cubicBezTo>
                  <a:pt x="1571243" y="1324447"/>
                  <a:pt x="1576564" y="1324737"/>
                  <a:pt x="1577664" y="1327340"/>
                </a:cubicBezTo>
                <a:cubicBezTo>
                  <a:pt x="1578068" y="1328612"/>
                  <a:pt x="1577606" y="1330001"/>
                  <a:pt x="1576564" y="1330810"/>
                </a:cubicBezTo>
                <a:cubicBezTo>
                  <a:pt x="1573672" y="1333089"/>
                  <a:pt x="1572111" y="1336635"/>
                  <a:pt x="1572342" y="1340297"/>
                </a:cubicBezTo>
                <a:cubicBezTo>
                  <a:pt x="1573094" y="1343825"/>
                  <a:pt x="1577086" y="1346949"/>
                  <a:pt x="1583911" y="1349552"/>
                </a:cubicBezTo>
                <a:cubicBezTo>
                  <a:pt x="1600165" y="1355336"/>
                  <a:pt x="1618213" y="1383622"/>
                  <a:pt x="1630186" y="1402248"/>
                </a:cubicBezTo>
                <a:cubicBezTo>
                  <a:pt x="1631806" y="1404793"/>
                  <a:pt x="1633368" y="1407223"/>
                  <a:pt x="1634756" y="1409305"/>
                </a:cubicBezTo>
                <a:cubicBezTo>
                  <a:pt x="1639846" y="1417687"/>
                  <a:pt x="1644416" y="1426363"/>
                  <a:pt x="1648523" y="1435277"/>
                </a:cubicBezTo>
                <a:cubicBezTo>
                  <a:pt x="1653613" y="1445863"/>
                  <a:pt x="1659456" y="1457894"/>
                  <a:pt x="1662232" y="1457894"/>
                </a:cubicBezTo>
                <a:cubicBezTo>
                  <a:pt x="1665009" y="1457894"/>
                  <a:pt x="1666339" y="1454424"/>
                  <a:pt x="1668017" y="1450779"/>
                </a:cubicBezTo>
                <a:cubicBezTo>
                  <a:pt x="1669694" y="1447135"/>
                  <a:pt x="1672991" y="1441409"/>
                  <a:pt x="1677561" y="1440367"/>
                </a:cubicBezTo>
                <a:lnTo>
                  <a:pt x="1679123" y="1440367"/>
                </a:lnTo>
                <a:cubicBezTo>
                  <a:pt x="1683288" y="1440367"/>
                  <a:pt x="1686411" y="1444070"/>
                  <a:pt x="1689766" y="1448003"/>
                </a:cubicBezTo>
                <a:cubicBezTo>
                  <a:pt x="1692080" y="1451427"/>
                  <a:pt x="1695377" y="1454088"/>
                  <a:pt x="1699253" y="1455638"/>
                </a:cubicBezTo>
                <a:cubicBezTo>
                  <a:pt x="1701567" y="1456159"/>
                  <a:pt x="1704053" y="1456853"/>
                  <a:pt x="1706657" y="1457605"/>
                </a:cubicBezTo>
                <a:cubicBezTo>
                  <a:pt x="1711400" y="1459202"/>
                  <a:pt x="1716316" y="1460197"/>
                  <a:pt x="1721291" y="1460555"/>
                </a:cubicBezTo>
                <a:cubicBezTo>
                  <a:pt x="1722621" y="1460578"/>
                  <a:pt x="1724010" y="1460364"/>
                  <a:pt x="1725283" y="1459919"/>
                </a:cubicBezTo>
                <a:cubicBezTo>
                  <a:pt x="1726844" y="1459340"/>
                  <a:pt x="1728927" y="1458415"/>
                  <a:pt x="1731067" y="1457374"/>
                </a:cubicBezTo>
                <a:cubicBezTo>
                  <a:pt x="1736851" y="1454389"/>
                  <a:pt x="1743156" y="1452434"/>
                  <a:pt x="1749635" y="1451589"/>
                </a:cubicBezTo>
                <a:cubicBezTo>
                  <a:pt x="1750907" y="1451549"/>
                  <a:pt x="1752122" y="1451826"/>
                  <a:pt x="1753221" y="1452399"/>
                </a:cubicBezTo>
                <a:cubicBezTo>
                  <a:pt x="1754493" y="1453047"/>
                  <a:pt x="1755767" y="1453625"/>
                  <a:pt x="1757097" y="1454134"/>
                </a:cubicBezTo>
                <a:cubicBezTo>
                  <a:pt x="1763691" y="1456043"/>
                  <a:pt x="1768955" y="1460989"/>
                  <a:pt x="1771326" y="1467439"/>
                </a:cubicBezTo>
                <a:cubicBezTo>
                  <a:pt x="1776127" y="1479007"/>
                  <a:pt x="1783358" y="1480743"/>
                  <a:pt x="1787234" y="1480743"/>
                </a:cubicBezTo>
                <a:cubicBezTo>
                  <a:pt x="1791109" y="1480743"/>
                  <a:pt x="1794232" y="1482709"/>
                  <a:pt x="1794232" y="1492312"/>
                </a:cubicBezTo>
                <a:cubicBezTo>
                  <a:pt x="1794232" y="1496419"/>
                  <a:pt x="1802447" y="1502492"/>
                  <a:pt x="1806785" y="1502492"/>
                </a:cubicBezTo>
                <a:cubicBezTo>
                  <a:pt x="1814015" y="1502382"/>
                  <a:pt x="1821188" y="1501069"/>
                  <a:pt x="1828014" y="1498617"/>
                </a:cubicBezTo>
                <a:cubicBezTo>
                  <a:pt x="1830154" y="1497113"/>
                  <a:pt x="1832583" y="1496158"/>
                  <a:pt x="1835187" y="1495840"/>
                </a:cubicBezTo>
                <a:cubicBezTo>
                  <a:pt x="1836517" y="1495840"/>
                  <a:pt x="1838889" y="1496361"/>
                  <a:pt x="1839409" y="1500236"/>
                </a:cubicBezTo>
                <a:cubicBezTo>
                  <a:pt x="1840219" y="1505674"/>
                  <a:pt x="1847276" y="1513772"/>
                  <a:pt x="1850978" y="1513772"/>
                </a:cubicBezTo>
                <a:cubicBezTo>
                  <a:pt x="1853002" y="1513887"/>
                  <a:pt x="1855085" y="1514200"/>
                  <a:pt x="1857052" y="1514697"/>
                </a:cubicBezTo>
                <a:cubicBezTo>
                  <a:pt x="1858961" y="1515137"/>
                  <a:pt x="1860869" y="1515426"/>
                  <a:pt x="1862836" y="1515565"/>
                </a:cubicBezTo>
                <a:cubicBezTo>
                  <a:pt x="1864803" y="1515565"/>
                  <a:pt x="1864977" y="1514929"/>
                  <a:pt x="1865034" y="1514697"/>
                </a:cubicBezTo>
                <a:cubicBezTo>
                  <a:pt x="1865671" y="1511342"/>
                  <a:pt x="1872264" y="1508566"/>
                  <a:pt x="1884528" y="1506541"/>
                </a:cubicBezTo>
                <a:cubicBezTo>
                  <a:pt x="1889445" y="1505731"/>
                  <a:pt x="1905814" y="1502492"/>
                  <a:pt x="1908707" y="1495898"/>
                </a:cubicBezTo>
                <a:cubicBezTo>
                  <a:pt x="1910731" y="1491270"/>
                  <a:pt x="1916400" y="1489362"/>
                  <a:pt x="1921432" y="1487684"/>
                </a:cubicBezTo>
                <a:cubicBezTo>
                  <a:pt x="1924556" y="1486996"/>
                  <a:pt x="1927448" y="1485567"/>
                  <a:pt x="1929878" y="1483519"/>
                </a:cubicBezTo>
                <a:cubicBezTo>
                  <a:pt x="1932538" y="1481020"/>
                  <a:pt x="1935604" y="1479054"/>
                  <a:pt x="1939017" y="1477735"/>
                </a:cubicBezTo>
                <a:cubicBezTo>
                  <a:pt x="1942314" y="1476601"/>
                  <a:pt x="1945207" y="1474606"/>
                  <a:pt x="1947462" y="1471950"/>
                </a:cubicBezTo>
                <a:cubicBezTo>
                  <a:pt x="1948966" y="1468943"/>
                  <a:pt x="1953767" y="1467901"/>
                  <a:pt x="1958337" y="1466918"/>
                </a:cubicBezTo>
                <a:cubicBezTo>
                  <a:pt x="1961692" y="1466166"/>
                  <a:pt x="1965452" y="1465356"/>
                  <a:pt x="1966030" y="1463968"/>
                </a:cubicBezTo>
                <a:cubicBezTo>
                  <a:pt x="1967823" y="1459456"/>
                  <a:pt x="1977599" y="1459225"/>
                  <a:pt x="1979739" y="1459225"/>
                </a:cubicBezTo>
                <a:cubicBezTo>
                  <a:pt x="1982111" y="1459190"/>
                  <a:pt x="1984482" y="1459462"/>
                  <a:pt x="1986796" y="1460034"/>
                </a:cubicBezTo>
                <a:cubicBezTo>
                  <a:pt x="1998828" y="1463042"/>
                  <a:pt x="2010976" y="1465229"/>
                  <a:pt x="2023296" y="1466571"/>
                </a:cubicBezTo>
                <a:lnTo>
                  <a:pt x="2024743" y="1466571"/>
                </a:lnTo>
                <a:cubicBezTo>
                  <a:pt x="2027461" y="1466571"/>
                  <a:pt x="2028676" y="1470389"/>
                  <a:pt x="2030064" y="1474843"/>
                </a:cubicBezTo>
                <a:cubicBezTo>
                  <a:pt x="2030932" y="1477561"/>
                  <a:pt x="2032204" y="1481726"/>
                  <a:pt x="2033534" y="1482015"/>
                </a:cubicBezTo>
                <a:cubicBezTo>
                  <a:pt x="2036138" y="1482929"/>
                  <a:pt x="2038625" y="1484156"/>
                  <a:pt x="2040938" y="1485659"/>
                </a:cubicBezTo>
                <a:cubicBezTo>
                  <a:pt x="2044872" y="1488390"/>
                  <a:pt x="2049268" y="1490351"/>
                  <a:pt x="2053953" y="1491444"/>
                </a:cubicBezTo>
                <a:cubicBezTo>
                  <a:pt x="2054417" y="1491479"/>
                  <a:pt x="2054879" y="1491357"/>
                  <a:pt x="2055226" y="1491097"/>
                </a:cubicBezTo>
                <a:cubicBezTo>
                  <a:pt x="2059102" y="1488251"/>
                  <a:pt x="2063730" y="1486730"/>
                  <a:pt x="2068530" y="1486758"/>
                </a:cubicBezTo>
                <a:cubicBezTo>
                  <a:pt x="2071943" y="1486712"/>
                  <a:pt x="2075356" y="1487615"/>
                  <a:pt x="2078306" y="1489362"/>
                </a:cubicBezTo>
                <a:cubicBezTo>
                  <a:pt x="2079521" y="1490056"/>
                  <a:pt x="2080735" y="1490866"/>
                  <a:pt x="2081893" y="1491618"/>
                </a:cubicBezTo>
                <a:cubicBezTo>
                  <a:pt x="2088313" y="1495609"/>
                  <a:pt x="2093982" y="1499195"/>
                  <a:pt x="2096122" y="1495435"/>
                </a:cubicBezTo>
                <a:cubicBezTo>
                  <a:pt x="2098262" y="1491675"/>
                  <a:pt x="2104915" y="1489651"/>
                  <a:pt x="2110757" y="1487568"/>
                </a:cubicBezTo>
                <a:cubicBezTo>
                  <a:pt x="2113649" y="1486845"/>
                  <a:pt x="2116368" y="1485654"/>
                  <a:pt x="2118855" y="1484040"/>
                </a:cubicBezTo>
                <a:cubicBezTo>
                  <a:pt x="2121111" y="1480916"/>
                  <a:pt x="2123078" y="1472008"/>
                  <a:pt x="2119838" y="1469405"/>
                </a:cubicBezTo>
                <a:cubicBezTo>
                  <a:pt x="2114690" y="1465298"/>
                  <a:pt x="2110236" y="1448119"/>
                  <a:pt x="2109773" y="1446267"/>
                </a:cubicBezTo>
                <a:cubicBezTo>
                  <a:pt x="2108675" y="1441871"/>
                  <a:pt x="2112376" y="1439384"/>
                  <a:pt x="2115558" y="1437186"/>
                </a:cubicBezTo>
                <a:cubicBezTo>
                  <a:pt x="2117872" y="1435624"/>
                  <a:pt x="2120301" y="1434005"/>
                  <a:pt x="2120880" y="1431922"/>
                </a:cubicBezTo>
                <a:cubicBezTo>
                  <a:pt x="2122036" y="1427931"/>
                  <a:pt x="2126664" y="1426138"/>
                  <a:pt x="2130366" y="1424576"/>
                </a:cubicBezTo>
                <a:cubicBezTo>
                  <a:pt x="2132333" y="1423934"/>
                  <a:pt x="2134126" y="1422979"/>
                  <a:pt x="2135745" y="1421742"/>
                </a:cubicBezTo>
                <a:cubicBezTo>
                  <a:pt x="2136729" y="1420648"/>
                  <a:pt x="2137481" y="1419416"/>
                  <a:pt x="2138117" y="1418097"/>
                </a:cubicBezTo>
                <a:cubicBezTo>
                  <a:pt x="2139563" y="1415379"/>
                  <a:pt x="2141240" y="1412313"/>
                  <a:pt x="2144654" y="1412313"/>
                </a:cubicBezTo>
                <a:cubicBezTo>
                  <a:pt x="2145290" y="1412296"/>
                  <a:pt x="2145926" y="1412394"/>
                  <a:pt x="2146504" y="1412602"/>
                </a:cubicBezTo>
                <a:cubicBezTo>
                  <a:pt x="2153735" y="1414482"/>
                  <a:pt x="2160735" y="1417299"/>
                  <a:pt x="2167213" y="1420990"/>
                </a:cubicBezTo>
                <a:cubicBezTo>
                  <a:pt x="2172188" y="1423558"/>
                  <a:pt x="2177740" y="1424813"/>
                  <a:pt x="2183351" y="1424634"/>
                </a:cubicBezTo>
                <a:cubicBezTo>
                  <a:pt x="2190813" y="1425854"/>
                  <a:pt x="2197870" y="1428677"/>
                  <a:pt x="2204118" y="1432905"/>
                </a:cubicBezTo>
                <a:cubicBezTo>
                  <a:pt x="2207704" y="1434305"/>
                  <a:pt x="2211463" y="1435260"/>
                  <a:pt x="2215281" y="1435740"/>
                </a:cubicBezTo>
                <a:cubicBezTo>
                  <a:pt x="2222338" y="1436955"/>
                  <a:pt x="2229048" y="1438112"/>
                  <a:pt x="2231131" y="1441524"/>
                </a:cubicBezTo>
                <a:cubicBezTo>
                  <a:pt x="2232692" y="1445163"/>
                  <a:pt x="2233213" y="1449166"/>
                  <a:pt x="2232692" y="1453093"/>
                </a:cubicBezTo>
                <a:cubicBezTo>
                  <a:pt x="2232114" y="1457027"/>
                  <a:pt x="2232692" y="1461041"/>
                  <a:pt x="2234312" y="1464662"/>
                </a:cubicBezTo>
                <a:cubicBezTo>
                  <a:pt x="2239634" y="1471025"/>
                  <a:pt x="2246459" y="1477504"/>
                  <a:pt x="2249236" y="1477504"/>
                </a:cubicBezTo>
                <a:cubicBezTo>
                  <a:pt x="2249236" y="1477504"/>
                  <a:pt x="2249641" y="1477504"/>
                  <a:pt x="2249698" y="1477504"/>
                </a:cubicBezTo>
                <a:cubicBezTo>
                  <a:pt x="2250335" y="1477081"/>
                  <a:pt x="2251029" y="1476879"/>
                  <a:pt x="2251781" y="1476925"/>
                </a:cubicBezTo>
                <a:cubicBezTo>
                  <a:pt x="2255541" y="1477550"/>
                  <a:pt x="2259185" y="1478799"/>
                  <a:pt x="2262540" y="1480627"/>
                </a:cubicBezTo>
                <a:cubicBezTo>
                  <a:pt x="2266185" y="1482715"/>
                  <a:pt x="2270233" y="1484051"/>
                  <a:pt x="2274456" y="1484561"/>
                </a:cubicBezTo>
                <a:cubicBezTo>
                  <a:pt x="2277869" y="1483531"/>
                  <a:pt x="2281050" y="1481882"/>
                  <a:pt x="2283827" y="1479701"/>
                </a:cubicBezTo>
                <a:cubicBezTo>
                  <a:pt x="2286777" y="1477266"/>
                  <a:pt x="2290247" y="1475600"/>
                  <a:pt x="2294007" y="1474843"/>
                </a:cubicBezTo>
                <a:cubicBezTo>
                  <a:pt x="2297363" y="1474588"/>
                  <a:pt x="2300660" y="1474102"/>
                  <a:pt x="2303899" y="1473396"/>
                </a:cubicBezTo>
                <a:cubicBezTo>
                  <a:pt x="2308932" y="1472182"/>
                  <a:pt x="2314079" y="1471597"/>
                  <a:pt x="2319227" y="1471661"/>
                </a:cubicBezTo>
                <a:cubicBezTo>
                  <a:pt x="2320963" y="1471950"/>
                  <a:pt x="2324145" y="1472876"/>
                  <a:pt x="2327846" y="1473975"/>
                </a:cubicBezTo>
                <a:cubicBezTo>
                  <a:pt x="2332705" y="1475612"/>
                  <a:pt x="2337680" y="1476792"/>
                  <a:pt x="2342770" y="1477504"/>
                </a:cubicBezTo>
                <a:lnTo>
                  <a:pt x="2343522" y="1477504"/>
                </a:lnTo>
                <a:cubicBezTo>
                  <a:pt x="2344621" y="1476931"/>
                  <a:pt x="2345893" y="1476688"/>
                  <a:pt x="2347167" y="1476809"/>
                </a:cubicBezTo>
                <a:cubicBezTo>
                  <a:pt x="2352951" y="1476809"/>
                  <a:pt x="2363826" y="1479123"/>
                  <a:pt x="2366082" y="1483635"/>
                </a:cubicBezTo>
                <a:cubicBezTo>
                  <a:pt x="2366949" y="1485428"/>
                  <a:pt x="2371866" y="1486643"/>
                  <a:pt x="2376377" y="1487684"/>
                </a:cubicBezTo>
                <a:cubicBezTo>
                  <a:pt x="2382798" y="1489246"/>
                  <a:pt x="2388814" y="1490692"/>
                  <a:pt x="2388814" y="1494625"/>
                </a:cubicBezTo>
                <a:cubicBezTo>
                  <a:pt x="2388814" y="1497113"/>
                  <a:pt x="2391880" y="1499311"/>
                  <a:pt x="2395177" y="1501625"/>
                </a:cubicBezTo>
                <a:cubicBezTo>
                  <a:pt x="2398474" y="1503562"/>
                  <a:pt x="2401193" y="1506235"/>
                  <a:pt x="2403275" y="1509434"/>
                </a:cubicBezTo>
                <a:cubicBezTo>
                  <a:pt x="2404779" y="1512499"/>
                  <a:pt x="2414266" y="1512846"/>
                  <a:pt x="2421901" y="1513078"/>
                </a:cubicBezTo>
                <a:cubicBezTo>
                  <a:pt x="2427281" y="1512667"/>
                  <a:pt x="2432718" y="1513517"/>
                  <a:pt x="2437692" y="1515565"/>
                </a:cubicBezTo>
                <a:cubicBezTo>
                  <a:pt x="2443304" y="1517694"/>
                  <a:pt x="2449319" y="1518544"/>
                  <a:pt x="2455335" y="1518052"/>
                </a:cubicBezTo>
                <a:cubicBezTo>
                  <a:pt x="2461062" y="1518480"/>
                  <a:pt x="2466846" y="1517792"/>
                  <a:pt x="2472342" y="1516028"/>
                </a:cubicBezTo>
                <a:cubicBezTo>
                  <a:pt x="2472746" y="1514061"/>
                  <a:pt x="2477258" y="1513078"/>
                  <a:pt x="2489058" y="1511169"/>
                </a:cubicBezTo>
                <a:cubicBezTo>
                  <a:pt x="2495652" y="1510562"/>
                  <a:pt x="2502073" y="1509023"/>
                  <a:pt x="2508205" y="1506599"/>
                </a:cubicBezTo>
                <a:cubicBezTo>
                  <a:pt x="2511675" y="1504760"/>
                  <a:pt x="2515435" y="1503655"/>
                  <a:pt x="2519369" y="1503360"/>
                </a:cubicBezTo>
                <a:cubicBezTo>
                  <a:pt x="2524228" y="1502550"/>
                  <a:pt x="2529202" y="1501740"/>
                  <a:pt x="2529607" y="1499311"/>
                </a:cubicBezTo>
                <a:cubicBezTo>
                  <a:pt x="2530128" y="1495088"/>
                  <a:pt x="2536317" y="1492138"/>
                  <a:pt x="2542796" y="1488957"/>
                </a:cubicBezTo>
                <a:cubicBezTo>
                  <a:pt x="2545919" y="1487586"/>
                  <a:pt x="2548985" y="1485937"/>
                  <a:pt x="2551820" y="1484040"/>
                </a:cubicBezTo>
                <a:cubicBezTo>
                  <a:pt x="2557025" y="1481368"/>
                  <a:pt x="2562810" y="1480187"/>
                  <a:pt x="2568652" y="1480627"/>
                </a:cubicBezTo>
                <a:cubicBezTo>
                  <a:pt x="2576634" y="1480627"/>
                  <a:pt x="2586005" y="1482073"/>
                  <a:pt x="2587509" y="1486411"/>
                </a:cubicBezTo>
                <a:cubicBezTo>
                  <a:pt x="2588377" y="1489593"/>
                  <a:pt x="2595665" y="1491502"/>
                  <a:pt x="2602202" y="1491502"/>
                </a:cubicBezTo>
                <a:cubicBezTo>
                  <a:pt x="2604632" y="1491571"/>
                  <a:pt x="2607118" y="1491236"/>
                  <a:pt x="2609432" y="1490519"/>
                </a:cubicBezTo>
                <a:cubicBezTo>
                  <a:pt x="2611457" y="1489882"/>
                  <a:pt x="2613539" y="1489587"/>
                  <a:pt x="2615621" y="1489651"/>
                </a:cubicBezTo>
                <a:cubicBezTo>
                  <a:pt x="2623026" y="1489651"/>
                  <a:pt x="2634479" y="1492369"/>
                  <a:pt x="2636735" y="1497576"/>
                </a:cubicBezTo>
                <a:cubicBezTo>
                  <a:pt x="2638412" y="1501451"/>
                  <a:pt x="2651196" y="1504575"/>
                  <a:pt x="2658658" y="1504575"/>
                </a:cubicBezTo>
                <a:cubicBezTo>
                  <a:pt x="2659757" y="1504615"/>
                  <a:pt x="2660856" y="1504499"/>
                  <a:pt x="2661955" y="1504228"/>
                </a:cubicBezTo>
                <a:cubicBezTo>
                  <a:pt x="2665368" y="1502562"/>
                  <a:pt x="2668665" y="1500630"/>
                  <a:pt x="2671789" y="1498443"/>
                </a:cubicBezTo>
                <a:cubicBezTo>
                  <a:pt x="2676763" y="1494909"/>
                  <a:pt x="2682258" y="1492121"/>
                  <a:pt x="2688043" y="1490171"/>
                </a:cubicBezTo>
                <a:cubicBezTo>
                  <a:pt x="2692150" y="1489425"/>
                  <a:pt x="2695794" y="1487152"/>
                  <a:pt x="2698281" y="1483809"/>
                </a:cubicBezTo>
                <a:cubicBezTo>
                  <a:pt x="2699207" y="1482565"/>
                  <a:pt x="2699553" y="1480980"/>
                  <a:pt x="2699207" y="1479470"/>
                </a:cubicBezTo>
                <a:cubicBezTo>
                  <a:pt x="2698107" y="1475595"/>
                  <a:pt x="2702388" y="1468422"/>
                  <a:pt x="2706495" y="1461481"/>
                </a:cubicBezTo>
                <a:cubicBezTo>
                  <a:pt x="2708809" y="1458068"/>
                  <a:pt x="2710718" y="1454424"/>
                  <a:pt x="2712280" y="1450606"/>
                </a:cubicBezTo>
                <a:cubicBezTo>
                  <a:pt x="2713842" y="1444474"/>
                  <a:pt x="2725179" y="1425906"/>
                  <a:pt x="2729633" y="1423998"/>
                </a:cubicBezTo>
                <a:cubicBezTo>
                  <a:pt x="2734087" y="1422089"/>
                  <a:pt x="2741722" y="1415379"/>
                  <a:pt x="2741202" y="1411503"/>
                </a:cubicBezTo>
                <a:cubicBezTo>
                  <a:pt x="2738483" y="1394150"/>
                  <a:pt x="2735417" y="1393051"/>
                  <a:pt x="2734260" y="1393051"/>
                </a:cubicBezTo>
                <a:lnTo>
                  <a:pt x="2732756" y="1393051"/>
                </a:lnTo>
                <a:cubicBezTo>
                  <a:pt x="2730732" y="1393051"/>
                  <a:pt x="2726972" y="1393051"/>
                  <a:pt x="2725699" y="1390448"/>
                </a:cubicBezTo>
                <a:cubicBezTo>
                  <a:pt x="2724427" y="1387845"/>
                  <a:pt x="2725699" y="1383391"/>
                  <a:pt x="2730963" y="1376681"/>
                </a:cubicBezTo>
                <a:cubicBezTo>
                  <a:pt x="2737442" y="1368334"/>
                  <a:pt x="2747680" y="1363759"/>
                  <a:pt x="2758208" y="1364476"/>
                </a:cubicBezTo>
                <a:cubicBezTo>
                  <a:pt x="2760984" y="1364476"/>
                  <a:pt x="2763298" y="1364476"/>
                  <a:pt x="2764860" y="1364823"/>
                </a:cubicBezTo>
                <a:lnTo>
                  <a:pt x="2766596" y="1364823"/>
                </a:lnTo>
                <a:cubicBezTo>
                  <a:pt x="2768562" y="1364614"/>
                  <a:pt x="2770471" y="1364302"/>
                  <a:pt x="2772380" y="1363897"/>
                </a:cubicBezTo>
                <a:cubicBezTo>
                  <a:pt x="2781057" y="1362116"/>
                  <a:pt x="2789791" y="1361051"/>
                  <a:pt x="2798641" y="1360716"/>
                </a:cubicBezTo>
                <a:cubicBezTo>
                  <a:pt x="2801533" y="1360635"/>
                  <a:pt x="2804425" y="1360942"/>
                  <a:pt x="2807202" y="1361641"/>
                </a:cubicBezTo>
                <a:cubicBezTo>
                  <a:pt x="2811251" y="1362717"/>
                  <a:pt x="2815474" y="1363128"/>
                  <a:pt x="2819638" y="1362856"/>
                </a:cubicBezTo>
                <a:lnTo>
                  <a:pt x="2821952" y="1362856"/>
                </a:lnTo>
                <a:cubicBezTo>
                  <a:pt x="2827563" y="1362654"/>
                  <a:pt x="2833174" y="1363932"/>
                  <a:pt x="2838149" y="1366558"/>
                </a:cubicBezTo>
                <a:cubicBezTo>
                  <a:pt x="2844106" y="1369283"/>
                  <a:pt x="2850470" y="1370966"/>
                  <a:pt x="2857006" y="1371533"/>
                </a:cubicBezTo>
                <a:cubicBezTo>
                  <a:pt x="2863600" y="1372516"/>
                  <a:pt x="2869269" y="1373326"/>
                  <a:pt x="2871640" y="1376623"/>
                </a:cubicBezTo>
                <a:cubicBezTo>
                  <a:pt x="2873607" y="1378769"/>
                  <a:pt x="2875921" y="1380603"/>
                  <a:pt x="2878466" y="1382060"/>
                </a:cubicBezTo>
                <a:cubicBezTo>
                  <a:pt x="2884251" y="1385820"/>
                  <a:pt x="2891365" y="1390564"/>
                  <a:pt x="2889573" y="1397736"/>
                </a:cubicBezTo>
                <a:cubicBezTo>
                  <a:pt x="2888705" y="1401380"/>
                  <a:pt x="2889573" y="1402248"/>
                  <a:pt x="2892233" y="1404099"/>
                </a:cubicBezTo>
                <a:cubicBezTo>
                  <a:pt x="2898075" y="1408420"/>
                  <a:pt x="2901778" y="1415026"/>
                  <a:pt x="2902472" y="1422262"/>
                </a:cubicBezTo>
                <a:cubicBezTo>
                  <a:pt x="2903802" y="1430598"/>
                  <a:pt x="2907446" y="1438395"/>
                  <a:pt x="2912999" y="1444764"/>
                </a:cubicBezTo>
                <a:cubicBezTo>
                  <a:pt x="2915660" y="1447529"/>
                  <a:pt x="2917627" y="1450878"/>
                  <a:pt x="2918783" y="1454539"/>
                </a:cubicBezTo>
                <a:cubicBezTo>
                  <a:pt x="2920519" y="1459867"/>
                  <a:pt x="2922890" y="1464986"/>
                  <a:pt x="2925725" y="1469810"/>
                </a:cubicBezTo>
                <a:cubicBezTo>
                  <a:pt x="2929890" y="1477735"/>
                  <a:pt x="2933534" y="1484618"/>
                  <a:pt x="2932493" y="1488262"/>
                </a:cubicBezTo>
                <a:cubicBezTo>
                  <a:pt x="2930989" y="1491496"/>
                  <a:pt x="2930989" y="1495210"/>
                  <a:pt x="2932493" y="1498443"/>
                </a:cubicBezTo>
                <a:cubicBezTo>
                  <a:pt x="2934864" y="1500994"/>
                  <a:pt x="2938219" y="1502353"/>
                  <a:pt x="2941690" y="1502145"/>
                </a:cubicBezTo>
                <a:cubicBezTo>
                  <a:pt x="2948863" y="1502943"/>
                  <a:pt x="2955746" y="1505396"/>
                  <a:pt x="2961762" y="1509318"/>
                </a:cubicBezTo>
                <a:cubicBezTo>
                  <a:pt x="2963497" y="1510550"/>
                  <a:pt x="2965464" y="1511446"/>
                  <a:pt x="2967546" y="1511979"/>
                </a:cubicBezTo>
                <a:lnTo>
                  <a:pt x="2967546" y="1511979"/>
                </a:lnTo>
                <a:cubicBezTo>
                  <a:pt x="2968241" y="1511666"/>
                  <a:pt x="2968935" y="1511527"/>
                  <a:pt x="2969687" y="1511574"/>
                </a:cubicBezTo>
                <a:cubicBezTo>
                  <a:pt x="2979636" y="1513026"/>
                  <a:pt x="2988891" y="1517462"/>
                  <a:pt x="2996295" y="1524300"/>
                </a:cubicBezTo>
                <a:cubicBezTo>
                  <a:pt x="2999419" y="1527221"/>
                  <a:pt x="3003294" y="1529216"/>
                  <a:pt x="3007516" y="1530084"/>
                </a:cubicBezTo>
                <a:cubicBezTo>
                  <a:pt x="3012144" y="1531357"/>
                  <a:pt x="3016540" y="1532513"/>
                  <a:pt x="3016020" y="1538414"/>
                </a:cubicBezTo>
                <a:cubicBezTo>
                  <a:pt x="3015962" y="1542665"/>
                  <a:pt x="3016945" y="1546865"/>
                  <a:pt x="3018970" y="1550619"/>
                </a:cubicBezTo>
                <a:cubicBezTo>
                  <a:pt x="3020763" y="1554078"/>
                  <a:pt x="3021747" y="1557930"/>
                  <a:pt x="3021689" y="1561840"/>
                </a:cubicBezTo>
                <a:cubicBezTo>
                  <a:pt x="3021573" y="1563113"/>
                  <a:pt x="3022035" y="1564362"/>
                  <a:pt x="3022961" y="1565253"/>
                </a:cubicBezTo>
                <a:cubicBezTo>
                  <a:pt x="3028572" y="1569603"/>
                  <a:pt x="3035514" y="1571795"/>
                  <a:pt x="3042570" y="1571443"/>
                </a:cubicBezTo>
                <a:cubicBezTo>
                  <a:pt x="3044074" y="1571448"/>
                  <a:pt x="3045578" y="1571333"/>
                  <a:pt x="3047024" y="1571096"/>
                </a:cubicBezTo>
                <a:cubicBezTo>
                  <a:pt x="3050495" y="1570720"/>
                  <a:pt x="3054023" y="1570720"/>
                  <a:pt x="3057494" y="1571096"/>
                </a:cubicBezTo>
                <a:cubicBezTo>
                  <a:pt x="3063278" y="1571501"/>
                  <a:pt x="3067501" y="1571963"/>
                  <a:pt x="3070393" y="1566063"/>
                </a:cubicBezTo>
                <a:cubicBezTo>
                  <a:pt x="3073285" y="1560163"/>
                  <a:pt x="3081384" y="1558717"/>
                  <a:pt x="3088152" y="1558023"/>
                </a:cubicBezTo>
                <a:cubicBezTo>
                  <a:pt x="3091333" y="1558040"/>
                  <a:pt x="3094514" y="1557329"/>
                  <a:pt x="3097407" y="1555940"/>
                </a:cubicBezTo>
                <a:cubicBezTo>
                  <a:pt x="3101513" y="1553262"/>
                  <a:pt x="3106257" y="1551758"/>
                  <a:pt x="3111116" y="1551602"/>
                </a:cubicBezTo>
                <a:cubicBezTo>
                  <a:pt x="3113892" y="1551429"/>
                  <a:pt x="3116611" y="1552418"/>
                  <a:pt x="3118636" y="1554321"/>
                </a:cubicBezTo>
                <a:cubicBezTo>
                  <a:pt x="3120544" y="1556623"/>
                  <a:pt x="3121412" y="1559625"/>
                  <a:pt x="3121007" y="1562592"/>
                </a:cubicBezTo>
                <a:cubicBezTo>
                  <a:pt x="3120776" y="1567237"/>
                  <a:pt x="3121701" y="1571871"/>
                  <a:pt x="3123668" y="1576070"/>
                </a:cubicBezTo>
                <a:cubicBezTo>
                  <a:pt x="3125230" y="1579946"/>
                  <a:pt x="3126502" y="1582954"/>
                  <a:pt x="3121296" y="1586077"/>
                </a:cubicBezTo>
                <a:cubicBezTo>
                  <a:pt x="3114818" y="1589953"/>
                  <a:pt x="3110827" y="1605860"/>
                  <a:pt x="3108455" y="1615404"/>
                </a:cubicBezTo>
                <a:lnTo>
                  <a:pt x="3107240" y="1620147"/>
                </a:lnTo>
                <a:cubicBezTo>
                  <a:pt x="3105621" y="1624370"/>
                  <a:pt x="3102786" y="1627991"/>
                  <a:pt x="3099026" y="1630502"/>
                </a:cubicBezTo>
                <a:cubicBezTo>
                  <a:pt x="3095151" y="1632902"/>
                  <a:pt x="3092316" y="1636656"/>
                  <a:pt x="3091102" y="1641029"/>
                </a:cubicBezTo>
                <a:cubicBezTo>
                  <a:pt x="3090118" y="1645558"/>
                  <a:pt x="3087226" y="1649463"/>
                  <a:pt x="3083235" y="1651788"/>
                </a:cubicBezTo>
                <a:cubicBezTo>
                  <a:pt x="3080401" y="1653986"/>
                  <a:pt x="3078203" y="1655722"/>
                  <a:pt x="3078203" y="1658614"/>
                </a:cubicBezTo>
                <a:cubicBezTo>
                  <a:pt x="3078203" y="1661506"/>
                  <a:pt x="3074731" y="1664398"/>
                  <a:pt x="3068890" y="1664398"/>
                </a:cubicBezTo>
                <a:cubicBezTo>
                  <a:pt x="3062932" y="1664323"/>
                  <a:pt x="3057147" y="1662559"/>
                  <a:pt x="3052173" y="1659308"/>
                </a:cubicBezTo>
                <a:cubicBezTo>
                  <a:pt x="3051305" y="1658683"/>
                  <a:pt x="3050263" y="1658342"/>
                  <a:pt x="3049223" y="1658325"/>
                </a:cubicBezTo>
                <a:cubicBezTo>
                  <a:pt x="3046099" y="1658325"/>
                  <a:pt x="3042744" y="1661390"/>
                  <a:pt x="3039504" y="1664398"/>
                </a:cubicBezTo>
                <a:cubicBezTo>
                  <a:pt x="3036266" y="1667406"/>
                  <a:pt x="3033258" y="1670183"/>
                  <a:pt x="3030249" y="1670183"/>
                </a:cubicBezTo>
                <a:cubicBezTo>
                  <a:pt x="3029324" y="1670131"/>
                  <a:pt x="3028399" y="1670599"/>
                  <a:pt x="3027936" y="1671398"/>
                </a:cubicBezTo>
                <a:cubicBezTo>
                  <a:pt x="3025737" y="1676719"/>
                  <a:pt x="3025507" y="1682631"/>
                  <a:pt x="3027241" y="1688114"/>
                </a:cubicBezTo>
                <a:cubicBezTo>
                  <a:pt x="3027762" y="1690752"/>
                  <a:pt x="3027762" y="1693459"/>
                  <a:pt x="3027241" y="1696097"/>
                </a:cubicBezTo>
                <a:cubicBezTo>
                  <a:pt x="3026432" y="1700979"/>
                  <a:pt x="3026953" y="1705988"/>
                  <a:pt x="3028688" y="1710616"/>
                </a:cubicBezTo>
                <a:cubicBezTo>
                  <a:pt x="3029902" y="1715151"/>
                  <a:pt x="3030423" y="1719859"/>
                  <a:pt x="3030192" y="1724556"/>
                </a:cubicBezTo>
                <a:cubicBezTo>
                  <a:pt x="3030192" y="1727796"/>
                  <a:pt x="3030192" y="1731382"/>
                  <a:pt x="3030539" y="1735084"/>
                </a:cubicBezTo>
                <a:cubicBezTo>
                  <a:pt x="3038232" y="1729589"/>
                  <a:pt x="3047892" y="1723515"/>
                  <a:pt x="3052288" y="1723515"/>
                </a:cubicBezTo>
                <a:cubicBezTo>
                  <a:pt x="3058362" y="1724597"/>
                  <a:pt x="3063915" y="1727668"/>
                  <a:pt x="3068022" y="1732250"/>
                </a:cubicBezTo>
                <a:cubicBezTo>
                  <a:pt x="3072245" y="1736825"/>
                  <a:pt x="3077739" y="1739978"/>
                  <a:pt x="3083813" y="1741273"/>
                </a:cubicBezTo>
                <a:cubicBezTo>
                  <a:pt x="3096481" y="1741273"/>
                  <a:pt x="3145128" y="1706856"/>
                  <a:pt x="3145649" y="1702749"/>
                </a:cubicBezTo>
                <a:cubicBezTo>
                  <a:pt x="3146170" y="1698642"/>
                  <a:pt x="3159185" y="1684702"/>
                  <a:pt x="3177695" y="1665787"/>
                </a:cubicBezTo>
                <a:cubicBezTo>
                  <a:pt x="3182437" y="1660986"/>
                  <a:pt x="3186892" y="1656474"/>
                  <a:pt x="3190363" y="1652772"/>
                </a:cubicBezTo>
                <a:cubicBezTo>
                  <a:pt x="3201932" y="1640567"/>
                  <a:pt x="3222466" y="1617313"/>
                  <a:pt x="3230159" y="1599381"/>
                </a:cubicBezTo>
                <a:cubicBezTo>
                  <a:pt x="3235249" y="1590387"/>
                  <a:pt x="3241381" y="1582005"/>
                  <a:pt x="3248380" y="1574393"/>
                </a:cubicBezTo>
                <a:cubicBezTo>
                  <a:pt x="3252256" y="1569968"/>
                  <a:pt x="3255900" y="1565334"/>
                  <a:pt x="3259313" y="1560510"/>
                </a:cubicBezTo>
                <a:cubicBezTo>
                  <a:pt x="3260701" y="1558219"/>
                  <a:pt x="3262205" y="1556016"/>
                  <a:pt x="3263825" y="1553916"/>
                </a:cubicBezTo>
                <a:cubicBezTo>
                  <a:pt x="3268799" y="1547397"/>
                  <a:pt x="3272964" y="1540282"/>
                  <a:pt x="3276203" y="1532745"/>
                </a:cubicBezTo>
                <a:cubicBezTo>
                  <a:pt x="3281641" y="1521176"/>
                  <a:pt x="3283665" y="1497576"/>
                  <a:pt x="3285169" y="1480396"/>
                </a:cubicBezTo>
                <a:cubicBezTo>
                  <a:pt x="3286268" y="1467670"/>
                  <a:pt x="3286789" y="1462001"/>
                  <a:pt x="3288061" y="1460555"/>
                </a:cubicBezTo>
                <a:cubicBezTo>
                  <a:pt x="3289218" y="1458623"/>
                  <a:pt x="3289797" y="1456431"/>
                  <a:pt x="3289855" y="1454192"/>
                </a:cubicBezTo>
                <a:cubicBezTo>
                  <a:pt x="3290086" y="1450450"/>
                  <a:pt x="3291243" y="1446823"/>
                  <a:pt x="3293267" y="1443665"/>
                </a:cubicBezTo>
                <a:cubicBezTo>
                  <a:pt x="3294598" y="1441669"/>
                  <a:pt x="3295581" y="1439430"/>
                  <a:pt x="3296044" y="1437070"/>
                </a:cubicBezTo>
                <a:cubicBezTo>
                  <a:pt x="3297027" y="1432044"/>
                  <a:pt x="3299630" y="1427486"/>
                  <a:pt x="3303506" y="1424113"/>
                </a:cubicBezTo>
                <a:cubicBezTo>
                  <a:pt x="3309117" y="1420458"/>
                  <a:pt x="3310968" y="1413071"/>
                  <a:pt x="3307670" y="1407223"/>
                </a:cubicBezTo>
                <a:cubicBezTo>
                  <a:pt x="3306688" y="1403445"/>
                  <a:pt x="3306398" y="1399535"/>
                  <a:pt x="3306745" y="1395654"/>
                </a:cubicBezTo>
                <a:cubicBezTo>
                  <a:pt x="3307092" y="1392634"/>
                  <a:pt x="3306918" y="1389568"/>
                  <a:pt x="3306109" y="1386630"/>
                </a:cubicBezTo>
                <a:cubicBezTo>
                  <a:pt x="3303737" y="1382234"/>
                  <a:pt x="3304605" y="1379978"/>
                  <a:pt x="3309753" y="1377028"/>
                </a:cubicBezTo>
                <a:cubicBezTo>
                  <a:pt x="3310332" y="1376762"/>
                  <a:pt x="3310678" y="1376201"/>
                  <a:pt x="3310678" y="1375582"/>
                </a:cubicBezTo>
                <a:cubicBezTo>
                  <a:pt x="3310678" y="1373037"/>
                  <a:pt x="3305357" y="1368293"/>
                  <a:pt x="3299746" y="1365690"/>
                </a:cubicBezTo>
                <a:lnTo>
                  <a:pt x="3296911" y="1364360"/>
                </a:lnTo>
                <a:cubicBezTo>
                  <a:pt x="3290549" y="1361584"/>
                  <a:pt x="3283318" y="1358576"/>
                  <a:pt x="3282566" y="1350998"/>
                </a:cubicBezTo>
                <a:cubicBezTo>
                  <a:pt x="3281814" y="1343420"/>
                  <a:pt x="3270535" y="1335207"/>
                  <a:pt x="3262379" y="1335843"/>
                </a:cubicBezTo>
                <a:cubicBezTo>
                  <a:pt x="3258214" y="1335987"/>
                  <a:pt x="3254049" y="1335692"/>
                  <a:pt x="3249942" y="1334975"/>
                </a:cubicBezTo>
                <a:cubicBezTo>
                  <a:pt x="3247397" y="1334547"/>
                  <a:pt x="3244852" y="1334281"/>
                  <a:pt x="3242249" y="1334165"/>
                </a:cubicBezTo>
                <a:cubicBezTo>
                  <a:pt x="3240167" y="1334165"/>
                  <a:pt x="3239819" y="1334570"/>
                  <a:pt x="3239819" y="1334628"/>
                </a:cubicBezTo>
                <a:cubicBezTo>
                  <a:pt x="3239819" y="1334686"/>
                  <a:pt x="3239819" y="1334628"/>
                  <a:pt x="3239819" y="1335207"/>
                </a:cubicBezTo>
                <a:cubicBezTo>
                  <a:pt x="3241034" y="1338006"/>
                  <a:pt x="3240803" y="1341217"/>
                  <a:pt x="3239241" y="1343825"/>
                </a:cubicBezTo>
                <a:cubicBezTo>
                  <a:pt x="3237969" y="1345676"/>
                  <a:pt x="3235655" y="1346509"/>
                  <a:pt x="3233456" y="1345908"/>
                </a:cubicBezTo>
                <a:cubicBezTo>
                  <a:pt x="3230044" y="1345040"/>
                  <a:pt x="3228192" y="1347817"/>
                  <a:pt x="3223796" y="1354642"/>
                </a:cubicBezTo>
                <a:lnTo>
                  <a:pt x="3222928" y="1355973"/>
                </a:lnTo>
                <a:cubicBezTo>
                  <a:pt x="3219400" y="1360398"/>
                  <a:pt x="3214021" y="1362989"/>
                  <a:pt x="3208352" y="1363030"/>
                </a:cubicBezTo>
                <a:cubicBezTo>
                  <a:pt x="3205749" y="1363030"/>
                  <a:pt x="3204072" y="1362220"/>
                  <a:pt x="3203493" y="1360832"/>
                </a:cubicBezTo>
                <a:cubicBezTo>
                  <a:pt x="3202915" y="1359443"/>
                  <a:pt x="3203493" y="1357650"/>
                  <a:pt x="3205865" y="1355683"/>
                </a:cubicBezTo>
                <a:cubicBezTo>
                  <a:pt x="3209971" y="1352039"/>
                  <a:pt x="3208988" y="1350824"/>
                  <a:pt x="3207021" y="1348453"/>
                </a:cubicBezTo>
                <a:cubicBezTo>
                  <a:pt x="3204824" y="1346313"/>
                  <a:pt x="3203782" y="1343218"/>
                  <a:pt x="3204303" y="1340181"/>
                </a:cubicBezTo>
                <a:cubicBezTo>
                  <a:pt x="3204939" y="1337549"/>
                  <a:pt x="3205807" y="1334975"/>
                  <a:pt x="3206906" y="1332488"/>
                </a:cubicBezTo>
                <a:cubicBezTo>
                  <a:pt x="3207427" y="1331366"/>
                  <a:pt x="3207889" y="1330203"/>
                  <a:pt x="3208236" y="1329017"/>
                </a:cubicBezTo>
                <a:cubicBezTo>
                  <a:pt x="3207195" y="1329399"/>
                  <a:pt x="3206154" y="1329885"/>
                  <a:pt x="3205228" y="1330463"/>
                </a:cubicBezTo>
                <a:cubicBezTo>
                  <a:pt x="3201411" y="1333037"/>
                  <a:pt x="3198403" y="1336676"/>
                  <a:pt x="3196610" y="1340933"/>
                </a:cubicBezTo>
                <a:cubicBezTo>
                  <a:pt x="3194412" y="1345098"/>
                  <a:pt x="3192329" y="1349089"/>
                  <a:pt x="3187875" y="1350015"/>
                </a:cubicBezTo>
                <a:lnTo>
                  <a:pt x="3186949" y="1350015"/>
                </a:lnTo>
                <a:cubicBezTo>
                  <a:pt x="3185561" y="1349997"/>
                  <a:pt x="3184289" y="1349280"/>
                  <a:pt x="3183537" y="1348106"/>
                </a:cubicBezTo>
                <a:cubicBezTo>
                  <a:pt x="3179488" y="1342321"/>
                  <a:pt x="3181859" y="1324968"/>
                  <a:pt x="3183537" y="1320572"/>
                </a:cubicBezTo>
                <a:cubicBezTo>
                  <a:pt x="3183537" y="1320109"/>
                  <a:pt x="3183537" y="1319878"/>
                  <a:pt x="3183537" y="1319820"/>
                </a:cubicBezTo>
                <a:cubicBezTo>
                  <a:pt x="3183537" y="1319762"/>
                  <a:pt x="3183189" y="1319415"/>
                  <a:pt x="3181223" y="1319415"/>
                </a:cubicBezTo>
                <a:cubicBezTo>
                  <a:pt x="3179256" y="1319415"/>
                  <a:pt x="3176769" y="1319762"/>
                  <a:pt x="3173761" y="1320109"/>
                </a:cubicBezTo>
                <a:cubicBezTo>
                  <a:pt x="3166993" y="1321185"/>
                  <a:pt x="3160168" y="1321555"/>
                  <a:pt x="3153342" y="1321208"/>
                </a:cubicBezTo>
                <a:cubicBezTo>
                  <a:pt x="3144550" y="1320630"/>
                  <a:pt x="3141773" y="1317275"/>
                  <a:pt x="3141484" y="1314614"/>
                </a:cubicBezTo>
                <a:cubicBezTo>
                  <a:pt x="3140443" y="1309813"/>
                  <a:pt x="3145533" y="1303450"/>
                  <a:pt x="3154152" y="1298880"/>
                </a:cubicBezTo>
                <a:cubicBezTo>
                  <a:pt x="3159185" y="1296480"/>
                  <a:pt x="3163407" y="1292633"/>
                  <a:pt x="3166241" y="1287832"/>
                </a:cubicBezTo>
                <a:cubicBezTo>
                  <a:pt x="3167572" y="1285281"/>
                  <a:pt x="3169770" y="1283245"/>
                  <a:pt x="3172373" y="1282048"/>
                </a:cubicBezTo>
                <a:cubicBezTo>
                  <a:pt x="3179893" y="1278305"/>
                  <a:pt x="3187181" y="1274117"/>
                  <a:pt x="3194238" y="1269495"/>
                </a:cubicBezTo>
                <a:cubicBezTo>
                  <a:pt x="3199097" y="1266488"/>
                  <a:pt x="3203667" y="1263711"/>
                  <a:pt x="3207427" y="1261513"/>
                </a:cubicBezTo>
                <a:cubicBezTo>
                  <a:pt x="3214483" y="1257684"/>
                  <a:pt x="3219632" y="1251043"/>
                  <a:pt x="3221540" y="1243234"/>
                </a:cubicBezTo>
                <a:lnTo>
                  <a:pt x="3221540" y="1242366"/>
                </a:lnTo>
                <a:cubicBezTo>
                  <a:pt x="3223102" y="1238086"/>
                  <a:pt x="3229928" y="1233690"/>
                  <a:pt x="3239357" y="1227616"/>
                </a:cubicBezTo>
                <a:cubicBezTo>
                  <a:pt x="3246876" y="1222942"/>
                  <a:pt x="3254164" y="1217864"/>
                  <a:pt x="3261106" y="1212403"/>
                </a:cubicBezTo>
                <a:cubicBezTo>
                  <a:pt x="3277476" y="1198983"/>
                  <a:pt x="3286557" y="1190654"/>
                  <a:pt x="3290665" y="1182035"/>
                </a:cubicBezTo>
                <a:cubicBezTo>
                  <a:pt x="3292805" y="1177581"/>
                  <a:pt x="3300209" y="1172838"/>
                  <a:pt x="3307324" y="1168326"/>
                </a:cubicBezTo>
                <a:cubicBezTo>
                  <a:pt x="3314438" y="1163814"/>
                  <a:pt x="3320685" y="1159765"/>
                  <a:pt x="3320859" y="1157046"/>
                </a:cubicBezTo>
                <a:cubicBezTo>
                  <a:pt x="3321322" y="1149295"/>
                  <a:pt x="3353599" y="1133156"/>
                  <a:pt x="3372919" y="1129339"/>
                </a:cubicBezTo>
                <a:cubicBezTo>
                  <a:pt x="3378530" y="1128338"/>
                  <a:pt x="3384198" y="1127852"/>
                  <a:pt x="3389868" y="1127893"/>
                </a:cubicBezTo>
                <a:cubicBezTo>
                  <a:pt x="3408551" y="1127893"/>
                  <a:pt x="3428449" y="1132057"/>
                  <a:pt x="3433309" y="1136974"/>
                </a:cubicBezTo>
                <a:cubicBezTo>
                  <a:pt x="3435506" y="1140358"/>
                  <a:pt x="3440018" y="1141330"/>
                  <a:pt x="3443374" y="1139149"/>
                </a:cubicBezTo>
                <a:cubicBezTo>
                  <a:pt x="3444414" y="1138501"/>
                  <a:pt x="3445224" y="1137616"/>
                  <a:pt x="3445803" y="1136569"/>
                </a:cubicBezTo>
                <a:cubicBezTo>
                  <a:pt x="3448001" y="1134493"/>
                  <a:pt x="3451009" y="1133498"/>
                  <a:pt x="3454017" y="1133851"/>
                </a:cubicBezTo>
                <a:cubicBezTo>
                  <a:pt x="3457893" y="1133978"/>
                  <a:pt x="3461768" y="1134342"/>
                  <a:pt x="3465586" y="1134950"/>
                </a:cubicBezTo>
                <a:lnTo>
                  <a:pt x="3472238" y="1135817"/>
                </a:lnTo>
                <a:cubicBezTo>
                  <a:pt x="3473394" y="1135817"/>
                  <a:pt x="3474551" y="1135817"/>
                  <a:pt x="3475650" y="1135817"/>
                </a:cubicBezTo>
                <a:cubicBezTo>
                  <a:pt x="3479468" y="1135754"/>
                  <a:pt x="3483228" y="1134886"/>
                  <a:pt x="3486699" y="1133272"/>
                </a:cubicBezTo>
                <a:cubicBezTo>
                  <a:pt x="3489128" y="1132121"/>
                  <a:pt x="3491789" y="1131450"/>
                  <a:pt x="3494508" y="1131305"/>
                </a:cubicBezTo>
                <a:cubicBezTo>
                  <a:pt x="3495896" y="1131317"/>
                  <a:pt x="3497342" y="1131554"/>
                  <a:pt x="3498672" y="1132000"/>
                </a:cubicBezTo>
                <a:cubicBezTo>
                  <a:pt x="3501912" y="1133128"/>
                  <a:pt x="3505325" y="1133810"/>
                  <a:pt x="3508795" y="1134024"/>
                </a:cubicBezTo>
                <a:cubicBezTo>
                  <a:pt x="3513828" y="1133966"/>
                  <a:pt x="3518224" y="1130808"/>
                  <a:pt x="3519959" y="1126099"/>
                </a:cubicBezTo>
                <a:cubicBezTo>
                  <a:pt x="3523950" y="1118290"/>
                  <a:pt x="3536676" y="1117481"/>
                  <a:pt x="3541940" y="1117481"/>
                </a:cubicBezTo>
                <a:cubicBezTo>
                  <a:pt x="3548187" y="1117145"/>
                  <a:pt x="3554434" y="1118464"/>
                  <a:pt x="3559987" y="1121298"/>
                </a:cubicBezTo>
                <a:lnTo>
                  <a:pt x="3562417" y="1123149"/>
                </a:lnTo>
                <a:cubicBezTo>
                  <a:pt x="3565020" y="1125764"/>
                  <a:pt x="3568375" y="1127436"/>
                  <a:pt x="3572019" y="1127893"/>
                </a:cubicBezTo>
                <a:cubicBezTo>
                  <a:pt x="3574680" y="1127760"/>
                  <a:pt x="3577225" y="1126834"/>
                  <a:pt x="3579308" y="1125232"/>
                </a:cubicBezTo>
                <a:cubicBezTo>
                  <a:pt x="3580754" y="1124179"/>
                  <a:pt x="3582489" y="1123554"/>
                  <a:pt x="3584282" y="1123439"/>
                </a:cubicBezTo>
                <a:cubicBezTo>
                  <a:pt x="3587521" y="1123439"/>
                  <a:pt x="3589488" y="1126157"/>
                  <a:pt x="3591455" y="1128760"/>
                </a:cubicBezTo>
                <a:cubicBezTo>
                  <a:pt x="3593075" y="1131658"/>
                  <a:pt x="3595793" y="1133752"/>
                  <a:pt x="3599032" y="1134545"/>
                </a:cubicBezTo>
                <a:cubicBezTo>
                  <a:pt x="3604354" y="1135239"/>
                  <a:pt x="3604817" y="1137957"/>
                  <a:pt x="3604817" y="1139114"/>
                </a:cubicBezTo>
                <a:cubicBezTo>
                  <a:pt x="3604817" y="1142701"/>
                  <a:pt x="3599437" y="1145824"/>
                  <a:pt x="3594058" y="1145246"/>
                </a:cubicBezTo>
                <a:lnTo>
                  <a:pt x="3592323" y="1145246"/>
                </a:lnTo>
                <a:cubicBezTo>
                  <a:pt x="3587232" y="1145246"/>
                  <a:pt x="3583183" y="1147155"/>
                  <a:pt x="3582720" y="1148890"/>
                </a:cubicBezTo>
                <a:cubicBezTo>
                  <a:pt x="3582258" y="1150625"/>
                  <a:pt x="3583588" y="1151262"/>
                  <a:pt x="3585844" y="1152534"/>
                </a:cubicBezTo>
                <a:cubicBezTo>
                  <a:pt x="3587463" y="1153466"/>
                  <a:pt x="3589315" y="1153946"/>
                  <a:pt x="3591223" y="1153923"/>
                </a:cubicBezTo>
                <a:cubicBezTo>
                  <a:pt x="3595099" y="1153604"/>
                  <a:pt x="3598916" y="1152586"/>
                  <a:pt x="3602445" y="1150915"/>
                </a:cubicBezTo>
                <a:cubicBezTo>
                  <a:pt x="3605684" y="1149289"/>
                  <a:pt x="3609213" y="1148404"/>
                  <a:pt x="3612857" y="1148312"/>
                </a:cubicBezTo>
                <a:cubicBezTo>
                  <a:pt x="3615633" y="1148676"/>
                  <a:pt x="3618410" y="1148867"/>
                  <a:pt x="3621187" y="1148890"/>
                </a:cubicBezTo>
                <a:cubicBezTo>
                  <a:pt x="3628128" y="1149127"/>
                  <a:pt x="3634954" y="1147294"/>
                  <a:pt x="3640796" y="1143626"/>
                </a:cubicBezTo>
                <a:cubicBezTo>
                  <a:pt x="3642705" y="1142302"/>
                  <a:pt x="3645019" y="1141561"/>
                  <a:pt x="3647333" y="1141486"/>
                </a:cubicBezTo>
                <a:cubicBezTo>
                  <a:pt x="3649530" y="1141573"/>
                  <a:pt x="3651671" y="1142232"/>
                  <a:pt x="3653522" y="1143395"/>
                </a:cubicBezTo>
                <a:cubicBezTo>
                  <a:pt x="3656009" y="1144667"/>
                  <a:pt x="3657744" y="1145362"/>
                  <a:pt x="3660058" y="1143395"/>
                </a:cubicBezTo>
                <a:cubicBezTo>
                  <a:pt x="3666537" y="1137610"/>
                  <a:pt x="3679956" y="1136222"/>
                  <a:pt x="3686840" y="1136222"/>
                </a:cubicBezTo>
                <a:lnTo>
                  <a:pt x="3689559" y="1136222"/>
                </a:lnTo>
                <a:cubicBezTo>
                  <a:pt x="3690021" y="1136280"/>
                  <a:pt x="3690542" y="1136182"/>
                  <a:pt x="3690947" y="1135933"/>
                </a:cubicBezTo>
                <a:cubicBezTo>
                  <a:pt x="3690947" y="1134255"/>
                  <a:pt x="3686493" y="1130148"/>
                  <a:pt x="3678163" y="1130148"/>
                </a:cubicBezTo>
                <a:cubicBezTo>
                  <a:pt x="3673073" y="1130148"/>
                  <a:pt x="3670007" y="1128992"/>
                  <a:pt x="3668619" y="1126562"/>
                </a:cubicBezTo>
                <a:cubicBezTo>
                  <a:pt x="3666537" y="1122918"/>
                  <a:pt x="3668619" y="1117018"/>
                  <a:pt x="3675213" y="1105449"/>
                </a:cubicBezTo>
                <a:cubicBezTo>
                  <a:pt x="3682560" y="1094580"/>
                  <a:pt x="3692162" y="1085429"/>
                  <a:pt x="3703383" y="1078609"/>
                </a:cubicBezTo>
                <a:cubicBezTo>
                  <a:pt x="3707548" y="1075827"/>
                  <a:pt x="3711540" y="1072813"/>
                  <a:pt x="3715357" y="1069585"/>
                </a:cubicBezTo>
                <a:cubicBezTo>
                  <a:pt x="3719695" y="1065791"/>
                  <a:pt x="3725017" y="1063217"/>
                  <a:pt x="3730686" y="1062124"/>
                </a:cubicBezTo>
                <a:cubicBezTo>
                  <a:pt x="3734272" y="1061256"/>
                  <a:pt x="3735256" y="1060909"/>
                  <a:pt x="3735256" y="1058769"/>
                </a:cubicBezTo>
                <a:cubicBezTo>
                  <a:pt x="3735256" y="1052406"/>
                  <a:pt x="3741040" y="1033028"/>
                  <a:pt x="3750815" y="1032623"/>
                </a:cubicBezTo>
                <a:cubicBezTo>
                  <a:pt x="3753014" y="1032623"/>
                  <a:pt x="3756079" y="1032623"/>
                  <a:pt x="3759724" y="1032623"/>
                </a:cubicBezTo>
                <a:cubicBezTo>
                  <a:pt x="3763368" y="1032623"/>
                  <a:pt x="3767302" y="1033086"/>
                  <a:pt x="3771293" y="1033086"/>
                </a:cubicBezTo>
                <a:cubicBezTo>
                  <a:pt x="3779449" y="1033572"/>
                  <a:pt x="3787605" y="1031975"/>
                  <a:pt x="3794951" y="1028458"/>
                </a:cubicBezTo>
                <a:cubicBezTo>
                  <a:pt x="3797265" y="1027000"/>
                  <a:pt x="3799925" y="1026145"/>
                  <a:pt x="3802644" y="1025971"/>
                </a:cubicBezTo>
                <a:cubicBezTo>
                  <a:pt x="3806983" y="1025971"/>
                  <a:pt x="3808949" y="1029326"/>
                  <a:pt x="3810511" y="1031755"/>
                </a:cubicBezTo>
                <a:cubicBezTo>
                  <a:pt x="3812073" y="1034185"/>
                  <a:pt x="3812593" y="1035284"/>
                  <a:pt x="3814040" y="1035804"/>
                </a:cubicBezTo>
                <a:cubicBezTo>
                  <a:pt x="3815486" y="1036325"/>
                  <a:pt x="3818898" y="1034300"/>
                  <a:pt x="3821675" y="1032102"/>
                </a:cubicBezTo>
                <a:cubicBezTo>
                  <a:pt x="3824220" y="1029615"/>
                  <a:pt x="3827459" y="1027955"/>
                  <a:pt x="3830930" y="1027359"/>
                </a:cubicBezTo>
                <a:cubicBezTo>
                  <a:pt x="3832029" y="1027359"/>
                  <a:pt x="3833128" y="1027683"/>
                  <a:pt x="3834053" y="1028285"/>
                </a:cubicBezTo>
                <a:cubicBezTo>
                  <a:pt x="3835153" y="1028846"/>
                  <a:pt x="3835847" y="1029870"/>
                  <a:pt x="3836078" y="1031061"/>
                </a:cubicBezTo>
                <a:cubicBezTo>
                  <a:pt x="3836541" y="1033896"/>
                  <a:pt x="3833707" y="1037135"/>
                  <a:pt x="3830293" y="1041300"/>
                </a:cubicBezTo>
                <a:cubicBezTo>
                  <a:pt x="3826476" y="1045239"/>
                  <a:pt x="3823468" y="1049872"/>
                  <a:pt x="3821386" y="1054951"/>
                </a:cubicBezTo>
                <a:cubicBezTo>
                  <a:pt x="3820576" y="1056675"/>
                  <a:pt x="3820576" y="1058664"/>
                  <a:pt x="3821386" y="1060388"/>
                </a:cubicBezTo>
                <a:cubicBezTo>
                  <a:pt x="3822427" y="1061950"/>
                  <a:pt x="3825319" y="1062239"/>
                  <a:pt x="3828443" y="1062528"/>
                </a:cubicBezTo>
                <a:cubicBezTo>
                  <a:pt x="3831103" y="1062621"/>
                  <a:pt x="3833707" y="1063165"/>
                  <a:pt x="3836194" y="1064148"/>
                </a:cubicBezTo>
                <a:cubicBezTo>
                  <a:pt x="3837698" y="1064842"/>
                  <a:pt x="3838508" y="1065768"/>
                  <a:pt x="3838565" y="1066867"/>
                </a:cubicBezTo>
                <a:cubicBezTo>
                  <a:pt x="3838565" y="1069007"/>
                  <a:pt x="3836136" y="1070742"/>
                  <a:pt x="3833359" y="1072651"/>
                </a:cubicBezTo>
                <a:cubicBezTo>
                  <a:pt x="3832029" y="1073577"/>
                  <a:pt x="3829484" y="1075254"/>
                  <a:pt x="3829484" y="1075948"/>
                </a:cubicBezTo>
                <a:cubicBezTo>
                  <a:pt x="3829484" y="1076643"/>
                  <a:pt x="3830583" y="1076990"/>
                  <a:pt x="3832955" y="1076990"/>
                </a:cubicBezTo>
                <a:cubicBezTo>
                  <a:pt x="3838739" y="1076990"/>
                  <a:pt x="3849093" y="1072825"/>
                  <a:pt x="3860777" y="1061140"/>
                </a:cubicBezTo>
                <a:cubicBezTo>
                  <a:pt x="3874950" y="1047026"/>
                  <a:pt x="3890105" y="1039217"/>
                  <a:pt x="3903467" y="1039217"/>
                </a:cubicBezTo>
                <a:cubicBezTo>
                  <a:pt x="3904624" y="1039159"/>
                  <a:pt x="3905780" y="1039159"/>
                  <a:pt x="3906937" y="1039217"/>
                </a:cubicBezTo>
                <a:cubicBezTo>
                  <a:pt x="3908499" y="1039663"/>
                  <a:pt x="3910177" y="1039339"/>
                  <a:pt x="3911449" y="1038350"/>
                </a:cubicBezTo>
                <a:cubicBezTo>
                  <a:pt x="3912895" y="1036730"/>
                  <a:pt x="3912491" y="1032854"/>
                  <a:pt x="3911970" y="1027938"/>
                </a:cubicBezTo>
                <a:cubicBezTo>
                  <a:pt x="3911391" y="1023200"/>
                  <a:pt x="3911218" y="1018422"/>
                  <a:pt x="3911333" y="1013650"/>
                </a:cubicBezTo>
                <a:cubicBezTo>
                  <a:pt x="3911970" y="1000230"/>
                  <a:pt x="3932967" y="994214"/>
                  <a:pt x="3947660" y="994214"/>
                </a:cubicBezTo>
                <a:cubicBezTo>
                  <a:pt x="3951766" y="994076"/>
                  <a:pt x="3955874" y="994723"/>
                  <a:pt x="3959749" y="996123"/>
                </a:cubicBezTo>
                <a:cubicBezTo>
                  <a:pt x="3963278" y="997627"/>
                  <a:pt x="3969120" y="1000577"/>
                  <a:pt x="3968541" y="1003585"/>
                </a:cubicBezTo>
                <a:cubicBezTo>
                  <a:pt x="3968541" y="1004511"/>
                  <a:pt x="3967501" y="1005610"/>
                  <a:pt x="3964550" y="1005610"/>
                </a:cubicBezTo>
                <a:cubicBezTo>
                  <a:pt x="3962584" y="1005540"/>
                  <a:pt x="3960675" y="1005228"/>
                  <a:pt x="3958766" y="1004684"/>
                </a:cubicBezTo>
                <a:cubicBezTo>
                  <a:pt x="3953792" y="1003446"/>
                  <a:pt x="3948585" y="1004997"/>
                  <a:pt x="3945115" y="1008733"/>
                </a:cubicBezTo>
                <a:cubicBezTo>
                  <a:pt x="3941181" y="1012892"/>
                  <a:pt x="3939099" y="1018463"/>
                  <a:pt x="3939330" y="1024178"/>
                </a:cubicBezTo>
                <a:cubicBezTo>
                  <a:pt x="3939446" y="1029546"/>
                  <a:pt x="3938000" y="1034833"/>
                  <a:pt x="3935281" y="1039449"/>
                </a:cubicBezTo>
                <a:cubicBezTo>
                  <a:pt x="3933314" y="1043208"/>
                  <a:pt x="3932620" y="1044828"/>
                  <a:pt x="3934645" y="1046853"/>
                </a:cubicBezTo>
                <a:cubicBezTo>
                  <a:pt x="3935686" y="1047697"/>
                  <a:pt x="3936265" y="1048993"/>
                  <a:pt x="3936149" y="1050323"/>
                </a:cubicBezTo>
                <a:cubicBezTo>
                  <a:pt x="3936149" y="1052348"/>
                  <a:pt x="3933835" y="1053678"/>
                  <a:pt x="3931579" y="1055067"/>
                </a:cubicBezTo>
                <a:cubicBezTo>
                  <a:pt x="3929323" y="1056455"/>
                  <a:pt x="3926952" y="1057901"/>
                  <a:pt x="3926836" y="1059868"/>
                </a:cubicBezTo>
                <a:lnTo>
                  <a:pt x="3926836" y="1061082"/>
                </a:lnTo>
                <a:cubicBezTo>
                  <a:pt x="3927646" y="1066861"/>
                  <a:pt x="3923770" y="1072258"/>
                  <a:pt x="3918043" y="1073345"/>
                </a:cubicBezTo>
                <a:cubicBezTo>
                  <a:pt x="3916251" y="1073866"/>
                  <a:pt x="3913647" y="1074444"/>
                  <a:pt x="3910581" y="1075023"/>
                </a:cubicBezTo>
                <a:cubicBezTo>
                  <a:pt x="3900459" y="1077163"/>
                  <a:pt x="3883453" y="1080807"/>
                  <a:pt x="3882874" y="1088096"/>
                </a:cubicBezTo>
                <a:cubicBezTo>
                  <a:pt x="3882411" y="1093880"/>
                  <a:pt x="3877784" y="1097409"/>
                  <a:pt x="3872867" y="1100821"/>
                </a:cubicBezTo>
                <a:cubicBezTo>
                  <a:pt x="3867835" y="1103853"/>
                  <a:pt x="3863554" y="1108081"/>
                  <a:pt x="3860547" y="1113142"/>
                </a:cubicBezTo>
                <a:cubicBezTo>
                  <a:pt x="3855803" y="1119829"/>
                  <a:pt x="3849672" y="1125376"/>
                  <a:pt x="3842557" y="1129396"/>
                </a:cubicBezTo>
                <a:cubicBezTo>
                  <a:pt x="3829831" y="1137298"/>
                  <a:pt x="3818840" y="1147589"/>
                  <a:pt x="3810048" y="1159707"/>
                </a:cubicBezTo>
                <a:cubicBezTo>
                  <a:pt x="3800909" y="1172658"/>
                  <a:pt x="3787605" y="1182104"/>
                  <a:pt x="3772334" y="1186489"/>
                </a:cubicBezTo>
                <a:cubicBezTo>
                  <a:pt x="3769384" y="1187530"/>
                  <a:pt x="3765392" y="1188918"/>
                  <a:pt x="3765392" y="1189728"/>
                </a:cubicBezTo>
                <a:cubicBezTo>
                  <a:pt x="3765392" y="1194240"/>
                  <a:pt x="3756485" y="1195050"/>
                  <a:pt x="3744858" y="1195513"/>
                </a:cubicBezTo>
                <a:cubicBezTo>
                  <a:pt x="3742428" y="1195513"/>
                  <a:pt x="3740346" y="1195802"/>
                  <a:pt x="3739074" y="1195975"/>
                </a:cubicBezTo>
                <a:cubicBezTo>
                  <a:pt x="3737800" y="1196149"/>
                  <a:pt x="3737800" y="1196959"/>
                  <a:pt x="3738322" y="1201355"/>
                </a:cubicBezTo>
                <a:cubicBezTo>
                  <a:pt x="3740346" y="1211212"/>
                  <a:pt x="3737396" y="1221433"/>
                  <a:pt x="3730455" y="1228715"/>
                </a:cubicBezTo>
                <a:cubicBezTo>
                  <a:pt x="3714721" y="1245496"/>
                  <a:pt x="3705928" y="1267563"/>
                  <a:pt x="3705697" y="1290551"/>
                </a:cubicBezTo>
                <a:cubicBezTo>
                  <a:pt x="3706160" y="1314267"/>
                  <a:pt x="3713969" y="1379804"/>
                  <a:pt x="3720505" y="1390968"/>
                </a:cubicBezTo>
                <a:cubicBezTo>
                  <a:pt x="3724207" y="1397273"/>
                  <a:pt x="3724843" y="1408322"/>
                  <a:pt x="3725422" y="1417924"/>
                </a:cubicBezTo>
                <a:cubicBezTo>
                  <a:pt x="3725943" y="1426485"/>
                  <a:pt x="3726405" y="1434583"/>
                  <a:pt x="3728835" y="1437186"/>
                </a:cubicBezTo>
                <a:cubicBezTo>
                  <a:pt x="3731669" y="1440801"/>
                  <a:pt x="3733347" y="1445163"/>
                  <a:pt x="3733752" y="1449738"/>
                </a:cubicBezTo>
                <a:cubicBezTo>
                  <a:pt x="3733867" y="1452312"/>
                  <a:pt x="3734677" y="1454805"/>
                  <a:pt x="3736066" y="1456969"/>
                </a:cubicBezTo>
                <a:cubicBezTo>
                  <a:pt x="3736066" y="1456969"/>
                  <a:pt x="3736066" y="1456969"/>
                  <a:pt x="3736412" y="1456969"/>
                </a:cubicBezTo>
                <a:cubicBezTo>
                  <a:pt x="3739016" y="1456969"/>
                  <a:pt x="3745610" y="1449912"/>
                  <a:pt x="3751510" y="1443722"/>
                </a:cubicBezTo>
                <a:cubicBezTo>
                  <a:pt x="3755154" y="1439668"/>
                  <a:pt x="3759030" y="1435804"/>
                  <a:pt x="3763078" y="1432153"/>
                </a:cubicBezTo>
                <a:cubicBezTo>
                  <a:pt x="3766434" y="1429626"/>
                  <a:pt x="3769152" y="1426410"/>
                  <a:pt x="3771119" y="1422725"/>
                </a:cubicBezTo>
                <a:cubicBezTo>
                  <a:pt x="3772392" y="1420082"/>
                  <a:pt x="3774416" y="1417854"/>
                  <a:pt x="3776903" y="1416304"/>
                </a:cubicBezTo>
                <a:cubicBezTo>
                  <a:pt x="3780895" y="1413701"/>
                  <a:pt x="3781242" y="1405025"/>
                  <a:pt x="3781473" y="1398083"/>
                </a:cubicBezTo>
                <a:cubicBezTo>
                  <a:pt x="3781415" y="1395006"/>
                  <a:pt x="3781763" y="1391929"/>
                  <a:pt x="3782515" y="1388944"/>
                </a:cubicBezTo>
                <a:cubicBezTo>
                  <a:pt x="3783729" y="1386052"/>
                  <a:pt x="3787778" y="1384085"/>
                  <a:pt x="3792058" y="1382060"/>
                </a:cubicBezTo>
                <a:cubicBezTo>
                  <a:pt x="3795472" y="1380782"/>
                  <a:pt x="3798595" y="1378810"/>
                  <a:pt x="3801256" y="1376276"/>
                </a:cubicBezTo>
                <a:cubicBezTo>
                  <a:pt x="3804090" y="1372574"/>
                  <a:pt x="3809297" y="1372574"/>
                  <a:pt x="3814329" y="1372516"/>
                </a:cubicBezTo>
                <a:cubicBezTo>
                  <a:pt x="3816874" y="1372672"/>
                  <a:pt x="3819477" y="1372435"/>
                  <a:pt x="3821964" y="1371822"/>
                </a:cubicBezTo>
                <a:cubicBezTo>
                  <a:pt x="3825319" y="1370607"/>
                  <a:pt x="3822542" y="1362046"/>
                  <a:pt x="3820518" y="1355799"/>
                </a:cubicBezTo>
                <a:cubicBezTo>
                  <a:pt x="3819882" y="1353775"/>
                  <a:pt x="3819246" y="1351808"/>
                  <a:pt x="3818782" y="1350015"/>
                </a:cubicBezTo>
                <a:cubicBezTo>
                  <a:pt x="3816932" y="1342958"/>
                  <a:pt x="3829079" y="1334859"/>
                  <a:pt x="3839780" y="1327687"/>
                </a:cubicBezTo>
                <a:lnTo>
                  <a:pt x="3845564" y="1323811"/>
                </a:lnTo>
                <a:cubicBezTo>
                  <a:pt x="3848110" y="1322001"/>
                  <a:pt x="3851234" y="1321087"/>
                  <a:pt x="3854357" y="1321208"/>
                </a:cubicBezTo>
                <a:cubicBezTo>
                  <a:pt x="3856555" y="1321254"/>
                  <a:pt x="3858695" y="1321451"/>
                  <a:pt x="3860835" y="1321787"/>
                </a:cubicBezTo>
                <a:cubicBezTo>
                  <a:pt x="3862976" y="1322128"/>
                  <a:pt x="3865116" y="1322319"/>
                  <a:pt x="3867314" y="1322365"/>
                </a:cubicBezTo>
                <a:cubicBezTo>
                  <a:pt x="3871363" y="1322510"/>
                  <a:pt x="3875239" y="1321029"/>
                  <a:pt x="3878189" y="1318258"/>
                </a:cubicBezTo>
                <a:cubicBezTo>
                  <a:pt x="3887213" y="1309871"/>
                  <a:pt x="3879346" y="1300269"/>
                  <a:pt x="3874602" y="1294484"/>
                </a:cubicBezTo>
                <a:lnTo>
                  <a:pt x="3873214" y="1292691"/>
                </a:lnTo>
                <a:cubicBezTo>
                  <a:pt x="3871942" y="1291071"/>
                  <a:pt x="3872000" y="1288121"/>
                  <a:pt x="3873214" y="1283956"/>
                </a:cubicBezTo>
                <a:cubicBezTo>
                  <a:pt x="3876164" y="1275049"/>
                  <a:pt x="3885997" y="1259778"/>
                  <a:pt x="3892997" y="1257811"/>
                </a:cubicBezTo>
                <a:cubicBezTo>
                  <a:pt x="3894096" y="1257470"/>
                  <a:pt x="3895311" y="1257296"/>
                  <a:pt x="3896468" y="1257290"/>
                </a:cubicBezTo>
                <a:cubicBezTo>
                  <a:pt x="3898608" y="1257377"/>
                  <a:pt x="3900690" y="1257788"/>
                  <a:pt x="3902715" y="1258505"/>
                </a:cubicBezTo>
                <a:cubicBezTo>
                  <a:pt x="3904219" y="1259112"/>
                  <a:pt x="3905896" y="1259465"/>
                  <a:pt x="3907516" y="1259546"/>
                </a:cubicBezTo>
                <a:cubicBezTo>
                  <a:pt x="3909714" y="1259390"/>
                  <a:pt x="3911797" y="1258424"/>
                  <a:pt x="3913301" y="1256827"/>
                </a:cubicBezTo>
                <a:cubicBezTo>
                  <a:pt x="3915209" y="1255353"/>
                  <a:pt x="3915845" y="1252761"/>
                  <a:pt x="3914805" y="1250580"/>
                </a:cubicBezTo>
                <a:cubicBezTo>
                  <a:pt x="3912201" y="1245264"/>
                  <a:pt x="3907169" y="1241557"/>
                  <a:pt x="3901326" y="1240631"/>
                </a:cubicBezTo>
                <a:lnTo>
                  <a:pt x="3900864" y="1240631"/>
                </a:lnTo>
                <a:cubicBezTo>
                  <a:pt x="3899764" y="1240631"/>
                  <a:pt x="3897798" y="1240111"/>
                  <a:pt x="3896583" y="1236466"/>
                </a:cubicBezTo>
                <a:cubicBezTo>
                  <a:pt x="3893922" y="1225898"/>
                  <a:pt x="3897682" y="1214746"/>
                  <a:pt x="3906128" y="1207891"/>
                </a:cubicBezTo>
                <a:cubicBezTo>
                  <a:pt x="3912837" y="1202859"/>
                  <a:pt x="3913937" y="1200429"/>
                  <a:pt x="3913705" y="1199272"/>
                </a:cubicBezTo>
                <a:cubicBezTo>
                  <a:pt x="3913474" y="1198116"/>
                  <a:pt x="3909714" y="1196496"/>
                  <a:pt x="3905665" y="1195397"/>
                </a:cubicBezTo>
                <a:cubicBezTo>
                  <a:pt x="3903814" y="1194836"/>
                  <a:pt x="3901847" y="1194541"/>
                  <a:pt x="3899880" y="1194529"/>
                </a:cubicBezTo>
                <a:cubicBezTo>
                  <a:pt x="3898087" y="1194558"/>
                  <a:pt x="3896294" y="1194870"/>
                  <a:pt x="3894617" y="1195455"/>
                </a:cubicBezTo>
                <a:cubicBezTo>
                  <a:pt x="3892592" y="1196056"/>
                  <a:pt x="3890510" y="1196450"/>
                  <a:pt x="3888427" y="1196612"/>
                </a:cubicBezTo>
                <a:lnTo>
                  <a:pt x="3888080" y="1196612"/>
                </a:lnTo>
                <a:cubicBezTo>
                  <a:pt x="3884667" y="1196282"/>
                  <a:pt x="3881717" y="1194043"/>
                  <a:pt x="3880503" y="1190827"/>
                </a:cubicBezTo>
                <a:cubicBezTo>
                  <a:pt x="3876974" y="1182688"/>
                  <a:pt x="3878420" y="1173254"/>
                  <a:pt x="3884205" y="1166533"/>
                </a:cubicBezTo>
                <a:cubicBezTo>
                  <a:pt x="3887965" y="1161541"/>
                  <a:pt x="3892592" y="1157306"/>
                  <a:pt x="3897914" y="1154038"/>
                </a:cubicBezTo>
                <a:cubicBezTo>
                  <a:pt x="3902542" y="1151771"/>
                  <a:pt x="3905896" y="1147508"/>
                  <a:pt x="3906995" y="1142469"/>
                </a:cubicBezTo>
                <a:cubicBezTo>
                  <a:pt x="3908846" y="1133619"/>
                  <a:pt x="3917060" y="1122571"/>
                  <a:pt x="3923018" y="1114473"/>
                </a:cubicBezTo>
                <a:cubicBezTo>
                  <a:pt x="3925042" y="1111754"/>
                  <a:pt x="3926836" y="1109382"/>
                  <a:pt x="3927762" y="1107821"/>
                </a:cubicBezTo>
                <a:cubicBezTo>
                  <a:pt x="3929554" y="1105362"/>
                  <a:pt x="3932562" y="1104090"/>
                  <a:pt x="3935570" y="1104523"/>
                </a:cubicBezTo>
                <a:cubicBezTo>
                  <a:pt x="3938405" y="1104610"/>
                  <a:pt x="3941297" y="1104917"/>
                  <a:pt x="3944073" y="1105449"/>
                </a:cubicBezTo>
                <a:cubicBezTo>
                  <a:pt x="3946792" y="1106033"/>
                  <a:pt x="3949511" y="1106247"/>
                  <a:pt x="3952288" y="1106085"/>
                </a:cubicBezTo>
                <a:cubicBezTo>
                  <a:pt x="3952634" y="1106027"/>
                  <a:pt x="3952982" y="1106027"/>
                  <a:pt x="3953328" y="1106085"/>
                </a:cubicBezTo>
                <a:cubicBezTo>
                  <a:pt x="3955990" y="1106085"/>
                  <a:pt x="3957088" y="1108399"/>
                  <a:pt x="3958014" y="1110308"/>
                </a:cubicBezTo>
                <a:cubicBezTo>
                  <a:pt x="3958940" y="1112217"/>
                  <a:pt x="3959229" y="1112680"/>
                  <a:pt x="3959865" y="1112680"/>
                </a:cubicBezTo>
                <a:cubicBezTo>
                  <a:pt x="3960501" y="1112680"/>
                  <a:pt x="3960906" y="1112680"/>
                  <a:pt x="3962294" y="1111291"/>
                </a:cubicBezTo>
                <a:cubicBezTo>
                  <a:pt x="3965071" y="1108469"/>
                  <a:pt x="3967616" y="1105455"/>
                  <a:pt x="3969987" y="1102267"/>
                </a:cubicBezTo>
                <a:cubicBezTo>
                  <a:pt x="3976408" y="1094054"/>
                  <a:pt x="3983639" y="1084914"/>
                  <a:pt x="3990522" y="1084914"/>
                </a:cubicBezTo>
                <a:cubicBezTo>
                  <a:pt x="3992200" y="1084804"/>
                  <a:pt x="3993877" y="1085441"/>
                  <a:pt x="3995035" y="1086650"/>
                </a:cubicBezTo>
                <a:cubicBezTo>
                  <a:pt x="3997117" y="1090392"/>
                  <a:pt x="3997753" y="1094783"/>
                  <a:pt x="3996827" y="1098970"/>
                </a:cubicBezTo>
                <a:cubicBezTo>
                  <a:pt x="3997348" y="1102458"/>
                  <a:pt x="3998331" y="1105848"/>
                  <a:pt x="3999835" y="1109035"/>
                </a:cubicBezTo>
                <a:cubicBezTo>
                  <a:pt x="3999835" y="1110134"/>
                  <a:pt x="4000587" y="1111407"/>
                  <a:pt x="4001224" y="1111407"/>
                </a:cubicBezTo>
                <a:cubicBezTo>
                  <a:pt x="4001860" y="1111407"/>
                  <a:pt x="4005157" y="1108977"/>
                  <a:pt x="4008280" y="1106143"/>
                </a:cubicBezTo>
                <a:cubicBezTo>
                  <a:pt x="4013082" y="1101706"/>
                  <a:pt x="4018172" y="1097611"/>
                  <a:pt x="4023493" y="1093880"/>
                </a:cubicBezTo>
                <a:cubicBezTo>
                  <a:pt x="4036220" y="1085261"/>
                  <a:pt x="4056928" y="1084278"/>
                  <a:pt x="4065258" y="1084278"/>
                </a:cubicBezTo>
                <a:cubicBezTo>
                  <a:pt x="4074686" y="1083885"/>
                  <a:pt x="4084057" y="1085337"/>
                  <a:pt x="4092907" y="1088558"/>
                </a:cubicBezTo>
                <a:cubicBezTo>
                  <a:pt x="4097997" y="1091266"/>
                  <a:pt x="4102335" y="1095251"/>
                  <a:pt x="4105401" y="1100127"/>
                </a:cubicBezTo>
                <a:cubicBezTo>
                  <a:pt x="4107946" y="1103656"/>
                  <a:pt x="4109797" y="1106317"/>
                  <a:pt x="4112342" y="1105912"/>
                </a:cubicBezTo>
                <a:cubicBezTo>
                  <a:pt x="4116508" y="1104871"/>
                  <a:pt x="4116796" y="1102210"/>
                  <a:pt x="4117202" y="1098913"/>
                </a:cubicBezTo>
                <a:cubicBezTo>
                  <a:pt x="4116854" y="1094742"/>
                  <a:pt x="4119515" y="1090919"/>
                  <a:pt x="4123564" y="1089773"/>
                </a:cubicBezTo>
                <a:cubicBezTo>
                  <a:pt x="4137620" y="1084220"/>
                  <a:pt x="4150809" y="1076781"/>
                  <a:pt x="4162841" y="1067677"/>
                </a:cubicBezTo>
                <a:cubicBezTo>
                  <a:pt x="4165964" y="1065143"/>
                  <a:pt x="4169492" y="1063188"/>
                  <a:pt x="4173252" y="1061892"/>
                </a:cubicBezTo>
                <a:cubicBezTo>
                  <a:pt x="4174814" y="1061372"/>
                  <a:pt x="4175393" y="1061198"/>
                  <a:pt x="4179037" y="1056975"/>
                </a:cubicBezTo>
                <a:cubicBezTo>
                  <a:pt x="4181755" y="1053592"/>
                  <a:pt x="4185573" y="1051191"/>
                  <a:pt x="4189796" y="1050150"/>
                </a:cubicBezTo>
                <a:cubicBezTo>
                  <a:pt x="4192515" y="1049340"/>
                  <a:pt x="4193903" y="1048877"/>
                  <a:pt x="4194597" y="1046853"/>
                </a:cubicBezTo>
                <a:cubicBezTo>
                  <a:pt x="4196969" y="1040085"/>
                  <a:pt x="4217156" y="1030946"/>
                  <a:pt x="4241509" y="1025508"/>
                </a:cubicBezTo>
                <a:cubicBezTo>
                  <a:pt x="4265861" y="1020071"/>
                  <a:pt x="4294031" y="1005552"/>
                  <a:pt x="4297386" y="999825"/>
                </a:cubicBezTo>
                <a:cubicBezTo>
                  <a:pt x="4297444" y="999577"/>
                  <a:pt x="4297444" y="999322"/>
                  <a:pt x="4297386" y="999073"/>
                </a:cubicBezTo>
                <a:cubicBezTo>
                  <a:pt x="4296924" y="997737"/>
                  <a:pt x="4297155" y="996262"/>
                  <a:pt x="4298023" y="995140"/>
                </a:cubicBezTo>
                <a:cubicBezTo>
                  <a:pt x="4299700" y="993225"/>
                  <a:pt x="4302130" y="992161"/>
                  <a:pt x="4304675" y="992248"/>
                </a:cubicBezTo>
                <a:cubicBezTo>
                  <a:pt x="4307278" y="991941"/>
                  <a:pt x="4309707" y="993555"/>
                  <a:pt x="4310459" y="996065"/>
                </a:cubicBezTo>
                <a:cubicBezTo>
                  <a:pt x="4311038" y="998553"/>
                  <a:pt x="4314451" y="998958"/>
                  <a:pt x="4320987" y="999536"/>
                </a:cubicBezTo>
                <a:cubicBezTo>
                  <a:pt x="4325325" y="999854"/>
                  <a:pt x="4329606" y="1000433"/>
                  <a:pt x="4333828" y="1001271"/>
                </a:cubicBezTo>
                <a:cubicBezTo>
                  <a:pt x="4336663" y="1001850"/>
                  <a:pt x="4339150" y="1002602"/>
                  <a:pt x="4341406" y="1003238"/>
                </a:cubicBezTo>
                <a:cubicBezTo>
                  <a:pt x="4344471" y="1004262"/>
                  <a:pt x="4347711" y="1004887"/>
                  <a:pt x="4350950" y="1005089"/>
                </a:cubicBezTo>
                <a:cubicBezTo>
                  <a:pt x="4355462" y="1004864"/>
                  <a:pt x="4359627" y="1002770"/>
                  <a:pt x="4362519" y="999305"/>
                </a:cubicBezTo>
                <a:cubicBezTo>
                  <a:pt x="4368651" y="993173"/>
                  <a:pt x="4366684" y="989992"/>
                  <a:pt x="4364197" y="986001"/>
                </a:cubicBezTo>
                <a:cubicBezTo>
                  <a:pt x="4362461" y="983629"/>
                  <a:pt x="4361478" y="980783"/>
                  <a:pt x="4361362" y="977844"/>
                </a:cubicBezTo>
                <a:cubicBezTo>
                  <a:pt x="4361362" y="974547"/>
                  <a:pt x="4357660" y="970730"/>
                  <a:pt x="4353900" y="967085"/>
                </a:cubicBezTo>
                <a:cubicBezTo>
                  <a:pt x="4349099" y="962458"/>
                  <a:pt x="4344183" y="957657"/>
                  <a:pt x="4345687" y="952509"/>
                </a:cubicBezTo>
                <a:cubicBezTo>
                  <a:pt x="4346727" y="948922"/>
                  <a:pt x="4343604" y="940940"/>
                  <a:pt x="4338398" y="934056"/>
                </a:cubicBezTo>
                <a:cubicBezTo>
                  <a:pt x="4335043" y="929602"/>
                  <a:pt x="4331630" y="926710"/>
                  <a:pt x="4329722" y="926710"/>
                </a:cubicBezTo>
                <a:cubicBezTo>
                  <a:pt x="4329432" y="926716"/>
                  <a:pt x="4329200" y="926820"/>
                  <a:pt x="4328970" y="926999"/>
                </a:cubicBezTo>
                <a:cubicBezTo>
                  <a:pt x="4325962" y="929776"/>
                  <a:pt x="4320119" y="928561"/>
                  <a:pt x="4315549" y="924570"/>
                </a:cubicBezTo>
                <a:cubicBezTo>
                  <a:pt x="4312889" y="922499"/>
                  <a:pt x="4311211" y="919428"/>
                  <a:pt x="4310864" y="916067"/>
                </a:cubicBezTo>
                <a:cubicBezTo>
                  <a:pt x="4310864" y="909473"/>
                  <a:pt x="4309881" y="906407"/>
                  <a:pt x="4307683" y="906407"/>
                </a:cubicBezTo>
                <a:cubicBezTo>
                  <a:pt x="4306410" y="906534"/>
                  <a:pt x="4305196" y="906991"/>
                  <a:pt x="4304154" y="907737"/>
                </a:cubicBezTo>
                <a:cubicBezTo>
                  <a:pt x="4301146" y="909554"/>
                  <a:pt x="4297676" y="910496"/>
                  <a:pt x="4294147" y="910456"/>
                </a:cubicBezTo>
                <a:cubicBezTo>
                  <a:pt x="4288015" y="911000"/>
                  <a:pt x="4282231" y="907766"/>
                  <a:pt x="4279455" y="902300"/>
                </a:cubicBezTo>
                <a:cubicBezTo>
                  <a:pt x="4278876" y="900582"/>
                  <a:pt x="4279224" y="898685"/>
                  <a:pt x="4280322" y="897267"/>
                </a:cubicBezTo>
                <a:cubicBezTo>
                  <a:pt x="4284834" y="893033"/>
                  <a:pt x="4290965" y="890928"/>
                  <a:pt x="4297155" y="891483"/>
                </a:cubicBezTo>
                <a:cubicBezTo>
                  <a:pt x="4300857" y="891431"/>
                  <a:pt x="4304559" y="892079"/>
                  <a:pt x="4308030" y="893392"/>
                </a:cubicBezTo>
                <a:cubicBezTo>
                  <a:pt x="4312773" y="894722"/>
                  <a:pt x="4316707" y="898002"/>
                  <a:pt x="4318905" y="902415"/>
                </a:cubicBezTo>
                <a:cubicBezTo>
                  <a:pt x="4319715" y="904238"/>
                  <a:pt x="4321045" y="905770"/>
                  <a:pt x="4322722" y="906812"/>
                </a:cubicBezTo>
                <a:cubicBezTo>
                  <a:pt x="4325904" y="908252"/>
                  <a:pt x="4329374" y="908883"/>
                  <a:pt x="4332845" y="908663"/>
                </a:cubicBezTo>
                <a:cubicBezTo>
                  <a:pt x="4339671" y="908686"/>
                  <a:pt x="4346439" y="907373"/>
                  <a:pt x="4352743" y="904787"/>
                </a:cubicBezTo>
                <a:cubicBezTo>
                  <a:pt x="4355000" y="903688"/>
                  <a:pt x="4358528" y="902358"/>
                  <a:pt x="4361998" y="900854"/>
                </a:cubicBezTo>
                <a:cubicBezTo>
                  <a:pt x="4372063" y="896862"/>
                  <a:pt x="4385830" y="891367"/>
                  <a:pt x="4388607" y="886624"/>
                </a:cubicBezTo>
                <a:cubicBezTo>
                  <a:pt x="4389706" y="884721"/>
                  <a:pt x="4390400" y="882581"/>
                  <a:pt x="4390574" y="880377"/>
                </a:cubicBezTo>
                <a:cubicBezTo>
                  <a:pt x="4390689" y="876571"/>
                  <a:pt x="4393177" y="873239"/>
                  <a:pt x="4396763" y="872047"/>
                </a:cubicBezTo>
                <a:cubicBezTo>
                  <a:pt x="4398556" y="871394"/>
                  <a:pt x="4399829" y="869745"/>
                  <a:pt x="4400003" y="867825"/>
                </a:cubicBezTo>
                <a:cubicBezTo>
                  <a:pt x="4399077" y="863400"/>
                  <a:pt x="4396069" y="859703"/>
                  <a:pt x="4391904" y="857875"/>
                </a:cubicBezTo>
                <a:cubicBezTo>
                  <a:pt x="4388202" y="856088"/>
                  <a:pt x="4386236" y="851987"/>
                  <a:pt x="4387161" y="847984"/>
                </a:cubicBezTo>
                <a:cubicBezTo>
                  <a:pt x="4387855" y="844548"/>
                  <a:pt x="4390921" y="842107"/>
                  <a:pt x="4394391" y="842200"/>
                </a:cubicBezTo>
                <a:cubicBezTo>
                  <a:pt x="4397747" y="842200"/>
                  <a:pt x="4398614" y="840175"/>
                  <a:pt x="4399655" y="837861"/>
                </a:cubicBezTo>
                <a:cubicBezTo>
                  <a:pt x="4400697" y="835548"/>
                  <a:pt x="4401622" y="833581"/>
                  <a:pt x="4404398" y="833349"/>
                </a:cubicBezTo>
                <a:cubicBezTo>
                  <a:pt x="4405902" y="833228"/>
                  <a:pt x="4407464" y="833448"/>
                  <a:pt x="4408910" y="833986"/>
                </a:cubicBezTo>
                <a:cubicBezTo>
                  <a:pt x="4412150" y="834969"/>
                  <a:pt x="4415736" y="834460"/>
                  <a:pt x="4418570" y="832597"/>
                </a:cubicBezTo>
                <a:cubicBezTo>
                  <a:pt x="4419611" y="831978"/>
                  <a:pt x="4420826" y="831602"/>
                  <a:pt x="4422041" y="831498"/>
                </a:cubicBezTo>
                <a:cubicBezTo>
                  <a:pt x="4422735" y="831452"/>
                  <a:pt x="4423429" y="831811"/>
                  <a:pt x="4423834" y="832424"/>
                </a:cubicBezTo>
                <a:cubicBezTo>
                  <a:pt x="4424817" y="834159"/>
                  <a:pt x="4423024" y="837341"/>
                  <a:pt x="4419554" y="843299"/>
                </a:cubicBezTo>
                <a:cubicBezTo>
                  <a:pt x="4418455" y="845150"/>
                  <a:pt x="4417356" y="847001"/>
                  <a:pt x="4416430" y="848736"/>
                </a:cubicBezTo>
                <a:cubicBezTo>
                  <a:pt x="4414174" y="852959"/>
                  <a:pt x="4418223" y="857066"/>
                  <a:pt x="4421751" y="860652"/>
                </a:cubicBezTo>
                <a:cubicBezTo>
                  <a:pt x="4423661" y="862214"/>
                  <a:pt x="4425165" y="864192"/>
                  <a:pt x="4426205" y="866436"/>
                </a:cubicBezTo>
                <a:cubicBezTo>
                  <a:pt x="4426611" y="867998"/>
                  <a:pt x="4431354" y="869676"/>
                  <a:pt x="4438180" y="869676"/>
                </a:cubicBezTo>
                <a:cubicBezTo>
                  <a:pt x="4443270" y="869797"/>
                  <a:pt x="4448302" y="868710"/>
                  <a:pt x="4452872" y="866494"/>
                </a:cubicBezTo>
                <a:cubicBezTo>
                  <a:pt x="4455128" y="865441"/>
                  <a:pt x="4457615" y="864944"/>
                  <a:pt x="4460102" y="865048"/>
                </a:cubicBezTo>
                <a:cubicBezTo>
                  <a:pt x="4472770" y="865048"/>
                  <a:pt x="4495330" y="873956"/>
                  <a:pt x="4497296" y="881360"/>
                </a:cubicBezTo>
                <a:cubicBezTo>
                  <a:pt x="4499726" y="891437"/>
                  <a:pt x="4506667" y="899824"/>
                  <a:pt x="4516096" y="904093"/>
                </a:cubicBezTo>
                <a:cubicBezTo>
                  <a:pt x="4521186" y="906430"/>
                  <a:pt x="4526566" y="908009"/>
                  <a:pt x="4532119" y="908778"/>
                </a:cubicBezTo>
                <a:cubicBezTo>
                  <a:pt x="4537903" y="909704"/>
                  <a:pt x="4542184" y="910514"/>
                  <a:pt x="4543688" y="914563"/>
                </a:cubicBezTo>
                <a:cubicBezTo>
                  <a:pt x="4545076" y="918918"/>
                  <a:pt x="4549067" y="921892"/>
                  <a:pt x="4553637" y="921909"/>
                </a:cubicBezTo>
                <a:cubicBezTo>
                  <a:pt x="4554736" y="921903"/>
                  <a:pt x="4555835" y="921788"/>
                  <a:pt x="4556934" y="921562"/>
                </a:cubicBezTo>
                <a:cubicBezTo>
                  <a:pt x="4557685" y="921475"/>
                  <a:pt x="4558437" y="921475"/>
                  <a:pt x="4559189" y="921562"/>
                </a:cubicBezTo>
                <a:cubicBezTo>
                  <a:pt x="4561561" y="921689"/>
                  <a:pt x="4563933" y="922360"/>
                  <a:pt x="4566015" y="923529"/>
                </a:cubicBezTo>
                <a:cubicBezTo>
                  <a:pt x="4568734" y="924859"/>
                  <a:pt x="4570816" y="925669"/>
                  <a:pt x="4572956" y="923529"/>
                </a:cubicBezTo>
                <a:cubicBezTo>
                  <a:pt x="4574172" y="922302"/>
                  <a:pt x="4575849" y="921597"/>
                  <a:pt x="4577584" y="921562"/>
                </a:cubicBezTo>
                <a:cubicBezTo>
                  <a:pt x="4578568" y="921591"/>
                  <a:pt x="4579551" y="921747"/>
                  <a:pt x="4580476" y="922025"/>
                </a:cubicBezTo>
                <a:cubicBezTo>
                  <a:pt x="4581344" y="922291"/>
                  <a:pt x="4582269" y="922447"/>
                  <a:pt x="4583195" y="922487"/>
                </a:cubicBezTo>
                <a:cubicBezTo>
                  <a:pt x="4584988" y="922406"/>
                  <a:pt x="4586723" y="921620"/>
                  <a:pt x="4587939" y="920289"/>
                </a:cubicBezTo>
                <a:cubicBezTo>
                  <a:pt x="4588633" y="919711"/>
                  <a:pt x="4588921" y="919190"/>
                  <a:pt x="4588864" y="918670"/>
                </a:cubicBezTo>
                <a:cubicBezTo>
                  <a:pt x="4588864" y="917050"/>
                  <a:pt x="4585104" y="915083"/>
                  <a:pt x="4582269" y="913464"/>
                </a:cubicBezTo>
                <a:cubicBezTo>
                  <a:pt x="4579435" y="911844"/>
                  <a:pt x="4575906" y="909993"/>
                  <a:pt x="4575270" y="907679"/>
                </a:cubicBezTo>
                <a:cubicBezTo>
                  <a:pt x="4575097" y="906927"/>
                  <a:pt x="4575212" y="906141"/>
                  <a:pt x="4575618" y="905481"/>
                </a:cubicBezTo>
                <a:cubicBezTo>
                  <a:pt x="4576138" y="904243"/>
                  <a:pt x="4577353" y="903428"/>
                  <a:pt x="4578683" y="903399"/>
                </a:cubicBezTo>
                <a:cubicBezTo>
                  <a:pt x="4580419" y="903648"/>
                  <a:pt x="4581980" y="904394"/>
                  <a:pt x="4583311" y="905539"/>
                </a:cubicBezTo>
                <a:cubicBezTo>
                  <a:pt x="4585046" y="906968"/>
                  <a:pt x="4587187" y="907870"/>
                  <a:pt x="4589443" y="908142"/>
                </a:cubicBezTo>
                <a:lnTo>
                  <a:pt x="4589789" y="908142"/>
                </a:lnTo>
                <a:cubicBezTo>
                  <a:pt x="4590195" y="908171"/>
                  <a:pt x="4590599" y="908021"/>
                  <a:pt x="4590889" y="907737"/>
                </a:cubicBezTo>
                <a:cubicBezTo>
                  <a:pt x="4591525" y="906869"/>
                  <a:pt x="4590889" y="904440"/>
                  <a:pt x="4590889" y="902473"/>
                </a:cubicBezTo>
                <a:cubicBezTo>
                  <a:pt x="4590310" y="899465"/>
                  <a:pt x="4589558" y="895706"/>
                  <a:pt x="4592624" y="894838"/>
                </a:cubicBezTo>
                <a:cubicBezTo>
                  <a:pt x="4592624" y="894838"/>
                  <a:pt x="4593723" y="893797"/>
                  <a:pt x="4593838" y="890210"/>
                </a:cubicBezTo>
                <a:cubicBezTo>
                  <a:pt x="4593838" y="882344"/>
                  <a:pt x="4591062" y="870833"/>
                  <a:pt x="4588575" y="869965"/>
                </a:cubicBezTo>
                <a:cubicBezTo>
                  <a:pt x="4586665" y="869479"/>
                  <a:pt x="4585451" y="867616"/>
                  <a:pt x="4585798" y="865684"/>
                </a:cubicBezTo>
                <a:cubicBezTo>
                  <a:pt x="4586261" y="863307"/>
                  <a:pt x="4588459" y="861670"/>
                  <a:pt x="4590889" y="861867"/>
                </a:cubicBezTo>
                <a:cubicBezTo>
                  <a:pt x="4593549" y="862034"/>
                  <a:pt x="4596036" y="863052"/>
                  <a:pt x="4598061" y="864759"/>
                </a:cubicBezTo>
                <a:cubicBezTo>
                  <a:pt x="4606506" y="871006"/>
                  <a:pt x="4619926" y="871006"/>
                  <a:pt x="4625652" y="871006"/>
                </a:cubicBezTo>
                <a:lnTo>
                  <a:pt x="4628082" y="871006"/>
                </a:lnTo>
                <a:cubicBezTo>
                  <a:pt x="4629586" y="871006"/>
                  <a:pt x="4629934" y="871006"/>
                  <a:pt x="4629934" y="871006"/>
                </a:cubicBezTo>
                <a:cubicBezTo>
                  <a:pt x="4627966" y="868172"/>
                  <a:pt x="4624843" y="866321"/>
                  <a:pt x="4621430" y="865916"/>
                </a:cubicBezTo>
                <a:cubicBezTo>
                  <a:pt x="4618133" y="865337"/>
                  <a:pt x="4617786" y="863776"/>
                  <a:pt x="4617844" y="862908"/>
                </a:cubicBezTo>
                <a:cubicBezTo>
                  <a:pt x="4617844" y="861115"/>
                  <a:pt x="4620505" y="859553"/>
                  <a:pt x="4623628" y="859553"/>
                </a:cubicBezTo>
                <a:cubicBezTo>
                  <a:pt x="4625537" y="859530"/>
                  <a:pt x="4627330" y="860235"/>
                  <a:pt x="4628718" y="861520"/>
                </a:cubicBezTo>
                <a:cubicBezTo>
                  <a:pt x="4631437" y="863990"/>
                  <a:pt x="4634908" y="865459"/>
                  <a:pt x="4638610" y="865684"/>
                </a:cubicBezTo>
                <a:cubicBezTo>
                  <a:pt x="4640519" y="865684"/>
                  <a:pt x="4641560" y="865048"/>
                  <a:pt x="4641791" y="863776"/>
                </a:cubicBezTo>
                <a:cubicBezTo>
                  <a:pt x="4642659" y="858801"/>
                  <a:pt x="4647576" y="847926"/>
                  <a:pt x="4656542" y="847926"/>
                </a:cubicBezTo>
                <a:lnTo>
                  <a:pt x="4658046" y="847926"/>
                </a:lnTo>
                <a:cubicBezTo>
                  <a:pt x="4661863" y="847926"/>
                  <a:pt x="4663830" y="846769"/>
                  <a:pt x="4663830" y="845902"/>
                </a:cubicBezTo>
                <a:cubicBezTo>
                  <a:pt x="4663830" y="845034"/>
                  <a:pt x="4662731" y="843877"/>
                  <a:pt x="4659781" y="842836"/>
                </a:cubicBezTo>
                <a:cubicBezTo>
                  <a:pt x="4651336" y="839886"/>
                  <a:pt x="4625074" y="823169"/>
                  <a:pt x="4618827" y="813914"/>
                </a:cubicBezTo>
                <a:cubicBezTo>
                  <a:pt x="4614547" y="807667"/>
                  <a:pt x="4597598" y="803560"/>
                  <a:pt x="4588285" y="803560"/>
                </a:cubicBezTo>
                <a:cubicBezTo>
                  <a:pt x="4584641" y="803560"/>
                  <a:pt x="4583484" y="804196"/>
                  <a:pt x="4583369" y="804427"/>
                </a:cubicBezTo>
                <a:cubicBezTo>
                  <a:pt x="4583484" y="805891"/>
                  <a:pt x="4582443" y="807186"/>
                  <a:pt x="4580939" y="807314"/>
                </a:cubicBezTo>
                <a:cubicBezTo>
                  <a:pt x="4580823" y="807325"/>
                  <a:pt x="4580650" y="807331"/>
                  <a:pt x="4580534" y="807319"/>
                </a:cubicBezTo>
                <a:cubicBezTo>
                  <a:pt x="4575560" y="806197"/>
                  <a:pt x="4571337" y="802935"/>
                  <a:pt x="4568965" y="798411"/>
                </a:cubicBezTo>
                <a:cubicBezTo>
                  <a:pt x="4568156" y="796676"/>
                  <a:pt x="4560289" y="794767"/>
                  <a:pt x="4549934" y="794767"/>
                </a:cubicBezTo>
                <a:cubicBezTo>
                  <a:pt x="4539581" y="794767"/>
                  <a:pt x="4535647" y="796618"/>
                  <a:pt x="4535589" y="797602"/>
                </a:cubicBezTo>
                <a:cubicBezTo>
                  <a:pt x="4535589" y="799973"/>
                  <a:pt x="4537093" y="801130"/>
                  <a:pt x="4540332" y="803386"/>
                </a:cubicBezTo>
                <a:cubicBezTo>
                  <a:pt x="4543224" y="804931"/>
                  <a:pt x="4545828" y="807053"/>
                  <a:pt x="4547852" y="809633"/>
                </a:cubicBezTo>
                <a:cubicBezTo>
                  <a:pt x="4550918" y="813682"/>
                  <a:pt x="4548546" y="816922"/>
                  <a:pt x="4546464" y="819756"/>
                </a:cubicBezTo>
                <a:cubicBezTo>
                  <a:pt x="4544382" y="822590"/>
                  <a:pt x="4543051" y="824384"/>
                  <a:pt x="4543976" y="827276"/>
                </a:cubicBezTo>
                <a:cubicBezTo>
                  <a:pt x="4544497" y="828236"/>
                  <a:pt x="4544497" y="829387"/>
                  <a:pt x="4543976" y="830342"/>
                </a:cubicBezTo>
                <a:cubicBezTo>
                  <a:pt x="4543572" y="830937"/>
                  <a:pt x="4542878" y="831261"/>
                  <a:pt x="4542126" y="831209"/>
                </a:cubicBezTo>
                <a:cubicBezTo>
                  <a:pt x="4541200" y="831209"/>
                  <a:pt x="4538366" y="831209"/>
                  <a:pt x="4524772" y="820855"/>
                </a:cubicBezTo>
                <a:cubicBezTo>
                  <a:pt x="4520492" y="817616"/>
                  <a:pt x="4519972" y="807840"/>
                  <a:pt x="4523095" y="791933"/>
                </a:cubicBezTo>
                <a:cubicBezTo>
                  <a:pt x="4523789" y="788636"/>
                  <a:pt x="4522112" y="787421"/>
                  <a:pt x="4519046" y="785628"/>
                </a:cubicBezTo>
                <a:cubicBezTo>
                  <a:pt x="4515748" y="784228"/>
                  <a:pt x="4513377" y="781313"/>
                  <a:pt x="4512625" y="777819"/>
                </a:cubicBezTo>
                <a:cubicBezTo>
                  <a:pt x="4511699" y="771745"/>
                  <a:pt x="4485727" y="758267"/>
                  <a:pt x="4460565" y="747566"/>
                </a:cubicBezTo>
                <a:cubicBezTo>
                  <a:pt x="4456921" y="746062"/>
                  <a:pt x="4452987" y="744558"/>
                  <a:pt x="4448996" y="743055"/>
                </a:cubicBezTo>
                <a:cubicBezTo>
                  <a:pt x="4435924" y="738080"/>
                  <a:pt x="4423661" y="733394"/>
                  <a:pt x="4419438" y="726916"/>
                </a:cubicBezTo>
                <a:cubicBezTo>
                  <a:pt x="4417182" y="723445"/>
                  <a:pt x="4409604" y="721132"/>
                  <a:pt x="4401680" y="718933"/>
                </a:cubicBezTo>
                <a:cubicBezTo>
                  <a:pt x="4392482" y="716273"/>
                  <a:pt x="4382070" y="713149"/>
                  <a:pt x="4376402" y="707365"/>
                </a:cubicBezTo>
                <a:cubicBezTo>
                  <a:pt x="4365701" y="696259"/>
                  <a:pt x="4319773" y="677343"/>
                  <a:pt x="4300799" y="676187"/>
                </a:cubicBezTo>
                <a:cubicBezTo>
                  <a:pt x="4293916" y="676528"/>
                  <a:pt x="4287263" y="673688"/>
                  <a:pt x="4282752" y="668493"/>
                </a:cubicBezTo>
                <a:cubicBezTo>
                  <a:pt x="4281306" y="666214"/>
                  <a:pt x="4278587" y="665075"/>
                  <a:pt x="4275984" y="665659"/>
                </a:cubicBezTo>
                <a:cubicBezTo>
                  <a:pt x="4271761" y="666150"/>
                  <a:pt x="4267481" y="666341"/>
                  <a:pt x="4263259" y="666237"/>
                </a:cubicBezTo>
                <a:cubicBezTo>
                  <a:pt x="4245847" y="666197"/>
                  <a:pt x="4228494" y="665190"/>
                  <a:pt x="4211199" y="663229"/>
                </a:cubicBezTo>
                <a:cubicBezTo>
                  <a:pt x="4210099" y="663148"/>
                  <a:pt x="4209058" y="663148"/>
                  <a:pt x="4207959" y="663229"/>
                </a:cubicBezTo>
                <a:cubicBezTo>
                  <a:pt x="4204431" y="663299"/>
                  <a:pt x="4201018" y="664253"/>
                  <a:pt x="4197952" y="666006"/>
                </a:cubicBezTo>
                <a:cubicBezTo>
                  <a:pt x="4195638" y="667377"/>
                  <a:pt x="4193035" y="668169"/>
                  <a:pt x="4190374" y="668320"/>
                </a:cubicBezTo>
                <a:cubicBezTo>
                  <a:pt x="4188813" y="668297"/>
                  <a:pt x="4187309" y="668002"/>
                  <a:pt x="4185863" y="667452"/>
                </a:cubicBezTo>
                <a:cubicBezTo>
                  <a:pt x="4175335" y="663287"/>
                  <a:pt x="4142074" y="651545"/>
                  <a:pt x="4128655" y="651545"/>
                </a:cubicBezTo>
                <a:cubicBezTo>
                  <a:pt x="4125531" y="651545"/>
                  <a:pt x="4124490" y="652239"/>
                  <a:pt x="4124143" y="652586"/>
                </a:cubicBezTo>
                <a:cubicBezTo>
                  <a:pt x="4122060" y="655328"/>
                  <a:pt x="4120672" y="658550"/>
                  <a:pt x="4120152" y="661957"/>
                </a:cubicBezTo>
                <a:cubicBezTo>
                  <a:pt x="4119226" y="665717"/>
                  <a:pt x="4118416" y="669245"/>
                  <a:pt x="4114772" y="670286"/>
                </a:cubicBezTo>
                <a:cubicBezTo>
                  <a:pt x="4113615" y="670633"/>
                  <a:pt x="4113499" y="671154"/>
                  <a:pt x="4113442" y="671327"/>
                </a:cubicBezTo>
                <a:cubicBezTo>
                  <a:pt x="4113442" y="672600"/>
                  <a:pt x="4114020" y="677112"/>
                  <a:pt x="4128539" y="690185"/>
                </a:cubicBezTo>
                <a:cubicBezTo>
                  <a:pt x="4133282" y="693540"/>
                  <a:pt x="4135943" y="699087"/>
                  <a:pt x="4135654" y="704877"/>
                </a:cubicBezTo>
                <a:cubicBezTo>
                  <a:pt x="4134497" y="711703"/>
                  <a:pt x="4127209" y="716157"/>
                  <a:pt x="4121308" y="718702"/>
                </a:cubicBezTo>
                <a:cubicBezTo>
                  <a:pt x="4118821" y="719778"/>
                  <a:pt x="4116102" y="720310"/>
                  <a:pt x="4113384" y="720264"/>
                </a:cubicBezTo>
                <a:cubicBezTo>
                  <a:pt x="4101237" y="719604"/>
                  <a:pt x="4089899" y="713751"/>
                  <a:pt x="4082379" y="704183"/>
                </a:cubicBezTo>
                <a:cubicBezTo>
                  <a:pt x="4079371" y="700585"/>
                  <a:pt x="4075091" y="698202"/>
                  <a:pt x="4070463" y="697473"/>
                </a:cubicBezTo>
                <a:cubicBezTo>
                  <a:pt x="4064332" y="695622"/>
                  <a:pt x="4058027" y="693713"/>
                  <a:pt x="4055597" y="686541"/>
                </a:cubicBezTo>
                <a:cubicBezTo>
                  <a:pt x="4053920" y="683313"/>
                  <a:pt x="4053920" y="679466"/>
                  <a:pt x="4055597" y="676244"/>
                </a:cubicBezTo>
                <a:cubicBezTo>
                  <a:pt x="4056754" y="674648"/>
                  <a:pt x="4058663" y="673751"/>
                  <a:pt x="4060630" y="673873"/>
                </a:cubicBezTo>
                <a:cubicBezTo>
                  <a:pt x="4064158" y="674116"/>
                  <a:pt x="4067513" y="675585"/>
                  <a:pt x="4070116" y="678037"/>
                </a:cubicBezTo>
                <a:cubicBezTo>
                  <a:pt x="4072083" y="679807"/>
                  <a:pt x="4074686" y="680797"/>
                  <a:pt x="4077347" y="680814"/>
                </a:cubicBezTo>
                <a:cubicBezTo>
                  <a:pt x="4082900" y="680693"/>
                  <a:pt x="4087643" y="676603"/>
                  <a:pt x="4088510" y="671096"/>
                </a:cubicBezTo>
                <a:cubicBezTo>
                  <a:pt x="4088626" y="669673"/>
                  <a:pt x="4088106" y="668279"/>
                  <a:pt x="4087064" y="667278"/>
                </a:cubicBezTo>
                <a:cubicBezTo>
                  <a:pt x="4082032" y="661494"/>
                  <a:pt x="4065373" y="657618"/>
                  <a:pt x="4055366" y="658255"/>
                </a:cubicBezTo>
                <a:cubicBezTo>
                  <a:pt x="4048598" y="658660"/>
                  <a:pt x="4043392" y="664444"/>
                  <a:pt x="4038012" y="670633"/>
                </a:cubicBezTo>
                <a:cubicBezTo>
                  <a:pt x="4033964" y="675701"/>
                  <a:pt x="4029105" y="680056"/>
                  <a:pt x="4023609" y="683533"/>
                </a:cubicBezTo>
                <a:cubicBezTo>
                  <a:pt x="4018577" y="685679"/>
                  <a:pt x="4013140" y="686610"/>
                  <a:pt x="4007702" y="686251"/>
                </a:cubicBezTo>
                <a:cubicBezTo>
                  <a:pt x="3988498" y="686251"/>
                  <a:pt x="3958477" y="679773"/>
                  <a:pt x="3954022" y="675724"/>
                </a:cubicBezTo>
                <a:cubicBezTo>
                  <a:pt x="3954022" y="675435"/>
                  <a:pt x="3951478" y="673988"/>
                  <a:pt x="3936669" y="673988"/>
                </a:cubicBezTo>
                <a:cubicBezTo>
                  <a:pt x="3912549" y="673988"/>
                  <a:pt x="3877437" y="677690"/>
                  <a:pt x="3873040" y="680641"/>
                </a:cubicBezTo>
                <a:cubicBezTo>
                  <a:pt x="3868644" y="683591"/>
                  <a:pt x="3869338" y="690532"/>
                  <a:pt x="3869338" y="696432"/>
                </a:cubicBezTo>
                <a:cubicBezTo>
                  <a:pt x="3869338" y="702332"/>
                  <a:pt x="3869338" y="705224"/>
                  <a:pt x="3867256" y="706208"/>
                </a:cubicBezTo>
                <a:cubicBezTo>
                  <a:pt x="3866967" y="706260"/>
                  <a:pt x="3866678" y="706260"/>
                  <a:pt x="3866389" y="706208"/>
                </a:cubicBezTo>
                <a:cubicBezTo>
                  <a:pt x="3864827" y="706208"/>
                  <a:pt x="3862860" y="704704"/>
                  <a:pt x="3860604" y="693771"/>
                </a:cubicBezTo>
                <a:cubicBezTo>
                  <a:pt x="3859505" y="688820"/>
                  <a:pt x="3858753" y="683793"/>
                  <a:pt x="3858406" y="678732"/>
                </a:cubicBezTo>
                <a:cubicBezTo>
                  <a:pt x="3858406" y="675550"/>
                  <a:pt x="3851465" y="672253"/>
                  <a:pt x="3838565" y="672253"/>
                </a:cubicBezTo>
                <a:cubicBezTo>
                  <a:pt x="3826997" y="672253"/>
                  <a:pt x="3822427" y="671790"/>
                  <a:pt x="3821212" y="669187"/>
                </a:cubicBezTo>
                <a:cubicBezTo>
                  <a:pt x="3819998" y="666584"/>
                  <a:pt x="3822427" y="665254"/>
                  <a:pt x="3823121" y="664618"/>
                </a:cubicBezTo>
                <a:cubicBezTo>
                  <a:pt x="3824856" y="662882"/>
                  <a:pt x="3824509" y="661378"/>
                  <a:pt x="3823873" y="658833"/>
                </a:cubicBezTo>
                <a:cubicBezTo>
                  <a:pt x="3822080" y="654466"/>
                  <a:pt x="3823873" y="649434"/>
                  <a:pt x="3828096" y="647264"/>
                </a:cubicBezTo>
                <a:cubicBezTo>
                  <a:pt x="3829195" y="646547"/>
                  <a:pt x="3829773" y="645257"/>
                  <a:pt x="3829542" y="643967"/>
                </a:cubicBezTo>
                <a:cubicBezTo>
                  <a:pt x="3828559" y="635580"/>
                  <a:pt x="3806404" y="619268"/>
                  <a:pt x="3783903" y="610475"/>
                </a:cubicBezTo>
                <a:cubicBezTo>
                  <a:pt x="3769846" y="606045"/>
                  <a:pt x="3755154" y="604083"/>
                  <a:pt x="3740404" y="604691"/>
                </a:cubicBezTo>
                <a:cubicBezTo>
                  <a:pt x="3720505" y="604483"/>
                  <a:pt x="3700665" y="606536"/>
                  <a:pt x="3681229" y="610822"/>
                </a:cubicBezTo>
                <a:cubicBezTo>
                  <a:pt x="3666710" y="613836"/>
                  <a:pt x="3651902" y="615062"/>
                  <a:pt x="3637094" y="614467"/>
                </a:cubicBezTo>
                <a:lnTo>
                  <a:pt x="3617195" y="614467"/>
                </a:lnTo>
                <a:cubicBezTo>
                  <a:pt x="3612221" y="614467"/>
                  <a:pt x="3609734" y="614062"/>
                  <a:pt x="3608634" y="612558"/>
                </a:cubicBezTo>
                <a:cubicBezTo>
                  <a:pt x="3607536" y="611054"/>
                  <a:pt x="3608230" y="609492"/>
                  <a:pt x="3608634" y="607699"/>
                </a:cubicBezTo>
                <a:cubicBezTo>
                  <a:pt x="3609734" y="605478"/>
                  <a:pt x="3609734" y="602863"/>
                  <a:pt x="3608634" y="600642"/>
                </a:cubicBezTo>
                <a:cubicBezTo>
                  <a:pt x="3605511" y="595552"/>
                  <a:pt x="3590009" y="589073"/>
                  <a:pt x="3580927" y="589073"/>
                </a:cubicBezTo>
                <a:cubicBezTo>
                  <a:pt x="3578440" y="589073"/>
                  <a:pt x="3576762" y="589594"/>
                  <a:pt x="3576184" y="590519"/>
                </a:cubicBezTo>
                <a:cubicBezTo>
                  <a:pt x="3575258" y="592353"/>
                  <a:pt x="3573407" y="593544"/>
                  <a:pt x="3571325" y="593643"/>
                </a:cubicBezTo>
                <a:cubicBezTo>
                  <a:pt x="3569243" y="593515"/>
                  <a:pt x="3567334" y="592532"/>
                  <a:pt x="3566003" y="590924"/>
                </a:cubicBezTo>
                <a:cubicBezTo>
                  <a:pt x="3564557" y="589466"/>
                  <a:pt x="3563747" y="587529"/>
                  <a:pt x="3563631" y="585487"/>
                </a:cubicBezTo>
                <a:cubicBezTo>
                  <a:pt x="3563631" y="583057"/>
                  <a:pt x="3545410" y="575017"/>
                  <a:pt x="3533668" y="575017"/>
                </a:cubicBezTo>
                <a:cubicBezTo>
                  <a:pt x="3532685" y="574913"/>
                  <a:pt x="3531644" y="574913"/>
                  <a:pt x="3530660" y="575017"/>
                </a:cubicBezTo>
                <a:cubicBezTo>
                  <a:pt x="3526843" y="576122"/>
                  <a:pt x="3522794" y="574710"/>
                  <a:pt x="3520480" y="571488"/>
                </a:cubicBezTo>
                <a:cubicBezTo>
                  <a:pt x="3519670" y="570048"/>
                  <a:pt x="3519670" y="568301"/>
                  <a:pt x="3520480" y="566861"/>
                </a:cubicBezTo>
                <a:cubicBezTo>
                  <a:pt x="3521174" y="565762"/>
                  <a:pt x="3522967" y="563911"/>
                  <a:pt x="3527768" y="563911"/>
                </a:cubicBezTo>
                <a:lnTo>
                  <a:pt x="3532627" y="563911"/>
                </a:lnTo>
                <a:lnTo>
                  <a:pt x="3538411" y="563911"/>
                </a:lnTo>
                <a:cubicBezTo>
                  <a:pt x="3543097" y="563911"/>
                  <a:pt x="3549518" y="563622"/>
                  <a:pt x="3550906" y="561018"/>
                </a:cubicBezTo>
                <a:cubicBezTo>
                  <a:pt x="3551600" y="559688"/>
                  <a:pt x="3550906" y="557663"/>
                  <a:pt x="3549286" y="555234"/>
                </a:cubicBezTo>
                <a:cubicBezTo>
                  <a:pt x="3542981" y="545574"/>
                  <a:pt x="3495433" y="540542"/>
                  <a:pt x="3471775" y="540542"/>
                </a:cubicBezTo>
                <a:cubicBezTo>
                  <a:pt x="3468709" y="540368"/>
                  <a:pt x="3465644" y="540565"/>
                  <a:pt x="3462636" y="541120"/>
                </a:cubicBezTo>
                <a:cubicBezTo>
                  <a:pt x="3460379" y="541930"/>
                  <a:pt x="3459917" y="543434"/>
                  <a:pt x="3459107" y="546905"/>
                </a:cubicBezTo>
                <a:cubicBezTo>
                  <a:pt x="3457371" y="554927"/>
                  <a:pt x="3453091" y="562164"/>
                  <a:pt x="3446844" y="567497"/>
                </a:cubicBezTo>
                <a:cubicBezTo>
                  <a:pt x="3442332" y="572333"/>
                  <a:pt x="3436085" y="575214"/>
                  <a:pt x="3429491" y="575537"/>
                </a:cubicBezTo>
                <a:cubicBezTo>
                  <a:pt x="3424921" y="575705"/>
                  <a:pt x="3420525" y="573791"/>
                  <a:pt x="3417575" y="570331"/>
                </a:cubicBezTo>
                <a:cubicBezTo>
                  <a:pt x="3416128" y="568561"/>
                  <a:pt x="3415550" y="566207"/>
                  <a:pt x="3416071" y="563969"/>
                </a:cubicBezTo>
                <a:cubicBezTo>
                  <a:pt x="3417228" y="559804"/>
                  <a:pt x="3422665" y="558184"/>
                  <a:pt x="3427987" y="556622"/>
                </a:cubicBezTo>
                <a:cubicBezTo>
                  <a:pt x="3433309" y="555061"/>
                  <a:pt x="3437473" y="553846"/>
                  <a:pt x="3437473" y="550838"/>
                </a:cubicBezTo>
                <a:cubicBezTo>
                  <a:pt x="3437473" y="547830"/>
                  <a:pt x="3429665" y="547309"/>
                  <a:pt x="3423359" y="546731"/>
                </a:cubicBezTo>
                <a:cubicBezTo>
                  <a:pt x="3416071" y="546095"/>
                  <a:pt x="3409130" y="545458"/>
                  <a:pt x="3406931" y="542161"/>
                </a:cubicBezTo>
                <a:cubicBezTo>
                  <a:pt x="3405543" y="540536"/>
                  <a:pt x="3405312" y="538239"/>
                  <a:pt x="3406353" y="536377"/>
                </a:cubicBezTo>
                <a:cubicBezTo>
                  <a:pt x="3408840" y="533161"/>
                  <a:pt x="3412832" y="531495"/>
                  <a:pt x="3416880" y="531981"/>
                </a:cubicBezTo>
                <a:cubicBezTo>
                  <a:pt x="3419136" y="531992"/>
                  <a:pt x="3421393" y="532322"/>
                  <a:pt x="3423533" y="532964"/>
                </a:cubicBezTo>
                <a:cubicBezTo>
                  <a:pt x="3429549" y="534653"/>
                  <a:pt x="3435796" y="535567"/>
                  <a:pt x="3442043" y="535683"/>
                </a:cubicBezTo>
                <a:cubicBezTo>
                  <a:pt x="3447827" y="535683"/>
                  <a:pt x="3449447" y="534526"/>
                  <a:pt x="3449563" y="533890"/>
                </a:cubicBezTo>
                <a:cubicBezTo>
                  <a:pt x="3449678" y="533595"/>
                  <a:pt x="3449678" y="533259"/>
                  <a:pt x="3449563" y="532964"/>
                </a:cubicBezTo>
                <a:cubicBezTo>
                  <a:pt x="3448174" y="530997"/>
                  <a:pt x="3441118" y="529840"/>
                  <a:pt x="3432209" y="528394"/>
                </a:cubicBezTo>
                <a:lnTo>
                  <a:pt x="3424401" y="527064"/>
                </a:lnTo>
                <a:lnTo>
                  <a:pt x="3412138" y="524692"/>
                </a:lnTo>
                <a:cubicBezTo>
                  <a:pt x="3393396" y="520429"/>
                  <a:pt x="3374365" y="517757"/>
                  <a:pt x="3355161" y="516710"/>
                </a:cubicBezTo>
                <a:cubicBezTo>
                  <a:pt x="3352847" y="516710"/>
                  <a:pt x="3350707" y="516710"/>
                  <a:pt x="3348798" y="516999"/>
                </a:cubicBezTo>
                <a:cubicBezTo>
                  <a:pt x="3346889" y="517288"/>
                  <a:pt x="3345038" y="516999"/>
                  <a:pt x="3343013" y="516999"/>
                </a:cubicBezTo>
                <a:cubicBezTo>
                  <a:pt x="3334858" y="516831"/>
                  <a:pt x="3326875" y="515044"/>
                  <a:pt x="3319413" y="511735"/>
                </a:cubicBezTo>
                <a:cubicBezTo>
                  <a:pt x="3315595" y="509936"/>
                  <a:pt x="3311488" y="508745"/>
                  <a:pt x="3307266" y="508207"/>
                </a:cubicBezTo>
                <a:lnTo>
                  <a:pt x="3305646" y="508207"/>
                </a:lnTo>
                <a:cubicBezTo>
                  <a:pt x="3303274" y="508207"/>
                  <a:pt x="3300324" y="508612"/>
                  <a:pt x="3299341" y="510636"/>
                </a:cubicBezTo>
                <a:cubicBezTo>
                  <a:pt x="3298358" y="512661"/>
                  <a:pt x="3299341" y="515726"/>
                  <a:pt x="3302176" y="518966"/>
                </a:cubicBezTo>
                <a:cubicBezTo>
                  <a:pt x="3303448" y="520256"/>
                  <a:pt x="3303795" y="522182"/>
                  <a:pt x="3303043" y="523825"/>
                </a:cubicBezTo>
                <a:cubicBezTo>
                  <a:pt x="3301018" y="527932"/>
                  <a:pt x="3292169" y="529609"/>
                  <a:pt x="3284244" y="529609"/>
                </a:cubicBezTo>
                <a:cubicBezTo>
                  <a:pt x="3281814" y="529615"/>
                  <a:pt x="3279327" y="529441"/>
                  <a:pt x="3276898" y="529088"/>
                </a:cubicBezTo>
                <a:cubicBezTo>
                  <a:pt x="3275683" y="528996"/>
                  <a:pt x="3274410" y="528996"/>
                  <a:pt x="3273195" y="529088"/>
                </a:cubicBezTo>
                <a:cubicBezTo>
                  <a:pt x="3264114" y="529088"/>
                  <a:pt x="3254396" y="533311"/>
                  <a:pt x="3251966" y="538344"/>
                </a:cubicBezTo>
                <a:cubicBezTo>
                  <a:pt x="3250983" y="540380"/>
                  <a:pt x="3251330" y="542826"/>
                  <a:pt x="3252892" y="544475"/>
                </a:cubicBezTo>
                <a:cubicBezTo>
                  <a:pt x="3254164" y="546459"/>
                  <a:pt x="3256305" y="547703"/>
                  <a:pt x="3258677" y="547830"/>
                </a:cubicBezTo>
                <a:cubicBezTo>
                  <a:pt x="3260875" y="547622"/>
                  <a:pt x="3263015" y="546951"/>
                  <a:pt x="3264923" y="545863"/>
                </a:cubicBezTo>
                <a:cubicBezTo>
                  <a:pt x="3266949" y="544787"/>
                  <a:pt x="3269147" y="544122"/>
                  <a:pt x="3271402" y="543897"/>
                </a:cubicBezTo>
                <a:cubicBezTo>
                  <a:pt x="3272386" y="543885"/>
                  <a:pt x="3273427" y="544128"/>
                  <a:pt x="3274294" y="544591"/>
                </a:cubicBezTo>
                <a:cubicBezTo>
                  <a:pt x="3275278" y="544938"/>
                  <a:pt x="3275914" y="545782"/>
                  <a:pt x="3276088" y="546789"/>
                </a:cubicBezTo>
                <a:cubicBezTo>
                  <a:pt x="3276088" y="548813"/>
                  <a:pt x="3273774" y="550491"/>
                  <a:pt x="3270650" y="552573"/>
                </a:cubicBezTo>
                <a:cubicBezTo>
                  <a:pt x="3268510" y="554019"/>
                  <a:pt x="3264866" y="556333"/>
                  <a:pt x="3265271" y="557606"/>
                </a:cubicBezTo>
                <a:cubicBezTo>
                  <a:pt x="3265271" y="558011"/>
                  <a:pt x="3265965" y="558589"/>
                  <a:pt x="3267006" y="559052"/>
                </a:cubicBezTo>
                <a:cubicBezTo>
                  <a:pt x="3273369" y="562152"/>
                  <a:pt x="3277013" y="568984"/>
                  <a:pt x="3276088" y="576000"/>
                </a:cubicBezTo>
                <a:cubicBezTo>
                  <a:pt x="3276088" y="576926"/>
                  <a:pt x="3276088" y="577793"/>
                  <a:pt x="3276088" y="578545"/>
                </a:cubicBezTo>
                <a:cubicBezTo>
                  <a:pt x="3276203" y="579552"/>
                  <a:pt x="3275798" y="580552"/>
                  <a:pt x="3275104" y="581264"/>
                </a:cubicBezTo>
                <a:cubicBezTo>
                  <a:pt x="3272154" y="583503"/>
                  <a:pt x="3268510" y="584590"/>
                  <a:pt x="3264866" y="584330"/>
                </a:cubicBezTo>
                <a:cubicBezTo>
                  <a:pt x="3260007" y="584642"/>
                  <a:pt x="3255322" y="582826"/>
                  <a:pt x="3251908" y="579355"/>
                </a:cubicBezTo>
                <a:cubicBezTo>
                  <a:pt x="3250231" y="577273"/>
                  <a:pt x="3247686" y="576127"/>
                  <a:pt x="3245025" y="576289"/>
                </a:cubicBezTo>
                <a:cubicBezTo>
                  <a:pt x="3242827" y="576382"/>
                  <a:pt x="3240629" y="576654"/>
                  <a:pt x="3238489" y="577099"/>
                </a:cubicBezTo>
                <a:cubicBezTo>
                  <a:pt x="3234671" y="577961"/>
                  <a:pt x="3230796" y="578314"/>
                  <a:pt x="3226920" y="578140"/>
                </a:cubicBezTo>
                <a:lnTo>
                  <a:pt x="3224664" y="578140"/>
                </a:lnTo>
                <a:cubicBezTo>
                  <a:pt x="3221136" y="577770"/>
                  <a:pt x="3217549" y="578626"/>
                  <a:pt x="3214541" y="580570"/>
                </a:cubicBezTo>
                <a:lnTo>
                  <a:pt x="3214541" y="580570"/>
                </a:lnTo>
                <a:cubicBezTo>
                  <a:pt x="3216045" y="581461"/>
                  <a:pt x="3217781" y="581958"/>
                  <a:pt x="3219516" y="582016"/>
                </a:cubicBezTo>
                <a:cubicBezTo>
                  <a:pt x="3226515" y="582942"/>
                  <a:pt x="3231085" y="585834"/>
                  <a:pt x="3231085" y="589131"/>
                </a:cubicBezTo>
                <a:cubicBezTo>
                  <a:pt x="3231085" y="590924"/>
                  <a:pt x="3229465" y="594163"/>
                  <a:pt x="3219516" y="594915"/>
                </a:cubicBezTo>
                <a:cubicBezTo>
                  <a:pt x="3213095" y="596084"/>
                  <a:pt x="3206732" y="592544"/>
                  <a:pt x="3204361" y="586470"/>
                </a:cubicBezTo>
                <a:cubicBezTo>
                  <a:pt x="3202336" y="582999"/>
                  <a:pt x="3201064" y="581322"/>
                  <a:pt x="3197882" y="581958"/>
                </a:cubicBezTo>
                <a:cubicBezTo>
                  <a:pt x="3190131" y="582247"/>
                  <a:pt x="3182437" y="581073"/>
                  <a:pt x="3175150" y="578487"/>
                </a:cubicBezTo>
                <a:cubicBezTo>
                  <a:pt x="3169018" y="576509"/>
                  <a:pt x="3162713" y="575248"/>
                  <a:pt x="3156292" y="574728"/>
                </a:cubicBezTo>
                <a:lnTo>
                  <a:pt x="3155656" y="574728"/>
                </a:lnTo>
                <a:cubicBezTo>
                  <a:pt x="3150913" y="575161"/>
                  <a:pt x="3146343" y="576706"/>
                  <a:pt x="3142352" y="579239"/>
                </a:cubicBezTo>
                <a:cubicBezTo>
                  <a:pt x="3136799" y="582450"/>
                  <a:pt x="3130609" y="584428"/>
                  <a:pt x="3124189" y="585024"/>
                </a:cubicBezTo>
                <a:lnTo>
                  <a:pt x="3121238" y="585024"/>
                </a:lnTo>
                <a:cubicBezTo>
                  <a:pt x="3106025" y="585024"/>
                  <a:pt x="3087631" y="576232"/>
                  <a:pt x="3082020" y="568712"/>
                </a:cubicBezTo>
                <a:cubicBezTo>
                  <a:pt x="3078897" y="564547"/>
                  <a:pt x="3076872" y="561944"/>
                  <a:pt x="3075021" y="561944"/>
                </a:cubicBezTo>
                <a:cubicBezTo>
                  <a:pt x="3073170" y="561944"/>
                  <a:pt x="3071492" y="563679"/>
                  <a:pt x="3068484" y="567728"/>
                </a:cubicBezTo>
                <a:cubicBezTo>
                  <a:pt x="3065476" y="572240"/>
                  <a:pt x="3063220" y="577226"/>
                  <a:pt x="3061832" y="582479"/>
                </a:cubicBezTo>
                <a:cubicBezTo>
                  <a:pt x="3059518" y="589536"/>
                  <a:pt x="3057552" y="595609"/>
                  <a:pt x="3052809" y="596419"/>
                </a:cubicBezTo>
                <a:cubicBezTo>
                  <a:pt x="3049453" y="596998"/>
                  <a:pt x="3047024" y="601452"/>
                  <a:pt x="3044421" y="606253"/>
                </a:cubicBezTo>
                <a:cubicBezTo>
                  <a:pt x="3042570" y="610620"/>
                  <a:pt x="3039562" y="614426"/>
                  <a:pt x="3035802" y="617301"/>
                </a:cubicBezTo>
                <a:cubicBezTo>
                  <a:pt x="3034704" y="617984"/>
                  <a:pt x="3033431" y="618365"/>
                  <a:pt x="3032100" y="618400"/>
                </a:cubicBezTo>
                <a:cubicBezTo>
                  <a:pt x="3029845" y="618255"/>
                  <a:pt x="3027762" y="617214"/>
                  <a:pt x="3026316" y="615508"/>
                </a:cubicBezTo>
                <a:cubicBezTo>
                  <a:pt x="3024233" y="613234"/>
                  <a:pt x="3021225" y="612026"/>
                  <a:pt x="3018160" y="612211"/>
                </a:cubicBezTo>
                <a:lnTo>
                  <a:pt x="3017639" y="612211"/>
                </a:lnTo>
                <a:cubicBezTo>
                  <a:pt x="3007516" y="612211"/>
                  <a:pt x="2977958" y="583751"/>
                  <a:pt x="2976107" y="574554"/>
                </a:cubicBezTo>
                <a:cubicBezTo>
                  <a:pt x="2974661" y="566629"/>
                  <a:pt x="2956382" y="550549"/>
                  <a:pt x="2951639" y="547425"/>
                </a:cubicBezTo>
                <a:cubicBezTo>
                  <a:pt x="2949788" y="546153"/>
                  <a:pt x="2949672" y="544996"/>
                  <a:pt x="2949904" y="544301"/>
                </a:cubicBezTo>
                <a:cubicBezTo>
                  <a:pt x="2950135" y="543607"/>
                  <a:pt x="2951812" y="542335"/>
                  <a:pt x="2954184" y="542335"/>
                </a:cubicBezTo>
                <a:cubicBezTo>
                  <a:pt x="2957770" y="542410"/>
                  <a:pt x="2961183" y="543717"/>
                  <a:pt x="2963902" y="546037"/>
                </a:cubicBezTo>
                <a:cubicBezTo>
                  <a:pt x="2969108" y="550421"/>
                  <a:pt x="2976454" y="551162"/>
                  <a:pt x="2982412" y="547888"/>
                </a:cubicBezTo>
                <a:cubicBezTo>
                  <a:pt x="2985246" y="545568"/>
                  <a:pt x="2986404" y="541739"/>
                  <a:pt x="2985304" y="538228"/>
                </a:cubicBezTo>
                <a:cubicBezTo>
                  <a:pt x="2984726" y="534427"/>
                  <a:pt x="2981486" y="531576"/>
                  <a:pt x="2977669" y="531402"/>
                </a:cubicBezTo>
                <a:cubicBezTo>
                  <a:pt x="2971537" y="531402"/>
                  <a:pt x="2970265" y="528279"/>
                  <a:pt x="2970033" y="526601"/>
                </a:cubicBezTo>
                <a:cubicBezTo>
                  <a:pt x="2970033" y="522812"/>
                  <a:pt x="2972521" y="519463"/>
                  <a:pt x="2976107" y="518329"/>
                </a:cubicBezTo>
                <a:cubicBezTo>
                  <a:pt x="2976686" y="517172"/>
                  <a:pt x="2974256" y="513528"/>
                  <a:pt x="2972637" y="511099"/>
                </a:cubicBezTo>
                <a:cubicBezTo>
                  <a:pt x="2969860" y="506934"/>
                  <a:pt x="2967489" y="503406"/>
                  <a:pt x="2968414" y="501034"/>
                </a:cubicBezTo>
                <a:cubicBezTo>
                  <a:pt x="2968761" y="500155"/>
                  <a:pt x="2969571" y="499507"/>
                  <a:pt x="2970497" y="499299"/>
                </a:cubicBezTo>
                <a:cubicBezTo>
                  <a:pt x="2971537" y="499299"/>
                  <a:pt x="2973273" y="498431"/>
                  <a:pt x="2973215" y="496927"/>
                </a:cubicBezTo>
                <a:cubicBezTo>
                  <a:pt x="2973157" y="495423"/>
                  <a:pt x="2970612" y="492531"/>
                  <a:pt x="2965406" y="491837"/>
                </a:cubicBezTo>
                <a:cubicBezTo>
                  <a:pt x="2955920" y="490564"/>
                  <a:pt x="2946317" y="482871"/>
                  <a:pt x="2945855" y="477896"/>
                </a:cubicBezTo>
                <a:cubicBezTo>
                  <a:pt x="2939723" y="475461"/>
                  <a:pt x="2933071" y="474472"/>
                  <a:pt x="2926476" y="475004"/>
                </a:cubicBezTo>
                <a:cubicBezTo>
                  <a:pt x="2921444" y="474379"/>
                  <a:pt x="2916354" y="475241"/>
                  <a:pt x="2911842" y="477491"/>
                </a:cubicBezTo>
                <a:cubicBezTo>
                  <a:pt x="2911785" y="477636"/>
                  <a:pt x="2911785" y="477809"/>
                  <a:pt x="2911842" y="477954"/>
                </a:cubicBezTo>
                <a:cubicBezTo>
                  <a:pt x="2912189" y="479175"/>
                  <a:pt x="2912015" y="480499"/>
                  <a:pt x="2911264" y="481540"/>
                </a:cubicBezTo>
                <a:cubicBezTo>
                  <a:pt x="2910049" y="482842"/>
                  <a:pt x="2908314" y="483525"/>
                  <a:pt x="2906578" y="483391"/>
                </a:cubicBezTo>
                <a:cubicBezTo>
                  <a:pt x="2904091" y="483490"/>
                  <a:pt x="2901662" y="482449"/>
                  <a:pt x="2899984" y="480557"/>
                </a:cubicBezTo>
                <a:cubicBezTo>
                  <a:pt x="2899290" y="479499"/>
                  <a:pt x="2899116" y="478162"/>
                  <a:pt x="2899579" y="476971"/>
                </a:cubicBezTo>
                <a:cubicBezTo>
                  <a:pt x="2899579" y="476508"/>
                  <a:pt x="2899579" y="476334"/>
                  <a:pt x="2899579" y="476277"/>
                </a:cubicBezTo>
                <a:cubicBezTo>
                  <a:pt x="2898827" y="475004"/>
                  <a:pt x="2893795" y="474310"/>
                  <a:pt x="2888589" y="473616"/>
                </a:cubicBezTo>
                <a:cubicBezTo>
                  <a:pt x="2882052" y="472852"/>
                  <a:pt x="2875574" y="471655"/>
                  <a:pt x="2869153" y="470029"/>
                </a:cubicBezTo>
                <a:cubicBezTo>
                  <a:pt x="2861287" y="468068"/>
                  <a:pt x="2854519" y="463186"/>
                  <a:pt x="2850122" y="456378"/>
                </a:cubicBezTo>
                <a:cubicBezTo>
                  <a:pt x="2848272" y="453891"/>
                  <a:pt x="2846941" y="452098"/>
                  <a:pt x="2845148" y="451866"/>
                </a:cubicBezTo>
                <a:lnTo>
                  <a:pt x="2845148" y="451866"/>
                </a:lnTo>
                <a:cubicBezTo>
                  <a:pt x="2843354" y="451866"/>
                  <a:pt x="2842429" y="454759"/>
                  <a:pt x="2841446" y="457651"/>
                </a:cubicBezTo>
                <a:cubicBezTo>
                  <a:pt x="2840173" y="461526"/>
                  <a:pt x="2838727" y="465865"/>
                  <a:pt x="2834793" y="465865"/>
                </a:cubicBezTo>
                <a:cubicBezTo>
                  <a:pt x="2833811" y="465841"/>
                  <a:pt x="2832827" y="465604"/>
                  <a:pt x="2831959" y="465171"/>
                </a:cubicBezTo>
                <a:cubicBezTo>
                  <a:pt x="2827563" y="462741"/>
                  <a:pt x="2821952" y="464361"/>
                  <a:pt x="2819522" y="468780"/>
                </a:cubicBezTo>
                <a:cubicBezTo>
                  <a:pt x="2818018" y="471614"/>
                  <a:pt x="2818076" y="475056"/>
                  <a:pt x="2819696" y="477838"/>
                </a:cubicBezTo>
                <a:cubicBezTo>
                  <a:pt x="2822357" y="482333"/>
                  <a:pt x="2822762" y="487793"/>
                  <a:pt x="2820853" y="492647"/>
                </a:cubicBezTo>
                <a:cubicBezTo>
                  <a:pt x="2820159" y="494712"/>
                  <a:pt x="2819638" y="496840"/>
                  <a:pt x="2819349" y="499009"/>
                </a:cubicBezTo>
                <a:cubicBezTo>
                  <a:pt x="2819349" y="501670"/>
                  <a:pt x="2818366" y="505257"/>
                  <a:pt x="2814548" y="505257"/>
                </a:cubicBezTo>
                <a:cubicBezTo>
                  <a:pt x="2811772" y="504921"/>
                  <a:pt x="2809053" y="504140"/>
                  <a:pt x="2806507" y="502943"/>
                </a:cubicBezTo>
                <a:cubicBezTo>
                  <a:pt x="2805061" y="502422"/>
                  <a:pt x="2803500" y="501786"/>
                  <a:pt x="2801707" y="501207"/>
                </a:cubicBezTo>
                <a:cubicBezTo>
                  <a:pt x="2798583" y="500143"/>
                  <a:pt x="2795170" y="500641"/>
                  <a:pt x="2792510" y="502538"/>
                </a:cubicBezTo>
                <a:cubicBezTo>
                  <a:pt x="2788576" y="504788"/>
                  <a:pt x="2784180" y="505962"/>
                  <a:pt x="2779668" y="505951"/>
                </a:cubicBezTo>
                <a:cubicBezTo>
                  <a:pt x="2775966" y="505876"/>
                  <a:pt x="2772322" y="505372"/>
                  <a:pt x="2768736" y="504447"/>
                </a:cubicBezTo>
                <a:cubicBezTo>
                  <a:pt x="2760984" y="502515"/>
                  <a:pt x="2753002" y="501583"/>
                  <a:pt x="2745019" y="501670"/>
                </a:cubicBezTo>
                <a:cubicBezTo>
                  <a:pt x="2738252" y="501670"/>
                  <a:pt x="2733450" y="501670"/>
                  <a:pt x="2731252" y="497043"/>
                </a:cubicBezTo>
                <a:cubicBezTo>
                  <a:pt x="2729055" y="492415"/>
                  <a:pt x="2726220" y="491258"/>
                  <a:pt x="2724485" y="491258"/>
                </a:cubicBezTo>
                <a:cubicBezTo>
                  <a:pt x="2722749" y="491258"/>
                  <a:pt x="2721881" y="492357"/>
                  <a:pt x="2721650" y="494324"/>
                </a:cubicBezTo>
                <a:cubicBezTo>
                  <a:pt x="2721129" y="498084"/>
                  <a:pt x="2713436" y="498662"/>
                  <a:pt x="2708866" y="498662"/>
                </a:cubicBezTo>
                <a:cubicBezTo>
                  <a:pt x="2698571" y="498662"/>
                  <a:pt x="2683184" y="495770"/>
                  <a:pt x="2681101" y="489292"/>
                </a:cubicBezTo>
                <a:cubicBezTo>
                  <a:pt x="2678383" y="480788"/>
                  <a:pt x="2685324" y="478070"/>
                  <a:pt x="2690414" y="476045"/>
                </a:cubicBezTo>
                <a:lnTo>
                  <a:pt x="2693017" y="475004"/>
                </a:lnTo>
                <a:lnTo>
                  <a:pt x="2693538" y="475004"/>
                </a:lnTo>
                <a:cubicBezTo>
                  <a:pt x="2688100" y="472644"/>
                  <a:pt x="2682084" y="471730"/>
                  <a:pt x="2676185" y="472343"/>
                </a:cubicBezTo>
                <a:cubicBezTo>
                  <a:pt x="2673813" y="472343"/>
                  <a:pt x="2671383" y="472343"/>
                  <a:pt x="2668954" y="472343"/>
                </a:cubicBezTo>
                <a:cubicBezTo>
                  <a:pt x="2660509" y="472592"/>
                  <a:pt x="2652121" y="471238"/>
                  <a:pt x="2644197" y="468352"/>
                </a:cubicBezTo>
                <a:cubicBezTo>
                  <a:pt x="2637429" y="466027"/>
                  <a:pt x="2630314" y="464702"/>
                  <a:pt x="2623141" y="464419"/>
                </a:cubicBezTo>
                <a:cubicBezTo>
                  <a:pt x="2621579" y="464332"/>
                  <a:pt x="2620018" y="464332"/>
                  <a:pt x="2618456" y="464419"/>
                </a:cubicBezTo>
                <a:lnTo>
                  <a:pt x="2609259" y="465344"/>
                </a:lnTo>
                <a:cubicBezTo>
                  <a:pt x="2589013" y="467426"/>
                  <a:pt x="2555232" y="470839"/>
                  <a:pt x="2550142" y="473211"/>
                </a:cubicBezTo>
                <a:cubicBezTo>
                  <a:pt x="2548464" y="474021"/>
                  <a:pt x="2548812" y="475698"/>
                  <a:pt x="2550142" y="478995"/>
                </a:cubicBezTo>
                <a:cubicBezTo>
                  <a:pt x="2550952" y="481425"/>
                  <a:pt x="2551762" y="483912"/>
                  <a:pt x="2550547" y="485763"/>
                </a:cubicBezTo>
                <a:cubicBezTo>
                  <a:pt x="2548291" y="488216"/>
                  <a:pt x="2544473" y="488424"/>
                  <a:pt x="2541986" y="486226"/>
                </a:cubicBezTo>
                <a:cubicBezTo>
                  <a:pt x="2539383" y="483391"/>
                  <a:pt x="2539961" y="477433"/>
                  <a:pt x="2540540" y="471128"/>
                </a:cubicBezTo>
                <a:cubicBezTo>
                  <a:pt x="2541003" y="467496"/>
                  <a:pt x="2541003" y="463828"/>
                  <a:pt x="2540540" y="460196"/>
                </a:cubicBezTo>
                <a:cubicBezTo>
                  <a:pt x="2539672" y="456222"/>
                  <a:pt x="2536085" y="453411"/>
                  <a:pt x="2532037" y="453428"/>
                </a:cubicBezTo>
                <a:cubicBezTo>
                  <a:pt x="2530995" y="453347"/>
                  <a:pt x="2529954" y="453706"/>
                  <a:pt x="2529202" y="454411"/>
                </a:cubicBezTo>
                <a:cubicBezTo>
                  <a:pt x="2528855" y="455048"/>
                  <a:pt x="2528855" y="455800"/>
                  <a:pt x="2529202" y="456436"/>
                </a:cubicBezTo>
                <a:cubicBezTo>
                  <a:pt x="2529549" y="457639"/>
                  <a:pt x="2529318" y="458935"/>
                  <a:pt x="2528508" y="459907"/>
                </a:cubicBezTo>
                <a:cubicBezTo>
                  <a:pt x="2526021" y="463262"/>
                  <a:pt x="2518328" y="464708"/>
                  <a:pt x="2511791" y="464708"/>
                </a:cubicBezTo>
                <a:cubicBezTo>
                  <a:pt x="2507337" y="464980"/>
                  <a:pt x="2502883" y="463886"/>
                  <a:pt x="2499066" y="461584"/>
                </a:cubicBezTo>
                <a:cubicBezTo>
                  <a:pt x="2490100" y="453897"/>
                  <a:pt x="2479456" y="448459"/>
                  <a:pt x="2468003" y="445735"/>
                </a:cubicBezTo>
                <a:cubicBezTo>
                  <a:pt x="2466441" y="445330"/>
                  <a:pt x="2464880" y="445139"/>
                  <a:pt x="2463260" y="445156"/>
                </a:cubicBezTo>
                <a:cubicBezTo>
                  <a:pt x="2453311" y="445555"/>
                  <a:pt x="2444114" y="450692"/>
                  <a:pt x="2438560" y="458981"/>
                </a:cubicBezTo>
                <a:cubicBezTo>
                  <a:pt x="2438098" y="459803"/>
                  <a:pt x="2438098" y="460821"/>
                  <a:pt x="2438560" y="461642"/>
                </a:cubicBezTo>
                <a:cubicBezTo>
                  <a:pt x="2441510" y="463649"/>
                  <a:pt x="2445039" y="464528"/>
                  <a:pt x="2448567" y="464129"/>
                </a:cubicBezTo>
                <a:cubicBezTo>
                  <a:pt x="2452038" y="464129"/>
                  <a:pt x="2455103" y="464129"/>
                  <a:pt x="2455393" y="466674"/>
                </a:cubicBezTo>
                <a:cubicBezTo>
                  <a:pt x="2455509" y="467484"/>
                  <a:pt x="2455277" y="468300"/>
                  <a:pt x="2454757" y="468930"/>
                </a:cubicBezTo>
                <a:cubicBezTo>
                  <a:pt x="2452559" y="471649"/>
                  <a:pt x="2444923" y="472459"/>
                  <a:pt x="2436825" y="473327"/>
                </a:cubicBezTo>
                <a:cubicBezTo>
                  <a:pt x="2431619" y="473847"/>
                  <a:pt x="2421901" y="474830"/>
                  <a:pt x="2421901" y="476508"/>
                </a:cubicBezTo>
                <a:cubicBezTo>
                  <a:pt x="2421901" y="484028"/>
                  <a:pt x="2385632" y="491374"/>
                  <a:pt x="2379328" y="492184"/>
                </a:cubicBezTo>
                <a:lnTo>
                  <a:pt x="2373196" y="492936"/>
                </a:lnTo>
                <a:cubicBezTo>
                  <a:pt x="2352025" y="495539"/>
                  <a:pt x="2346299" y="496233"/>
                  <a:pt x="2335077" y="505662"/>
                </a:cubicBezTo>
                <a:cubicBezTo>
                  <a:pt x="2331606" y="508554"/>
                  <a:pt x="2330160" y="508901"/>
                  <a:pt x="2329292" y="508901"/>
                </a:cubicBezTo>
                <a:cubicBezTo>
                  <a:pt x="2328483" y="508953"/>
                  <a:pt x="2327731" y="508455"/>
                  <a:pt x="2327441" y="507686"/>
                </a:cubicBezTo>
                <a:cubicBezTo>
                  <a:pt x="2325995" y="504273"/>
                  <a:pt x="2333746" y="491605"/>
                  <a:pt x="2340341" y="485011"/>
                </a:cubicBezTo>
                <a:cubicBezTo>
                  <a:pt x="2344563" y="480968"/>
                  <a:pt x="2349885" y="478238"/>
                  <a:pt x="2355612" y="477144"/>
                </a:cubicBezTo>
                <a:cubicBezTo>
                  <a:pt x="2359545" y="476653"/>
                  <a:pt x="2363132" y="474767"/>
                  <a:pt x="2365734" y="471823"/>
                </a:cubicBezTo>
                <a:cubicBezTo>
                  <a:pt x="2370420" y="465402"/>
                  <a:pt x="2377303" y="464592"/>
                  <a:pt x="2387310" y="463319"/>
                </a:cubicBezTo>
                <a:lnTo>
                  <a:pt x="2396334" y="462047"/>
                </a:lnTo>
                <a:cubicBezTo>
                  <a:pt x="2402407" y="461532"/>
                  <a:pt x="2407961" y="458304"/>
                  <a:pt x="2411374" y="453255"/>
                </a:cubicBezTo>
                <a:cubicBezTo>
                  <a:pt x="2412993" y="450808"/>
                  <a:pt x="2415249" y="448818"/>
                  <a:pt x="2417852" y="447470"/>
                </a:cubicBezTo>
                <a:lnTo>
                  <a:pt x="2420860" y="446140"/>
                </a:lnTo>
                <a:cubicBezTo>
                  <a:pt x="2428553" y="442843"/>
                  <a:pt x="2442841" y="436653"/>
                  <a:pt x="2445502" y="430637"/>
                </a:cubicBezTo>
                <a:cubicBezTo>
                  <a:pt x="2449030" y="422771"/>
                  <a:pt x="2485357" y="410970"/>
                  <a:pt x="2493050" y="410970"/>
                </a:cubicBezTo>
                <a:lnTo>
                  <a:pt x="2493454" y="410970"/>
                </a:lnTo>
                <a:cubicBezTo>
                  <a:pt x="2496983" y="410970"/>
                  <a:pt x="2499239" y="406632"/>
                  <a:pt x="2500859" y="402756"/>
                </a:cubicBezTo>
                <a:cubicBezTo>
                  <a:pt x="2502478" y="398881"/>
                  <a:pt x="2503924" y="396394"/>
                  <a:pt x="2506296" y="396394"/>
                </a:cubicBezTo>
                <a:cubicBezTo>
                  <a:pt x="2517576" y="393166"/>
                  <a:pt x="2528508" y="388891"/>
                  <a:pt x="2538978" y="383610"/>
                </a:cubicBezTo>
                <a:cubicBezTo>
                  <a:pt x="2545225" y="380701"/>
                  <a:pt x="2549564" y="374823"/>
                  <a:pt x="2550547" y="367992"/>
                </a:cubicBezTo>
                <a:cubicBezTo>
                  <a:pt x="2550547" y="366199"/>
                  <a:pt x="2548696" y="365331"/>
                  <a:pt x="2545399" y="364174"/>
                </a:cubicBezTo>
                <a:cubicBezTo>
                  <a:pt x="2542102" y="363017"/>
                  <a:pt x="2539209" y="361918"/>
                  <a:pt x="2538457" y="359084"/>
                </a:cubicBezTo>
                <a:cubicBezTo>
                  <a:pt x="2538053" y="358083"/>
                  <a:pt x="2538226" y="356961"/>
                  <a:pt x="2538805" y="356076"/>
                </a:cubicBezTo>
                <a:cubicBezTo>
                  <a:pt x="2539730" y="354804"/>
                  <a:pt x="2541465" y="354688"/>
                  <a:pt x="2543953" y="354514"/>
                </a:cubicBezTo>
                <a:cubicBezTo>
                  <a:pt x="2547018" y="354462"/>
                  <a:pt x="2550026" y="353895"/>
                  <a:pt x="2552860" y="352837"/>
                </a:cubicBezTo>
                <a:cubicBezTo>
                  <a:pt x="2554770" y="352461"/>
                  <a:pt x="2556042" y="350604"/>
                  <a:pt x="2555637" y="348695"/>
                </a:cubicBezTo>
                <a:cubicBezTo>
                  <a:pt x="2555637" y="348684"/>
                  <a:pt x="2555637" y="348678"/>
                  <a:pt x="2555637" y="348672"/>
                </a:cubicBezTo>
                <a:cubicBezTo>
                  <a:pt x="2554712" y="345178"/>
                  <a:pt x="2551704" y="342633"/>
                  <a:pt x="2548118" y="342309"/>
                </a:cubicBezTo>
                <a:cubicBezTo>
                  <a:pt x="2547654" y="342251"/>
                  <a:pt x="2547192" y="342251"/>
                  <a:pt x="2546729" y="342309"/>
                </a:cubicBezTo>
                <a:cubicBezTo>
                  <a:pt x="2544358" y="343003"/>
                  <a:pt x="2543490" y="342309"/>
                  <a:pt x="2543143" y="341904"/>
                </a:cubicBezTo>
                <a:cubicBezTo>
                  <a:pt x="2542796" y="341499"/>
                  <a:pt x="2543143" y="339880"/>
                  <a:pt x="2543606" y="338376"/>
                </a:cubicBezTo>
                <a:cubicBezTo>
                  <a:pt x="2545399" y="335339"/>
                  <a:pt x="2545225" y="331510"/>
                  <a:pt x="2543143" y="328658"/>
                </a:cubicBezTo>
                <a:cubicBezTo>
                  <a:pt x="2541986" y="327235"/>
                  <a:pt x="2540251" y="326437"/>
                  <a:pt x="2538399" y="326518"/>
                </a:cubicBezTo>
                <a:cubicBezTo>
                  <a:pt x="2536433" y="326657"/>
                  <a:pt x="2534466" y="327044"/>
                  <a:pt x="2532615" y="327675"/>
                </a:cubicBezTo>
                <a:cubicBezTo>
                  <a:pt x="2529665" y="328542"/>
                  <a:pt x="2527294" y="328947"/>
                  <a:pt x="2526021" y="327675"/>
                </a:cubicBezTo>
                <a:cubicBezTo>
                  <a:pt x="2525327" y="326807"/>
                  <a:pt x="2525038" y="325696"/>
                  <a:pt x="2525211" y="324609"/>
                </a:cubicBezTo>
                <a:cubicBezTo>
                  <a:pt x="2525616" y="317263"/>
                  <a:pt x="2524459" y="307834"/>
                  <a:pt x="2519889" y="303264"/>
                </a:cubicBezTo>
                <a:cubicBezTo>
                  <a:pt x="2518385" y="301760"/>
                  <a:pt x="2515898" y="302859"/>
                  <a:pt x="2512890" y="304190"/>
                </a:cubicBezTo>
                <a:cubicBezTo>
                  <a:pt x="2510056" y="305746"/>
                  <a:pt x="2506932" y="306654"/>
                  <a:pt x="2503693" y="306851"/>
                </a:cubicBezTo>
                <a:cubicBezTo>
                  <a:pt x="2500974" y="306839"/>
                  <a:pt x="2498314" y="305902"/>
                  <a:pt x="2496173" y="304190"/>
                </a:cubicBezTo>
                <a:cubicBezTo>
                  <a:pt x="2488364" y="298405"/>
                  <a:pt x="2468640" y="294067"/>
                  <a:pt x="2460888" y="294067"/>
                </a:cubicBezTo>
                <a:cubicBezTo>
                  <a:pt x="2460021" y="294003"/>
                  <a:pt x="2459211" y="294102"/>
                  <a:pt x="2458401" y="294356"/>
                </a:cubicBezTo>
                <a:cubicBezTo>
                  <a:pt x="2458401" y="295166"/>
                  <a:pt x="2457591" y="295860"/>
                  <a:pt x="2456145" y="295918"/>
                </a:cubicBezTo>
                <a:cubicBezTo>
                  <a:pt x="2454178" y="295669"/>
                  <a:pt x="2452211" y="295183"/>
                  <a:pt x="2450361" y="294472"/>
                </a:cubicBezTo>
                <a:cubicBezTo>
                  <a:pt x="2447931" y="293587"/>
                  <a:pt x="2445386" y="293003"/>
                  <a:pt x="2442783" y="292737"/>
                </a:cubicBezTo>
                <a:cubicBezTo>
                  <a:pt x="2442262" y="292673"/>
                  <a:pt x="2441742" y="292795"/>
                  <a:pt x="2441279" y="293084"/>
                </a:cubicBezTo>
                <a:cubicBezTo>
                  <a:pt x="2439312" y="295397"/>
                  <a:pt x="2431099" y="295860"/>
                  <a:pt x="2424504" y="295860"/>
                </a:cubicBezTo>
                <a:cubicBezTo>
                  <a:pt x="2418488" y="295993"/>
                  <a:pt x="2412472" y="295450"/>
                  <a:pt x="2406573" y="294241"/>
                </a:cubicBezTo>
                <a:cubicBezTo>
                  <a:pt x="2400325" y="292563"/>
                  <a:pt x="2390608" y="296670"/>
                  <a:pt x="2390260" y="303322"/>
                </a:cubicBezTo>
                <a:cubicBezTo>
                  <a:pt x="2390260" y="307313"/>
                  <a:pt x="2384476" y="309107"/>
                  <a:pt x="2373254" y="309107"/>
                </a:cubicBezTo>
                <a:cubicBezTo>
                  <a:pt x="2367007" y="309107"/>
                  <a:pt x="2360760" y="308563"/>
                  <a:pt x="2354570" y="307487"/>
                </a:cubicBezTo>
                <a:cubicBezTo>
                  <a:pt x="2353818" y="307394"/>
                  <a:pt x="2353240" y="306868"/>
                  <a:pt x="2353067" y="306157"/>
                </a:cubicBezTo>
                <a:cubicBezTo>
                  <a:pt x="2352372" y="303843"/>
                  <a:pt x="2355959" y="299852"/>
                  <a:pt x="2364636" y="291291"/>
                </a:cubicBezTo>
                <a:cubicBezTo>
                  <a:pt x="2367932" y="288219"/>
                  <a:pt x="2370940" y="284852"/>
                  <a:pt x="2373601" y="281226"/>
                </a:cubicBezTo>
                <a:cubicBezTo>
                  <a:pt x="2370015" y="280537"/>
                  <a:pt x="2366371" y="280306"/>
                  <a:pt x="2362726" y="280532"/>
                </a:cubicBezTo>
                <a:lnTo>
                  <a:pt x="2354223" y="280532"/>
                </a:lnTo>
                <a:lnTo>
                  <a:pt x="2345199" y="280532"/>
                </a:lnTo>
                <a:cubicBezTo>
                  <a:pt x="2332878" y="280532"/>
                  <a:pt x="2329986" y="279606"/>
                  <a:pt x="2329061" y="278160"/>
                </a:cubicBezTo>
                <a:cubicBezTo>
                  <a:pt x="2327673" y="275730"/>
                  <a:pt x="2315063" y="273764"/>
                  <a:pt x="2301527" y="273764"/>
                </a:cubicBezTo>
                <a:lnTo>
                  <a:pt x="2296090" y="273764"/>
                </a:lnTo>
                <a:cubicBezTo>
                  <a:pt x="2294701" y="273764"/>
                  <a:pt x="2292735" y="273764"/>
                  <a:pt x="2292619" y="272260"/>
                </a:cubicBezTo>
                <a:cubicBezTo>
                  <a:pt x="2292619" y="269599"/>
                  <a:pt x="2303494" y="268442"/>
                  <a:pt x="2305692" y="268211"/>
                </a:cubicBezTo>
                <a:cubicBezTo>
                  <a:pt x="2310088" y="267459"/>
                  <a:pt x="2314253" y="265891"/>
                  <a:pt x="2318071" y="263583"/>
                </a:cubicBezTo>
                <a:cubicBezTo>
                  <a:pt x="2322120" y="261275"/>
                  <a:pt x="2326458" y="259580"/>
                  <a:pt x="2331028" y="258551"/>
                </a:cubicBezTo>
                <a:cubicBezTo>
                  <a:pt x="2335192" y="257799"/>
                  <a:pt x="2336350" y="256873"/>
                  <a:pt x="2336812" y="256179"/>
                </a:cubicBezTo>
                <a:cubicBezTo>
                  <a:pt x="2337275" y="255485"/>
                  <a:pt x="2335482" y="252303"/>
                  <a:pt x="2333746" y="249816"/>
                </a:cubicBezTo>
                <a:cubicBezTo>
                  <a:pt x="2332011" y="247329"/>
                  <a:pt x="2327210" y="246519"/>
                  <a:pt x="2322177" y="246172"/>
                </a:cubicBezTo>
                <a:cubicBezTo>
                  <a:pt x="2318475" y="246085"/>
                  <a:pt x="2314773" y="245559"/>
                  <a:pt x="2311187" y="244610"/>
                </a:cubicBezTo>
                <a:lnTo>
                  <a:pt x="2306270" y="243048"/>
                </a:lnTo>
                <a:cubicBezTo>
                  <a:pt x="2298809" y="240266"/>
                  <a:pt x="2291057" y="238323"/>
                  <a:pt x="2283133" y="237264"/>
                </a:cubicBezTo>
                <a:cubicBezTo>
                  <a:pt x="2277753" y="237432"/>
                  <a:pt x="2272374" y="238404"/>
                  <a:pt x="2267283" y="240156"/>
                </a:cubicBezTo>
                <a:cubicBezTo>
                  <a:pt x="2262135" y="241602"/>
                  <a:pt x="2255714" y="243338"/>
                  <a:pt x="2247443" y="244899"/>
                </a:cubicBezTo>
                <a:cubicBezTo>
                  <a:pt x="2238997" y="246519"/>
                  <a:pt x="2231536" y="251534"/>
                  <a:pt x="2226850" y="258782"/>
                </a:cubicBezTo>
                <a:cubicBezTo>
                  <a:pt x="2224420" y="262363"/>
                  <a:pt x="2221182" y="265336"/>
                  <a:pt x="2217422" y="267459"/>
                </a:cubicBezTo>
                <a:cubicBezTo>
                  <a:pt x="2209265" y="271219"/>
                  <a:pt x="2196887" y="283944"/>
                  <a:pt x="2197408" y="288109"/>
                </a:cubicBezTo>
                <a:cubicBezTo>
                  <a:pt x="2197408" y="288398"/>
                  <a:pt x="2197408" y="288919"/>
                  <a:pt x="2198564" y="289092"/>
                </a:cubicBezTo>
                <a:cubicBezTo>
                  <a:pt x="2205159" y="290423"/>
                  <a:pt x="2204869" y="294125"/>
                  <a:pt x="2204638" y="297364"/>
                </a:cubicBezTo>
                <a:cubicBezTo>
                  <a:pt x="2204407" y="298799"/>
                  <a:pt x="2204407" y="300268"/>
                  <a:pt x="2204638" y="301702"/>
                </a:cubicBezTo>
                <a:cubicBezTo>
                  <a:pt x="2204985" y="303143"/>
                  <a:pt x="2204696" y="304670"/>
                  <a:pt x="2203828" y="305867"/>
                </a:cubicBezTo>
                <a:cubicBezTo>
                  <a:pt x="2201456" y="308002"/>
                  <a:pt x="2198275" y="308991"/>
                  <a:pt x="2195094" y="308586"/>
                </a:cubicBezTo>
                <a:cubicBezTo>
                  <a:pt x="2192722" y="308563"/>
                  <a:pt x="2190351" y="308332"/>
                  <a:pt x="2187979" y="307892"/>
                </a:cubicBezTo>
                <a:cubicBezTo>
                  <a:pt x="2183641" y="307331"/>
                  <a:pt x="2179302" y="307082"/>
                  <a:pt x="2174964" y="307140"/>
                </a:cubicBezTo>
                <a:cubicBezTo>
                  <a:pt x="2161313" y="307140"/>
                  <a:pt x="2150554" y="308875"/>
                  <a:pt x="2148124" y="311420"/>
                </a:cubicBezTo>
                <a:cubicBezTo>
                  <a:pt x="2147720" y="311883"/>
                  <a:pt x="2147662" y="312172"/>
                  <a:pt x="2147720" y="312346"/>
                </a:cubicBezTo>
                <a:cubicBezTo>
                  <a:pt x="2147720" y="315527"/>
                  <a:pt x="2153504" y="318130"/>
                  <a:pt x="2158073" y="320213"/>
                </a:cubicBezTo>
                <a:cubicBezTo>
                  <a:pt x="2162643" y="322295"/>
                  <a:pt x="2166287" y="323973"/>
                  <a:pt x="2165420" y="326518"/>
                </a:cubicBezTo>
                <a:cubicBezTo>
                  <a:pt x="2164957" y="327964"/>
                  <a:pt x="2163453" y="328716"/>
                  <a:pt x="2161023" y="328716"/>
                </a:cubicBezTo>
                <a:cubicBezTo>
                  <a:pt x="2154719" y="328027"/>
                  <a:pt x="2148645" y="326061"/>
                  <a:pt x="2143150" y="322931"/>
                </a:cubicBezTo>
                <a:cubicBezTo>
                  <a:pt x="2140778" y="321722"/>
                  <a:pt x="2138059" y="321144"/>
                  <a:pt x="2135399" y="321254"/>
                </a:cubicBezTo>
                <a:cubicBezTo>
                  <a:pt x="2129614" y="321254"/>
                  <a:pt x="2122673" y="323452"/>
                  <a:pt x="2120995" y="327559"/>
                </a:cubicBezTo>
                <a:cubicBezTo>
                  <a:pt x="2118855" y="331591"/>
                  <a:pt x="2114459" y="333893"/>
                  <a:pt x="2109947" y="333343"/>
                </a:cubicBezTo>
                <a:cubicBezTo>
                  <a:pt x="2107113" y="333361"/>
                  <a:pt x="2104336" y="332852"/>
                  <a:pt x="2101675" y="331839"/>
                </a:cubicBezTo>
                <a:cubicBezTo>
                  <a:pt x="2099477" y="331504"/>
                  <a:pt x="2097279" y="331718"/>
                  <a:pt x="2095196" y="332476"/>
                </a:cubicBezTo>
                <a:cubicBezTo>
                  <a:pt x="2091610" y="333609"/>
                  <a:pt x="2087734" y="333806"/>
                  <a:pt x="2084033" y="333054"/>
                </a:cubicBezTo>
                <a:cubicBezTo>
                  <a:pt x="2083107" y="332852"/>
                  <a:pt x="2082297" y="332140"/>
                  <a:pt x="2082066" y="331203"/>
                </a:cubicBezTo>
                <a:cubicBezTo>
                  <a:pt x="2081603" y="329294"/>
                  <a:pt x="2083801" y="327270"/>
                  <a:pt x="2086520" y="324725"/>
                </a:cubicBezTo>
                <a:cubicBezTo>
                  <a:pt x="2089238" y="322179"/>
                  <a:pt x="2091610" y="319981"/>
                  <a:pt x="2091610" y="318304"/>
                </a:cubicBezTo>
                <a:cubicBezTo>
                  <a:pt x="2091610" y="317968"/>
                  <a:pt x="2091494" y="317644"/>
                  <a:pt x="2091206" y="317436"/>
                </a:cubicBezTo>
                <a:cubicBezTo>
                  <a:pt x="2089528" y="316262"/>
                  <a:pt x="2087446" y="315730"/>
                  <a:pt x="2085421" y="315932"/>
                </a:cubicBezTo>
                <a:cubicBezTo>
                  <a:pt x="2078248" y="315932"/>
                  <a:pt x="2068588" y="319461"/>
                  <a:pt x="2067374" y="323799"/>
                </a:cubicBezTo>
                <a:cubicBezTo>
                  <a:pt x="2067084" y="325667"/>
                  <a:pt x="2065464" y="327033"/>
                  <a:pt x="2063556" y="326980"/>
                </a:cubicBezTo>
                <a:cubicBezTo>
                  <a:pt x="2060895" y="326581"/>
                  <a:pt x="2058292" y="325592"/>
                  <a:pt x="2056036" y="324088"/>
                </a:cubicBezTo>
                <a:cubicBezTo>
                  <a:pt x="2053144" y="322584"/>
                  <a:pt x="2050251" y="320965"/>
                  <a:pt x="2048689" y="321717"/>
                </a:cubicBezTo>
                <a:lnTo>
                  <a:pt x="2046723" y="322758"/>
                </a:lnTo>
                <a:cubicBezTo>
                  <a:pt x="2041575" y="325667"/>
                  <a:pt x="2036253" y="328294"/>
                  <a:pt x="2030816" y="330625"/>
                </a:cubicBezTo>
                <a:cubicBezTo>
                  <a:pt x="2028791" y="331429"/>
                  <a:pt x="2026593" y="331805"/>
                  <a:pt x="2024395" y="331724"/>
                </a:cubicBezTo>
                <a:cubicBezTo>
                  <a:pt x="2021792" y="331666"/>
                  <a:pt x="2019189" y="331435"/>
                  <a:pt x="2016586" y="331030"/>
                </a:cubicBezTo>
                <a:cubicBezTo>
                  <a:pt x="2014446" y="330711"/>
                  <a:pt x="2012306" y="330521"/>
                  <a:pt x="2010166" y="330451"/>
                </a:cubicBezTo>
                <a:cubicBezTo>
                  <a:pt x="2007389" y="330451"/>
                  <a:pt x="2005827" y="331087"/>
                  <a:pt x="2005133" y="332476"/>
                </a:cubicBezTo>
                <a:cubicBezTo>
                  <a:pt x="2004902" y="332950"/>
                  <a:pt x="2004902" y="333505"/>
                  <a:pt x="2005133" y="333980"/>
                </a:cubicBezTo>
                <a:cubicBezTo>
                  <a:pt x="2006001" y="336120"/>
                  <a:pt x="2010918" y="337855"/>
                  <a:pt x="2014966" y="339128"/>
                </a:cubicBezTo>
                <a:cubicBezTo>
                  <a:pt x="2019016" y="340400"/>
                  <a:pt x="2021677" y="341499"/>
                  <a:pt x="2021908" y="343119"/>
                </a:cubicBezTo>
                <a:cubicBezTo>
                  <a:pt x="2022023" y="343495"/>
                  <a:pt x="2022023" y="343900"/>
                  <a:pt x="2021908" y="344276"/>
                </a:cubicBezTo>
                <a:cubicBezTo>
                  <a:pt x="2020751" y="345606"/>
                  <a:pt x="2015718" y="346127"/>
                  <a:pt x="2002588" y="347052"/>
                </a:cubicBezTo>
                <a:cubicBezTo>
                  <a:pt x="1993449" y="347689"/>
                  <a:pt x="1978235" y="348730"/>
                  <a:pt x="1976905" y="350581"/>
                </a:cubicBezTo>
                <a:cubicBezTo>
                  <a:pt x="1975633" y="355266"/>
                  <a:pt x="1965336" y="355671"/>
                  <a:pt x="1944859" y="356076"/>
                </a:cubicBezTo>
                <a:lnTo>
                  <a:pt x="1941562" y="356076"/>
                </a:lnTo>
                <a:cubicBezTo>
                  <a:pt x="1932134" y="356076"/>
                  <a:pt x="1929994" y="358737"/>
                  <a:pt x="1927680" y="361861"/>
                </a:cubicBezTo>
                <a:cubicBezTo>
                  <a:pt x="1924903" y="365534"/>
                  <a:pt x="1920681" y="367899"/>
                  <a:pt x="1916111" y="368397"/>
                </a:cubicBezTo>
                <a:lnTo>
                  <a:pt x="1911541" y="369265"/>
                </a:lnTo>
                <a:cubicBezTo>
                  <a:pt x="1899972" y="371405"/>
                  <a:pt x="1895055" y="372388"/>
                  <a:pt x="1891007" y="378462"/>
                </a:cubicBezTo>
                <a:cubicBezTo>
                  <a:pt x="1887941" y="382818"/>
                  <a:pt x="1882966" y="385392"/>
                  <a:pt x="1877644" y="385345"/>
                </a:cubicBezTo>
                <a:cubicBezTo>
                  <a:pt x="1874058" y="385478"/>
                  <a:pt x="1870587" y="384015"/>
                  <a:pt x="1868216" y="381354"/>
                </a:cubicBezTo>
                <a:cubicBezTo>
                  <a:pt x="1867232" y="380313"/>
                  <a:pt x="1865786" y="379763"/>
                  <a:pt x="1864340" y="379850"/>
                </a:cubicBezTo>
                <a:cubicBezTo>
                  <a:pt x="1861621" y="379810"/>
                  <a:pt x="1859018" y="380949"/>
                  <a:pt x="1857167" y="382974"/>
                </a:cubicBezTo>
                <a:lnTo>
                  <a:pt x="1857167" y="382974"/>
                </a:lnTo>
                <a:lnTo>
                  <a:pt x="1858266" y="382974"/>
                </a:lnTo>
                <a:cubicBezTo>
                  <a:pt x="1862200" y="383436"/>
                  <a:pt x="1862489" y="385577"/>
                  <a:pt x="1862431" y="386502"/>
                </a:cubicBezTo>
                <a:cubicBezTo>
                  <a:pt x="1861621" y="389690"/>
                  <a:pt x="1858787" y="391934"/>
                  <a:pt x="1855490" y="391940"/>
                </a:cubicBezTo>
                <a:cubicBezTo>
                  <a:pt x="1854911" y="391940"/>
                  <a:pt x="1854333" y="391841"/>
                  <a:pt x="1853754" y="391650"/>
                </a:cubicBezTo>
                <a:cubicBezTo>
                  <a:pt x="1853465" y="391581"/>
                  <a:pt x="1853176" y="391581"/>
                  <a:pt x="1852887" y="391650"/>
                </a:cubicBezTo>
                <a:cubicBezTo>
                  <a:pt x="1849242" y="392246"/>
                  <a:pt x="1845888" y="393941"/>
                  <a:pt x="1843285" y="396509"/>
                </a:cubicBezTo>
                <a:lnTo>
                  <a:pt x="1843921" y="396509"/>
                </a:lnTo>
                <a:cubicBezTo>
                  <a:pt x="1847623" y="395804"/>
                  <a:pt x="1851383" y="397551"/>
                  <a:pt x="1853234" y="400848"/>
                </a:cubicBezTo>
                <a:cubicBezTo>
                  <a:pt x="1854333" y="403266"/>
                  <a:pt x="1853870" y="406100"/>
                  <a:pt x="1852135" y="408078"/>
                </a:cubicBezTo>
                <a:cubicBezTo>
                  <a:pt x="1851094" y="409252"/>
                  <a:pt x="1849532" y="409854"/>
                  <a:pt x="1847970" y="409698"/>
                </a:cubicBezTo>
                <a:cubicBezTo>
                  <a:pt x="1845020" y="409449"/>
                  <a:pt x="1842070" y="408871"/>
                  <a:pt x="1839235" y="407963"/>
                </a:cubicBezTo>
                <a:cubicBezTo>
                  <a:pt x="1834781" y="406690"/>
                  <a:pt x="1830038" y="405591"/>
                  <a:pt x="1828650" y="406979"/>
                </a:cubicBezTo>
                <a:cubicBezTo>
                  <a:pt x="1828187" y="407292"/>
                  <a:pt x="1828014" y="407864"/>
                  <a:pt x="1828245" y="408367"/>
                </a:cubicBezTo>
                <a:cubicBezTo>
                  <a:pt x="1832005" y="412237"/>
                  <a:pt x="1837327" y="414140"/>
                  <a:pt x="1842706" y="413516"/>
                </a:cubicBezTo>
                <a:cubicBezTo>
                  <a:pt x="1849012" y="412492"/>
                  <a:pt x="1854969" y="416772"/>
                  <a:pt x="1855953" y="423083"/>
                </a:cubicBezTo>
                <a:cubicBezTo>
                  <a:pt x="1856010" y="423303"/>
                  <a:pt x="1856068" y="423528"/>
                  <a:pt x="1856068" y="423754"/>
                </a:cubicBezTo>
                <a:cubicBezTo>
                  <a:pt x="1856184" y="424471"/>
                  <a:pt x="1856010" y="425206"/>
                  <a:pt x="1855548" y="425779"/>
                </a:cubicBezTo>
                <a:cubicBezTo>
                  <a:pt x="1854738" y="426542"/>
                  <a:pt x="1853581" y="426924"/>
                  <a:pt x="1852482" y="426820"/>
                </a:cubicBezTo>
                <a:cubicBezTo>
                  <a:pt x="1850342" y="426681"/>
                  <a:pt x="1848202" y="426392"/>
                  <a:pt x="1846119" y="425952"/>
                </a:cubicBezTo>
                <a:cubicBezTo>
                  <a:pt x="1843632" y="425379"/>
                  <a:pt x="1841087" y="425032"/>
                  <a:pt x="1838541" y="424911"/>
                </a:cubicBezTo>
                <a:cubicBezTo>
                  <a:pt x="1837327" y="424743"/>
                  <a:pt x="1836112" y="425079"/>
                  <a:pt x="1835187" y="425836"/>
                </a:cubicBezTo>
                <a:cubicBezTo>
                  <a:pt x="1834550" y="426646"/>
                  <a:pt x="1834261" y="427340"/>
                  <a:pt x="1834493" y="427861"/>
                </a:cubicBezTo>
                <a:cubicBezTo>
                  <a:pt x="1834723" y="428382"/>
                  <a:pt x="1836170" y="430348"/>
                  <a:pt x="1844962" y="431274"/>
                </a:cubicBezTo>
                <a:cubicBezTo>
                  <a:pt x="1849416" y="431737"/>
                  <a:pt x="1850168" y="432951"/>
                  <a:pt x="1850746" y="435381"/>
                </a:cubicBezTo>
                <a:cubicBezTo>
                  <a:pt x="1851268" y="437694"/>
                  <a:pt x="1852540" y="439748"/>
                  <a:pt x="1854449" y="441165"/>
                </a:cubicBezTo>
                <a:cubicBezTo>
                  <a:pt x="1854969" y="441605"/>
                  <a:pt x="1855490" y="442108"/>
                  <a:pt x="1855895" y="442669"/>
                </a:cubicBezTo>
                <a:cubicBezTo>
                  <a:pt x="1858903" y="446198"/>
                  <a:pt x="1856705" y="448454"/>
                  <a:pt x="1855143" y="450652"/>
                </a:cubicBezTo>
                <a:cubicBezTo>
                  <a:pt x="1853581" y="452850"/>
                  <a:pt x="1853002" y="453197"/>
                  <a:pt x="1853234" y="454759"/>
                </a:cubicBezTo>
                <a:cubicBezTo>
                  <a:pt x="1853465" y="456315"/>
                  <a:pt x="1853060" y="457899"/>
                  <a:pt x="1852019" y="459097"/>
                </a:cubicBezTo>
                <a:cubicBezTo>
                  <a:pt x="1850168" y="461295"/>
                  <a:pt x="1846986" y="461816"/>
                  <a:pt x="1844557" y="460312"/>
                </a:cubicBezTo>
                <a:cubicBezTo>
                  <a:pt x="1843690" y="459577"/>
                  <a:pt x="1843227" y="458489"/>
                  <a:pt x="1843285" y="457361"/>
                </a:cubicBezTo>
                <a:cubicBezTo>
                  <a:pt x="1843285" y="456031"/>
                  <a:pt x="1838310" y="454007"/>
                  <a:pt x="1830733" y="454007"/>
                </a:cubicBezTo>
                <a:cubicBezTo>
                  <a:pt x="1826626" y="453474"/>
                  <a:pt x="1822518" y="454510"/>
                  <a:pt x="1819164" y="456899"/>
                </a:cubicBezTo>
                <a:lnTo>
                  <a:pt x="1819164" y="456899"/>
                </a:lnTo>
                <a:cubicBezTo>
                  <a:pt x="1816098" y="460601"/>
                  <a:pt x="1813379" y="463724"/>
                  <a:pt x="1810025" y="463724"/>
                </a:cubicBezTo>
                <a:cubicBezTo>
                  <a:pt x="1807999" y="463597"/>
                  <a:pt x="1806149" y="462706"/>
                  <a:pt x="1804761" y="461237"/>
                </a:cubicBezTo>
                <a:cubicBezTo>
                  <a:pt x="1803083" y="460034"/>
                  <a:pt x="1801058" y="459479"/>
                  <a:pt x="1798976" y="459675"/>
                </a:cubicBezTo>
                <a:cubicBezTo>
                  <a:pt x="1794696" y="459872"/>
                  <a:pt x="1790473" y="460375"/>
                  <a:pt x="1786250" y="461179"/>
                </a:cubicBezTo>
                <a:cubicBezTo>
                  <a:pt x="1779367" y="462406"/>
                  <a:pt x="1772368" y="463198"/>
                  <a:pt x="1765368" y="463551"/>
                </a:cubicBezTo>
                <a:lnTo>
                  <a:pt x="1764443" y="463551"/>
                </a:lnTo>
                <a:cubicBezTo>
                  <a:pt x="1745065" y="464361"/>
                  <a:pt x="1704748" y="465980"/>
                  <a:pt x="1695030" y="469335"/>
                </a:cubicBezTo>
                <a:cubicBezTo>
                  <a:pt x="1689014" y="471707"/>
                  <a:pt x="1684502" y="476797"/>
                  <a:pt x="1682824" y="483044"/>
                </a:cubicBezTo>
                <a:cubicBezTo>
                  <a:pt x="1681784" y="487221"/>
                  <a:pt x="1683056" y="491640"/>
                  <a:pt x="1686180" y="494613"/>
                </a:cubicBezTo>
                <a:cubicBezTo>
                  <a:pt x="1691096" y="498136"/>
                  <a:pt x="1692196" y="504967"/>
                  <a:pt x="1688667" y="509873"/>
                </a:cubicBezTo>
                <a:cubicBezTo>
                  <a:pt x="1688667" y="509878"/>
                  <a:pt x="1688667" y="509878"/>
                  <a:pt x="1688667" y="509884"/>
                </a:cubicBezTo>
                <a:cubicBezTo>
                  <a:pt x="1687684" y="511353"/>
                  <a:pt x="1687105" y="513042"/>
                  <a:pt x="1686932" y="514801"/>
                </a:cubicBezTo>
                <a:cubicBezTo>
                  <a:pt x="1686932" y="519660"/>
                  <a:pt x="1709606" y="532154"/>
                  <a:pt x="1723027" y="533485"/>
                </a:cubicBezTo>
                <a:cubicBezTo>
                  <a:pt x="1730951" y="534584"/>
                  <a:pt x="1737719" y="539680"/>
                  <a:pt x="1740958" y="546962"/>
                </a:cubicBezTo>
                <a:cubicBezTo>
                  <a:pt x="1743388" y="551810"/>
                  <a:pt x="1742867" y="557623"/>
                  <a:pt x="1739570" y="561944"/>
                </a:cubicBezTo>
                <a:cubicBezTo>
                  <a:pt x="1737256" y="564645"/>
                  <a:pt x="1733843" y="566086"/>
                  <a:pt x="1730315" y="565820"/>
                </a:cubicBezTo>
                <a:cubicBezTo>
                  <a:pt x="1719093" y="565820"/>
                  <a:pt x="1702434" y="555813"/>
                  <a:pt x="1691559" y="547252"/>
                </a:cubicBezTo>
                <a:cubicBezTo>
                  <a:pt x="1677387" y="536030"/>
                  <a:pt x="1645283" y="531229"/>
                  <a:pt x="1632442" y="531229"/>
                </a:cubicBezTo>
                <a:lnTo>
                  <a:pt x="1628220" y="531229"/>
                </a:lnTo>
                <a:cubicBezTo>
                  <a:pt x="1624286" y="532067"/>
                  <a:pt x="1620295" y="529979"/>
                  <a:pt x="1618733" y="526254"/>
                </a:cubicBezTo>
                <a:cubicBezTo>
                  <a:pt x="1617055" y="522575"/>
                  <a:pt x="1613122" y="520487"/>
                  <a:pt x="1609131" y="521164"/>
                </a:cubicBezTo>
                <a:lnTo>
                  <a:pt x="1608379" y="521164"/>
                </a:lnTo>
                <a:cubicBezTo>
                  <a:pt x="1597447" y="521164"/>
                  <a:pt x="1588423" y="528915"/>
                  <a:pt x="1588481" y="531691"/>
                </a:cubicBezTo>
                <a:cubicBezTo>
                  <a:pt x="1588481" y="532559"/>
                  <a:pt x="1590216" y="532617"/>
                  <a:pt x="1590968" y="532617"/>
                </a:cubicBezTo>
                <a:lnTo>
                  <a:pt x="1597736" y="532617"/>
                </a:lnTo>
                <a:cubicBezTo>
                  <a:pt x="1602306" y="532617"/>
                  <a:pt x="1604504" y="532617"/>
                  <a:pt x="1605140" y="534526"/>
                </a:cubicBezTo>
                <a:cubicBezTo>
                  <a:pt x="1605776" y="536435"/>
                  <a:pt x="1604388" y="537418"/>
                  <a:pt x="1603058" y="538691"/>
                </a:cubicBezTo>
                <a:cubicBezTo>
                  <a:pt x="1601727" y="539963"/>
                  <a:pt x="1601785" y="540195"/>
                  <a:pt x="1601785" y="540252"/>
                </a:cubicBezTo>
                <a:cubicBezTo>
                  <a:pt x="1603288" y="541062"/>
                  <a:pt x="1604908" y="541629"/>
                  <a:pt x="1606586" y="541930"/>
                </a:cubicBezTo>
                <a:cubicBezTo>
                  <a:pt x="1610346" y="542913"/>
                  <a:pt x="1614106" y="544168"/>
                  <a:pt x="1617692" y="545690"/>
                </a:cubicBezTo>
                <a:cubicBezTo>
                  <a:pt x="1621567" y="547367"/>
                  <a:pt x="1622088" y="549276"/>
                  <a:pt x="1621799" y="550607"/>
                </a:cubicBezTo>
                <a:cubicBezTo>
                  <a:pt x="1621105" y="554019"/>
                  <a:pt x="1614626" y="555755"/>
                  <a:pt x="1608668" y="555755"/>
                </a:cubicBezTo>
                <a:cubicBezTo>
                  <a:pt x="1603462" y="555899"/>
                  <a:pt x="1598372" y="554488"/>
                  <a:pt x="1593976" y="551706"/>
                </a:cubicBezTo>
                <a:cubicBezTo>
                  <a:pt x="1590795" y="549450"/>
                  <a:pt x="1586977" y="548235"/>
                  <a:pt x="1583101" y="548235"/>
                </a:cubicBezTo>
                <a:cubicBezTo>
                  <a:pt x="1576276" y="548339"/>
                  <a:pt x="1569971" y="551746"/>
                  <a:pt x="1566095" y="557374"/>
                </a:cubicBezTo>
                <a:cubicBezTo>
                  <a:pt x="1565632" y="558971"/>
                  <a:pt x="1565863" y="560700"/>
                  <a:pt x="1566731" y="562118"/>
                </a:cubicBezTo>
                <a:cubicBezTo>
                  <a:pt x="1574714" y="573935"/>
                  <a:pt x="1587324" y="581866"/>
                  <a:pt x="1601438" y="583983"/>
                </a:cubicBezTo>
                <a:cubicBezTo>
                  <a:pt x="1615378" y="586065"/>
                  <a:pt x="1617981" y="589767"/>
                  <a:pt x="1620295" y="592949"/>
                </a:cubicBezTo>
                <a:cubicBezTo>
                  <a:pt x="1621567" y="595193"/>
                  <a:pt x="1623650" y="596899"/>
                  <a:pt x="1626079" y="597750"/>
                </a:cubicBezTo>
                <a:cubicBezTo>
                  <a:pt x="1630186" y="599196"/>
                  <a:pt x="1631864" y="600989"/>
                  <a:pt x="1631864" y="603071"/>
                </a:cubicBezTo>
                <a:cubicBezTo>
                  <a:pt x="1631401" y="606311"/>
                  <a:pt x="1625617" y="607815"/>
                  <a:pt x="1621799" y="608046"/>
                </a:cubicBezTo>
                <a:lnTo>
                  <a:pt x="1621337" y="608046"/>
                </a:lnTo>
                <a:cubicBezTo>
                  <a:pt x="1616361" y="608046"/>
                  <a:pt x="1608900" y="603360"/>
                  <a:pt x="1600975" y="598386"/>
                </a:cubicBezTo>
                <a:cubicBezTo>
                  <a:pt x="1597157" y="596014"/>
                  <a:pt x="1593281" y="593585"/>
                  <a:pt x="1589753" y="591734"/>
                </a:cubicBezTo>
                <a:cubicBezTo>
                  <a:pt x="1585646" y="590091"/>
                  <a:pt x="1581192" y="589397"/>
                  <a:pt x="1576738" y="589709"/>
                </a:cubicBezTo>
                <a:cubicBezTo>
                  <a:pt x="1573268" y="589709"/>
                  <a:pt x="1569508" y="589709"/>
                  <a:pt x="1565921" y="590114"/>
                </a:cubicBezTo>
                <a:cubicBezTo>
                  <a:pt x="1562335" y="590519"/>
                  <a:pt x="1558864" y="590519"/>
                  <a:pt x="1555741" y="590519"/>
                </a:cubicBezTo>
                <a:cubicBezTo>
                  <a:pt x="1548857" y="590519"/>
                  <a:pt x="1544924" y="589536"/>
                  <a:pt x="1542957" y="587453"/>
                </a:cubicBezTo>
                <a:cubicBezTo>
                  <a:pt x="1540355" y="584422"/>
                  <a:pt x="1539891" y="580072"/>
                  <a:pt x="1541858" y="576579"/>
                </a:cubicBezTo>
                <a:cubicBezTo>
                  <a:pt x="1542957" y="573455"/>
                  <a:pt x="1543478" y="571604"/>
                  <a:pt x="1541395" y="569811"/>
                </a:cubicBezTo>
                <a:cubicBezTo>
                  <a:pt x="1534454" y="564026"/>
                  <a:pt x="1541395" y="550664"/>
                  <a:pt x="1547700" y="541294"/>
                </a:cubicBezTo>
                <a:cubicBezTo>
                  <a:pt x="1550824" y="535521"/>
                  <a:pt x="1551113" y="528631"/>
                  <a:pt x="1548510" y="522610"/>
                </a:cubicBezTo>
                <a:cubicBezTo>
                  <a:pt x="1546659" y="516571"/>
                  <a:pt x="1542321" y="511619"/>
                  <a:pt x="1536595" y="509016"/>
                </a:cubicBezTo>
                <a:cubicBezTo>
                  <a:pt x="1533181" y="507975"/>
                  <a:pt x="1530810" y="508438"/>
                  <a:pt x="1529826" y="510463"/>
                </a:cubicBezTo>
                <a:cubicBezTo>
                  <a:pt x="1528843" y="513025"/>
                  <a:pt x="1529132" y="515883"/>
                  <a:pt x="1530578" y="518214"/>
                </a:cubicBezTo>
                <a:cubicBezTo>
                  <a:pt x="1533355" y="521974"/>
                  <a:pt x="1531967" y="537881"/>
                  <a:pt x="1523637" y="548235"/>
                </a:cubicBezTo>
                <a:cubicBezTo>
                  <a:pt x="1519299" y="553672"/>
                  <a:pt x="1510680" y="556217"/>
                  <a:pt x="1503102" y="558473"/>
                </a:cubicBezTo>
                <a:cubicBezTo>
                  <a:pt x="1497318" y="560209"/>
                  <a:pt x="1491187" y="562002"/>
                  <a:pt x="1491187" y="564258"/>
                </a:cubicBezTo>
                <a:cubicBezTo>
                  <a:pt x="1491187" y="567960"/>
                  <a:pt x="1487369" y="571026"/>
                  <a:pt x="1484014" y="573744"/>
                </a:cubicBezTo>
                <a:cubicBezTo>
                  <a:pt x="1481700" y="575595"/>
                  <a:pt x="1479097" y="577620"/>
                  <a:pt x="1479097" y="579066"/>
                </a:cubicBezTo>
                <a:cubicBezTo>
                  <a:pt x="1479097" y="579066"/>
                  <a:pt x="1479097" y="579702"/>
                  <a:pt x="1479907" y="580396"/>
                </a:cubicBezTo>
                <a:cubicBezTo>
                  <a:pt x="1485691" y="585255"/>
                  <a:pt x="1507961" y="610417"/>
                  <a:pt x="1511317" y="618342"/>
                </a:cubicBezTo>
                <a:cubicBezTo>
                  <a:pt x="1512994" y="622276"/>
                  <a:pt x="1509291" y="628870"/>
                  <a:pt x="1504606" y="637199"/>
                </a:cubicBezTo>
                <a:cubicBezTo>
                  <a:pt x="1499285" y="646570"/>
                  <a:pt x="1493038" y="657156"/>
                  <a:pt x="1495178" y="664560"/>
                </a:cubicBezTo>
                <a:cubicBezTo>
                  <a:pt x="1496566" y="670263"/>
                  <a:pt x="1496566" y="676210"/>
                  <a:pt x="1495178" y="681913"/>
                </a:cubicBezTo>
                <a:cubicBezTo>
                  <a:pt x="1494079" y="685222"/>
                  <a:pt x="1494368" y="688826"/>
                  <a:pt x="1495988" y="691920"/>
                </a:cubicBezTo>
                <a:cubicBezTo>
                  <a:pt x="1497492" y="694020"/>
                  <a:pt x="1499979" y="695131"/>
                  <a:pt x="1502524" y="694812"/>
                </a:cubicBezTo>
                <a:cubicBezTo>
                  <a:pt x="1503970" y="694801"/>
                  <a:pt x="1505358" y="694702"/>
                  <a:pt x="1506805" y="694523"/>
                </a:cubicBezTo>
                <a:cubicBezTo>
                  <a:pt x="1508309" y="694523"/>
                  <a:pt x="1509870" y="694234"/>
                  <a:pt x="1511374" y="694234"/>
                </a:cubicBezTo>
                <a:cubicBezTo>
                  <a:pt x="1513109" y="694170"/>
                  <a:pt x="1514845" y="694483"/>
                  <a:pt x="1516465" y="695159"/>
                </a:cubicBezTo>
                <a:cubicBezTo>
                  <a:pt x="1521728" y="695883"/>
                  <a:pt x="1527050" y="695015"/>
                  <a:pt x="1531793" y="692672"/>
                </a:cubicBezTo>
                <a:cubicBezTo>
                  <a:pt x="1536999" y="690798"/>
                  <a:pt x="1542321" y="689294"/>
                  <a:pt x="1547700" y="688160"/>
                </a:cubicBezTo>
                <a:cubicBezTo>
                  <a:pt x="1549031" y="687929"/>
                  <a:pt x="1550419" y="687807"/>
                  <a:pt x="1551750" y="687813"/>
                </a:cubicBezTo>
                <a:cubicBezTo>
                  <a:pt x="1565111" y="687813"/>
                  <a:pt x="1584258" y="697589"/>
                  <a:pt x="1595653" y="703431"/>
                </a:cubicBezTo>
                <a:cubicBezTo>
                  <a:pt x="1597736" y="704472"/>
                  <a:pt x="1599471" y="705398"/>
                  <a:pt x="1600917" y="706034"/>
                </a:cubicBezTo>
                <a:cubicBezTo>
                  <a:pt x="1605776" y="708238"/>
                  <a:pt x="1608842" y="713132"/>
                  <a:pt x="1608726" y="718471"/>
                </a:cubicBezTo>
                <a:cubicBezTo>
                  <a:pt x="1608958" y="721623"/>
                  <a:pt x="1609883" y="724689"/>
                  <a:pt x="1611445" y="727437"/>
                </a:cubicBezTo>
                <a:cubicBezTo>
                  <a:pt x="1614684" y="732411"/>
                  <a:pt x="1610635" y="735130"/>
                  <a:pt x="1607106" y="737559"/>
                </a:cubicBezTo>
                <a:cubicBezTo>
                  <a:pt x="1602190" y="739937"/>
                  <a:pt x="1599182" y="744958"/>
                  <a:pt x="1599298" y="750401"/>
                </a:cubicBezTo>
                <a:cubicBezTo>
                  <a:pt x="1599298" y="757573"/>
                  <a:pt x="1612312" y="762548"/>
                  <a:pt x="1621105" y="765845"/>
                </a:cubicBezTo>
                <a:cubicBezTo>
                  <a:pt x="1627410" y="768217"/>
                  <a:pt x="1630186" y="769316"/>
                  <a:pt x="1630707" y="770993"/>
                </a:cubicBezTo>
                <a:cubicBezTo>
                  <a:pt x="1630996" y="771508"/>
                  <a:pt x="1630996" y="772156"/>
                  <a:pt x="1630707" y="772671"/>
                </a:cubicBezTo>
                <a:cubicBezTo>
                  <a:pt x="1630244" y="773365"/>
                  <a:pt x="1629087" y="774175"/>
                  <a:pt x="1624460" y="774175"/>
                </a:cubicBezTo>
                <a:cubicBezTo>
                  <a:pt x="1615783" y="773955"/>
                  <a:pt x="1607164" y="772538"/>
                  <a:pt x="1598835" y="769952"/>
                </a:cubicBezTo>
                <a:cubicBezTo>
                  <a:pt x="1593513" y="767367"/>
                  <a:pt x="1589579" y="762531"/>
                  <a:pt x="1588191" y="756764"/>
                </a:cubicBezTo>
                <a:cubicBezTo>
                  <a:pt x="1587729" y="755202"/>
                  <a:pt x="1586977" y="753732"/>
                  <a:pt x="1585993" y="752425"/>
                </a:cubicBezTo>
                <a:cubicBezTo>
                  <a:pt x="1583795" y="750574"/>
                  <a:pt x="1585993" y="746988"/>
                  <a:pt x="1588076" y="742476"/>
                </a:cubicBezTo>
                <a:cubicBezTo>
                  <a:pt x="1590158" y="739150"/>
                  <a:pt x="1591662" y="735465"/>
                  <a:pt x="1592414" y="731601"/>
                </a:cubicBezTo>
                <a:cubicBezTo>
                  <a:pt x="1592935" y="727205"/>
                  <a:pt x="1588712" y="723850"/>
                  <a:pt x="1584721" y="720553"/>
                </a:cubicBezTo>
                <a:cubicBezTo>
                  <a:pt x="1582580" y="718974"/>
                  <a:pt x="1580614" y="717129"/>
                  <a:pt x="1578936" y="715058"/>
                </a:cubicBezTo>
                <a:cubicBezTo>
                  <a:pt x="1573152" y="706728"/>
                  <a:pt x="1567367" y="703084"/>
                  <a:pt x="1562740" y="704183"/>
                </a:cubicBezTo>
                <a:cubicBezTo>
                  <a:pt x="1561063" y="704530"/>
                  <a:pt x="1558575" y="704935"/>
                  <a:pt x="1555336" y="705456"/>
                </a:cubicBezTo>
                <a:cubicBezTo>
                  <a:pt x="1544866" y="707075"/>
                  <a:pt x="1527282" y="709794"/>
                  <a:pt x="1521266" y="715231"/>
                </a:cubicBezTo>
                <a:cubicBezTo>
                  <a:pt x="1513861" y="721884"/>
                  <a:pt x="1522712" y="741840"/>
                  <a:pt x="1527050" y="751442"/>
                </a:cubicBezTo>
                <a:lnTo>
                  <a:pt x="1527050" y="751905"/>
                </a:lnTo>
                <a:cubicBezTo>
                  <a:pt x="1529884" y="758325"/>
                  <a:pt x="1522076" y="765324"/>
                  <a:pt x="1514613" y="772150"/>
                </a:cubicBezTo>
                <a:cubicBezTo>
                  <a:pt x="1509523" y="776778"/>
                  <a:pt x="1504202" y="781521"/>
                  <a:pt x="1504491" y="784529"/>
                </a:cubicBezTo>
                <a:cubicBezTo>
                  <a:pt x="1505358" y="792396"/>
                  <a:pt x="1497896" y="796098"/>
                  <a:pt x="1487600" y="801593"/>
                </a:cubicBezTo>
                <a:lnTo>
                  <a:pt x="1483319" y="803849"/>
                </a:lnTo>
                <a:lnTo>
                  <a:pt x="1477535" y="806625"/>
                </a:lnTo>
                <a:cubicBezTo>
                  <a:pt x="1467644" y="811658"/>
                  <a:pt x="1458273" y="816343"/>
                  <a:pt x="1458563" y="824615"/>
                </a:cubicBezTo>
                <a:cubicBezTo>
                  <a:pt x="1458794" y="826449"/>
                  <a:pt x="1458215" y="828288"/>
                  <a:pt x="1456943" y="829647"/>
                </a:cubicBezTo>
                <a:cubicBezTo>
                  <a:pt x="1455381" y="831111"/>
                  <a:pt x="1453299" y="831863"/>
                  <a:pt x="1451158" y="831730"/>
                </a:cubicBezTo>
                <a:cubicBezTo>
                  <a:pt x="1444564" y="831140"/>
                  <a:pt x="1438143" y="829046"/>
                  <a:pt x="1432475" y="825598"/>
                </a:cubicBezTo>
                <a:cubicBezTo>
                  <a:pt x="1427153" y="823776"/>
                  <a:pt x="1421311" y="823903"/>
                  <a:pt x="1416047" y="825945"/>
                </a:cubicBezTo>
                <a:cubicBezTo>
                  <a:pt x="1411651" y="827264"/>
                  <a:pt x="1407081" y="828022"/>
                  <a:pt x="1402453" y="828201"/>
                </a:cubicBezTo>
                <a:lnTo>
                  <a:pt x="1401470" y="828201"/>
                </a:lnTo>
                <a:cubicBezTo>
                  <a:pt x="1397016" y="828045"/>
                  <a:pt x="1392736" y="826327"/>
                  <a:pt x="1389438" y="823342"/>
                </a:cubicBezTo>
                <a:cubicBezTo>
                  <a:pt x="1387876" y="821757"/>
                  <a:pt x="1385852" y="820757"/>
                  <a:pt x="1383654" y="820508"/>
                </a:cubicBezTo>
                <a:cubicBezTo>
                  <a:pt x="1382497" y="820566"/>
                  <a:pt x="1381340" y="820820"/>
                  <a:pt x="1380241" y="821260"/>
                </a:cubicBezTo>
                <a:cubicBezTo>
                  <a:pt x="1375440" y="823354"/>
                  <a:pt x="1369771" y="821931"/>
                  <a:pt x="1366532" y="817789"/>
                </a:cubicBezTo>
                <a:cubicBezTo>
                  <a:pt x="1364624" y="814920"/>
                  <a:pt x="1364218" y="811282"/>
                  <a:pt x="1365491" y="808071"/>
                </a:cubicBezTo>
                <a:cubicBezTo>
                  <a:pt x="1366301" y="805578"/>
                  <a:pt x="1368672" y="803901"/>
                  <a:pt x="1371275" y="803907"/>
                </a:cubicBezTo>
                <a:cubicBezTo>
                  <a:pt x="1376192" y="804040"/>
                  <a:pt x="1380473" y="807267"/>
                  <a:pt x="1381977" y="811947"/>
                </a:cubicBezTo>
                <a:cubicBezTo>
                  <a:pt x="1381977" y="813393"/>
                  <a:pt x="1382902" y="813972"/>
                  <a:pt x="1384464" y="813972"/>
                </a:cubicBezTo>
                <a:cubicBezTo>
                  <a:pt x="1388570" y="813341"/>
                  <a:pt x="1392562" y="811820"/>
                  <a:pt x="1396033" y="809518"/>
                </a:cubicBezTo>
                <a:cubicBezTo>
                  <a:pt x="1397190" y="808777"/>
                  <a:pt x="1398520" y="808343"/>
                  <a:pt x="1399908" y="808245"/>
                </a:cubicBezTo>
                <a:cubicBezTo>
                  <a:pt x="1401991" y="808245"/>
                  <a:pt x="1403032" y="809691"/>
                  <a:pt x="1404073" y="811137"/>
                </a:cubicBezTo>
                <a:cubicBezTo>
                  <a:pt x="1405809" y="814105"/>
                  <a:pt x="1409048" y="815898"/>
                  <a:pt x="1412460" y="815823"/>
                </a:cubicBezTo>
                <a:cubicBezTo>
                  <a:pt x="1417898" y="816170"/>
                  <a:pt x="1418824" y="814955"/>
                  <a:pt x="1419691" y="813451"/>
                </a:cubicBezTo>
                <a:cubicBezTo>
                  <a:pt x="1420559" y="811947"/>
                  <a:pt x="1421600" y="810154"/>
                  <a:pt x="1426575" y="810617"/>
                </a:cubicBezTo>
                <a:lnTo>
                  <a:pt x="1429235" y="810617"/>
                </a:lnTo>
                <a:cubicBezTo>
                  <a:pt x="1432359" y="810617"/>
                  <a:pt x="1433111" y="809923"/>
                  <a:pt x="1433285" y="809575"/>
                </a:cubicBezTo>
                <a:cubicBezTo>
                  <a:pt x="1433458" y="809228"/>
                  <a:pt x="1433574" y="808245"/>
                  <a:pt x="1432012" y="805758"/>
                </a:cubicBezTo>
                <a:cubicBezTo>
                  <a:pt x="1431318" y="804774"/>
                  <a:pt x="1431145" y="803542"/>
                  <a:pt x="1431491" y="802403"/>
                </a:cubicBezTo>
                <a:cubicBezTo>
                  <a:pt x="1432533" y="799106"/>
                  <a:pt x="1437912" y="796618"/>
                  <a:pt x="1442713" y="794825"/>
                </a:cubicBezTo>
                <a:lnTo>
                  <a:pt x="1444622" y="794015"/>
                </a:lnTo>
                <a:cubicBezTo>
                  <a:pt x="1447456" y="792800"/>
                  <a:pt x="1448092" y="790024"/>
                  <a:pt x="1448729" y="787074"/>
                </a:cubicBezTo>
                <a:cubicBezTo>
                  <a:pt x="1448960" y="784049"/>
                  <a:pt x="1450522" y="781284"/>
                  <a:pt x="1453009" y="779554"/>
                </a:cubicBezTo>
                <a:cubicBezTo>
                  <a:pt x="1454629" y="778623"/>
                  <a:pt x="1455670" y="776992"/>
                  <a:pt x="1455843" y="775158"/>
                </a:cubicBezTo>
                <a:cubicBezTo>
                  <a:pt x="1456307" y="773249"/>
                  <a:pt x="1456943" y="770762"/>
                  <a:pt x="1460761" y="770531"/>
                </a:cubicBezTo>
                <a:cubicBezTo>
                  <a:pt x="1463132" y="770531"/>
                  <a:pt x="1464925" y="768332"/>
                  <a:pt x="1466834" y="766250"/>
                </a:cubicBezTo>
                <a:cubicBezTo>
                  <a:pt x="1468512" y="763745"/>
                  <a:pt x="1471172" y="762068"/>
                  <a:pt x="1474122" y="761623"/>
                </a:cubicBezTo>
                <a:cubicBezTo>
                  <a:pt x="1475974" y="761478"/>
                  <a:pt x="1477593" y="760286"/>
                  <a:pt x="1478229" y="758557"/>
                </a:cubicBezTo>
                <a:cubicBezTo>
                  <a:pt x="1479675" y="756046"/>
                  <a:pt x="1479675" y="752969"/>
                  <a:pt x="1478229" y="750459"/>
                </a:cubicBezTo>
                <a:cubicBezTo>
                  <a:pt x="1476726" y="747387"/>
                  <a:pt x="1476726" y="743812"/>
                  <a:pt x="1478229" y="740741"/>
                </a:cubicBezTo>
                <a:cubicBezTo>
                  <a:pt x="1479386" y="736356"/>
                  <a:pt x="1482337" y="732660"/>
                  <a:pt x="1486327" y="730560"/>
                </a:cubicBezTo>
                <a:cubicBezTo>
                  <a:pt x="1487947" y="730265"/>
                  <a:pt x="1489220" y="729073"/>
                  <a:pt x="1489683" y="727494"/>
                </a:cubicBezTo>
                <a:cubicBezTo>
                  <a:pt x="1489683" y="725418"/>
                  <a:pt x="1488583" y="723497"/>
                  <a:pt x="1486791" y="722462"/>
                </a:cubicBezTo>
                <a:lnTo>
                  <a:pt x="1485113" y="721247"/>
                </a:lnTo>
                <a:cubicBezTo>
                  <a:pt x="1474585" y="713496"/>
                  <a:pt x="1463884" y="704704"/>
                  <a:pt x="1464983" y="698109"/>
                </a:cubicBezTo>
                <a:cubicBezTo>
                  <a:pt x="1465214" y="693875"/>
                  <a:pt x="1464983" y="689624"/>
                  <a:pt x="1464289" y="685442"/>
                </a:cubicBezTo>
                <a:cubicBezTo>
                  <a:pt x="1463132" y="680374"/>
                  <a:pt x="1463132" y="675122"/>
                  <a:pt x="1464289" y="670055"/>
                </a:cubicBezTo>
                <a:cubicBezTo>
                  <a:pt x="1465735" y="662697"/>
                  <a:pt x="1465735" y="655143"/>
                  <a:pt x="1464289" y="647785"/>
                </a:cubicBezTo>
                <a:cubicBezTo>
                  <a:pt x="1464289" y="646686"/>
                  <a:pt x="1464289" y="645645"/>
                  <a:pt x="1463884" y="644661"/>
                </a:cubicBezTo>
                <a:cubicBezTo>
                  <a:pt x="1463826" y="639791"/>
                  <a:pt x="1464810" y="634961"/>
                  <a:pt x="1466718" y="630489"/>
                </a:cubicBezTo>
                <a:cubicBezTo>
                  <a:pt x="1468454" y="625665"/>
                  <a:pt x="1469842" y="620714"/>
                  <a:pt x="1470826" y="615681"/>
                </a:cubicBezTo>
                <a:cubicBezTo>
                  <a:pt x="1473197" y="602609"/>
                  <a:pt x="1456307" y="589015"/>
                  <a:pt x="1449250" y="585834"/>
                </a:cubicBezTo>
                <a:cubicBezTo>
                  <a:pt x="1446936" y="585105"/>
                  <a:pt x="1445200" y="583173"/>
                  <a:pt x="1444738" y="580801"/>
                </a:cubicBezTo>
                <a:cubicBezTo>
                  <a:pt x="1444217" y="576694"/>
                  <a:pt x="1448266" y="571315"/>
                  <a:pt x="1457869" y="563448"/>
                </a:cubicBezTo>
                <a:cubicBezTo>
                  <a:pt x="1469437" y="554135"/>
                  <a:pt x="1469958" y="524692"/>
                  <a:pt x="1469437" y="517982"/>
                </a:cubicBezTo>
                <a:cubicBezTo>
                  <a:pt x="1468800" y="513297"/>
                  <a:pt x="1449944" y="507628"/>
                  <a:pt x="1438490" y="507628"/>
                </a:cubicBezTo>
                <a:lnTo>
                  <a:pt x="1436697" y="507628"/>
                </a:lnTo>
                <a:cubicBezTo>
                  <a:pt x="1435020" y="507628"/>
                  <a:pt x="1432475" y="507628"/>
                  <a:pt x="1429119" y="507628"/>
                </a:cubicBezTo>
                <a:cubicBezTo>
                  <a:pt x="1414138" y="507634"/>
                  <a:pt x="1399156" y="506743"/>
                  <a:pt x="1384290" y="504967"/>
                </a:cubicBezTo>
                <a:cubicBezTo>
                  <a:pt x="1377754" y="503695"/>
                  <a:pt x="1375035" y="509595"/>
                  <a:pt x="1371738" y="516536"/>
                </a:cubicBezTo>
                <a:lnTo>
                  <a:pt x="1370176" y="519776"/>
                </a:lnTo>
                <a:cubicBezTo>
                  <a:pt x="1369135" y="521858"/>
                  <a:pt x="1367805" y="524229"/>
                  <a:pt x="1366243" y="526948"/>
                </a:cubicBezTo>
                <a:cubicBezTo>
                  <a:pt x="1360227" y="536788"/>
                  <a:pt x="1355484" y="547338"/>
                  <a:pt x="1352071" y="558358"/>
                </a:cubicBezTo>
                <a:cubicBezTo>
                  <a:pt x="1347327" y="574728"/>
                  <a:pt x="1329801" y="581495"/>
                  <a:pt x="1319331" y="585313"/>
                </a:cubicBezTo>
                <a:lnTo>
                  <a:pt x="1315051" y="586933"/>
                </a:lnTo>
                <a:cubicBezTo>
                  <a:pt x="1309498" y="589489"/>
                  <a:pt x="1305275" y="594308"/>
                  <a:pt x="1303482" y="600179"/>
                </a:cubicBezTo>
                <a:cubicBezTo>
                  <a:pt x="1302325" y="603089"/>
                  <a:pt x="1302556" y="606351"/>
                  <a:pt x="1304060" y="609087"/>
                </a:cubicBezTo>
                <a:cubicBezTo>
                  <a:pt x="1305275" y="611060"/>
                  <a:pt x="1307531" y="612182"/>
                  <a:pt x="1309845" y="611979"/>
                </a:cubicBezTo>
                <a:cubicBezTo>
                  <a:pt x="1310828" y="611979"/>
                  <a:pt x="1311754" y="611979"/>
                  <a:pt x="1312679" y="611979"/>
                </a:cubicBezTo>
                <a:cubicBezTo>
                  <a:pt x="1314877" y="611493"/>
                  <a:pt x="1317191" y="611696"/>
                  <a:pt x="1319273" y="612558"/>
                </a:cubicBezTo>
                <a:cubicBezTo>
                  <a:pt x="1320777" y="613547"/>
                  <a:pt x="1321645" y="615230"/>
                  <a:pt x="1321587" y="617012"/>
                </a:cubicBezTo>
                <a:cubicBezTo>
                  <a:pt x="1321819" y="623820"/>
                  <a:pt x="1319967" y="630530"/>
                  <a:pt x="1316208" y="636216"/>
                </a:cubicBezTo>
                <a:cubicBezTo>
                  <a:pt x="1315745" y="636621"/>
                  <a:pt x="1316208" y="637662"/>
                  <a:pt x="1316728" y="639224"/>
                </a:cubicBezTo>
                <a:cubicBezTo>
                  <a:pt x="1318869" y="642504"/>
                  <a:pt x="1318001" y="646917"/>
                  <a:pt x="1314704" y="649081"/>
                </a:cubicBezTo>
                <a:cubicBezTo>
                  <a:pt x="1314646" y="649133"/>
                  <a:pt x="1314530" y="649185"/>
                  <a:pt x="1314472" y="649231"/>
                </a:cubicBezTo>
                <a:cubicBezTo>
                  <a:pt x="1309672" y="652141"/>
                  <a:pt x="1306142" y="656774"/>
                  <a:pt x="1304581" y="662188"/>
                </a:cubicBezTo>
                <a:cubicBezTo>
                  <a:pt x="1304292" y="663565"/>
                  <a:pt x="1304581" y="665005"/>
                  <a:pt x="1305448" y="666122"/>
                </a:cubicBezTo>
                <a:cubicBezTo>
                  <a:pt x="1310250" y="669274"/>
                  <a:pt x="1315687" y="671403"/>
                  <a:pt x="1321355" y="672369"/>
                </a:cubicBezTo>
                <a:cubicBezTo>
                  <a:pt x="1326909" y="673711"/>
                  <a:pt x="1332288" y="675654"/>
                  <a:pt x="1337436" y="678153"/>
                </a:cubicBezTo>
                <a:cubicBezTo>
                  <a:pt x="1341659" y="680791"/>
                  <a:pt x="1344435" y="685193"/>
                  <a:pt x="1345014" y="690127"/>
                </a:cubicBezTo>
                <a:cubicBezTo>
                  <a:pt x="1345766" y="693921"/>
                  <a:pt x="1347270" y="697514"/>
                  <a:pt x="1349526" y="700655"/>
                </a:cubicBezTo>
                <a:cubicBezTo>
                  <a:pt x="1351782" y="703807"/>
                  <a:pt x="1355368" y="705716"/>
                  <a:pt x="1359244" y="705803"/>
                </a:cubicBezTo>
                <a:cubicBezTo>
                  <a:pt x="1361962" y="705710"/>
                  <a:pt x="1364566" y="707017"/>
                  <a:pt x="1366127" y="709273"/>
                </a:cubicBezTo>
                <a:cubicBezTo>
                  <a:pt x="1367284" y="711124"/>
                  <a:pt x="1366822" y="714306"/>
                  <a:pt x="1364739" y="718760"/>
                </a:cubicBezTo>
                <a:cubicBezTo>
                  <a:pt x="1361037" y="726742"/>
                  <a:pt x="1352592" y="737386"/>
                  <a:pt x="1348369" y="738022"/>
                </a:cubicBezTo>
                <a:lnTo>
                  <a:pt x="1347906" y="738022"/>
                </a:lnTo>
                <a:cubicBezTo>
                  <a:pt x="1343857" y="738022"/>
                  <a:pt x="1334892" y="730097"/>
                  <a:pt x="1323611" y="719685"/>
                </a:cubicBezTo>
                <a:cubicBezTo>
                  <a:pt x="1319678" y="716099"/>
                  <a:pt x="1316381" y="713033"/>
                  <a:pt x="1314414" y="711587"/>
                </a:cubicBezTo>
                <a:cubicBezTo>
                  <a:pt x="1307473" y="707631"/>
                  <a:pt x="1300127" y="704374"/>
                  <a:pt x="1292491" y="701869"/>
                </a:cubicBezTo>
                <a:cubicBezTo>
                  <a:pt x="1284509" y="698804"/>
                  <a:pt x="1276295" y="695622"/>
                  <a:pt x="1270569" y="692672"/>
                </a:cubicBezTo>
                <a:cubicBezTo>
                  <a:pt x="1265825" y="690347"/>
                  <a:pt x="1260908" y="688507"/>
                  <a:pt x="1255818" y="687177"/>
                </a:cubicBezTo>
                <a:cubicBezTo>
                  <a:pt x="1248125" y="685251"/>
                  <a:pt x="1240779" y="682023"/>
                  <a:pt x="1234127" y="677633"/>
                </a:cubicBezTo>
                <a:cubicBezTo>
                  <a:pt x="1220880" y="668725"/>
                  <a:pt x="1209196" y="664097"/>
                  <a:pt x="1184265" y="664502"/>
                </a:cubicBezTo>
                <a:lnTo>
                  <a:pt x="1181777" y="664502"/>
                </a:lnTo>
                <a:cubicBezTo>
                  <a:pt x="1171018" y="664392"/>
                  <a:pt x="1160259" y="663345"/>
                  <a:pt x="1149674" y="661378"/>
                </a:cubicBezTo>
                <a:cubicBezTo>
                  <a:pt x="1144757" y="660297"/>
                  <a:pt x="1139783" y="659834"/>
                  <a:pt x="1134750" y="659990"/>
                </a:cubicBezTo>
                <a:cubicBezTo>
                  <a:pt x="1129891" y="660684"/>
                  <a:pt x="1128214" y="658197"/>
                  <a:pt x="1126189" y="655189"/>
                </a:cubicBezTo>
                <a:cubicBezTo>
                  <a:pt x="1123297" y="650573"/>
                  <a:pt x="1119016" y="647004"/>
                  <a:pt x="1113926" y="645008"/>
                </a:cubicBezTo>
                <a:cubicBezTo>
                  <a:pt x="1109530" y="643100"/>
                  <a:pt x="1105539" y="640959"/>
                  <a:pt x="1102010" y="639224"/>
                </a:cubicBezTo>
                <a:cubicBezTo>
                  <a:pt x="1097267" y="636060"/>
                  <a:pt x="1091888" y="633989"/>
                  <a:pt x="1086219" y="633150"/>
                </a:cubicBezTo>
                <a:cubicBezTo>
                  <a:pt x="1084657" y="633121"/>
                  <a:pt x="1083153" y="633503"/>
                  <a:pt x="1081823" y="634249"/>
                </a:cubicBezTo>
                <a:cubicBezTo>
                  <a:pt x="1078583" y="636199"/>
                  <a:pt x="1076963" y="640051"/>
                  <a:pt x="1077889" y="643736"/>
                </a:cubicBezTo>
                <a:cubicBezTo>
                  <a:pt x="1078757" y="649480"/>
                  <a:pt x="1083327" y="653951"/>
                  <a:pt x="1089111" y="654726"/>
                </a:cubicBezTo>
                <a:cubicBezTo>
                  <a:pt x="1093044" y="655021"/>
                  <a:pt x="1096688" y="656849"/>
                  <a:pt x="1099234" y="659817"/>
                </a:cubicBezTo>
                <a:cubicBezTo>
                  <a:pt x="1100969" y="661725"/>
                  <a:pt x="1102299" y="663229"/>
                  <a:pt x="1109067" y="662767"/>
                </a:cubicBezTo>
                <a:cubicBezTo>
                  <a:pt x="1114620" y="661731"/>
                  <a:pt x="1120347" y="663143"/>
                  <a:pt x="1124743" y="666642"/>
                </a:cubicBezTo>
                <a:cubicBezTo>
                  <a:pt x="1126999" y="669378"/>
                  <a:pt x="1128098" y="672941"/>
                  <a:pt x="1127635" y="676476"/>
                </a:cubicBezTo>
                <a:cubicBezTo>
                  <a:pt x="1127230" y="685152"/>
                  <a:pt x="1135097" y="693829"/>
                  <a:pt x="1139783" y="698225"/>
                </a:cubicBezTo>
                <a:cubicBezTo>
                  <a:pt x="1142732" y="700712"/>
                  <a:pt x="1143832" y="704779"/>
                  <a:pt x="1142501" y="708406"/>
                </a:cubicBezTo>
                <a:cubicBezTo>
                  <a:pt x="1140245" y="712889"/>
                  <a:pt x="1135502" y="715550"/>
                  <a:pt x="1130527" y="715116"/>
                </a:cubicBezTo>
                <a:cubicBezTo>
                  <a:pt x="1120347" y="715116"/>
                  <a:pt x="1113695" y="716562"/>
                  <a:pt x="1112307" y="719107"/>
                </a:cubicBezTo>
                <a:cubicBezTo>
                  <a:pt x="1112307" y="719454"/>
                  <a:pt x="1111555" y="720495"/>
                  <a:pt x="1112943" y="722636"/>
                </a:cubicBezTo>
                <a:cubicBezTo>
                  <a:pt x="1115025" y="725990"/>
                  <a:pt x="1114678" y="728131"/>
                  <a:pt x="1113984" y="729345"/>
                </a:cubicBezTo>
                <a:cubicBezTo>
                  <a:pt x="1113290" y="730560"/>
                  <a:pt x="1111670" y="732064"/>
                  <a:pt x="1107505" y="732064"/>
                </a:cubicBezTo>
                <a:cubicBezTo>
                  <a:pt x="1104035" y="731966"/>
                  <a:pt x="1100622" y="731260"/>
                  <a:pt x="1097440" y="729982"/>
                </a:cubicBezTo>
                <a:cubicBezTo>
                  <a:pt x="1094375" y="729311"/>
                  <a:pt x="1091888" y="727130"/>
                  <a:pt x="1090846" y="724197"/>
                </a:cubicBezTo>
                <a:cubicBezTo>
                  <a:pt x="1089920" y="719917"/>
                  <a:pt x="1093970" y="715289"/>
                  <a:pt x="1097036" y="712223"/>
                </a:cubicBezTo>
                <a:cubicBezTo>
                  <a:pt x="1097614" y="711645"/>
                  <a:pt x="1097614" y="711240"/>
                  <a:pt x="1097556" y="710951"/>
                </a:cubicBezTo>
                <a:cubicBezTo>
                  <a:pt x="1097094" y="709100"/>
                  <a:pt x="1092524" y="705629"/>
                  <a:pt x="1080897" y="701522"/>
                </a:cubicBezTo>
                <a:lnTo>
                  <a:pt x="1079913" y="701522"/>
                </a:lnTo>
                <a:cubicBezTo>
                  <a:pt x="1074592" y="701522"/>
                  <a:pt x="1061693" y="709563"/>
                  <a:pt x="1052207" y="715405"/>
                </a:cubicBezTo>
                <a:cubicBezTo>
                  <a:pt x="1048157" y="718054"/>
                  <a:pt x="1043992" y="720472"/>
                  <a:pt x="1039712" y="722636"/>
                </a:cubicBezTo>
                <a:cubicBezTo>
                  <a:pt x="1034448" y="723786"/>
                  <a:pt x="1029011" y="723786"/>
                  <a:pt x="1023747" y="722636"/>
                </a:cubicBezTo>
                <a:cubicBezTo>
                  <a:pt x="1018252" y="721814"/>
                  <a:pt x="1012698" y="721351"/>
                  <a:pt x="1007146" y="721247"/>
                </a:cubicBezTo>
                <a:cubicBezTo>
                  <a:pt x="1002576" y="721207"/>
                  <a:pt x="997949" y="721733"/>
                  <a:pt x="993494" y="722809"/>
                </a:cubicBezTo>
                <a:cubicBezTo>
                  <a:pt x="985916" y="724527"/>
                  <a:pt x="979438" y="729328"/>
                  <a:pt x="975563" y="736055"/>
                </a:cubicBezTo>
                <a:cubicBezTo>
                  <a:pt x="973481" y="739121"/>
                  <a:pt x="971803" y="741840"/>
                  <a:pt x="968795" y="741840"/>
                </a:cubicBezTo>
                <a:lnTo>
                  <a:pt x="967522" y="741840"/>
                </a:lnTo>
                <a:cubicBezTo>
                  <a:pt x="965613" y="741545"/>
                  <a:pt x="963647" y="741406"/>
                  <a:pt x="961738" y="741435"/>
                </a:cubicBezTo>
                <a:lnTo>
                  <a:pt x="955432" y="741435"/>
                </a:lnTo>
                <a:lnTo>
                  <a:pt x="947739" y="741435"/>
                </a:lnTo>
                <a:cubicBezTo>
                  <a:pt x="941839" y="741886"/>
                  <a:pt x="935882" y="740914"/>
                  <a:pt x="930386" y="738600"/>
                </a:cubicBezTo>
                <a:cubicBezTo>
                  <a:pt x="927147" y="736634"/>
                  <a:pt x="925759" y="734707"/>
                  <a:pt x="926221" y="732816"/>
                </a:cubicBezTo>
                <a:cubicBezTo>
                  <a:pt x="927205" y="729403"/>
                  <a:pt x="934146" y="729172"/>
                  <a:pt x="936228" y="729172"/>
                </a:cubicBezTo>
                <a:lnTo>
                  <a:pt x="939352" y="729172"/>
                </a:lnTo>
                <a:cubicBezTo>
                  <a:pt x="944095" y="729172"/>
                  <a:pt x="945137" y="727957"/>
                  <a:pt x="945137" y="727437"/>
                </a:cubicBezTo>
                <a:cubicBezTo>
                  <a:pt x="945137" y="726916"/>
                  <a:pt x="945137" y="724891"/>
                  <a:pt x="943169" y="722925"/>
                </a:cubicBezTo>
                <a:cubicBezTo>
                  <a:pt x="939525" y="718760"/>
                  <a:pt x="943169" y="713438"/>
                  <a:pt x="946120" y="709158"/>
                </a:cubicBezTo>
                <a:cubicBezTo>
                  <a:pt x="947335" y="707596"/>
                  <a:pt x="948318" y="705837"/>
                  <a:pt x="948954" y="703952"/>
                </a:cubicBezTo>
                <a:cubicBezTo>
                  <a:pt x="948607" y="703900"/>
                  <a:pt x="948202" y="703900"/>
                  <a:pt x="947855" y="703952"/>
                </a:cubicBezTo>
                <a:cubicBezTo>
                  <a:pt x="935882" y="705780"/>
                  <a:pt x="924255" y="709696"/>
                  <a:pt x="913611" y="715521"/>
                </a:cubicBezTo>
                <a:cubicBezTo>
                  <a:pt x="911818" y="717499"/>
                  <a:pt x="911066" y="720195"/>
                  <a:pt x="911587" y="722809"/>
                </a:cubicBezTo>
                <a:cubicBezTo>
                  <a:pt x="911587" y="725875"/>
                  <a:pt x="911587" y="729288"/>
                  <a:pt x="908174" y="731023"/>
                </a:cubicBezTo>
                <a:cubicBezTo>
                  <a:pt x="907364" y="731491"/>
                  <a:pt x="906381" y="731752"/>
                  <a:pt x="905456" y="731775"/>
                </a:cubicBezTo>
                <a:cubicBezTo>
                  <a:pt x="903142" y="731775"/>
                  <a:pt x="901811" y="730097"/>
                  <a:pt x="900423" y="728304"/>
                </a:cubicBezTo>
                <a:cubicBezTo>
                  <a:pt x="899150" y="726332"/>
                  <a:pt x="897299" y="724782"/>
                  <a:pt x="895159" y="723850"/>
                </a:cubicBezTo>
                <a:cubicBezTo>
                  <a:pt x="894349" y="723607"/>
                  <a:pt x="893481" y="723509"/>
                  <a:pt x="892614" y="723561"/>
                </a:cubicBezTo>
                <a:cubicBezTo>
                  <a:pt x="880293" y="723561"/>
                  <a:pt x="841422" y="733452"/>
                  <a:pt x="833844" y="742071"/>
                </a:cubicBezTo>
                <a:cubicBezTo>
                  <a:pt x="828985" y="746861"/>
                  <a:pt x="823027" y="750407"/>
                  <a:pt x="816491" y="752425"/>
                </a:cubicBezTo>
                <a:cubicBezTo>
                  <a:pt x="811979" y="754103"/>
                  <a:pt x="808103" y="755549"/>
                  <a:pt x="808103" y="757458"/>
                </a:cubicBezTo>
                <a:cubicBezTo>
                  <a:pt x="808103" y="761796"/>
                  <a:pt x="800526" y="763242"/>
                  <a:pt x="791734" y="764457"/>
                </a:cubicBezTo>
                <a:cubicBezTo>
                  <a:pt x="786933" y="765012"/>
                  <a:pt x="782189" y="766134"/>
                  <a:pt x="777619" y="767812"/>
                </a:cubicBezTo>
                <a:cubicBezTo>
                  <a:pt x="773050" y="770010"/>
                  <a:pt x="773166" y="776836"/>
                  <a:pt x="773281" y="783488"/>
                </a:cubicBezTo>
                <a:cubicBezTo>
                  <a:pt x="773686" y="787652"/>
                  <a:pt x="773281" y="791846"/>
                  <a:pt x="772124" y="795866"/>
                </a:cubicBezTo>
                <a:cubicBezTo>
                  <a:pt x="770216" y="800667"/>
                  <a:pt x="760555" y="802692"/>
                  <a:pt x="740541" y="802692"/>
                </a:cubicBezTo>
                <a:lnTo>
                  <a:pt x="724287" y="802692"/>
                </a:lnTo>
                <a:cubicBezTo>
                  <a:pt x="718502" y="802692"/>
                  <a:pt x="714685" y="796908"/>
                  <a:pt x="711156" y="791123"/>
                </a:cubicBezTo>
                <a:cubicBezTo>
                  <a:pt x="708438" y="786669"/>
                  <a:pt x="705835" y="782504"/>
                  <a:pt x="702653" y="782042"/>
                </a:cubicBezTo>
                <a:cubicBezTo>
                  <a:pt x="700629" y="781879"/>
                  <a:pt x="698893" y="780700"/>
                  <a:pt x="697968" y="778918"/>
                </a:cubicBezTo>
                <a:cubicBezTo>
                  <a:pt x="695770" y="774637"/>
                  <a:pt x="698893" y="767349"/>
                  <a:pt x="700975" y="763069"/>
                </a:cubicBezTo>
                <a:cubicBezTo>
                  <a:pt x="702422" y="760176"/>
                  <a:pt x="705083" y="759829"/>
                  <a:pt x="708148" y="759424"/>
                </a:cubicBezTo>
                <a:cubicBezTo>
                  <a:pt x="712486" y="759112"/>
                  <a:pt x="716710" y="757718"/>
                  <a:pt x="720354" y="755375"/>
                </a:cubicBezTo>
                <a:cubicBezTo>
                  <a:pt x="722899" y="753709"/>
                  <a:pt x="725907" y="752848"/>
                  <a:pt x="728973" y="752888"/>
                </a:cubicBezTo>
                <a:cubicBezTo>
                  <a:pt x="731749" y="752981"/>
                  <a:pt x="734525" y="753426"/>
                  <a:pt x="737186" y="754218"/>
                </a:cubicBezTo>
                <a:cubicBezTo>
                  <a:pt x="740599" y="755086"/>
                  <a:pt x="742971" y="755607"/>
                  <a:pt x="744359" y="754218"/>
                </a:cubicBezTo>
                <a:cubicBezTo>
                  <a:pt x="745747" y="752830"/>
                  <a:pt x="741698" y="748434"/>
                  <a:pt x="738112" y="744848"/>
                </a:cubicBezTo>
                <a:cubicBezTo>
                  <a:pt x="733137" y="740637"/>
                  <a:pt x="729493" y="735101"/>
                  <a:pt x="727527" y="728883"/>
                </a:cubicBezTo>
                <a:cubicBezTo>
                  <a:pt x="726717" y="722346"/>
                  <a:pt x="715437" y="718933"/>
                  <a:pt x="704736" y="718933"/>
                </a:cubicBezTo>
                <a:cubicBezTo>
                  <a:pt x="701207" y="718887"/>
                  <a:pt x="697679" y="719292"/>
                  <a:pt x="694208" y="720148"/>
                </a:cubicBezTo>
                <a:cubicBezTo>
                  <a:pt x="690448" y="721149"/>
                  <a:pt x="686514" y="721641"/>
                  <a:pt x="682639" y="721594"/>
                </a:cubicBezTo>
                <a:cubicBezTo>
                  <a:pt x="674657" y="721548"/>
                  <a:pt x="666732" y="719795"/>
                  <a:pt x="659502" y="716446"/>
                </a:cubicBezTo>
                <a:cubicBezTo>
                  <a:pt x="658692" y="715983"/>
                  <a:pt x="657766" y="715723"/>
                  <a:pt x="656840" y="715694"/>
                </a:cubicBezTo>
                <a:cubicBezTo>
                  <a:pt x="655799" y="715694"/>
                  <a:pt x="655568" y="716273"/>
                  <a:pt x="655510" y="716678"/>
                </a:cubicBezTo>
                <a:cubicBezTo>
                  <a:pt x="655510" y="718528"/>
                  <a:pt x="657940" y="722983"/>
                  <a:pt x="665112" y="724833"/>
                </a:cubicBezTo>
                <a:cubicBezTo>
                  <a:pt x="674715" y="727263"/>
                  <a:pt x="674194" y="733626"/>
                  <a:pt x="673789" y="738716"/>
                </a:cubicBezTo>
                <a:cubicBezTo>
                  <a:pt x="673442" y="740631"/>
                  <a:pt x="673442" y="742586"/>
                  <a:pt x="673789" y="744501"/>
                </a:cubicBezTo>
                <a:cubicBezTo>
                  <a:pt x="676161" y="751500"/>
                  <a:pt x="670087" y="765845"/>
                  <a:pt x="663146" y="775794"/>
                </a:cubicBezTo>
                <a:cubicBezTo>
                  <a:pt x="659848" y="780538"/>
                  <a:pt x="659848" y="782215"/>
                  <a:pt x="660138" y="782736"/>
                </a:cubicBezTo>
                <a:cubicBezTo>
                  <a:pt x="660427" y="783256"/>
                  <a:pt x="664245" y="783835"/>
                  <a:pt x="665460" y="783835"/>
                </a:cubicBezTo>
                <a:lnTo>
                  <a:pt x="670607" y="783835"/>
                </a:lnTo>
                <a:lnTo>
                  <a:pt x="671533" y="783835"/>
                </a:lnTo>
                <a:cubicBezTo>
                  <a:pt x="674021" y="783742"/>
                  <a:pt x="676392" y="784662"/>
                  <a:pt x="678185" y="786380"/>
                </a:cubicBezTo>
                <a:cubicBezTo>
                  <a:pt x="682466" y="790718"/>
                  <a:pt x="682408" y="799453"/>
                  <a:pt x="682350" y="807204"/>
                </a:cubicBezTo>
                <a:lnTo>
                  <a:pt x="682350" y="809228"/>
                </a:lnTo>
                <a:cubicBezTo>
                  <a:pt x="682234" y="813977"/>
                  <a:pt x="680499" y="818547"/>
                  <a:pt x="677375" y="822128"/>
                </a:cubicBezTo>
                <a:cubicBezTo>
                  <a:pt x="675351" y="824389"/>
                  <a:pt x="674078" y="827253"/>
                  <a:pt x="673847" y="830284"/>
                </a:cubicBezTo>
                <a:cubicBezTo>
                  <a:pt x="673847" y="833581"/>
                  <a:pt x="672169" y="834101"/>
                  <a:pt x="671186" y="834101"/>
                </a:cubicBezTo>
                <a:cubicBezTo>
                  <a:pt x="669509" y="833847"/>
                  <a:pt x="667889" y="833193"/>
                  <a:pt x="666501" y="832193"/>
                </a:cubicBezTo>
                <a:cubicBezTo>
                  <a:pt x="664592" y="831094"/>
                  <a:pt x="662336" y="829995"/>
                  <a:pt x="661873" y="830573"/>
                </a:cubicBezTo>
                <a:cubicBezTo>
                  <a:pt x="661179" y="831417"/>
                  <a:pt x="660196" y="831926"/>
                  <a:pt x="659096" y="831961"/>
                </a:cubicBezTo>
                <a:cubicBezTo>
                  <a:pt x="655799" y="831961"/>
                  <a:pt x="653312" y="826986"/>
                  <a:pt x="651866" y="822012"/>
                </a:cubicBezTo>
                <a:cubicBezTo>
                  <a:pt x="651114" y="818830"/>
                  <a:pt x="644289" y="818715"/>
                  <a:pt x="637752" y="818657"/>
                </a:cubicBezTo>
                <a:cubicBezTo>
                  <a:pt x="633530" y="818779"/>
                  <a:pt x="629307" y="818426"/>
                  <a:pt x="625200" y="817616"/>
                </a:cubicBezTo>
                <a:cubicBezTo>
                  <a:pt x="623696" y="817182"/>
                  <a:pt x="622134" y="816951"/>
                  <a:pt x="620573" y="816922"/>
                </a:cubicBezTo>
                <a:cubicBezTo>
                  <a:pt x="615540" y="816922"/>
                  <a:pt x="612879" y="819756"/>
                  <a:pt x="609004" y="825598"/>
                </a:cubicBezTo>
                <a:cubicBezTo>
                  <a:pt x="603566" y="833870"/>
                  <a:pt x="587196" y="836242"/>
                  <a:pt x="583899" y="836589"/>
                </a:cubicBezTo>
                <a:cubicBezTo>
                  <a:pt x="579272" y="837167"/>
                  <a:pt x="572735" y="843009"/>
                  <a:pt x="566951" y="848158"/>
                </a:cubicBezTo>
                <a:cubicBezTo>
                  <a:pt x="564174" y="850755"/>
                  <a:pt x="561224" y="853173"/>
                  <a:pt x="558158" y="855388"/>
                </a:cubicBezTo>
                <a:cubicBezTo>
                  <a:pt x="555266" y="857147"/>
                  <a:pt x="553357" y="860166"/>
                  <a:pt x="553010" y="863544"/>
                </a:cubicBezTo>
                <a:cubicBezTo>
                  <a:pt x="553126" y="868999"/>
                  <a:pt x="555671" y="874118"/>
                  <a:pt x="559951" y="877485"/>
                </a:cubicBezTo>
                <a:cubicBezTo>
                  <a:pt x="569033" y="886219"/>
                  <a:pt x="572619" y="893103"/>
                  <a:pt x="571520" y="899870"/>
                </a:cubicBezTo>
                <a:cubicBezTo>
                  <a:pt x="571000" y="903283"/>
                  <a:pt x="564405" y="904035"/>
                  <a:pt x="559026" y="904035"/>
                </a:cubicBezTo>
                <a:cubicBezTo>
                  <a:pt x="550349" y="904035"/>
                  <a:pt x="539648" y="902068"/>
                  <a:pt x="536813" y="898251"/>
                </a:cubicBezTo>
                <a:cubicBezTo>
                  <a:pt x="532822" y="893160"/>
                  <a:pt x="515238" y="891078"/>
                  <a:pt x="509627" y="892466"/>
                </a:cubicBezTo>
                <a:cubicBezTo>
                  <a:pt x="506272" y="893103"/>
                  <a:pt x="500719" y="888822"/>
                  <a:pt x="494298" y="883732"/>
                </a:cubicBezTo>
                <a:cubicBezTo>
                  <a:pt x="487877" y="878642"/>
                  <a:pt x="482209" y="874072"/>
                  <a:pt x="478275" y="873898"/>
                </a:cubicBezTo>
                <a:lnTo>
                  <a:pt x="477870" y="873898"/>
                </a:lnTo>
                <a:cubicBezTo>
                  <a:pt x="470582" y="873898"/>
                  <a:pt x="465665" y="883211"/>
                  <a:pt x="463005" y="888186"/>
                </a:cubicBezTo>
                <a:lnTo>
                  <a:pt x="463005" y="888649"/>
                </a:lnTo>
                <a:cubicBezTo>
                  <a:pt x="461732" y="890905"/>
                  <a:pt x="463005" y="892177"/>
                  <a:pt x="465260" y="895011"/>
                </a:cubicBezTo>
                <a:cubicBezTo>
                  <a:pt x="467632" y="897458"/>
                  <a:pt x="469598" y="900293"/>
                  <a:pt x="471044" y="903399"/>
                </a:cubicBezTo>
                <a:cubicBezTo>
                  <a:pt x="474574" y="911150"/>
                  <a:pt x="487357" y="912018"/>
                  <a:pt x="496670" y="912018"/>
                </a:cubicBezTo>
                <a:cubicBezTo>
                  <a:pt x="498694" y="911885"/>
                  <a:pt x="500604" y="912862"/>
                  <a:pt x="501644" y="914563"/>
                </a:cubicBezTo>
                <a:cubicBezTo>
                  <a:pt x="504190" y="918612"/>
                  <a:pt x="502050" y="926132"/>
                  <a:pt x="500140" y="930239"/>
                </a:cubicBezTo>
                <a:cubicBezTo>
                  <a:pt x="496496" y="934542"/>
                  <a:pt x="491059" y="936914"/>
                  <a:pt x="485448" y="936659"/>
                </a:cubicBezTo>
                <a:cubicBezTo>
                  <a:pt x="482498" y="936943"/>
                  <a:pt x="479606" y="935803"/>
                  <a:pt x="477639" y="933594"/>
                </a:cubicBezTo>
                <a:cubicBezTo>
                  <a:pt x="476020" y="931569"/>
                  <a:pt x="471334" y="931453"/>
                  <a:pt x="467227" y="931280"/>
                </a:cubicBezTo>
                <a:cubicBezTo>
                  <a:pt x="461847" y="931280"/>
                  <a:pt x="456237" y="931280"/>
                  <a:pt x="456005" y="926537"/>
                </a:cubicBezTo>
                <a:cubicBezTo>
                  <a:pt x="455774" y="921793"/>
                  <a:pt x="446172" y="913175"/>
                  <a:pt x="435471" y="913175"/>
                </a:cubicBezTo>
                <a:cubicBezTo>
                  <a:pt x="434371" y="913180"/>
                  <a:pt x="433331" y="913279"/>
                  <a:pt x="432231" y="913464"/>
                </a:cubicBezTo>
                <a:cubicBezTo>
                  <a:pt x="427893" y="914713"/>
                  <a:pt x="423208" y="913597"/>
                  <a:pt x="419910" y="910514"/>
                </a:cubicBezTo>
                <a:cubicBezTo>
                  <a:pt x="416960" y="906465"/>
                  <a:pt x="415804" y="901374"/>
                  <a:pt x="416786" y="896458"/>
                </a:cubicBezTo>
                <a:cubicBezTo>
                  <a:pt x="416902" y="891847"/>
                  <a:pt x="415514" y="887318"/>
                  <a:pt x="412853" y="883558"/>
                </a:cubicBezTo>
                <a:cubicBezTo>
                  <a:pt x="411349" y="881557"/>
                  <a:pt x="410482" y="879168"/>
                  <a:pt x="410308" y="876675"/>
                </a:cubicBezTo>
                <a:cubicBezTo>
                  <a:pt x="410250" y="875038"/>
                  <a:pt x="409961" y="873418"/>
                  <a:pt x="409383" y="871874"/>
                </a:cubicBezTo>
                <a:cubicBezTo>
                  <a:pt x="408168" y="867535"/>
                  <a:pt x="406491" y="861577"/>
                  <a:pt x="411581" y="858107"/>
                </a:cubicBezTo>
                <a:cubicBezTo>
                  <a:pt x="415398" y="855504"/>
                  <a:pt x="414704" y="851975"/>
                  <a:pt x="413837" y="847868"/>
                </a:cubicBezTo>
                <a:cubicBezTo>
                  <a:pt x="413374" y="845821"/>
                  <a:pt x="413142" y="843727"/>
                  <a:pt x="413142" y="841621"/>
                </a:cubicBezTo>
                <a:cubicBezTo>
                  <a:pt x="412969" y="839169"/>
                  <a:pt x="411812" y="836889"/>
                  <a:pt x="409961" y="835258"/>
                </a:cubicBezTo>
                <a:cubicBezTo>
                  <a:pt x="405565" y="830637"/>
                  <a:pt x="399607" y="827848"/>
                  <a:pt x="393244" y="827449"/>
                </a:cubicBezTo>
                <a:cubicBezTo>
                  <a:pt x="388848" y="827525"/>
                  <a:pt x="384799" y="824950"/>
                  <a:pt x="383006" y="820913"/>
                </a:cubicBezTo>
                <a:cubicBezTo>
                  <a:pt x="381733" y="818148"/>
                  <a:pt x="379361" y="816048"/>
                  <a:pt x="376469" y="815128"/>
                </a:cubicBezTo>
                <a:cubicBezTo>
                  <a:pt x="367504" y="812988"/>
                  <a:pt x="350266" y="798527"/>
                  <a:pt x="348993" y="791991"/>
                </a:cubicBezTo>
                <a:cubicBezTo>
                  <a:pt x="348415" y="789272"/>
                  <a:pt x="344655" y="787652"/>
                  <a:pt x="341936" y="786206"/>
                </a:cubicBezTo>
                <a:cubicBezTo>
                  <a:pt x="339218" y="784760"/>
                  <a:pt x="338350" y="784702"/>
                  <a:pt x="338292" y="783430"/>
                </a:cubicBezTo>
                <a:cubicBezTo>
                  <a:pt x="338234" y="782157"/>
                  <a:pt x="339507" y="781752"/>
                  <a:pt x="339912" y="781579"/>
                </a:cubicBezTo>
                <a:cubicBezTo>
                  <a:pt x="341126" y="781041"/>
                  <a:pt x="342515" y="780786"/>
                  <a:pt x="343845" y="780827"/>
                </a:cubicBezTo>
                <a:cubicBezTo>
                  <a:pt x="351133" y="781371"/>
                  <a:pt x="357959" y="784581"/>
                  <a:pt x="362992" y="789851"/>
                </a:cubicBezTo>
                <a:cubicBezTo>
                  <a:pt x="373288" y="799117"/>
                  <a:pt x="386418" y="804693"/>
                  <a:pt x="400243" y="805700"/>
                </a:cubicBezTo>
                <a:cubicBezTo>
                  <a:pt x="408515" y="806903"/>
                  <a:pt x="416498" y="809338"/>
                  <a:pt x="424017" y="812930"/>
                </a:cubicBezTo>
                <a:cubicBezTo>
                  <a:pt x="431653" y="816540"/>
                  <a:pt x="439693" y="819126"/>
                  <a:pt x="447965" y="820624"/>
                </a:cubicBezTo>
                <a:lnTo>
                  <a:pt x="459071" y="822590"/>
                </a:lnTo>
                <a:cubicBezTo>
                  <a:pt x="474110" y="825193"/>
                  <a:pt x="487183" y="827507"/>
                  <a:pt x="511767" y="831151"/>
                </a:cubicBezTo>
                <a:cubicBezTo>
                  <a:pt x="513676" y="831423"/>
                  <a:pt x="515643" y="831556"/>
                  <a:pt x="517551" y="831556"/>
                </a:cubicBezTo>
                <a:cubicBezTo>
                  <a:pt x="545664" y="831556"/>
                  <a:pt x="580776" y="805642"/>
                  <a:pt x="589683" y="796850"/>
                </a:cubicBezTo>
                <a:cubicBezTo>
                  <a:pt x="595063" y="791470"/>
                  <a:pt x="591823" y="781810"/>
                  <a:pt x="589221" y="774117"/>
                </a:cubicBezTo>
                <a:cubicBezTo>
                  <a:pt x="588064" y="771306"/>
                  <a:pt x="587312" y="768344"/>
                  <a:pt x="586965" y="765324"/>
                </a:cubicBezTo>
                <a:cubicBezTo>
                  <a:pt x="586965" y="762432"/>
                  <a:pt x="582974" y="760755"/>
                  <a:pt x="579156" y="759135"/>
                </a:cubicBezTo>
                <a:cubicBezTo>
                  <a:pt x="575338" y="757516"/>
                  <a:pt x="572330" y="756185"/>
                  <a:pt x="571289" y="753640"/>
                </a:cubicBezTo>
                <a:cubicBezTo>
                  <a:pt x="566893" y="745814"/>
                  <a:pt x="558679" y="740874"/>
                  <a:pt x="549713" y="740625"/>
                </a:cubicBezTo>
                <a:cubicBezTo>
                  <a:pt x="544333" y="740399"/>
                  <a:pt x="539417" y="737710"/>
                  <a:pt x="536293" y="733337"/>
                </a:cubicBezTo>
                <a:cubicBezTo>
                  <a:pt x="533517" y="730329"/>
                  <a:pt x="531261" y="727552"/>
                  <a:pt x="527154" y="728131"/>
                </a:cubicBezTo>
                <a:cubicBezTo>
                  <a:pt x="518303" y="728941"/>
                  <a:pt x="511593" y="724486"/>
                  <a:pt x="491348" y="710777"/>
                </a:cubicBezTo>
                <a:lnTo>
                  <a:pt x="486489" y="707538"/>
                </a:lnTo>
                <a:cubicBezTo>
                  <a:pt x="465434" y="693540"/>
                  <a:pt x="436165" y="682260"/>
                  <a:pt x="425926" y="682260"/>
                </a:cubicBezTo>
                <a:cubicBezTo>
                  <a:pt x="425174" y="682220"/>
                  <a:pt x="424480" y="682318"/>
                  <a:pt x="423786" y="682549"/>
                </a:cubicBezTo>
                <a:cubicBezTo>
                  <a:pt x="421241" y="684013"/>
                  <a:pt x="418406" y="684921"/>
                  <a:pt x="415456" y="685210"/>
                </a:cubicBezTo>
                <a:cubicBezTo>
                  <a:pt x="412391" y="685089"/>
                  <a:pt x="409614" y="683319"/>
                  <a:pt x="408226" y="680583"/>
                </a:cubicBezTo>
                <a:cubicBezTo>
                  <a:pt x="406433" y="678049"/>
                  <a:pt x="403483" y="676609"/>
                  <a:pt x="400359" y="676765"/>
                </a:cubicBezTo>
                <a:cubicBezTo>
                  <a:pt x="396599" y="676858"/>
                  <a:pt x="393013" y="678153"/>
                  <a:pt x="390062" y="680467"/>
                </a:cubicBezTo>
                <a:cubicBezTo>
                  <a:pt x="388616" y="681531"/>
                  <a:pt x="386939" y="682098"/>
                  <a:pt x="385146" y="682087"/>
                </a:cubicBezTo>
                <a:cubicBezTo>
                  <a:pt x="382890" y="681936"/>
                  <a:pt x="380634" y="681404"/>
                  <a:pt x="378552" y="680525"/>
                </a:cubicBezTo>
                <a:cubicBezTo>
                  <a:pt x="375486" y="679316"/>
                  <a:pt x="372247" y="678633"/>
                  <a:pt x="368950" y="678500"/>
                </a:cubicBezTo>
                <a:cubicBezTo>
                  <a:pt x="367446" y="678506"/>
                  <a:pt x="366000" y="678680"/>
                  <a:pt x="364554" y="679021"/>
                </a:cubicBezTo>
                <a:cubicBezTo>
                  <a:pt x="362876" y="679426"/>
                  <a:pt x="361140" y="679640"/>
                  <a:pt x="359405" y="679657"/>
                </a:cubicBezTo>
                <a:cubicBezTo>
                  <a:pt x="354604" y="680056"/>
                  <a:pt x="350035" y="677702"/>
                  <a:pt x="347547" y="673583"/>
                </a:cubicBezTo>
                <a:cubicBezTo>
                  <a:pt x="346621" y="671860"/>
                  <a:pt x="346853" y="669748"/>
                  <a:pt x="348125" y="668262"/>
                </a:cubicBezTo>
                <a:cubicBezTo>
                  <a:pt x="349803" y="666411"/>
                  <a:pt x="353910" y="666122"/>
                  <a:pt x="358364" y="665774"/>
                </a:cubicBezTo>
                <a:cubicBezTo>
                  <a:pt x="362066" y="665485"/>
                  <a:pt x="366636" y="665138"/>
                  <a:pt x="367793" y="663750"/>
                </a:cubicBezTo>
                <a:cubicBezTo>
                  <a:pt x="368024" y="663461"/>
                  <a:pt x="368140" y="663079"/>
                  <a:pt x="368082" y="662709"/>
                </a:cubicBezTo>
                <a:cubicBezTo>
                  <a:pt x="367793" y="660800"/>
                  <a:pt x="367156" y="660684"/>
                  <a:pt x="364090" y="660569"/>
                </a:cubicBezTo>
                <a:cubicBezTo>
                  <a:pt x="359174" y="660516"/>
                  <a:pt x="354431" y="659024"/>
                  <a:pt x="350381" y="656288"/>
                </a:cubicBezTo>
                <a:cubicBezTo>
                  <a:pt x="347721" y="654258"/>
                  <a:pt x="344481" y="653054"/>
                  <a:pt x="341126" y="652817"/>
                </a:cubicBezTo>
                <a:cubicBezTo>
                  <a:pt x="337193" y="653008"/>
                  <a:pt x="333780" y="655640"/>
                  <a:pt x="332623" y="659412"/>
                </a:cubicBezTo>
                <a:cubicBezTo>
                  <a:pt x="331524" y="662333"/>
                  <a:pt x="328632" y="664184"/>
                  <a:pt x="325509" y="663981"/>
                </a:cubicBezTo>
                <a:cubicBezTo>
                  <a:pt x="321286" y="663715"/>
                  <a:pt x="317295" y="661951"/>
                  <a:pt x="314287" y="659007"/>
                </a:cubicBezTo>
                <a:lnTo>
                  <a:pt x="313940" y="658717"/>
                </a:lnTo>
                <a:cubicBezTo>
                  <a:pt x="313361" y="664184"/>
                  <a:pt x="308676" y="668297"/>
                  <a:pt x="303181" y="668204"/>
                </a:cubicBezTo>
                <a:cubicBezTo>
                  <a:pt x="301792" y="668210"/>
                  <a:pt x="300404" y="668054"/>
                  <a:pt x="299074" y="667741"/>
                </a:cubicBezTo>
                <a:cubicBezTo>
                  <a:pt x="295835" y="667047"/>
                  <a:pt x="292306" y="669650"/>
                  <a:pt x="288546" y="672484"/>
                </a:cubicBezTo>
                <a:cubicBezTo>
                  <a:pt x="285307" y="675631"/>
                  <a:pt x="281142" y="677656"/>
                  <a:pt x="276688" y="678269"/>
                </a:cubicBezTo>
                <a:cubicBezTo>
                  <a:pt x="268416" y="679553"/>
                  <a:pt x="261648" y="685540"/>
                  <a:pt x="259335" y="693598"/>
                </a:cubicBezTo>
                <a:cubicBezTo>
                  <a:pt x="258467" y="696953"/>
                  <a:pt x="255459" y="699313"/>
                  <a:pt x="251988" y="699382"/>
                </a:cubicBezTo>
                <a:cubicBezTo>
                  <a:pt x="249501" y="699903"/>
                  <a:pt x="248865" y="700134"/>
                  <a:pt x="248865" y="701291"/>
                </a:cubicBezTo>
                <a:cubicBezTo>
                  <a:pt x="249443" y="706751"/>
                  <a:pt x="247881" y="712235"/>
                  <a:pt x="244527" y="716562"/>
                </a:cubicBezTo>
                <a:cubicBezTo>
                  <a:pt x="242097" y="719512"/>
                  <a:pt x="243081" y="721074"/>
                  <a:pt x="245683" y="725238"/>
                </a:cubicBezTo>
                <a:cubicBezTo>
                  <a:pt x="246609" y="726800"/>
                  <a:pt x="247650" y="728478"/>
                  <a:pt x="248749" y="730618"/>
                </a:cubicBezTo>
                <a:cubicBezTo>
                  <a:pt x="251178" y="734817"/>
                  <a:pt x="255459" y="737606"/>
                  <a:pt x="260318" y="738138"/>
                </a:cubicBezTo>
                <a:cubicBezTo>
                  <a:pt x="262111" y="738467"/>
                  <a:pt x="263789" y="739069"/>
                  <a:pt x="265408" y="739931"/>
                </a:cubicBezTo>
                <a:cubicBezTo>
                  <a:pt x="268532" y="741782"/>
                  <a:pt x="285307" y="755144"/>
                  <a:pt x="285307" y="761102"/>
                </a:cubicBezTo>
                <a:cubicBezTo>
                  <a:pt x="285307" y="767060"/>
                  <a:pt x="272349" y="779149"/>
                  <a:pt x="267953" y="782215"/>
                </a:cubicBezTo>
                <a:cubicBezTo>
                  <a:pt x="264020" y="784806"/>
                  <a:pt x="261128" y="788636"/>
                  <a:pt x="259624" y="793090"/>
                </a:cubicBezTo>
                <a:cubicBezTo>
                  <a:pt x="259277" y="794345"/>
                  <a:pt x="259508" y="795675"/>
                  <a:pt x="260144" y="796792"/>
                </a:cubicBezTo>
                <a:lnTo>
                  <a:pt x="261301" y="798469"/>
                </a:lnTo>
                <a:cubicBezTo>
                  <a:pt x="265871" y="805295"/>
                  <a:pt x="277960" y="823342"/>
                  <a:pt x="286059" y="838093"/>
                </a:cubicBezTo>
                <a:cubicBezTo>
                  <a:pt x="289009" y="843472"/>
                  <a:pt x="289934" y="846711"/>
                  <a:pt x="289009" y="848794"/>
                </a:cubicBezTo>
                <a:cubicBezTo>
                  <a:pt x="288083" y="850876"/>
                  <a:pt x="286059" y="851339"/>
                  <a:pt x="283803" y="851860"/>
                </a:cubicBezTo>
                <a:cubicBezTo>
                  <a:pt x="281200" y="852264"/>
                  <a:pt x="278886" y="853526"/>
                  <a:pt x="277093" y="855446"/>
                </a:cubicBezTo>
                <a:cubicBezTo>
                  <a:pt x="273275" y="860305"/>
                  <a:pt x="276514" y="866205"/>
                  <a:pt x="279118" y="871006"/>
                </a:cubicBezTo>
                <a:cubicBezTo>
                  <a:pt x="279985" y="872400"/>
                  <a:pt x="280679" y="873869"/>
                  <a:pt x="281258" y="875402"/>
                </a:cubicBezTo>
                <a:cubicBezTo>
                  <a:pt x="282472" y="878931"/>
                  <a:pt x="279406" y="880377"/>
                  <a:pt x="277440" y="881187"/>
                </a:cubicBezTo>
                <a:cubicBezTo>
                  <a:pt x="275473" y="881996"/>
                  <a:pt x="274721" y="882633"/>
                  <a:pt x="274837" y="883500"/>
                </a:cubicBezTo>
                <a:cubicBezTo>
                  <a:pt x="274953" y="884368"/>
                  <a:pt x="278770" y="886508"/>
                  <a:pt x="281604" y="887665"/>
                </a:cubicBezTo>
                <a:cubicBezTo>
                  <a:pt x="284439" y="888822"/>
                  <a:pt x="288083" y="890268"/>
                  <a:pt x="288546" y="892351"/>
                </a:cubicBezTo>
                <a:cubicBezTo>
                  <a:pt x="289009" y="894433"/>
                  <a:pt x="287736" y="895706"/>
                  <a:pt x="286348" y="897441"/>
                </a:cubicBezTo>
                <a:cubicBezTo>
                  <a:pt x="284960" y="899176"/>
                  <a:pt x="282299" y="902415"/>
                  <a:pt x="284382" y="905770"/>
                </a:cubicBezTo>
                <a:cubicBezTo>
                  <a:pt x="286116" y="908107"/>
                  <a:pt x="288430" y="909976"/>
                  <a:pt x="291091" y="911208"/>
                </a:cubicBezTo>
                <a:cubicBezTo>
                  <a:pt x="294735" y="913348"/>
                  <a:pt x="298553" y="915546"/>
                  <a:pt x="299074" y="920752"/>
                </a:cubicBezTo>
                <a:cubicBezTo>
                  <a:pt x="299595" y="925958"/>
                  <a:pt x="294099" y="928330"/>
                  <a:pt x="289240" y="930528"/>
                </a:cubicBezTo>
                <a:cubicBezTo>
                  <a:pt x="285480" y="932205"/>
                  <a:pt x="281836" y="933825"/>
                  <a:pt x="282126" y="936312"/>
                </a:cubicBezTo>
                <a:cubicBezTo>
                  <a:pt x="282414" y="938800"/>
                  <a:pt x="288777" y="942791"/>
                  <a:pt x="295429" y="946724"/>
                </a:cubicBezTo>
                <a:cubicBezTo>
                  <a:pt x="303238" y="950860"/>
                  <a:pt x="310354" y="956124"/>
                  <a:pt x="316600" y="962342"/>
                </a:cubicBezTo>
                <a:cubicBezTo>
                  <a:pt x="327359" y="974779"/>
                  <a:pt x="326665" y="978365"/>
                  <a:pt x="324121" y="985480"/>
                </a:cubicBezTo>
                <a:cubicBezTo>
                  <a:pt x="321575" y="992595"/>
                  <a:pt x="313188" y="998206"/>
                  <a:pt x="304395" y="1004569"/>
                </a:cubicBezTo>
                <a:cubicBezTo>
                  <a:pt x="295603" y="1010931"/>
                  <a:pt x="287042" y="1017179"/>
                  <a:pt x="283687" y="1024293"/>
                </a:cubicBezTo>
                <a:cubicBezTo>
                  <a:pt x="279638" y="1033433"/>
                  <a:pt x="268937" y="1039969"/>
                  <a:pt x="258640" y="1046274"/>
                </a:cubicBezTo>
                <a:cubicBezTo>
                  <a:pt x="252451" y="1049728"/>
                  <a:pt x="246609" y="1053835"/>
                  <a:pt x="241287" y="1058537"/>
                </a:cubicBezTo>
                <a:cubicBezTo>
                  <a:pt x="237180" y="1062841"/>
                  <a:pt x="233420" y="1067486"/>
                  <a:pt x="230124" y="1072420"/>
                </a:cubicBezTo>
                <a:cubicBezTo>
                  <a:pt x="232958" y="1071599"/>
                  <a:pt x="235734" y="1070534"/>
                  <a:pt x="238395" y="1069238"/>
                </a:cubicBezTo>
                <a:cubicBezTo>
                  <a:pt x="239089" y="1068857"/>
                  <a:pt x="239841" y="1068660"/>
                  <a:pt x="240651" y="1068660"/>
                </a:cubicBezTo>
                <a:cubicBezTo>
                  <a:pt x="244469" y="1068660"/>
                  <a:pt x="247419" y="1073403"/>
                  <a:pt x="250484" y="1078436"/>
                </a:cubicBezTo>
                <a:cubicBezTo>
                  <a:pt x="252162" y="1081652"/>
                  <a:pt x="254360" y="1084579"/>
                  <a:pt x="256963" y="1087112"/>
                </a:cubicBezTo>
                <a:cubicBezTo>
                  <a:pt x="260665" y="1089235"/>
                  <a:pt x="264945" y="1090126"/>
                  <a:pt x="269226" y="1089657"/>
                </a:cubicBezTo>
                <a:cubicBezTo>
                  <a:pt x="273275" y="1089068"/>
                  <a:pt x="277440" y="1090086"/>
                  <a:pt x="280795" y="1092492"/>
                </a:cubicBezTo>
                <a:cubicBezTo>
                  <a:pt x="282241" y="1094054"/>
                  <a:pt x="282704" y="1095442"/>
                  <a:pt x="282183" y="1096599"/>
                </a:cubicBezTo>
                <a:cubicBezTo>
                  <a:pt x="281662" y="1097756"/>
                  <a:pt x="279291" y="1098855"/>
                  <a:pt x="275531" y="1098855"/>
                </a:cubicBezTo>
                <a:cubicBezTo>
                  <a:pt x="272639" y="1098803"/>
                  <a:pt x="269747" y="1098531"/>
                  <a:pt x="266912" y="1098045"/>
                </a:cubicBezTo>
                <a:cubicBezTo>
                  <a:pt x="262400" y="1097351"/>
                  <a:pt x="257831" y="1098450"/>
                  <a:pt x="254128" y="1101111"/>
                </a:cubicBezTo>
                <a:cubicBezTo>
                  <a:pt x="249964" y="1103448"/>
                  <a:pt x="245625" y="1105385"/>
                  <a:pt x="241113" y="1106895"/>
                </a:cubicBezTo>
                <a:cubicBezTo>
                  <a:pt x="236833" y="1107774"/>
                  <a:pt x="233131" y="1110343"/>
                  <a:pt x="230818" y="1114010"/>
                </a:cubicBezTo>
                <a:cubicBezTo>
                  <a:pt x="230239" y="1114912"/>
                  <a:pt x="229602" y="1115763"/>
                  <a:pt x="228850" y="1116555"/>
                </a:cubicBezTo>
                <a:cubicBezTo>
                  <a:pt x="231916" y="1120315"/>
                  <a:pt x="231338" y="1125856"/>
                  <a:pt x="227578" y="1128928"/>
                </a:cubicBezTo>
                <a:cubicBezTo>
                  <a:pt x="227346" y="1129113"/>
                  <a:pt x="227116" y="1129292"/>
                  <a:pt x="226884" y="1129454"/>
                </a:cubicBezTo>
                <a:cubicBezTo>
                  <a:pt x="225264" y="1130987"/>
                  <a:pt x="223934" y="1132786"/>
                  <a:pt x="222893" y="1134776"/>
                </a:cubicBezTo>
                <a:cubicBezTo>
                  <a:pt x="221447" y="1137848"/>
                  <a:pt x="219480" y="1140659"/>
                  <a:pt x="217109" y="1143106"/>
                </a:cubicBezTo>
                <a:cubicBezTo>
                  <a:pt x="215489" y="1144442"/>
                  <a:pt x="214331" y="1146299"/>
                  <a:pt x="213927" y="1148369"/>
                </a:cubicBezTo>
                <a:cubicBezTo>
                  <a:pt x="213695" y="1150990"/>
                  <a:pt x="213927" y="1153628"/>
                  <a:pt x="214563" y="1156178"/>
                </a:cubicBezTo>
                <a:cubicBezTo>
                  <a:pt x="215141" y="1158712"/>
                  <a:pt x="215489" y="1161286"/>
                  <a:pt x="215720" y="1163872"/>
                </a:cubicBezTo>
                <a:cubicBezTo>
                  <a:pt x="215778" y="1168557"/>
                  <a:pt x="217571" y="1173057"/>
                  <a:pt x="220695" y="1176540"/>
                </a:cubicBezTo>
                <a:lnTo>
                  <a:pt x="221620" y="1177870"/>
                </a:lnTo>
                <a:cubicBezTo>
                  <a:pt x="222719" y="1179154"/>
                  <a:pt x="223182" y="1180843"/>
                  <a:pt x="222893" y="1182498"/>
                </a:cubicBezTo>
                <a:cubicBezTo>
                  <a:pt x="222314" y="1184522"/>
                  <a:pt x="220059" y="1185505"/>
                  <a:pt x="217861" y="1186489"/>
                </a:cubicBezTo>
                <a:cubicBezTo>
                  <a:pt x="216530" y="1186969"/>
                  <a:pt x="215257" y="1187628"/>
                  <a:pt x="214101" y="1188456"/>
                </a:cubicBezTo>
                <a:cubicBezTo>
                  <a:pt x="213233" y="1189202"/>
                  <a:pt x="212770" y="1190278"/>
                  <a:pt x="212770" y="1191406"/>
                </a:cubicBezTo>
                <a:cubicBezTo>
                  <a:pt x="213117" y="1195223"/>
                  <a:pt x="214910" y="1198763"/>
                  <a:pt x="217803" y="1201297"/>
                </a:cubicBezTo>
                <a:cubicBezTo>
                  <a:pt x="222256" y="1205537"/>
                  <a:pt x="223529" y="1212096"/>
                  <a:pt x="221100" y="1217725"/>
                </a:cubicBezTo>
                <a:cubicBezTo>
                  <a:pt x="219711" y="1220964"/>
                  <a:pt x="224454" y="1227327"/>
                  <a:pt x="229372" y="1232244"/>
                </a:cubicBezTo>
                <a:cubicBezTo>
                  <a:pt x="231685" y="1235385"/>
                  <a:pt x="233131" y="1239069"/>
                  <a:pt x="233594" y="1242945"/>
                </a:cubicBezTo>
                <a:cubicBezTo>
                  <a:pt x="233883" y="1245820"/>
                  <a:pt x="234866" y="1248567"/>
                  <a:pt x="236544" y="1250927"/>
                </a:cubicBezTo>
                <a:cubicBezTo>
                  <a:pt x="239147" y="1253611"/>
                  <a:pt x="242675" y="1255219"/>
                  <a:pt x="246435" y="1255439"/>
                </a:cubicBezTo>
                <a:cubicBezTo>
                  <a:pt x="247650" y="1255422"/>
                  <a:pt x="248865" y="1255266"/>
                  <a:pt x="250080" y="1254977"/>
                </a:cubicBezTo>
                <a:cubicBezTo>
                  <a:pt x="256211" y="1252998"/>
                  <a:pt x="262863" y="1256139"/>
                  <a:pt x="265235" y="1262149"/>
                </a:cubicBezTo>
                <a:cubicBezTo>
                  <a:pt x="265929" y="1263757"/>
                  <a:pt x="267491" y="1264804"/>
                  <a:pt x="269226" y="1264810"/>
                </a:cubicBezTo>
                <a:cubicBezTo>
                  <a:pt x="272234" y="1264394"/>
                  <a:pt x="275184" y="1263410"/>
                  <a:pt x="277845" y="1261918"/>
                </a:cubicBezTo>
                <a:lnTo>
                  <a:pt x="278366" y="1261918"/>
                </a:lnTo>
                <a:cubicBezTo>
                  <a:pt x="279580" y="1261380"/>
                  <a:pt x="280968" y="1261125"/>
                  <a:pt x="282299" y="1261166"/>
                </a:cubicBezTo>
                <a:cubicBezTo>
                  <a:pt x="289819" y="1262213"/>
                  <a:pt x="296991" y="1264729"/>
                  <a:pt x="303528" y="1268570"/>
                </a:cubicBezTo>
                <a:lnTo>
                  <a:pt x="304800" y="1269206"/>
                </a:lnTo>
                <a:cubicBezTo>
                  <a:pt x="307924" y="1270768"/>
                  <a:pt x="307866" y="1276321"/>
                  <a:pt x="307692" y="1282221"/>
                </a:cubicBezTo>
                <a:cubicBezTo>
                  <a:pt x="307692" y="1284535"/>
                  <a:pt x="307692" y="1286907"/>
                  <a:pt x="307692" y="1288873"/>
                </a:cubicBezTo>
                <a:cubicBezTo>
                  <a:pt x="307750" y="1291135"/>
                  <a:pt x="307634" y="1293402"/>
                  <a:pt x="307346" y="1295641"/>
                </a:cubicBezTo>
                <a:cubicBezTo>
                  <a:pt x="306709" y="1300616"/>
                  <a:pt x="306188" y="1304896"/>
                  <a:pt x="310180" y="1307210"/>
                </a:cubicBezTo>
                <a:cubicBezTo>
                  <a:pt x="313130" y="1309356"/>
                  <a:pt x="315270" y="1312433"/>
                  <a:pt x="316253" y="1315944"/>
                </a:cubicBezTo>
                <a:cubicBezTo>
                  <a:pt x="317121" y="1319473"/>
                  <a:pt x="319493" y="1322440"/>
                  <a:pt x="322732" y="1324043"/>
                </a:cubicBezTo>
                <a:cubicBezTo>
                  <a:pt x="326955" y="1326177"/>
                  <a:pt x="330483" y="1329491"/>
                  <a:pt x="332855" y="1333587"/>
                </a:cubicBezTo>
                <a:cubicBezTo>
                  <a:pt x="334764" y="1336190"/>
                  <a:pt x="336556" y="1338735"/>
                  <a:pt x="338640" y="1339371"/>
                </a:cubicBezTo>
                <a:cubicBezTo>
                  <a:pt x="345754" y="1341853"/>
                  <a:pt x="351539" y="1347198"/>
                  <a:pt x="354604" y="1354122"/>
                </a:cubicBezTo>
                <a:cubicBezTo>
                  <a:pt x="355645" y="1358749"/>
                  <a:pt x="350845" y="1363319"/>
                  <a:pt x="340028" y="1368120"/>
                </a:cubicBezTo>
                <a:cubicBezTo>
                  <a:pt x="339218" y="1368426"/>
                  <a:pt x="338408" y="1368583"/>
                  <a:pt x="337540" y="1368583"/>
                </a:cubicBezTo>
                <a:cubicBezTo>
                  <a:pt x="334648" y="1368311"/>
                  <a:pt x="331871" y="1367484"/>
                  <a:pt x="329326" y="1366153"/>
                </a:cubicBezTo>
                <a:cubicBezTo>
                  <a:pt x="325855" y="1364649"/>
                  <a:pt x="322385" y="1363261"/>
                  <a:pt x="321055" y="1364823"/>
                </a:cubicBezTo>
                <a:cubicBezTo>
                  <a:pt x="319724" y="1366385"/>
                  <a:pt x="320361" y="1371417"/>
                  <a:pt x="322327" y="1377780"/>
                </a:cubicBezTo>
                <a:cubicBezTo>
                  <a:pt x="323369" y="1381077"/>
                  <a:pt x="324525" y="1384837"/>
                  <a:pt x="325509" y="1389349"/>
                </a:cubicBezTo>
                <a:cubicBezTo>
                  <a:pt x="328517" y="1402479"/>
                  <a:pt x="330772" y="1403000"/>
                  <a:pt x="335920" y="1403000"/>
                </a:cubicBezTo>
                <a:cubicBezTo>
                  <a:pt x="339102" y="1402861"/>
                  <a:pt x="342110" y="1401519"/>
                  <a:pt x="344366" y="1399240"/>
                </a:cubicBezTo>
                <a:cubicBezTo>
                  <a:pt x="345523" y="1398228"/>
                  <a:pt x="346795" y="1397320"/>
                  <a:pt x="348125" y="1396522"/>
                </a:cubicBezTo>
                <a:cubicBezTo>
                  <a:pt x="349687" y="1395741"/>
                  <a:pt x="351365" y="1395382"/>
                  <a:pt x="353101" y="1395480"/>
                </a:cubicBezTo>
                <a:cubicBezTo>
                  <a:pt x="354778" y="1395480"/>
                  <a:pt x="356687" y="1395480"/>
                  <a:pt x="358480" y="1395885"/>
                </a:cubicBezTo>
                <a:cubicBezTo>
                  <a:pt x="361082" y="1396400"/>
                  <a:pt x="363802" y="1396400"/>
                  <a:pt x="366404" y="1395885"/>
                </a:cubicBezTo>
                <a:cubicBezTo>
                  <a:pt x="369644" y="1394850"/>
                  <a:pt x="373057" y="1394375"/>
                  <a:pt x="376469" y="1394497"/>
                </a:cubicBezTo>
                <a:cubicBezTo>
                  <a:pt x="380577" y="1394497"/>
                  <a:pt x="388038" y="1395018"/>
                  <a:pt x="390236" y="1398777"/>
                </a:cubicBezTo>
                <a:cubicBezTo>
                  <a:pt x="393186" y="1403463"/>
                  <a:pt x="396657" y="1415610"/>
                  <a:pt x="393880" y="1420527"/>
                </a:cubicBezTo>
                <a:cubicBezTo>
                  <a:pt x="392608" y="1422783"/>
                  <a:pt x="393880" y="1425328"/>
                  <a:pt x="396773" y="1429319"/>
                </a:cubicBezTo>
                <a:cubicBezTo>
                  <a:pt x="397930" y="1431003"/>
                  <a:pt x="399029" y="1432761"/>
                  <a:pt x="399954" y="1434583"/>
                </a:cubicBezTo>
                <a:cubicBezTo>
                  <a:pt x="401573" y="1437938"/>
                  <a:pt x="407185" y="1437996"/>
                  <a:pt x="412101" y="1438112"/>
                </a:cubicBezTo>
                <a:cubicBezTo>
                  <a:pt x="414531" y="1437990"/>
                  <a:pt x="417018" y="1438268"/>
                  <a:pt x="419390" y="1438921"/>
                </a:cubicBezTo>
                <a:cubicBezTo>
                  <a:pt x="424133" y="1440946"/>
                  <a:pt x="434140" y="1454771"/>
                  <a:pt x="432115" y="1461481"/>
                </a:cubicBezTo>
                <a:cubicBezTo>
                  <a:pt x="431653" y="1462423"/>
                  <a:pt x="431653" y="1463546"/>
                  <a:pt x="432115" y="1464489"/>
                </a:cubicBezTo>
                <a:cubicBezTo>
                  <a:pt x="433388" y="1465761"/>
                  <a:pt x="435181" y="1466397"/>
                  <a:pt x="436975" y="1466224"/>
                </a:cubicBezTo>
                <a:cubicBezTo>
                  <a:pt x="438189" y="1466235"/>
                  <a:pt x="439462" y="1466021"/>
                  <a:pt x="440618" y="1465588"/>
                </a:cubicBezTo>
                <a:cubicBezTo>
                  <a:pt x="441370" y="1465246"/>
                  <a:pt x="442180" y="1465073"/>
                  <a:pt x="442990" y="1465067"/>
                </a:cubicBezTo>
                <a:cubicBezTo>
                  <a:pt x="446172" y="1465553"/>
                  <a:pt x="449180" y="1467028"/>
                  <a:pt x="451493" y="1469290"/>
                </a:cubicBezTo>
                <a:lnTo>
                  <a:pt x="454964" y="1471719"/>
                </a:lnTo>
                <a:cubicBezTo>
                  <a:pt x="458955" y="1474148"/>
                  <a:pt x="462310" y="1473917"/>
                  <a:pt x="467748" y="1470504"/>
                </a:cubicBezTo>
                <a:cubicBezTo>
                  <a:pt x="470987" y="1468364"/>
                  <a:pt x="474804" y="1467109"/>
                  <a:pt x="478680" y="1466860"/>
                </a:cubicBezTo>
                <a:cubicBezTo>
                  <a:pt x="480994" y="1466542"/>
                  <a:pt x="483307" y="1467664"/>
                  <a:pt x="484465" y="1469695"/>
                </a:cubicBezTo>
                <a:cubicBezTo>
                  <a:pt x="486315" y="1472240"/>
                  <a:pt x="488398" y="1474600"/>
                  <a:pt x="490654" y="1476752"/>
                </a:cubicBezTo>
                <a:cubicBezTo>
                  <a:pt x="494298" y="1480511"/>
                  <a:pt x="496438" y="1482825"/>
                  <a:pt x="496438" y="1484445"/>
                </a:cubicBezTo>
                <a:cubicBezTo>
                  <a:pt x="498520" y="1484861"/>
                  <a:pt x="500604" y="1485035"/>
                  <a:pt x="502686" y="1484965"/>
                </a:cubicBezTo>
                <a:cubicBezTo>
                  <a:pt x="508007" y="1484763"/>
                  <a:pt x="513271" y="1485590"/>
                  <a:pt x="518246" y="1487395"/>
                </a:cubicBezTo>
                <a:cubicBezTo>
                  <a:pt x="521543" y="1488812"/>
                  <a:pt x="525014" y="1489691"/>
                  <a:pt x="528600" y="1489998"/>
                </a:cubicBezTo>
                <a:cubicBezTo>
                  <a:pt x="532996" y="1490356"/>
                  <a:pt x="537334" y="1491537"/>
                  <a:pt x="541325" y="1493468"/>
                </a:cubicBezTo>
                <a:cubicBezTo>
                  <a:pt x="543639" y="1494701"/>
                  <a:pt x="546069" y="1495782"/>
                  <a:pt x="548556" y="1496708"/>
                </a:cubicBezTo>
                <a:cubicBezTo>
                  <a:pt x="553357" y="1498617"/>
                  <a:pt x="557117" y="1500121"/>
                  <a:pt x="557638" y="1504054"/>
                </a:cubicBezTo>
                <a:cubicBezTo>
                  <a:pt x="558158" y="1507987"/>
                  <a:pt x="554919" y="1510417"/>
                  <a:pt x="552374" y="1512788"/>
                </a:cubicBezTo>
                <a:cubicBezTo>
                  <a:pt x="551332" y="1513714"/>
                  <a:pt x="549828" y="1515160"/>
                  <a:pt x="549771" y="1515681"/>
                </a:cubicBezTo>
                <a:cubicBezTo>
                  <a:pt x="549713" y="1516201"/>
                  <a:pt x="551217" y="1517185"/>
                  <a:pt x="552142" y="1517879"/>
                </a:cubicBezTo>
                <a:cubicBezTo>
                  <a:pt x="554052" y="1519267"/>
                  <a:pt x="556423" y="1520944"/>
                  <a:pt x="556423" y="1523663"/>
                </a:cubicBezTo>
                <a:cubicBezTo>
                  <a:pt x="556423" y="1526382"/>
                  <a:pt x="553415" y="1527539"/>
                  <a:pt x="550638" y="1528522"/>
                </a:cubicBezTo>
                <a:cubicBezTo>
                  <a:pt x="548961" y="1529158"/>
                  <a:pt x="546994" y="1529853"/>
                  <a:pt x="546647" y="1530720"/>
                </a:cubicBezTo>
                <a:cubicBezTo>
                  <a:pt x="546300" y="1531588"/>
                  <a:pt x="548093" y="1534249"/>
                  <a:pt x="549655" y="1536042"/>
                </a:cubicBezTo>
                <a:cubicBezTo>
                  <a:pt x="550870" y="1537274"/>
                  <a:pt x="551853" y="1538680"/>
                  <a:pt x="552663" y="1540207"/>
                </a:cubicBezTo>
                <a:cubicBezTo>
                  <a:pt x="553473" y="1542231"/>
                  <a:pt x="552142" y="1545991"/>
                  <a:pt x="550002" y="1550908"/>
                </a:cubicBezTo>
                <a:cubicBezTo>
                  <a:pt x="549076" y="1552840"/>
                  <a:pt x="548382" y="1554882"/>
                  <a:pt x="547920" y="1556982"/>
                </a:cubicBezTo>
                <a:cubicBezTo>
                  <a:pt x="547920" y="1559295"/>
                  <a:pt x="544391" y="1559295"/>
                  <a:pt x="542887" y="1559295"/>
                </a:cubicBezTo>
                <a:cubicBezTo>
                  <a:pt x="538896" y="1559157"/>
                  <a:pt x="534905" y="1558786"/>
                  <a:pt x="530914" y="1558196"/>
                </a:cubicBezTo>
                <a:cubicBezTo>
                  <a:pt x="528022" y="1557849"/>
                  <a:pt x="525534" y="1557502"/>
                  <a:pt x="524377" y="1557502"/>
                </a:cubicBezTo>
                <a:cubicBezTo>
                  <a:pt x="523220" y="1557502"/>
                  <a:pt x="517783" y="1561551"/>
                  <a:pt x="513907" y="1564733"/>
                </a:cubicBezTo>
                <a:cubicBezTo>
                  <a:pt x="510899" y="1567874"/>
                  <a:pt x="507313" y="1570361"/>
                  <a:pt x="503322" y="1572021"/>
                </a:cubicBezTo>
                <a:cubicBezTo>
                  <a:pt x="503033" y="1572050"/>
                  <a:pt x="502744" y="1572218"/>
                  <a:pt x="502570" y="1572484"/>
                </a:cubicBezTo>
                <a:cubicBezTo>
                  <a:pt x="501471" y="1574046"/>
                  <a:pt x="502570" y="1578847"/>
                  <a:pt x="503380" y="1582549"/>
                </a:cubicBezTo>
                <a:cubicBezTo>
                  <a:pt x="509858" y="1581270"/>
                  <a:pt x="516395" y="1580536"/>
                  <a:pt x="522989" y="1580351"/>
                </a:cubicBezTo>
                <a:cubicBezTo>
                  <a:pt x="527964" y="1580351"/>
                  <a:pt x="530624" y="1581103"/>
                  <a:pt x="531434" y="1582780"/>
                </a:cubicBezTo>
                <a:cubicBezTo>
                  <a:pt x="531781" y="1583474"/>
                  <a:pt x="531781" y="1584284"/>
                  <a:pt x="531434" y="1584978"/>
                </a:cubicBezTo>
                <a:cubicBezTo>
                  <a:pt x="528716" y="1591804"/>
                  <a:pt x="497190" y="1603951"/>
                  <a:pt x="496728" y="1604067"/>
                </a:cubicBezTo>
                <a:lnTo>
                  <a:pt x="496265" y="1604067"/>
                </a:lnTo>
                <a:cubicBezTo>
                  <a:pt x="496265" y="1604877"/>
                  <a:pt x="499272" y="1607595"/>
                  <a:pt x="501124" y="1609215"/>
                </a:cubicBezTo>
                <a:cubicBezTo>
                  <a:pt x="504710" y="1612396"/>
                  <a:pt x="508181" y="1615404"/>
                  <a:pt x="507949" y="1618239"/>
                </a:cubicBezTo>
                <a:cubicBezTo>
                  <a:pt x="507718" y="1621073"/>
                  <a:pt x="504594" y="1622288"/>
                  <a:pt x="500950" y="1624023"/>
                </a:cubicBezTo>
                <a:cubicBezTo>
                  <a:pt x="496265" y="1626221"/>
                  <a:pt x="490943" y="1628766"/>
                  <a:pt x="491753" y="1633683"/>
                </a:cubicBezTo>
                <a:cubicBezTo>
                  <a:pt x="492563" y="1636755"/>
                  <a:pt x="491869" y="1640017"/>
                  <a:pt x="489960" y="1642533"/>
                </a:cubicBezTo>
                <a:cubicBezTo>
                  <a:pt x="485969" y="1645802"/>
                  <a:pt x="480821" y="1647328"/>
                  <a:pt x="475730" y="1646756"/>
                </a:cubicBezTo>
                <a:cubicBezTo>
                  <a:pt x="469946" y="1646756"/>
                  <a:pt x="467516" y="1648896"/>
                  <a:pt x="467458" y="1650053"/>
                </a:cubicBezTo>
                <a:cubicBezTo>
                  <a:pt x="467400" y="1651210"/>
                  <a:pt x="468268" y="1650863"/>
                  <a:pt x="468673" y="1650921"/>
                </a:cubicBezTo>
                <a:cubicBezTo>
                  <a:pt x="470698" y="1651326"/>
                  <a:pt x="471796" y="1653177"/>
                  <a:pt x="473185" y="1655490"/>
                </a:cubicBezTo>
                <a:cubicBezTo>
                  <a:pt x="476598" y="1662108"/>
                  <a:pt x="482845" y="1666828"/>
                  <a:pt x="490133" y="1668332"/>
                </a:cubicBezTo>
                <a:cubicBezTo>
                  <a:pt x="505057" y="1672150"/>
                  <a:pt x="522352" y="1684644"/>
                  <a:pt x="541557" y="1705410"/>
                </a:cubicBezTo>
                <a:cubicBezTo>
                  <a:pt x="543408" y="1707365"/>
                  <a:pt x="545548" y="1709060"/>
                  <a:pt x="547862" y="1710442"/>
                </a:cubicBezTo>
                <a:cubicBezTo>
                  <a:pt x="550928" y="1707984"/>
                  <a:pt x="554398" y="1706087"/>
                  <a:pt x="558100" y="1704832"/>
                </a:cubicBezTo>
                <a:cubicBezTo>
                  <a:pt x="570017" y="1704641"/>
                  <a:pt x="581759" y="1708094"/>
                  <a:pt x="591650" y="1714723"/>
                </a:cubicBezTo>
                <a:cubicBezTo>
                  <a:pt x="595815" y="1716690"/>
                  <a:pt x="600385" y="1717488"/>
                  <a:pt x="604954" y="1717037"/>
                </a:cubicBezTo>
                <a:cubicBezTo>
                  <a:pt x="608425" y="1717037"/>
                  <a:pt x="612127" y="1717037"/>
                  <a:pt x="615713" y="1716690"/>
                </a:cubicBezTo>
                <a:cubicBezTo>
                  <a:pt x="619299" y="1716342"/>
                  <a:pt x="622192" y="1716342"/>
                  <a:pt x="624911" y="1716342"/>
                </a:cubicBezTo>
                <a:cubicBezTo>
                  <a:pt x="630695" y="1716342"/>
                  <a:pt x="633124" y="1716979"/>
                  <a:pt x="634282" y="1718541"/>
                </a:cubicBezTo>
                <a:cubicBezTo>
                  <a:pt x="638041" y="1724042"/>
                  <a:pt x="643825" y="1727831"/>
                  <a:pt x="650362" y="1729068"/>
                </a:cubicBezTo>
                <a:cubicBezTo>
                  <a:pt x="653833" y="1729687"/>
                  <a:pt x="656956" y="1731509"/>
                  <a:pt x="659212" y="1734216"/>
                </a:cubicBezTo>
                <a:cubicBezTo>
                  <a:pt x="661989" y="1736704"/>
                  <a:pt x="664997" y="1739191"/>
                  <a:pt x="666616" y="1737745"/>
                </a:cubicBezTo>
                <a:cubicBezTo>
                  <a:pt x="670087" y="1735142"/>
                  <a:pt x="679400" y="1733869"/>
                  <a:pt x="695191" y="1733869"/>
                </a:cubicBezTo>
                <a:cubicBezTo>
                  <a:pt x="697331" y="1733783"/>
                  <a:pt x="699356" y="1734506"/>
                  <a:pt x="700975" y="1735894"/>
                </a:cubicBezTo>
                <a:cubicBezTo>
                  <a:pt x="702133" y="1736953"/>
                  <a:pt x="703637" y="1737531"/>
                  <a:pt x="705199" y="1737514"/>
                </a:cubicBezTo>
                <a:cubicBezTo>
                  <a:pt x="708611" y="1737514"/>
                  <a:pt x="709884" y="1742835"/>
                  <a:pt x="710983" y="1747983"/>
                </a:cubicBezTo>
                <a:cubicBezTo>
                  <a:pt x="711561" y="1750297"/>
                  <a:pt x="712486" y="1754173"/>
                  <a:pt x="713296" y="1754578"/>
                </a:cubicBezTo>
                <a:cubicBezTo>
                  <a:pt x="713586" y="1754502"/>
                  <a:pt x="713817" y="1754502"/>
                  <a:pt x="714106" y="1754578"/>
                </a:cubicBezTo>
                <a:cubicBezTo>
                  <a:pt x="717866" y="1755492"/>
                  <a:pt x="721395" y="1757209"/>
                  <a:pt x="724403" y="1759610"/>
                </a:cubicBezTo>
                <a:cubicBezTo>
                  <a:pt x="728857" y="1762849"/>
                  <a:pt x="733831" y="1765273"/>
                  <a:pt x="739153" y="1766783"/>
                </a:cubicBezTo>
                <a:cubicBezTo>
                  <a:pt x="744590" y="1768541"/>
                  <a:pt x="749449" y="1771885"/>
                  <a:pt x="752977" y="1776385"/>
                </a:cubicBezTo>
                <a:cubicBezTo>
                  <a:pt x="755349" y="1778699"/>
                  <a:pt x="757953" y="1781417"/>
                  <a:pt x="759167" y="1781417"/>
                </a:cubicBezTo>
                <a:cubicBezTo>
                  <a:pt x="759572" y="1781088"/>
                  <a:pt x="760035" y="1780850"/>
                  <a:pt x="760555" y="1780723"/>
                </a:cubicBezTo>
                <a:close/>
                <a:moveTo>
                  <a:pt x="3369911" y="1631138"/>
                </a:moveTo>
                <a:cubicBezTo>
                  <a:pt x="3369217" y="1631115"/>
                  <a:pt x="3368581" y="1630935"/>
                  <a:pt x="3367944" y="1630617"/>
                </a:cubicBezTo>
                <a:cubicBezTo>
                  <a:pt x="3364242" y="1628298"/>
                  <a:pt x="3361350" y="1624879"/>
                  <a:pt x="3359672" y="1620842"/>
                </a:cubicBezTo>
                <a:cubicBezTo>
                  <a:pt x="3356665" y="1615462"/>
                  <a:pt x="3353888" y="1610314"/>
                  <a:pt x="3347467" y="1610314"/>
                </a:cubicBezTo>
                <a:cubicBezTo>
                  <a:pt x="3346715" y="1610233"/>
                  <a:pt x="3345905" y="1610233"/>
                  <a:pt x="3345153" y="1610314"/>
                </a:cubicBezTo>
                <a:cubicBezTo>
                  <a:pt x="3338444" y="1611413"/>
                  <a:pt x="3336708" y="1618354"/>
                  <a:pt x="3335262" y="1623907"/>
                </a:cubicBezTo>
                <a:cubicBezTo>
                  <a:pt x="3334279" y="1627783"/>
                  <a:pt x="3333527" y="1630849"/>
                  <a:pt x="3331040" y="1630849"/>
                </a:cubicBezTo>
                <a:cubicBezTo>
                  <a:pt x="3329709" y="1630849"/>
                  <a:pt x="3328263" y="1629865"/>
                  <a:pt x="3326354" y="1627667"/>
                </a:cubicBezTo>
                <a:cubicBezTo>
                  <a:pt x="3323520" y="1624370"/>
                  <a:pt x="3325255" y="1612628"/>
                  <a:pt x="3328321" y="1593770"/>
                </a:cubicBezTo>
                <a:cubicBezTo>
                  <a:pt x="3331156" y="1576417"/>
                  <a:pt x="3334106" y="1557271"/>
                  <a:pt x="3331098" y="1550792"/>
                </a:cubicBezTo>
                <a:cubicBezTo>
                  <a:pt x="3328090" y="1544314"/>
                  <a:pt x="3329825" y="1521870"/>
                  <a:pt x="3332138" y="1498732"/>
                </a:cubicBezTo>
                <a:cubicBezTo>
                  <a:pt x="3334337" y="1476231"/>
                  <a:pt x="3336593" y="1452920"/>
                  <a:pt x="3333469" y="1445920"/>
                </a:cubicBezTo>
                <a:cubicBezTo>
                  <a:pt x="3329940" y="1437938"/>
                  <a:pt x="3318777" y="1410346"/>
                  <a:pt x="3324503" y="1391026"/>
                </a:cubicBezTo>
                <a:cubicBezTo>
                  <a:pt x="3325892" y="1385230"/>
                  <a:pt x="3325892" y="1379180"/>
                  <a:pt x="3324503" y="1373384"/>
                </a:cubicBezTo>
                <a:cubicBezTo>
                  <a:pt x="3323751" y="1369045"/>
                  <a:pt x="3323173" y="1365575"/>
                  <a:pt x="3324966" y="1363145"/>
                </a:cubicBezTo>
                <a:cubicBezTo>
                  <a:pt x="3326470" y="1361485"/>
                  <a:pt x="3328552" y="1360484"/>
                  <a:pt x="3330750" y="1360369"/>
                </a:cubicBezTo>
                <a:cubicBezTo>
                  <a:pt x="3337114" y="1359559"/>
                  <a:pt x="3337634" y="1353023"/>
                  <a:pt x="3338212" y="1346081"/>
                </a:cubicBezTo>
                <a:cubicBezTo>
                  <a:pt x="3338675" y="1340297"/>
                  <a:pt x="3339196" y="1334512"/>
                  <a:pt x="3343187" y="1332199"/>
                </a:cubicBezTo>
                <a:cubicBezTo>
                  <a:pt x="3343881" y="1331736"/>
                  <a:pt x="3344691" y="1331481"/>
                  <a:pt x="3345559" y="1331447"/>
                </a:cubicBezTo>
                <a:cubicBezTo>
                  <a:pt x="3348625" y="1331447"/>
                  <a:pt x="3349319" y="1335264"/>
                  <a:pt x="3350302" y="1340528"/>
                </a:cubicBezTo>
                <a:cubicBezTo>
                  <a:pt x="3351054" y="1349777"/>
                  <a:pt x="3355334" y="1358391"/>
                  <a:pt x="3362218" y="1364591"/>
                </a:cubicBezTo>
                <a:cubicBezTo>
                  <a:pt x="3371473" y="1371533"/>
                  <a:pt x="3369043" y="1381945"/>
                  <a:pt x="3366498" y="1392762"/>
                </a:cubicBezTo>
                <a:cubicBezTo>
                  <a:pt x="3363144" y="1402612"/>
                  <a:pt x="3362912" y="1413262"/>
                  <a:pt x="3365862" y="1423246"/>
                </a:cubicBezTo>
                <a:cubicBezTo>
                  <a:pt x="3370316" y="1434814"/>
                  <a:pt x="3376563" y="1457952"/>
                  <a:pt x="3382000" y="1477561"/>
                </a:cubicBezTo>
                <a:cubicBezTo>
                  <a:pt x="3385529" y="1491930"/>
                  <a:pt x="3389810" y="1506102"/>
                  <a:pt x="3394842" y="1520019"/>
                </a:cubicBezTo>
                <a:cubicBezTo>
                  <a:pt x="3396867" y="1523721"/>
                  <a:pt x="3398486" y="1528580"/>
                  <a:pt x="3396924" y="1531183"/>
                </a:cubicBezTo>
                <a:cubicBezTo>
                  <a:pt x="3396404" y="1532160"/>
                  <a:pt x="3395305" y="1532745"/>
                  <a:pt x="3394206" y="1532687"/>
                </a:cubicBezTo>
                <a:cubicBezTo>
                  <a:pt x="3391834" y="1532687"/>
                  <a:pt x="3388422" y="1530489"/>
                  <a:pt x="3384198" y="1526208"/>
                </a:cubicBezTo>
                <a:cubicBezTo>
                  <a:pt x="3379166" y="1521043"/>
                  <a:pt x="3372399" y="1517948"/>
                  <a:pt x="3365168" y="1517532"/>
                </a:cubicBezTo>
                <a:cubicBezTo>
                  <a:pt x="3359499" y="1516843"/>
                  <a:pt x="3354351" y="1520887"/>
                  <a:pt x="3353657" y="1526561"/>
                </a:cubicBezTo>
                <a:cubicBezTo>
                  <a:pt x="3353541" y="1527249"/>
                  <a:pt x="3353541" y="1527944"/>
                  <a:pt x="3353599" y="1528638"/>
                </a:cubicBezTo>
                <a:cubicBezTo>
                  <a:pt x="3353194" y="1536013"/>
                  <a:pt x="3351517" y="1543261"/>
                  <a:pt x="3348740" y="1550098"/>
                </a:cubicBezTo>
                <a:cubicBezTo>
                  <a:pt x="3345963" y="1558254"/>
                  <a:pt x="3343303" y="1565947"/>
                  <a:pt x="3345443" y="1572715"/>
                </a:cubicBezTo>
                <a:lnTo>
                  <a:pt x="3345443" y="1573583"/>
                </a:lnTo>
                <a:cubicBezTo>
                  <a:pt x="3349203" y="1585499"/>
                  <a:pt x="3355681" y="1605629"/>
                  <a:pt x="3362796" y="1604298"/>
                </a:cubicBezTo>
                <a:lnTo>
                  <a:pt x="3363664" y="1604298"/>
                </a:lnTo>
                <a:cubicBezTo>
                  <a:pt x="3369737" y="1604298"/>
                  <a:pt x="3373497" y="1617024"/>
                  <a:pt x="3373497" y="1623965"/>
                </a:cubicBezTo>
                <a:cubicBezTo>
                  <a:pt x="3373497" y="1630907"/>
                  <a:pt x="3371183" y="1630849"/>
                  <a:pt x="3369911" y="1630849"/>
                </a:cubicBezTo>
                <a:close/>
                <a:moveTo>
                  <a:pt x="3347467" y="1608000"/>
                </a:moveTo>
                <a:cubicBezTo>
                  <a:pt x="3355161" y="1608000"/>
                  <a:pt x="3358632" y="1614189"/>
                  <a:pt x="3361640" y="1619569"/>
                </a:cubicBezTo>
                <a:cubicBezTo>
                  <a:pt x="3363086" y="1623184"/>
                  <a:pt x="3365631" y="1626273"/>
                  <a:pt x="3368870" y="1628419"/>
                </a:cubicBezTo>
                <a:cubicBezTo>
                  <a:pt x="3369217" y="1628581"/>
                  <a:pt x="3369564" y="1628679"/>
                  <a:pt x="3369911" y="1628708"/>
                </a:cubicBezTo>
                <a:cubicBezTo>
                  <a:pt x="3371299" y="1628708"/>
                  <a:pt x="3371820" y="1626106"/>
                  <a:pt x="3371820" y="1623676"/>
                </a:cubicBezTo>
                <a:cubicBezTo>
                  <a:pt x="3371820" y="1616098"/>
                  <a:pt x="3367655" y="1605571"/>
                  <a:pt x="3363780" y="1606323"/>
                </a:cubicBezTo>
                <a:lnTo>
                  <a:pt x="3362680" y="1606323"/>
                </a:lnTo>
                <a:cubicBezTo>
                  <a:pt x="3354409" y="1606323"/>
                  <a:pt x="3348509" y="1587639"/>
                  <a:pt x="3344171" y="1573988"/>
                </a:cubicBezTo>
                <a:lnTo>
                  <a:pt x="3343881" y="1573120"/>
                </a:lnTo>
                <a:cubicBezTo>
                  <a:pt x="3341567" y="1565600"/>
                  <a:pt x="3344344" y="1557560"/>
                  <a:pt x="3347236" y="1549057"/>
                </a:cubicBezTo>
                <a:cubicBezTo>
                  <a:pt x="3349955" y="1542463"/>
                  <a:pt x="3351575" y="1535463"/>
                  <a:pt x="3351979" y="1528349"/>
                </a:cubicBezTo>
                <a:cubicBezTo>
                  <a:pt x="3351459" y="1521465"/>
                  <a:pt x="3356665" y="1515478"/>
                  <a:pt x="3363548" y="1514969"/>
                </a:cubicBezTo>
                <a:cubicBezTo>
                  <a:pt x="3364184" y="1514917"/>
                  <a:pt x="3364879" y="1514923"/>
                  <a:pt x="3365573" y="1514987"/>
                </a:cubicBezTo>
                <a:cubicBezTo>
                  <a:pt x="3373381" y="1515368"/>
                  <a:pt x="3380728" y="1518694"/>
                  <a:pt x="3386166" y="1524300"/>
                </a:cubicBezTo>
                <a:cubicBezTo>
                  <a:pt x="3391429" y="1529563"/>
                  <a:pt x="3393859" y="1530084"/>
                  <a:pt x="3394611" y="1530084"/>
                </a:cubicBezTo>
                <a:cubicBezTo>
                  <a:pt x="3394958" y="1530113"/>
                  <a:pt x="3395247" y="1529957"/>
                  <a:pt x="3395420" y="1529679"/>
                </a:cubicBezTo>
                <a:cubicBezTo>
                  <a:pt x="3395883" y="1526544"/>
                  <a:pt x="3395131" y="1523339"/>
                  <a:pt x="3393280" y="1520771"/>
                </a:cubicBezTo>
                <a:cubicBezTo>
                  <a:pt x="3388074" y="1506715"/>
                  <a:pt x="3383736" y="1492364"/>
                  <a:pt x="3380265" y="1477793"/>
                </a:cubicBezTo>
                <a:cubicBezTo>
                  <a:pt x="3374481" y="1457952"/>
                  <a:pt x="3368696" y="1435393"/>
                  <a:pt x="3364127" y="1423708"/>
                </a:cubicBezTo>
                <a:cubicBezTo>
                  <a:pt x="3361061" y="1413296"/>
                  <a:pt x="3361234" y="1402190"/>
                  <a:pt x="3364705" y="1391894"/>
                </a:cubicBezTo>
                <a:cubicBezTo>
                  <a:pt x="3367308" y="1380846"/>
                  <a:pt x="3369333" y="1372053"/>
                  <a:pt x="3361292" y="1366037"/>
                </a:cubicBezTo>
                <a:cubicBezTo>
                  <a:pt x="3353946" y="1359501"/>
                  <a:pt x="3349377" y="1350391"/>
                  <a:pt x="3348509" y="1340586"/>
                </a:cubicBezTo>
                <a:cubicBezTo>
                  <a:pt x="3347815" y="1337000"/>
                  <a:pt x="3347121" y="1333355"/>
                  <a:pt x="3345963" y="1333355"/>
                </a:cubicBezTo>
                <a:cubicBezTo>
                  <a:pt x="3345559" y="1333390"/>
                  <a:pt x="3345153" y="1333552"/>
                  <a:pt x="3344807" y="1333818"/>
                </a:cubicBezTo>
                <a:cubicBezTo>
                  <a:pt x="3341741" y="1335612"/>
                  <a:pt x="3341336" y="1340586"/>
                  <a:pt x="3340873" y="1345908"/>
                </a:cubicBezTo>
                <a:cubicBezTo>
                  <a:pt x="3340295" y="1353080"/>
                  <a:pt x="3339601" y="1361236"/>
                  <a:pt x="3331444" y="1362220"/>
                </a:cubicBezTo>
                <a:cubicBezTo>
                  <a:pt x="3329767" y="1362243"/>
                  <a:pt x="3328148" y="1362925"/>
                  <a:pt x="3326933" y="1364129"/>
                </a:cubicBezTo>
                <a:cubicBezTo>
                  <a:pt x="3325718" y="1365806"/>
                  <a:pt x="3326239" y="1368814"/>
                  <a:pt x="3326933" y="1372632"/>
                </a:cubicBezTo>
                <a:cubicBezTo>
                  <a:pt x="3328437" y="1378786"/>
                  <a:pt x="3328437" y="1385219"/>
                  <a:pt x="3326933" y="1391373"/>
                </a:cubicBezTo>
                <a:cubicBezTo>
                  <a:pt x="3321149" y="1409884"/>
                  <a:pt x="3332312" y="1436839"/>
                  <a:pt x="3335783" y="1444648"/>
                </a:cubicBezTo>
                <a:cubicBezTo>
                  <a:pt x="3339254" y="1452457"/>
                  <a:pt x="3336940" y="1474727"/>
                  <a:pt x="3334626" y="1498559"/>
                </a:cubicBezTo>
                <a:cubicBezTo>
                  <a:pt x="3332486" y="1520655"/>
                  <a:pt x="3330230" y="1543446"/>
                  <a:pt x="3333354" y="1549635"/>
                </a:cubicBezTo>
                <a:cubicBezTo>
                  <a:pt x="3336940" y="1556808"/>
                  <a:pt x="3333816" y="1575723"/>
                  <a:pt x="3330808" y="1594060"/>
                </a:cubicBezTo>
                <a:cubicBezTo>
                  <a:pt x="3328552" y="1607827"/>
                  <a:pt x="3326007" y="1623387"/>
                  <a:pt x="3328321" y="1626106"/>
                </a:cubicBezTo>
                <a:cubicBezTo>
                  <a:pt x="3330635" y="1628824"/>
                  <a:pt x="3331040" y="1628535"/>
                  <a:pt x="3331271" y="1628535"/>
                </a:cubicBezTo>
                <a:cubicBezTo>
                  <a:pt x="3331502" y="1628535"/>
                  <a:pt x="3332775" y="1625469"/>
                  <a:pt x="3333354" y="1623271"/>
                </a:cubicBezTo>
                <a:cubicBezTo>
                  <a:pt x="3334742" y="1617487"/>
                  <a:pt x="3336882" y="1609331"/>
                  <a:pt x="3344923" y="1607942"/>
                </a:cubicBezTo>
                <a:cubicBezTo>
                  <a:pt x="3345790" y="1607838"/>
                  <a:pt x="3346600" y="1607780"/>
                  <a:pt x="3347467" y="1607769"/>
                </a:cubicBezTo>
                <a:close/>
                <a:moveTo>
                  <a:pt x="2288917" y="1435798"/>
                </a:moveTo>
                <a:cubicBezTo>
                  <a:pt x="2282265" y="1435798"/>
                  <a:pt x="2278216" y="1434757"/>
                  <a:pt x="2276828" y="1432674"/>
                </a:cubicBezTo>
                <a:cubicBezTo>
                  <a:pt x="2276423" y="1431992"/>
                  <a:pt x="2276423" y="1431159"/>
                  <a:pt x="2276828" y="1430476"/>
                </a:cubicBezTo>
                <a:cubicBezTo>
                  <a:pt x="2277580" y="1428220"/>
                  <a:pt x="2281571" y="1426832"/>
                  <a:pt x="2289727" y="1424171"/>
                </a:cubicBezTo>
                <a:cubicBezTo>
                  <a:pt x="2302858" y="1419891"/>
                  <a:pt x="2322583" y="1413470"/>
                  <a:pt x="2329177" y="1398893"/>
                </a:cubicBezTo>
                <a:cubicBezTo>
                  <a:pt x="2334614" y="1386746"/>
                  <a:pt x="2347687" y="1377433"/>
                  <a:pt x="2361512" y="1367541"/>
                </a:cubicBezTo>
                <a:cubicBezTo>
                  <a:pt x="2375337" y="1357650"/>
                  <a:pt x="2391648" y="1346023"/>
                  <a:pt x="2402003" y="1329654"/>
                </a:cubicBezTo>
                <a:cubicBezTo>
                  <a:pt x="2407209" y="1321440"/>
                  <a:pt x="2412010" y="1311837"/>
                  <a:pt x="2416638" y="1302582"/>
                </a:cubicBezTo>
                <a:cubicBezTo>
                  <a:pt x="2425314" y="1285229"/>
                  <a:pt x="2432139" y="1271693"/>
                  <a:pt x="2438387" y="1273660"/>
                </a:cubicBezTo>
                <a:cubicBezTo>
                  <a:pt x="2439660" y="1274007"/>
                  <a:pt x="2440585" y="1275280"/>
                  <a:pt x="2441048" y="1277420"/>
                </a:cubicBezTo>
                <a:cubicBezTo>
                  <a:pt x="2444576" y="1292864"/>
                  <a:pt x="2429074" y="1354122"/>
                  <a:pt x="2408539" y="1372516"/>
                </a:cubicBezTo>
                <a:cubicBezTo>
                  <a:pt x="2396797" y="1381580"/>
                  <a:pt x="2383608" y="1388655"/>
                  <a:pt x="2369552" y="1393456"/>
                </a:cubicBezTo>
                <a:cubicBezTo>
                  <a:pt x="2353587" y="1399934"/>
                  <a:pt x="2339878" y="1405487"/>
                  <a:pt x="2339878" y="1414048"/>
                </a:cubicBezTo>
                <a:cubicBezTo>
                  <a:pt x="2339357" y="1427873"/>
                  <a:pt x="2305924" y="1435566"/>
                  <a:pt x="2288743" y="1435566"/>
                </a:cubicBezTo>
                <a:close/>
                <a:moveTo>
                  <a:pt x="2436883" y="1275569"/>
                </a:moveTo>
                <a:cubicBezTo>
                  <a:pt x="2432313" y="1275569"/>
                  <a:pt x="2425314" y="1289799"/>
                  <a:pt x="2418315" y="1303566"/>
                </a:cubicBezTo>
                <a:cubicBezTo>
                  <a:pt x="2413860" y="1312474"/>
                  <a:pt x="2408828" y="1322597"/>
                  <a:pt x="2403565" y="1330868"/>
                </a:cubicBezTo>
                <a:cubicBezTo>
                  <a:pt x="2393037" y="1347585"/>
                  <a:pt x="2376783" y="1359154"/>
                  <a:pt x="2362495" y="1369393"/>
                </a:cubicBezTo>
                <a:cubicBezTo>
                  <a:pt x="2348207" y="1379631"/>
                  <a:pt x="2336176" y="1388192"/>
                  <a:pt x="2330912" y="1399819"/>
                </a:cubicBezTo>
                <a:cubicBezTo>
                  <a:pt x="2323971" y="1415321"/>
                  <a:pt x="2303610" y="1421915"/>
                  <a:pt x="2290421" y="1426311"/>
                </a:cubicBezTo>
                <a:cubicBezTo>
                  <a:pt x="2285273" y="1427989"/>
                  <a:pt x="2279373" y="1429898"/>
                  <a:pt x="2278852" y="1431228"/>
                </a:cubicBezTo>
                <a:cubicBezTo>
                  <a:pt x="2279662" y="1432443"/>
                  <a:pt x="2282670" y="1433542"/>
                  <a:pt x="2289149" y="1433542"/>
                </a:cubicBezTo>
                <a:cubicBezTo>
                  <a:pt x="2299734" y="1433334"/>
                  <a:pt x="2310146" y="1431477"/>
                  <a:pt x="2320153" y="1428047"/>
                </a:cubicBezTo>
                <a:cubicBezTo>
                  <a:pt x="2331317" y="1424055"/>
                  <a:pt x="2337506" y="1419023"/>
                  <a:pt x="2337506" y="1413875"/>
                </a:cubicBezTo>
                <a:cubicBezTo>
                  <a:pt x="2337506" y="1403810"/>
                  <a:pt x="2351909" y="1397968"/>
                  <a:pt x="2368569" y="1391200"/>
                </a:cubicBezTo>
                <a:cubicBezTo>
                  <a:pt x="2382394" y="1386509"/>
                  <a:pt x="2395351" y="1379573"/>
                  <a:pt x="2406919" y="1370665"/>
                </a:cubicBezTo>
                <a:cubicBezTo>
                  <a:pt x="2427570" y="1352155"/>
                  <a:pt x="2441626" y="1290724"/>
                  <a:pt x="2438734" y="1277767"/>
                </a:cubicBezTo>
                <a:cubicBezTo>
                  <a:pt x="2438734" y="1276379"/>
                  <a:pt x="2437982" y="1275743"/>
                  <a:pt x="2437635" y="1275685"/>
                </a:cubicBezTo>
                <a:close/>
                <a:moveTo>
                  <a:pt x="67176" y="1321845"/>
                </a:moveTo>
                <a:cubicBezTo>
                  <a:pt x="49476" y="1321723"/>
                  <a:pt x="31833" y="1320196"/>
                  <a:pt x="14364" y="1317275"/>
                </a:cubicBezTo>
                <a:cubicBezTo>
                  <a:pt x="11993" y="1316234"/>
                  <a:pt x="5398" y="1313920"/>
                  <a:pt x="655" y="1312184"/>
                </a:cubicBezTo>
                <a:cubicBezTo>
                  <a:pt x="53" y="1311971"/>
                  <a:pt x="-259" y="1311305"/>
                  <a:pt x="-39" y="1310704"/>
                </a:cubicBezTo>
                <a:cubicBezTo>
                  <a:pt x="-22" y="1310657"/>
                  <a:pt x="-4" y="1310611"/>
                  <a:pt x="19" y="1310565"/>
                </a:cubicBezTo>
                <a:cubicBezTo>
                  <a:pt x="1181" y="1308870"/>
                  <a:pt x="1713" y="1306822"/>
                  <a:pt x="1523" y="1304780"/>
                </a:cubicBezTo>
                <a:cubicBezTo>
                  <a:pt x="1395" y="1303699"/>
                  <a:pt x="1754" y="1302617"/>
                  <a:pt x="2506" y="1301830"/>
                </a:cubicBezTo>
                <a:cubicBezTo>
                  <a:pt x="5687" y="1299042"/>
                  <a:pt x="9852" y="1297573"/>
                  <a:pt x="14075" y="1297723"/>
                </a:cubicBezTo>
                <a:cubicBezTo>
                  <a:pt x="19165" y="1297723"/>
                  <a:pt x="22231" y="1299864"/>
                  <a:pt x="22231" y="1303508"/>
                </a:cubicBezTo>
                <a:cubicBezTo>
                  <a:pt x="22289" y="1304995"/>
                  <a:pt x="23099" y="1306348"/>
                  <a:pt x="24429" y="1307036"/>
                </a:cubicBezTo>
                <a:cubicBezTo>
                  <a:pt x="25991" y="1307892"/>
                  <a:pt x="27726" y="1308326"/>
                  <a:pt x="29519" y="1308309"/>
                </a:cubicBezTo>
                <a:cubicBezTo>
                  <a:pt x="31139" y="1308506"/>
                  <a:pt x="32701" y="1307950"/>
                  <a:pt x="33858" y="1306805"/>
                </a:cubicBezTo>
                <a:cubicBezTo>
                  <a:pt x="34263" y="1305995"/>
                  <a:pt x="33858" y="1304954"/>
                  <a:pt x="33106" y="1304202"/>
                </a:cubicBezTo>
                <a:cubicBezTo>
                  <a:pt x="32122" y="1303022"/>
                  <a:pt x="31659" y="1301460"/>
                  <a:pt x="31891" y="1299921"/>
                </a:cubicBezTo>
                <a:cubicBezTo>
                  <a:pt x="32411" y="1297376"/>
                  <a:pt x="35130" y="1295815"/>
                  <a:pt x="37676" y="1294137"/>
                </a:cubicBezTo>
                <a:cubicBezTo>
                  <a:pt x="41609" y="1291881"/>
                  <a:pt x="42765" y="1290782"/>
                  <a:pt x="41782" y="1289047"/>
                </a:cubicBezTo>
                <a:cubicBezTo>
                  <a:pt x="40857" y="1287450"/>
                  <a:pt x="39526" y="1286143"/>
                  <a:pt x="37907" y="1285287"/>
                </a:cubicBezTo>
                <a:cubicBezTo>
                  <a:pt x="37502" y="1285044"/>
                  <a:pt x="37271" y="1284547"/>
                  <a:pt x="37386" y="1284072"/>
                </a:cubicBezTo>
                <a:cubicBezTo>
                  <a:pt x="37502" y="1283586"/>
                  <a:pt x="37907" y="1283239"/>
                  <a:pt x="38427" y="1283204"/>
                </a:cubicBezTo>
                <a:lnTo>
                  <a:pt x="40915" y="1283204"/>
                </a:lnTo>
                <a:cubicBezTo>
                  <a:pt x="43344" y="1283204"/>
                  <a:pt x="45889" y="1282684"/>
                  <a:pt x="48145" y="1282684"/>
                </a:cubicBezTo>
                <a:cubicBezTo>
                  <a:pt x="51095" y="1282337"/>
                  <a:pt x="53987" y="1283361"/>
                  <a:pt x="56070" y="1285460"/>
                </a:cubicBezTo>
                <a:cubicBezTo>
                  <a:pt x="59483" y="1288943"/>
                  <a:pt x="64110" y="1291008"/>
                  <a:pt x="68969" y="1291245"/>
                </a:cubicBezTo>
                <a:cubicBezTo>
                  <a:pt x="69663" y="1291280"/>
                  <a:pt x="70357" y="1291158"/>
                  <a:pt x="70994" y="1290898"/>
                </a:cubicBezTo>
                <a:cubicBezTo>
                  <a:pt x="71688" y="1290585"/>
                  <a:pt x="72382" y="1290423"/>
                  <a:pt x="73134" y="1290435"/>
                </a:cubicBezTo>
                <a:cubicBezTo>
                  <a:pt x="78282" y="1290435"/>
                  <a:pt x="87769" y="1295872"/>
                  <a:pt x="87769" y="1300963"/>
                </a:cubicBezTo>
                <a:cubicBezTo>
                  <a:pt x="87769" y="1302525"/>
                  <a:pt x="87769" y="1304954"/>
                  <a:pt x="87190" y="1307499"/>
                </a:cubicBezTo>
                <a:cubicBezTo>
                  <a:pt x="86554" y="1311224"/>
                  <a:pt x="86380" y="1315013"/>
                  <a:pt x="86669" y="1318779"/>
                </a:cubicBezTo>
                <a:cubicBezTo>
                  <a:pt x="86843" y="1319068"/>
                  <a:pt x="86843" y="1319415"/>
                  <a:pt x="86669" y="1319704"/>
                </a:cubicBezTo>
                <a:cubicBezTo>
                  <a:pt x="86496" y="1319982"/>
                  <a:pt x="86207" y="1320179"/>
                  <a:pt x="85917" y="1320225"/>
                </a:cubicBezTo>
                <a:cubicBezTo>
                  <a:pt x="79670" y="1321168"/>
                  <a:pt x="73307" y="1321578"/>
                  <a:pt x="67002" y="1321440"/>
                </a:cubicBezTo>
                <a:close/>
                <a:moveTo>
                  <a:pt x="2506" y="1310854"/>
                </a:moveTo>
                <a:cubicBezTo>
                  <a:pt x="7191" y="1312532"/>
                  <a:pt x="12860" y="1314556"/>
                  <a:pt x="15116" y="1315482"/>
                </a:cubicBezTo>
                <a:cubicBezTo>
                  <a:pt x="32354" y="1318212"/>
                  <a:pt x="49765" y="1319583"/>
                  <a:pt x="67176" y="1319589"/>
                </a:cubicBezTo>
                <a:cubicBezTo>
                  <a:pt x="72960" y="1319675"/>
                  <a:pt x="78803" y="1319346"/>
                  <a:pt x="84529" y="1318605"/>
                </a:cubicBezTo>
                <a:cubicBezTo>
                  <a:pt x="84413" y="1314932"/>
                  <a:pt x="84645" y="1311253"/>
                  <a:pt x="85165" y="1307615"/>
                </a:cubicBezTo>
                <a:cubicBezTo>
                  <a:pt x="85165" y="1305127"/>
                  <a:pt x="85744" y="1302814"/>
                  <a:pt x="85744" y="1301368"/>
                </a:cubicBezTo>
                <a:cubicBezTo>
                  <a:pt x="85744" y="1298070"/>
                  <a:pt x="77646" y="1293096"/>
                  <a:pt x="73365" y="1293096"/>
                </a:cubicBezTo>
                <a:cubicBezTo>
                  <a:pt x="72960" y="1293027"/>
                  <a:pt x="72613" y="1293027"/>
                  <a:pt x="72208" y="1293096"/>
                </a:cubicBezTo>
                <a:cubicBezTo>
                  <a:pt x="71283" y="1293524"/>
                  <a:pt x="70242" y="1293726"/>
                  <a:pt x="69200" y="1293674"/>
                </a:cubicBezTo>
                <a:cubicBezTo>
                  <a:pt x="63532" y="1293374"/>
                  <a:pt x="58268" y="1290863"/>
                  <a:pt x="54450" y="1286675"/>
                </a:cubicBezTo>
                <a:cubicBezTo>
                  <a:pt x="53583" y="1285460"/>
                  <a:pt x="51616" y="1284882"/>
                  <a:pt x="48666" y="1284882"/>
                </a:cubicBezTo>
                <a:cubicBezTo>
                  <a:pt x="46641" y="1284882"/>
                  <a:pt x="44327" y="1284882"/>
                  <a:pt x="42071" y="1285345"/>
                </a:cubicBezTo>
                <a:cubicBezTo>
                  <a:pt x="42939" y="1286126"/>
                  <a:pt x="43691" y="1287069"/>
                  <a:pt x="44270" y="1288121"/>
                </a:cubicBezTo>
                <a:cubicBezTo>
                  <a:pt x="46526" y="1292112"/>
                  <a:pt x="42534" y="1294426"/>
                  <a:pt x="39295" y="1296277"/>
                </a:cubicBezTo>
                <a:cubicBezTo>
                  <a:pt x="37097" y="1297550"/>
                  <a:pt x="34841" y="1298880"/>
                  <a:pt x="34494" y="1300384"/>
                </a:cubicBezTo>
                <a:cubicBezTo>
                  <a:pt x="34436" y="1301316"/>
                  <a:pt x="34725" y="1302241"/>
                  <a:pt x="35362" y="1302929"/>
                </a:cubicBezTo>
                <a:cubicBezTo>
                  <a:pt x="36634" y="1304237"/>
                  <a:pt x="36981" y="1306169"/>
                  <a:pt x="36287" y="1307846"/>
                </a:cubicBezTo>
                <a:cubicBezTo>
                  <a:pt x="34841" y="1309859"/>
                  <a:pt x="32411" y="1310924"/>
                  <a:pt x="29924" y="1310623"/>
                </a:cubicBezTo>
                <a:cubicBezTo>
                  <a:pt x="27726" y="1310646"/>
                  <a:pt x="25586" y="1310085"/>
                  <a:pt x="23677" y="1309003"/>
                </a:cubicBezTo>
                <a:cubicBezTo>
                  <a:pt x="21653" y="1307939"/>
                  <a:pt x="20380" y="1305845"/>
                  <a:pt x="20380" y="1303566"/>
                </a:cubicBezTo>
                <a:cubicBezTo>
                  <a:pt x="20380" y="1300500"/>
                  <a:pt x="16273" y="1300153"/>
                  <a:pt x="14595" y="1300153"/>
                </a:cubicBezTo>
                <a:cubicBezTo>
                  <a:pt x="11009" y="1300014"/>
                  <a:pt x="7481" y="1301182"/>
                  <a:pt x="4646" y="1303450"/>
                </a:cubicBezTo>
                <a:cubicBezTo>
                  <a:pt x="4299" y="1303733"/>
                  <a:pt x="4126" y="1304167"/>
                  <a:pt x="4183" y="1304607"/>
                </a:cubicBezTo>
                <a:cubicBezTo>
                  <a:pt x="4183" y="1306701"/>
                  <a:pt x="3547" y="1308743"/>
                  <a:pt x="2332" y="1310449"/>
                </a:cubicBezTo>
                <a:close/>
                <a:moveTo>
                  <a:pt x="806541" y="712339"/>
                </a:moveTo>
                <a:lnTo>
                  <a:pt x="806541" y="712339"/>
                </a:lnTo>
                <a:cubicBezTo>
                  <a:pt x="800179" y="712114"/>
                  <a:pt x="794220" y="709464"/>
                  <a:pt x="789767" y="704935"/>
                </a:cubicBezTo>
                <a:cubicBezTo>
                  <a:pt x="784850" y="701164"/>
                  <a:pt x="782941" y="694633"/>
                  <a:pt x="785023" y="688797"/>
                </a:cubicBezTo>
                <a:cubicBezTo>
                  <a:pt x="790172" y="679368"/>
                  <a:pt x="800179" y="673624"/>
                  <a:pt x="810880" y="673931"/>
                </a:cubicBezTo>
                <a:cubicBezTo>
                  <a:pt x="813136" y="673913"/>
                  <a:pt x="815334" y="674208"/>
                  <a:pt x="817474" y="674798"/>
                </a:cubicBezTo>
                <a:cubicBezTo>
                  <a:pt x="830836" y="678384"/>
                  <a:pt x="846049" y="686367"/>
                  <a:pt x="845760" y="691573"/>
                </a:cubicBezTo>
                <a:cubicBezTo>
                  <a:pt x="845760" y="692730"/>
                  <a:pt x="844950" y="694234"/>
                  <a:pt x="841595" y="694755"/>
                </a:cubicBezTo>
                <a:cubicBezTo>
                  <a:pt x="837662" y="696102"/>
                  <a:pt x="834017" y="698248"/>
                  <a:pt x="830952" y="701060"/>
                </a:cubicBezTo>
                <a:cubicBezTo>
                  <a:pt x="824184" y="705687"/>
                  <a:pt x="815623" y="711934"/>
                  <a:pt x="806253" y="711934"/>
                </a:cubicBezTo>
                <a:close/>
                <a:moveTo>
                  <a:pt x="810880" y="676187"/>
                </a:moveTo>
                <a:cubicBezTo>
                  <a:pt x="801046" y="675943"/>
                  <a:pt x="791907" y="681126"/>
                  <a:pt x="787106" y="689664"/>
                </a:cubicBezTo>
                <a:cubicBezTo>
                  <a:pt x="785371" y="694650"/>
                  <a:pt x="787106" y="700174"/>
                  <a:pt x="791328" y="703315"/>
                </a:cubicBezTo>
                <a:cubicBezTo>
                  <a:pt x="795320" y="707475"/>
                  <a:pt x="800757" y="709904"/>
                  <a:pt x="806541" y="710083"/>
                </a:cubicBezTo>
                <a:lnTo>
                  <a:pt x="806541" y="710083"/>
                </a:lnTo>
                <a:cubicBezTo>
                  <a:pt x="815160" y="710083"/>
                  <a:pt x="823143" y="704299"/>
                  <a:pt x="829679" y="699266"/>
                </a:cubicBezTo>
                <a:cubicBezTo>
                  <a:pt x="833034" y="696212"/>
                  <a:pt x="836967" y="693904"/>
                  <a:pt x="841248" y="692499"/>
                </a:cubicBezTo>
                <a:cubicBezTo>
                  <a:pt x="842579" y="692499"/>
                  <a:pt x="843504" y="691862"/>
                  <a:pt x="843504" y="691457"/>
                </a:cubicBezTo>
                <a:cubicBezTo>
                  <a:pt x="843504" y="688681"/>
                  <a:pt x="831588" y="680930"/>
                  <a:pt x="816896" y="676938"/>
                </a:cubicBezTo>
                <a:cubicBezTo>
                  <a:pt x="814871" y="676250"/>
                  <a:pt x="812731" y="675863"/>
                  <a:pt x="810591" y="675782"/>
                </a:cubicBezTo>
                <a:close/>
                <a:moveTo>
                  <a:pt x="1026061" y="623028"/>
                </a:moveTo>
                <a:cubicBezTo>
                  <a:pt x="1013335" y="622571"/>
                  <a:pt x="1000667" y="621315"/>
                  <a:pt x="988115" y="619268"/>
                </a:cubicBezTo>
                <a:cubicBezTo>
                  <a:pt x="981174" y="618284"/>
                  <a:pt x="975100" y="617417"/>
                  <a:pt x="971398" y="617185"/>
                </a:cubicBezTo>
                <a:cubicBezTo>
                  <a:pt x="959192" y="616549"/>
                  <a:pt x="935997" y="611401"/>
                  <a:pt x="933220" y="603129"/>
                </a:cubicBezTo>
                <a:cubicBezTo>
                  <a:pt x="932584" y="601452"/>
                  <a:pt x="932642" y="598791"/>
                  <a:pt x="935997" y="595841"/>
                </a:cubicBezTo>
                <a:cubicBezTo>
                  <a:pt x="937732" y="594603"/>
                  <a:pt x="938369" y="592318"/>
                  <a:pt x="937559" y="590345"/>
                </a:cubicBezTo>
                <a:cubicBezTo>
                  <a:pt x="935187" y="584041"/>
                  <a:pt x="922924" y="577620"/>
                  <a:pt x="917371" y="577620"/>
                </a:cubicBezTo>
                <a:cubicBezTo>
                  <a:pt x="916445" y="577620"/>
                  <a:pt x="915751" y="577620"/>
                  <a:pt x="915520" y="578198"/>
                </a:cubicBezTo>
                <a:cubicBezTo>
                  <a:pt x="915289" y="578777"/>
                  <a:pt x="915520" y="579644"/>
                  <a:pt x="915983" y="580859"/>
                </a:cubicBezTo>
                <a:cubicBezTo>
                  <a:pt x="918644" y="586644"/>
                  <a:pt x="919223" y="590866"/>
                  <a:pt x="917661" y="593296"/>
                </a:cubicBezTo>
                <a:cubicBezTo>
                  <a:pt x="915578" y="596593"/>
                  <a:pt x="909967" y="595783"/>
                  <a:pt x="903778" y="591097"/>
                </a:cubicBezTo>
                <a:cubicBezTo>
                  <a:pt x="897588" y="586412"/>
                  <a:pt x="900480" y="581495"/>
                  <a:pt x="902100" y="577446"/>
                </a:cubicBezTo>
                <a:cubicBezTo>
                  <a:pt x="902968" y="575306"/>
                  <a:pt x="903778" y="573339"/>
                  <a:pt x="903200" y="572356"/>
                </a:cubicBezTo>
                <a:cubicBezTo>
                  <a:pt x="902621" y="571373"/>
                  <a:pt x="901522" y="571315"/>
                  <a:pt x="899555" y="571199"/>
                </a:cubicBezTo>
                <a:lnTo>
                  <a:pt x="893771" y="571199"/>
                </a:lnTo>
                <a:cubicBezTo>
                  <a:pt x="885325" y="571199"/>
                  <a:pt x="876418" y="570736"/>
                  <a:pt x="872484" y="565415"/>
                </a:cubicBezTo>
                <a:cubicBezTo>
                  <a:pt x="870228" y="562008"/>
                  <a:pt x="869650" y="557739"/>
                  <a:pt x="870922" y="553846"/>
                </a:cubicBezTo>
                <a:cubicBezTo>
                  <a:pt x="873236" y="543607"/>
                  <a:pt x="883417" y="543029"/>
                  <a:pt x="891573" y="542277"/>
                </a:cubicBezTo>
                <a:cubicBezTo>
                  <a:pt x="899729" y="541525"/>
                  <a:pt x="904530" y="541236"/>
                  <a:pt x="904819" y="536088"/>
                </a:cubicBezTo>
                <a:cubicBezTo>
                  <a:pt x="905282" y="527758"/>
                  <a:pt x="911355" y="526081"/>
                  <a:pt x="915751" y="524808"/>
                </a:cubicBezTo>
                <a:cubicBezTo>
                  <a:pt x="920148" y="523535"/>
                  <a:pt x="921536" y="522957"/>
                  <a:pt x="920957" y="520180"/>
                </a:cubicBezTo>
                <a:cubicBezTo>
                  <a:pt x="920379" y="517404"/>
                  <a:pt x="915925" y="512892"/>
                  <a:pt x="912339" y="509768"/>
                </a:cubicBezTo>
                <a:cubicBezTo>
                  <a:pt x="908752" y="506645"/>
                  <a:pt x="906150" y="504389"/>
                  <a:pt x="906902" y="502307"/>
                </a:cubicBezTo>
                <a:cubicBezTo>
                  <a:pt x="907654" y="500224"/>
                  <a:pt x="909331" y="500282"/>
                  <a:pt x="913264" y="500282"/>
                </a:cubicBezTo>
                <a:cubicBezTo>
                  <a:pt x="918991" y="500959"/>
                  <a:pt x="924775" y="499316"/>
                  <a:pt x="929287" y="495712"/>
                </a:cubicBezTo>
                <a:cubicBezTo>
                  <a:pt x="931138" y="493532"/>
                  <a:pt x="931948" y="490622"/>
                  <a:pt x="931486" y="487788"/>
                </a:cubicBezTo>
                <a:cubicBezTo>
                  <a:pt x="931370" y="486752"/>
                  <a:pt x="931659" y="485711"/>
                  <a:pt x="932295" y="484895"/>
                </a:cubicBezTo>
                <a:cubicBezTo>
                  <a:pt x="934088" y="482755"/>
                  <a:pt x="938079" y="482466"/>
                  <a:pt x="942996" y="482119"/>
                </a:cubicBezTo>
                <a:cubicBezTo>
                  <a:pt x="947913" y="481772"/>
                  <a:pt x="953003" y="481425"/>
                  <a:pt x="954970" y="479053"/>
                </a:cubicBezTo>
                <a:cubicBezTo>
                  <a:pt x="955664" y="478087"/>
                  <a:pt x="955954" y="476872"/>
                  <a:pt x="955722" y="475698"/>
                </a:cubicBezTo>
                <a:cubicBezTo>
                  <a:pt x="954738" y="468352"/>
                  <a:pt x="962085" y="464129"/>
                  <a:pt x="966018" y="462105"/>
                </a:cubicBezTo>
                <a:lnTo>
                  <a:pt x="967001" y="461584"/>
                </a:lnTo>
                <a:cubicBezTo>
                  <a:pt x="966018" y="461526"/>
                  <a:pt x="965035" y="461526"/>
                  <a:pt x="964052" y="461584"/>
                </a:cubicBezTo>
                <a:cubicBezTo>
                  <a:pt x="955432" y="461121"/>
                  <a:pt x="954160" y="456205"/>
                  <a:pt x="953986" y="454122"/>
                </a:cubicBezTo>
                <a:cubicBezTo>
                  <a:pt x="954507" y="446915"/>
                  <a:pt x="959944" y="441038"/>
                  <a:pt x="967117" y="439950"/>
                </a:cubicBezTo>
                <a:lnTo>
                  <a:pt x="969605" y="439430"/>
                </a:lnTo>
                <a:cubicBezTo>
                  <a:pt x="977992" y="437810"/>
                  <a:pt x="988346" y="435786"/>
                  <a:pt x="990024" y="432141"/>
                </a:cubicBezTo>
                <a:cubicBezTo>
                  <a:pt x="990429" y="431268"/>
                  <a:pt x="990313" y="430256"/>
                  <a:pt x="989734" y="429481"/>
                </a:cubicBezTo>
                <a:cubicBezTo>
                  <a:pt x="987305" y="425084"/>
                  <a:pt x="991296" y="421672"/>
                  <a:pt x="994535" y="419011"/>
                </a:cubicBezTo>
                <a:cubicBezTo>
                  <a:pt x="996560" y="417275"/>
                  <a:pt x="998701" y="415482"/>
                  <a:pt x="998816" y="413863"/>
                </a:cubicBezTo>
                <a:cubicBezTo>
                  <a:pt x="998816" y="413111"/>
                  <a:pt x="998527" y="412393"/>
                  <a:pt x="997949" y="411896"/>
                </a:cubicBezTo>
                <a:cubicBezTo>
                  <a:pt x="997197" y="411138"/>
                  <a:pt x="996849" y="410051"/>
                  <a:pt x="997081" y="409004"/>
                </a:cubicBezTo>
                <a:cubicBezTo>
                  <a:pt x="997717" y="406690"/>
                  <a:pt x="1001245" y="405360"/>
                  <a:pt x="1005815" y="403624"/>
                </a:cubicBezTo>
                <a:cubicBezTo>
                  <a:pt x="1010385" y="401889"/>
                  <a:pt x="1014954" y="400211"/>
                  <a:pt x="1015418" y="397840"/>
                </a:cubicBezTo>
                <a:cubicBezTo>
                  <a:pt x="1015418" y="396856"/>
                  <a:pt x="1014954" y="395584"/>
                  <a:pt x="1013393" y="394138"/>
                </a:cubicBezTo>
                <a:cubicBezTo>
                  <a:pt x="1008534" y="390164"/>
                  <a:pt x="1006683" y="383575"/>
                  <a:pt x="1008765" y="377652"/>
                </a:cubicBezTo>
                <a:cubicBezTo>
                  <a:pt x="1009864" y="374395"/>
                  <a:pt x="1012814" y="372111"/>
                  <a:pt x="1016227" y="371868"/>
                </a:cubicBezTo>
                <a:cubicBezTo>
                  <a:pt x="1018136" y="371926"/>
                  <a:pt x="1019987" y="372683"/>
                  <a:pt x="1021375" y="374008"/>
                </a:cubicBezTo>
                <a:cubicBezTo>
                  <a:pt x="1023457" y="375842"/>
                  <a:pt x="1026177" y="376813"/>
                  <a:pt x="1028953" y="376727"/>
                </a:cubicBezTo>
                <a:cubicBezTo>
                  <a:pt x="1035894" y="376727"/>
                  <a:pt x="1042951" y="371694"/>
                  <a:pt x="1042951" y="366835"/>
                </a:cubicBezTo>
                <a:cubicBezTo>
                  <a:pt x="1042951" y="361976"/>
                  <a:pt x="1049199" y="359836"/>
                  <a:pt x="1054520" y="358332"/>
                </a:cubicBezTo>
                <a:cubicBezTo>
                  <a:pt x="1058743" y="357175"/>
                  <a:pt x="1063139" y="355960"/>
                  <a:pt x="1063718" y="353589"/>
                </a:cubicBezTo>
                <a:cubicBezTo>
                  <a:pt x="1065568" y="346300"/>
                  <a:pt x="1089400" y="336583"/>
                  <a:pt x="1100448" y="337392"/>
                </a:cubicBezTo>
                <a:cubicBezTo>
                  <a:pt x="1106407" y="337138"/>
                  <a:pt x="1112249" y="335472"/>
                  <a:pt x="1117454" y="332534"/>
                </a:cubicBezTo>
                <a:cubicBezTo>
                  <a:pt x="1122603" y="329572"/>
                  <a:pt x="1128445" y="327923"/>
                  <a:pt x="1134403" y="327732"/>
                </a:cubicBezTo>
                <a:cubicBezTo>
                  <a:pt x="1139320" y="327125"/>
                  <a:pt x="1144005" y="325315"/>
                  <a:pt x="1148054" y="322469"/>
                </a:cubicBezTo>
                <a:cubicBezTo>
                  <a:pt x="1153665" y="318720"/>
                  <a:pt x="1160086" y="316378"/>
                  <a:pt x="1166796" y="315643"/>
                </a:cubicBezTo>
                <a:cubicBezTo>
                  <a:pt x="1169804" y="315643"/>
                  <a:pt x="1172754" y="316528"/>
                  <a:pt x="1175299" y="318188"/>
                </a:cubicBezTo>
                <a:cubicBezTo>
                  <a:pt x="1180563" y="321161"/>
                  <a:pt x="1186579" y="322584"/>
                  <a:pt x="1192652" y="322295"/>
                </a:cubicBezTo>
                <a:cubicBezTo>
                  <a:pt x="1205031" y="322081"/>
                  <a:pt x="1217121" y="319010"/>
                  <a:pt x="1228111" y="313329"/>
                </a:cubicBezTo>
                <a:cubicBezTo>
                  <a:pt x="1234474" y="310414"/>
                  <a:pt x="1241473" y="309008"/>
                  <a:pt x="1248472" y="309222"/>
                </a:cubicBezTo>
                <a:cubicBezTo>
                  <a:pt x="1256918" y="309772"/>
                  <a:pt x="1265305" y="307556"/>
                  <a:pt x="1272419" y="302917"/>
                </a:cubicBezTo>
                <a:cubicBezTo>
                  <a:pt x="1292029" y="290134"/>
                  <a:pt x="1314646" y="282718"/>
                  <a:pt x="1338015" y="281399"/>
                </a:cubicBezTo>
                <a:cubicBezTo>
                  <a:pt x="1345014" y="280954"/>
                  <a:pt x="1351955" y="282845"/>
                  <a:pt x="1357798" y="286779"/>
                </a:cubicBezTo>
                <a:cubicBezTo>
                  <a:pt x="1361731" y="289197"/>
                  <a:pt x="1363756" y="293807"/>
                  <a:pt x="1362888" y="298348"/>
                </a:cubicBezTo>
                <a:cubicBezTo>
                  <a:pt x="1359880" y="311825"/>
                  <a:pt x="1329454" y="327270"/>
                  <a:pt x="1287112" y="337219"/>
                </a:cubicBezTo>
                <a:cubicBezTo>
                  <a:pt x="1234531" y="349308"/>
                  <a:pt x="1142154" y="380834"/>
                  <a:pt x="1135965" y="393906"/>
                </a:cubicBezTo>
                <a:cubicBezTo>
                  <a:pt x="1132147" y="402062"/>
                  <a:pt x="1123702" y="403566"/>
                  <a:pt x="1115546" y="404955"/>
                </a:cubicBezTo>
                <a:cubicBezTo>
                  <a:pt x="1109646" y="405279"/>
                  <a:pt x="1104035" y="407448"/>
                  <a:pt x="1099465" y="411144"/>
                </a:cubicBezTo>
                <a:cubicBezTo>
                  <a:pt x="1094028" y="415725"/>
                  <a:pt x="1087028" y="417935"/>
                  <a:pt x="1079971" y="417275"/>
                </a:cubicBezTo>
                <a:cubicBezTo>
                  <a:pt x="1077369" y="417275"/>
                  <a:pt x="1074187" y="417275"/>
                  <a:pt x="1073724" y="418143"/>
                </a:cubicBezTo>
                <a:cubicBezTo>
                  <a:pt x="1073667" y="418386"/>
                  <a:pt x="1073667" y="418652"/>
                  <a:pt x="1073724" y="418895"/>
                </a:cubicBezTo>
                <a:cubicBezTo>
                  <a:pt x="1075286" y="425009"/>
                  <a:pt x="1074303" y="431511"/>
                  <a:pt x="1071006" y="436885"/>
                </a:cubicBezTo>
                <a:cubicBezTo>
                  <a:pt x="1067824" y="442449"/>
                  <a:pt x="1062213" y="446209"/>
                  <a:pt x="1055851" y="447065"/>
                </a:cubicBezTo>
                <a:cubicBezTo>
                  <a:pt x="1048851" y="448106"/>
                  <a:pt x="1049141" y="451346"/>
                  <a:pt x="1049545" y="455453"/>
                </a:cubicBezTo>
                <a:cubicBezTo>
                  <a:pt x="1049951" y="459560"/>
                  <a:pt x="1050471" y="464708"/>
                  <a:pt x="1041274" y="465633"/>
                </a:cubicBezTo>
                <a:cubicBezTo>
                  <a:pt x="1033870" y="466385"/>
                  <a:pt x="1032886" y="469451"/>
                  <a:pt x="1031325" y="474599"/>
                </a:cubicBezTo>
                <a:cubicBezTo>
                  <a:pt x="1029300" y="482472"/>
                  <a:pt x="1024383" y="489297"/>
                  <a:pt x="1017558" y="493746"/>
                </a:cubicBezTo>
                <a:cubicBezTo>
                  <a:pt x="1008302" y="500282"/>
                  <a:pt x="1007724" y="504852"/>
                  <a:pt x="1007146" y="509248"/>
                </a:cubicBezTo>
                <a:cubicBezTo>
                  <a:pt x="1006567" y="513644"/>
                  <a:pt x="1005931" y="518908"/>
                  <a:pt x="995577" y="525271"/>
                </a:cubicBezTo>
                <a:cubicBezTo>
                  <a:pt x="990371" y="528348"/>
                  <a:pt x="986958" y="533687"/>
                  <a:pt x="986322" y="539674"/>
                </a:cubicBezTo>
                <a:cubicBezTo>
                  <a:pt x="984586" y="553557"/>
                  <a:pt x="994709" y="571199"/>
                  <a:pt x="1005468" y="582479"/>
                </a:cubicBezTo>
                <a:cubicBezTo>
                  <a:pt x="1012525" y="589495"/>
                  <a:pt x="1020276" y="595754"/>
                  <a:pt x="1028606" y="601163"/>
                </a:cubicBezTo>
                <a:cubicBezTo>
                  <a:pt x="1037224" y="606947"/>
                  <a:pt x="1043414" y="611401"/>
                  <a:pt x="1042894" y="616491"/>
                </a:cubicBezTo>
                <a:cubicBezTo>
                  <a:pt x="1042373" y="621582"/>
                  <a:pt x="1037166" y="622623"/>
                  <a:pt x="1025771" y="622623"/>
                </a:cubicBezTo>
                <a:close/>
                <a:moveTo>
                  <a:pt x="917371" y="575364"/>
                </a:moveTo>
                <a:cubicBezTo>
                  <a:pt x="923792" y="575364"/>
                  <a:pt x="936923" y="582247"/>
                  <a:pt x="939641" y="589594"/>
                </a:cubicBezTo>
                <a:cubicBezTo>
                  <a:pt x="940856" y="592428"/>
                  <a:pt x="939988" y="595725"/>
                  <a:pt x="937501" y="597576"/>
                </a:cubicBezTo>
                <a:cubicBezTo>
                  <a:pt x="934551" y="600121"/>
                  <a:pt x="935130" y="601857"/>
                  <a:pt x="935361" y="602435"/>
                </a:cubicBezTo>
                <a:cubicBezTo>
                  <a:pt x="937559" y="608914"/>
                  <a:pt x="958498" y="614004"/>
                  <a:pt x="971513" y="614929"/>
                </a:cubicBezTo>
                <a:cubicBezTo>
                  <a:pt x="975331" y="614929"/>
                  <a:pt x="981405" y="616028"/>
                  <a:pt x="988462" y="617012"/>
                </a:cubicBezTo>
                <a:cubicBezTo>
                  <a:pt x="1000899" y="619054"/>
                  <a:pt x="1013450" y="620309"/>
                  <a:pt x="1026061" y="620772"/>
                </a:cubicBezTo>
                <a:cubicBezTo>
                  <a:pt x="1035778" y="620772"/>
                  <a:pt x="1041100" y="619094"/>
                  <a:pt x="1041390" y="615971"/>
                </a:cubicBezTo>
                <a:cubicBezTo>
                  <a:pt x="1041678" y="612847"/>
                  <a:pt x="1035605" y="608046"/>
                  <a:pt x="1028027" y="602724"/>
                </a:cubicBezTo>
                <a:cubicBezTo>
                  <a:pt x="1019698" y="597223"/>
                  <a:pt x="1011946" y="590866"/>
                  <a:pt x="1004890" y="583751"/>
                </a:cubicBezTo>
                <a:cubicBezTo>
                  <a:pt x="993726" y="572182"/>
                  <a:pt x="983314" y="553730"/>
                  <a:pt x="985164" y="539096"/>
                </a:cubicBezTo>
                <a:cubicBezTo>
                  <a:pt x="985859" y="532432"/>
                  <a:pt x="989619" y="526485"/>
                  <a:pt x="995403" y="523073"/>
                </a:cubicBezTo>
                <a:cubicBezTo>
                  <a:pt x="1004658" y="517288"/>
                  <a:pt x="1005179" y="513297"/>
                  <a:pt x="1005815" y="508669"/>
                </a:cubicBezTo>
                <a:cubicBezTo>
                  <a:pt x="1006451" y="504042"/>
                  <a:pt x="1007088" y="498720"/>
                  <a:pt x="1017384" y="491605"/>
                </a:cubicBezTo>
                <a:cubicBezTo>
                  <a:pt x="1023805" y="487469"/>
                  <a:pt x="1028375" y="481031"/>
                  <a:pt x="1030225" y="473616"/>
                </a:cubicBezTo>
                <a:cubicBezTo>
                  <a:pt x="1031903" y="468236"/>
                  <a:pt x="1033291" y="464014"/>
                  <a:pt x="1042142" y="463088"/>
                </a:cubicBezTo>
                <a:cubicBezTo>
                  <a:pt x="1049083" y="462394"/>
                  <a:pt x="1048793" y="459444"/>
                  <a:pt x="1048389" y="455337"/>
                </a:cubicBezTo>
                <a:cubicBezTo>
                  <a:pt x="1047983" y="451230"/>
                  <a:pt x="1047463" y="445908"/>
                  <a:pt x="1056660" y="444520"/>
                </a:cubicBezTo>
                <a:cubicBezTo>
                  <a:pt x="1062329" y="443768"/>
                  <a:pt x="1067304" y="440407"/>
                  <a:pt x="1070138" y="435439"/>
                </a:cubicBezTo>
                <a:cubicBezTo>
                  <a:pt x="1073088" y="430649"/>
                  <a:pt x="1074013" y="424882"/>
                  <a:pt x="1072683" y="419416"/>
                </a:cubicBezTo>
                <a:cubicBezTo>
                  <a:pt x="1072220" y="418531"/>
                  <a:pt x="1072220" y="417466"/>
                  <a:pt x="1072683" y="416581"/>
                </a:cubicBezTo>
                <a:cubicBezTo>
                  <a:pt x="1073782" y="414904"/>
                  <a:pt x="1076675" y="414846"/>
                  <a:pt x="1080723" y="414730"/>
                </a:cubicBezTo>
                <a:cubicBezTo>
                  <a:pt x="1086508" y="414730"/>
                  <a:pt x="1094086" y="414325"/>
                  <a:pt x="1098597" y="409351"/>
                </a:cubicBezTo>
                <a:cubicBezTo>
                  <a:pt x="1103456" y="405203"/>
                  <a:pt x="1109588" y="402780"/>
                  <a:pt x="1115950" y="402467"/>
                </a:cubicBezTo>
                <a:cubicBezTo>
                  <a:pt x="1123933" y="401079"/>
                  <a:pt x="1131395" y="399749"/>
                  <a:pt x="1134750" y="392692"/>
                </a:cubicBezTo>
                <a:cubicBezTo>
                  <a:pt x="1141807" y="377652"/>
                  <a:pt x="1238002" y="346069"/>
                  <a:pt x="1287401" y="334847"/>
                </a:cubicBezTo>
                <a:cubicBezTo>
                  <a:pt x="1328297" y="325361"/>
                  <a:pt x="1358723" y="310148"/>
                  <a:pt x="1361500" y="297711"/>
                </a:cubicBezTo>
                <a:cubicBezTo>
                  <a:pt x="1362310" y="293575"/>
                  <a:pt x="1360169" y="289428"/>
                  <a:pt x="1356352" y="287646"/>
                </a:cubicBezTo>
                <a:cubicBezTo>
                  <a:pt x="1350915" y="284083"/>
                  <a:pt x="1344435" y="282400"/>
                  <a:pt x="1337957" y="282845"/>
                </a:cubicBezTo>
                <a:cubicBezTo>
                  <a:pt x="1315109" y="284228"/>
                  <a:pt x="1293012" y="291441"/>
                  <a:pt x="1273750" y="303785"/>
                </a:cubicBezTo>
                <a:cubicBezTo>
                  <a:pt x="1266345" y="308783"/>
                  <a:pt x="1257438" y="311183"/>
                  <a:pt x="1248530" y="310611"/>
                </a:cubicBezTo>
                <a:cubicBezTo>
                  <a:pt x="1241877" y="310356"/>
                  <a:pt x="1235226" y="311663"/>
                  <a:pt x="1229152" y="314428"/>
                </a:cubicBezTo>
                <a:cubicBezTo>
                  <a:pt x="1217815" y="320282"/>
                  <a:pt x="1205320" y="323452"/>
                  <a:pt x="1192594" y="323683"/>
                </a:cubicBezTo>
                <a:cubicBezTo>
                  <a:pt x="1186058" y="324007"/>
                  <a:pt x="1179522" y="322440"/>
                  <a:pt x="1173853" y="319171"/>
                </a:cubicBezTo>
                <a:cubicBezTo>
                  <a:pt x="1171712" y="317789"/>
                  <a:pt x="1169168" y="317066"/>
                  <a:pt x="1166622" y="317089"/>
                </a:cubicBezTo>
                <a:cubicBezTo>
                  <a:pt x="1160375" y="317847"/>
                  <a:pt x="1154417" y="320085"/>
                  <a:pt x="1149269" y="323626"/>
                </a:cubicBezTo>
                <a:cubicBezTo>
                  <a:pt x="1144988" y="326529"/>
                  <a:pt x="1140130" y="328409"/>
                  <a:pt x="1135039" y="329121"/>
                </a:cubicBezTo>
                <a:lnTo>
                  <a:pt x="1134345" y="329121"/>
                </a:lnTo>
                <a:cubicBezTo>
                  <a:pt x="1128792" y="329416"/>
                  <a:pt x="1123355" y="330978"/>
                  <a:pt x="1118496" y="333690"/>
                </a:cubicBezTo>
                <a:cubicBezTo>
                  <a:pt x="1113290" y="336571"/>
                  <a:pt x="1107563" y="338324"/>
                  <a:pt x="1101663" y="338839"/>
                </a:cubicBezTo>
                <a:lnTo>
                  <a:pt x="1100391" y="338839"/>
                </a:lnTo>
                <a:cubicBezTo>
                  <a:pt x="1089574" y="338144"/>
                  <a:pt x="1067478" y="347573"/>
                  <a:pt x="1066031" y="353357"/>
                </a:cubicBezTo>
                <a:cubicBezTo>
                  <a:pt x="1065106" y="357002"/>
                  <a:pt x="1060247" y="358274"/>
                  <a:pt x="1055272" y="359720"/>
                </a:cubicBezTo>
                <a:cubicBezTo>
                  <a:pt x="1050297" y="361166"/>
                  <a:pt x="1045034" y="362497"/>
                  <a:pt x="1045034" y="366025"/>
                </a:cubicBezTo>
                <a:cubicBezTo>
                  <a:pt x="1045034" y="372157"/>
                  <a:pt x="1036993" y="378173"/>
                  <a:pt x="1028837" y="378173"/>
                </a:cubicBezTo>
                <a:cubicBezTo>
                  <a:pt x="1025482" y="378254"/>
                  <a:pt x="1022243" y="377079"/>
                  <a:pt x="1019756" y="374876"/>
                </a:cubicBezTo>
                <a:cubicBezTo>
                  <a:pt x="1018772" y="373921"/>
                  <a:pt x="1017500" y="373348"/>
                  <a:pt x="1016112" y="373256"/>
                </a:cubicBezTo>
                <a:cubicBezTo>
                  <a:pt x="1013566" y="373551"/>
                  <a:pt x="1011484" y="375333"/>
                  <a:pt x="1010790" y="377768"/>
                </a:cubicBezTo>
                <a:cubicBezTo>
                  <a:pt x="1008996" y="382835"/>
                  <a:pt x="1010674" y="388469"/>
                  <a:pt x="1014839" y="391824"/>
                </a:cubicBezTo>
                <a:cubicBezTo>
                  <a:pt x="1016748" y="393114"/>
                  <a:pt x="1017731" y="395335"/>
                  <a:pt x="1017500" y="397608"/>
                </a:cubicBezTo>
                <a:cubicBezTo>
                  <a:pt x="1016806" y="401137"/>
                  <a:pt x="1011716" y="403104"/>
                  <a:pt x="1006451" y="405012"/>
                </a:cubicBezTo>
                <a:cubicBezTo>
                  <a:pt x="1003501" y="406111"/>
                  <a:pt x="999453" y="407615"/>
                  <a:pt x="999163" y="408830"/>
                </a:cubicBezTo>
                <a:cubicBezTo>
                  <a:pt x="999163" y="408830"/>
                  <a:pt x="999163" y="409293"/>
                  <a:pt x="999568" y="409640"/>
                </a:cubicBezTo>
                <a:cubicBezTo>
                  <a:pt x="1000493" y="410652"/>
                  <a:pt x="1001014" y="411977"/>
                  <a:pt x="1000957" y="413342"/>
                </a:cubicBezTo>
                <a:cubicBezTo>
                  <a:pt x="1000957" y="415829"/>
                  <a:pt x="998353" y="417854"/>
                  <a:pt x="995866" y="419936"/>
                </a:cubicBezTo>
                <a:cubicBezTo>
                  <a:pt x="992280" y="423002"/>
                  <a:pt x="990082" y="425027"/>
                  <a:pt x="991643" y="427630"/>
                </a:cubicBezTo>
                <a:cubicBezTo>
                  <a:pt x="992511" y="429058"/>
                  <a:pt x="992627" y="430828"/>
                  <a:pt x="991990" y="432373"/>
                </a:cubicBezTo>
                <a:cubicBezTo>
                  <a:pt x="989850" y="437000"/>
                  <a:pt x="979727" y="438967"/>
                  <a:pt x="969951" y="440934"/>
                </a:cubicBezTo>
                <a:lnTo>
                  <a:pt x="967407" y="441396"/>
                </a:lnTo>
                <a:cubicBezTo>
                  <a:pt x="961391" y="442183"/>
                  <a:pt x="956648" y="446932"/>
                  <a:pt x="955838" y="452965"/>
                </a:cubicBezTo>
                <a:cubicBezTo>
                  <a:pt x="955838" y="456147"/>
                  <a:pt x="958904" y="458056"/>
                  <a:pt x="963762" y="458345"/>
                </a:cubicBezTo>
                <a:cubicBezTo>
                  <a:pt x="968621" y="458634"/>
                  <a:pt x="969547" y="458865"/>
                  <a:pt x="969894" y="460138"/>
                </a:cubicBezTo>
                <a:cubicBezTo>
                  <a:pt x="970241" y="461411"/>
                  <a:pt x="968969" y="462105"/>
                  <a:pt x="966712" y="463377"/>
                </a:cubicBezTo>
                <a:cubicBezTo>
                  <a:pt x="963010" y="465402"/>
                  <a:pt x="956763" y="468873"/>
                  <a:pt x="957573" y="474657"/>
                </a:cubicBezTo>
                <a:cubicBezTo>
                  <a:pt x="957920" y="476439"/>
                  <a:pt x="957458" y="478278"/>
                  <a:pt x="956300" y="479689"/>
                </a:cubicBezTo>
                <a:cubicBezTo>
                  <a:pt x="953755" y="482871"/>
                  <a:pt x="948145" y="483218"/>
                  <a:pt x="942765" y="483623"/>
                </a:cubicBezTo>
                <a:cubicBezTo>
                  <a:pt x="938831" y="483912"/>
                  <a:pt x="934782" y="484201"/>
                  <a:pt x="933626" y="485590"/>
                </a:cubicBezTo>
                <a:cubicBezTo>
                  <a:pt x="933452" y="485977"/>
                  <a:pt x="933452" y="486417"/>
                  <a:pt x="933626" y="486804"/>
                </a:cubicBezTo>
                <a:cubicBezTo>
                  <a:pt x="934146" y="490275"/>
                  <a:pt x="933163" y="493809"/>
                  <a:pt x="930849" y="496464"/>
                </a:cubicBezTo>
                <a:cubicBezTo>
                  <a:pt x="925932" y="500617"/>
                  <a:pt x="919511" y="502549"/>
                  <a:pt x="913149" y="501786"/>
                </a:cubicBezTo>
                <a:cubicBezTo>
                  <a:pt x="909447" y="501786"/>
                  <a:pt x="908926" y="502364"/>
                  <a:pt x="908926" y="502422"/>
                </a:cubicBezTo>
                <a:cubicBezTo>
                  <a:pt x="908926" y="502480"/>
                  <a:pt x="911818" y="505662"/>
                  <a:pt x="913727" y="507339"/>
                </a:cubicBezTo>
                <a:cubicBezTo>
                  <a:pt x="917776" y="510867"/>
                  <a:pt x="922346" y="514801"/>
                  <a:pt x="923098" y="518908"/>
                </a:cubicBezTo>
                <a:cubicBezTo>
                  <a:pt x="923850" y="523015"/>
                  <a:pt x="919859" y="525097"/>
                  <a:pt x="916215" y="526138"/>
                </a:cubicBezTo>
                <a:cubicBezTo>
                  <a:pt x="912570" y="527180"/>
                  <a:pt x="907364" y="528626"/>
                  <a:pt x="906960" y="535336"/>
                </a:cubicBezTo>
                <a:cubicBezTo>
                  <a:pt x="906554" y="542046"/>
                  <a:pt x="898919" y="543202"/>
                  <a:pt x="891573" y="543665"/>
                </a:cubicBezTo>
                <a:cubicBezTo>
                  <a:pt x="884226" y="544128"/>
                  <a:pt x="874914" y="544649"/>
                  <a:pt x="873004" y="553267"/>
                </a:cubicBezTo>
                <a:cubicBezTo>
                  <a:pt x="871906" y="556530"/>
                  <a:pt x="872310" y="560110"/>
                  <a:pt x="874104" y="563043"/>
                </a:cubicBezTo>
                <a:cubicBezTo>
                  <a:pt x="877516" y="567439"/>
                  <a:pt x="885673" y="567671"/>
                  <a:pt x="893713" y="567844"/>
                </a:cubicBezTo>
                <a:lnTo>
                  <a:pt x="899497" y="567844"/>
                </a:lnTo>
                <a:cubicBezTo>
                  <a:pt x="902332" y="567844"/>
                  <a:pt x="904067" y="568712"/>
                  <a:pt x="904934" y="570100"/>
                </a:cubicBezTo>
                <a:cubicBezTo>
                  <a:pt x="905802" y="571488"/>
                  <a:pt x="904934" y="574496"/>
                  <a:pt x="904067" y="577157"/>
                </a:cubicBezTo>
                <a:cubicBezTo>
                  <a:pt x="902448" y="581090"/>
                  <a:pt x="900828" y="585140"/>
                  <a:pt x="904934" y="588205"/>
                </a:cubicBezTo>
                <a:cubicBezTo>
                  <a:pt x="909042" y="591271"/>
                  <a:pt x="914305" y="593006"/>
                  <a:pt x="915578" y="590982"/>
                </a:cubicBezTo>
                <a:cubicBezTo>
                  <a:pt x="916099" y="590172"/>
                  <a:pt x="916967" y="587569"/>
                  <a:pt x="913727" y="580743"/>
                </a:cubicBezTo>
                <a:cubicBezTo>
                  <a:pt x="912917" y="579228"/>
                  <a:pt x="912917" y="577400"/>
                  <a:pt x="913727" y="575884"/>
                </a:cubicBezTo>
                <a:cubicBezTo>
                  <a:pt x="914653" y="575086"/>
                  <a:pt x="915867" y="574745"/>
                  <a:pt x="917082" y="574959"/>
                </a:cubicBezTo>
                <a:close/>
                <a:moveTo>
                  <a:pt x="4400639" y="616260"/>
                </a:moveTo>
                <a:lnTo>
                  <a:pt x="4400639" y="616260"/>
                </a:lnTo>
                <a:cubicBezTo>
                  <a:pt x="4396011" y="616520"/>
                  <a:pt x="4391383" y="615369"/>
                  <a:pt x="4387392" y="612963"/>
                </a:cubicBezTo>
                <a:cubicBezTo>
                  <a:pt x="4385310" y="611453"/>
                  <a:pt x="4382822" y="610620"/>
                  <a:pt x="4380220" y="610591"/>
                </a:cubicBezTo>
                <a:cubicBezTo>
                  <a:pt x="4376807" y="610863"/>
                  <a:pt x="4373509" y="611725"/>
                  <a:pt x="4370386" y="613136"/>
                </a:cubicBezTo>
                <a:cubicBezTo>
                  <a:pt x="4366510" y="614918"/>
                  <a:pt x="4362346" y="615942"/>
                  <a:pt x="4358065" y="616144"/>
                </a:cubicBezTo>
                <a:cubicBezTo>
                  <a:pt x="4354826" y="616133"/>
                  <a:pt x="4351644" y="615340"/>
                  <a:pt x="4348752" y="613830"/>
                </a:cubicBezTo>
                <a:cubicBezTo>
                  <a:pt x="4345687" y="612812"/>
                  <a:pt x="4343893" y="609637"/>
                  <a:pt x="4344587" y="606484"/>
                </a:cubicBezTo>
                <a:cubicBezTo>
                  <a:pt x="4347133" y="595609"/>
                  <a:pt x="4378773" y="580454"/>
                  <a:pt x="4406365" y="580454"/>
                </a:cubicBezTo>
                <a:cubicBezTo>
                  <a:pt x="4409488" y="580466"/>
                  <a:pt x="4412612" y="580657"/>
                  <a:pt x="4415678" y="581033"/>
                </a:cubicBezTo>
                <a:cubicBezTo>
                  <a:pt x="4440782" y="584388"/>
                  <a:pt x="4452409" y="593238"/>
                  <a:pt x="4452641" y="600063"/>
                </a:cubicBezTo>
                <a:cubicBezTo>
                  <a:pt x="4452641" y="603360"/>
                  <a:pt x="4450095" y="605848"/>
                  <a:pt x="4445584" y="606658"/>
                </a:cubicBezTo>
                <a:cubicBezTo>
                  <a:pt x="4442576" y="607236"/>
                  <a:pt x="4438468" y="608451"/>
                  <a:pt x="4434015" y="609781"/>
                </a:cubicBezTo>
                <a:cubicBezTo>
                  <a:pt x="4423082" y="613252"/>
                  <a:pt x="4411802" y="615294"/>
                  <a:pt x="4400349" y="615855"/>
                </a:cubicBezTo>
                <a:close/>
                <a:moveTo>
                  <a:pt x="4380220" y="608335"/>
                </a:moveTo>
                <a:cubicBezTo>
                  <a:pt x="4383285" y="608352"/>
                  <a:pt x="4386236" y="609324"/>
                  <a:pt x="4388665" y="611112"/>
                </a:cubicBezTo>
                <a:cubicBezTo>
                  <a:pt x="4392309" y="613240"/>
                  <a:pt x="4396473" y="614247"/>
                  <a:pt x="4400639" y="614004"/>
                </a:cubicBezTo>
                <a:lnTo>
                  <a:pt x="4400639" y="614004"/>
                </a:lnTo>
                <a:cubicBezTo>
                  <a:pt x="4411686" y="613263"/>
                  <a:pt x="4422619" y="611106"/>
                  <a:pt x="4433089" y="607583"/>
                </a:cubicBezTo>
                <a:cubicBezTo>
                  <a:pt x="4437890" y="606253"/>
                  <a:pt x="4441997" y="605038"/>
                  <a:pt x="4445179" y="604459"/>
                </a:cubicBezTo>
                <a:cubicBezTo>
                  <a:pt x="4448360" y="603881"/>
                  <a:pt x="4450385" y="602262"/>
                  <a:pt x="4450327" y="600063"/>
                </a:cubicBezTo>
                <a:cubicBezTo>
                  <a:pt x="4450327" y="595378"/>
                  <a:pt x="4440609" y="586644"/>
                  <a:pt x="4415620" y="583289"/>
                </a:cubicBezTo>
                <a:cubicBezTo>
                  <a:pt x="4412612" y="582918"/>
                  <a:pt x="4409604" y="582722"/>
                  <a:pt x="4406596" y="582710"/>
                </a:cubicBezTo>
                <a:cubicBezTo>
                  <a:pt x="4378831" y="582710"/>
                  <a:pt x="4349157" y="597865"/>
                  <a:pt x="4347017" y="607005"/>
                </a:cubicBezTo>
                <a:cubicBezTo>
                  <a:pt x="4346554" y="609029"/>
                  <a:pt x="4347537" y="610591"/>
                  <a:pt x="4350025" y="611806"/>
                </a:cubicBezTo>
                <a:cubicBezTo>
                  <a:pt x="4352570" y="613159"/>
                  <a:pt x="4355404" y="613871"/>
                  <a:pt x="4358296" y="613888"/>
                </a:cubicBezTo>
                <a:cubicBezTo>
                  <a:pt x="4362288" y="613651"/>
                  <a:pt x="4366221" y="612691"/>
                  <a:pt x="4369865" y="611054"/>
                </a:cubicBezTo>
                <a:cubicBezTo>
                  <a:pt x="4372989" y="609417"/>
                  <a:pt x="4376402" y="608358"/>
                  <a:pt x="4379930" y="607930"/>
                </a:cubicBezTo>
                <a:close/>
                <a:moveTo>
                  <a:pt x="1644185" y="514049"/>
                </a:moveTo>
                <a:cubicBezTo>
                  <a:pt x="1639731" y="513829"/>
                  <a:pt x="1635392" y="512603"/>
                  <a:pt x="1631516" y="510463"/>
                </a:cubicBezTo>
                <a:cubicBezTo>
                  <a:pt x="1629492" y="509728"/>
                  <a:pt x="1628393" y="507622"/>
                  <a:pt x="1628856" y="505546"/>
                </a:cubicBezTo>
                <a:cubicBezTo>
                  <a:pt x="1630013" y="500687"/>
                  <a:pt x="1640020" y="494671"/>
                  <a:pt x="1647019" y="494671"/>
                </a:cubicBezTo>
                <a:cubicBezTo>
                  <a:pt x="1650490" y="494243"/>
                  <a:pt x="1653671" y="496725"/>
                  <a:pt x="1654134" y="500213"/>
                </a:cubicBezTo>
                <a:cubicBezTo>
                  <a:pt x="1654134" y="500294"/>
                  <a:pt x="1654134" y="500375"/>
                  <a:pt x="1654134" y="500455"/>
                </a:cubicBezTo>
                <a:cubicBezTo>
                  <a:pt x="1654944" y="504129"/>
                  <a:pt x="1654134" y="507964"/>
                  <a:pt x="1651878" y="510983"/>
                </a:cubicBezTo>
                <a:cubicBezTo>
                  <a:pt x="1649795" y="513002"/>
                  <a:pt x="1646903" y="513980"/>
                  <a:pt x="1644011" y="513644"/>
                </a:cubicBezTo>
                <a:close/>
                <a:moveTo>
                  <a:pt x="1647019" y="496696"/>
                </a:moveTo>
                <a:cubicBezTo>
                  <a:pt x="1640541" y="496979"/>
                  <a:pt x="1634582" y="500386"/>
                  <a:pt x="1631054" y="505835"/>
                </a:cubicBezTo>
                <a:cubicBezTo>
                  <a:pt x="1631054" y="506529"/>
                  <a:pt x="1631054" y="507397"/>
                  <a:pt x="1632558" y="508207"/>
                </a:cubicBezTo>
                <a:cubicBezTo>
                  <a:pt x="1640483" y="512198"/>
                  <a:pt x="1647251" y="512661"/>
                  <a:pt x="1649911" y="509306"/>
                </a:cubicBezTo>
                <a:cubicBezTo>
                  <a:pt x="1651647" y="506726"/>
                  <a:pt x="1652283" y="503556"/>
                  <a:pt x="1651647" y="500513"/>
                </a:cubicBezTo>
                <a:cubicBezTo>
                  <a:pt x="1651357" y="497737"/>
                  <a:pt x="1649795" y="496522"/>
                  <a:pt x="1646845" y="496522"/>
                </a:cubicBezTo>
                <a:close/>
                <a:moveTo>
                  <a:pt x="1400603" y="498547"/>
                </a:moveTo>
                <a:lnTo>
                  <a:pt x="1400603" y="498547"/>
                </a:lnTo>
                <a:cubicBezTo>
                  <a:pt x="1399099" y="498552"/>
                  <a:pt x="1397537" y="498460"/>
                  <a:pt x="1396033" y="498257"/>
                </a:cubicBezTo>
                <a:cubicBezTo>
                  <a:pt x="1391926" y="497176"/>
                  <a:pt x="1389380" y="493092"/>
                  <a:pt x="1390248" y="488945"/>
                </a:cubicBezTo>
                <a:cubicBezTo>
                  <a:pt x="1391406" y="479932"/>
                  <a:pt x="1399445" y="473436"/>
                  <a:pt x="1408527" y="474194"/>
                </a:cubicBezTo>
                <a:cubicBezTo>
                  <a:pt x="1423046" y="474194"/>
                  <a:pt x="1436292" y="478185"/>
                  <a:pt x="1439358" y="483449"/>
                </a:cubicBezTo>
                <a:cubicBezTo>
                  <a:pt x="1440226" y="484826"/>
                  <a:pt x="1440226" y="486584"/>
                  <a:pt x="1439358" y="487961"/>
                </a:cubicBezTo>
                <a:cubicBezTo>
                  <a:pt x="1435772" y="493399"/>
                  <a:pt x="1412692" y="498373"/>
                  <a:pt x="1400429" y="498373"/>
                </a:cubicBezTo>
                <a:close/>
                <a:moveTo>
                  <a:pt x="1408296" y="476450"/>
                </a:moveTo>
                <a:cubicBezTo>
                  <a:pt x="1400429" y="475692"/>
                  <a:pt x="1393372" y="481280"/>
                  <a:pt x="1392273" y="489118"/>
                </a:cubicBezTo>
                <a:cubicBezTo>
                  <a:pt x="1392273" y="492010"/>
                  <a:pt x="1393025" y="495481"/>
                  <a:pt x="1396380" y="496002"/>
                </a:cubicBezTo>
                <a:cubicBezTo>
                  <a:pt x="1397768" y="496106"/>
                  <a:pt x="1399214" y="496106"/>
                  <a:pt x="1400603" y="496002"/>
                </a:cubicBezTo>
                <a:cubicBezTo>
                  <a:pt x="1412923" y="496002"/>
                  <a:pt x="1434731" y="490911"/>
                  <a:pt x="1437218" y="486573"/>
                </a:cubicBezTo>
                <a:cubicBezTo>
                  <a:pt x="1437681" y="485890"/>
                  <a:pt x="1437681" y="484999"/>
                  <a:pt x="1437218" y="484317"/>
                </a:cubicBezTo>
                <a:cubicBezTo>
                  <a:pt x="1434731" y="480499"/>
                  <a:pt x="1423046" y="476277"/>
                  <a:pt x="1408411" y="476277"/>
                </a:cubicBezTo>
                <a:close/>
                <a:moveTo>
                  <a:pt x="3359442" y="492704"/>
                </a:moveTo>
                <a:cubicBezTo>
                  <a:pt x="3338733" y="492704"/>
                  <a:pt x="3296680" y="487788"/>
                  <a:pt x="3290028" y="478359"/>
                </a:cubicBezTo>
                <a:cubicBezTo>
                  <a:pt x="3289218" y="477081"/>
                  <a:pt x="3289218" y="475473"/>
                  <a:pt x="3290028" y="474194"/>
                </a:cubicBezTo>
                <a:cubicBezTo>
                  <a:pt x="3293557" y="467542"/>
                  <a:pt x="3310100" y="455106"/>
                  <a:pt x="3329362" y="455106"/>
                </a:cubicBezTo>
                <a:cubicBezTo>
                  <a:pt x="3331618" y="455106"/>
                  <a:pt x="3333874" y="455279"/>
                  <a:pt x="3336130" y="455626"/>
                </a:cubicBezTo>
                <a:cubicBezTo>
                  <a:pt x="3355450" y="458750"/>
                  <a:pt x="3376621" y="476103"/>
                  <a:pt x="3376621" y="485937"/>
                </a:cubicBezTo>
                <a:cubicBezTo>
                  <a:pt x="3376621" y="488916"/>
                  <a:pt x="3374365" y="491420"/>
                  <a:pt x="3371415" y="491721"/>
                </a:cubicBezTo>
                <a:cubicBezTo>
                  <a:pt x="3367424" y="492363"/>
                  <a:pt x="3363317" y="492629"/>
                  <a:pt x="3359268" y="492531"/>
                </a:cubicBezTo>
                <a:close/>
                <a:moveTo>
                  <a:pt x="3329709" y="457361"/>
                </a:moveTo>
                <a:cubicBezTo>
                  <a:pt x="3311604" y="457361"/>
                  <a:pt x="3295581" y="468930"/>
                  <a:pt x="3292399" y="475235"/>
                </a:cubicBezTo>
                <a:cubicBezTo>
                  <a:pt x="3291821" y="476334"/>
                  <a:pt x="3291821" y="476913"/>
                  <a:pt x="3291937" y="477086"/>
                </a:cubicBezTo>
                <a:cubicBezTo>
                  <a:pt x="3297375" y="484838"/>
                  <a:pt x="3336014" y="490448"/>
                  <a:pt x="3359442" y="490448"/>
                </a:cubicBezTo>
                <a:cubicBezTo>
                  <a:pt x="3363490" y="490524"/>
                  <a:pt x="3367597" y="490234"/>
                  <a:pt x="3371589" y="489581"/>
                </a:cubicBezTo>
                <a:cubicBezTo>
                  <a:pt x="3374712" y="488887"/>
                  <a:pt x="3375001" y="487209"/>
                  <a:pt x="3375001" y="485994"/>
                </a:cubicBezTo>
                <a:cubicBezTo>
                  <a:pt x="3375001" y="477896"/>
                  <a:pt x="3355450" y="461006"/>
                  <a:pt x="3336072" y="457824"/>
                </a:cubicBezTo>
                <a:cubicBezTo>
                  <a:pt x="3333932" y="457460"/>
                  <a:pt x="3331734" y="457246"/>
                  <a:pt x="3329536" y="457188"/>
                </a:cubicBezTo>
                <a:close/>
                <a:moveTo>
                  <a:pt x="3290722" y="450420"/>
                </a:moveTo>
                <a:cubicBezTo>
                  <a:pt x="3287425" y="450432"/>
                  <a:pt x="3284128" y="449923"/>
                  <a:pt x="3281004" y="448916"/>
                </a:cubicBezTo>
                <a:cubicBezTo>
                  <a:pt x="3276319" y="447354"/>
                  <a:pt x="3275625" y="445041"/>
                  <a:pt x="3275914" y="443421"/>
                </a:cubicBezTo>
                <a:cubicBezTo>
                  <a:pt x="3276840" y="437637"/>
                  <a:pt x="3291821" y="431852"/>
                  <a:pt x="3300324" y="431852"/>
                </a:cubicBezTo>
                <a:cubicBezTo>
                  <a:pt x="3307555" y="431852"/>
                  <a:pt x="3308307" y="435670"/>
                  <a:pt x="3308307" y="437290"/>
                </a:cubicBezTo>
                <a:cubicBezTo>
                  <a:pt x="3308365" y="441477"/>
                  <a:pt x="3306166" y="445376"/>
                  <a:pt x="3302522" y="447470"/>
                </a:cubicBezTo>
                <a:cubicBezTo>
                  <a:pt x="3298878" y="449489"/>
                  <a:pt x="3294713" y="450449"/>
                  <a:pt x="3290549" y="450247"/>
                </a:cubicBezTo>
                <a:close/>
                <a:moveTo>
                  <a:pt x="3300324" y="434166"/>
                </a:moveTo>
                <a:cubicBezTo>
                  <a:pt x="3291821" y="434166"/>
                  <a:pt x="3278748" y="439950"/>
                  <a:pt x="3278112" y="443768"/>
                </a:cubicBezTo>
                <a:cubicBezTo>
                  <a:pt x="3278112" y="445214"/>
                  <a:pt x="3279964" y="446198"/>
                  <a:pt x="3281756" y="446776"/>
                </a:cubicBezTo>
                <a:cubicBezTo>
                  <a:pt x="3284649" y="447725"/>
                  <a:pt x="3287657" y="448193"/>
                  <a:pt x="3290722" y="448164"/>
                </a:cubicBezTo>
                <a:cubicBezTo>
                  <a:pt x="3294482" y="448297"/>
                  <a:pt x="3298184" y="447418"/>
                  <a:pt x="3301481" y="445619"/>
                </a:cubicBezTo>
                <a:cubicBezTo>
                  <a:pt x="3304432" y="443930"/>
                  <a:pt x="3306224" y="440749"/>
                  <a:pt x="3306109" y="437347"/>
                </a:cubicBezTo>
                <a:cubicBezTo>
                  <a:pt x="3305704" y="435034"/>
                  <a:pt x="3303968" y="433992"/>
                  <a:pt x="3299920" y="433992"/>
                </a:cubicBezTo>
                <a:close/>
                <a:moveTo>
                  <a:pt x="2511849" y="442322"/>
                </a:moveTo>
                <a:cubicBezTo>
                  <a:pt x="2502767" y="442322"/>
                  <a:pt x="2495884" y="440182"/>
                  <a:pt x="2492992" y="436538"/>
                </a:cubicBezTo>
                <a:cubicBezTo>
                  <a:pt x="2492124" y="435618"/>
                  <a:pt x="2491777" y="434345"/>
                  <a:pt x="2492066" y="433125"/>
                </a:cubicBezTo>
                <a:cubicBezTo>
                  <a:pt x="2492760" y="430753"/>
                  <a:pt x="2496058" y="429481"/>
                  <a:pt x="2499875" y="427977"/>
                </a:cubicBezTo>
                <a:cubicBezTo>
                  <a:pt x="2503693" y="426473"/>
                  <a:pt x="2507742" y="424969"/>
                  <a:pt x="2509015" y="422192"/>
                </a:cubicBezTo>
                <a:cubicBezTo>
                  <a:pt x="2510923" y="418432"/>
                  <a:pt x="2519137" y="416697"/>
                  <a:pt x="2526021" y="416697"/>
                </a:cubicBezTo>
                <a:cubicBezTo>
                  <a:pt x="2531805" y="416182"/>
                  <a:pt x="2537589" y="417923"/>
                  <a:pt x="2542102" y="421556"/>
                </a:cubicBezTo>
                <a:cubicBezTo>
                  <a:pt x="2543663" y="423175"/>
                  <a:pt x="2544415" y="425391"/>
                  <a:pt x="2544242" y="427630"/>
                </a:cubicBezTo>
                <a:cubicBezTo>
                  <a:pt x="2543548" y="436595"/>
                  <a:pt x="2526831" y="442149"/>
                  <a:pt x="2511675" y="442149"/>
                </a:cubicBezTo>
                <a:close/>
                <a:moveTo>
                  <a:pt x="2526021" y="419184"/>
                </a:moveTo>
                <a:cubicBezTo>
                  <a:pt x="2518906" y="419184"/>
                  <a:pt x="2512196" y="421093"/>
                  <a:pt x="2511039" y="423407"/>
                </a:cubicBezTo>
                <a:cubicBezTo>
                  <a:pt x="2508436" y="426733"/>
                  <a:pt x="2504792" y="429093"/>
                  <a:pt x="2500685" y="430117"/>
                </a:cubicBezTo>
                <a:cubicBezTo>
                  <a:pt x="2497850" y="431216"/>
                  <a:pt x="2494900" y="432488"/>
                  <a:pt x="2494264" y="433761"/>
                </a:cubicBezTo>
                <a:cubicBezTo>
                  <a:pt x="2494264" y="434108"/>
                  <a:pt x="2494438" y="434571"/>
                  <a:pt x="2494785" y="435149"/>
                </a:cubicBezTo>
                <a:cubicBezTo>
                  <a:pt x="2499586" y="439175"/>
                  <a:pt x="2505891" y="441003"/>
                  <a:pt x="2512139" y="440182"/>
                </a:cubicBezTo>
                <a:cubicBezTo>
                  <a:pt x="2526021" y="440182"/>
                  <a:pt x="2541812" y="435091"/>
                  <a:pt x="2542275" y="427687"/>
                </a:cubicBezTo>
                <a:cubicBezTo>
                  <a:pt x="2542391" y="426085"/>
                  <a:pt x="2541812" y="424518"/>
                  <a:pt x="2540713" y="423349"/>
                </a:cubicBezTo>
                <a:cubicBezTo>
                  <a:pt x="2536549" y="420000"/>
                  <a:pt x="2531169" y="418403"/>
                  <a:pt x="2525848" y="418895"/>
                </a:cubicBezTo>
                <a:close/>
                <a:moveTo>
                  <a:pt x="3528173" y="410797"/>
                </a:moveTo>
                <a:cubicBezTo>
                  <a:pt x="3523488" y="410797"/>
                  <a:pt x="3518744" y="410797"/>
                  <a:pt x="3513885" y="410334"/>
                </a:cubicBezTo>
                <a:cubicBezTo>
                  <a:pt x="3497920" y="409362"/>
                  <a:pt x="3482476" y="404428"/>
                  <a:pt x="3468940" y="395989"/>
                </a:cubicBezTo>
                <a:cubicBezTo>
                  <a:pt x="3462578" y="391662"/>
                  <a:pt x="3455289" y="388833"/>
                  <a:pt x="3447654" y="387717"/>
                </a:cubicBezTo>
                <a:cubicBezTo>
                  <a:pt x="3445629" y="387636"/>
                  <a:pt x="3444068" y="385941"/>
                  <a:pt x="3444183" y="383934"/>
                </a:cubicBezTo>
                <a:cubicBezTo>
                  <a:pt x="3444183" y="383824"/>
                  <a:pt x="3444183" y="383714"/>
                  <a:pt x="3444183" y="383610"/>
                </a:cubicBezTo>
                <a:cubicBezTo>
                  <a:pt x="3444183" y="377421"/>
                  <a:pt x="3454595" y="364290"/>
                  <a:pt x="3462173" y="364290"/>
                </a:cubicBezTo>
                <a:cubicBezTo>
                  <a:pt x="3464313" y="364284"/>
                  <a:pt x="3466338" y="365493"/>
                  <a:pt x="3467321" y="367414"/>
                </a:cubicBezTo>
                <a:cubicBezTo>
                  <a:pt x="3472122" y="375917"/>
                  <a:pt x="3482997" y="377189"/>
                  <a:pt x="3489012" y="377189"/>
                </a:cubicBezTo>
                <a:cubicBezTo>
                  <a:pt x="3493814" y="377172"/>
                  <a:pt x="3498557" y="376449"/>
                  <a:pt x="3503127" y="375049"/>
                </a:cubicBezTo>
                <a:cubicBezTo>
                  <a:pt x="3504573" y="374592"/>
                  <a:pt x="3506019" y="374361"/>
                  <a:pt x="3507523" y="374355"/>
                </a:cubicBezTo>
                <a:cubicBezTo>
                  <a:pt x="3512208" y="374702"/>
                  <a:pt x="3516662" y="376345"/>
                  <a:pt x="3520422" y="379098"/>
                </a:cubicBezTo>
                <a:cubicBezTo>
                  <a:pt x="3523256" y="381175"/>
                  <a:pt x="3526554" y="382488"/>
                  <a:pt x="3530024" y="382916"/>
                </a:cubicBezTo>
                <a:cubicBezTo>
                  <a:pt x="3531586" y="382893"/>
                  <a:pt x="3533090" y="382436"/>
                  <a:pt x="3534363" y="381586"/>
                </a:cubicBezTo>
                <a:cubicBezTo>
                  <a:pt x="3537197" y="380110"/>
                  <a:pt x="3540436" y="379434"/>
                  <a:pt x="3543618" y="379619"/>
                </a:cubicBezTo>
                <a:cubicBezTo>
                  <a:pt x="3555476" y="379619"/>
                  <a:pt x="3573176" y="385866"/>
                  <a:pt x="3578729" y="391997"/>
                </a:cubicBezTo>
                <a:cubicBezTo>
                  <a:pt x="3579944" y="393137"/>
                  <a:pt x="3580580" y="394739"/>
                  <a:pt x="3580522" y="396394"/>
                </a:cubicBezTo>
                <a:cubicBezTo>
                  <a:pt x="3579539" y="404318"/>
                  <a:pt x="3557037" y="410508"/>
                  <a:pt x="3528000" y="410508"/>
                </a:cubicBezTo>
                <a:close/>
                <a:moveTo>
                  <a:pt x="3461884" y="366257"/>
                </a:moveTo>
                <a:cubicBezTo>
                  <a:pt x="3455752" y="366257"/>
                  <a:pt x="3446324" y="378288"/>
                  <a:pt x="3446150" y="383610"/>
                </a:cubicBezTo>
                <a:cubicBezTo>
                  <a:pt x="3446150" y="384941"/>
                  <a:pt x="3446670" y="385230"/>
                  <a:pt x="3447538" y="385345"/>
                </a:cubicBezTo>
                <a:cubicBezTo>
                  <a:pt x="3455521" y="386479"/>
                  <a:pt x="3463098" y="389406"/>
                  <a:pt x="3469750" y="393906"/>
                </a:cubicBezTo>
                <a:cubicBezTo>
                  <a:pt x="3482997" y="402224"/>
                  <a:pt x="3498152" y="407060"/>
                  <a:pt x="3513770" y="407963"/>
                </a:cubicBezTo>
                <a:cubicBezTo>
                  <a:pt x="3518513" y="407963"/>
                  <a:pt x="3523256" y="408425"/>
                  <a:pt x="3527884" y="408425"/>
                </a:cubicBezTo>
                <a:cubicBezTo>
                  <a:pt x="3556806" y="408425"/>
                  <a:pt x="3577398" y="402005"/>
                  <a:pt x="3577977" y="396047"/>
                </a:cubicBezTo>
                <a:cubicBezTo>
                  <a:pt x="3577919" y="395040"/>
                  <a:pt x="3577456" y="394091"/>
                  <a:pt x="3576762" y="393386"/>
                </a:cubicBezTo>
                <a:cubicBezTo>
                  <a:pt x="3571672" y="387601"/>
                  <a:pt x="3554434" y="381817"/>
                  <a:pt x="3543328" y="381817"/>
                </a:cubicBezTo>
                <a:cubicBezTo>
                  <a:pt x="3540552" y="381661"/>
                  <a:pt x="3537775" y="382216"/>
                  <a:pt x="3535288" y="383436"/>
                </a:cubicBezTo>
                <a:cubicBezTo>
                  <a:pt x="3533553" y="384570"/>
                  <a:pt x="3531586" y="385160"/>
                  <a:pt x="3529503" y="385114"/>
                </a:cubicBezTo>
                <a:cubicBezTo>
                  <a:pt x="3525628" y="384709"/>
                  <a:pt x="3521868" y="383275"/>
                  <a:pt x="3518744" y="380949"/>
                </a:cubicBezTo>
                <a:cubicBezTo>
                  <a:pt x="3515332" y="378497"/>
                  <a:pt x="3511341" y="376981"/>
                  <a:pt x="3507175" y="376553"/>
                </a:cubicBezTo>
                <a:cubicBezTo>
                  <a:pt x="3505903" y="376553"/>
                  <a:pt x="3504688" y="376744"/>
                  <a:pt x="3503473" y="377131"/>
                </a:cubicBezTo>
                <a:cubicBezTo>
                  <a:pt x="3498672" y="378601"/>
                  <a:pt x="3493698" y="379358"/>
                  <a:pt x="3488665" y="379387"/>
                </a:cubicBezTo>
                <a:cubicBezTo>
                  <a:pt x="3477097" y="379387"/>
                  <a:pt x="3468998" y="375512"/>
                  <a:pt x="3465007" y="368513"/>
                </a:cubicBezTo>
                <a:cubicBezTo>
                  <a:pt x="3464486" y="367211"/>
                  <a:pt x="3463272" y="366326"/>
                  <a:pt x="3461884" y="366257"/>
                </a:cubicBezTo>
                <a:close/>
                <a:moveTo>
                  <a:pt x="3231837" y="408194"/>
                </a:moveTo>
                <a:cubicBezTo>
                  <a:pt x="3228944" y="408419"/>
                  <a:pt x="3226052" y="407529"/>
                  <a:pt x="3223738" y="405707"/>
                </a:cubicBezTo>
                <a:cubicBezTo>
                  <a:pt x="3222524" y="404492"/>
                  <a:pt x="3221425" y="403335"/>
                  <a:pt x="3220384" y="402178"/>
                </a:cubicBezTo>
                <a:cubicBezTo>
                  <a:pt x="3215351" y="396324"/>
                  <a:pt x="3209162" y="391546"/>
                  <a:pt x="3202220" y="388122"/>
                </a:cubicBezTo>
                <a:cubicBezTo>
                  <a:pt x="3195626" y="384981"/>
                  <a:pt x="3192503" y="377328"/>
                  <a:pt x="3195048" y="370479"/>
                </a:cubicBezTo>
                <a:cubicBezTo>
                  <a:pt x="3199676" y="350928"/>
                  <a:pt x="3230102" y="321774"/>
                  <a:pt x="3245951" y="321774"/>
                </a:cubicBezTo>
                <a:cubicBezTo>
                  <a:pt x="3246992" y="321740"/>
                  <a:pt x="3248091" y="321896"/>
                  <a:pt x="3249074" y="322237"/>
                </a:cubicBezTo>
                <a:cubicBezTo>
                  <a:pt x="3258330" y="326379"/>
                  <a:pt x="3267006" y="331793"/>
                  <a:pt x="3274815" y="338318"/>
                </a:cubicBezTo>
                <a:cubicBezTo>
                  <a:pt x="3283781" y="345028"/>
                  <a:pt x="3293036" y="351969"/>
                  <a:pt x="3297548" y="351969"/>
                </a:cubicBezTo>
                <a:cubicBezTo>
                  <a:pt x="3298300" y="351969"/>
                  <a:pt x="3299977" y="351969"/>
                  <a:pt x="3300151" y="348267"/>
                </a:cubicBezTo>
                <a:cubicBezTo>
                  <a:pt x="3300614" y="338202"/>
                  <a:pt x="3307440" y="332476"/>
                  <a:pt x="3318951" y="332476"/>
                </a:cubicBezTo>
                <a:cubicBezTo>
                  <a:pt x="3326412" y="332690"/>
                  <a:pt x="3333700" y="334442"/>
                  <a:pt x="3340468" y="337624"/>
                </a:cubicBezTo>
                <a:cubicBezTo>
                  <a:pt x="3348335" y="340400"/>
                  <a:pt x="3356665" y="341713"/>
                  <a:pt x="3365052" y="341499"/>
                </a:cubicBezTo>
                <a:cubicBezTo>
                  <a:pt x="3376621" y="342020"/>
                  <a:pt x="3388942" y="342541"/>
                  <a:pt x="3399759" y="348961"/>
                </a:cubicBezTo>
                <a:cubicBezTo>
                  <a:pt x="3411328" y="356018"/>
                  <a:pt x="3416244" y="361166"/>
                  <a:pt x="3415955" y="365736"/>
                </a:cubicBezTo>
                <a:cubicBezTo>
                  <a:pt x="3415955" y="369033"/>
                  <a:pt x="3412890" y="371810"/>
                  <a:pt x="3406874" y="374413"/>
                </a:cubicBezTo>
                <a:cubicBezTo>
                  <a:pt x="3402246" y="376437"/>
                  <a:pt x="3402419" y="380197"/>
                  <a:pt x="3402651" y="384015"/>
                </a:cubicBezTo>
                <a:cubicBezTo>
                  <a:pt x="3402651" y="390089"/>
                  <a:pt x="3403287" y="396914"/>
                  <a:pt x="3387091" y="397955"/>
                </a:cubicBezTo>
                <a:cubicBezTo>
                  <a:pt x="3368754" y="399054"/>
                  <a:pt x="3354582" y="390089"/>
                  <a:pt x="3350302" y="381181"/>
                </a:cubicBezTo>
                <a:cubicBezTo>
                  <a:pt x="3348335" y="378051"/>
                  <a:pt x="3348509" y="374048"/>
                  <a:pt x="3350649" y="371058"/>
                </a:cubicBezTo>
                <a:cubicBezTo>
                  <a:pt x="3351632" y="370046"/>
                  <a:pt x="3351921" y="368536"/>
                  <a:pt x="3351343" y="367240"/>
                </a:cubicBezTo>
                <a:cubicBezTo>
                  <a:pt x="3349492" y="364591"/>
                  <a:pt x="3346427" y="363064"/>
                  <a:pt x="3343187" y="363191"/>
                </a:cubicBezTo>
                <a:cubicBezTo>
                  <a:pt x="3341394" y="363191"/>
                  <a:pt x="3338386" y="363654"/>
                  <a:pt x="3338097" y="367009"/>
                </a:cubicBezTo>
                <a:cubicBezTo>
                  <a:pt x="3338733" y="371636"/>
                  <a:pt x="3340295" y="376073"/>
                  <a:pt x="3342782" y="380024"/>
                </a:cubicBezTo>
                <a:cubicBezTo>
                  <a:pt x="3346079" y="386618"/>
                  <a:pt x="3349203" y="392807"/>
                  <a:pt x="3346889" y="396567"/>
                </a:cubicBezTo>
                <a:cubicBezTo>
                  <a:pt x="3345675" y="398592"/>
                  <a:pt x="3343245" y="399517"/>
                  <a:pt x="3339427" y="399517"/>
                </a:cubicBezTo>
                <a:cubicBezTo>
                  <a:pt x="3335610" y="399517"/>
                  <a:pt x="3330346" y="399228"/>
                  <a:pt x="3326065" y="398881"/>
                </a:cubicBezTo>
                <a:cubicBezTo>
                  <a:pt x="3321785" y="398534"/>
                  <a:pt x="3318141" y="398303"/>
                  <a:pt x="3314496" y="398303"/>
                </a:cubicBezTo>
                <a:cubicBezTo>
                  <a:pt x="3306514" y="397973"/>
                  <a:pt x="3298589" y="399986"/>
                  <a:pt x="3291705" y="404087"/>
                </a:cubicBezTo>
                <a:cubicBezTo>
                  <a:pt x="3289103" y="405944"/>
                  <a:pt x="3286037" y="407025"/>
                  <a:pt x="3282856" y="407211"/>
                </a:cubicBezTo>
                <a:cubicBezTo>
                  <a:pt x="3279269" y="406939"/>
                  <a:pt x="3275972" y="405250"/>
                  <a:pt x="3273658" y="402525"/>
                </a:cubicBezTo>
                <a:cubicBezTo>
                  <a:pt x="3271113" y="400153"/>
                  <a:pt x="3268915" y="398303"/>
                  <a:pt x="3265618" y="399344"/>
                </a:cubicBezTo>
                <a:lnTo>
                  <a:pt x="3261627" y="400732"/>
                </a:lnTo>
                <a:cubicBezTo>
                  <a:pt x="3252140" y="404642"/>
                  <a:pt x="3242133" y="407158"/>
                  <a:pt x="3231952" y="408194"/>
                </a:cubicBezTo>
                <a:close/>
                <a:moveTo>
                  <a:pt x="3245951" y="324030"/>
                </a:moveTo>
                <a:cubicBezTo>
                  <a:pt x="3232357" y="324030"/>
                  <a:pt x="3201932" y="351159"/>
                  <a:pt x="3197246" y="371000"/>
                </a:cubicBezTo>
                <a:cubicBezTo>
                  <a:pt x="3194990" y="376773"/>
                  <a:pt x="3197478" y="383321"/>
                  <a:pt x="3203030" y="386097"/>
                </a:cubicBezTo>
                <a:cubicBezTo>
                  <a:pt x="3210203" y="389661"/>
                  <a:pt x="3216566" y="394618"/>
                  <a:pt x="3221772" y="400674"/>
                </a:cubicBezTo>
                <a:lnTo>
                  <a:pt x="3225069" y="404087"/>
                </a:lnTo>
                <a:cubicBezTo>
                  <a:pt x="3226920" y="405516"/>
                  <a:pt x="3229292" y="406175"/>
                  <a:pt x="3231605" y="405938"/>
                </a:cubicBezTo>
                <a:cubicBezTo>
                  <a:pt x="3241555" y="404926"/>
                  <a:pt x="3251272" y="402490"/>
                  <a:pt x="3260527" y="398707"/>
                </a:cubicBezTo>
                <a:lnTo>
                  <a:pt x="3264577" y="397319"/>
                </a:lnTo>
                <a:cubicBezTo>
                  <a:pt x="3265387" y="397030"/>
                  <a:pt x="3266312" y="396874"/>
                  <a:pt x="3267179" y="396856"/>
                </a:cubicBezTo>
                <a:cubicBezTo>
                  <a:pt x="3270187" y="397169"/>
                  <a:pt x="3272964" y="398644"/>
                  <a:pt x="3274873" y="400963"/>
                </a:cubicBezTo>
                <a:cubicBezTo>
                  <a:pt x="3276782" y="403271"/>
                  <a:pt x="3279500" y="404741"/>
                  <a:pt x="3282508" y="405070"/>
                </a:cubicBezTo>
                <a:cubicBezTo>
                  <a:pt x="3285285" y="404868"/>
                  <a:pt x="3287888" y="403908"/>
                  <a:pt x="3290144" y="402294"/>
                </a:cubicBezTo>
                <a:cubicBezTo>
                  <a:pt x="3297375" y="397927"/>
                  <a:pt x="3305704" y="395757"/>
                  <a:pt x="3314149" y="396047"/>
                </a:cubicBezTo>
                <a:cubicBezTo>
                  <a:pt x="3318025" y="396047"/>
                  <a:pt x="3321959" y="396047"/>
                  <a:pt x="3326065" y="396625"/>
                </a:cubicBezTo>
                <a:cubicBezTo>
                  <a:pt x="3330172" y="397203"/>
                  <a:pt x="3334684" y="397261"/>
                  <a:pt x="3339254" y="397261"/>
                </a:cubicBezTo>
                <a:cubicBezTo>
                  <a:pt x="3342146" y="397261"/>
                  <a:pt x="3344055" y="396625"/>
                  <a:pt x="3345038" y="395410"/>
                </a:cubicBezTo>
                <a:cubicBezTo>
                  <a:pt x="3346715" y="392692"/>
                  <a:pt x="3343592" y="386502"/>
                  <a:pt x="3340873" y="381065"/>
                </a:cubicBezTo>
                <a:cubicBezTo>
                  <a:pt x="3338097" y="376767"/>
                  <a:pt x="3336420" y="371868"/>
                  <a:pt x="3335956" y="366777"/>
                </a:cubicBezTo>
                <a:cubicBezTo>
                  <a:pt x="3336304" y="363214"/>
                  <a:pt x="3339485" y="360617"/>
                  <a:pt x="3343071" y="360970"/>
                </a:cubicBezTo>
                <a:cubicBezTo>
                  <a:pt x="3343129" y="360976"/>
                  <a:pt x="3343187" y="360981"/>
                  <a:pt x="3343245" y="360993"/>
                </a:cubicBezTo>
                <a:cubicBezTo>
                  <a:pt x="3347352" y="360837"/>
                  <a:pt x="3351227" y="362861"/>
                  <a:pt x="3353425" y="366315"/>
                </a:cubicBezTo>
                <a:cubicBezTo>
                  <a:pt x="3354351" y="368391"/>
                  <a:pt x="3353946" y="370815"/>
                  <a:pt x="3352442" y="372504"/>
                </a:cubicBezTo>
                <a:cubicBezTo>
                  <a:pt x="3350938" y="374858"/>
                  <a:pt x="3350938" y="377901"/>
                  <a:pt x="3352442" y="380255"/>
                </a:cubicBezTo>
                <a:cubicBezTo>
                  <a:pt x="3356376" y="388469"/>
                  <a:pt x="3369795" y="396799"/>
                  <a:pt x="3387148" y="395757"/>
                </a:cubicBezTo>
                <a:cubicBezTo>
                  <a:pt x="3401089" y="394890"/>
                  <a:pt x="3400858" y="389973"/>
                  <a:pt x="3400569" y="384188"/>
                </a:cubicBezTo>
                <a:cubicBezTo>
                  <a:pt x="3400569" y="379908"/>
                  <a:pt x="3400048" y="375049"/>
                  <a:pt x="3406353" y="372620"/>
                </a:cubicBezTo>
                <a:cubicBezTo>
                  <a:pt x="3411386" y="370422"/>
                  <a:pt x="3413930" y="368223"/>
                  <a:pt x="3414046" y="365852"/>
                </a:cubicBezTo>
                <a:cubicBezTo>
                  <a:pt x="3414046" y="362381"/>
                  <a:pt x="3409361" y="357580"/>
                  <a:pt x="3398949" y="351217"/>
                </a:cubicBezTo>
                <a:cubicBezTo>
                  <a:pt x="3388595" y="345994"/>
                  <a:pt x="3377026" y="343524"/>
                  <a:pt x="3365457" y="344045"/>
                </a:cubicBezTo>
                <a:cubicBezTo>
                  <a:pt x="3356838" y="344247"/>
                  <a:pt x="3348219" y="342859"/>
                  <a:pt x="3340063" y="339938"/>
                </a:cubicBezTo>
                <a:cubicBezTo>
                  <a:pt x="3333585" y="336895"/>
                  <a:pt x="3326586" y="335200"/>
                  <a:pt x="3319471" y="334963"/>
                </a:cubicBezTo>
                <a:cubicBezTo>
                  <a:pt x="3312182" y="334963"/>
                  <a:pt x="3303448" y="337392"/>
                  <a:pt x="3302870" y="348672"/>
                </a:cubicBezTo>
                <a:cubicBezTo>
                  <a:pt x="3302870" y="353531"/>
                  <a:pt x="3300151" y="354457"/>
                  <a:pt x="3298069" y="354457"/>
                </a:cubicBezTo>
                <a:cubicBezTo>
                  <a:pt x="3292805" y="354457"/>
                  <a:pt x="3284070" y="347920"/>
                  <a:pt x="3273947" y="340400"/>
                </a:cubicBezTo>
                <a:cubicBezTo>
                  <a:pt x="3266370" y="333997"/>
                  <a:pt x="3257925" y="328681"/>
                  <a:pt x="3248901" y="324609"/>
                </a:cubicBezTo>
                <a:cubicBezTo>
                  <a:pt x="3247975" y="324239"/>
                  <a:pt x="3247050" y="324042"/>
                  <a:pt x="3246066" y="324030"/>
                </a:cubicBezTo>
                <a:close/>
                <a:moveTo>
                  <a:pt x="2169295" y="223497"/>
                </a:moveTo>
                <a:lnTo>
                  <a:pt x="2169295" y="223497"/>
                </a:lnTo>
                <a:cubicBezTo>
                  <a:pt x="2166172" y="223676"/>
                  <a:pt x="2163106" y="223057"/>
                  <a:pt x="2160271" y="221704"/>
                </a:cubicBezTo>
                <a:cubicBezTo>
                  <a:pt x="2158594" y="220946"/>
                  <a:pt x="2157321" y="219413"/>
                  <a:pt x="2156975" y="217597"/>
                </a:cubicBezTo>
                <a:cubicBezTo>
                  <a:pt x="2156511" y="214126"/>
                  <a:pt x="2160156" y="210424"/>
                  <a:pt x="2164841" y="205681"/>
                </a:cubicBezTo>
                <a:cubicBezTo>
                  <a:pt x="2171030" y="199434"/>
                  <a:pt x="2178724" y="191625"/>
                  <a:pt x="2179071" y="181907"/>
                </a:cubicBezTo>
                <a:cubicBezTo>
                  <a:pt x="2179534" y="170338"/>
                  <a:pt x="2186070" y="168892"/>
                  <a:pt x="2192375" y="168892"/>
                </a:cubicBezTo>
                <a:lnTo>
                  <a:pt x="2195325" y="168892"/>
                </a:lnTo>
                <a:cubicBezTo>
                  <a:pt x="2196829" y="168892"/>
                  <a:pt x="2198391" y="168892"/>
                  <a:pt x="2198970" y="168198"/>
                </a:cubicBezTo>
                <a:cubicBezTo>
                  <a:pt x="2199548" y="167504"/>
                  <a:pt x="2199374" y="167793"/>
                  <a:pt x="2198970" y="166694"/>
                </a:cubicBezTo>
                <a:cubicBezTo>
                  <a:pt x="2198970" y="162194"/>
                  <a:pt x="2200762" y="157878"/>
                  <a:pt x="2203944" y="154720"/>
                </a:cubicBezTo>
                <a:cubicBezTo>
                  <a:pt x="2206663" y="152059"/>
                  <a:pt x="2208340" y="148537"/>
                  <a:pt x="2208687" y="144771"/>
                </a:cubicBezTo>
                <a:cubicBezTo>
                  <a:pt x="2208687" y="139391"/>
                  <a:pt x="2216207" y="138987"/>
                  <a:pt x="2223495" y="138987"/>
                </a:cubicBezTo>
                <a:cubicBezTo>
                  <a:pt x="2230784" y="138987"/>
                  <a:pt x="2237378" y="138408"/>
                  <a:pt x="2237725" y="134417"/>
                </a:cubicBezTo>
                <a:cubicBezTo>
                  <a:pt x="2237725" y="131582"/>
                  <a:pt x="2240270" y="129905"/>
                  <a:pt x="2243857" y="129905"/>
                </a:cubicBezTo>
                <a:cubicBezTo>
                  <a:pt x="2250508" y="130107"/>
                  <a:pt x="2256582" y="133890"/>
                  <a:pt x="2259648" y="139796"/>
                </a:cubicBezTo>
                <a:cubicBezTo>
                  <a:pt x="2261441" y="144586"/>
                  <a:pt x="2259879" y="150000"/>
                  <a:pt x="2255830" y="153101"/>
                </a:cubicBezTo>
                <a:cubicBezTo>
                  <a:pt x="2247674" y="161199"/>
                  <a:pt x="2245997" y="167388"/>
                  <a:pt x="2246806" y="169355"/>
                </a:cubicBezTo>
                <a:cubicBezTo>
                  <a:pt x="2246806" y="169760"/>
                  <a:pt x="2247154" y="169760"/>
                  <a:pt x="2247269" y="169760"/>
                </a:cubicBezTo>
                <a:cubicBezTo>
                  <a:pt x="2247385" y="169760"/>
                  <a:pt x="2249236" y="169008"/>
                  <a:pt x="2250798" y="166289"/>
                </a:cubicBezTo>
                <a:cubicBezTo>
                  <a:pt x="2257392" y="157763"/>
                  <a:pt x="2267515" y="152696"/>
                  <a:pt x="2278332" y="152522"/>
                </a:cubicBezTo>
                <a:cubicBezTo>
                  <a:pt x="2283596" y="152378"/>
                  <a:pt x="2288628" y="154483"/>
                  <a:pt x="2292214" y="158307"/>
                </a:cubicBezTo>
                <a:cubicBezTo>
                  <a:pt x="2297594" y="162882"/>
                  <a:pt x="2303956" y="166150"/>
                  <a:pt x="2310840" y="167851"/>
                </a:cubicBezTo>
                <a:cubicBezTo>
                  <a:pt x="2320500" y="171206"/>
                  <a:pt x="2329582" y="174329"/>
                  <a:pt x="2328193" y="182717"/>
                </a:cubicBezTo>
                <a:cubicBezTo>
                  <a:pt x="2325533" y="196773"/>
                  <a:pt x="2257681" y="215110"/>
                  <a:pt x="2234139" y="215110"/>
                </a:cubicBezTo>
                <a:lnTo>
                  <a:pt x="2230552" y="215110"/>
                </a:lnTo>
                <a:cubicBezTo>
                  <a:pt x="2218983" y="215630"/>
                  <a:pt x="2207530" y="217256"/>
                  <a:pt x="2196308" y="219969"/>
                </a:cubicBezTo>
                <a:cubicBezTo>
                  <a:pt x="2187459" y="221929"/>
                  <a:pt x="2178435" y="223115"/>
                  <a:pt x="2169411" y="223497"/>
                </a:cubicBezTo>
                <a:close/>
                <a:moveTo>
                  <a:pt x="2192433" y="171437"/>
                </a:moveTo>
                <a:cubicBezTo>
                  <a:pt x="2187053" y="171437"/>
                  <a:pt x="2181789" y="172247"/>
                  <a:pt x="2181385" y="182312"/>
                </a:cubicBezTo>
                <a:cubicBezTo>
                  <a:pt x="2180980" y="192377"/>
                  <a:pt x="2172940" y="201053"/>
                  <a:pt x="2166461" y="207590"/>
                </a:cubicBezTo>
                <a:cubicBezTo>
                  <a:pt x="2162412" y="211697"/>
                  <a:pt x="2158941" y="215225"/>
                  <a:pt x="2159288" y="217597"/>
                </a:cubicBezTo>
                <a:cubicBezTo>
                  <a:pt x="2159288" y="218465"/>
                  <a:pt x="2160098" y="219274"/>
                  <a:pt x="2161429" y="220026"/>
                </a:cubicBezTo>
                <a:cubicBezTo>
                  <a:pt x="2163916" y="221195"/>
                  <a:pt x="2166634" y="221715"/>
                  <a:pt x="2169353" y="221530"/>
                </a:cubicBezTo>
                <a:lnTo>
                  <a:pt x="2169353" y="221530"/>
                </a:lnTo>
                <a:cubicBezTo>
                  <a:pt x="2178319" y="220969"/>
                  <a:pt x="2187285" y="219633"/>
                  <a:pt x="2196019" y="217539"/>
                </a:cubicBezTo>
                <a:cubicBezTo>
                  <a:pt x="2208051" y="214537"/>
                  <a:pt x="2220430" y="212888"/>
                  <a:pt x="2232808" y="212622"/>
                </a:cubicBezTo>
                <a:lnTo>
                  <a:pt x="2234312" y="212622"/>
                </a:lnTo>
                <a:cubicBezTo>
                  <a:pt x="2260978" y="212622"/>
                  <a:pt x="2324029" y="193129"/>
                  <a:pt x="2326111" y="182023"/>
                </a:cubicBezTo>
                <a:cubicBezTo>
                  <a:pt x="2327326" y="175602"/>
                  <a:pt x="2319517" y="172883"/>
                  <a:pt x="2310435" y="169760"/>
                </a:cubicBezTo>
                <a:cubicBezTo>
                  <a:pt x="2303204" y="167943"/>
                  <a:pt x="2296495" y="164455"/>
                  <a:pt x="2290884" y="159579"/>
                </a:cubicBezTo>
                <a:cubicBezTo>
                  <a:pt x="2287645" y="156351"/>
                  <a:pt x="2283248" y="154628"/>
                  <a:pt x="2278678" y="154836"/>
                </a:cubicBezTo>
                <a:cubicBezTo>
                  <a:pt x="2268671" y="154957"/>
                  <a:pt x="2259301" y="159591"/>
                  <a:pt x="2253112" y="167446"/>
                </a:cubicBezTo>
                <a:cubicBezTo>
                  <a:pt x="2251376" y="170396"/>
                  <a:pt x="2249410" y="172073"/>
                  <a:pt x="2247327" y="172073"/>
                </a:cubicBezTo>
                <a:cubicBezTo>
                  <a:pt x="2246170" y="172085"/>
                  <a:pt x="2245129" y="171362"/>
                  <a:pt x="2244782" y="170280"/>
                </a:cubicBezTo>
                <a:cubicBezTo>
                  <a:pt x="2243394" y="167041"/>
                  <a:pt x="2245823" y="159984"/>
                  <a:pt x="2254268" y="151539"/>
                </a:cubicBezTo>
                <a:cubicBezTo>
                  <a:pt x="2257624" y="149046"/>
                  <a:pt x="2258954" y="144673"/>
                  <a:pt x="2257624" y="140722"/>
                </a:cubicBezTo>
                <a:cubicBezTo>
                  <a:pt x="2254847" y="135695"/>
                  <a:pt x="2249641" y="132473"/>
                  <a:pt x="2243914" y="132219"/>
                </a:cubicBezTo>
                <a:cubicBezTo>
                  <a:pt x="2242237" y="132219"/>
                  <a:pt x="2240213" y="132682"/>
                  <a:pt x="2240039" y="134648"/>
                </a:cubicBezTo>
                <a:cubicBezTo>
                  <a:pt x="2239518" y="140433"/>
                  <a:pt x="2231478" y="140953"/>
                  <a:pt x="2223668" y="141300"/>
                </a:cubicBezTo>
                <a:cubicBezTo>
                  <a:pt x="2217422" y="141300"/>
                  <a:pt x="2210943" y="141821"/>
                  <a:pt x="2210943" y="145060"/>
                </a:cubicBezTo>
                <a:cubicBezTo>
                  <a:pt x="2210653" y="149410"/>
                  <a:pt x="2208861" y="153517"/>
                  <a:pt x="2205795" y="156629"/>
                </a:cubicBezTo>
                <a:cubicBezTo>
                  <a:pt x="2202960" y="159365"/>
                  <a:pt x="2201341" y="163108"/>
                  <a:pt x="2201283" y="167041"/>
                </a:cubicBezTo>
                <a:cubicBezTo>
                  <a:pt x="2201456" y="168192"/>
                  <a:pt x="2201168" y="169366"/>
                  <a:pt x="2200416" y="170280"/>
                </a:cubicBezTo>
                <a:cubicBezTo>
                  <a:pt x="2198912" y="171466"/>
                  <a:pt x="2197002" y="171987"/>
                  <a:pt x="2195094" y="171726"/>
                </a:cubicBezTo>
                <a:close/>
                <a:moveTo>
                  <a:pt x="2141472" y="172825"/>
                </a:moveTo>
                <a:cubicBezTo>
                  <a:pt x="2127242" y="171634"/>
                  <a:pt x="2113302" y="168580"/>
                  <a:pt x="2099882" y="163744"/>
                </a:cubicBezTo>
                <a:cubicBezTo>
                  <a:pt x="2089528" y="159990"/>
                  <a:pt x="2078711" y="157503"/>
                  <a:pt x="2067720" y="156340"/>
                </a:cubicBezTo>
                <a:cubicBezTo>
                  <a:pt x="2066564" y="156322"/>
                  <a:pt x="2065349" y="156438"/>
                  <a:pt x="2064192" y="156687"/>
                </a:cubicBezTo>
                <a:cubicBezTo>
                  <a:pt x="2063093" y="156924"/>
                  <a:pt x="2061994" y="157063"/>
                  <a:pt x="2060895" y="157092"/>
                </a:cubicBezTo>
                <a:cubicBezTo>
                  <a:pt x="2053317" y="157092"/>
                  <a:pt x="2048805" y="150960"/>
                  <a:pt x="2044872" y="145523"/>
                </a:cubicBezTo>
                <a:cubicBezTo>
                  <a:pt x="2042269" y="141994"/>
                  <a:pt x="2039782" y="138639"/>
                  <a:pt x="2037063" y="138119"/>
                </a:cubicBezTo>
                <a:cubicBezTo>
                  <a:pt x="2034344" y="137598"/>
                  <a:pt x="2032667" y="137483"/>
                  <a:pt x="2030642" y="137251"/>
                </a:cubicBezTo>
                <a:cubicBezTo>
                  <a:pt x="2025437" y="137378"/>
                  <a:pt x="2020346" y="135585"/>
                  <a:pt x="2016355" y="132219"/>
                </a:cubicBezTo>
                <a:cubicBezTo>
                  <a:pt x="2015256" y="131368"/>
                  <a:pt x="2014620" y="130038"/>
                  <a:pt x="2014620" y="128632"/>
                </a:cubicBezTo>
                <a:cubicBezTo>
                  <a:pt x="2014620" y="125220"/>
                  <a:pt x="2019131" y="122038"/>
                  <a:pt x="2024164" y="118336"/>
                </a:cubicBezTo>
                <a:cubicBezTo>
                  <a:pt x="2029196" y="114634"/>
                  <a:pt x="2034576" y="110643"/>
                  <a:pt x="2034576" y="107114"/>
                </a:cubicBezTo>
                <a:cubicBezTo>
                  <a:pt x="2034576" y="98264"/>
                  <a:pt x="2083107" y="87274"/>
                  <a:pt x="2101501" y="87274"/>
                </a:cubicBezTo>
                <a:cubicBezTo>
                  <a:pt x="2107807" y="87274"/>
                  <a:pt x="2111393" y="88315"/>
                  <a:pt x="2112608" y="90455"/>
                </a:cubicBezTo>
                <a:cubicBezTo>
                  <a:pt x="2116252" y="97165"/>
                  <a:pt x="2124986" y="107461"/>
                  <a:pt x="2128920" y="107461"/>
                </a:cubicBezTo>
                <a:cubicBezTo>
                  <a:pt x="2130366" y="107461"/>
                  <a:pt x="2130655" y="105090"/>
                  <a:pt x="2130655" y="103065"/>
                </a:cubicBezTo>
                <a:cubicBezTo>
                  <a:pt x="2130655" y="98496"/>
                  <a:pt x="2134993" y="95835"/>
                  <a:pt x="2142513" y="95835"/>
                </a:cubicBezTo>
                <a:cubicBezTo>
                  <a:pt x="2154082" y="95835"/>
                  <a:pt x="2169700" y="101619"/>
                  <a:pt x="2174096" y="110238"/>
                </a:cubicBezTo>
                <a:cubicBezTo>
                  <a:pt x="2176005" y="113870"/>
                  <a:pt x="2175600" y="118296"/>
                  <a:pt x="2173055" y="121518"/>
                </a:cubicBezTo>
                <a:cubicBezTo>
                  <a:pt x="2167270" y="129847"/>
                  <a:pt x="2156511" y="145407"/>
                  <a:pt x="2158305" y="149456"/>
                </a:cubicBezTo>
                <a:cubicBezTo>
                  <a:pt x="2158305" y="149803"/>
                  <a:pt x="2158883" y="150266"/>
                  <a:pt x="2160156" y="150382"/>
                </a:cubicBezTo>
                <a:cubicBezTo>
                  <a:pt x="2163279" y="150955"/>
                  <a:pt x="2165362" y="153962"/>
                  <a:pt x="2164841" y="157103"/>
                </a:cubicBezTo>
                <a:cubicBezTo>
                  <a:pt x="2164783" y="157161"/>
                  <a:pt x="2164783" y="157213"/>
                  <a:pt x="2164783" y="157265"/>
                </a:cubicBezTo>
                <a:cubicBezTo>
                  <a:pt x="2164494" y="163223"/>
                  <a:pt x="2158015" y="172536"/>
                  <a:pt x="2141530" y="172536"/>
                </a:cubicBezTo>
                <a:close/>
                <a:moveTo>
                  <a:pt x="2067836" y="153795"/>
                </a:moveTo>
                <a:cubicBezTo>
                  <a:pt x="2079058" y="154940"/>
                  <a:pt x="2090048" y="157468"/>
                  <a:pt x="2100634" y="161314"/>
                </a:cubicBezTo>
                <a:cubicBezTo>
                  <a:pt x="2113822" y="166058"/>
                  <a:pt x="2127589" y="169071"/>
                  <a:pt x="2141588" y="170280"/>
                </a:cubicBezTo>
                <a:cubicBezTo>
                  <a:pt x="2156511" y="170280"/>
                  <a:pt x="2162354" y="162240"/>
                  <a:pt x="2162643" y="156860"/>
                </a:cubicBezTo>
                <a:cubicBezTo>
                  <a:pt x="2162643" y="154894"/>
                  <a:pt x="2162123" y="152580"/>
                  <a:pt x="2160040" y="152349"/>
                </a:cubicBezTo>
                <a:cubicBezTo>
                  <a:pt x="2158479" y="152354"/>
                  <a:pt x="2157090" y="151481"/>
                  <a:pt x="2156396" y="150093"/>
                </a:cubicBezTo>
                <a:cubicBezTo>
                  <a:pt x="2154603" y="146217"/>
                  <a:pt x="2158421" y="138524"/>
                  <a:pt x="2171320" y="119898"/>
                </a:cubicBezTo>
                <a:cubicBezTo>
                  <a:pt x="2173402" y="117393"/>
                  <a:pt x="2173750" y="113853"/>
                  <a:pt x="2172188" y="110990"/>
                </a:cubicBezTo>
                <a:cubicBezTo>
                  <a:pt x="2168254" y="103470"/>
                  <a:pt x="2153330" y="97801"/>
                  <a:pt x="2142629" y="97801"/>
                </a:cubicBezTo>
                <a:cubicBezTo>
                  <a:pt x="2139737" y="97801"/>
                  <a:pt x="2133027" y="98322"/>
                  <a:pt x="2133027" y="102776"/>
                </a:cubicBezTo>
                <a:cubicBezTo>
                  <a:pt x="2133027" y="108560"/>
                  <a:pt x="2130829" y="109428"/>
                  <a:pt x="2129035" y="109428"/>
                </a:cubicBezTo>
                <a:cubicBezTo>
                  <a:pt x="2123251" y="109428"/>
                  <a:pt x="2114170" y="97570"/>
                  <a:pt x="2110699" y="91207"/>
                </a:cubicBezTo>
                <a:cubicBezTo>
                  <a:pt x="2110699" y="90744"/>
                  <a:pt x="2109021" y="89240"/>
                  <a:pt x="2101617" y="89240"/>
                </a:cubicBezTo>
                <a:cubicBezTo>
                  <a:pt x="2078479" y="89240"/>
                  <a:pt x="2036948" y="101561"/>
                  <a:pt x="2036948" y="106594"/>
                </a:cubicBezTo>
                <a:cubicBezTo>
                  <a:pt x="2036948" y="111626"/>
                  <a:pt x="2031163" y="115502"/>
                  <a:pt x="2025379" y="119609"/>
                </a:cubicBezTo>
                <a:cubicBezTo>
                  <a:pt x="2021213" y="122732"/>
                  <a:pt x="2016875" y="125914"/>
                  <a:pt x="2016760" y="128227"/>
                </a:cubicBezTo>
                <a:cubicBezTo>
                  <a:pt x="2016760" y="128922"/>
                  <a:pt x="2017107" y="129569"/>
                  <a:pt x="2017685" y="129963"/>
                </a:cubicBezTo>
                <a:cubicBezTo>
                  <a:pt x="2021329" y="132988"/>
                  <a:pt x="2025957" y="134608"/>
                  <a:pt x="2030700" y="134533"/>
                </a:cubicBezTo>
                <a:cubicBezTo>
                  <a:pt x="2032956" y="134683"/>
                  <a:pt x="2035212" y="134949"/>
                  <a:pt x="2037410" y="135342"/>
                </a:cubicBezTo>
                <a:cubicBezTo>
                  <a:pt x="2040996" y="136094"/>
                  <a:pt x="2043657" y="139796"/>
                  <a:pt x="2046549" y="143672"/>
                </a:cubicBezTo>
                <a:cubicBezTo>
                  <a:pt x="2050888" y="149456"/>
                  <a:pt x="2055631" y="155704"/>
                  <a:pt x="2063556" y="153968"/>
                </a:cubicBezTo>
                <a:cubicBezTo>
                  <a:pt x="2064944" y="153731"/>
                  <a:pt x="2066390" y="153673"/>
                  <a:pt x="2067836" y="153795"/>
                </a:cubicBezTo>
                <a:close/>
                <a:moveTo>
                  <a:pt x="1997613" y="122443"/>
                </a:moveTo>
                <a:cubicBezTo>
                  <a:pt x="1995415" y="122437"/>
                  <a:pt x="1993275" y="122165"/>
                  <a:pt x="1991135" y="121633"/>
                </a:cubicBezTo>
                <a:cubicBezTo>
                  <a:pt x="1984020" y="120361"/>
                  <a:pt x="1977657" y="116508"/>
                  <a:pt x="1973203" y="110816"/>
                </a:cubicBezTo>
                <a:cubicBezTo>
                  <a:pt x="1971525" y="108514"/>
                  <a:pt x="1969327" y="106680"/>
                  <a:pt x="1966725" y="105495"/>
                </a:cubicBezTo>
                <a:cubicBezTo>
                  <a:pt x="1963427" y="104164"/>
                  <a:pt x="1961923" y="102545"/>
                  <a:pt x="1962328" y="100694"/>
                </a:cubicBezTo>
                <a:cubicBezTo>
                  <a:pt x="1963138" y="96240"/>
                  <a:pt x="1975285" y="93579"/>
                  <a:pt x="1986507" y="93579"/>
                </a:cubicBezTo>
                <a:cubicBezTo>
                  <a:pt x="1997729" y="93579"/>
                  <a:pt x="2000679" y="91612"/>
                  <a:pt x="2000853" y="90860"/>
                </a:cubicBezTo>
                <a:cubicBezTo>
                  <a:pt x="2001026" y="90108"/>
                  <a:pt x="2000853" y="88893"/>
                  <a:pt x="1992523" y="85076"/>
                </a:cubicBezTo>
                <a:cubicBezTo>
                  <a:pt x="1982921" y="81027"/>
                  <a:pt x="1980491" y="74895"/>
                  <a:pt x="1981301" y="70846"/>
                </a:cubicBezTo>
                <a:cubicBezTo>
                  <a:pt x="1982632" y="66132"/>
                  <a:pt x="1987433" y="63286"/>
                  <a:pt x="1992234" y="64367"/>
                </a:cubicBezTo>
                <a:cubicBezTo>
                  <a:pt x="1998943" y="64795"/>
                  <a:pt x="2005133" y="60908"/>
                  <a:pt x="2007678" y="54707"/>
                </a:cubicBezTo>
                <a:cubicBezTo>
                  <a:pt x="2008372" y="51769"/>
                  <a:pt x="2006695" y="48796"/>
                  <a:pt x="2003803" y="47882"/>
                </a:cubicBezTo>
                <a:cubicBezTo>
                  <a:pt x="2000447" y="46262"/>
                  <a:pt x="1998943" y="44295"/>
                  <a:pt x="1999233" y="42097"/>
                </a:cubicBezTo>
                <a:cubicBezTo>
                  <a:pt x="2000101" y="35445"/>
                  <a:pt x="2019016" y="30528"/>
                  <a:pt x="2034749" y="27174"/>
                </a:cubicBezTo>
                <a:cubicBezTo>
                  <a:pt x="2044699" y="25299"/>
                  <a:pt x="2054185" y="21360"/>
                  <a:pt x="2062514" y="15605"/>
                </a:cubicBezTo>
                <a:cubicBezTo>
                  <a:pt x="2064944" y="13621"/>
                  <a:pt x="2067836" y="12319"/>
                  <a:pt x="2070902" y="11845"/>
                </a:cubicBezTo>
                <a:cubicBezTo>
                  <a:pt x="2072579" y="11914"/>
                  <a:pt x="2074141" y="12591"/>
                  <a:pt x="2075298" y="13754"/>
                </a:cubicBezTo>
                <a:cubicBezTo>
                  <a:pt x="2077901" y="16744"/>
                  <a:pt x="2079347" y="20556"/>
                  <a:pt x="2079405" y="24513"/>
                </a:cubicBezTo>
                <a:cubicBezTo>
                  <a:pt x="2080504" y="32032"/>
                  <a:pt x="2081603" y="39726"/>
                  <a:pt x="2094908" y="41866"/>
                </a:cubicBezTo>
                <a:cubicBezTo>
                  <a:pt x="2108211" y="44006"/>
                  <a:pt x="2117293" y="47650"/>
                  <a:pt x="2117178" y="51931"/>
                </a:cubicBezTo>
                <a:cubicBezTo>
                  <a:pt x="2117178" y="54707"/>
                  <a:pt x="2113360" y="56443"/>
                  <a:pt x="2106129" y="57079"/>
                </a:cubicBezTo>
                <a:cubicBezTo>
                  <a:pt x="2103353" y="57079"/>
                  <a:pt x="2101617" y="57947"/>
                  <a:pt x="2101039" y="58988"/>
                </a:cubicBezTo>
                <a:cubicBezTo>
                  <a:pt x="2100461" y="60029"/>
                  <a:pt x="2101559" y="63268"/>
                  <a:pt x="2102890" y="65929"/>
                </a:cubicBezTo>
                <a:cubicBezTo>
                  <a:pt x="2104221" y="68590"/>
                  <a:pt x="2106245" y="72813"/>
                  <a:pt x="2104857" y="75763"/>
                </a:cubicBezTo>
                <a:cubicBezTo>
                  <a:pt x="2103642" y="77897"/>
                  <a:pt x="2101501" y="79332"/>
                  <a:pt x="2099072" y="79638"/>
                </a:cubicBezTo>
                <a:cubicBezTo>
                  <a:pt x="2095370" y="80622"/>
                  <a:pt x="2089238" y="81779"/>
                  <a:pt x="2082124" y="83167"/>
                </a:cubicBezTo>
                <a:cubicBezTo>
                  <a:pt x="2063208" y="86869"/>
                  <a:pt x="2023701" y="94736"/>
                  <a:pt x="2024800" y="100983"/>
                </a:cubicBezTo>
                <a:cubicBezTo>
                  <a:pt x="2025089" y="105003"/>
                  <a:pt x="2023701" y="108965"/>
                  <a:pt x="2020867" y="111858"/>
                </a:cubicBezTo>
                <a:cubicBezTo>
                  <a:pt x="2014966" y="118527"/>
                  <a:pt x="2006464" y="122368"/>
                  <a:pt x="1997555" y="122443"/>
                </a:cubicBezTo>
                <a:close/>
                <a:moveTo>
                  <a:pt x="1991077" y="66739"/>
                </a:moveTo>
                <a:cubicBezTo>
                  <a:pt x="1986970" y="66739"/>
                  <a:pt x="1984078" y="68532"/>
                  <a:pt x="1983500" y="71482"/>
                </a:cubicBezTo>
                <a:cubicBezTo>
                  <a:pt x="1982921" y="74432"/>
                  <a:pt x="1985640" y="79870"/>
                  <a:pt x="1993449" y="83051"/>
                </a:cubicBezTo>
                <a:cubicBezTo>
                  <a:pt x="2001257" y="86232"/>
                  <a:pt x="2003571" y="88836"/>
                  <a:pt x="2003051" y="91207"/>
                </a:cubicBezTo>
                <a:cubicBezTo>
                  <a:pt x="2002530" y="93579"/>
                  <a:pt x="1996861" y="95719"/>
                  <a:pt x="1986507" y="95719"/>
                </a:cubicBezTo>
                <a:cubicBezTo>
                  <a:pt x="1974360" y="95719"/>
                  <a:pt x="1964931" y="98900"/>
                  <a:pt x="1964526" y="100983"/>
                </a:cubicBezTo>
                <a:cubicBezTo>
                  <a:pt x="1964526" y="101503"/>
                  <a:pt x="1965336" y="102371"/>
                  <a:pt x="1967534" y="103239"/>
                </a:cubicBezTo>
                <a:cubicBezTo>
                  <a:pt x="1970427" y="104523"/>
                  <a:pt x="1972971" y="106513"/>
                  <a:pt x="1974881" y="109023"/>
                </a:cubicBezTo>
                <a:cubicBezTo>
                  <a:pt x="1978987" y="114380"/>
                  <a:pt x="1985004" y="117989"/>
                  <a:pt x="1991655" y="119146"/>
                </a:cubicBezTo>
                <a:cubicBezTo>
                  <a:pt x="2001778" y="121263"/>
                  <a:pt x="2012248" y="117821"/>
                  <a:pt x="2019131" y="110122"/>
                </a:cubicBezTo>
                <a:cubicBezTo>
                  <a:pt x="2021503" y="107756"/>
                  <a:pt x="2022775" y="104459"/>
                  <a:pt x="2022544" y="101099"/>
                </a:cubicBezTo>
                <a:cubicBezTo>
                  <a:pt x="2021213" y="93174"/>
                  <a:pt x="2048574" y="87158"/>
                  <a:pt x="2081719" y="80679"/>
                </a:cubicBezTo>
                <a:cubicBezTo>
                  <a:pt x="2088776" y="79291"/>
                  <a:pt x="2094850" y="78077"/>
                  <a:pt x="2098552" y="77151"/>
                </a:cubicBezTo>
                <a:cubicBezTo>
                  <a:pt x="2100865" y="76573"/>
                  <a:pt x="2102311" y="75705"/>
                  <a:pt x="2102832" y="74548"/>
                </a:cubicBezTo>
                <a:cubicBezTo>
                  <a:pt x="2103353" y="73391"/>
                  <a:pt x="2102253" y="69573"/>
                  <a:pt x="2100865" y="66623"/>
                </a:cubicBezTo>
                <a:cubicBezTo>
                  <a:pt x="2099477" y="63673"/>
                  <a:pt x="2097626" y="60145"/>
                  <a:pt x="2099072" y="57600"/>
                </a:cubicBezTo>
                <a:cubicBezTo>
                  <a:pt x="2100518" y="55054"/>
                  <a:pt x="2102311" y="54881"/>
                  <a:pt x="2105955" y="54534"/>
                </a:cubicBezTo>
                <a:cubicBezTo>
                  <a:pt x="2113013" y="53898"/>
                  <a:pt x="2114864" y="52336"/>
                  <a:pt x="2114922" y="51584"/>
                </a:cubicBezTo>
                <a:cubicBezTo>
                  <a:pt x="2114922" y="49906"/>
                  <a:pt x="2109137" y="45799"/>
                  <a:pt x="2094618" y="43833"/>
                </a:cubicBezTo>
                <a:cubicBezTo>
                  <a:pt x="2080099" y="41866"/>
                  <a:pt x="2078248" y="32264"/>
                  <a:pt x="2077265" y="24744"/>
                </a:cubicBezTo>
                <a:cubicBezTo>
                  <a:pt x="2077033" y="21441"/>
                  <a:pt x="2075761" y="18294"/>
                  <a:pt x="2073621" y="15778"/>
                </a:cubicBezTo>
                <a:cubicBezTo>
                  <a:pt x="2072869" y="14974"/>
                  <a:pt x="2071770" y="14500"/>
                  <a:pt x="2070671" y="14448"/>
                </a:cubicBezTo>
                <a:cubicBezTo>
                  <a:pt x="2068068" y="14986"/>
                  <a:pt x="2065638" y="16160"/>
                  <a:pt x="2063556" y="17861"/>
                </a:cubicBezTo>
                <a:cubicBezTo>
                  <a:pt x="2054995" y="23795"/>
                  <a:pt x="2045219" y="27856"/>
                  <a:pt x="2034980" y="29776"/>
                </a:cubicBezTo>
                <a:cubicBezTo>
                  <a:pt x="2010686" y="34635"/>
                  <a:pt x="2001663" y="39841"/>
                  <a:pt x="2001257" y="42791"/>
                </a:cubicBezTo>
                <a:cubicBezTo>
                  <a:pt x="2001257" y="44180"/>
                  <a:pt x="2002935" y="45394"/>
                  <a:pt x="2004555" y="46204"/>
                </a:cubicBezTo>
                <a:cubicBezTo>
                  <a:pt x="2008314" y="47650"/>
                  <a:pt x="2010454" y="51624"/>
                  <a:pt x="2009645" y="55575"/>
                </a:cubicBezTo>
                <a:cubicBezTo>
                  <a:pt x="2007042" y="63043"/>
                  <a:pt x="1999695" y="67798"/>
                  <a:pt x="1991829" y="67144"/>
                </a:cubicBezTo>
                <a:close/>
                <a:moveTo>
                  <a:pt x="1029127" y="96355"/>
                </a:moveTo>
                <a:cubicBezTo>
                  <a:pt x="1021086" y="97090"/>
                  <a:pt x="1013046" y="95418"/>
                  <a:pt x="1005989" y="91554"/>
                </a:cubicBezTo>
                <a:cubicBezTo>
                  <a:pt x="1002923" y="89582"/>
                  <a:pt x="1001593" y="85816"/>
                  <a:pt x="1002691" y="82357"/>
                </a:cubicBezTo>
                <a:cubicBezTo>
                  <a:pt x="1004600" y="76977"/>
                  <a:pt x="1012756" y="73391"/>
                  <a:pt x="1022879" y="73391"/>
                </a:cubicBezTo>
                <a:cubicBezTo>
                  <a:pt x="1032076" y="73391"/>
                  <a:pt x="1040232" y="73391"/>
                  <a:pt x="1042084" y="70788"/>
                </a:cubicBezTo>
                <a:cubicBezTo>
                  <a:pt x="1042084" y="70788"/>
                  <a:pt x="1042778" y="69747"/>
                  <a:pt x="1042084" y="67665"/>
                </a:cubicBezTo>
                <a:cubicBezTo>
                  <a:pt x="1041736" y="67034"/>
                  <a:pt x="1041736" y="66270"/>
                  <a:pt x="1042084" y="65640"/>
                </a:cubicBezTo>
                <a:cubicBezTo>
                  <a:pt x="1043298" y="63905"/>
                  <a:pt x="1047868" y="62979"/>
                  <a:pt x="1056140" y="62979"/>
                </a:cubicBezTo>
                <a:cubicBezTo>
                  <a:pt x="1070254" y="62979"/>
                  <a:pt x="1091888" y="65929"/>
                  <a:pt x="1095879" y="71540"/>
                </a:cubicBezTo>
                <a:cubicBezTo>
                  <a:pt x="1096631" y="72466"/>
                  <a:pt x="1096862" y="73709"/>
                  <a:pt x="1096457" y="74837"/>
                </a:cubicBezTo>
                <a:cubicBezTo>
                  <a:pt x="1094606" y="80622"/>
                  <a:pt x="1088359" y="80622"/>
                  <a:pt x="1082285" y="81316"/>
                </a:cubicBezTo>
                <a:cubicBezTo>
                  <a:pt x="1076732" y="80760"/>
                  <a:pt x="1071237" y="82664"/>
                  <a:pt x="1067246" y="86522"/>
                </a:cubicBezTo>
                <a:cubicBezTo>
                  <a:pt x="1062560" y="92885"/>
                  <a:pt x="1043992" y="96355"/>
                  <a:pt x="1029069" y="96355"/>
                </a:cubicBezTo>
                <a:close/>
                <a:moveTo>
                  <a:pt x="1056371" y="65235"/>
                </a:moveTo>
                <a:cubicBezTo>
                  <a:pt x="1047174" y="65235"/>
                  <a:pt x="1044455" y="66450"/>
                  <a:pt x="1044166" y="66970"/>
                </a:cubicBezTo>
                <a:cubicBezTo>
                  <a:pt x="1045034" y="68550"/>
                  <a:pt x="1045034" y="70482"/>
                  <a:pt x="1044166" y="72061"/>
                </a:cubicBezTo>
                <a:cubicBezTo>
                  <a:pt x="1042084" y="75126"/>
                  <a:pt x="1035952" y="75647"/>
                  <a:pt x="1023111" y="75647"/>
                </a:cubicBezTo>
                <a:cubicBezTo>
                  <a:pt x="1012525" y="75647"/>
                  <a:pt x="1006336" y="79523"/>
                  <a:pt x="1005005" y="83167"/>
                </a:cubicBezTo>
                <a:cubicBezTo>
                  <a:pt x="1004369" y="85723"/>
                  <a:pt x="1005468" y="88402"/>
                  <a:pt x="1007666" y="89819"/>
                </a:cubicBezTo>
                <a:cubicBezTo>
                  <a:pt x="1014318" y="93266"/>
                  <a:pt x="1021838" y="94747"/>
                  <a:pt x="1029300" y="94099"/>
                </a:cubicBezTo>
                <a:cubicBezTo>
                  <a:pt x="1043934" y="94099"/>
                  <a:pt x="1061577" y="90744"/>
                  <a:pt x="1065800" y="85134"/>
                </a:cubicBezTo>
                <a:cubicBezTo>
                  <a:pt x="1070254" y="80749"/>
                  <a:pt x="1076385" y="78528"/>
                  <a:pt x="1082575" y="79060"/>
                </a:cubicBezTo>
                <a:cubicBezTo>
                  <a:pt x="1088359" y="78655"/>
                  <a:pt x="1093334" y="78308"/>
                  <a:pt x="1094722" y="74143"/>
                </a:cubicBezTo>
                <a:cubicBezTo>
                  <a:pt x="1094954" y="73732"/>
                  <a:pt x="1094954" y="73223"/>
                  <a:pt x="1094722" y="72813"/>
                </a:cubicBezTo>
                <a:cubicBezTo>
                  <a:pt x="1091078" y="68474"/>
                  <a:pt x="1071642" y="65235"/>
                  <a:pt x="1056313" y="65235"/>
                </a:cubicBezTo>
                <a:close/>
                <a:moveTo>
                  <a:pt x="789420" y="88373"/>
                </a:moveTo>
                <a:lnTo>
                  <a:pt x="789420" y="88373"/>
                </a:lnTo>
                <a:cubicBezTo>
                  <a:pt x="777851" y="88373"/>
                  <a:pt x="764026" y="85712"/>
                  <a:pt x="761076" y="79812"/>
                </a:cubicBezTo>
                <a:cubicBezTo>
                  <a:pt x="760382" y="78435"/>
                  <a:pt x="760382" y="76792"/>
                  <a:pt x="761076" y="75416"/>
                </a:cubicBezTo>
                <a:cubicBezTo>
                  <a:pt x="762522" y="72350"/>
                  <a:pt x="767496" y="71251"/>
                  <a:pt x="773223" y="69978"/>
                </a:cubicBezTo>
                <a:cubicBezTo>
                  <a:pt x="778429" y="69544"/>
                  <a:pt x="783346" y="67526"/>
                  <a:pt x="787337" y="64194"/>
                </a:cubicBezTo>
                <a:cubicBezTo>
                  <a:pt x="790230" y="60029"/>
                  <a:pt x="800757" y="58409"/>
                  <a:pt x="810880" y="57137"/>
                </a:cubicBezTo>
                <a:cubicBezTo>
                  <a:pt x="816664" y="56327"/>
                  <a:pt x="825804" y="55054"/>
                  <a:pt x="826151" y="53550"/>
                </a:cubicBezTo>
                <a:cubicBezTo>
                  <a:pt x="826151" y="53550"/>
                  <a:pt x="826151" y="53030"/>
                  <a:pt x="824762" y="52047"/>
                </a:cubicBezTo>
                <a:cubicBezTo>
                  <a:pt x="822218" y="50716"/>
                  <a:pt x="821060" y="47749"/>
                  <a:pt x="821986" y="45047"/>
                </a:cubicBezTo>
                <a:cubicBezTo>
                  <a:pt x="824010" y="38685"/>
                  <a:pt x="836447" y="33131"/>
                  <a:pt x="848536" y="33131"/>
                </a:cubicBezTo>
                <a:cubicBezTo>
                  <a:pt x="853800" y="33079"/>
                  <a:pt x="859064" y="34184"/>
                  <a:pt x="863865" y="36371"/>
                </a:cubicBezTo>
                <a:cubicBezTo>
                  <a:pt x="875434" y="41635"/>
                  <a:pt x="880756" y="46493"/>
                  <a:pt x="879946" y="50658"/>
                </a:cubicBezTo>
                <a:cubicBezTo>
                  <a:pt x="879136" y="54823"/>
                  <a:pt x="873178" y="57079"/>
                  <a:pt x="861841" y="57889"/>
                </a:cubicBezTo>
                <a:cubicBezTo>
                  <a:pt x="839918" y="59451"/>
                  <a:pt x="831299" y="67144"/>
                  <a:pt x="830547" y="73854"/>
                </a:cubicBezTo>
                <a:cubicBezTo>
                  <a:pt x="830026" y="78366"/>
                  <a:pt x="824300" y="78424"/>
                  <a:pt x="818978" y="78539"/>
                </a:cubicBezTo>
                <a:cubicBezTo>
                  <a:pt x="813657" y="78655"/>
                  <a:pt x="809029" y="78944"/>
                  <a:pt x="809029" y="81779"/>
                </a:cubicBezTo>
                <a:cubicBezTo>
                  <a:pt x="809029" y="84613"/>
                  <a:pt x="806947" y="85885"/>
                  <a:pt x="802840" y="86984"/>
                </a:cubicBezTo>
                <a:cubicBezTo>
                  <a:pt x="798502" y="88072"/>
                  <a:pt x="793990" y="88564"/>
                  <a:pt x="789478" y="88431"/>
                </a:cubicBezTo>
                <a:close/>
                <a:moveTo>
                  <a:pt x="848190" y="35330"/>
                </a:moveTo>
                <a:cubicBezTo>
                  <a:pt x="836100" y="35330"/>
                  <a:pt x="825052" y="41114"/>
                  <a:pt x="823780" y="45684"/>
                </a:cubicBezTo>
                <a:cubicBezTo>
                  <a:pt x="823316" y="47431"/>
                  <a:pt x="824068" y="49282"/>
                  <a:pt x="825688" y="50138"/>
                </a:cubicBezTo>
                <a:cubicBezTo>
                  <a:pt x="826382" y="50600"/>
                  <a:pt x="828465" y="52104"/>
                  <a:pt x="828002" y="54013"/>
                </a:cubicBezTo>
                <a:cubicBezTo>
                  <a:pt x="827308" y="56905"/>
                  <a:pt x="821350" y="57889"/>
                  <a:pt x="810649" y="59335"/>
                </a:cubicBezTo>
                <a:cubicBezTo>
                  <a:pt x="801856" y="60550"/>
                  <a:pt x="790924" y="62054"/>
                  <a:pt x="788610" y="65409"/>
                </a:cubicBezTo>
                <a:cubicBezTo>
                  <a:pt x="786296" y="68764"/>
                  <a:pt x="779355" y="70846"/>
                  <a:pt x="773166" y="72176"/>
                </a:cubicBezTo>
                <a:cubicBezTo>
                  <a:pt x="768422" y="73275"/>
                  <a:pt x="763506" y="74317"/>
                  <a:pt x="762522" y="76399"/>
                </a:cubicBezTo>
                <a:cubicBezTo>
                  <a:pt x="762233" y="77209"/>
                  <a:pt x="762349" y="78100"/>
                  <a:pt x="762811" y="78828"/>
                </a:cubicBezTo>
                <a:cubicBezTo>
                  <a:pt x="764894" y="82993"/>
                  <a:pt x="776231" y="86117"/>
                  <a:pt x="789130" y="86117"/>
                </a:cubicBezTo>
                <a:lnTo>
                  <a:pt x="789130" y="86117"/>
                </a:lnTo>
                <a:cubicBezTo>
                  <a:pt x="793238" y="86204"/>
                  <a:pt x="797344" y="85758"/>
                  <a:pt x="801336" y="84786"/>
                </a:cubicBezTo>
                <a:cubicBezTo>
                  <a:pt x="804228" y="83977"/>
                  <a:pt x="805847" y="82878"/>
                  <a:pt x="805847" y="81721"/>
                </a:cubicBezTo>
                <a:cubicBezTo>
                  <a:pt x="805847" y="76457"/>
                  <a:pt x="812326" y="76341"/>
                  <a:pt x="817995" y="76225"/>
                </a:cubicBezTo>
                <a:cubicBezTo>
                  <a:pt x="822622" y="76225"/>
                  <a:pt x="827424" y="76225"/>
                  <a:pt x="827655" y="73507"/>
                </a:cubicBezTo>
                <a:cubicBezTo>
                  <a:pt x="828118" y="69863"/>
                  <a:pt x="831704" y="57657"/>
                  <a:pt x="861031" y="55575"/>
                </a:cubicBezTo>
                <a:cubicBezTo>
                  <a:pt x="875260" y="54534"/>
                  <a:pt x="876938" y="51237"/>
                  <a:pt x="877112" y="50196"/>
                </a:cubicBezTo>
                <a:cubicBezTo>
                  <a:pt x="877285" y="49154"/>
                  <a:pt x="877112" y="45047"/>
                  <a:pt x="862245" y="38337"/>
                </a:cubicBezTo>
                <a:cubicBezTo>
                  <a:pt x="857792" y="36365"/>
                  <a:pt x="852990" y="35358"/>
                  <a:pt x="848132" y="35387"/>
                </a:cubicBezTo>
                <a:close/>
                <a:moveTo>
                  <a:pt x="926395" y="86637"/>
                </a:moveTo>
                <a:lnTo>
                  <a:pt x="926395" y="86637"/>
                </a:lnTo>
                <a:cubicBezTo>
                  <a:pt x="919049" y="86377"/>
                  <a:pt x="911703" y="85093"/>
                  <a:pt x="904704" y="82820"/>
                </a:cubicBezTo>
                <a:cubicBezTo>
                  <a:pt x="902852" y="82183"/>
                  <a:pt x="902852" y="80969"/>
                  <a:pt x="902910" y="80506"/>
                </a:cubicBezTo>
                <a:cubicBezTo>
                  <a:pt x="903604" y="76457"/>
                  <a:pt x="920263" y="71251"/>
                  <a:pt x="929924" y="71251"/>
                </a:cubicBezTo>
                <a:cubicBezTo>
                  <a:pt x="939583" y="71251"/>
                  <a:pt x="940104" y="75300"/>
                  <a:pt x="940104" y="77672"/>
                </a:cubicBezTo>
                <a:cubicBezTo>
                  <a:pt x="940162" y="80708"/>
                  <a:pt x="938484" y="83508"/>
                  <a:pt x="935766" y="84844"/>
                </a:cubicBezTo>
                <a:cubicBezTo>
                  <a:pt x="932816" y="86198"/>
                  <a:pt x="929576" y="86834"/>
                  <a:pt x="926337" y="86695"/>
                </a:cubicBezTo>
                <a:close/>
                <a:moveTo>
                  <a:pt x="905224" y="80853"/>
                </a:moveTo>
                <a:lnTo>
                  <a:pt x="905224" y="80853"/>
                </a:lnTo>
                <a:cubicBezTo>
                  <a:pt x="911992" y="83051"/>
                  <a:pt x="919049" y="84295"/>
                  <a:pt x="926164" y="84555"/>
                </a:cubicBezTo>
                <a:cubicBezTo>
                  <a:pt x="928998" y="84717"/>
                  <a:pt x="931890" y="84179"/>
                  <a:pt x="934493" y="82993"/>
                </a:cubicBezTo>
                <a:cubicBezTo>
                  <a:pt x="936460" y="82062"/>
                  <a:pt x="937732" y="80032"/>
                  <a:pt x="937617" y="77845"/>
                </a:cubicBezTo>
                <a:cubicBezTo>
                  <a:pt x="937617" y="75069"/>
                  <a:pt x="934956" y="73680"/>
                  <a:pt x="929692" y="73680"/>
                </a:cubicBezTo>
                <a:cubicBezTo>
                  <a:pt x="921015" y="73813"/>
                  <a:pt x="912570" y="76231"/>
                  <a:pt x="905166" y="80679"/>
                </a:cubicBezTo>
                <a:close/>
                <a:moveTo>
                  <a:pt x="1126536" y="68937"/>
                </a:moveTo>
                <a:lnTo>
                  <a:pt x="1126536" y="68937"/>
                </a:lnTo>
                <a:cubicBezTo>
                  <a:pt x="1118206" y="69510"/>
                  <a:pt x="1109935" y="67312"/>
                  <a:pt x="1102993" y="62690"/>
                </a:cubicBezTo>
                <a:cubicBezTo>
                  <a:pt x="1101489" y="61712"/>
                  <a:pt x="1100564" y="60029"/>
                  <a:pt x="1100622" y="58236"/>
                </a:cubicBezTo>
                <a:cubicBezTo>
                  <a:pt x="1100622" y="54245"/>
                  <a:pt x="1106407" y="50716"/>
                  <a:pt x="1112769" y="46956"/>
                </a:cubicBezTo>
                <a:cubicBezTo>
                  <a:pt x="1119132" y="43196"/>
                  <a:pt x="1124338" y="39841"/>
                  <a:pt x="1123586" y="37065"/>
                </a:cubicBezTo>
                <a:cubicBezTo>
                  <a:pt x="1123297" y="36093"/>
                  <a:pt x="1123470" y="35035"/>
                  <a:pt x="1124107" y="34231"/>
                </a:cubicBezTo>
                <a:cubicBezTo>
                  <a:pt x="1126825" y="30586"/>
                  <a:pt x="1138105" y="30239"/>
                  <a:pt x="1142790" y="30239"/>
                </a:cubicBezTo>
                <a:cubicBezTo>
                  <a:pt x="1153202" y="30239"/>
                  <a:pt x="1169110" y="32090"/>
                  <a:pt x="1170208" y="37296"/>
                </a:cubicBezTo>
                <a:cubicBezTo>
                  <a:pt x="1170845" y="40015"/>
                  <a:pt x="1174084" y="41635"/>
                  <a:pt x="1177208" y="43081"/>
                </a:cubicBezTo>
                <a:cubicBezTo>
                  <a:pt x="1180331" y="44527"/>
                  <a:pt x="1182992" y="45915"/>
                  <a:pt x="1183513" y="48345"/>
                </a:cubicBezTo>
                <a:cubicBezTo>
                  <a:pt x="1183744" y="49918"/>
                  <a:pt x="1183223" y="51497"/>
                  <a:pt x="1182182" y="52683"/>
                </a:cubicBezTo>
                <a:cubicBezTo>
                  <a:pt x="1177960" y="57947"/>
                  <a:pt x="1149558" y="68764"/>
                  <a:pt x="1126478" y="68764"/>
                </a:cubicBezTo>
                <a:close/>
                <a:moveTo>
                  <a:pt x="1142790" y="32495"/>
                </a:moveTo>
                <a:cubicBezTo>
                  <a:pt x="1132725" y="32495"/>
                  <a:pt x="1127057" y="34057"/>
                  <a:pt x="1125900" y="35619"/>
                </a:cubicBezTo>
                <a:cubicBezTo>
                  <a:pt x="1125784" y="35868"/>
                  <a:pt x="1125784" y="36180"/>
                  <a:pt x="1125900" y="36429"/>
                </a:cubicBezTo>
                <a:cubicBezTo>
                  <a:pt x="1127230" y="40883"/>
                  <a:pt x="1120810" y="44758"/>
                  <a:pt x="1114331" y="48923"/>
                </a:cubicBezTo>
                <a:cubicBezTo>
                  <a:pt x="1109183" y="52047"/>
                  <a:pt x="1103399" y="55517"/>
                  <a:pt x="1103225" y="58352"/>
                </a:cubicBezTo>
                <a:cubicBezTo>
                  <a:pt x="1103225" y="59219"/>
                  <a:pt x="1103687" y="60029"/>
                  <a:pt x="1104787" y="60897"/>
                </a:cubicBezTo>
                <a:cubicBezTo>
                  <a:pt x="1111323" y="65235"/>
                  <a:pt x="1119074" y="67271"/>
                  <a:pt x="1126883" y="66681"/>
                </a:cubicBezTo>
                <a:cubicBezTo>
                  <a:pt x="1148922" y="66681"/>
                  <a:pt x="1176918" y="56269"/>
                  <a:pt x="1180736" y="51352"/>
                </a:cubicBezTo>
                <a:cubicBezTo>
                  <a:pt x="1181373" y="50705"/>
                  <a:pt x="1181720" y="49825"/>
                  <a:pt x="1181662" y="48923"/>
                </a:cubicBezTo>
                <a:cubicBezTo>
                  <a:pt x="1181315" y="47535"/>
                  <a:pt x="1178885" y="46320"/>
                  <a:pt x="1176572" y="45163"/>
                </a:cubicBezTo>
                <a:cubicBezTo>
                  <a:pt x="1173101" y="43428"/>
                  <a:pt x="1169168" y="41461"/>
                  <a:pt x="1168358" y="37701"/>
                </a:cubicBezTo>
                <a:cubicBezTo>
                  <a:pt x="1167432" y="35098"/>
                  <a:pt x="1156499" y="32322"/>
                  <a:pt x="1142732" y="32322"/>
                </a:cubicBezTo>
                <a:close/>
                <a:moveTo>
                  <a:pt x="727873" y="67838"/>
                </a:moveTo>
                <a:cubicBezTo>
                  <a:pt x="716304" y="67838"/>
                  <a:pt x="705430" y="61360"/>
                  <a:pt x="703637" y="57079"/>
                </a:cubicBezTo>
                <a:cubicBezTo>
                  <a:pt x="703059" y="55939"/>
                  <a:pt x="703059" y="54574"/>
                  <a:pt x="703637" y="53435"/>
                </a:cubicBezTo>
                <a:cubicBezTo>
                  <a:pt x="705545" y="50369"/>
                  <a:pt x="712544" y="49964"/>
                  <a:pt x="721453" y="49444"/>
                </a:cubicBezTo>
                <a:cubicBezTo>
                  <a:pt x="729840" y="49553"/>
                  <a:pt x="738228" y="48102"/>
                  <a:pt x="746094" y="45163"/>
                </a:cubicBezTo>
                <a:cubicBezTo>
                  <a:pt x="754019" y="41843"/>
                  <a:pt x="762580" y="40321"/>
                  <a:pt x="771199" y="40709"/>
                </a:cubicBezTo>
                <a:cubicBezTo>
                  <a:pt x="780743" y="40709"/>
                  <a:pt x="792890" y="42155"/>
                  <a:pt x="795724" y="46493"/>
                </a:cubicBezTo>
                <a:cubicBezTo>
                  <a:pt x="796419" y="47500"/>
                  <a:pt x="796534" y="48784"/>
                  <a:pt x="796072" y="49906"/>
                </a:cubicBezTo>
                <a:cubicBezTo>
                  <a:pt x="794915" y="52232"/>
                  <a:pt x="792370" y="53504"/>
                  <a:pt x="789825" y="53030"/>
                </a:cubicBezTo>
                <a:cubicBezTo>
                  <a:pt x="787453" y="52966"/>
                  <a:pt x="785081" y="52735"/>
                  <a:pt x="782709" y="52336"/>
                </a:cubicBezTo>
                <a:cubicBezTo>
                  <a:pt x="778892" y="51740"/>
                  <a:pt x="775016" y="51410"/>
                  <a:pt x="771141" y="51352"/>
                </a:cubicBezTo>
                <a:cubicBezTo>
                  <a:pt x="763158" y="51075"/>
                  <a:pt x="755407" y="53898"/>
                  <a:pt x="749507" y="59219"/>
                </a:cubicBezTo>
                <a:cubicBezTo>
                  <a:pt x="743665" y="64738"/>
                  <a:pt x="735914" y="67821"/>
                  <a:pt x="727873" y="67838"/>
                </a:cubicBezTo>
                <a:close/>
                <a:moveTo>
                  <a:pt x="771256" y="42965"/>
                </a:moveTo>
                <a:cubicBezTo>
                  <a:pt x="763043" y="42606"/>
                  <a:pt x="754829" y="44029"/>
                  <a:pt x="747193" y="47130"/>
                </a:cubicBezTo>
                <a:cubicBezTo>
                  <a:pt x="739037" y="50259"/>
                  <a:pt x="730361" y="51815"/>
                  <a:pt x="721626" y="51700"/>
                </a:cubicBezTo>
                <a:cubicBezTo>
                  <a:pt x="714396" y="52104"/>
                  <a:pt x="706934" y="52567"/>
                  <a:pt x="705603" y="54650"/>
                </a:cubicBezTo>
                <a:cubicBezTo>
                  <a:pt x="705603" y="54650"/>
                  <a:pt x="705603" y="55286"/>
                  <a:pt x="705603" y="56211"/>
                </a:cubicBezTo>
                <a:cubicBezTo>
                  <a:pt x="706934" y="59393"/>
                  <a:pt x="716652" y="65582"/>
                  <a:pt x="727757" y="65582"/>
                </a:cubicBezTo>
                <a:cubicBezTo>
                  <a:pt x="735335" y="65582"/>
                  <a:pt x="742682" y="62667"/>
                  <a:pt x="748177" y="57426"/>
                </a:cubicBezTo>
                <a:cubicBezTo>
                  <a:pt x="754481" y="51711"/>
                  <a:pt x="762811" y="48686"/>
                  <a:pt x="771314" y="48981"/>
                </a:cubicBezTo>
                <a:cubicBezTo>
                  <a:pt x="775190" y="49056"/>
                  <a:pt x="779065" y="49380"/>
                  <a:pt x="782883" y="49964"/>
                </a:cubicBezTo>
                <a:cubicBezTo>
                  <a:pt x="785139" y="50357"/>
                  <a:pt x="787395" y="50589"/>
                  <a:pt x="789651" y="50658"/>
                </a:cubicBezTo>
                <a:cubicBezTo>
                  <a:pt x="792717" y="50658"/>
                  <a:pt x="793468" y="49791"/>
                  <a:pt x="793816" y="48923"/>
                </a:cubicBezTo>
                <a:cubicBezTo>
                  <a:pt x="794047" y="48530"/>
                  <a:pt x="794047" y="48044"/>
                  <a:pt x="793816" y="47650"/>
                </a:cubicBezTo>
                <a:cubicBezTo>
                  <a:pt x="792080" y="45047"/>
                  <a:pt x="782536" y="43081"/>
                  <a:pt x="771256" y="43081"/>
                </a:cubicBezTo>
                <a:close/>
                <a:moveTo>
                  <a:pt x="994420" y="57310"/>
                </a:moveTo>
                <a:lnTo>
                  <a:pt x="994420" y="57310"/>
                </a:lnTo>
                <a:cubicBezTo>
                  <a:pt x="975967" y="57310"/>
                  <a:pt x="962200" y="54129"/>
                  <a:pt x="956648" y="48576"/>
                </a:cubicBezTo>
                <a:cubicBezTo>
                  <a:pt x="955780" y="47836"/>
                  <a:pt x="955432" y="46673"/>
                  <a:pt x="955664" y="45568"/>
                </a:cubicBezTo>
                <a:cubicBezTo>
                  <a:pt x="956474" y="42444"/>
                  <a:pt x="962606" y="40420"/>
                  <a:pt x="972613" y="37412"/>
                </a:cubicBezTo>
                <a:cubicBezTo>
                  <a:pt x="977587" y="35908"/>
                  <a:pt x="985859" y="33479"/>
                  <a:pt x="986090" y="31975"/>
                </a:cubicBezTo>
                <a:lnTo>
                  <a:pt x="986090" y="31975"/>
                </a:lnTo>
                <a:lnTo>
                  <a:pt x="986090" y="31975"/>
                </a:lnTo>
                <a:cubicBezTo>
                  <a:pt x="981116" y="27578"/>
                  <a:pt x="979091" y="24397"/>
                  <a:pt x="979901" y="22199"/>
                </a:cubicBezTo>
                <a:cubicBezTo>
                  <a:pt x="980711" y="20001"/>
                  <a:pt x="982157" y="19943"/>
                  <a:pt x="984876" y="19943"/>
                </a:cubicBezTo>
                <a:cubicBezTo>
                  <a:pt x="992395" y="20695"/>
                  <a:pt x="999799" y="22748"/>
                  <a:pt x="1006625" y="26017"/>
                </a:cubicBezTo>
                <a:cubicBezTo>
                  <a:pt x="1012988" y="28411"/>
                  <a:pt x="1019813" y="29516"/>
                  <a:pt x="1026639" y="29256"/>
                </a:cubicBezTo>
                <a:cubicBezTo>
                  <a:pt x="1029300" y="29256"/>
                  <a:pt x="1031845" y="29256"/>
                  <a:pt x="1034274" y="29256"/>
                </a:cubicBezTo>
                <a:lnTo>
                  <a:pt x="1040580" y="29256"/>
                </a:lnTo>
                <a:cubicBezTo>
                  <a:pt x="1044860" y="28666"/>
                  <a:pt x="1049256" y="29834"/>
                  <a:pt x="1052669" y="32495"/>
                </a:cubicBezTo>
                <a:cubicBezTo>
                  <a:pt x="1054231" y="34543"/>
                  <a:pt x="1054751" y="37175"/>
                  <a:pt x="1054173" y="39668"/>
                </a:cubicBezTo>
                <a:cubicBezTo>
                  <a:pt x="1052264" y="50485"/>
                  <a:pt x="1021780" y="57426"/>
                  <a:pt x="994420" y="57426"/>
                </a:cubicBezTo>
                <a:close/>
                <a:moveTo>
                  <a:pt x="984586" y="21910"/>
                </a:moveTo>
                <a:cubicBezTo>
                  <a:pt x="982735" y="21910"/>
                  <a:pt x="981868" y="22315"/>
                  <a:pt x="981752" y="22662"/>
                </a:cubicBezTo>
                <a:cubicBezTo>
                  <a:pt x="981636" y="23009"/>
                  <a:pt x="981231" y="24686"/>
                  <a:pt x="987536" y="29950"/>
                </a:cubicBezTo>
                <a:cubicBezTo>
                  <a:pt x="988346" y="30528"/>
                  <a:pt x="988751" y="31518"/>
                  <a:pt x="988578" y="32495"/>
                </a:cubicBezTo>
                <a:cubicBezTo>
                  <a:pt x="987999" y="35156"/>
                  <a:pt x="982793" y="36834"/>
                  <a:pt x="973538" y="39552"/>
                </a:cubicBezTo>
                <a:cubicBezTo>
                  <a:pt x="967753" y="41345"/>
                  <a:pt x="958672" y="44006"/>
                  <a:pt x="958152" y="46146"/>
                </a:cubicBezTo>
                <a:cubicBezTo>
                  <a:pt x="958152" y="46146"/>
                  <a:pt x="958152" y="46146"/>
                  <a:pt x="958556" y="46956"/>
                </a:cubicBezTo>
                <a:cubicBezTo>
                  <a:pt x="963589" y="51989"/>
                  <a:pt x="977124" y="55054"/>
                  <a:pt x="994709" y="55054"/>
                </a:cubicBezTo>
                <a:cubicBezTo>
                  <a:pt x="1020681" y="55054"/>
                  <a:pt x="1050529" y="48345"/>
                  <a:pt x="1051917" y="38742"/>
                </a:cubicBezTo>
                <a:cubicBezTo>
                  <a:pt x="1052380" y="36891"/>
                  <a:pt x="1052033" y="34919"/>
                  <a:pt x="1050933" y="33363"/>
                </a:cubicBezTo>
                <a:cubicBezTo>
                  <a:pt x="1049083" y="31165"/>
                  <a:pt x="1044629" y="30876"/>
                  <a:pt x="1040580" y="30876"/>
                </a:cubicBezTo>
                <a:lnTo>
                  <a:pt x="1034390" y="30876"/>
                </a:lnTo>
                <a:cubicBezTo>
                  <a:pt x="1031903" y="30876"/>
                  <a:pt x="1029300" y="30876"/>
                  <a:pt x="1026639" y="30876"/>
                </a:cubicBezTo>
                <a:cubicBezTo>
                  <a:pt x="1019524" y="31124"/>
                  <a:pt x="1012410" y="29962"/>
                  <a:pt x="1005757" y="27463"/>
                </a:cubicBezTo>
                <a:cubicBezTo>
                  <a:pt x="999047" y="24443"/>
                  <a:pt x="991933" y="22604"/>
                  <a:pt x="984586" y="22025"/>
                </a:cubicBezTo>
                <a:close/>
                <a:moveTo>
                  <a:pt x="1212493" y="51352"/>
                </a:moveTo>
                <a:cubicBezTo>
                  <a:pt x="1203296" y="51352"/>
                  <a:pt x="1197280" y="49617"/>
                  <a:pt x="1194098" y="46089"/>
                </a:cubicBezTo>
                <a:cubicBezTo>
                  <a:pt x="1192941" y="45053"/>
                  <a:pt x="1192594" y="43376"/>
                  <a:pt x="1193289" y="41982"/>
                </a:cubicBezTo>
                <a:cubicBezTo>
                  <a:pt x="1196007" y="35850"/>
                  <a:pt x="1217236" y="32032"/>
                  <a:pt x="1225508" y="32032"/>
                </a:cubicBezTo>
                <a:lnTo>
                  <a:pt x="1227359" y="32032"/>
                </a:lnTo>
                <a:cubicBezTo>
                  <a:pt x="1230136" y="32032"/>
                  <a:pt x="1232160" y="30644"/>
                  <a:pt x="1234763" y="28562"/>
                </a:cubicBezTo>
                <a:cubicBezTo>
                  <a:pt x="1238581" y="24912"/>
                  <a:pt x="1243671" y="22841"/>
                  <a:pt x="1248935" y="22777"/>
                </a:cubicBezTo>
                <a:cubicBezTo>
                  <a:pt x="1250670" y="22806"/>
                  <a:pt x="1252406" y="23003"/>
                  <a:pt x="1254083" y="23356"/>
                </a:cubicBezTo>
                <a:cubicBezTo>
                  <a:pt x="1261487" y="24802"/>
                  <a:pt x="1266230" y="29140"/>
                  <a:pt x="1265999" y="34404"/>
                </a:cubicBezTo>
                <a:cubicBezTo>
                  <a:pt x="1265767" y="39668"/>
                  <a:pt x="1258826" y="47072"/>
                  <a:pt x="1240258" y="48981"/>
                </a:cubicBezTo>
                <a:lnTo>
                  <a:pt x="1233664" y="49733"/>
                </a:lnTo>
                <a:cubicBezTo>
                  <a:pt x="1226664" y="50710"/>
                  <a:pt x="1219550" y="51295"/>
                  <a:pt x="1212493" y="51468"/>
                </a:cubicBezTo>
                <a:close/>
                <a:moveTo>
                  <a:pt x="1225508" y="33999"/>
                </a:moveTo>
                <a:cubicBezTo>
                  <a:pt x="1216079" y="33999"/>
                  <a:pt x="1197222" y="38395"/>
                  <a:pt x="1195313" y="42676"/>
                </a:cubicBezTo>
                <a:cubicBezTo>
                  <a:pt x="1195313" y="43081"/>
                  <a:pt x="1195313" y="43543"/>
                  <a:pt x="1195776" y="44353"/>
                </a:cubicBezTo>
                <a:cubicBezTo>
                  <a:pt x="1198494" y="47361"/>
                  <a:pt x="1203932" y="48865"/>
                  <a:pt x="1212493" y="48865"/>
                </a:cubicBezTo>
                <a:cubicBezTo>
                  <a:pt x="1219492" y="48686"/>
                  <a:pt x="1226491" y="48107"/>
                  <a:pt x="1233432" y="47130"/>
                </a:cubicBezTo>
                <a:lnTo>
                  <a:pt x="1240027" y="46378"/>
                </a:lnTo>
                <a:cubicBezTo>
                  <a:pt x="1257380" y="44585"/>
                  <a:pt x="1263569" y="38569"/>
                  <a:pt x="1263743" y="33941"/>
                </a:cubicBezTo>
                <a:cubicBezTo>
                  <a:pt x="1263916" y="29314"/>
                  <a:pt x="1259925" y="26479"/>
                  <a:pt x="1253678" y="25207"/>
                </a:cubicBezTo>
                <a:cubicBezTo>
                  <a:pt x="1252116" y="24871"/>
                  <a:pt x="1250554" y="24698"/>
                  <a:pt x="1248935" y="24686"/>
                </a:cubicBezTo>
                <a:cubicBezTo>
                  <a:pt x="1244133" y="24808"/>
                  <a:pt x="1239621" y="26751"/>
                  <a:pt x="1236209" y="30124"/>
                </a:cubicBezTo>
                <a:cubicBezTo>
                  <a:pt x="1233837" y="32651"/>
                  <a:pt x="1230598" y="34098"/>
                  <a:pt x="1227128" y="34115"/>
                </a:cubicBezTo>
                <a:close/>
                <a:moveTo>
                  <a:pt x="1953131" y="36139"/>
                </a:moveTo>
                <a:cubicBezTo>
                  <a:pt x="1946826" y="36469"/>
                  <a:pt x="1940463" y="35116"/>
                  <a:pt x="1934852" y="32206"/>
                </a:cubicBezTo>
                <a:cubicBezTo>
                  <a:pt x="1931844" y="29719"/>
                  <a:pt x="1931844" y="27578"/>
                  <a:pt x="1932307" y="26422"/>
                </a:cubicBezTo>
                <a:cubicBezTo>
                  <a:pt x="1934158" y="21447"/>
                  <a:pt x="1946190" y="18728"/>
                  <a:pt x="1956602" y="18728"/>
                </a:cubicBezTo>
                <a:cubicBezTo>
                  <a:pt x="1960304" y="18728"/>
                  <a:pt x="1969269" y="19133"/>
                  <a:pt x="1972219" y="23009"/>
                </a:cubicBezTo>
                <a:cubicBezTo>
                  <a:pt x="1973145" y="24142"/>
                  <a:pt x="1973435" y="25658"/>
                  <a:pt x="1973029" y="27058"/>
                </a:cubicBezTo>
                <a:cubicBezTo>
                  <a:pt x="1971467" y="33131"/>
                  <a:pt x="1964179" y="36486"/>
                  <a:pt x="1953131" y="36486"/>
                </a:cubicBezTo>
                <a:close/>
                <a:moveTo>
                  <a:pt x="1956602" y="20753"/>
                </a:moveTo>
                <a:cubicBezTo>
                  <a:pt x="1946016" y="20753"/>
                  <a:pt x="1935662" y="23645"/>
                  <a:pt x="1934447" y="26942"/>
                </a:cubicBezTo>
                <a:cubicBezTo>
                  <a:pt x="1934100" y="27983"/>
                  <a:pt x="1934447" y="29198"/>
                  <a:pt x="1936298" y="30471"/>
                </a:cubicBezTo>
                <a:cubicBezTo>
                  <a:pt x="1941505" y="33022"/>
                  <a:pt x="1947347" y="34196"/>
                  <a:pt x="1953131" y="33883"/>
                </a:cubicBezTo>
                <a:cubicBezTo>
                  <a:pt x="1957874" y="33883"/>
                  <a:pt x="1968981" y="33131"/>
                  <a:pt x="1970831" y="26248"/>
                </a:cubicBezTo>
                <a:cubicBezTo>
                  <a:pt x="1971063" y="25513"/>
                  <a:pt x="1970947" y="24698"/>
                  <a:pt x="1970427" y="24108"/>
                </a:cubicBezTo>
                <a:cubicBezTo>
                  <a:pt x="1966319" y="21447"/>
                  <a:pt x="1961403" y="20377"/>
                  <a:pt x="1956602" y="21100"/>
                </a:cubicBezTo>
                <a:close/>
                <a:moveTo>
                  <a:pt x="1039076" y="24397"/>
                </a:moveTo>
                <a:cubicBezTo>
                  <a:pt x="1020507" y="24397"/>
                  <a:pt x="1004369" y="19827"/>
                  <a:pt x="1002403" y="13985"/>
                </a:cubicBezTo>
                <a:cubicBezTo>
                  <a:pt x="1002229" y="13597"/>
                  <a:pt x="1002229" y="13158"/>
                  <a:pt x="1002403" y="12770"/>
                </a:cubicBezTo>
                <a:cubicBezTo>
                  <a:pt x="1003212" y="11671"/>
                  <a:pt x="1005699" y="11440"/>
                  <a:pt x="1016169" y="11035"/>
                </a:cubicBezTo>
                <a:cubicBezTo>
                  <a:pt x="1023515" y="10746"/>
                  <a:pt x="1038902" y="10225"/>
                  <a:pt x="1039712" y="8085"/>
                </a:cubicBezTo>
                <a:lnTo>
                  <a:pt x="1039712" y="8085"/>
                </a:lnTo>
                <a:lnTo>
                  <a:pt x="1039712" y="8085"/>
                </a:lnTo>
                <a:cubicBezTo>
                  <a:pt x="1039192" y="7258"/>
                  <a:pt x="1039192" y="6193"/>
                  <a:pt x="1039712" y="5366"/>
                </a:cubicBezTo>
                <a:cubicBezTo>
                  <a:pt x="1041736" y="1317"/>
                  <a:pt x="1057065" y="-129"/>
                  <a:pt x="1066668" y="-129"/>
                </a:cubicBezTo>
                <a:cubicBezTo>
                  <a:pt x="1072452" y="-129"/>
                  <a:pt x="1086508" y="334"/>
                  <a:pt x="1090268" y="5077"/>
                </a:cubicBezTo>
                <a:cubicBezTo>
                  <a:pt x="1091888" y="6529"/>
                  <a:pt x="1092408" y="8848"/>
                  <a:pt x="1091598" y="10861"/>
                </a:cubicBezTo>
                <a:cubicBezTo>
                  <a:pt x="1090210" y="13696"/>
                  <a:pt x="1085178" y="15142"/>
                  <a:pt x="1076559" y="15142"/>
                </a:cubicBezTo>
                <a:cubicBezTo>
                  <a:pt x="1072972" y="15136"/>
                  <a:pt x="1069386" y="14905"/>
                  <a:pt x="1065800" y="14448"/>
                </a:cubicBezTo>
                <a:cubicBezTo>
                  <a:pt x="1062213" y="13551"/>
                  <a:pt x="1058511" y="15015"/>
                  <a:pt x="1056487" y="18092"/>
                </a:cubicBezTo>
                <a:cubicBezTo>
                  <a:pt x="1052207" y="23148"/>
                  <a:pt x="1045612" y="25658"/>
                  <a:pt x="1039076" y="24744"/>
                </a:cubicBezTo>
                <a:close/>
                <a:moveTo>
                  <a:pt x="1004947" y="14043"/>
                </a:moveTo>
                <a:cubicBezTo>
                  <a:pt x="1007608" y="17687"/>
                  <a:pt x="1019929" y="22141"/>
                  <a:pt x="1039076" y="22141"/>
                </a:cubicBezTo>
                <a:cubicBezTo>
                  <a:pt x="1044860" y="22939"/>
                  <a:pt x="1050703" y="20764"/>
                  <a:pt x="1054520" y="16357"/>
                </a:cubicBezTo>
                <a:cubicBezTo>
                  <a:pt x="1057123" y="12637"/>
                  <a:pt x="1061693" y="10890"/>
                  <a:pt x="1066089" y="11960"/>
                </a:cubicBezTo>
                <a:cubicBezTo>
                  <a:pt x="1069560" y="12412"/>
                  <a:pt x="1073030" y="12643"/>
                  <a:pt x="1076559" y="12655"/>
                </a:cubicBezTo>
                <a:cubicBezTo>
                  <a:pt x="1085062" y="12655"/>
                  <a:pt x="1088822" y="11093"/>
                  <a:pt x="1089516" y="9647"/>
                </a:cubicBezTo>
                <a:cubicBezTo>
                  <a:pt x="1090210" y="8201"/>
                  <a:pt x="1089516" y="7854"/>
                  <a:pt x="1088532" y="6523"/>
                </a:cubicBezTo>
                <a:cubicBezTo>
                  <a:pt x="1086392" y="3804"/>
                  <a:pt x="1078005" y="2127"/>
                  <a:pt x="1066668" y="2127"/>
                </a:cubicBezTo>
                <a:cubicBezTo>
                  <a:pt x="1053653" y="2127"/>
                  <a:pt x="1042720" y="4441"/>
                  <a:pt x="1041736" y="6465"/>
                </a:cubicBezTo>
                <a:cubicBezTo>
                  <a:pt x="1041736" y="6465"/>
                  <a:pt x="1041736" y="6465"/>
                  <a:pt x="1041736" y="6465"/>
                </a:cubicBezTo>
                <a:cubicBezTo>
                  <a:pt x="1042373" y="7183"/>
                  <a:pt x="1042488" y="8212"/>
                  <a:pt x="1042084" y="9068"/>
                </a:cubicBezTo>
                <a:cubicBezTo>
                  <a:pt x="1040638" y="12192"/>
                  <a:pt x="1031035" y="12770"/>
                  <a:pt x="1016574" y="13291"/>
                </a:cubicBezTo>
                <a:cubicBezTo>
                  <a:pt x="1011946" y="13811"/>
                  <a:pt x="1006914" y="14043"/>
                  <a:pt x="1004947" y="1439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0" name="Forma libre: forma 429">
            <a:extLst>
              <a:ext uri="{FF2B5EF4-FFF2-40B4-BE49-F238E27FC236}">
                <a16:creationId xmlns:a16="http://schemas.microsoft.com/office/drawing/2014/main" id="{1DC00FFF-9C5D-14FA-F9E4-C0CD795AFF02}"/>
              </a:ext>
            </a:extLst>
          </p:cNvPr>
          <p:cNvSpPr/>
          <p:nvPr/>
        </p:nvSpPr>
        <p:spPr>
          <a:xfrm>
            <a:off x="6714963" y="1493096"/>
            <a:ext cx="4664922" cy="1786050"/>
          </a:xfrm>
          <a:custGeom>
            <a:avLst/>
            <a:gdLst>
              <a:gd name="connsiteX0" fmla="*/ 768654 w 4664922"/>
              <a:gd name="connsiteY0" fmla="*/ 1785814 h 1786050"/>
              <a:gd name="connsiteX1" fmla="*/ 764084 w 4664922"/>
              <a:gd name="connsiteY1" fmla="*/ 1784425 h 1786050"/>
              <a:gd name="connsiteX2" fmla="*/ 759977 w 4664922"/>
              <a:gd name="connsiteY2" fmla="*/ 1783326 h 1786050"/>
              <a:gd name="connsiteX3" fmla="*/ 751416 w 4664922"/>
              <a:gd name="connsiteY3" fmla="*/ 1777831 h 1786050"/>
              <a:gd name="connsiteX4" fmla="*/ 738806 w 4664922"/>
              <a:gd name="connsiteY4" fmla="*/ 1768865 h 1786050"/>
              <a:gd name="connsiteX5" fmla="*/ 723246 w 4664922"/>
              <a:gd name="connsiteY5" fmla="*/ 1761345 h 1786050"/>
              <a:gd name="connsiteX6" fmla="*/ 714106 w 4664922"/>
              <a:gd name="connsiteY6" fmla="*/ 1756660 h 1786050"/>
              <a:gd name="connsiteX7" fmla="*/ 713181 w 4664922"/>
              <a:gd name="connsiteY7" fmla="*/ 1756660 h 1786050"/>
              <a:gd name="connsiteX8" fmla="*/ 708843 w 4664922"/>
              <a:gd name="connsiteY8" fmla="*/ 1748388 h 1786050"/>
              <a:gd name="connsiteX9" fmla="*/ 705083 w 4664922"/>
              <a:gd name="connsiteY9" fmla="*/ 1739654 h 1786050"/>
              <a:gd name="connsiteX10" fmla="*/ 699298 w 4664922"/>
              <a:gd name="connsiteY10" fmla="*/ 1737629 h 1786050"/>
              <a:gd name="connsiteX11" fmla="*/ 695133 w 4664922"/>
              <a:gd name="connsiteY11" fmla="*/ 1736010 h 1786050"/>
              <a:gd name="connsiteX12" fmla="*/ 667947 w 4664922"/>
              <a:gd name="connsiteY12" fmla="*/ 1739422 h 1786050"/>
              <a:gd name="connsiteX13" fmla="*/ 665286 w 4664922"/>
              <a:gd name="connsiteY13" fmla="*/ 1740348 h 1786050"/>
              <a:gd name="connsiteX14" fmla="*/ 657650 w 4664922"/>
              <a:gd name="connsiteY14" fmla="*/ 1735720 h 1786050"/>
              <a:gd name="connsiteX15" fmla="*/ 650304 w 4664922"/>
              <a:gd name="connsiteY15" fmla="*/ 1731209 h 1786050"/>
              <a:gd name="connsiteX16" fmla="*/ 632430 w 4664922"/>
              <a:gd name="connsiteY16" fmla="*/ 1719640 h 1786050"/>
              <a:gd name="connsiteX17" fmla="*/ 624853 w 4664922"/>
              <a:gd name="connsiteY17" fmla="*/ 1718309 h 1786050"/>
              <a:gd name="connsiteX18" fmla="*/ 615771 w 4664922"/>
              <a:gd name="connsiteY18" fmla="*/ 1718656 h 1786050"/>
              <a:gd name="connsiteX19" fmla="*/ 604896 w 4664922"/>
              <a:gd name="connsiteY19" fmla="*/ 1719003 h 1786050"/>
              <a:gd name="connsiteX20" fmla="*/ 590262 w 4664922"/>
              <a:gd name="connsiteY20" fmla="*/ 1716285 h 1786050"/>
              <a:gd name="connsiteX21" fmla="*/ 561340 w 4664922"/>
              <a:gd name="connsiteY21" fmla="*/ 1706625 h 1786050"/>
              <a:gd name="connsiteX22" fmla="*/ 558621 w 4664922"/>
              <a:gd name="connsiteY22" fmla="*/ 1706625 h 1786050"/>
              <a:gd name="connsiteX23" fmla="*/ 548788 w 4664922"/>
              <a:gd name="connsiteY23" fmla="*/ 1711194 h 1786050"/>
              <a:gd name="connsiteX24" fmla="*/ 547630 w 4664922"/>
              <a:gd name="connsiteY24" fmla="*/ 1711194 h 1786050"/>
              <a:gd name="connsiteX25" fmla="*/ 540285 w 4664922"/>
              <a:gd name="connsiteY25" fmla="*/ 1705410 h 1786050"/>
              <a:gd name="connsiteX26" fmla="*/ 489960 w 4664922"/>
              <a:gd name="connsiteY26" fmla="*/ 1669026 h 1786050"/>
              <a:gd name="connsiteX27" fmla="*/ 471623 w 4664922"/>
              <a:gd name="connsiteY27" fmla="*/ 1655143 h 1786050"/>
              <a:gd name="connsiteX28" fmla="*/ 468615 w 4664922"/>
              <a:gd name="connsiteY28" fmla="*/ 1651673 h 1786050"/>
              <a:gd name="connsiteX29" fmla="*/ 465550 w 4664922"/>
              <a:gd name="connsiteY29" fmla="*/ 1648375 h 1786050"/>
              <a:gd name="connsiteX30" fmla="*/ 476077 w 4664922"/>
              <a:gd name="connsiteY30" fmla="*/ 1642996 h 1786050"/>
              <a:gd name="connsiteX31" fmla="*/ 488629 w 4664922"/>
              <a:gd name="connsiteY31" fmla="*/ 1639583 h 1786050"/>
              <a:gd name="connsiteX32" fmla="*/ 489902 w 4664922"/>
              <a:gd name="connsiteY32" fmla="*/ 1632526 h 1786050"/>
              <a:gd name="connsiteX33" fmla="*/ 500314 w 4664922"/>
              <a:gd name="connsiteY33" fmla="*/ 1620495 h 1786050"/>
              <a:gd name="connsiteX34" fmla="*/ 506098 w 4664922"/>
              <a:gd name="connsiteY34" fmla="*/ 1616561 h 1786050"/>
              <a:gd name="connsiteX35" fmla="*/ 500314 w 4664922"/>
              <a:gd name="connsiteY35" fmla="*/ 1609388 h 1786050"/>
              <a:gd name="connsiteX36" fmla="*/ 494530 w 4664922"/>
              <a:gd name="connsiteY36" fmla="*/ 1602100 h 1786050"/>
              <a:gd name="connsiteX37" fmla="*/ 496438 w 4664922"/>
              <a:gd name="connsiteY37" fmla="*/ 1600191 h 1786050"/>
              <a:gd name="connsiteX38" fmla="*/ 529641 w 4664922"/>
              <a:gd name="connsiteY38" fmla="*/ 1582375 h 1786050"/>
              <a:gd name="connsiteX39" fmla="*/ 529641 w 4664922"/>
              <a:gd name="connsiteY39" fmla="*/ 1582028 h 1786050"/>
              <a:gd name="connsiteX40" fmla="*/ 523220 w 4664922"/>
              <a:gd name="connsiteY40" fmla="*/ 1580871 h 1786050"/>
              <a:gd name="connsiteX41" fmla="*/ 502975 w 4664922"/>
              <a:gd name="connsiteY41" fmla="*/ 1583243 h 1786050"/>
              <a:gd name="connsiteX42" fmla="*/ 501644 w 4664922"/>
              <a:gd name="connsiteY42" fmla="*/ 1582375 h 1786050"/>
              <a:gd name="connsiteX43" fmla="*/ 501644 w 4664922"/>
              <a:gd name="connsiteY43" fmla="*/ 1581797 h 1786050"/>
              <a:gd name="connsiteX44" fmla="*/ 501008 w 4664922"/>
              <a:gd name="connsiteY44" fmla="*/ 1569476 h 1786050"/>
              <a:gd name="connsiteX45" fmla="*/ 503322 w 4664922"/>
              <a:gd name="connsiteY45" fmla="*/ 1568030 h 1786050"/>
              <a:gd name="connsiteX46" fmla="*/ 512809 w 4664922"/>
              <a:gd name="connsiteY46" fmla="*/ 1561320 h 1786050"/>
              <a:gd name="connsiteX47" fmla="*/ 524724 w 4664922"/>
              <a:gd name="connsiteY47" fmla="*/ 1553511 h 1786050"/>
              <a:gd name="connsiteX48" fmla="*/ 531550 w 4664922"/>
              <a:gd name="connsiteY48" fmla="*/ 1554205 h 1786050"/>
              <a:gd name="connsiteX49" fmla="*/ 543119 w 4664922"/>
              <a:gd name="connsiteY49" fmla="*/ 1555304 h 1786050"/>
              <a:gd name="connsiteX50" fmla="*/ 545895 w 4664922"/>
              <a:gd name="connsiteY50" fmla="*/ 1555015 h 1786050"/>
              <a:gd name="connsiteX51" fmla="*/ 548151 w 4664922"/>
              <a:gd name="connsiteY51" fmla="*/ 1548363 h 1786050"/>
              <a:gd name="connsiteX52" fmla="*/ 550754 w 4664922"/>
              <a:gd name="connsiteY52" fmla="*/ 1539339 h 1786050"/>
              <a:gd name="connsiteX53" fmla="*/ 548209 w 4664922"/>
              <a:gd name="connsiteY53" fmla="*/ 1535811 h 1786050"/>
              <a:gd name="connsiteX54" fmla="*/ 544738 w 4664922"/>
              <a:gd name="connsiteY54" fmla="*/ 1528175 h 1786050"/>
              <a:gd name="connsiteX55" fmla="*/ 550118 w 4664922"/>
              <a:gd name="connsiteY55" fmla="*/ 1524647 h 1786050"/>
              <a:gd name="connsiteX56" fmla="*/ 554340 w 4664922"/>
              <a:gd name="connsiteY56" fmla="*/ 1521928 h 1786050"/>
              <a:gd name="connsiteX57" fmla="*/ 550986 w 4664922"/>
              <a:gd name="connsiteY57" fmla="*/ 1518052 h 1786050"/>
              <a:gd name="connsiteX58" fmla="*/ 547688 w 4664922"/>
              <a:gd name="connsiteY58" fmla="*/ 1514003 h 1786050"/>
              <a:gd name="connsiteX59" fmla="*/ 550986 w 4664922"/>
              <a:gd name="connsiteY59" fmla="*/ 1509549 h 1786050"/>
              <a:gd name="connsiteX60" fmla="*/ 555556 w 4664922"/>
              <a:gd name="connsiteY60" fmla="*/ 1502724 h 1786050"/>
              <a:gd name="connsiteX61" fmla="*/ 547862 w 4664922"/>
              <a:gd name="connsiteY61" fmla="*/ 1496939 h 1786050"/>
              <a:gd name="connsiteX62" fmla="*/ 540400 w 4664922"/>
              <a:gd name="connsiteY62" fmla="*/ 1493642 h 1786050"/>
              <a:gd name="connsiteX63" fmla="*/ 528484 w 4664922"/>
              <a:gd name="connsiteY63" fmla="*/ 1490403 h 1786050"/>
              <a:gd name="connsiteX64" fmla="*/ 517436 w 4664922"/>
              <a:gd name="connsiteY64" fmla="*/ 1487568 h 1786050"/>
              <a:gd name="connsiteX65" fmla="*/ 502744 w 4664922"/>
              <a:gd name="connsiteY65" fmla="*/ 1485370 h 1786050"/>
              <a:gd name="connsiteX66" fmla="*/ 494414 w 4664922"/>
              <a:gd name="connsiteY66" fmla="*/ 1482941 h 1786050"/>
              <a:gd name="connsiteX67" fmla="*/ 488629 w 4664922"/>
              <a:gd name="connsiteY67" fmla="*/ 1476462 h 1786050"/>
              <a:gd name="connsiteX68" fmla="*/ 482093 w 4664922"/>
              <a:gd name="connsiteY68" fmla="*/ 1468943 h 1786050"/>
              <a:gd name="connsiteX69" fmla="*/ 478333 w 4664922"/>
              <a:gd name="connsiteY69" fmla="*/ 1467265 h 1786050"/>
              <a:gd name="connsiteX70" fmla="*/ 468615 w 4664922"/>
              <a:gd name="connsiteY70" fmla="*/ 1470562 h 1786050"/>
              <a:gd name="connsiteX71" fmla="*/ 453460 w 4664922"/>
              <a:gd name="connsiteY71" fmla="*/ 1471777 h 1786050"/>
              <a:gd name="connsiteX72" fmla="*/ 449816 w 4664922"/>
              <a:gd name="connsiteY72" fmla="*/ 1469232 h 1786050"/>
              <a:gd name="connsiteX73" fmla="*/ 441139 w 4664922"/>
              <a:gd name="connsiteY73" fmla="*/ 1465761 h 1786050"/>
              <a:gd name="connsiteX74" fmla="*/ 436627 w 4664922"/>
              <a:gd name="connsiteY74" fmla="*/ 1466629 h 1786050"/>
              <a:gd name="connsiteX75" fmla="*/ 429975 w 4664922"/>
              <a:gd name="connsiteY75" fmla="*/ 1463968 h 1786050"/>
              <a:gd name="connsiteX76" fmla="*/ 429339 w 4664922"/>
              <a:gd name="connsiteY76" fmla="*/ 1458935 h 1786050"/>
              <a:gd name="connsiteX77" fmla="*/ 417770 w 4664922"/>
              <a:gd name="connsiteY77" fmla="*/ 1439153 h 1786050"/>
              <a:gd name="connsiteX78" fmla="*/ 411407 w 4664922"/>
              <a:gd name="connsiteY78" fmla="*/ 1438516 h 1786050"/>
              <a:gd name="connsiteX79" fmla="*/ 397235 w 4664922"/>
              <a:gd name="connsiteY79" fmla="*/ 1433773 h 1786050"/>
              <a:gd name="connsiteX80" fmla="*/ 394170 w 4664922"/>
              <a:gd name="connsiteY80" fmla="*/ 1428683 h 1786050"/>
              <a:gd name="connsiteX81" fmla="*/ 391220 w 4664922"/>
              <a:gd name="connsiteY81" fmla="*/ 1417577 h 1786050"/>
              <a:gd name="connsiteX82" fmla="*/ 387576 w 4664922"/>
              <a:gd name="connsiteY82" fmla="*/ 1398083 h 1786050"/>
              <a:gd name="connsiteX83" fmla="*/ 376007 w 4664922"/>
              <a:gd name="connsiteY83" fmla="*/ 1394902 h 1786050"/>
              <a:gd name="connsiteX84" fmla="*/ 366810 w 4664922"/>
              <a:gd name="connsiteY84" fmla="*/ 1396117 h 1786050"/>
              <a:gd name="connsiteX85" fmla="*/ 362934 w 4664922"/>
              <a:gd name="connsiteY85" fmla="*/ 1396753 h 1786050"/>
              <a:gd name="connsiteX86" fmla="*/ 357786 w 4664922"/>
              <a:gd name="connsiteY86" fmla="*/ 1396348 h 1786050"/>
              <a:gd name="connsiteX87" fmla="*/ 352637 w 4664922"/>
              <a:gd name="connsiteY87" fmla="*/ 1395943 h 1786050"/>
              <a:gd name="connsiteX88" fmla="*/ 348762 w 4664922"/>
              <a:gd name="connsiteY88" fmla="*/ 1396695 h 1786050"/>
              <a:gd name="connsiteX89" fmla="*/ 345291 w 4664922"/>
              <a:gd name="connsiteY89" fmla="*/ 1399182 h 1786050"/>
              <a:gd name="connsiteX90" fmla="*/ 335458 w 4664922"/>
              <a:gd name="connsiteY90" fmla="*/ 1403463 h 1786050"/>
              <a:gd name="connsiteX91" fmla="*/ 322847 w 4664922"/>
              <a:gd name="connsiteY91" fmla="*/ 1388076 h 1786050"/>
              <a:gd name="connsiteX92" fmla="*/ 319724 w 4664922"/>
              <a:gd name="connsiteY92" fmla="*/ 1376797 h 1786050"/>
              <a:gd name="connsiteX93" fmla="*/ 318914 w 4664922"/>
              <a:gd name="connsiteY93" fmla="*/ 1361641 h 1786050"/>
              <a:gd name="connsiteX94" fmla="*/ 322327 w 4664922"/>
              <a:gd name="connsiteY94" fmla="*/ 1360195 h 1786050"/>
              <a:gd name="connsiteX95" fmla="*/ 329731 w 4664922"/>
              <a:gd name="connsiteY95" fmla="*/ 1362393 h 1786050"/>
              <a:gd name="connsiteX96" fmla="*/ 338640 w 4664922"/>
              <a:gd name="connsiteY96" fmla="*/ 1364360 h 1786050"/>
              <a:gd name="connsiteX97" fmla="*/ 351943 w 4664922"/>
              <a:gd name="connsiteY97" fmla="*/ 1352791 h 1786050"/>
              <a:gd name="connsiteX98" fmla="*/ 337656 w 4664922"/>
              <a:gd name="connsiteY98" fmla="*/ 1339718 h 1786050"/>
              <a:gd name="connsiteX99" fmla="*/ 330830 w 4664922"/>
              <a:gd name="connsiteY99" fmla="*/ 1333298 h 1786050"/>
              <a:gd name="connsiteX100" fmla="*/ 321749 w 4664922"/>
              <a:gd name="connsiteY100" fmla="*/ 1324563 h 1786050"/>
              <a:gd name="connsiteX101" fmla="*/ 313998 w 4664922"/>
              <a:gd name="connsiteY101" fmla="*/ 1315135 h 1786050"/>
              <a:gd name="connsiteX102" fmla="*/ 308792 w 4664922"/>
              <a:gd name="connsiteY102" fmla="*/ 1307499 h 1786050"/>
              <a:gd name="connsiteX103" fmla="*/ 304916 w 4664922"/>
              <a:gd name="connsiteY103" fmla="*/ 1293501 h 1786050"/>
              <a:gd name="connsiteX104" fmla="*/ 305263 w 4664922"/>
              <a:gd name="connsiteY104" fmla="*/ 1287254 h 1786050"/>
              <a:gd name="connsiteX105" fmla="*/ 305263 w 4664922"/>
              <a:gd name="connsiteY105" fmla="*/ 1280370 h 1786050"/>
              <a:gd name="connsiteX106" fmla="*/ 303586 w 4664922"/>
              <a:gd name="connsiteY106" fmla="*/ 1269380 h 1786050"/>
              <a:gd name="connsiteX107" fmla="*/ 302313 w 4664922"/>
              <a:gd name="connsiteY107" fmla="*/ 1268743 h 1786050"/>
              <a:gd name="connsiteX108" fmla="*/ 282126 w 4664922"/>
              <a:gd name="connsiteY108" fmla="*/ 1261571 h 1786050"/>
              <a:gd name="connsiteX109" fmla="*/ 279118 w 4664922"/>
              <a:gd name="connsiteY109" fmla="*/ 1262149 h 1786050"/>
              <a:gd name="connsiteX110" fmla="*/ 278597 w 4664922"/>
              <a:gd name="connsiteY110" fmla="*/ 1262149 h 1786050"/>
              <a:gd name="connsiteX111" fmla="*/ 269053 w 4664922"/>
              <a:gd name="connsiteY111" fmla="*/ 1265273 h 1786050"/>
              <a:gd name="connsiteX112" fmla="*/ 263268 w 4664922"/>
              <a:gd name="connsiteY112" fmla="*/ 1261455 h 1786050"/>
              <a:gd name="connsiteX113" fmla="*/ 250658 w 4664922"/>
              <a:gd name="connsiteY113" fmla="*/ 1255324 h 1786050"/>
              <a:gd name="connsiteX114" fmla="*/ 246435 w 4664922"/>
              <a:gd name="connsiteY114" fmla="*/ 1255902 h 1786050"/>
              <a:gd name="connsiteX115" fmla="*/ 234866 w 4664922"/>
              <a:gd name="connsiteY115" fmla="*/ 1250869 h 1786050"/>
              <a:gd name="connsiteX116" fmla="*/ 231164 w 4664922"/>
              <a:gd name="connsiteY116" fmla="*/ 1241615 h 1786050"/>
              <a:gd name="connsiteX117" fmla="*/ 227520 w 4664922"/>
              <a:gd name="connsiteY117" fmla="*/ 1232070 h 1786050"/>
              <a:gd name="connsiteX118" fmla="*/ 218786 w 4664922"/>
              <a:gd name="connsiteY118" fmla="*/ 1215064 h 1786050"/>
              <a:gd name="connsiteX119" fmla="*/ 216009 w 4664922"/>
              <a:gd name="connsiteY119" fmla="*/ 1201124 h 1786050"/>
              <a:gd name="connsiteX120" fmla="*/ 210225 w 4664922"/>
              <a:gd name="connsiteY120" fmla="*/ 1189555 h 1786050"/>
              <a:gd name="connsiteX121" fmla="*/ 212365 w 4664922"/>
              <a:gd name="connsiteY121" fmla="*/ 1184985 h 1786050"/>
              <a:gd name="connsiteX122" fmla="*/ 216645 w 4664922"/>
              <a:gd name="connsiteY122" fmla="*/ 1182671 h 1786050"/>
              <a:gd name="connsiteX123" fmla="*/ 220405 w 4664922"/>
              <a:gd name="connsiteY123" fmla="*/ 1180126 h 1786050"/>
              <a:gd name="connsiteX124" fmla="*/ 219480 w 4664922"/>
              <a:gd name="connsiteY124" fmla="*/ 1177407 h 1786050"/>
              <a:gd name="connsiteX125" fmla="*/ 218555 w 4664922"/>
              <a:gd name="connsiteY125" fmla="*/ 1176135 h 1786050"/>
              <a:gd name="connsiteX126" fmla="*/ 213175 w 4664922"/>
              <a:gd name="connsiteY126" fmla="*/ 1162310 h 1786050"/>
              <a:gd name="connsiteX127" fmla="*/ 212076 w 4664922"/>
              <a:gd name="connsiteY127" fmla="*/ 1154906 h 1786050"/>
              <a:gd name="connsiteX128" fmla="*/ 211382 w 4664922"/>
              <a:gd name="connsiteY128" fmla="*/ 1146345 h 1786050"/>
              <a:gd name="connsiteX129" fmla="*/ 215199 w 4664922"/>
              <a:gd name="connsiteY129" fmla="*/ 1139809 h 1786050"/>
              <a:gd name="connsiteX130" fmla="*/ 220579 w 4664922"/>
              <a:gd name="connsiteY130" fmla="*/ 1132115 h 1786050"/>
              <a:gd name="connsiteX131" fmla="*/ 225033 w 4664922"/>
              <a:gd name="connsiteY131" fmla="*/ 1126331 h 1786050"/>
              <a:gd name="connsiteX132" fmla="*/ 226190 w 4664922"/>
              <a:gd name="connsiteY132" fmla="*/ 1115456 h 1786050"/>
              <a:gd name="connsiteX133" fmla="*/ 226190 w 4664922"/>
              <a:gd name="connsiteY133" fmla="*/ 1113952 h 1786050"/>
              <a:gd name="connsiteX134" fmla="*/ 228446 w 4664922"/>
              <a:gd name="connsiteY134" fmla="*/ 1111233 h 1786050"/>
              <a:gd name="connsiteX135" fmla="*/ 240015 w 4664922"/>
              <a:gd name="connsiteY135" fmla="*/ 1103193 h 1786050"/>
              <a:gd name="connsiteX136" fmla="*/ 252682 w 4664922"/>
              <a:gd name="connsiteY136" fmla="*/ 1097409 h 1786050"/>
              <a:gd name="connsiteX137" fmla="*/ 266855 w 4664922"/>
              <a:gd name="connsiteY137" fmla="*/ 1094112 h 1786050"/>
              <a:gd name="connsiteX138" fmla="*/ 275126 w 4664922"/>
              <a:gd name="connsiteY138" fmla="*/ 1094921 h 1786050"/>
              <a:gd name="connsiteX139" fmla="*/ 279696 w 4664922"/>
              <a:gd name="connsiteY139" fmla="*/ 1093996 h 1786050"/>
              <a:gd name="connsiteX140" fmla="*/ 278712 w 4664922"/>
              <a:gd name="connsiteY140" fmla="*/ 1092318 h 1786050"/>
              <a:gd name="connsiteX141" fmla="*/ 268705 w 4664922"/>
              <a:gd name="connsiteY141" fmla="*/ 1090236 h 1786050"/>
              <a:gd name="connsiteX142" fmla="*/ 254996 w 4664922"/>
              <a:gd name="connsiteY142" fmla="*/ 1087170 h 1786050"/>
              <a:gd name="connsiteX143" fmla="*/ 248055 w 4664922"/>
              <a:gd name="connsiteY143" fmla="*/ 1077915 h 1786050"/>
              <a:gd name="connsiteX144" fmla="*/ 240131 w 4664922"/>
              <a:gd name="connsiteY144" fmla="*/ 1069238 h 1786050"/>
              <a:gd name="connsiteX145" fmla="*/ 238915 w 4664922"/>
              <a:gd name="connsiteY145" fmla="*/ 1069585 h 1786050"/>
              <a:gd name="connsiteX146" fmla="*/ 227346 w 4664922"/>
              <a:gd name="connsiteY146" fmla="*/ 1073750 h 1786050"/>
              <a:gd name="connsiteX147" fmla="*/ 226190 w 4664922"/>
              <a:gd name="connsiteY147" fmla="*/ 1073288 h 1786050"/>
              <a:gd name="connsiteX148" fmla="*/ 226190 w 4664922"/>
              <a:gd name="connsiteY148" fmla="*/ 1072015 h 1786050"/>
              <a:gd name="connsiteX149" fmla="*/ 239379 w 4664922"/>
              <a:gd name="connsiteY149" fmla="*/ 1055240 h 1786050"/>
              <a:gd name="connsiteX150" fmla="*/ 256732 w 4664922"/>
              <a:gd name="connsiteY150" fmla="*/ 1042688 h 1786050"/>
              <a:gd name="connsiteX151" fmla="*/ 280852 w 4664922"/>
              <a:gd name="connsiteY151" fmla="*/ 1021690 h 1786050"/>
              <a:gd name="connsiteX152" fmla="*/ 302313 w 4664922"/>
              <a:gd name="connsiteY152" fmla="*/ 1001040 h 1786050"/>
              <a:gd name="connsiteX153" fmla="*/ 321228 w 4664922"/>
              <a:gd name="connsiteY153" fmla="*/ 982993 h 1786050"/>
              <a:gd name="connsiteX154" fmla="*/ 314171 w 4664922"/>
              <a:gd name="connsiteY154" fmla="*/ 962284 h 1786050"/>
              <a:gd name="connsiteX155" fmla="*/ 293521 w 4664922"/>
              <a:gd name="connsiteY155" fmla="*/ 947129 h 1786050"/>
              <a:gd name="connsiteX156" fmla="*/ 279118 w 4664922"/>
              <a:gd name="connsiteY156" fmla="*/ 935040 h 1786050"/>
              <a:gd name="connsiteX157" fmla="*/ 287563 w 4664922"/>
              <a:gd name="connsiteY157" fmla="*/ 927115 h 1786050"/>
              <a:gd name="connsiteX158" fmla="*/ 296065 w 4664922"/>
              <a:gd name="connsiteY158" fmla="*/ 919653 h 1786050"/>
              <a:gd name="connsiteX159" fmla="*/ 289182 w 4664922"/>
              <a:gd name="connsiteY159" fmla="*/ 911844 h 1786050"/>
              <a:gd name="connsiteX160" fmla="*/ 281720 w 4664922"/>
              <a:gd name="connsiteY160" fmla="*/ 905655 h 1786050"/>
              <a:gd name="connsiteX161" fmla="*/ 283860 w 4664922"/>
              <a:gd name="connsiteY161" fmla="*/ 894664 h 1786050"/>
              <a:gd name="connsiteX162" fmla="*/ 285654 w 4664922"/>
              <a:gd name="connsiteY162" fmla="*/ 891599 h 1786050"/>
              <a:gd name="connsiteX163" fmla="*/ 279870 w 4664922"/>
              <a:gd name="connsiteY163" fmla="*/ 888417 h 1786050"/>
              <a:gd name="connsiteX164" fmla="*/ 271713 w 4664922"/>
              <a:gd name="connsiteY164" fmla="*/ 882633 h 1786050"/>
              <a:gd name="connsiteX165" fmla="*/ 275531 w 4664922"/>
              <a:gd name="connsiteY165" fmla="*/ 877890 h 1786050"/>
              <a:gd name="connsiteX166" fmla="*/ 278192 w 4664922"/>
              <a:gd name="connsiteY166" fmla="*/ 874708 h 1786050"/>
              <a:gd name="connsiteX167" fmla="*/ 276225 w 4664922"/>
              <a:gd name="connsiteY167" fmla="*/ 870659 h 1786050"/>
              <a:gd name="connsiteX168" fmla="*/ 274374 w 4664922"/>
              <a:gd name="connsiteY168" fmla="*/ 852669 h 1786050"/>
              <a:gd name="connsiteX169" fmla="*/ 282299 w 4664922"/>
              <a:gd name="connsiteY169" fmla="*/ 848331 h 1786050"/>
              <a:gd name="connsiteX170" fmla="*/ 286001 w 4664922"/>
              <a:gd name="connsiteY170" fmla="*/ 846538 h 1786050"/>
              <a:gd name="connsiteX171" fmla="*/ 283166 w 4664922"/>
              <a:gd name="connsiteY171" fmla="*/ 837803 h 1786050"/>
              <a:gd name="connsiteX172" fmla="*/ 258467 w 4664922"/>
              <a:gd name="connsiteY172" fmla="*/ 798354 h 1786050"/>
              <a:gd name="connsiteX173" fmla="*/ 257368 w 4664922"/>
              <a:gd name="connsiteY173" fmla="*/ 796618 h 1786050"/>
              <a:gd name="connsiteX174" fmla="*/ 256442 w 4664922"/>
              <a:gd name="connsiteY174" fmla="*/ 791297 h 1786050"/>
              <a:gd name="connsiteX175" fmla="*/ 265755 w 4664922"/>
              <a:gd name="connsiteY175" fmla="*/ 778976 h 1786050"/>
              <a:gd name="connsiteX176" fmla="*/ 282241 w 4664922"/>
              <a:gd name="connsiteY176" fmla="*/ 759714 h 1786050"/>
              <a:gd name="connsiteX177" fmla="*/ 263384 w 4664922"/>
              <a:gd name="connsiteY177" fmla="*/ 740451 h 1786050"/>
              <a:gd name="connsiteX178" fmla="*/ 258872 w 4664922"/>
              <a:gd name="connsiteY178" fmla="*/ 738890 h 1786050"/>
              <a:gd name="connsiteX179" fmla="*/ 245973 w 4664922"/>
              <a:gd name="connsiteY179" fmla="*/ 730271 h 1786050"/>
              <a:gd name="connsiteX180" fmla="*/ 242965 w 4664922"/>
              <a:gd name="connsiteY180" fmla="*/ 725065 h 1786050"/>
              <a:gd name="connsiteX181" fmla="*/ 242039 w 4664922"/>
              <a:gd name="connsiteY181" fmla="*/ 713496 h 1786050"/>
              <a:gd name="connsiteX182" fmla="*/ 245915 w 4664922"/>
              <a:gd name="connsiteY182" fmla="*/ 699671 h 1786050"/>
              <a:gd name="connsiteX183" fmla="*/ 250774 w 4664922"/>
              <a:gd name="connsiteY183" fmla="*/ 695564 h 1786050"/>
              <a:gd name="connsiteX184" fmla="*/ 256558 w 4664922"/>
              <a:gd name="connsiteY184" fmla="*/ 691342 h 1786050"/>
              <a:gd name="connsiteX185" fmla="*/ 276225 w 4664922"/>
              <a:gd name="connsiteY185" fmla="*/ 674278 h 1786050"/>
              <a:gd name="connsiteX186" fmla="*/ 286753 w 4664922"/>
              <a:gd name="connsiteY186" fmla="*/ 669014 h 1786050"/>
              <a:gd name="connsiteX187" fmla="*/ 297454 w 4664922"/>
              <a:gd name="connsiteY187" fmla="*/ 663692 h 1786050"/>
              <a:gd name="connsiteX188" fmla="*/ 299074 w 4664922"/>
              <a:gd name="connsiteY188" fmla="*/ 663692 h 1786050"/>
              <a:gd name="connsiteX189" fmla="*/ 302718 w 4664922"/>
              <a:gd name="connsiteY189" fmla="*/ 664097 h 1786050"/>
              <a:gd name="connsiteX190" fmla="*/ 311626 w 4664922"/>
              <a:gd name="connsiteY190" fmla="*/ 654784 h 1786050"/>
              <a:gd name="connsiteX191" fmla="*/ 312262 w 4664922"/>
              <a:gd name="connsiteY191" fmla="*/ 653974 h 1786050"/>
              <a:gd name="connsiteX192" fmla="*/ 313361 w 4664922"/>
              <a:gd name="connsiteY192" fmla="*/ 653974 h 1786050"/>
              <a:gd name="connsiteX193" fmla="*/ 315386 w 4664922"/>
              <a:gd name="connsiteY193" fmla="*/ 655478 h 1786050"/>
              <a:gd name="connsiteX194" fmla="*/ 325046 w 4664922"/>
              <a:gd name="connsiteY194" fmla="*/ 659817 h 1786050"/>
              <a:gd name="connsiteX195" fmla="*/ 330078 w 4664922"/>
              <a:gd name="connsiteY195" fmla="*/ 656635 h 1786050"/>
              <a:gd name="connsiteX196" fmla="*/ 340664 w 4664922"/>
              <a:gd name="connsiteY196" fmla="*/ 648653 h 1786050"/>
              <a:gd name="connsiteX197" fmla="*/ 351191 w 4664922"/>
              <a:gd name="connsiteY197" fmla="*/ 652470 h 1786050"/>
              <a:gd name="connsiteX198" fmla="*/ 363744 w 4664922"/>
              <a:gd name="connsiteY198" fmla="*/ 656404 h 1786050"/>
              <a:gd name="connsiteX199" fmla="*/ 369528 w 4664922"/>
              <a:gd name="connsiteY199" fmla="*/ 660511 h 1786050"/>
              <a:gd name="connsiteX200" fmla="*/ 368834 w 4664922"/>
              <a:gd name="connsiteY200" fmla="*/ 663229 h 1786050"/>
              <a:gd name="connsiteX201" fmla="*/ 357786 w 4664922"/>
              <a:gd name="connsiteY201" fmla="*/ 666122 h 1786050"/>
              <a:gd name="connsiteX202" fmla="*/ 349051 w 4664922"/>
              <a:gd name="connsiteY202" fmla="*/ 667857 h 1786050"/>
              <a:gd name="connsiteX203" fmla="*/ 349051 w 4664922"/>
              <a:gd name="connsiteY203" fmla="*/ 670691 h 1786050"/>
              <a:gd name="connsiteX204" fmla="*/ 358885 w 4664922"/>
              <a:gd name="connsiteY204" fmla="*/ 675492 h 1786050"/>
              <a:gd name="connsiteX205" fmla="*/ 363512 w 4664922"/>
              <a:gd name="connsiteY205" fmla="*/ 674914 h 1786050"/>
              <a:gd name="connsiteX206" fmla="*/ 368429 w 4664922"/>
              <a:gd name="connsiteY206" fmla="*/ 674335 h 1786050"/>
              <a:gd name="connsiteX207" fmla="*/ 378783 w 4664922"/>
              <a:gd name="connsiteY207" fmla="*/ 676476 h 1786050"/>
              <a:gd name="connsiteX208" fmla="*/ 388154 w 4664922"/>
              <a:gd name="connsiteY208" fmla="*/ 676476 h 1786050"/>
              <a:gd name="connsiteX209" fmla="*/ 399723 w 4664922"/>
              <a:gd name="connsiteY209" fmla="*/ 672369 h 1786050"/>
              <a:gd name="connsiteX210" fmla="*/ 409441 w 4664922"/>
              <a:gd name="connsiteY210" fmla="*/ 677170 h 1786050"/>
              <a:gd name="connsiteX211" fmla="*/ 414820 w 4664922"/>
              <a:gd name="connsiteY211" fmla="*/ 680814 h 1786050"/>
              <a:gd name="connsiteX212" fmla="*/ 422166 w 4664922"/>
              <a:gd name="connsiteY212" fmla="*/ 678384 h 1786050"/>
              <a:gd name="connsiteX213" fmla="*/ 425290 w 4664922"/>
              <a:gd name="connsiteY213" fmla="*/ 677864 h 1786050"/>
              <a:gd name="connsiteX214" fmla="*/ 487067 w 4664922"/>
              <a:gd name="connsiteY214" fmla="*/ 703547 h 1786050"/>
              <a:gd name="connsiteX215" fmla="*/ 491984 w 4664922"/>
              <a:gd name="connsiteY215" fmla="*/ 706786 h 1786050"/>
              <a:gd name="connsiteX216" fmla="*/ 526344 w 4664922"/>
              <a:gd name="connsiteY216" fmla="*/ 723561 h 1786050"/>
              <a:gd name="connsiteX217" fmla="*/ 537334 w 4664922"/>
              <a:gd name="connsiteY217" fmla="*/ 729345 h 1786050"/>
              <a:gd name="connsiteX218" fmla="*/ 548903 w 4664922"/>
              <a:gd name="connsiteY218" fmla="*/ 735940 h 1786050"/>
              <a:gd name="connsiteX219" fmla="*/ 572561 w 4664922"/>
              <a:gd name="connsiteY219" fmla="*/ 750343 h 1786050"/>
              <a:gd name="connsiteX220" fmla="*/ 579272 w 4664922"/>
              <a:gd name="connsiteY220" fmla="*/ 754623 h 1786050"/>
              <a:gd name="connsiteX221" fmla="*/ 588411 w 4664922"/>
              <a:gd name="connsiteY221" fmla="*/ 762895 h 1786050"/>
              <a:gd name="connsiteX222" fmla="*/ 590551 w 4664922"/>
              <a:gd name="connsiteY222" fmla="*/ 770935 h 1786050"/>
              <a:gd name="connsiteX223" fmla="*/ 590551 w 4664922"/>
              <a:gd name="connsiteY223" fmla="*/ 795982 h 1786050"/>
              <a:gd name="connsiteX224" fmla="*/ 516799 w 4664922"/>
              <a:gd name="connsiteY224" fmla="*/ 831498 h 1786050"/>
              <a:gd name="connsiteX225" fmla="*/ 510379 w 4664922"/>
              <a:gd name="connsiteY225" fmla="*/ 831036 h 1786050"/>
              <a:gd name="connsiteX226" fmla="*/ 457625 w 4664922"/>
              <a:gd name="connsiteY226" fmla="*/ 822475 h 1786050"/>
              <a:gd name="connsiteX227" fmla="*/ 446519 w 4664922"/>
              <a:gd name="connsiteY227" fmla="*/ 820566 h 1786050"/>
              <a:gd name="connsiteX228" fmla="*/ 422108 w 4664922"/>
              <a:gd name="connsiteY228" fmla="*/ 812699 h 1786050"/>
              <a:gd name="connsiteX229" fmla="*/ 398971 w 4664922"/>
              <a:gd name="connsiteY229" fmla="*/ 805642 h 1786050"/>
              <a:gd name="connsiteX230" fmla="*/ 360446 w 4664922"/>
              <a:gd name="connsiteY230" fmla="*/ 789156 h 1786050"/>
              <a:gd name="connsiteX231" fmla="*/ 340259 w 4664922"/>
              <a:gd name="connsiteY231" fmla="*/ 781174 h 1786050"/>
              <a:gd name="connsiteX232" fmla="*/ 341821 w 4664922"/>
              <a:gd name="connsiteY232" fmla="*/ 781810 h 1786050"/>
              <a:gd name="connsiteX233" fmla="*/ 350208 w 4664922"/>
              <a:gd name="connsiteY233" fmla="*/ 788925 h 1786050"/>
              <a:gd name="connsiteX234" fmla="*/ 376007 w 4664922"/>
              <a:gd name="connsiteY234" fmla="*/ 810270 h 1786050"/>
              <a:gd name="connsiteX235" fmla="*/ 383873 w 4664922"/>
              <a:gd name="connsiteY235" fmla="*/ 816864 h 1786050"/>
              <a:gd name="connsiteX236" fmla="*/ 392261 w 4664922"/>
              <a:gd name="connsiteY236" fmla="*/ 822359 h 1786050"/>
              <a:gd name="connsiteX237" fmla="*/ 410655 w 4664922"/>
              <a:gd name="connsiteY237" fmla="*/ 830862 h 1786050"/>
              <a:gd name="connsiteX238" fmla="*/ 414415 w 4664922"/>
              <a:gd name="connsiteY238" fmla="*/ 838902 h 1786050"/>
              <a:gd name="connsiteX239" fmla="*/ 415052 w 4664922"/>
              <a:gd name="connsiteY239" fmla="*/ 844687 h 1786050"/>
              <a:gd name="connsiteX240" fmla="*/ 411870 w 4664922"/>
              <a:gd name="connsiteY240" fmla="*/ 857239 h 1786050"/>
              <a:gd name="connsiteX241" fmla="*/ 410597 w 4664922"/>
              <a:gd name="connsiteY241" fmla="*/ 868519 h 1786050"/>
              <a:gd name="connsiteX242" fmla="*/ 411581 w 4664922"/>
              <a:gd name="connsiteY242" fmla="*/ 874303 h 1786050"/>
              <a:gd name="connsiteX243" fmla="*/ 413837 w 4664922"/>
              <a:gd name="connsiteY243" fmla="*/ 879798 h 1786050"/>
              <a:gd name="connsiteX244" fmla="*/ 418060 w 4664922"/>
              <a:gd name="connsiteY244" fmla="*/ 894086 h 1786050"/>
              <a:gd name="connsiteX245" fmla="*/ 420547 w 4664922"/>
              <a:gd name="connsiteY245" fmla="*/ 906407 h 1786050"/>
              <a:gd name="connsiteX246" fmla="*/ 430901 w 4664922"/>
              <a:gd name="connsiteY246" fmla="*/ 908605 h 1786050"/>
              <a:gd name="connsiteX247" fmla="*/ 434487 w 4664922"/>
              <a:gd name="connsiteY247" fmla="*/ 908316 h 1786050"/>
              <a:gd name="connsiteX248" fmla="*/ 457220 w 4664922"/>
              <a:gd name="connsiteY248" fmla="*/ 923760 h 1786050"/>
              <a:gd name="connsiteX249" fmla="*/ 466302 w 4664922"/>
              <a:gd name="connsiteY249" fmla="*/ 926421 h 1786050"/>
              <a:gd name="connsiteX250" fmla="*/ 478449 w 4664922"/>
              <a:gd name="connsiteY250" fmla="*/ 929660 h 1786050"/>
              <a:gd name="connsiteX251" fmla="*/ 484233 w 4664922"/>
              <a:gd name="connsiteY251" fmla="*/ 931800 h 1786050"/>
              <a:gd name="connsiteX252" fmla="*/ 496901 w 4664922"/>
              <a:gd name="connsiteY252" fmla="*/ 926594 h 1786050"/>
              <a:gd name="connsiteX253" fmla="*/ 498520 w 4664922"/>
              <a:gd name="connsiteY253" fmla="*/ 913175 h 1786050"/>
              <a:gd name="connsiteX254" fmla="*/ 495455 w 4664922"/>
              <a:gd name="connsiteY254" fmla="*/ 911671 h 1786050"/>
              <a:gd name="connsiteX255" fmla="*/ 467806 w 4664922"/>
              <a:gd name="connsiteY255" fmla="*/ 901721 h 1786050"/>
              <a:gd name="connsiteX256" fmla="*/ 462021 w 4664922"/>
              <a:gd name="connsiteY256" fmla="*/ 893912 h 1786050"/>
              <a:gd name="connsiteX257" fmla="*/ 459418 w 4664922"/>
              <a:gd name="connsiteY257" fmla="*/ 884947 h 1786050"/>
              <a:gd name="connsiteX258" fmla="*/ 459418 w 4664922"/>
              <a:gd name="connsiteY258" fmla="*/ 884542 h 1786050"/>
              <a:gd name="connsiteX259" fmla="*/ 476308 w 4664922"/>
              <a:gd name="connsiteY259" fmla="*/ 869039 h 1786050"/>
              <a:gd name="connsiteX260" fmla="*/ 476829 w 4664922"/>
              <a:gd name="connsiteY260" fmla="*/ 869039 h 1786050"/>
              <a:gd name="connsiteX261" fmla="*/ 494182 w 4664922"/>
              <a:gd name="connsiteY261" fmla="*/ 879336 h 1786050"/>
              <a:gd name="connsiteX262" fmla="*/ 507313 w 4664922"/>
              <a:gd name="connsiteY262" fmla="*/ 887665 h 1786050"/>
              <a:gd name="connsiteX263" fmla="*/ 507718 w 4664922"/>
              <a:gd name="connsiteY263" fmla="*/ 887665 h 1786050"/>
              <a:gd name="connsiteX264" fmla="*/ 537103 w 4664922"/>
              <a:gd name="connsiteY264" fmla="*/ 894549 h 1786050"/>
              <a:gd name="connsiteX265" fmla="*/ 557522 w 4664922"/>
              <a:gd name="connsiteY265" fmla="*/ 899350 h 1786050"/>
              <a:gd name="connsiteX266" fmla="*/ 567761 w 4664922"/>
              <a:gd name="connsiteY266" fmla="*/ 897094 h 1786050"/>
              <a:gd name="connsiteX267" fmla="*/ 556770 w 4664922"/>
              <a:gd name="connsiteY267" fmla="*/ 876675 h 1786050"/>
              <a:gd name="connsiteX268" fmla="*/ 549192 w 4664922"/>
              <a:gd name="connsiteY268" fmla="*/ 860883 h 1786050"/>
              <a:gd name="connsiteX269" fmla="*/ 555324 w 4664922"/>
              <a:gd name="connsiteY269" fmla="*/ 851108 h 1786050"/>
              <a:gd name="connsiteX270" fmla="*/ 563885 w 4664922"/>
              <a:gd name="connsiteY270" fmla="*/ 844051 h 1786050"/>
              <a:gd name="connsiteX271" fmla="*/ 582106 w 4664922"/>
              <a:gd name="connsiteY271" fmla="*/ 831961 h 1786050"/>
              <a:gd name="connsiteX272" fmla="*/ 605532 w 4664922"/>
              <a:gd name="connsiteY272" fmla="*/ 821954 h 1786050"/>
              <a:gd name="connsiteX273" fmla="*/ 618895 w 4664922"/>
              <a:gd name="connsiteY273" fmla="*/ 812236 h 1786050"/>
              <a:gd name="connsiteX274" fmla="*/ 624101 w 4664922"/>
              <a:gd name="connsiteY274" fmla="*/ 812988 h 1786050"/>
              <a:gd name="connsiteX275" fmla="*/ 636132 w 4664922"/>
              <a:gd name="connsiteY275" fmla="*/ 813972 h 1786050"/>
              <a:gd name="connsiteX276" fmla="*/ 652387 w 4664922"/>
              <a:gd name="connsiteY276" fmla="*/ 819062 h 1786050"/>
              <a:gd name="connsiteX277" fmla="*/ 657419 w 4664922"/>
              <a:gd name="connsiteY277" fmla="*/ 827276 h 1786050"/>
              <a:gd name="connsiteX278" fmla="*/ 658518 w 4664922"/>
              <a:gd name="connsiteY278" fmla="*/ 826639 h 1786050"/>
              <a:gd name="connsiteX279" fmla="*/ 660716 w 4664922"/>
              <a:gd name="connsiteY279" fmla="*/ 825656 h 1786050"/>
              <a:gd name="connsiteX280" fmla="*/ 665922 w 4664922"/>
              <a:gd name="connsiteY280" fmla="*/ 827796 h 1786050"/>
              <a:gd name="connsiteX281" fmla="*/ 669509 w 4664922"/>
              <a:gd name="connsiteY281" fmla="*/ 829416 h 1786050"/>
              <a:gd name="connsiteX282" fmla="*/ 669913 w 4664922"/>
              <a:gd name="connsiteY282" fmla="*/ 827854 h 1786050"/>
              <a:gd name="connsiteX283" fmla="*/ 673905 w 4664922"/>
              <a:gd name="connsiteY283" fmla="*/ 818368 h 1786050"/>
              <a:gd name="connsiteX284" fmla="*/ 678417 w 4664922"/>
              <a:gd name="connsiteY284" fmla="*/ 806799 h 1786050"/>
              <a:gd name="connsiteX285" fmla="*/ 678417 w 4664922"/>
              <a:gd name="connsiteY285" fmla="*/ 804774 h 1786050"/>
              <a:gd name="connsiteX286" fmla="*/ 674888 w 4664922"/>
              <a:gd name="connsiteY286" fmla="*/ 785570 h 1786050"/>
              <a:gd name="connsiteX287" fmla="*/ 669855 w 4664922"/>
              <a:gd name="connsiteY287" fmla="*/ 783661 h 1786050"/>
              <a:gd name="connsiteX288" fmla="*/ 669046 w 4664922"/>
              <a:gd name="connsiteY288" fmla="*/ 783661 h 1786050"/>
              <a:gd name="connsiteX289" fmla="*/ 656436 w 4664922"/>
              <a:gd name="connsiteY289" fmla="*/ 781463 h 1786050"/>
              <a:gd name="connsiteX290" fmla="*/ 659617 w 4664922"/>
              <a:gd name="connsiteY290" fmla="*/ 772150 h 1786050"/>
              <a:gd name="connsiteX291" fmla="*/ 669971 w 4664922"/>
              <a:gd name="connsiteY291" fmla="*/ 742881 h 1786050"/>
              <a:gd name="connsiteX292" fmla="*/ 669971 w 4664922"/>
              <a:gd name="connsiteY292" fmla="*/ 736113 h 1786050"/>
              <a:gd name="connsiteX293" fmla="*/ 662972 w 4664922"/>
              <a:gd name="connsiteY293" fmla="*/ 724544 h 1786050"/>
              <a:gd name="connsiteX294" fmla="*/ 651750 w 4664922"/>
              <a:gd name="connsiteY294" fmla="*/ 713901 h 1786050"/>
              <a:gd name="connsiteX295" fmla="*/ 658923 w 4664922"/>
              <a:gd name="connsiteY295" fmla="*/ 711934 h 1786050"/>
              <a:gd name="connsiteX296" fmla="*/ 681193 w 4664922"/>
              <a:gd name="connsiteY296" fmla="*/ 716851 h 1786050"/>
              <a:gd name="connsiteX297" fmla="*/ 692068 w 4664922"/>
              <a:gd name="connsiteY297" fmla="*/ 715521 h 1786050"/>
              <a:gd name="connsiteX298" fmla="*/ 703174 w 4664922"/>
              <a:gd name="connsiteY298" fmla="*/ 714190 h 1786050"/>
              <a:gd name="connsiteX299" fmla="*/ 728221 w 4664922"/>
              <a:gd name="connsiteY299" fmla="*/ 726164 h 1786050"/>
              <a:gd name="connsiteX300" fmla="*/ 738228 w 4664922"/>
              <a:gd name="connsiteY300" fmla="*/ 740799 h 1786050"/>
              <a:gd name="connsiteX301" fmla="*/ 744475 w 4664922"/>
              <a:gd name="connsiteY301" fmla="*/ 753293 h 1786050"/>
              <a:gd name="connsiteX302" fmla="*/ 735104 w 4664922"/>
              <a:gd name="connsiteY302" fmla="*/ 753871 h 1786050"/>
              <a:gd name="connsiteX303" fmla="*/ 727411 w 4664922"/>
              <a:gd name="connsiteY303" fmla="*/ 752599 h 1786050"/>
              <a:gd name="connsiteX304" fmla="*/ 720006 w 4664922"/>
              <a:gd name="connsiteY304" fmla="*/ 754681 h 1786050"/>
              <a:gd name="connsiteX305" fmla="*/ 706876 w 4664922"/>
              <a:gd name="connsiteY305" fmla="*/ 759135 h 1786050"/>
              <a:gd name="connsiteX306" fmla="*/ 701439 w 4664922"/>
              <a:gd name="connsiteY306" fmla="*/ 761507 h 1786050"/>
              <a:gd name="connsiteX307" fmla="*/ 698431 w 4664922"/>
              <a:gd name="connsiteY307" fmla="*/ 775389 h 1786050"/>
              <a:gd name="connsiteX308" fmla="*/ 701439 w 4664922"/>
              <a:gd name="connsiteY308" fmla="*/ 777241 h 1786050"/>
              <a:gd name="connsiteX309" fmla="*/ 711504 w 4664922"/>
              <a:gd name="connsiteY309" fmla="*/ 787363 h 1786050"/>
              <a:gd name="connsiteX310" fmla="*/ 722725 w 4664922"/>
              <a:gd name="connsiteY310" fmla="*/ 797833 h 1786050"/>
              <a:gd name="connsiteX311" fmla="*/ 722725 w 4664922"/>
              <a:gd name="connsiteY311" fmla="*/ 797833 h 1786050"/>
              <a:gd name="connsiteX312" fmla="*/ 731286 w 4664922"/>
              <a:gd name="connsiteY312" fmla="*/ 797833 h 1786050"/>
              <a:gd name="connsiteX313" fmla="*/ 738690 w 4664922"/>
              <a:gd name="connsiteY313" fmla="*/ 797833 h 1786050"/>
              <a:gd name="connsiteX314" fmla="*/ 768191 w 4664922"/>
              <a:gd name="connsiteY314" fmla="*/ 792453 h 1786050"/>
              <a:gd name="connsiteX315" fmla="*/ 769174 w 4664922"/>
              <a:gd name="connsiteY315" fmla="*/ 780885 h 1786050"/>
              <a:gd name="connsiteX316" fmla="*/ 774959 w 4664922"/>
              <a:gd name="connsiteY316" fmla="*/ 763127 h 1786050"/>
              <a:gd name="connsiteX317" fmla="*/ 789709 w 4664922"/>
              <a:gd name="connsiteY317" fmla="*/ 759598 h 1786050"/>
              <a:gd name="connsiteX318" fmla="*/ 804170 w 4664922"/>
              <a:gd name="connsiteY318" fmla="*/ 754797 h 1786050"/>
              <a:gd name="connsiteX319" fmla="*/ 814003 w 4664922"/>
              <a:gd name="connsiteY319" fmla="*/ 747624 h 1786050"/>
              <a:gd name="connsiteX320" fmla="*/ 830721 w 4664922"/>
              <a:gd name="connsiteY320" fmla="*/ 737964 h 1786050"/>
              <a:gd name="connsiteX321" fmla="*/ 891225 w 4664922"/>
              <a:gd name="connsiteY321" fmla="*/ 718644 h 1786050"/>
              <a:gd name="connsiteX322" fmla="*/ 894581 w 4664922"/>
              <a:gd name="connsiteY322" fmla="*/ 719049 h 1786050"/>
              <a:gd name="connsiteX323" fmla="*/ 900828 w 4664922"/>
              <a:gd name="connsiteY323" fmla="*/ 724255 h 1786050"/>
              <a:gd name="connsiteX324" fmla="*/ 905802 w 4664922"/>
              <a:gd name="connsiteY324" fmla="*/ 726337 h 1786050"/>
              <a:gd name="connsiteX325" fmla="*/ 907943 w 4664922"/>
              <a:gd name="connsiteY325" fmla="*/ 720206 h 1786050"/>
              <a:gd name="connsiteX326" fmla="*/ 910777 w 4664922"/>
              <a:gd name="connsiteY326" fmla="*/ 711182 h 1786050"/>
              <a:gd name="connsiteX327" fmla="*/ 946467 w 4664922"/>
              <a:gd name="connsiteY327" fmla="*/ 699093 h 1786050"/>
              <a:gd name="connsiteX328" fmla="*/ 949822 w 4664922"/>
              <a:gd name="connsiteY328" fmla="*/ 701002 h 1786050"/>
              <a:gd name="connsiteX329" fmla="*/ 946583 w 4664922"/>
              <a:gd name="connsiteY329" fmla="*/ 707943 h 1786050"/>
              <a:gd name="connsiteX330" fmla="*/ 943459 w 4664922"/>
              <a:gd name="connsiteY330" fmla="*/ 718991 h 1786050"/>
              <a:gd name="connsiteX331" fmla="*/ 945773 w 4664922"/>
              <a:gd name="connsiteY331" fmla="*/ 725875 h 1786050"/>
              <a:gd name="connsiteX332" fmla="*/ 936113 w 4664922"/>
              <a:gd name="connsiteY332" fmla="*/ 728883 h 1786050"/>
              <a:gd name="connsiteX333" fmla="*/ 934551 w 4664922"/>
              <a:gd name="connsiteY333" fmla="*/ 728883 h 1786050"/>
              <a:gd name="connsiteX334" fmla="*/ 926742 w 4664922"/>
              <a:gd name="connsiteY334" fmla="*/ 730907 h 1786050"/>
              <a:gd name="connsiteX335" fmla="*/ 929866 w 4664922"/>
              <a:gd name="connsiteY335" fmla="*/ 734089 h 1786050"/>
              <a:gd name="connsiteX336" fmla="*/ 945831 w 4664922"/>
              <a:gd name="connsiteY336" fmla="*/ 736576 h 1786050"/>
              <a:gd name="connsiteX337" fmla="*/ 953466 w 4664922"/>
              <a:gd name="connsiteY337" fmla="*/ 736576 h 1786050"/>
              <a:gd name="connsiteX338" fmla="*/ 959829 w 4664922"/>
              <a:gd name="connsiteY338" fmla="*/ 736576 h 1786050"/>
              <a:gd name="connsiteX339" fmla="*/ 966307 w 4664922"/>
              <a:gd name="connsiteY339" fmla="*/ 737039 h 1786050"/>
              <a:gd name="connsiteX340" fmla="*/ 972092 w 4664922"/>
              <a:gd name="connsiteY340" fmla="*/ 732642 h 1786050"/>
              <a:gd name="connsiteX341" fmla="*/ 991412 w 4664922"/>
              <a:gd name="connsiteY341" fmla="*/ 718471 h 1786050"/>
              <a:gd name="connsiteX342" fmla="*/ 1005584 w 4664922"/>
              <a:gd name="connsiteY342" fmla="*/ 716851 h 1786050"/>
              <a:gd name="connsiteX343" fmla="*/ 1022532 w 4664922"/>
              <a:gd name="connsiteY343" fmla="*/ 718239 h 1786050"/>
              <a:gd name="connsiteX344" fmla="*/ 1037282 w 4664922"/>
              <a:gd name="connsiteY344" fmla="*/ 718528 h 1786050"/>
              <a:gd name="connsiteX345" fmla="*/ 1049429 w 4664922"/>
              <a:gd name="connsiteY345" fmla="*/ 711471 h 1786050"/>
              <a:gd name="connsiteX346" fmla="*/ 1078352 w 4664922"/>
              <a:gd name="connsiteY346" fmla="*/ 697242 h 1786050"/>
              <a:gd name="connsiteX347" fmla="*/ 1080087 w 4664922"/>
              <a:gd name="connsiteY347" fmla="*/ 697242 h 1786050"/>
              <a:gd name="connsiteX348" fmla="*/ 1098192 w 4664922"/>
              <a:gd name="connsiteY348" fmla="*/ 708290 h 1786050"/>
              <a:gd name="connsiteX349" fmla="*/ 1097094 w 4664922"/>
              <a:gd name="connsiteY349" fmla="*/ 711645 h 1786050"/>
              <a:gd name="connsiteX350" fmla="*/ 1091309 w 4664922"/>
              <a:gd name="connsiteY350" fmla="*/ 721594 h 1786050"/>
              <a:gd name="connsiteX351" fmla="*/ 1096515 w 4664922"/>
              <a:gd name="connsiteY351" fmla="*/ 725990 h 1786050"/>
              <a:gd name="connsiteX352" fmla="*/ 1110282 w 4664922"/>
              <a:gd name="connsiteY352" fmla="*/ 726337 h 1786050"/>
              <a:gd name="connsiteX353" fmla="*/ 1109241 w 4664922"/>
              <a:gd name="connsiteY353" fmla="*/ 721941 h 1786050"/>
              <a:gd name="connsiteX354" fmla="*/ 1108605 w 4664922"/>
              <a:gd name="connsiteY354" fmla="*/ 716157 h 1786050"/>
              <a:gd name="connsiteX355" fmla="*/ 1128792 w 4664922"/>
              <a:gd name="connsiteY355" fmla="*/ 711009 h 1786050"/>
              <a:gd name="connsiteX356" fmla="*/ 1138626 w 4664922"/>
              <a:gd name="connsiteY356" fmla="*/ 705745 h 1786050"/>
              <a:gd name="connsiteX357" fmla="*/ 1136543 w 4664922"/>
              <a:gd name="connsiteY357" fmla="*/ 698052 h 1786050"/>
              <a:gd name="connsiteX358" fmla="*/ 1123644 w 4664922"/>
              <a:gd name="connsiteY358" fmla="*/ 674509 h 1786050"/>
              <a:gd name="connsiteX359" fmla="*/ 1121330 w 4664922"/>
              <a:gd name="connsiteY359" fmla="*/ 666353 h 1786050"/>
              <a:gd name="connsiteX360" fmla="*/ 1107447 w 4664922"/>
              <a:gd name="connsiteY360" fmla="*/ 663172 h 1786050"/>
              <a:gd name="connsiteX361" fmla="*/ 1095879 w 4664922"/>
              <a:gd name="connsiteY361" fmla="*/ 659469 h 1786050"/>
              <a:gd name="connsiteX362" fmla="*/ 1087086 w 4664922"/>
              <a:gd name="connsiteY362" fmla="*/ 655131 h 1786050"/>
              <a:gd name="connsiteX363" fmla="*/ 1073956 w 4664922"/>
              <a:gd name="connsiteY363" fmla="*/ 642232 h 1786050"/>
              <a:gd name="connsiteX364" fmla="*/ 1079104 w 4664922"/>
              <a:gd name="connsiteY364" fmla="*/ 630663 h 1786050"/>
              <a:gd name="connsiteX365" fmla="*/ 1084541 w 4664922"/>
              <a:gd name="connsiteY365" fmla="*/ 629333 h 1786050"/>
              <a:gd name="connsiteX366" fmla="*/ 1101432 w 4664922"/>
              <a:gd name="connsiteY366" fmla="*/ 635696 h 1786050"/>
              <a:gd name="connsiteX367" fmla="*/ 1113001 w 4664922"/>
              <a:gd name="connsiteY367" fmla="*/ 641480 h 1786050"/>
              <a:gd name="connsiteX368" fmla="*/ 1126189 w 4664922"/>
              <a:gd name="connsiteY368" fmla="*/ 652470 h 1786050"/>
              <a:gd name="connsiteX369" fmla="*/ 1132552 w 4664922"/>
              <a:gd name="connsiteY369" fmla="*/ 656288 h 1786050"/>
              <a:gd name="connsiteX370" fmla="*/ 1148228 w 4664922"/>
              <a:gd name="connsiteY370" fmla="*/ 657734 h 1786050"/>
              <a:gd name="connsiteX371" fmla="*/ 1179926 w 4664922"/>
              <a:gd name="connsiteY371" fmla="*/ 660800 h 1786050"/>
              <a:gd name="connsiteX372" fmla="*/ 1185711 w 4664922"/>
              <a:gd name="connsiteY372" fmla="*/ 660800 h 1786050"/>
              <a:gd name="connsiteX373" fmla="*/ 1233606 w 4664922"/>
              <a:gd name="connsiteY373" fmla="*/ 674335 h 1786050"/>
              <a:gd name="connsiteX374" fmla="*/ 1254662 w 4664922"/>
              <a:gd name="connsiteY374" fmla="*/ 683533 h 1786050"/>
              <a:gd name="connsiteX375" fmla="*/ 1269817 w 4664922"/>
              <a:gd name="connsiteY375" fmla="*/ 689317 h 1786050"/>
              <a:gd name="connsiteX376" fmla="*/ 1291508 w 4664922"/>
              <a:gd name="connsiteY376" fmla="*/ 698399 h 1786050"/>
              <a:gd name="connsiteX377" fmla="*/ 1313952 w 4664922"/>
              <a:gd name="connsiteY377" fmla="*/ 708406 h 1786050"/>
              <a:gd name="connsiteX378" fmla="*/ 1323323 w 4664922"/>
              <a:gd name="connsiteY378" fmla="*/ 716678 h 1786050"/>
              <a:gd name="connsiteX379" fmla="*/ 1346113 w 4664922"/>
              <a:gd name="connsiteY379" fmla="*/ 734436 h 1786050"/>
              <a:gd name="connsiteX380" fmla="*/ 1360921 w 4664922"/>
              <a:gd name="connsiteY380" fmla="*/ 716446 h 1786050"/>
              <a:gd name="connsiteX381" fmla="*/ 1362425 w 4664922"/>
              <a:gd name="connsiteY381" fmla="*/ 709100 h 1786050"/>
              <a:gd name="connsiteX382" fmla="*/ 1357161 w 4664922"/>
              <a:gd name="connsiteY382" fmla="*/ 706728 h 1786050"/>
              <a:gd name="connsiteX383" fmla="*/ 1345939 w 4664922"/>
              <a:gd name="connsiteY383" fmla="*/ 700944 h 1786050"/>
              <a:gd name="connsiteX384" fmla="*/ 1341023 w 4664922"/>
              <a:gd name="connsiteY384" fmla="*/ 689375 h 1786050"/>
              <a:gd name="connsiteX385" fmla="*/ 1334544 w 4664922"/>
              <a:gd name="connsiteY385" fmla="*/ 678789 h 1786050"/>
              <a:gd name="connsiteX386" fmla="*/ 1318926 w 4664922"/>
              <a:gd name="connsiteY386" fmla="*/ 673410 h 1786050"/>
              <a:gd name="connsiteX387" fmla="*/ 1301920 w 4664922"/>
              <a:gd name="connsiteY387" fmla="*/ 666411 h 1786050"/>
              <a:gd name="connsiteX388" fmla="*/ 1300532 w 4664922"/>
              <a:gd name="connsiteY388" fmla="*/ 660626 h 1786050"/>
              <a:gd name="connsiteX389" fmla="*/ 1311464 w 4664922"/>
              <a:gd name="connsiteY389" fmla="*/ 646107 h 1786050"/>
              <a:gd name="connsiteX390" fmla="*/ 1312795 w 4664922"/>
              <a:gd name="connsiteY390" fmla="*/ 638819 h 1786050"/>
              <a:gd name="connsiteX391" fmla="*/ 1312795 w 4664922"/>
              <a:gd name="connsiteY391" fmla="*/ 633324 h 1786050"/>
              <a:gd name="connsiteX392" fmla="*/ 1317422 w 4664922"/>
              <a:gd name="connsiteY392" fmla="*/ 615971 h 1786050"/>
              <a:gd name="connsiteX393" fmla="*/ 1316323 w 4664922"/>
              <a:gd name="connsiteY393" fmla="*/ 613310 h 1786050"/>
              <a:gd name="connsiteX394" fmla="*/ 1311002 w 4664922"/>
              <a:gd name="connsiteY394" fmla="*/ 612905 h 1786050"/>
              <a:gd name="connsiteX395" fmla="*/ 1307936 w 4664922"/>
              <a:gd name="connsiteY395" fmla="*/ 612905 h 1786050"/>
              <a:gd name="connsiteX396" fmla="*/ 1300532 w 4664922"/>
              <a:gd name="connsiteY396" fmla="*/ 609029 h 1786050"/>
              <a:gd name="connsiteX397" fmla="*/ 1299606 w 4664922"/>
              <a:gd name="connsiteY397" fmla="*/ 598212 h 1786050"/>
              <a:gd name="connsiteX398" fmla="*/ 1312332 w 4664922"/>
              <a:gd name="connsiteY398" fmla="*/ 583520 h 1786050"/>
              <a:gd name="connsiteX399" fmla="*/ 1316670 w 4664922"/>
              <a:gd name="connsiteY399" fmla="*/ 581842 h 1786050"/>
              <a:gd name="connsiteX400" fmla="*/ 1348079 w 4664922"/>
              <a:gd name="connsiteY400" fmla="*/ 556391 h 1786050"/>
              <a:gd name="connsiteX401" fmla="*/ 1362425 w 4664922"/>
              <a:gd name="connsiteY401" fmla="*/ 524519 h 1786050"/>
              <a:gd name="connsiteX402" fmla="*/ 1366301 w 4664922"/>
              <a:gd name="connsiteY402" fmla="*/ 517462 h 1786050"/>
              <a:gd name="connsiteX403" fmla="*/ 1367805 w 4664922"/>
              <a:gd name="connsiteY403" fmla="*/ 514222 h 1786050"/>
              <a:gd name="connsiteX404" fmla="*/ 1380704 w 4664922"/>
              <a:gd name="connsiteY404" fmla="*/ 501265 h 1786050"/>
              <a:gd name="connsiteX405" fmla="*/ 1382902 w 4664922"/>
              <a:gd name="connsiteY405" fmla="*/ 501265 h 1786050"/>
              <a:gd name="connsiteX406" fmla="*/ 1427269 w 4664922"/>
              <a:gd name="connsiteY406" fmla="*/ 503868 h 1786050"/>
              <a:gd name="connsiteX407" fmla="*/ 1434673 w 4664922"/>
              <a:gd name="connsiteY407" fmla="*/ 503868 h 1786050"/>
              <a:gd name="connsiteX408" fmla="*/ 1436639 w 4664922"/>
              <a:gd name="connsiteY408" fmla="*/ 503868 h 1786050"/>
              <a:gd name="connsiteX409" fmla="*/ 1469784 w 4664922"/>
              <a:gd name="connsiteY409" fmla="*/ 516247 h 1786050"/>
              <a:gd name="connsiteX410" fmla="*/ 1457695 w 4664922"/>
              <a:gd name="connsiteY410" fmla="*/ 563679 h 1786050"/>
              <a:gd name="connsiteX411" fmla="*/ 1445374 w 4664922"/>
              <a:gd name="connsiteY411" fmla="*/ 579066 h 1786050"/>
              <a:gd name="connsiteX412" fmla="*/ 1448555 w 4664922"/>
              <a:gd name="connsiteY412" fmla="*/ 582363 h 1786050"/>
              <a:gd name="connsiteX413" fmla="*/ 1471404 w 4664922"/>
              <a:gd name="connsiteY413" fmla="*/ 614698 h 1786050"/>
              <a:gd name="connsiteX414" fmla="*/ 1467239 w 4664922"/>
              <a:gd name="connsiteY414" fmla="*/ 629853 h 1786050"/>
              <a:gd name="connsiteX415" fmla="*/ 1464520 w 4664922"/>
              <a:gd name="connsiteY415" fmla="*/ 643042 h 1786050"/>
              <a:gd name="connsiteX416" fmla="*/ 1464925 w 4664922"/>
              <a:gd name="connsiteY416" fmla="*/ 646107 h 1786050"/>
              <a:gd name="connsiteX417" fmla="*/ 1464925 w 4664922"/>
              <a:gd name="connsiteY417" fmla="*/ 669245 h 1786050"/>
              <a:gd name="connsiteX418" fmla="*/ 1464925 w 4664922"/>
              <a:gd name="connsiteY418" fmla="*/ 683533 h 1786050"/>
              <a:gd name="connsiteX419" fmla="*/ 1465619 w 4664922"/>
              <a:gd name="connsiteY419" fmla="*/ 696837 h 1786050"/>
              <a:gd name="connsiteX420" fmla="*/ 1484881 w 4664922"/>
              <a:gd name="connsiteY420" fmla="*/ 717950 h 1786050"/>
              <a:gd name="connsiteX421" fmla="*/ 1486617 w 4664922"/>
              <a:gd name="connsiteY421" fmla="*/ 719223 h 1786050"/>
              <a:gd name="connsiteX422" fmla="*/ 1490377 w 4664922"/>
              <a:gd name="connsiteY422" fmla="*/ 726453 h 1786050"/>
              <a:gd name="connsiteX423" fmla="*/ 1485460 w 4664922"/>
              <a:gd name="connsiteY423" fmla="*/ 731254 h 1786050"/>
              <a:gd name="connsiteX424" fmla="*/ 1478808 w 4664922"/>
              <a:gd name="connsiteY424" fmla="*/ 740047 h 1786050"/>
              <a:gd name="connsiteX425" fmla="*/ 1478808 w 4664922"/>
              <a:gd name="connsiteY425" fmla="*/ 747740 h 1786050"/>
              <a:gd name="connsiteX426" fmla="*/ 1479155 w 4664922"/>
              <a:gd name="connsiteY426" fmla="*/ 758152 h 1786050"/>
              <a:gd name="connsiteX427" fmla="*/ 1473024 w 4664922"/>
              <a:gd name="connsiteY427" fmla="*/ 762432 h 1786050"/>
              <a:gd name="connsiteX428" fmla="*/ 1467239 w 4664922"/>
              <a:gd name="connsiteY428" fmla="*/ 766308 h 1786050"/>
              <a:gd name="connsiteX429" fmla="*/ 1459603 w 4664922"/>
              <a:gd name="connsiteY429" fmla="*/ 771340 h 1786050"/>
              <a:gd name="connsiteX430" fmla="*/ 1456769 w 4664922"/>
              <a:gd name="connsiteY430" fmla="*/ 774290 h 1786050"/>
              <a:gd name="connsiteX431" fmla="*/ 1452836 w 4664922"/>
              <a:gd name="connsiteY431" fmla="*/ 780075 h 1786050"/>
              <a:gd name="connsiteX432" fmla="*/ 1449654 w 4664922"/>
              <a:gd name="connsiteY432" fmla="*/ 786148 h 1786050"/>
              <a:gd name="connsiteX433" fmla="*/ 1444217 w 4664922"/>
              <a:gd name="connsiteY433" fmla="*/ 794652 h 1786050"/>
              <a:gd name="connsiteX434" fmla="*/ 1442308 w 4664922"/>
              <a:gd name="connsiteY434" fmla="*/ 795461 h 1786050"/>
              <a:gd name="connsiteX435" fmla="*/ 1432359 w 4664922"/>
              <a:gd name="connsiteY435" fmla="*/ 801593 h 1786050"/>
              <a:gd name="connsiteX436" fmla="*/ 1432359 w 4664922"/>
              <a:gd name="connsiteY436" fmla="*/ 803097 h 1786050"/>
              <a:gd name="connsiteX437" fmla="*/ 1433689 w 4664922"/>
              <a:gd name="connsiteY437" fmla="*/ 809228 h 1786050"/>
              <a:gd name="connsiteX438" fmla="*/ 1424839 w 4664922"/>
              <a:gd name="connsiteY438" fmla="*/ 811253 h 1786050"/>
              <a:gd name="connsiteX439" fmla="*/ 1420096 w 4664922"/>
              <a:gd name="connsiteY439" fmla="*/ 813046 h 1786050"/>
              <a:gd name="connsiteX440" fmla="*/ 1410725 w 4664922"/>
              <a:gd name="connsiteY440" fmla="*/ 816517 h 1786050"/>
              <a:gd name="connsiteX441" fmla="*/ 1400660 w 4664922"/>
              <a:gd name="connsiteY441" fmla="*/ 810732 h 1786050"/>
              <a:gd name="connsiteX442" fmla="*/ 1398347 w 4664922"/>
              <a:gd name="connsiteY442" fmla="*/ 808766 h 1786050"/>
              <a:gd name="connsiteX443" fmla="*/ 1395570 w 4664922"/>
              <a:gd name="connsiteY443" fmla="*/ 809749 h 1786050"/>
              <a:gd name="connsiteX444" fmla="*/ 1382902 w 4664922"/>
              <a:gd name="connsiteY444" fmla="*/ 814492 h 1786050"/>
              <a:gd name="connsiteX445" fmla="*/ 1378217 w 4664922"/>
              <a:gd name="connsiteY445" fmla="*/ 810651 h 1786050"/>
              <a:gd name="connsiteX446" fmla="*/ 1378217 w 4664922"/>
              <a:gd name="connsiteY446" fmla="*/ 810559 h 1786050"/>
              <a:gd name="connsiteX447" fmla="*/ 1369714 w 4664922"/>
              <a:gd name="connsiteY447" fmla="*/ 804427 h 1786050"/>
              <a:gd name="connsiteX448" fmla="*/ 1365838 w 4664922"/>
              <a:gd name="connsiteY448" fmla="*/ 807146 h 1786050"/>
              <a:gd name="connsiteX449" fmla="*/ 1366590 w 4664922"/>
              <a:gd name="connsiteY449" fmla="*/ 814781 h 1786050"/>
              <a:gd name="connsiteX450" fmla="*/ 1377639 w 4664922"/>
              <a:gd name="connsiteY450" fmla="*/ 817384 h 1786050"/>
              <a:gd name="connsiteX451" fmla="*/ 1381861 w 4664922"/>
              <a:gd name="connsiteY451" fmla="*/ 816575 h 1786050"/>
              <a:gd name="connsiteX452" fmla="*/ 1389207 w 4664922"/>
              <a:gd name="connsiteY452" fmla="*/ 819814 h 1786050"/>
              <a:gd name="connsiteX453" fmla="*/ 1399908 w 4664922"/>
              <a:gd name="connsiteY453" fmla="*/ 824152 h 1786050"/>
              <a:gd name="connsiteX454" fmla="*/ 1413906 w 4664922"/>
              <a:gd name="connsiteY454" fmla="*/ 822012 h 1786050"/>
              <a:gd name="connsiteX455" fmla="*/ 1424839 w 4664922"/>
              <a:gd name="connsiteY455" fmla="*/ 820161 h 1786050"/>
              <a:gd name="connsiteX456" fmla="*/ 1431954 w 4664922"/>
              <a:gd name="connsiteY456" fmla="*/ 821954 h 1786050"/>
              <a:gd name="connsiteX457" fmla="*/ 1449307 w 4664922"/>
              <a:gd name="connsiteY457" fmla="*/ 827738 h 1786050"/>
              <a:gd name="connsiteX458" fmla="*/ 1453645 w 4664922"/>
              <a:gd name="connsiteY458" fmla="*/ 826350 h 1786050"/>
              <a:gd name="connsiteX459" fmla="*/ 1454629 w 4664922"/>
              <a:gd name="connsiteY459" fmla="*/ 822937 h 1786050"/>
              <a:gd name="connsiteX460" fmla="*/ 1474874 w 4664922"/>
              <a:gd name="connsiteY460" fmla="*/ 802923 h 1786050"/>
              <a:gd name="connsiteX461" fmla="*/ 1480312 w 4664922"/>
              <a:gd name="connsiteY461" fmla="*/ 800089 h 1786050"/>
              <a:gd name="connsiteX462" fmla="*/ 1484593 w 4664922"/>
              <a:gd name="connsiteY462" fmla="*/ 797833 h 1786050"/>
              <a:gd name="connsiteX463" fmla="*/ 1500326 w 4664922"/>
              <a:gd name="connsiteY463" fmla="*/ 783025 h 1786050"/>
              <a:gd name="connsiteX464" fmla="*/ 1511143 w 4664922"/>
              <a:gd name="connsiteY464" fmla="*/ 768737 h 1786050"/>
              <a:gd name="connsiteX465" fmla="*/ 1523058 w 4664922"/>
              <a:gd name="connsiteY465" fmla="*/ 751095 h 1786050"/>
              <a:gd name="connsiteX466" fmla="*/ 1523058 w 4664922"/>
              <a:gd name="connsiteY466" fmla="*/ 750632 h 1786050"/>
              <a:gd name="connsiteX467" fmla="*/ 1517911 w 4664922"/>
              <a:gd name="connsiteY467" fmla="*/ 711818 h 1786050"/>
              <a:gd name="connsiteX468" fmla="*/ 1553138 w 4664922"/>
              <a:gd name="connsiteY468" fmla="*/ 701464 h 1786050"/>
              <a:gd name="connsiteX469" fmla="*/ 1560368 w 4664922"/>
              <a:gd name="connsiteY469" fmla="*/ 700250 h 1786050"/>
              <a:gd name="connsiteX470" fmla="*/ 1578936 w 4664922"/>
              <a:gd name="connsiteY470" fmla="*/ 711818 h 1786050"/>
              <a:gd name="connsiteX471" fmla="*/ 1584316 w 4664922"/>
              <a:gd name="connsiteY471" fmla="*/ 716909 h 1786050"/>
              <a:gd name="connsiteX472" fmla="*/ 1592819 w 4664922"/>
              <a:gd name="connsiteY472" fmla="*/ 729982 h 1786050"/>
              <a:gd name="connsiteX473" fmla="*/ 1588249 w 4664922"/>
              <a:gd name="connsiteY473" fmla="*/ 741551 h 1786050"/>
              <a:gd name="connsiteX474" fmla="*/ 1585588 w 4664922"/>
              <a:gd name="connsiteY474" fmla="*/ 748665 h 1786050"/>
              <a:gd name="connsiteX475" fmla="*/ 1588423 w 4664922"/>
              <a:gd name="connsiteY475" fmla="*/ 753929 h 1786050"/>
              <a:gd name="connsiteX476" fmla="*/ 1599298 w 4664922"/>
              <a:gd name="connsiteY476" fmla="*/ 767754 h 1786050"/>
              <a:gd name="connsiteX477" fmla="*/ 1624171 w 4664922"/>
              <a:gd name="connsiteY477" fmla="*/ 771803 h 1786050"/>
              <a:gd name="connsiteX478" fmla="*/ 1628335 w 4664922"/>
              <a:gd name="connsiteY478" fmla="*/ 771340 h 1786050"/>
              <a:gd name="connsiteX479" fmla="*/ 1620237 w 4664922"/>
              <a:gd name="connsiteY479" fmla="*/ 767812 h 1786050"/>
              <a:gd name="connsiteX480" fmla="*/ 1597099 w 4664922"/>
              <a:gd name="connsiteY480" fmla="*/ 750169 h 1786050"/>
              <a:gd name="connsiteX481" fmla="*/ 1606066 w 4664922"/>
              <a:gd name="connsiteY481" fmla="*/ 737617 h 1786050"/>
              <a:gd name="connsiteX482" fmla="*/ 1609825 w 4664922"/>
              <a:gd name="connsiteY482" fmla="*/ 730676 h 1786050"/>
              <a:gd name="connsiteX483" fmla="*/ 1606702 w 4664922"/>
              <a:gd name="connsiteY483" fmla="*/ 720669 h 1786050"/>
              <a:gd name="connsiteX484" fmla="*/ 1600165 w 4664922"/>
              <a:gd name="connsiteY484" fmla="*/ 710083 h 1786050"/>
              <a:gd name="connsiteX485" fmla="*/ 1594901 w 4664922"/>
              <a:gd name="connsiteY485" fmla="*/ 707422 h 1786050"/>
              <a:gd name="connsiteX486" fmla="*/ 1551981 w 4664922"/>
              <a:gd name="connsiteY486" fmla="*/ 692036 h 1786050"/>
              <a:gd name="connsiteX487" fmla="*/ 1548394 w 4664922"/>
              <a:gd name="connsiteY487" fmla="*/ 692325 h 1786050"/>
              <a:gd name="connsiteX488" fmla="*/ 1532719 w 4664922"/>
              <a:gd name="connsiteY488" fmla="*/ 696779 h 1786050"/>
              <a:gd name="connsiteX489" fmla="*/ 1515828 w 4664922"/>
              <a:gd name="connsiteY489" fmla="*/ 699151 h 1786050"/>
              <a:gd name="connsiteX490" fmla="*/ 1511605 w 4664922"/>
              <a:gd name="connsiteY490" fmla="*/ 698456 h 1786050"/>
              <a:gd name="connsiteX491" fmla="*/ 1507267 w 4664922"/>
              <a:gd name="connsiteY491" fmla="*/ 698746 h 1786050"/>
              <a:gd name="connsiteX492" fmla="*/ 1502756 w 4664922"/>
              <a:gd name="connsiteY492" fmla="*/ 699035 h 1786050"/>
              <a:gd name="connsiteX493" fmla="*/ 1494310 w 4664922"/>
              <a:gd name="connsiteY493" fmla="*/ 695102 h 1786050"/>
              <a:gd name="connsiteX494" fmla="*/ 1493211 w 4664922"/>
              <a:gd name="connsiteY494" fmla="*/ 683533 h 1786050"/>
              <a:gd name="connsiteX495" fmla="*/ 1493211 w 4664922"/>
              <a:gd name="connsiteY495" fmla="*/ 667336 h 1786050"/>
              <a:gd name="connsiteX496" fmla="*/ 1502871 w 4664922"/>
              <a:gd name="connsiteY496" fmla="*/ 638414 h 1786050"/>
              <a:gd name="connsiteX497" fmla="*/ 1509465 w 4664922"/>
              <a:gd name="connsiteY497" fmla="*/ 621639 h 1786050"/>
              <a:gd name="connsiteX498" fmla="*/ 1478634 w 4664922"/>
              <a:gd name="connsiteY498" fmla="*/ 584445 h 1786050"/>
              <a:gd name="connsiteX499" fmla="*/ 1477073 w 4664922"/>
              <a:gd name="connsiteY499" fmla="*/ 581380 h 1786050"/>
              <a:gd name="connsiteX500" fmla="*/ 1482857 w 4664922"/>
              <a:gd name="connsiteY500" fmla="*/ 574323 h 1786050"/>
              <a:gd name="connsiteX501" fmla="*/ 1489220 w 4664922"/>
              <a:gd name="connsiteY501" fmla="*/ 566629 h 1786050"/>
              <a:gd name="connsiteX502" fmla="*/ 1502756 w 4664922"/>
              <a:gd name="connsiteY502" fmla="*/ 558473 h 1786050"/>
              <a:gd name="connsiteX503" fmla="*/ 1522191 w 4664922"/>
              <a:gd name="connsiteY503" fmla="*/ 548987 h 1786050"/>
              <a:gd name="connsiteX504" fmla="*/ 1529017 w 4664922"/>
              <a:gd name="connsiteY504" fmla="*/ 521684 h 1786050"/>
              <a:gd name="connsiteX505" fmla="*/ 1528149 w 4664922"/>
              <a:gd name="connsiteY505" fmla="*/ 511619 h 1786050"/>
              <a:gd name="connsiteX506" fmla="*/ 1533933 w 4664922"/>
              <a:gd name="connsiteY506" fmla="*/ 508380 h 1786050"/>
              <a:gd name="connsiteX507" fmla="*/ 1537693 w 4664922"/>
              <a:gd name="connsiteY507" fmla="*/ 509016 h 1786050"/>
              <a:gd name="connsiteX508" fmla="*/ 1550072 w 4664922"/>
              <a:gd name="connsiteY508" fmla="*/ 544649 h 1786050"/>
              <a:gd name="connsiteX509" fmla="*/ 1543362 w 4664922"/>
              <a:gd name="connsiteY509" fmla="*/ 570274 h 1786050"/>
              <a:gd name="connsiteX510" fmla="*/ 1544461 w 4664922"/>
              <a:gd name="connsiteY510" fmla="*/ 579471 h 1786050"/>
              <a:gd name="connsiteX511" fmla="*/ 1545097 w 4664922"/>
              <a:gd name="connsiteY511" fmla="*/ 588032 h 1786050"/>
              <a:gd name="connsiteX512" fmla="*/ 1556204 w 4664922"/>
              <a:gd name="connsiteY512" fmla="*/ 590403 h 1786050"/>
              <a:gd name="connsiteX513" fmla="*/ 1566269 w 4664922"/>
              <a:gd name="connsiteY513" fmla="*/ 589998 h 1786050"/>
              <a:gd name="connsiteX514" fmla="*/ 1577201 w 4664922"/>
              <a:gd name="connsiteY514" fmla="*/ 589594 h 1786050"/>
              <a:gd name="connsiteX515" fmla="*/ 1591199 w 4664922"/>
              <a:gd name="connsiteY515" fmla="*/ 591907 h 1786050"/>
              <a:gd name="connsiteX516" fmla="*/ 1602768 w 4664922"/>
              <a:gd name="connsiteY516" fmla="*/ 598617 h 1786050"/>
              <a:gd name="connsiteX517" fmla="*/ 1621915 w 4664922"/>
              <a:gd name="connsiteY517" fmla="*/ 607930 h 1786050"/>
              <a:gd name="connsiteX518" fmla="*/ 1622262 w 4664922"/>
              <a:gd name="connsiteY518" fmla="*/ 607930 h 1786050"/>
              <a:gd name="connsiteX519" fmla="*/ 1630186 w 4664922"/>
              <a:gd name="connsiteY519" fmla="*/ 604864 h 1786050"/>
              <a:gd name="connsiteX520" fmla="*/ 1625964 w 4664922"/>
              <a:gd name="connsiteY520" fmla="*/ 602030 h 1786050"/>
              <a:gd name="connsiteX521" fmla="*/ 1618849 w 4664922"/>
              <a:gd name="connsiteY521" fmla="*/ 596246 h 1786050"/>
              <a:gd name="connsiteX522" fmla="*/ 1601496 w 4664922"/>
              <a:gd name="connsiteY522" fmla="*/ 588205 h 1786050"/>
              <a:gd name="connsiteX523" fmla="*/ 1564880 w 4664922"/>
              <a:gd name="connsiteY523" fmla="*/ 565068 h 1786050"/>
              <a:gd name="connsiteX524" fmla="*/ 1564301 w 4664922"/>
              <a:gd name="connsiteY524" fmla="*/ 558242 h 1786050"/>
              <a:gd name="connsiteX525" fmla="*/ 1583275 w 4664922"/>
              <a:gd name="connsiteY525" fmla="*/ 547946 h 1786050"/>
              <a:gd name="connsiteX526" fmla="*/ 1595422 w 4664922"/>
              <a:gd name="connsiteY526" fmla="*/ 551821 h 1786050"/>
              <a:gd name="connsiteX527" fmla="*/ 1608842 w 4664922"/>
              <a:gd name="connsiteY527" fmla="*/ 555465 h 1786050"/>
              <a:gd name="connsiteX528" fmla="*/ 1619775 w 4664922"/>
              <a:gd name="connsiteY528" fmla="*/ 552110 h 1786050"/>
              <a:gd name="connsiteX529" fmla="*/ 1616940 w 4664922"/>
              <a:gd name="connsiteY529" fmla="*/ 549739 h 1786050"/>
              <a:gd name="connsiteX530" fmla="*/ 1606181 w 4664922"/>
              <a:gd name="connsiteY530" fmla="*/ 546095 h 1786050"/>
              <a:gd name="connsiteX531" fmla="*/ 1599760 w 4664922"/>
              <a:gd name="connsiteY531" fmla="*/ 542682 h 1786050"/>
              <a:gd name="connsiteX532" fmla="*/ 1601669 w 4664922"/>
              <a:gd name="connsiteY532" fmla="*/ 538980 h 1786050"/>
              <a:gd name="connsiteX533" fmla="*/ 1603173 w 4664922"/>
              <a:gd name="connsiteY533" fmla="*/ 537187 h 1786050"/>
              <a:gd name="connsiteX534" fmla="*/ 1595017 w 4664922"/>
              <a:gd name="connsiteY534" fmla="*/ 537187 h 1786050"/>
              <a:gd name="connsiteX535" fmla="*/ 1591141 w 4664922"/>
              <a:gd name="connsiteY535" fmla="*/ 537187 h 1786050"/>
              <a:gd name="connsiteX536" fmla="*/ 1586340 w 4664922"/>
              <a:gd name="connsiteY536" fmla="*/ 534005 h 1786050"/>
              <a:gd name="connsiteX537" fmla="*/ 1608495 w 4664922"/>
              <a:gd name="connsiteY537" fmla="*/ 521222 h 1786050"/>
              <a:gd name="connsiteX538" fmla="*/ 1609304 w 4664922"/>
              <a:gd name="connsiteY538" fmla="*/ 521222 h 1786050"/>
              <a:gd name="connsiteX539" fmla="*/ 1620873 w 4664922"/>
              <a:gd name="connsiteY539" fmla="*/ 527411 h 1786050"/>
              <a:gd name="connsiteX540" fmla="*/ 1628220 w 4664922"/>
              <a:gd name="connsiteY540" fmla="*/ 531287 h 1786050"/>
              <a:gd name="connsiteX541" fmla="*/ 1691848 w 4664922"/>
              <a:gd name="connsiteY541" fmla="*/ 547714 h 1786050"/>
              <a:gd name="connsiteX542" fmla="*/ 1729216 w 4664922"/>
              <a:gd name="connsiteY542" fmla="*/ 565820 h 1786050"/>
              <a:gd name="connsiteX543" fmla="*/ 1736678 w 4664922"/>
              <a:gd name="connsiteY543" fmla="*/ 562812 h 1786050"/>
              <a:gd name="connsiteX544" fmla="*/ 1737776 w 4664922"/>
              <a:gd name="connsiteY544" fmla="*/ 550086 h 1786050"/>
              <a:gd name="connsiteX545" fmla="*/ 1721696 w 4664922"/>
              <a:gd name="connsiteY545" fmla="*/ 537996 h 1786050"/>
              <a:gd name="connsiteX546" fmla="*/ 1683576 w 4664922"/>
              <a:gd name="connsiteY546" fmla="*/ 517057 h 1786050"/>
              <a:gd name="connsiteX547" fmla="*/ 1685544 w 4664922"/>
              <a:gd name="connsiteY547" fmla="*/ 511272 h 1786050"/>
              <a:gd name="connsiteX548" fmla="*/ 1683461 w 4664922"/>
              <a:gd name="connsiteY548" fmla="*/ 498662 h 1786050"/>
              <a:gd name="connsiteX549" fmla="*/ 1679528 w 4664922"/>
              <a:gd name="connsiteY549" fmla="*/ 485069 h 1786050"/>
              <a:gd name="connsiteX550" fmla="*/ 1693179 w 4664922"/>
              <a:gd name="connsiteY550" fmla="*/ 469740 h 1786050"/>
              <a:gd name="connsiteX551" fmla="*/ 1763344 w 4664922"/>
              <a:gd name="connsiteY551" fmla="*/ 463956 h 1786050"/>
              <a:gd name="connsiteX552" fmla="*/ 1764212 w 4664922"/>
              <a:gd name="connsiteY552" fmla="*/ 463956 h 1786050"/>
              <a:gd name="connsiteX553" fmla="*/ 1784862 w 4664922"/>
              <a:gd name="connsiteY553" fmla="*/ 461584 h 1786050"/>
              <a:gd name="connsiteX554" fmla="*/ 1797935 w 4664922"/>
              <a:gd name="connsiteY554" fmla="*/ 460080 h 1786050"/>
              <a:gd name="connsiteX555" fmla="*/ 1805397 w 4664922"/>
              <a:gd name="connsiteY555" fmla="*/ 462220 h 1786050"/>
              <a:gd name="connsiteX556" fmla="*/ 1809099 w 4664922"/>
              <a:gd name="connsiteY556" fmla="*/ 464129 h 1786050"/>
              <a:gd name="connsiteX557" fmla="*/ 1816503 w 4664922"/>
              <a:gd name="connsiteY557" fmla="*/ 458345 h 1786050"/>
              <a:gd name="connsiteX558" fmla="*/ 1816503 w 4664922"/>
              <a:gd name="connsiteY558" fmla="*/ 458345 h 1786050"/>
              <a:gd name="connsiteX559" fmla="*/ 1829518 w 4664922"/>
              <a:gd name="connsiteY559" fmla="*/ 454643 h 1786050"/>
              <a:gd name="connsiteX560" fmla="*/ 1844326 w 4664922"/>
              <a:gd name="connsiteY560" fmla="*/ 460427 h 1786050"/>
              <a:gd name="connsiteX561" fmla="*/ 1844788 w 4664922"/>
              <a:gd name="connsiteY561" fmla="*/ 461642 h 1786050"/>
              <a:gd name="connsiteX562" fmla="*/ 1849069 w 4664922"/>
              <a:gd name="connsiteY562" fmla="*/ 460659 h 1786050"/>
              <a:gd name="connsiteX563" fmla="*/ 1849764 w 4664922"/>
              <a:gd name="connsiteY563" fmla="*/ 458171 h 1786050"/>
              <a:gd name="connsiteX564" fmla="*/ 1852193 w 4664922"/>
              <a:gd name="connsiteY564" fmla="*/ 452387 h 1786050"/>
              <a:gd name="connsiteX565" fmla="*/ 1852945 w 4664922"/>
              <a:gd name="connsiteY565" fmla="*/ 447354 h 1786050"/>
              <a:gd name="connsiteX566" fmla="*/ 1851730 w 4664922"/>
              <a:gd name="connsiteY566" fmla="*/ 446082 h 1786050"/>
              <a:gd name="connsiteX567" fmla="*/ 1847334 w 4664922"/>
              <a:gd name="connsiteY567" fmla="*/ 439083 h 1786050"/>
              <a:gd name="connsiteX568" fmla="*/ 1843516 w 4664922"/>
              <a:gd name="connsiteY568" fmla="*/ 436711 h 1786050"/>
              <a:gd name="connsiteX569" fmla="*/ 1831195 w 4664922"/>
              <a:gd name="connsiteY569" fmla="*/ 431910 h 1786050"/>
              <a:gd name="connsiteX570" fmla="*/ 1832237 w 4664922"/>
              <a:gd name="connsiteY570" fmla="*/ 427572 h 1786050"/>
              <a:gd name="connsiteX571" fmla="*/ 1837327 w 4664922"/>
              <a:gd name="connsiteY571" fmla="*/ 425836 h 1786050"/>
              <a:gd name="connsiteX572" fmla="*/ 1845367 w 4664922"/>
              <a:gd name="connsiteY572" fmla="*/ 426878 h 1786050"/>
              <a:gd name="connsiteX573" fmla="*/ 1851152 w 4664922"/>
              <a:gd name="connsiteY573" fmla="*/ 427745 h 1786050"/>
              <a:gd name="connsiteX574" fmla="*/ 1852482 w 4664922"/>
              <a:gd name="connsiteY574" fmla="*/ 427745 h 1786050"/>
              <a:gd name="connsiteX575" fmla="*/ 1842475 w 4664922"/>
              <a:gd name="connsiteY575" fmla="*/ 419086 h 1786050"/>
              <a:gd name="connsiteX576" fmla="*/ 1841607 w 4664922"/>
              <a:gd name="connsiteY576" fmla="*/ 419184 h 1786050"/>
              <a:gd name="connsiteX577" fmla="*/ 1824832 w 4664922"/>
              <a:gd name="connsiteY577" fmla="*/ 412648 h 1786050"/>
              <a:gd name="connsiteX578" fmla="*/ 1825700 w 4664922"/>
              <a:gd name="connsiteY578" fmla="*/ 408772 h 1786050"/>
              <a:gd name="connsiteX579" fmla="*/ 1829691 w 4664922"/>
              <a:gd name="connsiteY579" fmla="*/ 407442 h 1786050"/>
              <a:gd name="connsiteX580" fmla="*/ 1838541 w 4664922"/>
              <a:gd name="connsiteY580" fmla="*/ 409177 h 1786050"/>
              <a:gd name="connsiteX581" fmla="*/ 1849069 w 4664922"/>
              <a:gd name="connsiteY581" fmla="*/ 410045 h 1786050"/>
              <a:gd name="connsiteX582" fmla="*/ 1849879 w 4664922"/>
              <a:gd name="connsiteY582" fmla="*/ 405244 h 1786050"/>
              <a:gd name="connsiteX583" fmla="*/ 1842822 w 4664922"/>
              <a:gd name="connsiteY583" fmla="*/ 402178 h 1786050"/>
              <a:gd name="connsiteX584" fmla="*/ 1840277 w 4664922"/>
              <a:gd name="connsiteY584" fmla="*/ 402178 h 1786050"/>
              <a:gd name="connsiteX585" fmla="*/ 1839409 w 4664922"/>
              <a:gd name="connsiteY585" fmla="*/ 400674 h 1786050"/>
              <a:gd name="connsiteX586" fmla="*/ 1851556 w 4664922"/>
              <a:gd name="connsiteY586" fmla="*/ 393154 h 1786050"/>
              <a:gd name="connsiteX587" fmla="*/ 1853176 w 4664922"/>
              <a:gd name="connsiteY587" fmla="*/ 393154 h 1786050"/>
              <a:gd name="connsiteX588" fmla="*/ 1854160 w 4664922"/>
              <a:gd name="connsiteY588" fmla="*/ 393154 h 1786050"/>
              <a:gd name="connsiteX589" fmla="*/ 1858845 w 4664922"/>
              <a:gd name="connsiteY589" fmla="*/ 389857 h 1786050"/>
              <a:gd name="connsiteX590" fmla="*/ 1856705 w 4664922"/>
              <a:gd name="connsiteY590" fmla="*/ 388700 h 1786050"/>
              <a:gd name="connsiteX591" fmla="*/ 1853581 w 4664922"/>
              <a:gd name="connsiteY591" fmla="*/ 386155 h 1786050"/>
              <a:gd name="connsiteX592" fmla="*/ 1863009 w 4664922"/>
              <a:gd name="connsiteY592" fmla="*/ 380891 h 1786050"/>
              <a:gd name="connsiteX593" fmla="*/ 1868794 w 4664922"/>
              <a:gd name="connsiteY593" fmla="*/ 383205 h 1786050"/>
              <a:gd name="connsiteX594" fmla="*/ 1876488 w 4664922"/>
              <a:gd name="connsiteY594" fmla="*/ 386387 h 1786050"/>
              <a:gd name="connsiteX595" fmla="*/ 1888056 w 4664922"/>
              <a:gd name="connsiteY595" fmla="*/ 380602 h 1786050"/>
              <a:gd name="connsiteX596" fmla="*/ 1910037 w 4664922"/>
              <a:gd name="connsiteY596" fmla="*/ 370479 h 1786050"/>
              <a:gd name="connsiteX597" fmla="*/ 1914549 w 4664922"/>
              <a:gd name="connsiteY597" fmla="*/ 369612 h 1786050"/>
              <a:gd name="connsiteX598" fmla="*/ 1924672 w 4664922"/>
              <a:gd name="connsiteY598" fmla="*/ 363827 h 1786050"/>
              <a:gd name="connsiteX599" fmla="*/ 1940231 w 4664922"/>
              <a:gd name="connsiteY599" fmla="*/ 357522 h 1786050"/>
              <a:gd name="connsiteX600" fmla="*/ 1943529 w 4664922"/>
              <a:gd name="connsiteY600" fmla="*/ 357522 h 1786050"/>
              <a:gd name="connsiteX601" fmla="*/ 1973492 w 4664922"/>
              <a:gd name="connsiteY601" fmla="*/ 353589 h 1786050"/>
              <a:gd name="connsiteX602" fmla="*/ 2001142 w 4664922"/>
              <a:gd name="connsiteY602" fmla="*/ 348499 h 1786050"/>
              <a:gd name="connsiteX603" fmla="*/ 2018090 w 4664922"/>
              <a:gd name="connsiteY603" fmla="*/ 346763 h 1786050"/>
              <a:gd name="connsiteX604" fmla="*/ 2013232 w 4664922"/>
              <a:gd name="connsiteY604" fmla="*/ 344970 h 1786050"/>
              <a:gd name="connsiteX605" fmla="*/ 2002067 w 4664922"/>
              <a:gd name="connsiteY605" fmla="*/ 338549 h 1786050"/>
              <a:gd name="connsiteX606" fmla="*/ 2002067 w 4664922"/>
              <a:gd name="connsiteY606" fmla="*/ 335194 h 1786050"/>
              <a:gd name="connsiteX607" fmla="*/ 2009124 w 4664922"/>
              <a:gd name="connsiteY607" fmla="*/ 331897 h 1786050"/>
              <a:gd name="connsiteX608" fmla="*/ 2015834 w 4664922"/>
              <a:gd name="connsiteY608" fmla="*/ 332476 h 1786050"/>
              <a:gd name="connsiteX609" fmla="*/ 2023354 w 4664922"/>
              <a:gd name="connsiteY609" fmla="*/ 333170 h 1786050"/>
              <a:gd name="connsiteX610" fmla="*/ 2029139 w 4664922"/>
              <a:gd name="connsiteY610" fmla="*/ 332244 h 1786050"/>
              <a:gd name="connsiteX611" fmla="*/ 2044814 w 4664922"/>
              <a:gd name="connsiteY611" fmla="*/ 324493 h 1786050"/>
              <a:gd name="connsiteX612" fmla="*/ 2046781 w 4664922"/>
              <a:gd name="connsiteY612" fmla="*/ 323394 h 1786050"/>
              <a:gd name="connsiteX613" fmla="*/ 2056267 w 4664922"/>
              <a:gd name="connsiteY613" fmla="*/ 325824 h 1786050"/>
              <a:gd name="connsiteX614" fmla="*/ 2062746 w 4664922"/>
              <a:gd name="connsiteY614" fmla="*/ 328369 h 1786050"/>
              <a:gd name="connsiteX615" fmla="*/ 2064424 w 4664922"/>
              <a:gd name="connsiteY615" fmla="*/ 326923 h 1786050"/>
              <a:gd name="connsiteX616" fmla="*/ 2084611 w 4664922"/>
              <a:gd name="connsiteY616" fmla="*/ 317378 h 1786050"/>
              <a:gd name="connsiteX617" fmla="*/ 2092131 w 4664922"/>
              <a:gd name="connsiteY617" fmla="*/ 319519 h 1786050"/>
              <a:gd name="connsiteX618" fmla="*/ 2093172 w 4664922"/>
              <a:gd name="connsiteY618" fmla="*/ 322064 h 1786050"/>
              <a:gd name="connsiteX619" fmla="*/ 2087388 w 4664922"/>
              <a:gd name="connsiteY619" fmla="*/ 330046 h 1786050"/>
              <a:gd name="connsiteX620" fmla="*/ 2083570 w 4664922"/>
              <a:gd name="connsiteY620" fmla="*/ 334442 h 1786050"/>
              <a:gd name="connsiteX621" fmla="*/ 2083570 w 4664922"/>
              <a:gd name="connsiteY621" fmla="*/ 334442 h 1786050"/>
              <a:gd name="connsiteX622" fmla="*/ 2084033 w 4664922"/>
              <a:gd name="connsiteY622" fmla="*/ 334442 h 1786050"/>
              <a:gd name="connsiteX623" fmla="*/ 2093982 w 4664922"/>
              <a:gd name="connsiteY623" fmla="*/ 333806 h 1786050"/>
              <a:gd name="connsiteX624" fmla="*/ 2101907 w 4664922"/>
              <a:gd name="connsiteY624" fmla="*/ 333286 h 1786050"/>
              <a:gd name="connsiteX625" fmla="*/ 2109253 w 4664922"/>
              <a:gd name="connsiteY625" fmla="*/ 334616 h 1786050"/>
              <a:gd name="connsiteX626" fmla="*/ 2118161 w 4664922"/>
              <a:gd name="connsiteY626" fmla="*/ 330278 h 1786050"/>
              <a:gd name="connsiteX627" fmla="*/ 2134705 w 4664922"/>
              <a:gd name="connsiteY627" fmla="*/ 322526 h 1786050"/>
              <a:gd name="connsiteX628" fmla="*/ 2143554 w 4664922"/>
              <a:gd name="connsiteY628" fmla="*/ 324493 h 1786050"/>
              <a:gd name="connsiteX629" fmla="*/ 2160329 w 4664922"/>
              <a:gd name="connsiteY629" fmla="*/ 329757 h 1786050"/>
              <a:gd name="connsiteX630" fmla="*/ 2162585 w 4664922"/>
              <a:gd name="connsiteY630" fmla="*/ 329121 h 1786050"/>
              <a:gd name="connsiteX631" fmla="*/ 2156453 w 4664922"/>
              <a:gd name="connsiteY631" fmla="*/ 325592 h 1786050"/>
              <a:gd name="connsiteX632" fmla="*/ 2144885 w 4664922"/>
              <a:gd name="connsiteY632" fmla="*/ 315817 h 1786050"/>
              <a:gd name="connsiteX633" fmla="*/ 2145868 w 4664922"/>
              <a:gd name="connsiteY633" fmla="*/ 313156 h 1786050"/>
              <a:gd name="connsiteX634" fmla="*/ 2174386 w 4664922"/>
              <a:gd name="connsiteY634" fmla="*/ 308181 h 1786050"/>
              <a:gd name="connsiteX635" fmla="*/ 2187747 w 4664922"/>
              <a:gd name="connsiteY635" fmla="*/ 308991 h 1786050"/>
              <a:gd name="connsiteX636" fmla="*/ 2201456 w 4664922"/>
              <a:gd name="connsiteY636" fmla="*/ 307718 h 1786050"/>
              <a:gd name="connsiteX637" fmla="*/ 2201804 w 4664922"/>
              <a:gd name="connsiteY637" fmla="*/ 305462 h 1786050"/>
              <a:gd name="connsiteX638" fmla="*/ 2201804 w 4664922"/>
              <a:gd name="connsiteY638" fmla="*/ 300488 h 1786050"/>
              <a:gd name="connsiteX639" fmla="*/ 2197581 w 4664922"/>
              <a:gd name="connsiteY639" fmla="*/ 294703 h 1786050"/>
              <a:gd name="connsiteX640" fmla="*/ 2194573 w 4664922"/>
              <a:gd name="connsiteY640" fmla="*/ 291753 h 1786050"/>
              <a:gd name="connsiteX641" fmla="*/ 2215860 w 4664922"/>
              <a:gd name="connsiteY641" fmla="*/ 268616 h 1786050"/>
              <a:gd name="connsiteX642" fmla="*/ 2224478 w 4664922"/>
              <a:gd name="connsiteY642" fmla="*/ 260575 h 1786050"/>
              <a:gd name="connsiteX643" fmla="*/ 2246459 w 4664922"/>
              <a:gd name="connsiteY643" fmla="*/ 245941 h 1786050"/>
              <a:gd name="connsiteX644" fmla="*/ 2266127 w 4664922"/>
              <a:gd name="connsiteY644" fmla="*/ 241255 h 1786050"/>
              <a:gd name="connsiteX645" fmla="*/ 2282670 w 4664922"/>
              <a:gd name="connsiteY645" fmla="*/ 238247 h 1786050"/>
              <a:gd name="connsiteX646" fmla="*/ 2306676 w 4664922"/>
              <a:gd name="connsiteY646" fmla="*/ 244032 h 1786050"/>
              <a:gd name="connsiteX647" fmla="*/ 2311592 w 4664922"/>
              <a:gd name="connsiteY647" fmla="*/ 245536 h 1786050"/>
              <a:gd name="connsiteX648" fmla="*/ 2322004 w 4664922"/>
              <a:gd name="connsiteY648" fmla="*/ 247040 h 1786050"/>
              <a:gd name="connsiteX649" fmla="*/ 2335250 w 4664922"/>
              <a:gd name="connsiteY649" fmla="*/ 251609 h 1786050"/>
              <a:gd name="connsiteX650" fmla="*/ 2338548 w 4664922"/>
              <a:gd name="connsiteY650" fmla="*/ 260170 h 1786050"/>
              <a:gd name="connsiteX651" fmla="*/ 2331259 w 4664922"/>
              <a:gd name="connsiteY651" fmla="*/ 263872 h 1786050"/>
              <a:gd name="connsiteX652" fmla="*/ 2318939 w 4664922"/>
              <a:gd name="connsiteY652" fmla="*/ 268731 h 1786050"/>
              <a:gd name="connsiteX653" fmla="*/ 2305750 w 4664922"/>
              <a:gd name="connsiteY653" fmla="*/ 273590 h 1786050"/>
              <a:gd name="connsiteX654" fmla="*/ 2299503 w 4664922"/>
              <a:gd name="connsiteY654" fmla="*/ 274516 h 1786050"/>
              <a:gd name="connsiteX655" fmla="*/ 2301354 w 4664922"/>
              <a:gd name="connsiteY655" fmla="*/ 274516 h 1786050"/>
              <a:gd name="connsiteX656" fmla="*/ 2330854 w 4664922"/>
              <a:gd name="connsiteY656" fmla="*/ 280011 h 1786050"/>
              <a:gd name="connsiteX657" fmla="*/ 2345026 w 4664922"/>
              <a:gd name="connsiteY657" fmla="*/ 281226 h 1786050"/>
              <a:gd name="connsiteX658" fmla="*/ 2353992 w 4664922"/>
              <a:gd name="connsiteY658" fmla="*/ 281226 h 1786050"/>
              <a:gd name="connsiteX659" fmla="*/ 2362553 w 4664922"/>
              <a:gd name="connsiteY659" fmla="*/ 281226 h 1786050"/>
              <a:gd name="connsiteX660" fmla="*/ 2375799 w 4664922"/>
              <a:gd name="connsiteY660" fmla="*/ 283944 h 1786050"/>
              <a:gd name="connsiteX661" fmla="*/ 2366082 w 4664922"/>
              <a:gd name="connsiteY661" fmla="*/ 295860 h 1786050"/>
              <a:gd name="connsiteX662" fmla="*/ 2355322 w 4664922"/>
              <a:gd name="connsiteY662" fmla="*/ 308355 h 1786050"/>
              <a:gd name="connsiteX663" fmla="*/ 2373312 w 4664922"/>
              <a:gd name="connsiteY663" fmla="*/ 309859 h 1786050"/>
              <a:gd name="connsiteX664" fmla="*/ 2388062 w 4664922"/>
              <a:gd name="connsiteY664" fmla="*/ 306099 h 1786050"/>
              <a:gd name="connsiteX665" fmla="*/ 2407267 w 4664922"/>
              <a:gd name="connsiteY665" fmla="*/ 294993 h 1786050"/>
              <a:gd name="connsiteX666" fmla="*/ 2424620 w 4664922"/>
              <a:gd name="connsiteY666" fmla="*/ 296497 h 1786050"/>
              <a:gd name="connsiteX667" fmla="*/ 2439717 w 4664922"/>
              <a:gd name="connsiteY667" fmla="*/ 294530 h 1786050"/>
              <a:gd name="connsiteX668" fmla="*/ 2442898 w 4664922"/>
              <a:gd name="connsiteY668" fmla="*/ 293373 h 1786050"/>
              <a:gd name="connsiteX669" fmla="*/ 2451113 w 4664922"/>
              <a:gd name="connsiteY669" fmla="*/ 295224 h 1786050"/>
              <a:gd name="connsiteX670" fmla="*/ 2456377 w 4664922"/>
              <a:gd name="connsiteY670" fmla="*/ 296554 h 1786050"/>
              <a:gd name="connsiteX671" fmla="*/ 2456377 w 4664922"/>
              <a:gd name="connsiteY671" fmla="*/ 296554 h 1786050"/>
              <a:gd name="connsiteX672" fmla="*/ 2461062 w 4664922"/>
              <a:gd name="connsiteY672" fmla="*/ 294703 h 1786050"/>
              <a:gd name="connsiteX673" fmla="*/ 2497735 w 4664922"/>
              <a:gd name="connsiteY673" fmla="*/ 305289 h 1786050"/>
              <a:gd name="connsiteX674" fmla="*/ 2503867 w 4664922"/>
              <a:gd name="connsiteY674" fmla="*/ 307487 h 1786050"/>
              <a:gd name="connsiteX675" fmla="*/ 2512139 w 4664922"/>
              <a:gd name="connsiteY675" fmla="*/ 305057 h 1786050"/>
              <a:gd name="connsiteX676" fmla="*/ 2517923 w 4664922"/>
              <a:gd name="connsiteY676" fmla="*/ 303149 h 1786050"/>
              <a:gd name="connsiteX677" fmla="*/ 2521394 w 4664922"/>
              <a:gd name="connsiteY677" fmla="*/ 304537 h 1786050"/>
              <a:gd name="connsiteX678" fmla="*/ 2527178 w 4664922"/>
              <a:gd name="connsiteY678" fmla="*/ 327675 h 1786050"/>
              <a:gd name="connsiteX679" fmla="*/ 2527178 w 4664922"/>
              <a:gd name="connsiteY679" fmla="*/ 329063 h 1786050"/>
              <a:gd name="connsiteX680" fmla="*/ 2527872 w 4664922"/>
              <a:gd name="connsiteY680" fmla="*/ 329063 h 1786050"/>
              <a:gd name="connsiteX681" fmla="*/ 2531516 w 4664922"/>
              <a:gd name="connsiteY681" fmla="*/ 328253 h 1786050"/>
              <a:gd name="connsiteX682" fmla="*/ 2537995 w 4664922"/>
              <a:gd name="connsiteY682" fmla="*/ 327038 h 1786050"/>
              <a:gd name="connsiteX683" fmla="*/ 2544473 w 4664922"/>
              <a:gd name="connsiteY683" fmla="*/ 329988 h 1786050"/>
              <a:gd name="connsiteX684" fmla="*/ 2545283 w 4664922"/>
              <a:gd name="connsiteY684" fmla="*/ 341962 h 1786050"/>
              <a:gd name="connsiteX685" fmla="*/ 2544820 w 4664922"/>
              <a:gd name="connsiteY685" fmla="*/ 343177 h 1786050"/>
              <a:gd name="connsiteX686" fmla="*/ 2545688 w 4664922"/>
              <a:gd name="connsiteY686" fmla="*/ 343177 h 1786050"/>
              <a:gd name="connsiteX687" fmla="*/ 2547712 w 4664922"/>
              <a:gd name="connsiteY687" fmla="*/ 343177 h 1786050"/>
              <a:gd name="connsiteX688" fmla="*/ 2557430 w 4664922"/>
              <a:gd name="connsiteY688" fmla="*/ 351391 h 1786050"/>
              <a:gd name="connsiteX689" fmla="*/ 2553266 w 4664922"/>
              <a:gd name="connsiteY689" fmla="*/ 358101 h 1786050"/>
              <a:gd name="connsiteX690" fmla="*/ 2543663 w 4664922"/>
              <a:gd name="connsiteY690" fmla="*/ 359894 h 1786050"/>
              <a:gd name="connsiteX691" fmla="*/ 2540193 w 4664922"/>
              <a:gd name="connsiteY691" fmla="*/ 360530 h 1786050"/>
              <a:gd name="connsiteX692" fmla="*/ 2540193 w 4664922"/>
              <a:gd name="connsiteY692" fmla="*/ 361629 h 1786050"/>
              <a:gd name="connsiteX693" fmla="*/ 2545688 w 4664922"/>
              <a:gd name="connsiteY693" fmla="*/ 365158 h 1786050"/>
              <a:gd name="connsiteX694" fmla="*/ 2552340 w 4664922"/>
              <a:gd name="connsiteY694" fmla="*/ 371289 h 1786050"/>
              <a:gd name="connsiteX695" fmla="*/ 2539151 w 4664922"/>
              <a:gd name="connsiteY695" fmla="*/ 388643 h 1786050"/>
              <a:gd name="connsiteX696" fmla="*/ 2505544 w 4664922"/>
              <a:gd name="connsiteY696" fmla="*/ 401657 h 1786050"/>
              <a:gd name="connsiteX697" fmla="*/ 2502189 w 4664922"/>
              <a:gd name="connsiteY697" fmla="*/ 406748 h 1786050"/>
              <a:gd name="connsiteX698" fmla="*/ 2492934 w 4664922"/>
              <a:gd name="connsiteY698" fmla="*/ 416234 h 1786050"/>
              <a:gd name="connsiteX699" fmla="*/ 2492298 w 4664922"/>
              <a:gd name="connsiteY699" fmla="*/ 416234 h 1786050"/>
              <a:gd name="connsiteX700" fmla="*/ 2446832 w 4664922"/>
              <a:gd name="connsiteY700" fmla="*/ 434513 h 1786050"/>
              <a:gd name="connsiteX701" fmla="*/ 2420976 w 4664922"/>
              <a:gd name="connsiteY701" fmla="*/ 451172 h 1786050"/>
              <a:gd name="connsiteX702" fmla="*/ 2418026 w 4664922"/>
              <a:gd name="connsiteY702" fmla="*/ 452445 h 1786050"/>
              <a:gd name="connsiteX703" fmla="*/ 2412241 w 4664922"/>
              <a:gd name="connsiteY703" fmla="*/ 457477 h 1786050"/>
              <a:gd name="connsiteX704" fmla="*/ 2395755 w 4664922"/>
              <a:gd name="connsiteY704" fmla="*/ 467079 h 1786050"/>
              <a:gd name="connsiteX705" fmla="*/ 2386674 w 4664922"/>
              <a:gd name="connsiteY705" fmla="*/ 468294 h 1786050"/>
              <a:gd name="connsiteX706" fmla="*/ 2366602 w 4664922"/>
              <a:gd name="connsiteY706" fmla="*/ 475930 h 1786050"/>
              <a:gd name="connsiteX707" fmla="*/ 2355033 w 4664922"/>
              <a:gd name="connsiteY707" fmla="*/ 482119 h 1786050"/>
              <a:gd name="connsiteX708" fmla="*/ 2340803 w 4664922"/>
              <a:gd name="connsiteY708" fmla="*/ 489407 h 1786050"/>
              <a:gd name="connsiteX709" fmla="*/ 2328309 w 4664922"/>
              <a:gd name="connsiteY709" fmla="*/ 509421 h 1786050"/>
              <a:gd name="connsiteX710" fmla="*/ 2332416 w 4664922"/>
              <a:gd name="connsiteY710" fmla="*/ 506703 h 1786050"/>
              <a:gd name="connsiteX711" fmla="*/ 2371692 w 4664922"/>
              <a:gd name="connsiteY711" fmla="*/ 493456 h 1786050"/>
              <a:gd name="connsiteX712" fmla="*/ 2377824 w 4664922"/>
              <a:gd name="connsiteY712" fmla="*/ 492704 h 1786050"/>
              <a:gd name="connsiteX713" fmla="*/ 2418315 w 4664922"/>
              <a:gd name="connsiteY713" fmla="*/ 479285 h 1786050"/>
              <a:gd name="connsiteX714" fmla="*/ 2435263 w 4664922"/>
              <a:gd name="connsiteY714" fmla="*/ 473847 h 1786050"/>
              <a:gd name="connsiteX715" fmla="*/ 2451633 w 4664922"/>
              <a:gd name="connsiteY715" fmla="*/ 470319 h 1786050"/>
              <a:gd name="connsiteX716" fmla="*/ 2451633 w 4664922"/>
              <a:gd name="connsiteY716" fmla="*/ 469740 h 1786050"/>
              <a:gd name="connsiteX717" fmla="*/ 2447006 w 4664922"/>
              <a:gd name="connsiteY717" fmla="*/ 469162 h 1786050"/>
              <a:gd name="connsiteX718" fmla="*/ 2435437 w 4664922"/>
              <a:gd name="connsiteY718" fmla="*/ 465980 h 1786050"/>
              <a:gd name="connsiteX719" fmla="*/ 2435090 w 4664922"/>
              <a:gd name="connsiteY719" fmla="*/ 460832 h 1786050"/>
              <a:gd name="connsiteX720" fmla="*/ 2461872 w 4664922"/>
              <a:gd name="connsiteY720" fmla="*/ 445619 h 1786050"/>
              <a:gd name="connsiteX721" fmla="*/ 2467193 w 4664922"/>
              <a:gd name="connsiteY721" fmla="*/ 446313 h 1786050"/>
              <a:gd name="connsiteX722" fmla="*/ 2499181 w 4664922"/>
              <a:gd name="connsiteY722" fmla="*/ 462683 h 1786050"/>
              <a:gd name="connsiteX723" fmla="*/ 2510403 w 4664922"/>
              <a:gd name="connsiteY723" fmla="*/ 465228 h 1786050"/>
              <a:gd name="connsiteX724" fmla="*/ 2525327 w 4664922"/>
              <a:gd name="connsiteY724" fmla="*/ 461353 h 1786050"/>
              <a:gd name="connsiteX725" fmla="*/ 2525327 w 4664922"/>
              <a:gd name="connsiteY725" fmla="*/ 459849 h 1786050"/>
              <a:gd name="connsiteX726" fmla="*/ 2525848 w 4664922"/>
              <a:gd name="connsiteY726" fmla="*/ 455858 h 1786050"/>
              <a:gd name="connsiteX727" fmla="*/ 2530475 w 4664922"/>
              <a:gd name="connsiteY727" fmla="*/ 453949 h 1786050"/>
              <a:gd name="connsiteX728" fmla="*/ 2541234 w 4664922"/>
              <a:gd name="connsiteY728" fmla="*/ 462568 h 1786050"/>
              <a:gd name="connsiteX729" fmla="*/ 2541234 w 4664922"/>
              <a:gd name="connsiteY729" fmla="*/ 474136 h 1786050"/>
              <a:gd name="connsiteX730" fmla="*/ 2542044 w 4664922"/>
              <a:gd name="connsiteY730" fmla="*/ 487498 h 1786050"/>
              <a:gd name="connsiteX731" fmla="*/ 2544647 w 4664922"/>
              <a:gd name="connsiteY731" fmla="*/ 488250 h 1786050"/>
              <a:gd name="connsiteX732" fmla="*/ 2547134 w 4664922"/>
              <a:gd name="connsiteY732" fmla="*/ 487325 h 1786050"/>
              <a:gd name="connsiteX733" fmla="*/ 2546440 w 4664922"/>
              <a:gd name="connsiteY733" fmla="*/ 482466 h 1786050"/>
              <a:gd name="connsiteX734" fmla="*/ 2547886 w 4664922"/>
              <a:gd name="connsiteY734" fmla="*/ 473789 h 1786050"/>
              <a:gd name="connsiteX735" fmla="*/ 2607697 w 4664922"/>
              <a:gd name="connsiteY735" fmla="*/ 465749 h 1786050"/>
              <a:gd name="connsiteX736" fmla="*/ 2616894 w 4664922"/>
              <a:gd name="connsiteY736" fmla="*/ 464823 h 1786050"/>
              <a:gd name="connsiteX737" fmla="*/ 2621811 w 4664922"/>
              <a:gd name="connsiteY737" fmla="*/ 464823 h 1786050"/>
              <a:gd name="connsiteX738" fmla="*/ 2643503 w 4664922"/>
              <a:gd name="connsiteY738" fmla="*/ 468873 h 1786050"/>
              <a:gd name="connsiteX739" fmla="*/ 2667450 w 4664922"/>
              <a:gd name="connsiteY739" fmla="*/ 472748 h 1786050"/>
              <a:gd name="connsiteX740" fmla="*/ 2674854 w 4664922"/>
              <a:gd name="connsiteY740" fmla="*/ 472748 h 1786050"/>
              <a:gd name="connsiteX741" fmla="*/ 2694521 w 4664922"/>
              <a:gd name="connsiteY741" fmla="*/ 477260 h 1786050"/>
              <a:gd name="connsiteX742" fmla="*/ 2692612 w 4664922"/>
              <a:gd name="connsiteY742" fmla="*/ 480036 h 1786050"/>
              <a:gd name="connsiteX743" fmla="*/ 2689894 w 4664922"/>
              <a:gd name="connsiteY743" fmla="*/ 481135 h 1786050"/>
              <a:gd name="connsiteX744" fmla="*/ 2681911 w 4664922"/>
              <a:gd name="connsiteY744" fmla="*/ 491547 h 1786050"/>
              <a:gd name="connsiteX745" fmla="*/ 2707536 w 4664922"/>
              <a:gd name="connsiteY745" fmla="*/ 499357 h 1786050"/>
              <a:gd name="connsiteX746" fmla="*/ 2718064 w 4664922"/>
              <a:gd name="connsiteY746" fmla="*/ 496985 h 1786050"/>
              <a:gd name="connsiteX747" fmla="*/ 2723154 w 4664922"/>
              <a:gd name="connsiteY747" fmla="*/ 491952 h 1786050"/>
              <a:gd name="connsiteX748" fmla="*/ 2731947 w 4664922"/>
              <a:gd name="connsiteY748" fmla="*/ 498604 h 1786050"/>
              <a:gd name="connsiteX749" fmla="*/ 2743516 w 4664922"/>
              <a:gd name="connsiteY749" fmla="*/ 502075 h 1786050"/>
              <a:gd name="connsiteX750" fmla="*/ 2767694 w 4664922"/>
              <a:gd name="connsiteY750" fmla="*/ 504910 h 1786050"/>
              <a:gd name="connsiteX751" fmla="*/ 2778106 w 4664922"/>
              <a:gd name="connsiteY751" fmla="*/ 506356 h 1786050"/>
              <a:gd name="connsiteX752" fmla="*/ 2789675 w 4664922"/>
              <a:gd name="connsiteY752" fmla="*/ 503174 h 1786050"/>
              <a:gd name="connsiteX753" fmla="*/ 2796674 w 4664922"/>
              <a:gd name="connsiteY753" fmla="*/ 500976 h 1786050"/>
              <a:gd name="connsiteX754" fmla="*/ 2800665 w 4664922"/>
              <a:gd name="connsiteY754" fmla="*/ 501728 h 1786050"/>
              <a:gd name="connsiteX755" fmla="*/ 2805525 w 4664922"/>
              <a:gd name="connsiteY755" fmla="*/ 503521 h 1786050"/>
              <a:gd name="connsiteX756" fmla="*/ 2812755 w 4664922"/>
              <a:gd name="connsiteY756" fmla="*/ 505662 h 1786050"/>
              <a:gd name="connsiteX757" fmla="*/ 2815358 w 4664922"/>
              <a:gd name="connsiteY757" fmla="*/ 501439 h 1786050"/>
              <a:gd name="connsiteX758" fmla="*/ 2816862 w 4664922"/>
              <a:gd name="connsiteY758" fmla="*/ 494613 h 1786050"/>
              <a:gd name="connsiteX759" fmla="*/ 2815821 w 4664922"/>
              <a:gd name="connsiteY759" fmla="*/ 481425 h 1786050"/>
              <a:gd name="connsiteX760" fmla="*/ 2821026 w 4664922"/>
              <a:gd name="connsiteY760" fmla="*/ 465923 h 1786050"/>
              <a:gd name="connsiteX761" fmla="*/ 2831091 w 4664922"/>
              <a:gd name="connsiteY761" fmla="*/ 465807 h 1786050"/>
              <a:gd name="connsiteX762" fmla="*/ 2833001 w 4664922"/>
              <a:gd name="connsiteY762" fmla="*/ 466270 h 1786050"/>
              <a:gd name="connsiteX763" fmla="*/ 2837513 w 4664922"/>
              <a:gd name="connsiteY763" fmla="*/ 459617 h 1786050"/>
              <a:gd name="connsiteX764" fmla="*/ 2843702 w 4664922"/>
              <a:gd name="connsiteY764" fmla="*/ 452387 h 1786050"/>
              <a:gd name="connsiteX765" fmla="*/ 2850180 w 4664922"/>
              <a:gd name="connsiteY765" fmla="*/ 457824 h 1786050"/>
              <a:gd name="connsiteX766" fmla="*/ 2868054 w 4664922"/>
              <a:gd name="connsiteY766" fmla="*/ 470608 h 1786050"/>
              <a:gd name="connsiteX767" fmla="*/ 2887143 w 4664922"/>
              <a:gd name="connsiteY767" fmla="*/ 474136 h 1786050"/>
              <a:gd name="connsiteX768" fmla="*/ 2899810 w 4664922"/>
              <a:gd name="connsiteY768" fmla="*/ 477896 h 1786050"/>
              <a:gd name="connsiteX769" fmla="*/ 2899810 w 4664922"/>
              <a:gd name="connsiteY769" fmla="*/ 480557 h 1786050"/>
              <a:gd name="connsiteX770" fmla="*/ 2899810 w 4664922"/>
              <a:gd name="connsiteY770" fmla="*/ 482061 h 1786050"/>
              <a:gd name="connsiteX771" fmla="*/ 2904554 w 4664922"/>
              <a:gd name="connsiteY771" fmla="*/ 483912 h 1786050"/>
              <a:gd name="connsiteX772" fmla="*/ 2907446 w 4664922"/>
              <a:gd name="connsiteY772" fmla="*/ 482929 h 1786050"/>
              <a:gd name="connsiteX773" fmla="*/ 2907446 w 4664922"/>
              <a:gd name="connsiteY773" fmla="*/ 481251 h 1786050"/>
              <a:gd name="connsiteX774" fmla="*/ 2907967 w 4664922"/>
              <a:gd name="connsiteY774" fmla="*/ 478880 h 1786050"/>
              <a:gd name="connsiteX775" fmla="*/ 2924394 w 4664922"/>
              <a:gd name="connsiteY775" fmla="*/ 475525 h 1786050"/>
              <a:gd name="connsiteX776" fmla="*/ 2946028 w 4664922"/>
              <a:gd name="connsiteY776" fmla="*/ 480441 h 1786050"/>
              <a:gd name="connsiteX777" fmla="*/ 2963381 w 4664922"/>
              <a:gd name="connsiteY777" fmla="*/ 492357 h 1786050"/>
              <a:gd name="connsiteX778" fmla="*/ 2973099 w 4664922"/>
              <a:gd name="connsiteY778" fmla="*/ 499530 h 1786050"/>
              <a:gd name="connsiteX779" fmla="*/ 2968761 w 4664922"/>
              <a:gd name="connsiteY779" fmla="*/ 504273 h 1786050"/>
              <a:gd name="connsiteX780" fmla="*/ 2968183 w 4664922"/>
              <a:gd name="connsiteY780" fmla="*/ 504620 h 1786050"/>
              <a:gd name="connsiteX781" fmla="*/ 2972174 w 4664922"/>
              <a:gd name="connsiteY781" fmla="*/ 512603 h 1786050"/>
              <a:gd name="connsiteX782" fmla="*/ 2976107 w 4664922"/>
              <a:gd name="connsiteY782" fmla="*/ 521742 h 1786050"/>
              <a:gd name="connsiteX783" fmla="*/ 2974488 w 4664922"/>
              <a:gd name="connsiteY783" fmla="*/ 523246 h 1786050"/>
              <a:gd name="connsiteX784" fmla="*/ 2969975 w 4664922"/>
              <a:gd name="connsiteY784" fmla="*/ 529031 h 1786050"/>
              <a:gd name="connsiteX785" fmla="*/ 2975413 w 4664922"/>
              <a:gd name="connsiteY785" fmla="*/ 531865 h 1786050"/>
              <a:gd name="connsiteX786" fmla="*/ 2985189 w 4664922"/>
              <a:gd name="connsiteY786" fmla="*/ 540426 h 1786050"/>
              <a:gd name="connsiteX787" fmla="*/ 2981140 w 4664922"/>
              <a:gd name="connsiteY787" fmla="*/ 552631 h 1786050"/>
              <a:gd name="connsiteX788" fmla="*/ 2972001 w 4664922"/>
              <a:gd name="connsiteY788" fmla="*/ 554945 h 1786050"/>
              <a:gd name="connsiteX789" fmla="*/ 2960084 w 4664922"/>
              <a:gd name="connsiteY789" fmla="*/ 550433 h 1786050"/>
              <a:gd name="connsiteX790" fmla="*/ 2951870 w 4664922"/>
              <a:gd name="connsiteY790" fmla="*/ 547309 h 1786050"/>
              <a:gd name="connsiteX791" fmla="*/ 2949846 w 4664922"/>
              <a:gd name="connsiteY791" fmla="*/ 547656 h 1786050"/>
              <a:gd name="connsiteX792" fmla="*/ 2950598 w 4664922"/>
              <a:gd name="connsiteY792" fmla="*/ 548235 h 1786050"/>
              <a:gd name="connsiteX793" fmla="*/ 2976049 w 4664922"/>
              <a:gd name="connsiteY793" fmla="*/ 576810 h 1786050"/>
              <a:gd name="connsiteX794" fmla="*/ 3015326 w 4664922"/>
              <a:gd name="connsiteY794" fmla="*/ 612673 h 1786050"/>
              <a:gd name="connsiteX795" fmla="*/ 3015673 w 4664922"/>
              <a:gd name="connsiteY795" fmla="*/ 612673 h 1786050"/>
              <a:gd name="connsiteX796" fmla="*/ 3025507 w 4664922"/>
              <a:gd name="connsiteY796" fmla="*/ 616549 h 1786050"/>
              <a:gd name="connsiteX797" fmla="*/ 3032158 w 4664922"/>
              <a:gd name="connsiteY797" fmla="*/ 618053 h 1786050"/>
              <a:gd name="connsiteX798" fmla="*/ 3039910 w 4664922"/>
              <a:gd name="connsiteY798" fmla="*/ 607872 h 1786050"/>
              <a:gd name="connsiteX799" fmla="*/ 3049917 w 4664922"/>
              <a:gd name="connsiteY799" fmla="*/ 596940 h 1786050"/>
              <a:gd name="connsiteX800" fmla="*/ 3057147 w 4664922"/>
              <a:gd name="connsiteY800" fmla="*/ 584503 h 1786050"/>
              <a:gd name="connsiteX801" fmla="*/ 3064146 w 4664922"/>
              <a:gd name="connsiteY801" fmla="*/ 569059 h 1786050"/>
              <a:gd name="connsiteX802" fmla="*/ 3072476 w 4664922"/>
              <a:gd name="connsiteY802" fmla="*/ 562638 h 1786050"/>
              <a:gd name="connsiteX803" fmla="*/ 3081268 w 4664922"/>
              <a:gd name="connsiteY803" fmla="*/ 570331 h 1786050"/>
              <a:gd name="connsiteX804" fmla="*/ 3121759 w 4664922"/>
              <a:gd name="connsiteY804" fmla="*/ 585602 h 1786050"/>
              <a:gd name="connsiteX805" fmla="*/ 3139112 w 4664922"/>
              <a:gd name="connsiteY805" fmla="*/ 579818 h 1786050"/>
              <a:gd name="connsiteX806" fmla="*/ 3153342 w 4664922"/>
              <a:gd name="connsiteY806" fmla="*/ 575075 h 1786050"/>
              <a:gd name="connsiteX807" fmla="*/ 3154094 w 4664922"/>
              <a:gd name="connsiteY807" fmla="*/ 575075 h 1786050"/>
              <a:gd name="connsiteX808" fmla="*/ 3173530 w 4664922"/>
              <a:gd name="connsiteY808" fmla="*/ 578892 h 1786050"/>
              <a:gd name="connsiteX809" fmla="*/ 3192387 w 4664922"/>
              <a:gd name="connsiteY809" fmla="*/ 582652 h 1786050"/>
              <a:gd name="connsiteX810" fmla="*/ 3195222 w 4664922"/>
              <a:gd name="connsiteY810" fmla="*/ 582363 h 1786050"/>
              <a:gd name="connsiteX811" fmla="*/ 3196956 w 4664922"/>
              <a:gd name="connsiteY811" fmla="*/ 582363 h 1786050"/>
              <a:gd name="connsiteX812" fmla="*/ 3204129 w 4664922"/>
              <a:gd name="connsiteY812" fmla="*/ 588147 h 1786050"/>
              <a:gd name="connsiteX813" fmla="*/ 3217144 w 4664922"/>
              <a:gd name="connsiteY813" fmla="*/ 595436 h 1786050"/>
              <a:gd name="connsiteX814" fmla="*/ 3226746 w 4664922"/>
              <a:gd name="connsiteY814" fmla="*/ 591618 h 1786050"/>
              <a:gd name="connsiteX815" fmla="*/ 3217087 w 4664922"/>
              <a:gd name="connsiteY815" fmla="*/ 586817 h 1786050"/>
              <a:gd name="connsiteX816" fmla="*/ 3210145 w 4664922"/>
              <a:gd name="connsiteY816" fmla="*/ 582942 h 1786050"/>
              <a:gd name="connsiteX817" fmla="*/ 3222524 w 4664922"/>
              <a:gd name="connsiteY817" fmla="*/ 578430 h 1786050"/>
              <a:gd name="connsiteX818" fmla="*/ 3224954 w 4664922"/>
              <a:gd name="connsiteY818" fmla="*/ 578430 h 1786050"/>
              <a:gd name="connsiteX819" fmla="*/ 3236059 w 4664922"/>
              <a:gd name="connsiteY819" fmla="*/ 577446 h 1786050"/>
              <a:gd name="connsiteX820" fmla="*/ 3243001 w 4664922"/>
              <a:gd name="connsiteY820" fmla="*/ 576579 h 1786050"/>
              <a:gd name="connsiteX821" fmla="*/ 3251620 w 4664922"/>
              <a:gd name="connsiteY821" fmla="*/ 580454 h 1786050"/>
              <a:gd name="connsiteX822" fmla="*/ 3262841 w 4664922"/>
              <a:gd name="connsiteY822" fmla="*/ 584619 h 1786050"/>
              <a:gd name="connsiteX823" fmla="*/ 3271402 w 4664922"/>
              <a:gd name="connsiteY823" fmla="*/ 582247 h 1786050"/>
              <a:gd name="connsiteX824" fmla="*/ 3271865 w 4664922"/>
              <a:gd name="connsiteY824" fmla="*/ 581264 h 1786050"/>
              <a:gd name="connsiteX825" fmla="*/ 3271865 w 4664922"/>
              <a:gd name="connsiteY825" fmla="*/ 578603 h 1786050"/>
              <a:gd name="connsiteX826" fmla="*/ 3264114 w 4664922"/>
              <a:gd name="connsiteY826" fmla="*/ 563679 h 1786050"/>
              <a:gd name="connsiteX827" fmla="*/ 3261048 w 4664922"/>
              <a:gd name="connsiteY827" fmla="*/ 560324 h 1786050"/>
              <a:gd name="connsiteX828" fmla="*/ 3267411 w 4664922"/>
              <a:gd name="connsiteY828" fmla="*/ 553210 h 1786050"/>
              <a:gd name="connsiteX829" fmla="*/ 3271865 w 4664922"/>
              <a:gd name="connsiteY829" fmla="*/ 549450 h 1786050"/>
              <a:gd name="connsiteX830" fmla="*/ 3271865 w 4664922"/>
              <a:gd name="connsiteY830" fmla="*/ 549450 h 1786050"/>
              <a:gd name="connsiteX831" fmla="*/ 3271345 w 4664922"/>
              <a:gd name="connsiteY831" fmla="*/ 549103 h 1786050"/>
              <a:gd name="connsiteX832" fmla="*/ 3263941 w 4664922"/>
              <a:gd name="connsiteY832" fmla="*/ 550433 h 1786050"/>
              <a:gd name="connsiteX833" fmla="*/ 3256710 w 4664922"/>
              <a:gd name="connsiteY833" fmla="*/ 552573 h 1786050"/>
              <a:gd name="connsiteX834" fmla="*/ 3249190 w 4664922"/>
              <a:gd name="connsiteY834" fmla="*/ 548351 h 1786050"/>
              <a:gd name="connsiteX835" fmla="*/ 3247975 w 4664922"/>
              <a:gd name="connsiteY835" fmla="*/ 539848 h 1786050"/>
              <a:gd name="connsiteX836" fmla="*/ 3271113 w 4664922"/>
              <a:gd name="connsiteY836" fmla="*/ 529320 h 1786050"/>
              <a:gd name="connsiteX837" fmla="*/ 3275104 w 4664922"/>
              <a:gd name="connsiteY837" fmla="*/ 529320 h 1786050"/>
              <a:gd name="connsiteX838" fmla="*/ 3282162 w 4664922"/>
              <a:gd name="connsiteY838" fmla="*/ 529840 h 1786050"/>
              <a:gd name="connsiteX839" fmla="*/ 3298878 w 4664922"/>
              <a:gd name="connsiteY839" fmla="*/ 525155 h 1786050"/>
              <a:gd name="connsiteX840" fmla="*/ 3298300 w 4664922"/>
              <a:gd name="connsiteY840" fmla="*/ 522726 h 1786050"/>
              <a:gd name="connsiteX841" fmla="*/ 3295234 w 4664922"/>
              <a:gd name="connsiteY841" fmla="*/ 511967 h 1786050"/>
              <a:gd name="connsiteX842" fmla="*/ 3305357 w 4664922"/>
              <a:gd name="connsiteY842" fmla="*/ 508322 h 1786050"/>
              <a:gd name="connsiteX843" fmla="*/ 3318199 w 4664922"/>
              <a:gd name="connsiteY843" fmla="*/ 511967 h 1786050"/>
              <a:gd name="connsiteX844" fmla="*/ 3340931 w 4664922"/>
              <a:gd name="connsiteY844" fmla="*/ 517115 h 1786050"/>
              <a:gd name="connsiteX845" fmla="*/ 3346311 w 4664922"/>
              <a:gd name="connsiteY845" fmla="*/ 516825 h 1786050"/>
              <a:gd name="connsiteX846" fmla="*/ 3352905 w 4664922"/>
              <a:gd name="connsiteY846" fmla="*/ 516825 h 1786050"/>
              <a:gd name="connsiteX847" fmla="*/ 3410344 w 4664922"/>
              <a:gd name="connsiteY847" fmla="*/ 524866 h 1786050"/>
              <a:gd name="connsiteX848" fmla="*/ 3422549 w 4664922"/>
              <a:gd name="connsiteY848" fmla="*/ 527180 h 1786050"/>
              <a:gd name="connsiteX849" fmla="*/ 3430359 w 4664922"/>
              <a:gd name="connsiteY849" fmla="*/ 528510 h 1786050"/>
              <a:gd name="connsiteX850" fmla="*/ 3449158 w 4664922"/>
              <a:gd name="connsiteY850" fmla="*/ 534294 h 1786050"/>
              <a:gd name="connsiteX851" fmla="*/ 3449678 w 4664922"/>
              <a:gd name="connsiteY851" fmla="*/ 536897 h 1786050"/>
              <a:gd name="connsiteX852" fmla="*/ 3439960 w 4664922"/>
              <a:gd name="connsiteY852" fmla="*/ 540542 h 1786050"/>
              <a:gd name="connsiteX853" fmla="*/ 3420814 w 4664922"/>
              <a:gd name="connsiteY853" fmla="*/ 537765 h 1786050"/>
              <a:gd name="connsiteX854" fmla="*/ 3406295 w 4664922"/>
              <a:gd name="connsiteY854" fmla="*/ 540021 h 1786050"/>
              <a:gd name="connsiteX855" fmla="*/ 3406758 w 4664922"/>
              <a:gd name="connsiteY855" fmla="*/ 543260 h 1786050"/>
              <a:gd name="connsiteX856" fmla="*/ 3421508 w 4664922"/>
              <a:gd name="connsiteY856" fmla="*/ 546847 h 1786050"/>
              <a:gd name="connsiteX857" fmla="*/ 3437647 w 4664922"/>
              <a:gd name="connsiteY857" fmla="*/ 553210 h 1786050"/>
              <a:gd name="connsiteX858" fmla="*/ 3426541 w 4664922"/>
              <a:gd name="connsiteY858" fmla="*/ 561076 h 1786050"/>
              <a:gd name="connsiteX859" fmla="*/ 3416186 w 4664922"/>
              <a:gd name="connsiteY859" fmla="*/ 566861 h 1786050"/>
              <a:gd name="connsiteX860" fmla="*/ 3417286 w 4664922"/>
              <a:gd name="connsiteY860" fmla="*/ 571199 h 1786050"/>
              <a:gd name="connsiteX861" fmla="*/ 3427409 w 4664922"/>
              <a:gd name="connsiteY861" fmla="*/ 575537 h 1786050"/>
              <a:gd name="connsiteX862" fmla="*/ 3444530 w 4664922"/>
              <a:gd name="connsiteY862" fmla="*/ 565299 h 1786050"/>
              <a:gd name="connsiteX863" fmla="*/ 3456099 w 4664922"/>
              <a:gd name="connsiteY863" fmla="*/ 545805 h 1786050"/>
              <a:gd name="connsiteX864" fmla="*/ 3461074 w 4664922"/>
              <a:gd name="connsiteY864" fmla="*/ 538401 h 1786050"/>
              <a:gd name="connsiteX865" fmla="*/ 3470965 w 4664922"/>
              <a:gd name="connsiteY865" fmla="*/ 537707 h 1786050"/>
              <a:gd name="connsiteX866" fmla="*/ 3550386 w 4664922"/>
              <a:gd name="connsiteY866" fmla="*/ 553383 h 1786050"/>
              <a:gd name="connsiteX867" fmla="*/ 3552063 w 4664922"/>
              <a:gd name="connsiteY867" fmla="*/ 561713 h 1786050"/>
              <a:gd name="connsiteX868" fmla="*/ 3537601 w 4664922"/>
              <a:gd name="connsiteY868" fmla="*/ 565820 h 1786050"/>
              <a:gd name="connsiteX869" fmla="*/ 3531817 w 4664922"/>
              <a:gd name="connsiteY869" fmla="*/ 565820 h 1786050"/>
              <a:gd name="connsiteX870" fmla="*/ 3527074 w 4664922"/>
              <a:gd name="connsiteY870" fmla="*/ 565820 h 1786050"/>
              <a:gd name="connsiteX871" fmla="*/ 3521752 w 4664922"/>
              <a:gd name="connsiteY871" fmla="*/ 567671 h 1786050"/>
              <a:gd name="connsiteX872" fmla="*/ 3521752 w 4664922"/>
              <a:gd name="connsiteY872" fmla="*/ 569984 h 1786050"/>
              <a:gd name="connsiteX873" fmla="*/ 3527537 w 4664922"/>
              <a:gd name="connsiteY873" fmla="*/ 572703 h 1786050"/>
              <a:gd name="connsiteX874" fmla="*/ 3529677 w 4664922"/>
              <a:gd name="connsiteY874" fmla="*/ 572703 h 1786050"/>
              <a:gd name="connsiteX875" fmla="*/ 3533147 w 4664922"/>
              <a:gd name="connsiteY875" fmla="*/ 572356 h 1786050"/>
              <a:gd name="connsiteX876" fmla="*/ 3565367 w 4664922"/>
              <a:gd name="connsiteY876" fmla="*/ 585082 h 1786050"/>
              <a:gd name="connsiteX877" fmla="*/ 3567160 w 4664922"/>
              <a:gd name="connsiteY877" fmla="*/ 589015 h 1786050"/>
              <a:gd name="connsiteX878" fmla="*/ 3573754 w 4664922"/>
              <a:gd name="connsiteY878" fmla="*/ 589015 h 1786050"/>
              <a:gd name="connsiteX879" fmla="*/ 3580406 w 4664922"/>
              <a:gd name="connsiteY879" fmla="*/ 586470 h 1786050"/>
              <a:gd name="connsiteX880" fmla="*/ 3610023 w 4664922"/>
              <a:gd name="connsiteY880" fmla="*/ 599138 h 1786050"/>
              <a:gd name="connsiteX881" fmla="*/ 3610023 w 4664922"/>
              <a:gd name="connsiteY881" fmla="*/ 608104 h 1786050"/>
              <a:gd name="connsiteX882" fmla="*/ 3609502 w 4664922"/>
              <a:gd name="connsiteY882" fmla="*/ 610938 h 1786050"/>
              <a:gd name="connsiteX883" fmla="*/ 3616154 w 4664922"/>
              <a:gd name="connsiteY883" fmla="*/ 611864 h 1786050"/>
              <a:gd name="connsiteX884" fmla="*/ 3636110 w 4664922"/>
              <a:gd name="connsiteY884" fmla="*/ 611864 h 1786050"/>
              <a:gd name="connsiteX885" fmla="*/ 3679609 w 4664922"/>
              <a:gd name="connsiteY885" fmla="*/ 608335 h 1786050"/>
              <a:gd name="connsiteX886" fmla="*/ 3739420 w 4664922"/>
              <a:gd name="connsiteY886" fmla="*/ 602088 h 1786050"/>
              <a:gd name="connsiteX887" fmla="*/ 3783787 w 4664922"/>
              <a:gd name="connsiteY887" fmla="*/ 607872 h 1786050"/>
              <a:gd name="connsiteX888" fmla="*/ 3830815 w 4664922"/>
              <a:gd name="connsiteY888" fmla="*/ 643215 h 1786050"/>
              <a:gd name="connsiteX889" fmla="*/ 3828385 w 4664922"/>
              <a:gd name="connsiteY889" fmla="*/ 648653 h 1786050"/>
              <a:gd name="connsiteX890" fmla="*/ 3825030 w 4664922"/>
              <a:gd name="connsiteY890" fmla="*/ 657850 h 1786050"/>
              <a:gd name="connsiteX891" fmla="*/ 3823700 w 4664922"/>
              <a:gd name="connsiteY891" fmla="*/ 665890 h 1786050"/>
              <a:gd name="connsiteX892" fmla="*/ 3822369 w 4664922"/>
              <a:gd name="connsiteY892" fmla="*/ 668030 h 1786050"/>
              <a:gd name="connsiteX893" fmla="*/ 3837467 w 4664922"/>
              <a:gd name="connsiteY893" fmla="*/ 669592 h 1786050"/>
              <a:gd name="connsiteX894" fmla="*/ 3859563 w 4664922"/>
              <a:gd name="connsiteY894" fmla="*/ 678384 h 1786050"/>
              <a:gd name="connsiteX895" fmla="*/ 3865347 w 4664922"/>
              <a:gd name="connsiteY895" fmla="*/ 703605 h 1786050"/>
              <a:gd name="connsiteX896" fmla="*/ 3865926 w 4664922"/>
              <a:gd name="connsiteY896" fmla="*/ 695969 h 1786050"/>
              <a:gd name="connsiteX897" fmla="*/ 3870669 w 4664922"/>
              <a:gd name="connsiteY897" fmla="*/ 678269 h 1786050"/>
              <a:gd name="connsiteX898" fmla="*/ 3935628 w 4664922"/>
              <a:gd name="connsiteY898" fmla="*/ 671212 h 1786050"/>
              <a:gd name="connsiteX899" fmla="*/ 3954428 w 4664922"/>
              <a:gd name="connsiteY899" fmla="*/ 673526 h 1786050"/>
              <a:gd name="connsiteX900" fmla="*/ 4006488 w 4664922"/>
              <a:gd name="connsiteY900" fmla="*/ 683417 h 1786050"/>
              <a:gd name="connsiteX901" fmla="*/ 4021295 w 4664922"/>
              <a:gd name="connsiteY901" fmla="*/ 681045 h 1786050"/>
              <a:gd name="connsiteX902" fmla="*/ 4035120 w 4664922"/>
              <a:gd name="connsiteY902" fmla="*/ 668609 h 1786050"/>
              <a:gd name="connsiteX903" fmla="*/ 4054093 w 4664922"/>
              <a:gd name="connsiteY903" fmla="*/ 655478 h 1786050"/>
              <a:gd name="connsiteX904" fmla="*/ 4056523 w 4664922"/>
              <a:gd name="connsiteY904" fmla="*/ 655478 h 1786050"/>
              <a:gd name="connsiteX905" fmla="*/ 4087700 w 4664922"/>
              <a:gd name="connsiteY905" fmla="*/ 665370 h 1786050"/>
              <a:gd name="connsiteX906" fmla="*/ 4089610 w 4664922"/>
              <a:gd name="connsiteY906" fmla="*/ 671154 h 1786050"/>
              <a:gd name="connsiteX907" fmla="*/ 4076247 w 4664922"/>
              <a:gd name="connsiteY907" fmla="*/ 682723 h 1786050"/>
              <a:gd name="connsiteX908" fmla="*/ 4067571 w 4664922"/>
              <a:gd name="connsiteY908" fmla="*/ 679426 h 1786050"/>
              <a:gd name="connsiteX909" fmla="*/ 4059530 w 4664922"/>
              <a:gd name="connsiteY909" fmla="*/ 675782 h 1786050"/>
              <a:gd name="connsiteX910" fmla="*/ 4056349 w 4664922"/>
              <a:gd name="connsiteY910" fmla="*/ 677228 h 1786050"/>
              <a:gd name="connsiteX911" fmla="*/ 4056349 w 4664922"/>
              <a:gd name="connsiteY911" fmla="*/ 685499 h 1786050"/>
              <a:gd name="connsiteX912" fmla="*/ 4069711 w 4664922"/>
              <a:gd name="connsiteY912" fmla="*/ 694928 h 1786050"/>
              <a:gd name="connsiteX913" fmla="*/ 4082900 w 4664922"/>
              <a:gd name="connsiteY913" fmla="*/ 702564 h 1786050"/>
              <a:gd name="connsiteX914" fmla="*/ 4111822 w 4664922"/>
              <a:gd name="connsiteY914" fmla="*/ 717661 h 1786050"/>
              <a:gd name="connsiteX915" fmla="*/ 4118879 w 4664922"/>
              <a:gd name="connsiteY915" fmla="*/ 716330 h 1786050"/>
              <a:gd name="connsiteX916" fmla="*/ 4131836 w 4664922"/>
              <a:gd name="connsiteY916" fmla="*/ 704183 h 1786050"/>
              <a:gd name="connsiteX917" fmla="*/ 4125473 w 4664922"/>
              <a:gd name="connsiteY917" fmla="*/ 691515 h 1786050"/>
              <a:gd name="connsiteX918" fmla="*/ 4109682 w 4664922"/>
              <a:gd name="connsiteY918" fmla="*/ 670518 h 1786050"/>
              <a:gd name="connsiteX919" fmla="*/ 4112574 w 4664922"/>
              <a:gd name="connsiteY919" fmla="*/ 667799 h 1786050"/>
              <a:gd name="connsiteX920" fmla="*/ 4116392 w 4664922"/>
              <a:gd name="connsiteY920" fmla="*/ 661089 h 1786050"/>
              <a:gd name="connsiteX921" fmla="*/ 4120904 w 4664922"/>
              <a:gd name="connsiteY921" fmla="*/ 650793 h 1786050"/>
              <a:gd name="connsiteX922" fmla="*/ 4127093 w 4664922"/>
              <a:gd name="connsiteY922" fmla="*/ 648942 h 1786050"/>
              <a:gd name="connsiteX923" fmla="*/ 4184937 w 4664922"/>
              <a:gd name="connsiteY923" fmla="*/ 664965 h 1786050"/>
              <a:gd name="connsiteX924" fmla="*/ 4195176 w 4664922"/>
              <a:gd name="connsiteY924" fmla="*/ 663634 h 1786050"/>
              <a:gd name="connsiteX925" fmla="*/ 4206166 w 4664922"/>
              <a:gd name="connsiteY925" fmla="*/ 660626 h 1786050"/>
              <a:gd name="connsiteX926" fmla="*/ 4209753 w 4664922"/>
              <a:gd name="connsiteY926" fmla="*/ 660916 h 1786050"/>
              <a:gd name="connsiteX927" fmla="*/ 4261233 w 4664922"/>
              <a:gd name="connsiteY927" fmla="*/ 663866 h 1786050"/>
              <a:gd name="connsiteX928" fmla="*/ 4273612 w 4664922"/>
              <a:gd name="connsiteY928" fmla="*/ 663345 h 1786050"/>
              <a:gd name="connsiteX929" fmla="*/ 4282405 w 4664922"/>
              <a:gd name="connsiteY929" fmla="*/ 666874 h 1786050"/>
              <a:gd name="connsiteX930" fmla="*/ 4298890 w 4664922"/>
              <a:gd name="connsiteY930" fmla="*/ 673815 h 1786050"/>
              <a:gd name="connsiteX931" fmla="*/ 4375997 w 4664922"/>
              <a:gd name="connsiteY931" fmla="*/ 705629 h 1786050"/>
              <a:gd name="connsiteX932" fmla="*/ 4400233 w 4664922"/>
              <a:gd name="connsiteY932" fmla="*/ 716678 h 1786050"/>
              <a:gd name="connsiteX933" fmla="*/ 4419322 w 4664922"/>
              <a:gd name="connsiteY933" fmla="*/ 725585 h 1786050"/>
              <a:gd name="connsiteX934" fmla="*/ 4447781 w 4664922"/>
              <a:gd name="connsiteY934" fmla="*/ 740856 h 1786050"/>
              <a:gd name="connsiteX935" fmla="*/ 4459350 w 4664922"/>
              <a:gd name="connsiteY935" fmla="*/ 745368 h 1786050"/>
              <a:gd name="connsiteX936" fmla="*/ 4512856 w 4664922"/>
              <a:gd name="connsiteY936" fmla="*/ 777356 h 1786050"/>
              <a:gd name="connsiteX937" fmla="*/ 4518236 w 4664922"/>
              <a:gd name="connsiteY937" fmla="*/ 783546 h 1786050"/>
              <a:gd name="connsiteX938" fmla="*/ 4523384 w 4664922"/>
              <a:gd name="connsiteY938" fmla="*/ 792280 h 1786050"/>
              <a:gd name="connsiteX939" fmla="*/ 4524136 w 4664922"/>
              <a:gd name="connsiteY939" fmla="*/ 819062 h 1786050"/>
              <a:gd name="connsiteX940" fmla="*/ 4539985 w 4664922"/>
              <a:gd name="connsiteY940" fmla="*/ 828895 h 1786050"/>
              <a:gd name="connsiteX941" fmla="*/ 4539985 w 4664922"/>
              <a:gd name="connsiteY941" fmla="*/ 827912 h 1786050"/>
              <a:gd name="connsiteX942" fmla="*/ 4542762 w 4664922"/>
              <a:gd name="connsiteY942" fmla="*/ 818368 h 1786050"/>
              <a:gd name="connsiteX943" fmla="*/ 4544208 w 4664922"/>
              <a:gd name="connsiteY943" fmla="*/ 810906 h 1786050"/>
              <a:gd name="connsiteX944" fmla="*/ 4537325 w 4664922"/>
              <a:gd name="connsiteY944" fmla="*/ 805121 h 1786050"/>
              <a:gd name="connsiteX945" fmla="*/ 4531540 w 4664922"/>
              <a:gd name="connsiteY945" fmla="*/ 797486 h 1786050"/>
              <a:gd name="connsiteX946" fmla="*/ 4548142 w 4664922"/>
              <a:gd name="connsiteY946" fmla="*/ 792569 h 1786050"/>
              <a:gd name="connsiteX947" fmla="*/ 4569197 w 4664922"/>
              <a:gd name="connsiteY947" fmla="*/ 797544 h 1786050"/>
              <a:gd name="connsiteX948" fmla="*/ 4579030 w 4664922"/>
              <a:gd name="connsiteY948" fmla="*/ 805121 h 1786050"/>
              <a:gd name="connsiteX949" fmla="*/ 4579609 w 4664922"/>
              <a:gd name="connsiteY949" fmla="*/ 804485 h 1786050"/>
              <a:gd name="connsiteX950" fmla="*/ 4586781 w 4664922"/>
              <a:gd name="connsiteY950" fmla="*/ 801362 h 1786050"/>
              <a:gd name="connsiteX951" fmla="*/ 4619174 w 4664922"/>
              <a:gd name="connsiteY951" fmla="*/ 812930 h 1786050"/>
              <a:gd name="connsiteX952" fmla="*/ 4659029 w 4664922"/>
              <a:gd name="connsiteY952" fmla="*/ 841158 h 1786050"/>
              <a:gd name="connsiteX953" fmla="*/ 4664813 w 4664922"/>
              <a:gd name="connsiteY953" fmla="*/ 846943 h 1786050"/>
              <a:gd name="connsiteX954" fmla="*/ 4656715 w 4664922"/>
              <a:gd name="connsiteY954" fmla="*/ 850876 h 1786050"/>
              <a:gd name="connsiteX955" fmla="*/ 4655211 w 4664922"/>
              <a:gd name="connsiteY955" fmla="*/ 850876 h 1786050"/>
              <a:gd name="connsiteX956" fmla="*/ 4642659 w 4664922"/>
              <a:gd name="connsiteY956" fmla="*/ 864875 h 1786050"/>
              <a:gd name="connsiteX957" fmla="*/ 4637279 w 4664922"/>
              <a:gd name="connsiteY957" fmla="*/ 868634 h 1786050"/>
              <a:gd name="connsiteX958" fmla="*/ 4625710 w 4664922"/>
              <a:gd name="connsiteY958" fmla="*/ 863891 h 1786050"/>
              <a:gd name="connsiteX959" fmla="*/ 4622124 w 4664922"/>
              <a:gd name="connsiteY959" fmla="*/ 862503 h 1786050"/>
              <a:gd name="connsiteX960" fmla="*/ 4618885 w 4664922"/>
              <a:gd name="connsiteY960" fmla="*/ 863776 h 1786050"/>
              <a:gd name="connsiteX961" fmla="*/ 4618885 w 4664922"/>
              <a:gd name="connsiteY961" fmla="*/ 863776 h 1786050"/>
              <a:gd name="connsiteX962" fmla="*/ 4620620 w 4664922"/>
              <a:gd name="connsiteY962" fmla="*/ 864354 h 1786050"/>
              <a:gd name="connsiteX963" fmla="*/ 4630916 w 4664922"/>
              <a:gd name="connsiteY963" fmla="*/ 871932 h 1786050"/>
              <a:gd name="connsiteX964" fmla="*/ 4626868 w 4664922"/>
              <a:gd name="connsiteY964" fmla="*/ 874303 h 1786050"/>
              <a:gd name="connsiteX965" fmla="*/ 4624438 w 4664922"/>
              <a:gd name="connsiteY965" fmla="*/ 874303 h 1786050"/>
              <a:gd name="connsiteX966" fmla="*/ 4595516 w 4664922"/>
              <a:gd name="connsiteY966" fmla="*/ 867593 h 1786050"/>
              <a:gd name="connsiteX967" fmla="*/ 4589731 w 4664922"/>
              <a:gd name="connsiteY967" fmla="*/ 865164 h 1786050"/>
              <a:gd name="connsiteX968" fmla="*/ 4586839 w 4664922"/>
              <a:gd name="connsiteY968" fmla="*/ 867073 h 1786050"/>
              <a:gd name="connsiteX969" fmla="*/ 4588112 w 4664922"/>
              <a:gd name="connsiteY969" fmla="*/ 868866 h 1786050"/>
              <a:gd name="connsiteX970" fmla="*/ 4594937 w 4664922"/>
              <a:gd name="connsiteY970" fmla="*/ 891309 h 1786050"/>
              <a:gd name="connsiteX971" fmla="*/ 4592103 w 4664922"/>
              <a:gd name="connsiteY971" fmla="*/ 898077 h 1786050"/>
              <a:gd name="connsiteX972" fmla="*/ 4592103 w 4664922"/>
              <a:gd name="connsiteY972" fmla="*/ 903110 h 1786050"/>
              <a:gd name="connsiteX973" fmla="*/ 4592103 w 4664922"/>
              <a:gd name="connsiteY973" fmla="*/ 910109 h 1786050"/>
              <a:gd name="connsiteX974" fmla="*/ 4589385 w 4664922"/>
              <a:gd name="connsiteY974" fmla="*/ 911439 h 1786050"/>
              <a:gd name="connsiteX975" fmla="*/ 4588864 w 4664922"/>
              <a:gd name="connsiteY975" fmla="*/ 911439 h 1786050"/>
              <a:gd name="connsiteX976" fmla="*/ 4581518 w 4664922"/>
              <a:gd name="connsiteY976" fmla="*/ 908431 h 1786050"/>
              <a:gd name="connsiteX977" fmla="*/ 4578105 w 4664922"/>
              <a:gd name="connsiteY977" fmla="*/ 906696 h 1786050"/>
              <a:gd name="connsiteX978" fmla="*/ 4576948 w 4664922"/>
              <a:gd name="connsiteY978" fmla="*/ 907621 h 1786050"/>
              <a:gd name="connsiteX979" fmla="*/ 4576948 w 4664922"/>
              <a:gd name="connsiteY979" fmla="*/ 908142 h 1786050"/>
              <a:gd name="connsiteX980" fmla="*/ 4582732 w 4664922"/>
              <a:gd name="connsiteY980" fmla="*/ 912365 h 1786050"/>
              <a:gd name="connsiteX981" fmla="*/ 4590541 w 4664922"/>
              <a:gd name="connsiteY981" fmla="*/ 919306 h 1786050"/>
              <a:gd name="connsiteX982" fmla="*/ 4588864 w 4664922"/>
              <a:gd name="connsiteY982" fmla="*/ 922892 h 1786050"/>
              <a:gd name="connsiteX983" fmla="*/ 4582617 w 4664922"/>
              <a:gd name="connsiteY983" fmla="*/ 925611 h 1786050"/>
              <a:gd name="connsiteX984" fmla="*/ 4579377 w 4664922"/>
              <a:gd name="connsiteY984" fmla="*/ 925091 h 1786050"/>
              <a:gd name="connsiteX985" fmla="*/ 4577006 w 4664922"/>
              <a:gd name="connsiteY985" fmla="*/ 924686 h 1786050"/>
              <a:gd name="connsiteX986" fmla="*/ 4573940 w 4664922"/>
              <a:gd name="connsiteY986" fmla="*/ 926074 h 1786050"/>
              <a:gd name="connsiteX987" fmla="*/ 4569544 w 4664922"/>
              <a:gd name="connsiteY987" fmla="*/ 927925 h 1786050"/>
              <a:gd name="connsiteX988" fmla="*/ 4564453 w 4664922"/>
              <a:gd name="connsiteY988" fmla="*/ 926363 h 1786050"/>
              <a:gd name="connsiteX989" fmla="*/ 4556876 w 4664922"/>
              <a:gd name="connsiteY989" fmla="*/ 924743 h 1786050"/>
              <a:gd name="connsiteX990" fmla="*/ 4541027 w 4664922"/>
              <a:gd name="connsiteY990" fmla="*/ 916414 h 1786050"/>
              <a:gd name="connsiteX991" fmla="*/ 4531193 w 4664922"/>
              <a:gd name="connsiteY991" fmla="*/ 912191 h 1786050"/>
              <a:gd name="connsiteX992" fmla="*/ 4514650 w 4664922"/>
              <a:gd name="connsiteY992" fmla="*/ 906580 h 1786050"/>
              <a:gd name="connsiteX993" fmla="*/ 4494694 w 4664922"/>
              <a:gd name="connsiteY993" fmla="*/ 882344 h 1786050"/>
              <a:gd name="connsiteX994" fmla="*/ 4459987 w 4664922"/>
              <a:gd name="connsiteY994" fmla="*/ 867767 h 1786050"/>
              <a:gd name="connsiteX995" fmla="*/ 4453797 w 4664922"/>
              <a:gd name="connsiteY995" fmla="*/ 868982 h 1786050"/>
              <a:gd name="connsiteX996" fmla="*/ 4438064 w 4664922"/>
              <a:gd name="connsiteY996" fmla="*/ 872394 h 1786050"/>
              <a:gd name="connsiteX997" fmla="*/ 4423892 w 4664922"/>
              <a:gd name="connsiteY997" fmla="*/ 867477 h 1786050"/>
              <a:gd name="connsiteX998" fmla="*/ 4420074 w 4664922"/>
              <a:gd name="connsiteY998" fmla="*/ 862676 h 1786050"/>
              <a:gd name="connsiteX999" fmla="*/ 4414290 w 4664922"/>
              <a:gd name="connsiteY999" fmla="*/ 848042 h 1786050"/>
              <a:gd name="connsiteX1000" fmla="*/ 4417413 w 4664922"/>
              <a:gd name="connsiteY1000" fmla="*/ 842547 h 1786050"/>
              <a:gd name="connsiteX1001" fmla="*/ 4421694 w 4664922"/>
              <a:gd name="connsiteY1001" fmla="*/ 834217 h 1786050"/>
              <a:gd name="connsiteX1002" fmla="*/ 4419380 w 4664922"/>
              <a:gd name="connsiteY1002" fmla="*/ 835027 h 1786050"/>
              <a:gd name="connsiteX1003" fmla="*/ 4411802 w 4664922"/>
              <a:gd name="connsiteY1003" fmla="*/ 837283 h 1786050"/>
              <a:gd name="connsiteX1004" fmla="*/ 4408042 w 4664922"/>
              <a:gd name="connsiteY1004" fmla="*/ 836531 h 1786050"/>
              <a:gd name="connsiteX1005" fmla="*/ 4404456 w 4664922"/>
              <a:gd name="connsiteY1005" fmla="*/ 836010 h 1786050"/>
              <a:gd name="connsiteX1006" fmla="*/ 4401564 w 4664922"/>
              <a:gd name="connsiteY1006" fmla="*/ 839192 h 1786050"/>
              <a:gd name="connsiteX1007" fmla="*/ 4394218 w 4664922"/>
              <a:gd name="connsiteY1007" fmla="*/ 844976 h 1786050"/>
              <a:gd name="connsiteX1008" fmla="*/ 4389128 w 4664922"/>
              <a:gd name="connsiteY1008" fmla="*/ 848852 h 1786050"/>
              <a:gd name="connsiteX1009" fmla="*/ 4392772 w 4664922"/>
              <a:gd name="connsiteY1009" fmla="*/ 856198 h 1786050"/>
              <a:gd name="connsiteX1010" fmla="*/ 4402085 w 4664922"/>
              <a:gd name="connsiteY1010" fmla="*/ 868114 h 1786050"/>
              <a:gd name="connsiteX1011" fmla="*/ 4397631 w 4664922"/>
              <a:gd name="connsiteY1011" fmla="*/ 874361 h 1786050"/>
              <a:gd name="connsiteX1012" fmla="*/ 4392656 w 4664922"/>
              <a:gd name="connsiteY1012" fmla="*/ 880955 h 1786050"/>
              <a:gd name="connsiteX1013" fmla="*/ 4390400 w 4664922"/>
              <a:gd name="connsiteY1013" fmla="*/ 888012 h 1786050"/>
              <a:gd name="connsiteX1014" fmla="*/ 4362693 w 4664922"/>
              <a:gd name="connsiteY1014" fmla="*/ 903283 h 1786050"/>
              <a:gd name="connsiteX1015" fmla="*/ 4353553 w 4664922"/>
              <a:gd name="connsiteY1015" fmla="*/ 907101 h 1786050"/>
              <a:gd name="connsiteX1016" fmla="*/ 4332672 w 4664922"/>
              <a:gd name="connsiteY1016" fmla="*/ 911208 h 1786050"/>
              <a:gd name="connsiteX1017" fmla="*/ 4321103 w 4664922"/>
              <a:gd name="connsiteY1017" fmla="*/ 909010 h 1786050"/>
              <a:gd name="connsiteX1018" fmla="*/ 4316475 w 4664922"/>
              <a:gd name="connsiteY1018" fmla="*/ 903804 h 1786050"/>
              <a:gd name="connsiteX1019" fmla="*/ 4306700 w 4664922"/>
              <a:gd name="connsiteY1019" fmla="*/ 895821 h 1786050"/>
              <a:gd name="connsiteX1020" fmla="*/ 4296692 w 4664922"/>
              <a:gd name="connsiteY1020" fmla="*/ 894028 h 1786050"/>
              <a:gd name="connsiteX1021" fmla="*/ 4281653 w 4664922"/>
              <a:gd name="connsiteY1021" fmla="*/ 899061 h 1786050"/>
              <a:gd name="connsiteX1022" fmla="*/ 4281132 w 4664922"/>
              <a:gd name="connsiteY1022" fmla="*/ 902068 h 1786050"/>
              <a:gd name="connsiteX1023" fmla="*/ 4293685 w 4664922"/>
              <a:gd name="connsiteY1023" fmla="*/ 908663 h 1786050"/>
              <a:gd name="connsiteX1024" fmla="*/ 4302476 w 4664922"/>
              <a:gd name="connsiteY1024" fmla="*/ 906291 h 1786050"/>
              <a:gd name="connsiteX1025" fmla="*/ 4307220 w 4664922"/>
              <a:gd name="connsiteY1025" fmla="*/ 904614 h 1786050"/>
              <a:gd name="connsiteX1026" fmla="*/ 4312657 w 4664922"/>
              <a:gd name="connsiteY1026" fmla="*/ 916530 h 1786050"/>
              <a:gd name="connsiteX1027" fmla="*/ 4316591 w 4664922"/>
              <a:gd name="connsiteY1027" fmla="*/ 923297 h 1786050"/>
              <a:gd name="connsiteX1028" fmla="*/ 4327003 w 4664922"/>
              <a:gd name="connsiteY1028" fmla="*/ 925785 h 1786050"/>
              <a:gd name="connsiteX1029" fmla="*/ 4329258 w 4664922"/>
              <a:gd name="connsiteY1029" fmla="*/ 924917 h 1786050"/>
              <a:gd name="connsiteX1030" fmla="*/ 4339729 w 4664922"/>
              <a:gd name="connsiteY1030" fmla="*/ 933189 h 1786050"/>
              <a:gd name="connsiteX1031" fmla="*/ 4347364 w 4664922"/>
              <a:gd name="connsiteY1031" fmla="*/ 953608 h 1786050"/>
              <a:gd name="connsiteX1032" fmla="*/ 4355000 w 4664922"/>
              <a:gd name="connsiteY1032" fmla="*/ 965929 h 1786050"/>
              <a:gd name="connsiteX1033" fmla="*/ 4363156 w 4664922"/>
              <a:gd name="connsiteY1033" fmla="*/ 978423 h 1786050"/>
              <a:gd name="connsiteX1034" fmla="*/ 4365701 w 4664922"/>
              <a:gd name="connsiteY1034" fmla="*/ 985249 h 1786050"/>
              <a:gd name="connsiteX1035" fmla="*/ 4363676 w 4664922"/>
              <a:gd name="connsiteY1035" fmla="*/ 1001329 h 1786050"/>
              <a:gd name="connsiteX1036" fmla="*/ 4350314 w 4664922"/>
              <a:gd name="connsiteY1036" fmla="*/ 1007923 h 1786050"/>
              <a:gd name="connsiteX1037" fmla="*/ 4340133 w 4664922"/>
              <a:gd name="connsiteY1037" fmla="*/ 1005957 h 1786050"/>
              <a:gd name="connsiteX1038" fmla="*/ 4332730 w 4664922"/>
              <a:gd name="connsiteY1038" fmla="*/ 1004048 h 1786050"/>
              <a:gd name="connsiteX1039" fmla="*/ 4320177 w 4664922"/>
              <a:gd name="connsiteY1039" fmla="*/ 1002370 h 1786050"/>
              <a:gd name="connsiteX1040" fmla="*/ 4307625 w 4664922"/>
              <a:gd name="connsiteY1040" fmla="*/ 997164 h 1786050"/>
              <a:gd name="connsiteX1041" fmla="*/ 4304096 w 4664922"/>
              <a:gd name="connsiteY1041" fmla="*/ 995082 h 1786050"/>
              <a:gd name="connsiteX1042" fmla="*/ 4299238 w 4664922"/>
              <a:gd name="connsiteY1042" fmla="*/ 997107 h 1786050"/>
              <a:gd name="connsiteX1043" fmla="*/ 4299238 w 4664922"/>
              <a:gd name="connsiteY1043" fmla="*/ 999016 h 1786050"/>
              <a:gd name="connsiteX1044" fmla="*/ 4298775 w 4664922"/>
              <a:gd name="connsiteY1044" fmla="*/ 1001503 h 1786050"/>
              <a:gd name="connsiteX1045" fmla="*/ 4241451 w 4664922"/>
              <a:gd name="connsiteY1045" fmla="*/ 1028285 h 1786050"/>
              <a:gd name="connsiteX1046" fmla="*/ 4196217 w 4664922"/>
              <a:gd name="connsiteY1046" fmla="*/ 1048183 h 1786050"/>
              <a:gd name="connsiteX1047" fmla="*/ 4189912 w 4664922"/>
              <a:gd name="connsiteY1047" fmla="*/ 1052926 h 1786050"/>
              <a:gd name="connsiteX1048" fmla="*/ 4180309 w 4664922"/>
              <a:gd name="connsiteY1048" fmla="*/ 1058711 h 1786050"/>
              <a:gd name="connsiteX1049" fmla="*/ 4173716 w 4664922"/>
              <a:gd name="connsiteY1049" fmla="*/ 1064495 h 1786050"/>
              <a:gd name="connsiteX1050" fmla="*/ 4163940 w 4664922"/>
              <a:gd name="connsiteY1050" fmla="*/ 1069990 h 1786050"/>
              <a:gd name="connsiteX1051" fmla="*/ 4123969 w 4664922"/>
              <a:gd name="connsiteY1051" fmla="*/ 1092376 h 1786050"/>
              <a:gd name="connsiteX1052" fmla="*/ 4119226 w 4664922"/>
              <a:gd name="connsiteY1052" fmla="*/ 1099607 h 1786050"/>
              <a:gd name="connsiteX1053" fmla="*/ 4112632 w 4664922"/>
              <a:gd name="connsiteY1053" fmla="*/ 1108573 h 1786050"/>
              <a:gd name="connsiteX1054" fmla="*/ 4103319 w 4664922"/>
              <a:gd name="connsiteY1054" fmla="*/ 1102152 h 1786050"/>
              <a:gd name="connsiteX1055" fmla="*/ 4091750 w 4664922"/>
              <a:gd name="connsiteY1055" fmla="*/ 1091104 h 1786050"/>
              <a:gd name="connsiteX1056" fmla="*/ 4065084 w 4664922"/>
              <a:gd name="connsiteY1056" fmla="*/ 1087055 h 1786050"/>
              <a:gd name="connsiteX1057" fmla="*/ 4024593 w 4664922"/>
              <a:gd name="connsiteY1057" fmla="*/ 1096252 h 1786050"/>
              <a:gd name="connsiteX1058" fmla="*/ 4009611 w 4664922"/>
              <a:gd name="connsiteY1058" fmla="*/ 1108341 h 1786050"/>
              <a:gd name="connsiteX1059" fmla="*/ 4001050 w 4664922"/>
              <a:gd name="connsiteY1059" fmla="*/ 1114126 h 1786050"/>
              <a:gd name="connsiteX1060" fmla="*/ 3997464 w 4664922"/>
              <a:gd name="connsiteY1060" fmla="*/ 1110076 h 1786050"/>
              <a:gd name="connsiteX1061" fmla="*/ 3997001 w 4664922"/>
              <a:gd name="connsiteY1061" fmla="*/ 1098797 h 1786050"/>
              <a:gd name="connsiteX1062" fmla="*/ 3995729 w 4664922"/>
              <a:gd name="connsiteY1062" fmla="*/ 1088154 h 1786050"/>
              <a:gd name="connsiteX1063" fmla="*/ 3992894 w 4664922"/>
              <a:gd name="connsiteY1063" fmla="*/ 1087112 h 1786050"/>
              <a:gd name="connsiteX1064" fmla="*/ 3974095 w 4664922"/>
              <a:gd name="connsiteY1064" fmla="*/ 1103829 h 1786050"/>
              <a:gd name="connsiteX1065" fmla="*/ 3966170 w 4664922"/>
              <a:gd name="connsiteY1065" fmla="*/ 1113085 h 1786050"/>
              <a:gd name="connsiteX1066" fmla="*/ 3962237 w 4664922"/>
              <a:gd name="connsiteY1066" fmla="*/ 1115051 h 1786050"/>
              <a:gd name="connsiteX1067" fmla="*/ 3958361 w 4664922"/>
              <a:gd name="connsiteY1067" fmla="*/ 1111407 h 1786050"/>
              <a:gd name="connsiteX1068" fmla="*/ 3955180 w 4664922"/>
              <a:gd name="connsiteY1068" fmla="*/ 1108515 h 1786050"/>
              <a:gd name="connsiteX1069" fmla="*/ 3946098 w 4664922"/>
              <a:gd name="connsiteY1069" fmla="*/ 1107878 h 1786050"/>
              <a:gd name="connsiteX1070" fmla="*/ 3937942 w 4664922"/>
              <a:gd name="connsiteY1070" fmla="*/ 1107011 h 1786050"/>
              <a:gd name="connsiteX1071" fmla="*/ 3932158 w 4664922"/>
              <a:gd name="connsiteY1071" fmla="*/ 1109209 h 1786050"/>
              <a:gd name="connsiteX1072" fmla="*/ 3927298 w 4664922"/>
              <a:gd name="connsiteY1072" fmla="*/ 1116092 h 1786050"/>
              <a:gd name="connsiteX1073" fmla="*/ 3911739 w 4664922"/>
              <a:gd name="connsiteY1073" fmla="*/ 1143163 h 1786050"/>
              <a:gd name="connsiteX1074" fmla="*/ 3901674 w 4664922"/>
              <a:gd name="connsiteY1074" fmla="*/ 1155831 h 1786050"/>
              <a:gd name="connsiteX1075" fmla="*/ 3888485 w 4664922"/>
              <a:gd name="connsiteY1075" fmla="*/ 1167805 h 1786050"/>
              <a:gd name="connsiteX1076" fmla="*/ 3884957 w 4664922"/>
              <a:gd name="connsiteY1076" fmla="*/ 1189786 h 1786050"/>
              <a:gd name="connsiteX1077" fmla="*/ 3890741 w 4664922"/>
              <a:gd name="connsiteY1077" fmla="*/ 1194298 h 1786050"/>
              <a:gd name="connsiteX1078" fmla="*/ 3896526 w 4664922"/>
              <a:gd name="connsiteY1078" fmla="*/ 1193199 h 1786050"/>
              <a:gd name="connsiteX1079" fmla="*/ 3902310 w 4664922"/>
              <a:gd name="connsiteY1079" fmla="*/ 1192215 h 1786050"/>
              <a:gd name="connsiteX1080" fmla="*/ 3908441 w 4664922"/>
              <a:gd name="connsiteY1080" fmla="*/ 1193141 h 1786050"/>
              <a:gd name="connsiteX1081" fmla="*/ 3918101 w 4664922"/>
              <a:gd name="connsiteY1081" fmla="*/ 1198925 h 1786050"/>
              <a:gd name="connsiteX1082" fmla="*/ 3909598 w 4664922"/>
              <a:gd name="connsiteY1082" fmla="*/ 1209800 h 1786050"/>
              <a:gd name="connsiteX1083" fmla="*/ 3900864 w 4664922"/>
              <a:gd name="connsiteY1083" fmla="*/ 1235830 h 1786050"/>
              <a:gd name="connsiteX1084" fmla="*/ 3903004 w 4664922"/>
              <a:gd name="connsiteY1084" fmla="*/ 1238491 h 1786050"/>
              <a:gd name="connsiteX1085" fmla="*/ 3903872 w 4664922"/>
              <a:gd name="connsiteY1085" fmla="*/ 1238491 h 1786050"/>
              <a:gd name="connsiteX1086" fmla="*/ 3919027 w 4664922"/>
              <a:gd name="connsiteY1086" fmla="*/ 1250060 h 1786050"/>
              <a:gd name="connsiteX1087" fmla="*/ 3916945 w 4664922"/>
              <a:gd name="connsiteY1087" fmla="*/ 1258794 h 1786050"/>
              <a:gd name="connsiteX1088" fmla="*/ 3909425 w 4664922"/>
              <a:gd name="connsiteY1088" fmla="*/ 1262091 h 1786050"/>
              <a:gd name="connsiteX1089" fmla="*/ 3903930 w 4664922"/>
              <a:gd name="connsiteY1089" fmla="*/ 1260992 h 1786050"/>
              <a:gd name="connsiteX1090" fmla="*/ 3895542 w 4664922"/>
              <a:gd name="connsiteY1090" fmla="*/ 1260240 h 1786050"/>
              <a:gd name="connsiteX1091" fmla="*/ 3877264 w 4664922"/>
              <a:gd name="connsiteY1091" fmla="*/ 1284940 h 1786050"/>
              <a:gd name="connsiteX1092" fmla="*/ 3876685 w 4664922"/>
              <a:gd name="connsiteY1092" fmla="*/ 1291650 h 1786050"/>
              <a:gd name="connsiteX1093" fmla="*/ 3878073 w 4664922"/>
              <a:gd name="connsiteY1093" fmla="*/ 1293385 h 1786050"/>
              <a:gd name="connsiteX1094" fmla="*/ 3881428 w 4664922"/>
              <a:gd name="connsiteY1094" fmla="*/ 1320167 h 1786050"/>
              <a:gd name="connsiteX1095" fmla="*/ 3869050 w 4664922"/>
              <a:gd name="connsiteY1095" fmla="*/ 1324910 h 1786050"/>
              <a:gd name="connsiteX1096" fmla="*/ 3862281 w 4664922"/>
              <a:gd name="connsiteY1096" fmla="*/ 1324332 h 1786050"/>
              <a:gd name="connsiteX1097" fmla="*/ 3856092 w 4664922"/>
              <a:gd name="connsiteY1097" fmla="*/ 1323753 h 1786050"/>
              <a:gd name="connsiteX1098" fmla="*/ 3848630 w 4664922"/>
              <a:gd name="connsiteY1098" fmla="*/ 1325894 h 1786050"/>
              <a:gd name="connsiteX1099" fmla="*/ 3842846 w 4664922"/>
              <a:gd name="connsiteY1099" fmla="*/ 1329885 h 1786050"/>
              <a:gd name="connsiteX1100" fmla="*/ 3822832 w 4664922"/>
              <a:gd name="connsiteY1100" fmla="*/ 1349725 h 1786050"/>
              <a:gd name="connsiteX1101" fmla="*/ 3824567 w 4664922"/>
              <a:gd name="connsiteY1101" fmla="*/ 1355510 h 1786050"/>
              <a:gd name="connsiteX1102" fmla="*/ 3824567 w 4664922"/>
              <a:gd name="connsiteY1102" fmla="*/ 1374309 h 1786050"/>
              <a:gd name="connsiteX1103" fmla="*/ 3816180 w 4664922"/>
              <a:gd name="connsiteY1103" fmla="*/ 1375177 h 1786050"/>
              <a:gd name="connsiteX1104" fmla="*/ 3804611 w 4664922"/>
              <a:gd name="connsiteY1104" fmla="*/ 1378011 h 1786050"/>
              <a:gd name="connsiteX1105" fmla="*/ 3794604 w 4664922"/>
              <a:gd name="connsiteY1105" fmla="*/ 1384548 h 1786050"/>
              <a:gd name="connsiteX1106" fmla="*/ 3786159 w 4664922"/>
              <a:gd name="connsiteY1106" fmla="*/ 1390332 h 1786050"/>
              <a:gd name="connsiteX1107" fmla="*/ 3785291 w 4664922"/>
              <a:gd name="connsiteY1107" fmla="*/ 1398662 h 1786050"/>
              <a:gd name="connsiteX1108" fmla="*/ 3779507 w 4664922"/>
              <a:gd name="connsiteY1108" fmla="*/ 1418734 h 1786050"/>
              <a:gd name="connsiteX1109" fmla="*/ 3774474 w 4664922"/>
              <a:gd name="connsiteY1109" fmla="*/ 1424518 h 1786050"/>
              <a:gd name="connsiteX1110" fmla="*/ 3765855 w 4664922"/>
              <a:gd name="connsiteY1110" fmla="*/ 1434583 h 1786050"/>
              <a:gd name="connsiteX1111" fmla="*/ 3754287 w 4664922"/>
              <a:gd name="connsiteY1111" fmla="*/ 1446152 h 1786050"/>
              <a:gd name="connsiteX1112" fmla="*/ 3737570 w 4664922"/>
              <a:gd name="connsiteY1112" fmla="*/ 1460092 h 1786050"/>
              <a:gd name="connsiteX1113" fmla="*/ 3735660 w 4664922"/>
              <a:gd name="connsiteY1113" fmla="*/ 1459282 h 1786050"/>
              <a:gd name="connsiteX1114" fmla="*/ 3732653 w 4664922"/>
              <a:gd name="connsiteY1114" fmla="*/ 1450895 h 1786050"/>
              <a:gd name="connsiteX1115" fmla="*/ 3728372 w 4664922"/>
              <a:gd name="connsiteY1115" fmla="*/ 1439326 h 1786050"/>
              <a:gd name="connsiteX1116" fmla="*/ 3724323 w 4664922"/>
              <a:gd name="connsiteY1116" fmla="*/ 1418618 h 1786050"/>
              <a:gd name="connsiteX1117" fmla="*/ 3719753 w 4664922"/>
              <a:gd name="connsiteY1117" fmla="*/ 1392704 h 1786050"/>
              <a:gd name="connsiteX1118" fmla="*/ 3704598 w 4664922"/>
              <a:gd name="connsiteY1118" fmla="*/ 1291187 h 1786050"/>
              <a:gd name="connsiteX1119" fmla="*/ 3729992 w 4664922"/>
              <a:gd name="connsiteY1119" fmla="*/ 1227558 h 1786050"/>
              <a:gd name="connsiteX1120" fmla="*/ 3737280 w 4664922"/>
              <a:gd name="connsiteY1120" fmla="*/ 1201933 h 1786050"/>
              <a:gd name="connsiteX1121" fmla="*/ 3739941 w 4664922"/>
              <a:gd name="connsiteY1121" fmla="*/ 1194067 h 1786050"/>
              <a:gd name="connsiteX1122" fmla="*/ 3746015 w 4664922"/>
              <a:gd name="connsiteY1122" fmla="*/ 1193662 h 1786050"/>
              <a:gd name="connsiteX1123" fmla="*/ 3764409 w 4664922"/>
              <a:gd name="connsiteY1123" fmla="*/ 1189902 h 1786050"/>
              <a:gd name="connsiteX1124" fmla="*/ 3772854 w 4664922"/>
              <a:gd name="connsiteY1124" fmla="*/ 1184522 h 1786050"/>
              <a:gd name="connsiteX1125" fmla="*/ 3809412 w 4664922"/>
              <a:gd name="connsiteY1125" fmla="*/ 1158608 h 1786050"/>
              <a:gd name="connsiteX1126" fmla="*/ 3842557 w 4664922"/>
              <a:gd name="connsiteY1126" fmla="*/ 1127719 h 1786050"/>
              <a:gd name="connsiteX1127" fmla="*/ 3859910 w 4664922"/>
              <a:gd name="connsiteY1127" fmla="*/ 1112275 h 1786050"/>
              <a:gd name="connsiteX1128" fmla="*/ 3872925 w 4664922"/>
              <a:gd name="connsiteY1128" fmla="*/ 1099144 h 1786050"/>
              <a:gd name="connsiteX1129" fmla="*/ 3882007 w 4664922"/>
              <a:gd name="connsiteY1129" fmla="*/ 1088096 h 1786050"/>
              <a:gd name="connsiteX1130" fmla="*/ 3911449 w 4664922"/>
              <a:gd name="connsiteY1130" fmla="*/ 1072998 h 1786050"/>
              <a:gd name="connsiteX1131" fmla="*/ 3918680 w 4664922"/>
              <a:gd name="connsiteY1131" fmla="*/ 1071321 h 1786050"/>
              <a:gd name="connsiteX1132" fmla="*/ 3925910 w 4664922"/>
              <a:gd name="connsiteY1132" fmla="*/ 1061082 h 1786050"/>
              <a:gd name="connsiteX1133" fmla="*/ 3925910 w 4664922"/>
              <a:gd name="connsiteY1133" fmla="*/ 1059868 h 1786050"/>
              <a:gd name="connsiteX1134" fmla="*/ 3931695 w 4664922"/>
              <a:gd name="connsiteY1134" fmla="*/ 1053273 h 1786050"/>
              <a:gd name="connsiteX1135" fmla="*/ 3935223 w 4664922"/>
              <a:gd name="connsiteY1135" fmla="*/ 1050266 h 1786050"/>
              <a:gd name="connsiteX1136" fmla="*/ 3934298 w 4664922"/>
              <a:gd name="connsiteY1136" fmla="*/ 1048646 h 1786050"/>
              <a:gd name="connsiteX1137" fmla="*/ 3934298 w 4664922"/>
              <a:gd name="connsiteY1137" fmla="*/ 1038581 h 1786050"/>
              <a:gd name="connsiteX1138" fmla="*/ 3938173 w 4664922"/>
              <a:gd name="connsiteY1138" fmla="*/ 1024409 h 1786050"/>
              <a:gd name="connsiteX1139" fmla="*/ 3944305 w 4664922"/>
              <a:gd name="connsiteY1139" fmla="*/ 1007056 h 1786050"/>
              <a:gd name="connsiteX1140" fmla="*/ 3960154 w 4664922"/>
              <a:gd name="connsiteY1140" fmla="*/ 1002370 h 1786050"/>
              <a:gd name="connsiteX1141" fmla="*/ 3965533 w 4664922"/>
              <a:gd name="connsiteY1141" fmla="*/ 1003238 h 1786050"/>
              <a:gd name="connsiteX1142" fmla="*/ 3967327 w 4664922"/>
              <a:gd name="connsiteY1142" fmla="*/ 1002891 h 1786050"/>
              <a:gd name="connsiteX1143" fmla="*/ 3959807 w 4664922"/>
              <a:gd name="connsiteY1143" fmla="*/ 998090 h 1786050"/>
              <a:gd name="connsiteX1144" fmla="*/ 3948643 w 4664922"/>
              <a:gd name="connsiteY1144" fmla="*/ 996355 h 1786050"/>
              <a:gd name="connsiteX1145" fmla="*/ 3914573 w 4664922"/>
              <a:gd name="connsiteY1145" fmla="*/ 1013708 h 1786050"/>
              <a:gd name="connsiteX1146" fmla="*/ 3915209 w 4664922"/>
              <a:gd name="connsiteY1146" fmla="*/ 1027648 h 1786050"/>
              <a:gd name="connsiteX1147" fmla="*/ 3914110 w 4664922"/>
              <a:gd name="connsiteY1147" fmla="*/ 1039796 h 1786050"/>
              <a:gd name="connsiteX1148" fmla="*/ 3907689 w 4664922"/>
              <a:gd name="connsiteY1148" fmla="*/ 1041415 h 1786050"/>
              <a:gd name="connsiteX1149" fmla="*/ 3904450 w 4664922"/>
              <a:gd name="connsiteY1149" fmla="*/ 1041415 h 1786050"/>
              <a:gd name="connsiteX1150" fmla="*/ 3863381 w 4664922"/>
              <a:gd name="connsiteY1150" fmla="*/ 1062702 h 1786050"/>
              <a:gd name="connsiteX1151" fmla="*/ 3833938 w 4664922"/>
              <a:gd name="connsiteY1151" fmla="*/ 1079188 h 1786050"/>
              <a:gd name="connsiteX1152" fmla="*/ 3828153 w 4664922"/>
              <a:gd name="connsiteY1152" fmla="*/ 1076874 h 1786050"/>
              <a:gd name="connsiteX1153" fmla="*/ 3832781 w 4664922"/>
              <a:gd name="connsiteY1153" fmla="*/ 1070742 h 1786050"/>
              <a:gd name="connsiteX1154" fmla="*/ 3837004 w 4664922"/>
              <a:gd name="connsiteY1154" fmla="*/ 1066983 h 1786050"/>
              <a:gd name="connsiteX1155" fmla="*/ 3835963 w 4664922"/>
              <a:gd name="connsiteY1155" fmla="*/ 1066115 h 1786050"/>
              <a:gd name="connsiteX1156" fmla="*/ 3828905 w 4664922"/>
              <a:gd name="connsiteY1156" fmla="*/ 1064727 h 1786050"/>
              <a:gd name="connsiteX1157" fmla="*/ 3820171 w 4664922"/>
              <a:gd name="connsiteY1157" fmla="*/ 1061545 h 1786050"/>
              <a:gd name="connsiteX1158" fmla="*/ 3820171 w 4664922"/>
              <a:gd name="connsiteY1158" fmla="*/ 1054257 h 1786050"/>
              <a:gd name="connsiteX1159" fmla="*/ 3829542 w 4664922"/>
              <a:gd name="connsiteY1159" fmla="*/ 1039796 h 1786050"/>
              <a:gd name="connsiteX1160" fmla="*/ 3834979 w 4664922"/>
              <a:gd name="connsiteY1160" fmla="*/ 1031350 h 1786050"/>
              <a:gd name="connsiteX1161" fmla="*/ 3833996 w 4664922"/>
              <a:gd name="connsiteY1161" fmla="*/ 1030136 h 1786050"/>
              <a:gd name="connsiteX1162" fmla="*/ 3824162 w 4664922"/>
              <a:gd name="connsiteY1162" fmla="*/ 1033838 h 1786050"/>
              <a:gd name="connsiteX1163" fmla="*/ 3816006 w 4664922"/>
              <a:gd name="connsiteY1163" fmla="*/ 1038176 h 1786050"/>
              <a:gd name="connsiteX1164" fmla="*/ 3814386 w 4664922"/>
              <a:gd name="connsiteY1164" fmla="*/ 1037887 h 1786050"/>
              <a:gd name="connsiteX1165" fmla="*/ 3809643 w 4664922"/>
              <a:gd name="connsiteY1165" fmla="*/ 1032854 h 1786050"/>
              <a:gd name="connsiteX1166" fmla="*/ 3803859 w 4664922"/>
              <a:gd name="connsiteY1166" fmla="*/ 1027938 h 1786050"/>
              <a:gd name="connsiteX1167" fmla="*/ 3797322 w 4664922"/>
              <a:gd name="connsiteY1167" fmla="*/ 1030136 h 1786050"/>
              <a:gd name="connsiteX1168" fmla="*/ 3772507 w 4664922"/>
              <a:gd name="connsiteY1168" fmla="*/ 1035052 h 1786050"/>
              <a:gd name="connsiteX1169" fmla="*/ 3760938 w 4664922"/>
              <a:gd name="connsiteY1169" fmla="*/ 1034590 h 1786050"/>
              <a:gd name="connsiteX1170" fmla="*/ 3752262 w 4664922"/>
              <a:gd name="connsiteY1170" fmla="*/ 1034590 h 1786050"/>
              <a:gd name="connsiteX1171" fmla="*/ 3738784 w 4664922"/>
              <a:gd name="connsiteY1171" fmla="*/ 1058479 h 1786050"/>
              <a:gd name="connsiteX1172" fmla="*/ 3732537 w 4664922"/>
              <a:gd name="connsiteY1172" fmla="*/ 1064264 h 1786050"/>
              <a:gd name="connsiteX1173" fmla="*/ 3718192 w 4664922"/>
              <a:gd name="connsiteY1173" fmla="*/ 1071321 h 1786050"/>
              <a:gd name="connsiteX1174" fmla="*/ 3706044 w 4664922"/>
              <a:gd name="connsiteY1174" fmla="*/ 1080460 h 1786050"/>
              <a:gd name="connsiteX1175" fmla="*/ 3678452 w 4664922"/>
              <a:gd name="connsiteY1175" fmla="*/ 1106606 h 1786050"/>
              <a:gd name="connsiteX1176" fmla="*/ 3671916 w 4664922"/>
              <a:gd name="connsiteY1176" fmla="*/ 1125463 h 1786050"/>
              <a:gd name="connsiteX1177" fmla="*/ 3679494 w 4664922"/>
              <a:gd name="connsiteY1177" fmla="*/ 1127893 h 1786050"/>
              <a:gd name="connsiteX1178" fmla="*/ 3694707 w 4664922"/>
              <a:gd name="connsiteY1178" fmla="*/ 1135875 h 1786050"/>
              <a:gd name="connsiteX1179" fmla="*/ 3693550 w 4664922"/>
              <a:gd name="connsiteY1179" fmla="*/ 1138015 h 1786050"/>
              <a:gd name="connsiteX1180" fmla="*/ 3690368 w 4664922"/>
              <a:gd name="connsiteY1180" fmla="*/ 1138652 h 1786050"/>
              <a:gd name="connsiteX1181" fmla="*/ 3688170 w 4664922"/>
              <a:gd name="connsiteY1181" fmla="*/ 1138652 h 1786050"/>
              <a:gd name="connsiteX1182" fmla="*/ 3662892 w 4664922"/>
              <a:gd name="connsiteY1182" fmla="*/ 1145246 h 1786050"/>
              <a:gd name="connsiteX1183" fmla="*/ 3658496 w 4664922"/>
              <a:gd name="connsiteY1183" fmla="*/ 1147155 h 1786050"/>
              <a:gd name="connsiteX1184" fmla="*/ 3653868 w 4664922"/>
              <a:gd name="connsiteY1184" fmla="*/ 1145593 h 1786050"/>
              <a:gd name="connsiteX1185" fmla="*/ 3648663 w 4664922"/>
              <a:gd name="connsiteY1185" fmla="*/ 1143973 h 1786050"/>
              <a:gd name="connsiteX1186" fmla="*/ 3643341 w 4664922"/>
              <a:gd name="connsiteY1186" fmla="*/ 1145766 h 1786050"/>
              <a:gd name="connsiteX1187" fmla="*/ 3622517 w 4664922"/>
              <a:gd name="connsiteY1187" fmla="*/ 1151551 h 1786050"/>
              <a:gd name="connsiteX1188" fmla="*/ 3613956 w 4664922"/>
              <a:gd name="connsiteY1188" fmla="*/ 1150972 h 1786050"/>
              <a:gd name="connsiteX1189" fmla="*/ 3604644 w 4664922"/>
              <a:gd name="connsiteY1189" fmla="*/ 1153402 h 1786050"/>
              <a:gd name="connsiteX1190" fmla="*/ 3592554 w 4664922"/>
              <a:gd name="connsiteY1190" fmla="*/ 1156525 h 1786050"/>
              <a:gd name="connsiteX1191" fmla="*/ 3586075 w 4664922"/>
              <a:gd name="connsiteY1191" fmla="*/ 1154906 h 1786050"/>
              <a:gd name="connsiteX1192" fmla="*/ 3581910 w 4664922"/>
              <a:gd name="connsiteY1192" fmla="*/ 1148716 h 1786050"/>
              <a:gd name="connsiteX1193" fmla="*/ 3593479 w 4664922"/>
              <a:gd name="connsiteY1193" fmla="*/ 1143395 h 1786050"/>
              <a:gd name="connsiteX1194" fmla="*/ 3595446 w 4664922"/>
              <a:gd name="connsiteY1194" fmla="*/ 1143395 h 1786050"/>
              <a:gd name="connsiteX1195" fmla="*/ 3603718 w 4664922"/>
              <a:gd name="connsiteY1195" fmla="*/ 1139404 h 1786050"/>
              <a:gd name="connsiteX1196" fmla="*/ 3600016 w 4664922"/>
              <a:gd name="connsiteY1196" fmla="*/ 1137205 h 1786050"/>
              <a:gd name="connsiteX1197" fmla="*/ 3590877 w 4664922"/>
              <a:gd name="connsiteY1197" fmla="*/ 1130322 h 1786050"/>
              <a:gd name="connsiteX1198" fmla="*/ 3585555 w 4664922"/>
              <a:gd name="connsiteY1198" fmla="*/ 1125868 h 1786050"/>
              <a:gd name="connsiteX1199" fmla="*/ 3581852 w 4664922"/>
              <a:gd name="connsiteY1199" fmla="*/ 1127314 h 1786050"/>
              <a:gd name="connsiteX1200" fmla="*/ 3573292 w 4664922"/>
              <a:gd name="connsiteY1200" fmla="*/ 1130322 h 1786050"/>
              <a:gd name="connsiteX1201" fmla="*/ 3562243 w 4664922"/>
              <a:gd name="connsiteY1201" fmla="*/ 1125058 h 1786050"/>
              <a:gd name="connsiteX1202" fmla="*/ 3559929 w 4664922"/>
              <a:gd name="connsiteY1202" fmla="*/ 1123265 h 1786050"/>
              <a:gd name="connsiteX1203" fmla="*/ 3543213 w 4664922"/>
              <a:gd name="connsiteY1203" fmla="*/ 1119910 h 1786050"/>
              <a:gd name="connsiteX1204" fmla="*/ 3523256 w 4664922"/>
              <a:gd name="connsiteY1204" fmla="*/ 1127314 h 1786050"/>
              <a:gd name="connsiteX1205" fmla="*/ 3510068 w 4664922"/>
              <a:gd name="connsiteY1205" fmla="*/ 1136453 h 1786050"/>
              <a:gd name="connsiteX1206" fmla="*/ 3499251 w 4664922"/>
              <a:gd name="connsiteY1206" fmla="*/ 1134313 h 1786050"/>
              <a:gd name="connsiteX1207" fmla="*/ 3488839 w 4664922"/>
              <a:gd name="connsiteY1207" fmla="*/ 1135528 h 1786050"/>
              <a:gd name="connsiteX1208" fmla="*/ 3476923 w 4664922"/>
              <a:gd name="connsiteY1208" fmla="*/ 1138247 h 1786050"/>
              <a:gd name="connsiteX1209" fmla="*/ 3473221 w 4664922"/>
              <a:gd name="connsiteY1209" fmla="*/ 1138247 h 1786050"/>
              <a:gd name="connsiteX1210" fmla="*/ 3466569 w 4664922"/>
              <a:gd name="connsiteY1210" fmla="*/ 1137379 h 1786050"/>
              <a:gd name="connsiteX1211" fmla="*/ 3455000 w 4664922"/>
              <a:gd name="connsiteY1211" fmla="*/ 1136280 h 1786050"/>
              <a:gd name="connsiteX1212" fmla="*/ 3448464 w 4664922"/>
              <a:gd name="connsiteY1212" fmla="*/ 1138247 h 1786050"/>
              <a:gd name="connsiteX1213" fmla="*/ 3440539 w 4664922"/>
              <a:gd name="connsiteY1213" fmla="*/ 1142701 h 1786050"/>
              <a:gd name="connsiteX1214" fmla="*/ 3432672 w 4664922"/>
              <a:gd name="connsiteY1214" fmla="*/ 1138709 h 1786050"/>
              <a:gd name="connsiteX1215" fmla="*/ 3390851 w 4664922"/>
              <a:gd name="connsiteY1215" fmla="*/ 1130322 h 1786050"/>
              <a:gd name="connsiteX1216" fmla="*/ 3374365 w 4664922"/>
              <a:gd name="connsiteY1216" fmla="*/ 1131710 h 1786050"/>
              <a:gd name="connsiteX1217" fmla="*/ 3323983 w 4664922"/>
              <a:gd name="connsiteY1217" fmla="*/ 1157335 h 1786050"/>
              <a:gd name="connsiteX1218" fmla="*/ 3309406 w 4664922"/>
              <a:gd name="connsiteY1218" fmla="*/ 1170408 h 1786050"/>
              <a:gd name="connsiteX1219" fmla="*/ 3293615 w 4664922"/>
              <a:gd name="connsiteY1219" fmla="*/ 1183192 h 1786050"/>
              <a:gd name="connsiteX1220" fmla="*/ 3263419 w 4664922"/>
              <a:gd name="connsiteY1220" fmla="*/ 1214312 h 1786050"/>
              <a:gd name="connsiteX1221" fmla="*/ 3241439 w 4664922"/>
              <a:gd name="connsiteY1221" fmla="*/ 1229698 h 1786050"/>
              <a:gd name="connsiteX1222" fmla="*/ 3224548 w 4664922"/>
              <a:gd name="connsiteY1222" fmla="*/ 1243292 h 1786050"/>
              <a:gd name="connsiteX1223" fmla="*/ 3224548 w 4664922"/>
              <a:gd name="connsiteY1223" fmla="*/ 1244160 h 1786050"/>
              <a:gd name="connsiteX1224" fmla="*/ 3209393 w 4664922"/>
              <a:gd name="connsiteY1224" fmla="*/ 1263653 h 1786050"/>
              <a:gd name="connsiteX1225" fmla="*/ 3196320 w 4664922"/>
              <a:gd name="connsiteY1225" fmla="*/ 1271578 h 1786050"/>
              <a:gd name="connsiteX1226" fmla="*/ 3174108 w 4664922"/>
              <a:gd name="connsiteY1226" fmla="*/ 1284303 h 1786050"/>
              <a:gd name="connsiteX1227" fmla="*/ 3168960 w 4664922"/>
              <a:gd name="connsiteY1227" fmla="*/ 1289394 h 1786050"/>
              <a:gd name="connsiteX1228" fmla="*/ 3156061 w 4664922"/>
              <a:gd name="connsiteY1228" fmla="*/ 1301252 h 1786050"/>
              <a:gd name="connsiteX1229" fmla="*/ 3144492 w 4664922"/>
              <a:gd name="connsiteY1229" fmla="*/ 1314498 h 1786050"/>
              <a:gd name="connsiteX1230" fmla="*/ 3154325 w 4664922"/>
              <a:gd name="connsiteY1230" fmla="*/ 1319357 h 1786050"/>
              <a:gd name="connsiteX1231" fmla="*/ 3174282 w 4664922"/>
              <a:gd name="connsiteY1231" fmla="*/ 1318258 h 1786050"/>
              <a:gd name="connsiteX1232" fmla="*/ 3182033 w 4664922"/>
              <a:gd name="connsiteY1232" fmla="*/ 1317506 h 1786050"/>
              <a:gd name="connsiteX1233" fmla="*/ 3186197 w 4664922"/>
              <a:gd name="connsiteY1233" fmla="*/ 1318894 h 1786050"/>
              <a:gd name="connsiteX1234" fmla="*/ 3186197 w 4664922"/>
              <a:gd name="connsiteY1234" fmla="*/ 1321613 h 1786050"/>
              <a:gd name="connsiteX1235" fmla="*/ 3186197 w 4664922"/>
              <a:gd name="connsiteY1235" fmla="*/ 1347180 h 1786050"/>
              <a:gd name="connsiteX1236" fmla="*/ 3188280 w 4664922"/>
              <a:gd name="connsiteY1236" fmla="*/ 1348048 h 1786050"/>
              <a:gd name="connsiteX1237" fmla="*/ 3195510 w 4664922"/>
              <a:gd name="connsiteY1237" fmla="*/ 1340123 h 1786050"/>
              <a:gd name="connsiteX1238" fmla="*/ 3204997 w 4664922"/>
              <a:gd name="connsiteY1238" fmla="*/ 1328554 h 1786050"/>
              <a:gd name="connsiteX1239" fmla="*/ 3209509 w 4664922"/>
              <a:gd name="connsiteY1239" fmla="*/ 1326761 h 1786050"/>
              <a:gd name="connsiteX1240" fmla="*/ 3211071 w 4664922"/>
              <a:gd name="connsiteY1240" fmla="*/ 1327513 h 1786050"/>
              <a:gd name="connsiteX1241" fmla="*/ 3209913 w 4664922"/>
              <a:gd name="connsiteY1241" fmla="*/ 1333298 h 1786050"/>
              <a:gd name="connsiteX1242" fmla="*/ 3207369 w 4664922"/>
              <a:gd name="connsiteY1242" fmla="*/ 1340586 h 1786050"/>
              <a:gd name="connsiteX1243" fmla="*/ 3209625 w 4664922"/>
              <a:gd name="connsiteY1243" fmla="*/ 1346949 h 1786050"/>
              <a:gd name="connsiteX1244" fmla="*/ 3208236 w 4664922"/>
              <a:gd name="connsiteY1244" fmla="*/ 1357303 h 1786050"/>
              <a:gd name="connsiteX1245" fmla="*/ 3206443 w 4664922"/>
              <a:gd name="connsiteY1245" fmla="*/ 1359964 h 1786050"/>
              <a:gd name="connsiteX1246" fmla="*/ 3209219 w 4664922"/>
              <a:gd name="connsiteY1246" fmla="*/ 1360716 h 1786050"/>
              <a:gd name="connsiteX1247" fmla="*/ 3221946 w 4664922"/>
              <a:gd name="connsiteY1247" fmla="*/ 1354931 h 1786050"/>
              <a:gd name="connsiteX1248" fmla="*/ 3222755 w 4664922"/>
              <a:gd name="connsiteY1248" fmla="*/ 1353659 h 1786050"/>
              <a:gd name="connsiteX1249" fmla="*/ 3234903 w 4664922"/>
              <a:gd name="connsiteY1249" fmla="*/ 1343999 h 1786050"/>
              <a:gd name="connsiteX1250" fmla="*/ 3238431 w 4664922"/>
              <a:gd name="connsiteY1250" fmla="*/ 1342784 h 1786050"/>
              <a:gd name="connsiteX1251" fmla="*/ 3238778 w 4664922"/>
              <a:gd name="connsiteY1251" fmla="*/ 1336190 h 1786050"/>
              <a:gd name="connsiteX1252" fmla="*/ 3238778 w 4664922"/>
              <a:gd name="connsiteY1252" fmla="*/ 1333529 h 1786050"/>
              <a:gd name="connsiteX1253" fmla="*/ 3243059 w 4664922"/>
              <a:gd name="connsiteY1253" fmla="*/ 1332141 h 1786050"/>
              <a:gd name="connsiteX1254" fmla="*/ 3251099 w 4664922"/>
              <a:gd name="connsiteY1254" fmla="*/ 1332951 h 1786050"/>
              <a:gd name="connsiteX1255" fmla="*/ 3262668 w 4664922"/>
              <a:gd name="connsiteY1255" fmla="*/ 1333876 h 1786050"/>
              <a:gd name="connsiteX1256" fmla="*/ 3263825 w 4664922"/>
              <a:gd name="connsiteY1256" fmla="*/ 1333876 h 1786050"/>
              <a:gd name="connsiteX1257" fmla="*/ 3285285 w 4664922"/>
              <a:gd name="connsiteY1257" fmla="*/ 1351229 h 1786050"/>
              <a:gd name="connsiteX1258" fmla="*/ 3298358 w 4664922"/>
              <a:gd name="connsiteY1258" fmla="*/ 1362798 h 1786050"/>
              <a:gd name="connsiteX1259" fmla="*/ 3301250 w 4664922"/>
              <a:gd name="connsiteY1259" fmla="*/ 1364071 h 1786050"/>
              <a:gd name="connsiteX1260" fmla="*/ 3313455 w 4664922"/>
              <a:gd name="connsiteY1260" fmla="*/ 1375929 h 1786050"/>
              <a:gd name="connsiteX1261" fmla="*/ 3311373 w 4664922"/>
              <a:gd name="connsiteY1261" fmla="*/ 1379399 h 1786050"/>
              <a:gd name="connsiteX1262" fmla="*/ 3308596 w 4664922"/>
              <a:gd name="connsiteY1262" fmla="*/ 1385994 h 1786050"/>
              <a:gd name="connsiteX1263" fmla="*/ 3309580 w 4664922"/>
              <a:gd name="connsiteY1263" fmla="*/ 1396174 h 1786050"/>
              <a:gd name="connsiteX1264" fmla="*/ 3310274 w 4664922"/>
              <a:gd name="connsiteY1264" fmla="*/ 1406702 h 1786050"/>
              <a:gd name="connsiteX1265" fmla="*/ 3305530 w 4664922"/>
              <a:gd name="connsiteY1265" fmla="*/ 1426138 h 1786050"/>
              <a:gd name="connsiteX1266" fmla="*/ 3298705 w 4664922"/>
              <a:gd name="connsiteY1266" fmla="*/ 1437707 h 1786050"/>
              <a:gd name="connsiteX1267" fmla="*/ 3295581 w 4664922"/>
              <a:gd name="connsiteY1267" fmla="*/ 1445111 h 1786050"/>
              <a:gd name="connsiteX1268" fmla="*/ 3292631 w 4664922"/>
              <a:gd name="connsiteY1268" fmla="*/ 1454597 h 1786050"/>
              <a:gd name="connsiteX1269" fmla="*/ 3290317 w 4664922"/>
              <a:gd name="connsiteY1269" fmla="*/ 1462117 h 1786050"/>
              <a:gd name="connsiteX1270" fmla="*/ 3287946 w 4664922"/>
              <a:gd name="connsiteY1270" fmla="*/ 1480685 h 1786050"/>
              <a:gd name="connsiteX1271" fmla="*/ 3278748 w 4664922"/>
              <a:gd name="connsiteY1271" fmla="*/ 1533728 h 1786050"/>
              <a:gd name="connsiteX1272" fmla="*/ 3266139 w 4664922"/>
              <a:gd name="connsiteY1272" fmla="*/ 1555362 h 1786050"/>
              <a:gd name="connsiteX1273" fmla="*/ 3261742 w 4664922"/>
              <a:gd name="connsiteY1273" fmla="*/ 1561725 h 1786050"/>
              <a:gd name="connsiteX1274" fmla="*/ 3250636 w 4664922"/>
              <a:gd name="connsiteY1274" fmla="*/ 1575897 h 1786050"/>
              <a:gd name="connsiteX1275" fmla="*/ 3232704 w 4664922"/>
              <a:gd name="connsiteY1275" fmla="*/ 1600365 h 1786050"/>
              <a:gd name="connsiteX1276" fmla="*/ 3192560 w 4664922"/>
              <a:gd name="connsiteY1276" fmla="*/ 1654391 h 1786050"/>
              <a:gd name="connsiteX1277" fmla="*/ 3179835 w 4664922"/>
              <a:gd name="connsiteY1277" fmla="*/ 1667464 h 1786050"/>
              <a:gd name="connsiteX1278" fmla="*/ 3148426 w 4664922"/>
              <a:gd name="connsiteY1278" fmla="*/ 1702980 h 1786050"/>
              <a:gd name="connsiteX1279" fmla="*/ 3084797 w 4664922"/>
              <a:gd name="connsiteY1279" fmla="*/ 1743471 h 1786050"/>
              <a:gd name="connsiteX1280" fmla="*/ 3067444 w 4664922"/>
              <a:gd name="connsiteY1280" fmla="*/ 1733927 h 1786050"/>
              <a:gd name="connsiteX1281" fmla="*/ 3053156 w 4664922"/>
              <a:gd name="connsiteY1281" fmla="*/ 1725713 h 1786050"/>
              <a:gd name="connsiteX1282" fmla="*/ 3031117 w 4664922"/>
              <a:gd name="connsiteY1282" fmla="*/ 1737861 h 1786050"/>
              <a:gd name="connsiteX1283" fmla="*/ 3029960 w 4664922"/>
              <a:gd name="connsiteY1283" fmla="*/ 1737861 h 1786050"/>
              <a:gd name="connsiteX1284" fmla="*/ 3029324 w 4664922"/>
              <a:gd name="connsiteY1284" fmla="*/ 1736935 h 1786050"/>
              <a:gd name="connsiteX1285" fmla="*/ 3028745 w 4664922"/>
              <a:gd name="connsiteY1285" fmla="*/ 1724325 h 1786050"/>
              <a:gd name="connsiteX1286" fmla="*/ 3027473 w 4664922"/>
              <a:gd name="connsiteY1286" fmla="*/ 1711194 h 1786050"/>
              <a:gd name="connsiteX1287" fmla="*/ 3025853 w 4664922"/>
              <a:gd name="connsiteY1287" fmla="*/ 1695576 h 1786050"/>
              <a:gd name="connsiteX1288" fmla="*/ 3025853 w 4664922"/>
              <a:gd name="connsiteY1288" fmla="*/ 1688462 h 1786050"/>
              <a:gd name="connsiteX1289" fmla="*/ 3026895 w 4664922"/>
              <a:gd name="connsiteY1289" fmla="*/ 1669720 h 1786050"/>
              <a:gd name="connsiteX1290" fmla="*/ 3031001 w 4664922"/>
              <a:gd name="connsiteY1290" fmla="*/ 1667638 h 1786050"/>
              <a:gd name="connsiteX1291" fmla="*/ 3038695 w 4664922"/>
              <a:gd name="connsiteY1291" fmla="*/ 1662547 h 1786050"/>
              <a:gd name="connsiteX1292" fmla="*/ 3050263 w 4664922"/>
              <a:gd name="connsiteY1292" fmla="*/ 1655895 h 1786050"/>
              <a:gd name="connsiteX1293" fmla="*/ 3054486 w 4664922"/>
              <a:gd name="connsiteY1293" fmla="*/ 1657284 h 1786050"/>
              <a:gd name="connsiteX1294" fmla="*/ 3069931 w 4664922"/>
              <a:gd name="connsiteY1294" fmla="*/ 1661969 h 1786050"/>
              <a:gd name="connsiteX1295" fmla="*/ 3076987 w 4664922"/>
              <a:gd name="connsiteY1295" fmla="*/ 1658209 h 1786050"/>
              <a:gd name="connsiteX1296" fmla="*/ 3082772 w 4664922"/>
              <a:gd name="connsiteY1296" fmla="*/ 1649590 h 1786050"/>
              <a:gd name="connsiteX1297" fmla="*/ 3089771 w 4664922"/>
              <a:gd name="connsiteY1297" fmla="*/ 1640277 h 1786050"/>
              <a:gd name="connsiteX1298" fmla="*/ 3098448 w 4664922"/>
              <a:gd name="connsiteY1298" fmla="*/ 1628361 h 1786050"/>
              <a:gd name="connsiteX1299" fmla="*/ 3105910 w 4664922"/>
              <a:gd name="connsiteY1299" fmla="*/ 1619164 h 1786050"/>
              <a:gd name="connsiteX1300" fmla="*/ 3107183 w 4664922"/>
              <a:gd name="connsiteY1300" fmla="*/ 1614421 h 1786050"/>
              <a:gd name="connsiteX1301" fmla="*/ 3121007 w 4664922"/>
              <a:gd name="connsiteY1301" fmla="*/ 1583763 h 1786050"/>
              <a:gd name="connsiteX1302" fmla="*/ 3122453 w 4664922"/>
              <a:gd name="connsiteY1302" fmla="*/ 1576591 h 1786050"/>
              <a:gd name="connsiteX1303" fmla="*/ 3119677 w 4664922"/>
              <a:gd name="connsiteY1303" fmla="*/ 1562072 h 1786050"/>
              <a:gd name="connsiteX1304" fmla="*/ 3117884 w 4664922"/>
              <a:gd name="connsiteY1304" fmla="*/ 1555478 h 1786050"/>
              <a:gd name="connsiteX1305" fmla="*/ 3112099 w 4664922"/>
              <a:gd name="connsiteY1305" fmla="*/ 1553453 h 1786050"/>
              <a:gd name="connsiteX1306" fmla="*/ 3099663 w 4664922"/>
              <a:gd name="connsiteY1306" fmla="*/ 1557386 h 1786050"/>
              <a:gd name="connsiteX1307" fmla="*/ 3089366 w 4664922"/>
              <a:gd name="connsiteY1307" fmla="*/ 1559874 h 1786050"/>
              <a:gd name="connsiteX1308" fmla="*/ 3073401 w 4664922"/>
              <a:gd name="connsiteY1308" fmla="*/ 1566641 h 1786050"/>
              <a:gd name="connsiteX1309" fmla="*/ 3062700 w 4664922"/>
              <a:gd name="connsiteY1309" fmla="*/ 1573120 h 1786050"/>
              <a:gd name="connsiteX1310" fmla="*/ 3058304 w 4664922"/>
              <a:gd name="connsiteY1310" fmla="*/ 1573120 h 1786050"/>
              <a:gd name="connsiteX1311" fmla="*/ 3048355 w 4664922"/>
              <a:gd name="connsiteY1311" fmla="*/ 1573120 h 1786050"/>
              <a:gd name="connsiteX1312" fmla="*/ 3022267 w 4664922"/>
              <a:gd name="connsiteY1312" fmla="*/ 1566526 h 1786050"/>
              <a:gd name="connsiteX1313" fmla="*/ 3020416 w 4664922"/>
              <a:gd name="connsiteY1313" fmla="*/ 1561320 h 1786050"/>
              <a:gd name="connsiteX1314" fmla="*/ 3017871 w 4664922"/>
              <a:gd name="connsiteY1314" fmla="*/ 1551313 h 1786050"/>
              <a:gd name="connsiteX1315" fmla="*/ 3014747 w 4664922"/>
              <a:gd name="connsiteY1315" fmla="*/ 1537951 h 1786050"/>
              <a:gd name="connsiteX1316" fmla="*/ 3007864 w 4664922"/>
              <a:gd name="connsiteY1316" fmla="*/ 1532166 h 1786050"/>
              <a:gd name="connsiteX1317" fmla="*/ 2995717 w 4664922"/>
              <a:gd name="connsiteY1317" fmla="*/ 1526035 h 1786050"/>
              <a:gd name="connsiteX1318" fmla="*/ 2970670 w 4664922"/>
              <a:gd name="connsiteY1318" fmla="*/ 1514003 h 1786050"/>
              <a:gd name="connsiteX1319" fmla="*/ 2969513 w 4664922"/>
              <a:gd name="connsiteY1319" fmla="*/ 1514003 h 1786050"/>
              <a:gd name="connsiteX1320" fmla="*/ 2961357 w 4664922"/>
              <a:gd name="connsiteY1320" fmla="*/ 1511285 h 1786050"/>
              <a:gd name="connsiteX1321" fmla="*/ 2942269 w 4664922"/>
              <a:gd name="connsiteY1321" fmla="*/ 1504401 h 1786050"/>
              <a:gd name="connsiteX1322" fmla="*/ 2931336 w 4664922"/>
              <a:gd name="connsiteY1322" fmla="*/ 1499773 h 1786050"/>
              <a:gd name="connsiteX1323" fmla="*/ 2930758 w 4664922"/>
              <a:gd name="connsiteY1323" fmla="*/ 1487626 h 1786050"/>
              <a:gd name="connsiteX1324" fmla="*/ 2924163 w 4664922"/>
              <a:gd name="connsiteY1324" fmla="*/ 1470851 h 1786050"/>
              <a:gd name="connsiteX1325" fmla="*/ 2917049 w 4664922"/>
              <a:gd name="connsiteY1325" fmla="*/ 1455060 h 1786050"/>
              <a:gd name="connsiteX1326" fmla="*/ 2912363 w 4664922"/>
              <a:gd name="connsiteY1326" fmla="*/ 1444532 h 1786050"/>
              <a:gd name="connsiteX1327" fmla="*/ 2901430 w 4664922"/>
              <a:gd name="connsiteY1327" fmla="*/ 1421105 h 1786050"/>
              <a:gd name="connsiteX1328" fmla="*/ 2892002 w 4664922"/>
              <a:gd name="connsiteY1328" fmla="*/ 1404273 h 1786050"/>
              <a:gd name="connsiteX1329" fmla="*/ 2888531 w 4664922"/>
              <a:gd name="connsiteY1329" fmla="*/ 1395596 h 1786050"/>
              <a:gd name="connsiteX1330" fmla="*/ 2878350 w 4664922"/>
              <a:gd name="connsiteY1330" fmla="*/ 1382292 h 1786050"/>
              <a:gd name="connsiteX1331" fmla="*/ 2870946 w 4664922"/>
              <a:gd name="connsiteY1331" fmla="*/ 1376507 h 1786050"/>
              <a:gd name="connsiteX1332" fmla="*/ 2857815 w 4664922"/>
              <a:gd name="connsiteY1332" fmla="*/ 1372400 h 1786050"/>
              <a:gd name="connsiteX1333" fmla="*/ 2838264 w 4664922"/>
              <a:gd name="connsiteY1333" fmla="*/ 1367194 h 1786050"/>
              <a:gd name="connsiteX1334" fmla="*/ 2820911 w 4664922"/>
              <a:gd name="connsiteY1334" fmla="*/ 1363724 h 1786050"/>
              <a:gd name="connsiteX1335" fmla="*/ 2807896 w 4664922"/>
              <a:gd name="connsiteY1335" fmla="*/ 1362451 h 1786050"/>
              <a:gd name="connsiteX1336" fmla="*/ 2799914 w 4664922"/>
              <a:gd name="connsiteY1336" fmla="*/ 1361584 h 1786050"/>
              <a:gd name="connsiteX1337" fmla="*/ 2774057 w 4664922"/>
              <a:gd name="connsiteY1337" fmla="*/ 1364765 h 1786050"/>
              <a:gd name="connsiteX1338" fmla="*/ 2767810 w 4664922"/>
              <a:gd name="connsiteY1338" fmla="*/ 1365690 h 1786050"/>
              <a:gd name="connsiteX1339" fmla="*/ 2765901 w 4664922"/>
              <a:gd name="connsiteY1339" fmla="*/ 1365690 h 1786050"/>
              <a:gd name="connsiteX1340" fmla="*/ 2759423 w 4664922"/>
              <a:gd name="connsiteY1340" fmla="*/ 1365343 h 1786050"/>
              <a:gd name="connsiteX1341" fmla="*/ 2733971 w 4664922"/>
              <a:gd name="connsiteY1341" fmla="*/ 1376623 h 1786050"/>
              <a:gd name="connsiteX1342" fmla="*/ 2728939 w 4664922"/>
              <a:gd name="connsiteY1342" fmla="*/ 1388192 h 1786050"/>
              <a:gd name="connsiteX1343" fmla="*/ 2733971 w 4664922"/>
              <a:gd name="connsiteY1343" fmla="*/ 1389580 h 1786050"/>
              <a:gd name="connsiteX1344" fmla="*/ 2735475 w 4664922"/>
              <a:gd name="connsiteY1344" fmla="*/ 1389580 h 1786050"/>
              <a:gd name="connsiteX1345" fmla="*/ 2744672 w 4664922"/>
              <a:gd name="connsiteY1345" fmla="*/ 1409884 h 1786050"/>
              <a:gd name="connsiteX1346" fmla="*/ 2731889 w 4664922"/>
              <a:gd name="connsiteY1346" fmla="*/ 1424865 h 1786050"/>
              <a:gd name="connsiteX1347" fmla="*/ 2715576 w 4664922"/>
              <a:gd name="connsiteY1347" fmla="*/ 1449970 h 1786050"/>
              <a:gd name="connsiteX1348" fmla="*/ 2709792 w 4664922"/>
              <a:gd name="connsiteY1348" fmla="*/ 1461538 h 1786050"/>
              <a:gd name="connsiteX1349" fmla="*/ 2702735 w 4664922"/>
              <a:gd name="connsiteY1349" fmla="*/ 1477735 h 1786050"/>
              <a:gd name="connsiteX1350" fmla="*/ 2701579 w 4664922"/>
              <a:gd name="connsiteY1350" fmla="*/ 1483924 h 1786050"/>
              <a:gd name="connsiteX1351" fmla="*/ 2690010 w 4664922"/>
              <a:gd name="connsiteY1351" fmla="*/ 1491328 h 1786050"/>
              <a:gd name="connsiteX1352" fmla="*/ 2674681 w 4664922"/>
              <a:gd name="connsiteY1352" fmla="*/ 1499253 h 1786050"/>
              <a:gd name="connsiteX1353" fmla="*/ 2664327 w 4664922"/>
              <a:gd name="connsiteY1353" fmla="*/ 1505037 h 1786050"/>
              <a:gd name="connsiteX1354" fmla="*/ 2660336 w 4664922"/>
              <a:gd name="connsiteY1354" fmla="*/ 1505500 h 1786050"/>
              <a:gd name="connsiteX1355" fmla="*/ 2636330 w 4664922"/>
              <a:gd name="connsiteY1355" fmla="*/ 1497171 h 1786050"/>
              <a:gd name="connsiteX1356" fmla="*/ 2617299 w 4664922"/>
              <a:gd name="connsiteY1356" fmla="*/ 1490576 h 1786050"/>
              <a:gd name="connsiteX1357" fmla="*/ 2611920 w 4664922"/>
              <a:gd name="connsiteY1357" fmla="*/ 1491270 h 1786050"/>
              <a:gd name="connsiteX1358" fmla="*/ 2586989 w 4664922"/>
              <a:gd name="connsiteY1358" fmla="*/ 1485486 h 1786050"/>
              <a:gd name="connsiteX1359" fmla="*/ 2570330 w 4664922"/>
              <a:gd name="connsiteY1359" fmla="*/ 1481495 h 1786050"/>
              <a:gd name="connsiteX1360" fmla="*/ 2554827 w 4664922"/>
              <a:gd name="connsiteY1360" fmla="*/ 1484445 h 1786050"/>
              <a:gd name="connsiteX1361" fmla="*/ 2545456 w 4664922"/>
              <a:gd name="connsiteY1361" fmla="*/ 1489593 h 1786050"/>
              <a:gd name="connsiteX1362" fmla="*/ 2533483 w 4664922"/>
              <a:gd name="connsiteY1362" fmla="*/ 1498212 h 1786050"/>
              <a:gd name="connsiteX1363" fmla="*/ 2521394 w 4664922"/>
              <a:gd name="connsiteY1363" fmla="*/ 1503996 h 1786050"/>
              <a:gd name="connsiteX1364" fmla="*/ 2511213 w 4664922"/>
              <a:gd name="connsiteY1364" fmla="*/ 1506888 h 1786050"/>
              <a:gd name="connsiteX1365" fmla="*/ 2491083 w 4664922"/>
              <a:gd name="connsiteY1365" fmla="*/ 1511863 h 1786050"/>
              <a:gd name="connsiteX1366" fmla="*/ 2476043 w 4664922"/>
              <a:gd name="connsiteY1366" fmla="*/ 1515276 h 1786050"/>
              <a:gd name="connsiteX1367" fmla="*/ 2457013 w 4664922"/>
              <a:gd name="connsiteY1367" fmla="*/ 1518746 h 1786050"/>
              <a:gd name="connsiteX1368" fmla="*/ 2437924 w 4664922"/>
              <a:gd name="connsiteY1368" fmla="*/ 1515739 h 1786050"/>
              <a:gd name="connsiteX1369" fmla="*/ 2423521 w 4664922"/>
              <a:gd name="connsiteY1369" fmla="*/ 1513772 h 1786050"/>
              <a:gd name="connsiteX1370" fmla="*/ 2402929 w 4664922"/>
              <a:gd name="connsiteY1370" fmla="*/ 1508913 h 1786050"/>
              <a:gd name="connsiteX1371" fmla="*/ 2395524 w 4664922"/>
              <a:gd name="connsiteY1371" fmla="*/ 1501914 h 1786050"/>
              <a:gd name="connsiteX1372" fmla="*/ 2388236 w 4664922"/>
              <a:gd name="connsiteY1372" fmla="*/ 1493064 h 1786050"/>
              <a:gd name="connsiteX1373" fmla="*/ 2377535 w 4664922"/>
              <a:gd name="connsiteY1373" fmla="*/ 1488320 h 1786050"/>
              <a:gd name="connsiteX1374" fmla="*/ 2365966 w 4664922"/>
              <a:gd name="connsiteY1374" fmla="*/ 1483057 h 1786050"/>
              <a:gd name="connsiteX1375" fmla="*/ 2349075 w 4664922"/>
              <a:gd name="connsiteY1375" fmla="*/ 1477272 h 1786050"/>
              <a:gd name="connsiteX1376" fmla="*/ 2346645 w 4664922"/>
              <a:gd name="connsiteY1376" fmla="*/ 1477619 h 1786050"/>
              <a:gd name="connsiteX1377" fmla="*/ 2344679 w 4664922"/>
              <a:gd name="connsiteY1377" fmla="*/ 1478082 h 1786050"/>
              <a:gd name="connsiteX1378" fmla="*/ 2329119 w 4664922"/>
              <a:gd name="connsiteY1378" fmla="*/ 1474380 h 1786050"/>
              <a:gd name="connsiteX1379" fmla="*/ 2320789 w 4664922"/>
              <a:gd name="connsiteY1379" fmla="*/ 1472124 h 1786050"/>
              <a:gd name="connsiteX1380" fmla="*/ 2306212 w 4664922"/>
              <a:gd name="connsiteY1380" fmla="*/ 1473859 h 1786050"/>
              <a:gd name="connsiteX1381" fmla="*/ 2295917 w 4664922"/>
              <a:gd name="connsiteY1381" fmla="*/ 1475363 h 1786050"/>
              <a:gd name="connsiteX1382" fmla="*/ 2286950 w 4664922"/>
              <a:gd name="connsiteY1382" fmla="*/ 1479875 h 1786050"/>
              <a:gd name="connsiteX1383" fmla="*/ 2276712 w 4664922"/>
              <a:gd name="connsiteY1383" fmla="*/ 1485023 h 1786050"/>
              <a:gd name="connsiteX1384" fmla="*/ 2263523 w 4664922"/>
              <a:gd name="connsiteY1384" fmla="*/ 1480974 h 1786050"/>
              <a:gd name="connsiteX1385" fmla="*/ 2253690 w 4664922"/>
              <a:gd name="connsiteY1385" fmla="*/ 1477446 h 1786050"/>
              <a:gd name="connsiteX1386" fmla="*/ 2252996 w 4664922"/>
              <a:gd name="connsiteY1386" fmla="*/ 1477446 h 1786050"/>
              <a:gd name="connsiteX1387" fmla="*/ 2251144 w 4664922"/>
              <a:gd name="connsiteY1387" fmla="*/ 1478024 h 1786050"/>
              <a:gd name="connsiteX1388" fmla="*/ 2234486 w 4664922"/>
              <a:gd name="connsiteY1388" fmla="*/ 1464373 h 1786050"/>
              <a:gd name="connsiteX1389" fmla="*/ 2232345 w 4664922"/>
              <a:gd name="connsiteY1389" fmla="*/ 1451127 h 1786050"/>
              <a:gd name="connsiteX1390" fmla="*/ 2231188 w 4664922"/>
              <a:gd name="connsiteY1390" fmla="*/ 1440888 h 1786050"/>
              <a:gd name="connsiteX1391" fmla="*/ 2216843 w 4664922"/>
              <a:gd name="connsiteY1391" fmla="*/ 1436203 h 1786050"/>
              <a:gd name="connsiteX1392" fmla="*/ 2204869 w 4664922"/>
              <a:gd name="connsiteY1392" fmla="*/ 1433137 h 1786050"/>
              <a:gd name="connsiteX1393" fmla="*/ 2185260 w 4664922"/>
              <a:gd name="connsiteY1393" fmla="*/ 1425154 h 1786050"/>
              <a:gd name="connsiteX1394" fmla="*/ 2167502 w 4664922"/>
              <a:gd name="connsiteY1394" fmla="*/ 1420816 h 1786050"/>
              <a:gd name="connsiteX1395" fmla="*/ 2147835 w 4664922"/>
              <a:gd name="connsiteY1395" fmla="*/ 1413007 h 1786050"/>
              <a:gd name="connsiteX1396" fmla="*/ 2142050 w 4664922"/>
              <a:gd name="connsiteY1396" fmla="*/ 1417403 h 1786050"/>
              <a:gd name="connsiteX1397" fmla="*/ 2139274 w 4664922"/>
              <a:gd name="connsiteY1397" fmla="*/ 1421626 h 1786050"/>
              <a:gd name="connsiteX1398" fmla="*/ 2133085 w 4664922"/>
              <a:gd name="connsiteY1398" fmla="*/ 1424923 h 1786050"/>
              <a:gd name="connsiteX1399" fmla="*/ 2124986 w 4664922"/>
              <a:gd name="connsiteY1399" fmla="*/ 1430707 h 1786050"/>
              <a:gd name="connsiteX1400" fmla="*/ 2118682 w 4664922"/>
              <a:gd name="connsiteY1400" fmla="*/ 1437186 h 1786050"/>
              <a:gd name="connsiteX1401" fmla="*/ 2113649 w 4664922"/>
              <a:gd name="connsiteY1401" fmla="*/ 1443838 h 1786050"/>
              <a:gd name="connsiteX1402" fmla="*/ 2122962 w 4664922"/>
              <a:gd name="connsiteY1402" fmla="*/ 1465877 h 1786050"/>
              <a:gd name="connsiteX1403" fmla="*/ 2122384 w 4664922"/>
              <a:gd name="connsiteY1403" fmla="*/ 1483577 h 1786050"/>
              <a:gd name="connsiteX1404" fmla="*/ 2113244 w 4664922"/>
              <a:gd name="connsiteY1404" fmla="*/ 1487915 h 1786050"/>
              <a:gd name="connsiteX1405" fmla="*/ 2099824 w 4664922"/>
              <a:gd name="connsiteY1405" fmla="*/ 1494799 h 1786050"/>
              <a:gd name="connsiteX1406" fmla="*/ 2095196 w 4664922"/>
              <a:gd name="connsiteY1406" fmla="*/ 1497518 h 1786050"/>
              <a:gd name="connsiteX1407" fmla="*/ 2082471 w 4664922"/>
              <a:gd name="connsiteY1407" fmla="*/ 1491733 h 1786050"/>
              <a:gd name="connsiteX1408" fmla="*/ 2078885 w 4664922"/>
              <a:gd name="connsiteY1408" fmla="*/ 1489477 h 1786050"/>
              <a:gd name="connsiteX1409" fmla="*/ 2070266 w 4664922"/>
              <a:gd name="connsiteY1409" fmla="*/ 1487221 h 1786050"/>
              <a:gd name="connsiteX1410" fmla="*/ 2058350 w 4664922"/>
              <a:gd name="connsiteY1410" fmla="*/ 1491039 h 1786050"/>
              <a:gd name="connsiteX1411" fmla="*/ 2055689 w 4664922"/>
              <a:gd name="connsiteY1411" fmla="*/ 1491907 h 1786050"/>
              <a:gd name="connsiteX1412" fmla="*/ 2041517 w 4664922"/>
              <a:gd name="connsiteY1412" fmla="*/ 1485833 h 1786050"/>
              <a:gd name="connsiteX1413" fmla="*/ 2034807 w 4664922"/>
              <a:gd name="connsiteY1413" fmla="*/ 1482420 h 1786050"/>
              <a:gd name="connsiteX1414" fmla="*/ 2029659 w 4664922"/>
              <a:gd name="connsiteY1414" fmla="*/ 1473744 h 1786050"/>
              <a:gd name="connsiteX1415" fmla="*/ 2026477 w 4664922"/>
              <a:gd name="connsiteY1415" fmla="*/ 1467034 h 1786050"/>
              <a:gd name="connsiteX1416" fmla="*/ 2025031 w 4664922"/>
              <a:gd name="connsiteY1416" fmla="*/ 1467034 h 1786050"/>
              <a:gd name="connsiteX1417" fmla="*/ 1987896 w 4664922"/>
              <a:gd name="connsiteY1417" fmla="*/ 1460439 h 1786050"/>
              <a:gd name="connsiteX1418" fmla="*/ 1981474 w 4664922"/>
              <a:gd name="connsiteY1418" fmla="*/ 1459687 h 1786050"/>
              <a:gd name="connsiteX1419" fmla="*/ 1969906 w 4664922"/>
              <a:gd name="connsiteY1419" fmla="*/ 1462985 h 1786050"/>
              <a:gd name="connsiteX1420" fmla="*/ 1960535 w 4664922"/>
              <a:gd name="connsiteY1420" fmla="*/ 1467323 h 1786050"/>
              <a:gd name="connsiteX1421" fmla="*/ 1951222 w 4664922"/>
              <a:gd name="connsiteY1421" fmla="*/ 1471198 h 1786050"/>
              <a:gd name="connsiteX1422" fmla="*/ 1941793 w 4664922"/>
              <a:gd name="connsiteY1422" fmla="*/ 1478082 h 1786050"/>
              <a:gd name="connsiteX1423" fmla="*/ 1933348 w 4664922"/>
              <a:gd name="connsiteY1423" fmla="*/ 1483519 h 1786050"/>
              <a:gd name="connsiteX1424" fmla="*/ 1923920 w 4664922"/>
              <a:gd name="connsiteY1424" fmla="*/ 1488378 h 1786050"/>
              <a:gd name="connsiteX1425" fmla="*/ 1912351 w 4664922"/>
              <a:gd name="connsiteY1425" fmla="*/ 1495377 h 1786050"/>
              <a:gd name="connsiteX1426" fmla="*/ 1886437 w 4664922"/>
              <a:gd name="connsiteY1426" fmla="*/ 1507293 h 1786050"/>
              <a:gd name="connsiteX1427" fmla="*/ 1869083 w 4664922"/>
              <a:gd name="connsiteY1427" fmla="*/ 1513656 h 1786050"/>
              <a:gd name="connsiteX1428" fmla="*/ 1864687 w 4664922"/>
              <a:gd name="connsiteY1428" fmla="*/ 1516433 h 1786050"/>
              <a:gd name="connsiteX1429" fmla="*/ 1858209 w 4664922"/>
              <a:gd name="connsiteY1429" fmla="*/ 1515449 h 1786050"/>
              <a:gd name="connsiteX1430" fmla="*/ 1852424 w 4664922"/>
              <a:gd name="connsiteY1430" fmla="*/ 1514582 h 1786050"/>
              <a:gd name="connsiteX1431" fmla="*/ 1838368 w 4664922"/>
              <a:gd name="connsiteY1431" fmla="*/ 1499079 h 1786050"/>
              <a:gd name="connsiteX1432" fmla="*/ 1836401 w 4664922"/>
              <a:gd name="connsiteY1432" fmla="*/ 1496650 h 1786050"/>
              <a:gd name="connsiteX1433" fmla="*/ 1830617 w 4664922"/>
              <a:gd name="connsiteY1433" fmla="*/ 1499079 h 1786050"/>
              <a:gd name="connsiteX1434" fmla="*/ 1808231 w 4664922"/>
              <a:gd name="connsiteY1434" fmla="*/ 1503302 h 1786050"/>
              <a:gd name="connsiteX1435" fmla="*/ 1793423 w 4664922"/>
              <a:gd name="connsiteY1435" fmla="*/ 1490866 h 1786050"/>
              <a:gd name="connsiteX1436" fmla="*/ 1788680 w 4664922"/>
              <a:gd name="connsiteY1436" fmla="*/ 1481726 h 1786050"/>
              <a:gd name="connsiteX1437" fmla="*/ 1770690 w 4664922"/>
              <a:gd name="connsiteY1437" fmla="*/ 1467091 h 1786050"/>
              <a:gd name="connsiteX1438" fmla="*/ 1757675 w 4664922"/>
              <a:gd name="connsiteY1438" fmla="*/ 1454944 h 1786050"/>
              <a:gd name="connsiteX1439" fmla="*/ 1753568 w 4664922"/>
              <a:gd name="connsiteY1439" fmla="*/ 1453093 h 1786050"/>
              <a:gd name="connsiteX1440" fmla="*/ 1751081 w 4664922"/>
              <a:gd name="connsiteY1440" fmla="*/ 1452573 h 1786050"/>
              <a:gd name="connsiteX1441" fmla="*/ 1733728 w 4664922"/>
              <a:gd name="connsiteY1441" fmla="*/ 1458357 h 1786050"/>
              <a:gd name="connsiteX1442" fmla="*/ 1727539 w 4664922"/>
              <a:gd name="connsiteY1442" fmla="*/ 1460960 h 1786050"/>
              <a:gd name="connsiteX1443" fmla="*/ 1722795 w 4664922"/>
              <a:gd name="connsiteY1443" fmla="*/ 1461712 h 1786050"/>
              <a:gd name="connsiteX1444" fmla="*/ 1707524 w 4664922"/>
              <a:gd name="connsiteY1444" fmla="*/ 1458646 h 1786050"/>
              <a:gd name="connsiteX1445" fmla="*/ 1700293 w 4664922"/>
              <a:gd name="connsiteY1445" fmla="*/ 1456795 h 1786050"/>
              <a:gd name="connsiteX1446" fmla="*/ 1689592 w 4664922"/>
              <a:gd name="connsiteY1446" fmla="*/ 1448350 h 1786050"/>
              <a:gd name="connsiteX1447" fmla="*/ 1679585 w 4664922"/>
              <a:gd name="connsiteY1447" fmla="*/ 1441640 h 1786050"/>
              <a:gd name="connsiteX1448" fmla="*/ 1671545 w 4664922"/>
              <a:gd name="connsiteY1448" fmla="*/ 1450953 h 1786050"/>
              <a:gd name="connsiteX1449" fmla="*/ 1663505 w 4664922"/>
              <a:gd name="connsiteY1449" fmla="*/ 1459225 h 1786050"/>
              <a:gd name="connsiteX1450" fmla="*/ 1647771 w 4664922"/>
              <a:gd name="connsiteY1450" fmla="*/ 1435335 h 1786050"/>
              <a:gd name="connsiteX1451" fmla="*/ 1634120 w 4664922"/>
              <a:gd name="connsiteY1451" fmla="*/ 1409652 h 1786050"/>
              <a:gd name="connsiteX1452" fmla="*/ 1629550 w 4664922"/>
              <a:gd name="connsiteY1452" fmla="*/ 1402537 h 1786050"/>
              <a:gd name="connsiteX1453" fmla="*/ 1584432 w 4664922"/>
              <a:gd name="connsiteY1453" fmla="*/ 1350477 h 1786050"/>
              <a:gd name="connsiteX1454" fmla="*/ 1571301 w 4664922"/>
              <a:gd name="connsiteY1454" fmla="*/ 1339603 h 1786050"/>
              <a:gd name="connsiteX1455" fmla="*/ 1576160 w 4664922"/>
              <a:gd name="connsiteY1455" fmla="*/ 1328034 h 1786050"/>
              <a:gd name="connsiteX1456" fmla="*/ 1576680 w 4664922"/>
              <a:gd name="connsiteY1456" fmla="*/ 1327050 h 1786050"/>
              <a:gd name="connsiteX1457" fmla="*/ 1570202 w 4664922"/>
              <a:gd name="connsiteY1457" fmla="*/ 1325546 h 1786050"/>
              <a:gd name="connsiteX1458" fmla="*/ 1559327 w 4664922"/>
              <a:gd name="connsiteY1458" fmla="*/ 1327976 h 1786050"/>
              <a:gd name="connsiteX1459" fmla="*/ 1552386 w 4664922"/>
              <a:gd name="connsiteY1459" fmla="*/ 1332488 h 1786050"/>
              <a:gd name="connsiteX1460" fmla="*/ 1534165 w 4664922"/>
              <a:gd name="connsiteY1460" fmla="*/ 1342090 h 1786050"/>
              <a:gd name="connsiteX1461" fmla="*/ 1523348 w 4664922"/>
              <a:gd name="connsiteY1461" fmla="*/ 1347874 h 1786050"/>
              <a:gd name="connsiteX1462" fmla="*/ 1507094 w 4664922"/>
              <a:gd name="connsiteY1462" fmla="*/ 1354874 h 1786050"/>
              <a:gd name="connsiteX1463" fmla="*/ 1503912 w 4664922"/>
              <a:gd name="connsiteY1463" fmla="*/ 1354353 h 1786050"/>
              <a:gd name="connsiteX1464" fmla="*/ 1494368 w 4664922"/>
              <a:gd name="connsiteY1464" fmla="*/ 1357592 h 1786050"/>
              <a:gd name="connsiteX1465" fmla="*/ 1487485 w 4664922"/>
              <a:gd name="connsiteY1465" fmla="*/ 1361005 h 1786050"/>
              <a:gd name="connsiteX1466" fmla="*/ 1482857 w 4664922"/>
              <a:gd name="connsiteY1466" fmla="*/ 1358980 h 1786050"/>
              <a:gd name="connsiteX1467" fmla="*/ 1480717 w 4664922"/>
              <a:gd name="connsiteY1467" fmla="*/ 1354584 h 1786050"/>
              <a:gd name="connsiteX1468" fmla="*/ 1486906 w 4664922"/>
              <a:gd name="connsiteY1468" fmla="*/ 1346718 h 1786050"/>
              <a:gd name="connsiteX1469" fmla="*/ 1492228 w 4664922"/>
              <a:gd name="connsiteY1469" fmla="*/ 1340586 h 1786050"/>
              <a:gd name="connsiteX1470" fmla="*/ 1490782 w 4664922"/>
              <a:gd name="connsiteY1470" fmla="*/ 1339313 h 1786050"/>
              <a:gd name="connsiteX1471" fmla="*/ 1486675 w 4664922"/>
              <a:gd name="connsiteY1471" fmla="*/ 1340065 h 1786050"/>
              <a:gd name="connsiteX1472" fmla="*/ 1481527 w 4664922"/>
              <a:gd name="connsiteY1472" fmla="*/ 1340875 h 1786050"/>
              <a:gd name="connsiteX1473" fmla="*/ 1477940 w 4664922"/>
              <a:gd name="connsiteY1473" fmla="*/ 1339487 h 1786050"/>
              <a:gd name="connsiteX1474" fmla="*/ 1469206 w 4664922"/>
              <a:gd name="connsiteY1474" fmla="*/ 1335264 h 1786050"/>
              <a:gd name="connsiteX1475" fmla="*/ 1467181 w 4664922"/>
              <a:gd name="connsiteY1475" fmla="*/ 1336942 h 1786050"/>
              <a:gd name="connsiteX1476" fmla="*/ 1463942 w 4664922"/>
              <a:gd name="connsiteY1476" fmla="*/ 1340968 h 1786050"/>
              <a:gd name="connsiteX1477" fmla="*/ 1463479 w 4664922"/>
              <a:gd name="connsiteY1477" fmla="*/ 1340991 h 1786050"/>
              <a:gd name="connsiteX1478" fmla="*/ 1457059 w 4664922"/>
              <a:gd name="connsiteY1478" fmla="*/ 1335207 h 1786050"/>
              <a:gd name="connsiteX1479" fmla="*/ 1451274 w 4664922"/>
              <a:gd name="connsiteY1479" fmla="*/ 1327860 h 1786050"/>
              <a:gd name="connsiteX1480" fmla="*/ 1448613 w 4664922"/>
              <a:gd name="connsiteY1480" fmla="*/ 1329306 h 1786050"/>
              <a:gd name="connsiteX1481" fmla="*/ 1429698 w 4664922"/>
              <a:gd name="connsiteY1481" fmla="*/ 1335959 h 1786050"/>
              <a:gd name="connsiteX1482" fmla="*/ 1422005 w 4664922"/>
              <a:gd name="connsiteY1482" fmla="*/ 1333587 h 1786050"/>
              <a:gd name="connsiteX1483" fmla="*/ 1422525 w 4664922"/>
              <a:gd name="connsiteY1483" fmla="*/ 1325951 h 1786050"/>
              <a:gd name="connsiteX1484" fmla="*/ 1424781 w 4664922"/>
              <a:gd name="connsiteY1484" fmla="*/ 1321150 h 1786050"/>
              <a:gd name="connsiteX1485" fmla="*/ 1422583 w 4664922"/>
              <a:gd name="connsiteY1485" fmla="*/ 1313341 h 1786050"/>
              <a:gd name="connsiteX1486" fmla="*/ 1419980 w 4664922"/>
              <a:gd name="connsiteY1486" fmla="*/ 1301773 h 1786050"/>
              <a:gd name="connsiteX1487" fmla="*/ 1418418 w 4664922"/>
              <a:gd name="connsiteY1487" fmla="*/ 1297318 h 1786050"/>
              <a:gd name="connsiteX1488" fmla="*/ 1406445 w 4664922"/>
              <a:gd name="connsiteY1488" fmla="*/ 1291534 h 1786050"/>
              <a:gd name="connsiteX1489" fmla="*/ 1403957 w 4664922"/>
              <a:gd name="connsiteY1489" fmla="*/ 1291939 h 1786050"/>
              <a:gd name="connsiteX1490" fmla="*/ 1397826 w 4664922"/>
              <a:gd name="connsiteY1490" fmla="*/ 1293038 h 1786050"/>
              <a:gd name="connsiteX1491" fmla="*/ 1381861 w 4664922"/>
              <a:gd name="connsiteY1491" fmla="*/ 1288931 h 1786050"/>
              <a:gd name="connsiteX1492" fmla="*/ 1376077 w 4664922"/>
              <a:gd name="connsiteY1492" fmla="*/ 1288063 h 1786050"/>
              <a:gd name="connsiteX1493" fmla="*/ 1349641 w 4664922"/>
              <a:gd name="connsiteY1493" fmla="*/ 1295988 h 1786050"/>
              <a:gd name="connsiteX1494" fmla="*/ 1319851 w 4664922"/>
              <a:gd name="connsiteY1494" fmla="*/ 1307557 h 1786050"/>
              <a:gd name="connsiteX1495" fmla="*/ 1309035 w 4664922"/>
              <a:gd name="connsiteY1495" fmla="*/ 1310276 h 1786050"/>
              <a:gd name="connsiteX1496" fmla="*/ 1269990 w 4664922"/>
              <a:gd name="connsiteY1496" fmla="*/ 1317622 h 1786050"/>
              <a:gd name="connsiteX1497" fmla="*/ 1259347 w 4664922"/>
              <a:gd name="connsiteY1497" fmla="*/ 1321324 h 1786050"/>
              <a:gd name="connsiteX1498" fmla="*/ 1241993 w 4664922"/>
              <a:gd name="connsiteY1498" fmla="*/ 1326125 h 1786050"/>
              <a:gd name="connsiteX1499" fmla="*/ 1201502 w 4664922"/>
              <a:gd name="connsiteY1499" fmla="*/ 1334339 h 1786050"/>
              <a:gd name="connsiteX1500" fmla="*/ 1186810 w 4664922"/>
              <a:gd name="connsiteY1500" fmla="*/ 1338330 h 1786050"/>
              <a:gd name="connsiteX1501" fmla="*/ 1179117 w 4664922"/>
              <a:gd name="connsiteY1501" fmla="*/ 1337925 h 1786050"/>
              <a:gd name="connsiteX1502" fmla="*/ 1168473 w 4664922"/>
              <a:gd name="connsiteY1502" fmla="*/ 1337925 h 1786050"/>
              <a:gd name="connsiteX1503" fmla="*/ 1161243 w 4664922"/>
              <a:gd name="connsiteY1503" fmla="*/ 1338851 h 1786050"/>
              <a:gd name="connsiteX1504" fmla="*/ 1154880 w 4664922"/>
              <a:gd name="connsiteY1504" fmla="*/ 1338561 h 1786050"/>
              <a:gd name="connsiteX1505" fmla="*/ 1149790 w 4664922"/>
              <a:gd name="connsiteY1505" fmla="*/ 1338561 h 1786050"/>
              <a:gd name="connsiteX1506" fmla="*/ 1145682 w 4664922"/>
              <a:gd name="connsiteY1506" fmla="*/ 1339256 h 1786050"/>
              <a:gd name="connsiteX1507" fmla="*/ 1147244 w 4664922"/>
              <a:gd name="connsiteY1507" fmla="*/ 1360774 h 1786050"/>
              <a:gd name="connsiteX1508" fmla="*/ 1161301 w 4664922"/>
              <a:gd name="connsiteY1508" fmla="*/ 1367773 h 1786050"/>
              <a:gd name="connsiteX1509" fmla="*/ 1171597 w 4664922"/>
              <a:gd name="connsiteY1509" fmla="*/ 1373094 h 1786050"/>
              <a:gd name="connsiteX1510" fmla="*/ 1171597 w 4664922"/>
              <a:gd name="connsiteY1510" fmla="*/ 1374888 h 1786050"/>
              <a:gd name="connsiteX1511" fmla="*/ 1151698 w 4664922"/>
              <a:gd name="connsiteY1511" fmla="*/ 1378590 h 1786050"/>
              <a:gd name="connsiteX1512" fmla="*/ 1141865 w 4664922"/>
              <a:gd name="connsiteY1512" fmla="*/ 1379399 h 1786050"/>
              <a:gd name="connsiteX1513" fmla="*/ 1137006 w 4664922"/>
              <a:gd name="connsiteY1513" fmla="*/ 1382292 h 1786050"/>
              <a:gd name="connsiteX1514" fmla="*/ 1137931 w 4664922"/>
              <a:gd name="connsiteY1514" fmla="*/ 1397273 h 1786050"/>
              <a:gd name="connsiteX1515" fmla="*/ 1137931 w 4664922"/>
              <a:gd name="connsiteY1515" fmla="*/ 1401901 h 1786050"/>
              <a:gd name="connsiteX1516" fmla="*/ 1120578 w 4664922"/>
              <a:gd name="connsiteY1516" fmla="*/ 1413470 h 1786050"/>
              <a:gd name="connsiteX1517" fmla="*/ 1118380 w 4664922"/>
              <a:gd name="connsiteY1517" fmla="*/ 1417293 h 1786050"/>
              <a:gd name="connsiteX1518" fmla="*/ 1118380 w 4664922"/>
              <a:gd name="connsiteY1518" fmla="*/ 1417345 h 1786050"/>
              <a:gd name="connsiteX1519" fmla="*/ 1127519 w 4664922"/>
              <a:gd name="connsiteY1519" fmla="*/ 1425791 h 1786050"/>
              <a:gd name="connsiteX1520" fmla="*/ 1138568 w 4664922"/>
              <a:gd name="connsiteY1520" fmla="*/ 1429146 h 1786050"/>
              <a:gd name="connsiteX1521" fmla="*/ 1146898 w 4664922"/>
              <a:gd name="connsiteY1521" fmla="*/ 1431864 h 1786050"/>
              <a:gd name="connsiteX1522" fmla="*/ 1155227 w 4664922"/>
              <a:gd name="connsiteY1522" fmla="*/ 1452399 h 1786050"/>
              <a:gd name="connsiteX1523" fmla="*/ 1137179 w 4664922"/>
              <a:gd name="connsiteY1523" fmla="*/ 1463216 h 1786050"/>
              <a:gd name="connsiteX1524" fmla="*/ 1123008 w 4664922"/>
              <a:gd name="connsiteY1524" fmla="*/ 1458010 h 1786050"/>
              <a:gd name="connsiteX1525" fmla="*/ 1116356 w 4664922"/>
              <a:gd name="connsiteY1525" fmla="*/ 1454713 h 1786050"/>
              <a:gd name="connsiteX1526" fmla="*/ 1111959 w 4664922"/>
              <a:gd name="connsiteY1526" fmla="*/ 1460497 h 1786050"/>
              <a:gd name="connsiteX1527" fmla="*/ 1107390 w 4664922"/>
              <a:gd name="connsiteY1527" fmla="*/ 1468017 h 1786050"/>
              <a:gd name="connsiteX1528" fmla="*/ 1105539 w 4664922"/>
              <a:gd name="connsiteY1528" fmla="*/ 1468538 h 1786050"/>
              <a:gd name="connsiteX1529" fmla="*/ 1100333 w 4664922"/>
              <a:gd name="connsiteY1529" fmla="*/ 1464546 h 1786050"/>
              <a:gd name="connsiteX1530" fmla="*/ 1093565 w 4664922"/>
              <a:gd name="connsiteY1530" fmla="*/ 1459687 h 1786050"/>
              <a:gd name="connsiteX1531" fmla="*/ 1074303 w 4664922"/>
              <a:gd name="connsiteY1531" fmla="*/ 1450432 h 1786050"/>
              <a:gd name="connsiteX1532" fmla="*/ 1062734 w 4664922"/>
              <a:gd name="connsiteY1532" fmla="*/ 1445111 h 1786050"/>
              <a:gd name="connsiteX1533" fmla="*/ 1049719 w 4664922"/>
              <a:gd name="connsiteY1533" fmla="*/ 1449680 h 1786050"/>
              <a:gd name="connsiteX1534" fmla="*/ 1041852 w 4664922"/>
              <a:gd name="connsiteY1534" fmla="*/ 1454134 h 1786050"/>
              <a:gd name="connsiteX1535" fmla="*/ 1034217 w 4664922"/>
              <a:gd name="connsiteY1535" fmla="*/ 1450028 h 1786050"/>
              <a:gd name="connsiteX1536" fmla="*/ 1032424 w 4664922"/>
              <a:gd name="connsiteY1536" fmla="*/ 1448523 h 1786050"/>
              <a:gd name="connsiteX1537" fmla="*/ 1027391 w 4664922"/>
              <a:gd name="connsiteY1537" fmla="*/ 1447193 h 1786050"/>
              <a:gd name="connsiteX1538" fmla="*/ 1007550 w 4664922"/>
              <a:gd name="connsiteY1538" fmla="*/ 1456564 h 1786050"/>
              <a:gd name="connsiteX1539" fmla="*/ 993610 w 4664922"/>
              <a:gd name="connsiteY1539" fmla="*/ 1463158 h 1786050"/>
              <a:gd name="connsiteX1540" fmla="*/ 980479 w 4664922"/>
              <a:gd name="connsiteY1540" fmla="*/ 1459514 h 1786050"/>
              <a:gd name="connsiteX1541" fmla="*/ 968911 w 4664922"/>
              <a:gd name="connsiteY1541" fmla="*/ 1454192 h 1786050"/>
              <a:gd name="connsiteX1542" fmla="*/ 966423 w 4664922"/>
              <a:gd name="connsiteY1542" fmla="*/ 1458588 h 1786050"/>
              <a:gd name="connsiteX1543" fmla="*/ 963415 w 4664922"/>
              <a:gd name="connsiteY1543" fmla="*/ 1463563 h 1786050"/>
              <a:gd name="connsiteX1544" fmla="*/ 956879 w 4664922"/>
              <a:gd name="connsiteY1544" fmla="*/ 1454886 h 1786050"/>
              <a:gd name="connsiteX1545" fmla="*/ 937443 w 4664922"/>
              <a:gd name="connsiteY1545" fmla="*/ 1438459 h 1786050"/>
              <a:gd name="connsiteX1546" fmla="*/ 934436 w 4664922"/>
              <a:gd name="connsiteY1546" fmla="*/ 1436492 h 1786050"/>
              <a:gd name="connsiteX1547" fmla="*/ 918123 w 4664922"/>
              <a:gd name="connsiteY1547" fmla="*/ 1432038 h 1786050"/>
              <a:gd name="connsiteX1548" fmla="*/ 902390 w 4664922"/>
              <a:gd name="connsiteY1548" fmla="*/ 1426253 h 1786050"/>
              <a:gd name="connsiteX1549" fmla="*/ 893077 w 4664922"/>
              <a:gd name="connsiteY1549" fmla="*/ 1421973 h 1786050"/>
              <a:gd name="connsiteX1550" fmla="*/ 885152 w 4664922"/>
              <a:gd name="connsiteY1550" fmla="*/ 1426427 h 1786050"/>
              <a:gd name="connsiteX1551" fmla="*/ 879078 w 4664922"/>
              <a:gd name="connsiteY1551" fmla="*/ 1431459 h 1786050"/>
              <a:gd name="connsiteX1552" fmla="*/ 871732 w 4664922"/>
              <a:gd name="connsiteY1552" fmla="*/ 1428509 h 1786050"/>
              <a:gd name="connsiteX1553" fmla="*/ 869071 w 4664922"/>
              <a:gd name="connsiteY1553" fmla="*/ 1426948 h 1786050"/>
              <a:gd name="connsiteX1554" fmla="*/ 866815 w 4664922"/>
              <a:gd name="connsiteY1554" fmla="*/ 1426543 h 1786050"/>
              <a:gd name="connsiteX1555" fmla="*/ 850966 w 4664922"/>
              <a:gd name="connsiteY1555" fmla="*/ 1432327 h 1786050"/>
              <a:gd name="connsiteX1556" fmla="*/ 849520 w 4664922"/>
              <a:gd name="connsiteY1556" fmla="*/ 1433079 h 1786050"/>
              <a:gd name="connsiteX1557" fmla="*/ 844719 w 4664922"/>
              <a:gd name="connsiteY1557" fmla="*/ 1435798 h 1786050"/>
              <a:gd name="connsiteX1558" fmla="*/ 819904 w 4664922"/>
              <a:gd name="connsiteY1558" fmla="*/ 1446557 h 1786050"/>
              <a:gd name="connsiteX1559" fmla="*/ 814755 w 4664922"/>
              <a:gd name="connsiteY1559" fmla="*/ 1451242 h 1786050"/>
              <a:gd name="connsiteX1560" fmla="*/ 805674 w 4664922"/>
              <a:gd name="connsiteY1560" fmla="*/ 1459861 h 1786050"/>
              <a:gd name="connsiteX1561" fmla="*/ 799022 w 4664922"/>
              <a:gd name="connsiteY1561" fmla="*/ 1463621 h 1786050"/>
              <a:gd name="connsiteX1562" fmla="*/ 799022 w 4664922"/>
              <a:gd name="connsiteY1562" fmla="*/ 1472297 h 1786050"/>
              <a:gd name="connsiteX1563" fmla="*/ 799022 w 4664922"/>
              <a:gd name="connsiteY1563" fmla="*/ 1472992 h 1786050"/>
              <a:gd name="connsiteX1564" fmla="*/ 800121 w 4664922"/>
              <a:gd name="connsiteY1564" fmla="*/ 1476115 h 1786050"/>
              <a:gd name="connsiteX1565" fmla="*/ 801451 w 4664922"/>
              <a:gd name="connsiteY1565" fmla="*/ 1486701 h 1786050"/>
              <a:gd name="connsiteX1566" fmla="*/ 792717 w 4664922"/>
              <a:gd name="connsiteY1566" fmla="*/ 1491907 h 1786050"/>
              <a:gd name="connsiteX1567" fmla="*/ 780801 w 4664922"/>
              <a:gd name="connsiteY1567" fmla="*/ 1481957 h 1786050"/>
              <a:gd name="connsiteX1568" fmla="*/ 773050 w 4664922"/>
              <a:gd name="connsiteY1568" fmla="*/ 1472934 h 1786050"/>
              <a:gd name="connsiteX1569" fmla="*/ 767266 w 4664922"/>
              <a:gd name="connsiteY1569" fmla="*/ 1470967 h 1786050"/>
              <a:gd name="connsiteX1570" fmla="*/ 758878 w 4664922"/>
              <a:gd name="connsiteY1570" fmla="*/ 1481784 h 1786050"/>
              <a:gd name="connsiteX1571" fmla="*/ 751763 w 4664922"/>
              <a:gd name="connsiteY1571" fmla="*/ 1491965 h 1786050"/>
              <a:gd name="connsiteX1572" fmla="*/ 744186 w 4664922"/>
              <a:gd name="connsiteY1572" fmla="*/ 1499253 h 1786050"/>
              <a:gd name="connsiteX1573" fmla="*/ 748466 w 4664922"/>
              <a:gd name="connsiteY1573" fmla="*/ 1507582 h 1786050"/>
              <a:gd name="connsiteX1574" fmla="*/ 752804 w 4664922"/>
              <a:gd name="connsiteY1574" fmla="*/ 1512037 h 1786050"/>
              <a:gd name="connsiteX1575" fmla="*/ 742566 w 4664922"/>
              <a:gd name="connsiteY1575" fmla="*/ 1521465 h 1786050"/>
              <a:gd name="connsiteX1576" fmla="*/ 736781 w 4664922"/>
              <a:gd name="connsiteY1576" fmla="*/ 1531993 h 1786050"/>
              <a:gd name="connsiteX1577" fmla="*/ 736781 w 4664922"/>
              <a:gd name="connsiteY1577" fmla="*/ 1536852 h 1786050"/>
              <a:gd name="connsiteX1578" fmla="*/ 742566 w 4664922"/>
              <a:gd name="connsiteY1578" fmla="*/ 1539165 h 1786050"/>
              <a:gd name="connsiteX1579" fmla="*/ 752920 w 4664922"/>
              <a:gd name="connsiteY1579" fmla="*/ 1548536 h 1786050"/>
              <a:gd name="connsiteX1580" fmla="*/ 752920 w 4664922"/>
              <a:gd name="connsiteY1580" fmla="*/ 1561609 h 1786050"/>
              <a:gd name="connsiteX1581" fmla="*/ 756217 w 4664922"/>
              <a:gd name="connsiteY1581" fmla="*/ 1561609 h 1786050"/>
              <a:gd name="connsiteX1582" fmla="*/ 767208 w 4664922"/>
              <a:gd name="connsiteY1582" fmla="*/ 1560047 h 1786050"/>
              <a:gd name="connsiteX1583" fmla="*/ 772356 w 4664922"/>
              <a:gd name="connsiteY1583" fmla="*/ 1560047 h 1786050"/>
              <a:gd name="connsiteX1584" fmla="*/ 776000 w 4664922"/>
              <a:gd name="connsiteY1584" fmla="*/ 1560047 h 1786050"/>
              <a:gd name="connsiteX1585" fmla="*/ 786007 w 4664922"/>
              <a:gd name="connsiteY1585" fmla="*/ 1569418 h 1786050"/>
              <a:gd name="connsiteX1586" fmla="*/ 793816 w 4664922"/>
              <a:gd name="connsiteY1586" fmla="*/ 1579830 h 1786050"/>
              <a:gd name="connsiteX1587" fmla="*/ 802435 w 4664922"/>
              <a:gd name="connsiteY1587" fmla="*/ 1594580 h 1786050"/>
              <a:gd name="connsiteX1588" fmla="*/ 796650 w 4664922"/>
              <a:gd name="connsiteY1588" fmla="*/ 1598630 h 1786050"/>
              <a:gd name="connsiteX1589" fmla="*/ 792774 w 4664922"/>
              <a:gd name="connsiteY1589" fmla="*/ 1601117 h 1786050"/>
              <a:gd name="connsiteX1590" fmla="*/ 802840 w 4664922"/>
              <a:gd name="connsiteY1590" fmla="*/ 1608636 h 1786050"/>
              <a:gd name="connsiteX1591" fmla="*/ 811921 w 4664922"/>
              <a:gd name="connsiteY1591" fmla="*/ 1613958 h 1786050"/>
              <a:gd name="connsiteX1592" fmla="*/ 812153 w 4664922"/>
              <a:gd name="connsiteY1592" fmla="*/ 1615578 h 1786050"/>
              <a:gd name="connsiteX1593" fmla="*/ 811921 w 4664922"/>
              <a:gd name="connsiteY1593" fmla="*/ 1615809 h 1786050"/>
              <a:gd name="connsiteX1594" fmla="*/ 793468 w 4664922"/>
              <a:gd name="connsiteY1594" fmla="*/ 1625643 h 1786050"/>
              <a:gd name="connsiteX1595" fmla="*/ 763679 w 4664922"/>
              <a:gd name="connsiteY1595" fmla="*/ 1645078 h 1786050"/>
              <a:gd name="connsiteX1596" fmla="*/ 754771 w 4664922"/>
              <a:gd name="connsiteY1596" fmla="*/ 1654970 h 1786050"/>
              <a:gd name="connsiteX1597" fmla="*/ 743202 w 4664922"/>
              <a:gd name="connsiteY1597" fmla="*/ 1672786 h 1786050"/>
              <a:gd name="connsiteX1598" fmla="*/ 749681 w 4664922"/>
              <a:gd name="connsiteY1598" fmla="*/ 1683082 h 1786050"/>
              <a:gd name="connsiteX1599" fmla="*/ 761249 w 4664922"/>
              <a:gd name="connsiteY1599" fmla="*/ 1713913 h 1786050"/>
              <a:gd name="connsiteX1600" fmla="*/ 760497 w 4664922"/>
              <a:gd name="connsiteY1600" fmla="*/ 1721144 h 1786050"/>
              <a:gd name="connsiteX1601" fmla="*/ 791560 w 4664922"/>
              <a:gd name="connsiteY1601" fmla="*/ 1768055 h 1786050"/>
              <a:gd name="connsiteX1602" fmla="*/ 791560 w 4664922"/>
              <a:gd name="connsiteY1602" fmla="*/ 1769096 h 1786050"/>
              <a:gd name="connsiteX1603" fmla="*/ 779991 w 4664922"/>
              <a:gd name="connsiteY1603" fmla="*/ 1778409 h 1786050"/>
              <a:gd name="connsiteX1604" fmla="*/ 773802 w 4664922"/>
              <a:gd name="connsiteY1604" fmla="*/ 1782111 h 1786050"/>
              <a:gd name="connsiteX1605" fmla="*/ 769174 w 4664922"/>
              <a:gd name="connsiteY1605" fmla="*/ 1785900 h 1786050"/>
              <a:gd name="connsiteX1606" fmla="*/ 768654 w 4664922"/>
              <a:gd name="connsiteY1606" fmla="*/ 1785814 h 1786050"/>
              <a:gd name="connsiteX1607" fmla="*/ 760497 w 4664922"/>
              <a:gd name="connsiteY1607" fmla="*/ 1781013 h 1786050"/>
              <a:gd name="connsiteX1608" fmla="*/ 765010 w 4664922"/>
              <a:gd name="connsiteY1608" fmla="*/ 1782401 h 1786050"/>
              <a:gd name="connsiteX1609" fmla="*/ 768654 w 4664922"/>
              <a:gd name="connsiteY1609" fmla="*/ 1783558 h 1786050"/>
              <a:gd name="connsiteX1610" fmla="*/ 770620 w 4664922"/>
              <a:gd name="connsiteY1610" fmla="*/ 1781880 h 1786050"/>
              <a:gd name="connsiteX1611" fmla="*/ 778198 w 4664922"/>
              <a:gd name="connsiteY1611" fmla="*/ 1776848 h 1786050"/>
              <a:gd name="connsiteX1612" fmla="*/ 788031 w 4664922"/>
              <a:gd name="connsiteY1612" fmla="*/ 1769559 h 1786050"/>
              <a:gd name="connsiteX1613" fmla="*/ 756853 w 4664922"/>
              <a:gd name="connsiteY1613" fmla="*/ 1721606 h 1786050"/>
              <a:gd name="connsiteX1614" fmla="*/ 757663 w 4664922"/>
              <a:gd name="connsiteY1614" fmla="*/ 1714144 h 1786050"/>
              <a:gd name="connsiteX1615" fmla="*/ 746731 w 4664922"/>
              <a:gd name="connsiteY1615" fmla="*/ 1685222 h 1786050"/>
              <a:gd name="connsiteX1616" fmla="*/ 739500 w 4664922"/>
              <a:gd name="connsiteY1616" fmla="*/ 1673306 h 1786050"/>
              <a:gd name="connsiteX1617" fmla="*/ 751531 w 4664922"/>
              <a:gd name="connsiteY1617" fmla="*/ 1653813 h 1786050"/>
              <a:gd name="connsiteX1618" fmla="*/ 760324 w 4664922"/>
              <a:gd name="connsiteY1618" fmla="*/ 1644095 h 1786050"/>
              <a:gd name="connsiteX1619" fmla="*/ 790866 w 4664922"/>
              <a:gd name="connsiteY1619" fmla="*/ 1624023 h 1786050"/>
              <a:gd name="connsiteX1620" fmla="*/ 807641 w 4664922"/>
              <a:gd name="connsiteY1620" fmla="*/ 1615289 h 1786050"/>
              <a:gd name="connsiteX1621" fmla="*/ 800294 w 4664922"/>
              <a:gd name="connsiteY1621" fmla="*/ 1611124 h 1786050"/>
              <a:gd name="connsiteX1622" fmla="*/ 788726 w 4664922"/>
              <a:gd name="connsiteY1622" fmla="*/ 1601348 h 1786050"/>
              <a:gd name="connsiteX1623" fmla="*/ 794220 w 4664922"/>
              <a:gd name="connsiteY1623" fmla="*/ 1596836 h 1786050"/>
              <a:gd name="connsiteX1624" fmla="*/ 798154 w 4664922"/>
              <a:gd name="connsiteY1624" fmla="*/ 1594349 h 1786050"/>
              <a:gd name="connsiteX1625" fmla="*/ 790056 w 4664922"/>
              <a:gd name="connsiteY1625" fmla="*/ 1581739 h 1786050"/>
              <a:gd name="connsiteX1626" fmla="*/ 782073 w 4664922"/>
              <a:gd name="connsiteY1626" fmla="*/ 1571096 h 1786050"/>
              <a:gd name="connsiteX1627" fmla="*/ 773918 w 4664922"/>
              <a:gd name="connsiteY1627" fmla="*/ 1562708 h 1786050"/>
              <a:gd name="connsiteX1628" fmla="*/ 770158 w 4664922"/>
              <a:gd name="connsiteY1628" fmla="*/ 1562708 h 1786050"/>
              <a:gd name="connsiteX1629" fmla="*/ 765125 w 4664922"/>
              <a:gd name="connsiteY1629" fmla="*/ 1562708 h 1786050"/>
              <a:gd name="connsiteX1630" fmla="*/ 754887 w 4664922"/>
              <a:gd name="connsiteY1630" fmla="*/ 1564154 h 1786050"/>
              <a:gd name="connsiteX1631" fmla="*/ 749102 w 4664922"/>
              <a:gd name="connsiteY1631" fmla="*/ 1563287 h 1786050"/>
              <a:gd name="connsiteX1632" fmla="*/ 748524 w 4664922"/>
              <a:gd name="connsiteY1632" fmla="*/ 1548478 h 1786050"/>
              <a:gd name="connsiteX1633" fmla="*/ 739789 w 4664922"/>
              <a:gd name="connsiteY1633" fmla="*/ 1541479 h 1786050"/>
              <a:gd name="connsiteX1634" fmla="*/ 732964 w 4664922"/>
              <a:gd name="connsiteY1634" fmla="*/ 1538240 h 1786050"/>
              <a:gd name="connsiteX1635" fmla="*/ 732964 w 4664922"/>
              <a:gd name="connsiteY1635" fmla="*/ 1531588 h 1786050"/>
              <a:gd name="connsiteX1636" fmla="*/ 739616 w 4664922"/>
              <a:gd name="connsiteY1636" fmla="*/ 1519672 h 1786050"/>
              <a:gd name="connsiteX1637" fmla="*/ 748697 w 4664922"/>
              <a:gd name="connsiteY1637" fmla="*/ 1512210 h 1786050"/>
              <a:gd name="connsiteX1638" fmla="*/ 745516 w 4664922"/>
              <a:gd name="connsiteY1638" fmla="*/ 1509723 h 1786050"/>
              <a:gd name="connsiteX1639" fmla="*/ 740368 w 4664922"/>
              <a:gd name="connsiteY1639" fmla="*/ 1498154 h 1786050"/>
              <a:gd name="connsiteX1640" fmla="*/ 748639 w 4664922"/>
              <a:gd name="connsiteY1640" fmla="*/ 1490056 h 1786050"/>
              <a:gd name="connsiteX1641" fmla="*/ 754771 w 4664922"/>
              <a:gd name="connsiteY1641" fmla="*/ 1481784 h 1786050"/>
              <a:gd name="connsiteX1642" fmla="*/ 765414 w 4664922"/>
              <a:gd name="connsiteY1642" fmla="*/ 1468711 h 1786050"/>
              <a:gd name="connsiteX1643" fmla="*/ 772298 w 4664922"/>
              <a:gd name="connsiteY1643" fmla="*/ 1471141 h 1786050"/>
              <a:gd name="connsiteX1644" fmla="*/ 780569 w 4664922"/>
              <a:gd name="connsiteY1644" fmla="*/ 1480685 h 1786050"/>
              <a:gd name="connsiteX1645" fmla="*/ 793006 w 4664922"/>
              <a:gd name="connsiteY1645" fmla="*/ 1489188 h 1786050"/>
              <a:gd name="connsiteX1646" fmla="*/ 797286 w 4664922"/>
              <a:gd name="connsiteY1646" fmla="*/ 1485775 h 1786050"/>
              <a:gd name="connsiteX1647" fmla="*/ 795956 w 4664922"/>
              <a:gd name="connsiteY1647" fmla="*/ 1476925 h 1786050"/>
              <a:gd name="connsiteX1648" fmla="*/ 794742 w 4664922"/>
              <a:gd name="connsiteY1648" fmla="*/ 1473570 h 1786050"/>
              <a:gd name="connsiteX1649" fmla="*/ 794742 w 4664922"/>
              <a:gd name="connsiteY1649" fmla="*/ 1472876 h 1786050"/>
              <a:gd name="connsiteX1650" fmla="*/ 794742 w 4664922"/>
              <a:gd name="connsiteY1650" fmla="*/ 1462406 h 1786050"/>
              <a:gd name="connsiteX1651" fmla="*/ 802840 w 4664922"/>
              <a:gd name="connsiteY1651" fmla="*/ 1457663 h 1786050"/>
              <a:gd name="connsiteX1652" fmla="*/ 810359 w 4664922"/>
              <a:gd name="connsiteY1652" fmla="*/ 1450375 h 1786050"/>
              <a:gd name="connsiteX1653" fmla="*/ 817590 w 4664922"/>
              <a:gd name="connsiteY1653" fmla="*/ 1444301 h 1786050"/>
              <a:gd name="connsiteX1654" fmla="*/ 841248 w 4664922"/>
              <a:gd name="connsiteY1654" fmla="*/ 1433889 h 1786050"/>
              <a:gd name="connsiteX1655" fmla="*/ 846165 w 4664922"/>
              <a:gd name="connsiteY1655" fmla="*/ 1431055 h 1786050"/>
              <a:gd name="connsiteX1656" fmla="*/ 847611 w 4664922"/>
              <a:gd name="connsiteY1656" fmla="*/ 1430303 h 1786050"/>
              <a:gd name="connsiteX1657" fmla="*/ 864501 w 4664922"/>
              <a:gd name="connsiteY1657" fmla="*/ 1424518 h 1786050"/>
              <a:gd name="connsiteX1658" fmla="*/ 867799 w 4664922"/>
              <a:gd name="connsiteY1658" fmla="*/ 1425212 h 1786050"/>
              <a:gd name="connsiteX1659" fmla="*/ 870575 w 4664922"/>
              <a:gd name="connsiteY1659" fmla="*/ 1426774 h 1786050"/>
              <a:gd name="connsiteX1660" fmla="*/ 876764 w 4664922"/>
              <a:gd name="connsiteY1660" fmla="*/ 1429435 h 1786050"/>
              <a:gd name="connsiteX1661" fmla="*/ 880756 w 4664922"/>
              <a:gd name="connsiteY1661" fmla="*/ 1425733 h 1786050"/>
              <a:gd name="connsiteX1662" fmla="*/ 890763 w 4664922"/>
              <a:gd name="connsiteY1662" fmla="*/ 1419948 h 1786050"/>
              <a:gd name="connsiteX1663" fmla="*/ 902332 w 4664922"/>
              <a:gd name="connsiteY1663" fmla="*/ 1425733 h 1786050"/>
              <a:gd name="connsiteX1664" fmla="*/ 916272 w 4664922"/>
              <a:gd name="connsiteY1664" fmla="*/ 1429956 h 1786050"/>
              <a:gd name="connsiteX1665" fmla="*/ 933626 w 4664922"/>
              <a:gd name="connsiteY1665" fmla="*/ 1434757 h 1786050"/>
              <a:gd name="connsiteX1666" fmla="*/ 936633 w 4664922"/>
              <a:gd name="connsiteY1666" fmla="*/ 1436781 h 1786050"/>
              <a:gd name="connsiteX1667" fmla="*/ 957110 w 4664922"/>
              <a:gd name="connsiteY1667" fmla="*/ 1455060 h 1786050"/>
              <a:gd name="connsiteX1668" fmla="*/ 961391 w 4664922"/>
              <a:gd name="connsiteY1668" fmla="*/ 1461481 h 1786050"/>
              <a:gd name="connsiteX1669" fmla="*/ 962200 w 4664922"/>
              <a:gd name="connsiteY1669" fmla="*/ 1458762 h 1786050"/>
              <a:gd name="connsiteX1670" fmla="*/ 966886 w 4664922"/>
              <a:gd name="connsiteY1670" fmla="*/ 1452110 h 1786050"/>
              <a:gd name="connsiteX1671" fmla="*/ 979612 w 4664922"/>
              <a:gd name="connsiteY1671" fmla="*/ 1457894 h 1786050"/>
              <a:gd name="connsiteX1672" fmla="*/ 991585 w 4664922"/>
              <a:gd name="connsiteY1672" fmla="*/ 1461191 h 1786050"/>
              <a:gd name="connsiteX1673" fmla="*/ 1003154 w 4664922"/>
              <a:gd name="connsiteY1673" fmla="*/ 1455985 h 1786050"/>
              <a:gd name="connsiteX1674" fmla="*/ 1025077 w 4664922"/>
              <a:gd name="connsiteY1674" fmla="*/ 1445226 h 1786050"/>
              <a:gd name="connsiteX1675" fmla="*/ 1031556 w 4664922"/>
              <a:gd name="connsiteY1675" fmla="*/ 1447077 h 1786050"/>
              <a:gd name="connsiteX1676" fmla="*/ 1033349 w 4664922"/>
              <a:gd name="connsiteY1676" fmla="*/ 1448581 h 1786050"/>
              <a:gd name="connsiteX1677" fmla="*/ 1039538 w 4664922"/>
              <a:gd name="connsiteY1677" fmla="*/ 1452168 h 1786050"/>
              <a:gd name="connsiteX1678" fmla="*/ 1045786 w 4664922"/>
              <a:gd name="connsiteY1678" fmla="*/ 1448350 h 1786050"/>
              <a:gd name="connsiteX1679" fmla="*/ 1060420 w 4664922"/>
              <a:gd name="connsiteY1679" fmla="*/ 1443144 h 1786050"/>
              <a:gd name="connsiteX1680" fmla="*/ 1074303 w 4664922"/>
              <a:gd name="connsiteY1680" fmla="*/ 1449970 h 1786050"/>
              <a:gd name="connsiteX1681" fmla="*/ 1091656 w 4664922"/>
              <a:gd name="connsiteY1681" fmla="*/ 1457721 h 1786050"/>
              <a:gd name="connsiteX1682" fmla="*/ 1100275 w 4664922"/>
              <a:gd name="connsiteY1682" fmla="*/ 1463505 h 1786050"/>
              <a:gd name="connsiteX1683" fmla="*/ 1103630 w 4664922"/>
              <a:gd name="connsiteY1683" fmla="*/ 1466571 h 1786050"/>
              <a:gd name="connsiteX1684" fmla="*/ 1104439 w 4664922"/>
              <a:gd name="connsiteY1684" fmla="*/ 1466571 h 1786050"/>
              <a:gd name="connsiteX1685" fmla="*/ 1107911 w 4664922"/>
              <a:gd name="connsiteY1685" fmla="*/ 1460324 h 1786050"/>
              <a:gd name="connsiteX1686" fmla="*/ 1113695 w 4664922"/>
              <a:gd name="connsiteY1686" fmla="*/ 1453035 h 1786050"/>
              <a:gd name="connsiteX1687" fmla="*/ 1114736 w 4664922"/>
              <a:gd name="connsiteY1687" fmla="*/ 1453035 h 1786050"/>
              <a:gd name="connsiteX1688" fmla="*/ 1122140 w 4664922"/>
              <a:gd name="connsiteY1688" fmla="*/ 1456680 h 1786050"/>
              <a:gd name="connsiteX1689" fmla="*/ 1135097 w 4664922"/>
              <a:gd name="connsiteY1689" fmla="*/ 1461481 h 1786050"/>
              <a:gd name="connsiteX1690" fmla="*/ 1150946 w 4664922"/>
              <a:gd name="connsiteY1690" fmla="*/ 1452977 h 1786050"/>
              <a:gd name="connsiteX1691" fmla="*/ 1144815 w 4664922"/>
              <a:gd name="connsiteY1691" fmla="*/ 1434699 h 1786050"/>
              <a:gd name="connsiteX1692" fmla="*/ 1135502 w 4664922"/>
              <a:gd name="connsiteY1692" fmla="*/ 1431749 h 1786050"/>
              <a:gd name="connsiteX1693" fmla="*/ 1125437 w 4664922"/>
              <a:gd name="connsiteY1693" fmla="*/ 1428625 h 1786050"/>
              <a:gd name="connsiteX1694" fmla="*/ 1113868 w 4664922"/>
              <a:gd name="connsiteY1694" fmla="*/ 1418271 h 1786050"/>
              <a:gd name="connsiteX1695" fmla="*/ 1117512 w 4664922"/>
              <a:gd name="connsiteY1695" fmla="*/ 1411908 h 1786050"/>
              <a:gd name="connsiteX1696" fmla="*/ 1133651 w 4664922"/>
              <a:gd name="connsiteY1696" fmla="*/ 1401670 h 1786050"/>
              <a:gd name="connsiteX1697" fmla="*/ 1133651 w 4664922"/>
              <a:gd name="connsiteY1697" fmla="*/ 1398835 h 1786050"/>
              <a:gd name="connsiteX1698" fmla="*/ 1132899 w 4664922"/>
              <a:gd name="connsiteY1698" fmla="*/ 1381945 h 1786050"/>
              <a:gd name="connsiteX1699" fmla="*/ 1139435 w 4664922"/>
              <a:gd name="connsiteY1699" fmla="*/ 1377953 h 1786050"/>
              <a:gd name="connsiteX1700" fmla="*/ 1149385 w 4664922"/>
              <a:gd name="connsiteY1700" fmla="*/ 1377086 h 1786050"/>
              <a:gd name="connsiteX1701" fmla="*/ 1167606 w 4664922"/>
              <a:gd name="connsiteY1701" fmla="*/ 1374367 h 1786050"/>
              <a:gd name="connsiteX1702" fmla="*/ 1158697 w 4664922"/>
              <a:gd name="connsiteY1702" fmla="*/ 1370665 h 1786050"/>
              <a:gd name="connsiteX1703" fmla="*/ 1143484 w 4664922"/>
              <a:gd name="connsiteY1703" fmla="*/ 1362683 h 1786050"/>
              <a:gd name="connsiteX1704" fmla="*/ 1142559 w 4664922"/>
              <a:gd name="connsiteY1704" fmla="*/ 1338156 h 1786050"/>
              <a:gd name="connsiteX1705" fmla="*/ 1147938 w 4664922"/>
              <a:gd name="connsiteY1705" fmla="*/ 1337058 h 1786050"/>
              <a:gd name="connsiteX1706" fmla="*/ 1153202 w 4664922"/>
              <a:gd name="connsiteY1706" fmla="*/ 1337058 h 1786050"/>
              <a:gd name="connsiteX1707" fmla="*/ 1159391 w 4664922"/>
              <a:gd name="connsiteY1707" fmla="*/ 1337347 h 1786050"/>
              <a:gd name="connsiteX1708" fmla="*/ 1165928 w 4664922"/>
              <a:gd name="connsiteY1708" fmla="*/ 1336537 h 1786050"/>
              <a:gd name="connsiteX1709" fmla="*/ 1171192 w 4664922"/>
              <a:gd name="connsiteY1709" fmla="*/ 1335901 h 1786050"/>
              <a:gd name="connsiteX1710" fmla="*/ 1177439 w 4664922"/>
              <a:gd name="connsiteY1710" fmla="*/ 1336248 h 1786050"/>
              <a:gd name="connsiteX1711" fmla="*/ 1184959 w 4664922"/>
              <a:gd name="connsiteY1711" fmla="*/ 1336595 h 1786050"/>
              <a:gd name="connsiteX1712" fmla="*/ 1198263 w 4664922"/>
              <a:gd name="connsiteY1712" fmla="*/ 1333066 h 1786050"/>
              <a:gd name="connsiteX1713" fmla="*/ 1240143 w 4664922"/>
              <a:gd name="connsiteY1713" fmla="*/ 1324390 h 1786050"/>
              <a:gd name="connsiteX1714" fmla="*/ 1256628 w 4664922"/>
              <a:gd name="connsiteY1714" fmla="*/ 1319762 h 1786050"/>
              <a:gd name="connsiteX1715" fmla="*/ 1267850 w 4664922"/>
              <a:gd name="connsiteY1715" fmla="*/ 1315944 h 1786050"/>
              <a:gd name="connsiteX1716" fmla="*/ 1306374 w 4664922"/>
              <a:gd name="connsiteY1716" fmla="*/ 1308714 h 1786050"/>
              <a:gd name="connsiteX1717" fmla="*/ 1317538 w 4664922"/>
              <a:gd name="connsiteY1717" fmla="*/ 1305879 h 1786050"/>
              <a:gd name="connsiteX1718" fmla="*/ 1345650 w 4664922"/>
              <a:gd name="connsiteY1718" fmla="*/ 1296219 h 1786050"/>
              <a:gd name="connsiteX1719" fmla="*/ 1374573 w 4664922"/>
              <a:gd name="connsiteY1719" fmla="*/ 1286502 h 1786050"/>
              <a:gd name="connsiteX1720" fmla="*/ 1381456 w 4664922"/>
              <a:gd name="connsiteY1720" fmla="*/ 1287543 h 1786050"/>
              <a:gd name="connsiteX1721" fmla="*/ 1396495 w 4664922"/>
              <a:gd name="connsiteY1721" fmla="*/ 1291476 h 1786050"/>
              <a:gd name="connsiteX1722" fmla="*/ 1401759 w 4664922"/>
              <a:gd name="connsiteY1722" fmla="*/ 1290551 h 1786050"/>
              <a:gd name="connsiteX1723" fmla="*/ 1419112 w 4664922"/>
              <a:gd name="connsiteY1723" fmla="*/ 1296335 h 1786050"/>
              <a:gd name="connsiteX1724" fmla="*/ 1421137 w 4664922"/>
              <a:gd name="connsiteY1724" fmla="*/ 1302640 h 1786050"/>
              <a:gd name="connsiteX1725" fmla="*/ 1423624 w 4664922"/>
              <a:gd name="connsiteY1725" fmla="*/ 1312936 h 1786050"/>
              <a:gd name="connsiteX1726" fmla="*/ 1425996 w 4664922"/>
              <a:gd name="connsiteY1726" fmla="*/ 1321902 h 1786050"/>
              <a:gd name="connsiteX1727" fmla="*/ 1423335 w 4664922"/>
              <a:gd name="connsiteY1727" fmla="*/ 1327687 h 1786050"/>
              <a:gd name="connsiteX1728" fmla="*/ 1422699 w 4664922"/>
              <a:gd name="connsiteY1728" fmla="*/ 1332488 h 1786050"/>
              <a:gd name="connsiteX1729" fmla="*/ 1428483 w 4664922"/>
              <a:gd name="connsiteY1729" fmla="*/ 1334107 h 1786050"/>
              <a:gd name="connsiteX1730" fmla="*/ 1445836 w 4664922"/>
              <a:gd name="connsiteY1730" fmla="*/ 1328323 h 1786050"/>
              <a:gd name="connsiteX1731" fmla="*/ 1450233 w 4664922"/>
              <a:gd name="connsiteY1731" fmla="*/ 1326125 h 1786050"/>
              <a:gd name="connsiteX1732" fmla="*/ 1458099 w 4664922"/>
              <a:gd name="connsiteY1732" fmla="*/ 1335727 h 1786050"/>
              <a:gd name="connsiteX1733" fmla="*/ 1462265 w 4664922"/>
              <a:gd name="connsiteY1733" fmla="*/ 1339371 h 1786050"/>
              <a:gd name="connsiteX1734" fmla="*/ 1463711 w 4664922"/>
              <a:gd name="connsiteY1734" fmla="*/ 1337578 h 1786050"/>
              <a:gd name="connsiteX1735" fmla="*/ 1467354 w 4664922"/>
              <a:gd name="connsiteY1735" fmla="*/ 1333622 h 1786050"/>
              <a:gd name="connsiteX1736" fmla="*/ 1467991 w 4664922"/>
              <a:gd name="connsiteY1736" fmla="*/ 1333645 h 1786050"/>
              <a:gd name="connsiteX1737" fmla="*/ 1478461 w 4664922"/>
              <a:gd name="connsiteY1737" fmla="*/ 1338677 h 1786050"/>
              <a:gd name="connsiteX1738" fmla="*/ 1484939 w 4664922"/>
              <a:gd name="connsiteY1738" fmla="*/ 1338677 h 1786050"/>
              <a:gd name="connsiteX1739" fmla="*/ 1489567 w 4664922"/>
              <a:gd name="connsiteY1739" fmla="*/ 1337867 h 1786050"/>
              <a:gd name="connsiteX1740" fmla="*/ 1493269 w 4664922"/>
              <a:gd name="connsiteY1740" fmla="*/ 1340592 h 1786050"/>
              <a:gd name="connsiteX1741" fmla="*/ 1493269 w 4664922"/>
              <a:gd name="connsiteY1741" fmla="*/ 1341396 h 1786050"/>
              <a:gd name="connsiteX1742" fmla="*/ 1487079 w 4664922"/>
              <a:gd name="connsiteY1742" fmla="*/ 1349321 h 1786050"/>
              <a:gd name="connsiteX1743" fmla="*/ 1481758 w 4664922"/>
              <a:gd name="connsiteY1743" fmla="*/ 1355510 h 1786050"/>
              <a:gd name="connsiteX1744" fmla="*/ 1483146 w 4664922"/>
              <a:gd name="connsiteY1744" fmla="*/ 1358113 h 1786050"/>
              <a:gd name="connsiteX1745" fmla="*/ 1486270 w 4664922"/>
              <a:gd name="connsiteY1745" fmla="*/ 1359559 h 1786050"/>
              <a:gd name="connsiteX1746" fmla="*/ 1492054 w 4664922"/>
              <a:gd name="connsiteY1746" fmla="*/ 1356609 h 1786050"/>
              <a:gd name="connsiteX1747" fmla="*/ 1500789 w 4664922"/>
              <a:gd name="connsiteY1747" fmla="*/ 1352560 h 1786050"/>
              <a:gd name="connsiteX1748" fmla="*/ 1503681 w 4664922"/>
              <a:gd name="connsiteY1748" fmla="*/ 1353023 h 1786050"/>
              <a:gd name="connsiteX1749" fmla="*/ 1521034 w 4664922"/>
              <a:gd name="connsiteY1749" fmla="*/ 1346775 h 1786050"/>
              <a:gd name="connsiteX1750" fmla="*/ 1532603 w 4664922"/>
              <a:gd name="connsiteY1750" fmla="*/ 1340991 h 1786050"/>
              <a:gd name="connsiteX1751" fmla="*/ 1549956 w 4664922"/>
              <a:gd name="connsiteY1751" fmla="*/ 1331794 h 1786050"/>
              <a:gd name="connsiteX1752" fmla="*/ 1557013 w 4664922"/>
              <a:gd name="connsiteY1752" fmla="*/ 1327224 h 1786050"/>
              <a:gd name="connsiteX1753" fmla="*/ 1569045 w 4664922"/>
              <a:gd name="connsiteY1753" fmla="*/ 1324447 h 1786050"/>
              <a:gd name="connsiteX1754" fmla="*/ 1577664 w 4664922"/>
              <a:gd name="connsiteY1754" fmla="*/ 1327340 h 1786050"/>
              <a:gd name="connsiteX1755" fmla="*/ 1576564 w 4664922"/>
              <a:gd name="connsiteY1755" fmla="*/ 1330810 h 1786050"/>
              <a:gd name="connsiteX1756" fmla="*/ 1572342 w 4664922"/>
              <a:gd name="connsiteY1756" fmla="*/ 1340297 h 1786050"/>
              <a:gd name="connsiteX1757" fmla="*/ 1583911 w 4664922"/>
              <a:gd name="connsiteY1757" fmla="*/ 1349552 h 1786050"/>
              <a:gd name="connsiteX1758" fmla="*/ 1630186 w 4664922"/>
              <a:gd name="connsiteY1758" fmla="*/ 1402248 h 1786050"/>
              <a:gd name="connsiteX1759" fmla="*/ 1634756 w 4664922"/>
              <a:gd name="connsiteY1759" fmla="*/ 1409305 h 1786050"/>
              <a:gd name="connsiteX1760" fmla="*/ 1648523 w 4664922"/>
              <a:gd name="connsiteY1760" fmla="*/ 1435277 h 1786050"/>
              <a:gd name="connsiteX1761" fmla="*/ 1662232 w 4664922"/>
              <a:gd name="connsiteY1761" fmla="*/ 1457894 h 1786050"/>
              <a:gd name="connsiteX1762" fmla="*/ 1668017 w 4664922"/>
              <a:gd name="connsiteY1762" fmla="*/ 1450779 h 1786050"/>
              <a:gd name="connsiteX1763" fmla="*/ 1677561 w 4664922"/>
              <a:gd name="connsiteY1763" fmla="*/ 1440367 h 1786050"/>
              <a:gd name="connsiteX1764" fmla="*/ 1679123 w 4664922"/>
              <a:gd name="connsiteY1764" fmla="*/ 1440367 h 1786050"/>
              <a:gd name="connsiteX1765" fmla="*/ 1689766 w 4664922"/>
              <a:gd name="connsiteY1765" fmla="*/ 1448003 h 1786050"/>
              <a:gd name="connsiteX1766" fmla="*/ 1699253 w 4664922"/>
              <a:gd name="connsiteY1766" fmla="*/ 1455638 h 1786050"/>
              <a:gd name="connsiteX1767" fmla="*/ 1706657 w 4664922"/>
              <a:gd name="connsiteY1767" fmla="*/ 1457605 h 1786050"/>
              <a:gd name="connsiteX1768" fmla="*/ 1721291 w 4664922"/>
              <a:gd name="connsiteY1768" fmla="*/ 1460555 h 1786050"/>
              <a:gd name="connsiteX1769" fmla="*/ 1725283 w 4664922"/>
              <a:gd name="connsiteY1769" fmla="*/ 1459919 h 1786050"/>
              <a:gd name="connsiteX1770" fmla="*/ 1731067 w 4664922"/>
              <a:gd name="connsiteY1770" fmla="*/ 1457374 h 1786050"/>
              <a:gd name="connsiteX1771" fmla="*/ 1749635 w 4664922"/>
              <a:gd name="connsiteY1771" fmla="*/ 1451589 h 1786050"/>
              <a:gd name="connsiteX1772" fmla="*/ 1753221 w 4664922"/>
              <a:gd name="connsiteY1772" fmla="*/ 1452399 h 1786050"/>
              <a:gd name="connsiteX1773" fmla="*/ 1757097 w 4664922"/>
              <a:gd name="connsiteY1773" fmla="*/ 1454134 h 1786050"/>
              <a:gd name="connsiteX1774" fmla="*/ 1771326 w 4664922"/>
              <a:gd name="connsiteY1774" fmla="*/ 1467439 h 1786050"/>
              <a:gd name="connsiteX1775" fmla="*/ 1787234 w 4664922"/>
              <a:gd name="connsiteY1775" fmla="*/ 1480743 h 1786050"/>
              <a:gd name="connsiteX1776" fmla="*/ 1794232 w 4664922"/>
              <a:gd name="connsiteY1776" fmla="*/ 1492312 h 1786050"/>
              <a:gd name="connsiteX1777" fmla="*/ 1806785 w 4664922"/>
              <a:gd name="connsiteY1777" fmla="*/ 1502492 h 1786050"/>
              <a:gd name="connsiteX1778" fmla="*/ 1828014 w 4664922"/>
              <a:gd name="connsiteY1778" fmla="*/ 1498617 h 1786050"/>
              <a:gd name="connsiteX1779" fmla="*/ 1835187 w 4664922"/>
              <a:gd name="connsiteY1779" fmla="*/ 1495840 h 1786050"/>
              <a:gd name="connsiteX1780" fmla="*/ 1839409 w 4664922"/>
              <a:gd name="connsiteY1780" fmla="*/ 1500236 h 1786050"/>
              <a:gd name="connsiteX1781" fmla="*/ 1850978 w 4664922"/>
              <a:gd name="connsiteY1781" fmla="*/ 1513772 h 1786050"/>
              <a:gd name="connsiteX1782" fmla="*/ 1857052 w 4664922"/>
              <a:gd name="connsiteY1782" fmla="*/ 1514697 h 1786050"/>
              <a:gd name="connsiteX1783" fmla="*/ 1862836 w 4664922"/>
              <a:gd name="connsiteY1783" fmla="*/ 1515565 h 1786050"/>
              <a:gd name="connsiteX1784" fmla="*/ 1865034 w 4664922"/>
              <a:gd name="connsiteY1784" fmla="*/ 1514697 h 1786050"/>
              <a:gd name="connsiteX1785" fmla="*/ 1884528 w 4664922"/>
              <a:gd name="connsiteY1785" fmla="*/ 1506541 h 1786050"/>
              <a:gd name="connsiteX1786" fmla="*/ 1908707 w 4664922"/>
              <a:gd name="connsiteY1786" fmla="*/ 1495898 h 1786050"/>
              <a:gd name="connsiteX1787" fmla="*/ 1921432 w 4664922"/>
              <a:gd name="connsiteY1787" fmla="*/ 1487684 h 1786050"/>
              <a:gd name="connsiteX1788" fmla="*/ 1929878 w 4664922"/>
              <a:gd name="connsiteY1788" fmla="*/ 1483519 h 1786050"/>
              <a:gd name="connsiteX1789" fmla="*/ 1939017 w 4664922"/>
              <a:gd name="connsiteY1789" fmla="*/ 1477735 h 1786050"/>
              <a:gd name="connsiteX1790" fmla="*/ 1947462 w 4664922"/>
              <a:gd name="connsiteY1790" fmla="*/ 1471950 h 1786050"/>
              <a:gd name="connsiteX1791" fmla="*/ 1958337 w 4664922"/>
              <a:gd name="connsiteY1791" fmla="*/ 1466918 h 1786050"/>
              <a:gd name="connsiteX1792" fmla="*/ 1966030 w 4664922"/>
              <a:gd name="connsiteY1792" fmla="*/ 1463968 h 1786050"/>
              <a:gd name="connsiteX1793" fmla="*/ 1979739 w 4664922"/>
              <a:gd name="connsiteY1793" fmla="*/ 1459225 h 1786050"/>
              <a:gd name="connsiteX1794" fmla="*/ 1986796 w 4664922"/>
              <a:gd name="connsiteY1794" fmla="*/ 1460034 h 1786050"/>
              <a:gd name="connsiteX1795" fmla="*/ 2023296 w 4664922"/>
              <a:gd name="connsiteY1795" fmla="*/ 1466571 h 1786050"/>
              <a:gd name="connsiteX1796" fmla="*/ 2024743 w 4664922"/>
              <a:gd name="connsiteY1796" fmla="*/ 1466571 h 1786050"/>
              <a:gd name="connsiteX1797" fmla="*/ 2030064 w 4664922"/>
              <a:gd name="connsiteY1797" fmla="*/ 1474843 h 1786050"/>
              <a:gd name="connsiteX1798" fmla="*/ 2033534 w 4664922"/>
              <a:gd name="connsiteY1798" fmla="*/ 1482015 h 1786050"/>
              <a:gd name="connsiteX1799" fmla="*/ 2040938 w 4664922"/>
              <a:gd name="connsiteY1799" fmla="*/ 1485659 h 1786050"/>
              <a:gd name="connsiteX1800" fmla="*/ 2053953 w 4664922"/>
              <a:gd name="connsiteY1800" fmla="*/ 1491444 h 1786050"/>
              <a:gd name="connsiteX1801" fmla="*/ 2055226 w 4664922"/>
              <a:gd name="connsiteY1801" fmla="*/ 1491097 h 1786050"/>
              <a:gd name="connsiteX1802" fmla="*/ 2068530 w 4664922"/>
              <a:gd name="connsiteY1802" fmla="*/ 1486758 h 1786050"/>
              <a:gd name="connsiteX1803" fmla="*/ 2078306 w 4664922"/>
              <a:gd name="connsiteY1803" fmla="*/ 1489362 h 1786050"/>
              <a:gd name="connsiteX1804" fmla="*/ 2081893 w 4664922"/>
              <a:gd name="connsiteY1804" fmla="*/ 1491618 h 1786050"/>
              <a:gd name="connsiteX1805" fmla="*/ 2096122 w 4664922"/>
              <a:gd name="connsiteY1805" fmla="*/ 1495435 h 1786050"/>
              <a:gd name="connsiteX1806" fmla="*/ 2110757 w 4664922"/>
              <a:gd name="connsiteY1806" fmla="*/ 1487568 h 1786050"/>
              <a:gd name="connsiteX1807" fmla="*/ 2118855 w 4664922"/>
              <a:gd name="connsiteY1807" fmla="*/ 1484040 h 1786050"/>
              <a:gd name="connsiteX1808" fmla="*/ 2119838 w 4664922"/>
              <a:gd name="connsiteY1808" fmla="*/ 1469405 h 1786050"/>
              <a:gd name="connsiteX1809" fmla="*/ 2109773 w 4664922"/>
              <a:gd name="connsiteY1809" fmla="*/ 1446267 h 1786050"/>
              <a:gd name="connsiteX1810" fmla="*/ 2115558 w 4664922"/>
              <a:gd name="connsiteY1810" fmla="*/ 1437186 h 1786050"/>
              <a:gd name="connsiteX1811" fmla="*/ 2120880 w 4664922"/>
              <a:gd name="connsiteY1811" fmla="*/ 1431922 h 1786050"/>
              <a:gd name="connsiteX1812" fmla="*/ 2130366 w 4664922"/>
              <a:gd name="connsiteY1812" fmla="*/ 1424576 h 1786050"/>
              <a:gd name="connsiteX1813" fmla="*/ 2135745 w 4664922"/>
              <a:gd name="connsiteY1813" fmla="*/ 1421742 h 1786050"/>
              <a:gd name="connsiteX1814" fmla="*/ 2138117 w 4664922"/>
              <a:gd name="connsiteY1814" fmla="*/ 1418097 h 1786050"/>
              <a:gd name="connsiteX1815" fmla="*/ 2144654 w 4664922"/>
              <a:gd name="connsiteY1815" fmla="*/ 1412313 h 1786050"/>
              <a:gd name="connsiteX1816" fmla="*/ 2146504 w 4664922"/>
              <a:gd name="connsiteY1816" fmla="*/ 1412602 h 1786050"/>
              <a:gd name="connsiteX1817" fmla="*/ 2167213 w 4664922"/>
              <a:gd name="connsiteY1817" fmla="*/ 1420990 h 1786050"/>
              <a:gd name="connsiteX1818" fmla="*/ 2183351 w 4664922"/>
              <a:gd name="connsiteY1818" fmla="*/ 1424634 h 1786050"/>
              <a:gd name="connsiteX1819" fmla="*/ 2204118 w 4664922"/>
              <a:gd name="connsiteY1819" fmla="*/ 1432905 h 1786050"/>
              <a:gd name="connsiteX1820" fmla="*/ 2215281 w 4664922"/>
              <a:gd name="connsiteY1820" fmla="*/ 1435740 h 1786050"/>
              <a:gd name="connsiteX1821" fmla="*/ 2231131 w 4664922"/>
              <a:gd name="connsiteY1821" fmla="*/ 1441524 h 1786050"/>
              <a:gd name="connsiteX1822" fmla="*/ 2232692 w 4664922"/>
              <a:gd name="connsiteY1822" fmla="*/ 1453093 h 1786050"/>
              <a:gd name="connsiteX1823" fmla="*/ 2234312 w 4664922"/>
              <a:gd name="connsiteY1823" fmla="*/ 1464662 h 1786050"/>
              <a:gd name="connsiteX1824" fmla="*/ 2249236 w 4664922"/>
              <a:gd name="connsiteY1824" fmla="*/ 1477504 h 1786050"/>
              <a:gd name="connsiteX1825" fmla="*/ 2249698 w 4664922"/>
              <a:gd name="connsiteY1825" fmla="*/ 1477504 h 1786050"/>
              <a:gd name="connsiteX1826" fmla="*/ 2251781 w 4664922"/>
              <a:gd name="connsiteY1826" fmla="*/ 1476925 h 1786050"/>
              <a:gd name="connsiteX1827" fmla="*/ 2262540 w 4664922"/>
              <a:gd name="connsiteY1827" fmla="*/ 1480627 h 1786050"/>
              <a:gd name="connsiteX1828" fmla="*/ 2274456 w 4664922"/>
              <a:gd name="connsiteY1828" fmla="*/ 1484561 h 1786050"/>
              <a:gd name="connsiteX1829" fmla="*/ 2283827 w 4664922"/>
              <a:gd name="connsiteY1829" fmla="*/ 1479701 h 1786050"/>
              <a:gd name="connsiteX1830" fmla="*/ 2294007 w 4664922"/>
              <a:gd name="connsiteY1830" fmla="*/ 1474843 h 1786050"/>
              <a:gd name="connsiteX1831" fmla="*/ 2303899 w 4664922"/>
              <a:gd name="connsiteY1831" fmla="*/ 1473396 h 1786050"/>
              <a:gd name="connsiteX1832" fmla="*/ 2319227 w 4664922"/>
              <a:gd name="connsiteY1832" fmla="*/ 1471661 h 1786050"/>
              <a:gd name="connsiteX1833" fmla="*/ 2327846 w 4664922"/>
              <a:gd name="connsiteY1833" fmla="*/ 1473975 h 1786050"/>
              <a:gd name="connsiteX1834" fmla="*/ 2342770 w 4664922"/>
              <a:gd name="connsiteY1834" fmla="*/ 1477504 h 1786050"/>
              <a:gd name="connsiteX1835" fmla="*/ 2343522 w 4664922"/>
              <a:gd name="connsiteY1835" fmla="*/ 1477504 h 1786050"/>
              <a:gd name="connsiteX1836" fmla="*/ 2347167 w 4664922"/>
              <a:gd name="connsiteY1836" fmla="*/ 1476809 h 1786050"/>
              <a:gd name="connsiteX1837" fmla="*/ 2366082 w 4664922"/>
              <a:gd name="connsiteY1837" fmla="*/ 1483635 h 1786050"/>
              <a:gd name="connsiteX1838" fmla="*/ 2376377 w 4664922"/>
              <a:gd name="connsiteY1838" fmla="*/ 1487684 h 1786050"/>
              <a:gd name="connsiteX1839" fmla="*/ 2388814 w 4664922"/>
              <a:gd name="connsiteY1839" fmla="*/ 1494625 h 1786050"/>
              <a:gd name="connsiteX1840" fmla="*/ 2395177 w 4664922"/>
              <a:gd name="connsiteY1840" fmla="*/ 1501625 h 1786050"/>
              <a:gd name="connsiteX1841" fmla="*/ 2403275 w 4664922"/>
              <a:gd name="connsiteY1841" fmla="*/ 1509434 h 1786050"/>
              <a:gd name="connsiteX1842" fmla="*/ 2421901 w 4664922"/>
              <a:gd name="connsiteY1842" fmla="*/ 1513078 h 1786050"/>
              <a:gd name="connsiteX1843" fmla="*/ 2437692 w 4664922"/>
              <a:gd name="connsiteY1843" fmla="*/ 1515565 h 1786050"/>
              <a:gd name="connsiteX1844" fmla="*/ 2455335 w 4664922"/>
              <a:gd name="connsiteY1844" fmla="*/ 1518052 h 1786050"/>
              <a:gd name="connsiteX1845" fmla="*/ 2472342 w 4664922"/>
              <a:gd name="connsiteY1845" fmla="*/ 1516028 h 1786050"/>
              <a:gd name="connsiteX1846" fmla="*/ 2489058 w 4664922"/>
              <a:gd name="connsiteY1846" fmla="*/ 1511169 h 1786050"/>
              <a:gd name="connsiteX1847" fmla="*/ 2508205 w 4664922"/>
              <a:gd name="connsiteY1847" fmla="*/ 1506599 h 1786050"/>
              <a:gd name="connsiteX1848" fmla="*/ 2519369 w 4664922"/>
              <a:gd name="connsiteY1848" fmla="*/ 1503360 h 1786050"/>
              <a:gd name="connsiteX1849" fmla="*/ 2529607 w 4664922"/>
              <a:gd name="connsiteY1849" fmla="*/ 1499311 h 1786050"/>
              <a:gd name="connsiteX1850" fmla="*/ 2542796 w 4664922"/>
              <a:gd name="connsiteY1850" fmla="*/ 1488957 h 1786050"/>
              <a:gd name="connsiteX1851" fmla="*/ 2551820 w 4664922"/>
              <a:gd name="connsiteY1851" fmla="*/ 1484040 h 1786050"/>
              <a:gd name="connsiteX1852" fmla="*/ 2568652 w 4664922"/>
              <a:gd name="connsiteY1852" fmla="*/ 1480627 h 1786050"/>
              <a:gd name="connsiteX1853" fmla="*/ 2587509 w 4664922"/>
              <a:gd name="connsiteY1853" fmla="*/ 1486411 h 1786050"/>
              <a:gd name="connsiteX1854" fmla="*/ 2602202 w 4664922"/>
              <a:gd name="connsiteY1854" fmla="*/ 1491502 h 1786050"/>
              <a:gd name="connsiteX1855" fmla="*/ 2609432 w 4664922"/>
              <a:gd name="connsiteY1855" fmla="*/ 1490519 h 1786050"/>
              <a:gd name="connsiteX1856" fmla="*/ 2615621 w 4664922"/>
              <a:gd name="connsiteY1856" fmla="*/ 1489651 h 1786050"/>
              <a:gd name="connsiteX1857" fmla="*/ 2636735 w 4664922"/>
              <a:gd name="connsiteY1857" fmla="*/ 1497576 h 1786050"/>
              <a:gd name="connsiteX1858" fmla="*/ 2658658 w 4664922"/>
              <a:gd name="connsiteY1858" fmla="*/ 1504575 h 1786050"/>
              <a:gd name="connsiteX1859" fmla="*/ 2661955 w 4664922"/>
              <a:gd name="connsiteY1859" fmla="*/ 1504228 h 1786050"/>
              <a:gd name="connsiteX1860" fmla="*/ 2671789 w 4664922"/>
              <a:gd name="connsiteY1860" fmla="*/ 1498443 h 1786050"/>
              <a:gd name="connsiteX1861" fmla="*/ 2688043 w 4664922"/>
              <a:gd name="connsiteY1861" fmla="*/ 1490171 h 1786050"/>
              <a:gd name="connsiteX1862" fmla="*/ 2698281 w 4664922"/>
              <a:gd name="connsiteY1862" fmla="*/ 1483809 h 1786050"/>
              <a:gd name="connsiteX1863" fmla="*/ 2699207 w 4664922"/>
              <a:gd name="connsiteY1863" fmla="*/ 1479470 h 1786050"/>
              <a:gd name="connsiteX1864" fmla="*/ 2706495 w 4664922"/>
              <a:gd name="connsiteY1864" fmla="*/ 1461481 h 1786050"/>
              <a:gd name="connsiteX1865" fmla="*/ 2712280 w 4664922"/>
              <a:gd name="connsiteY1865" fmla="*/ 1450606 h 1786050"/>
              <a:gd name="connsiteX1866" fmla="*/ 2729633 w 4664922"/>
              <a:gd name="connsiteY1866" fmla="*/ 1423998 h 1786050"/>
              <a:gd name="connsiteX1867" fmla="*/ 2741202 w 4664922"/>
              <a:gd name="connsiteY1867" fmla="*/ 1411503 h 1786050"/>
              <a:gd name="connsiteX1868" fmla="*/ 2734260 w 4664922"/>
              <a:gd name="connsiteY1868" fmla="*/ 1393051 h 1786050"/>
              <a:gd name="connsiteX1869" fmla="*/ 2732756 w 4664922"/>
              <a:gd name="connsiteY1869" fmla="*/ 1393051 h 1786050"/>
              <a:gd name="connsiteX1870" fmla="*/ 2725699 w 4664922"/>
              <a:gd name="connsiteY1870" fmla="*/ 1390448 h 1786050"/>
              <a:gd name="connsiteX1871" fmla="*/ 2730963 w 4664922"/>
              <a:gd name="connsiteY1871" fmla="*/ 1376681 h 1786050"/>
              <a:gd name="connsiteX1872" fmla="*/ 2758208 w 4664922"/>
              <a:gd name="connsiteY1872" fmla="*/ 1364476 h 1786050"/>
              <a:gd name="connsiteX1873" fmla="*/ 2764860 w 4664922"/>
              <a:gd name="connsiteY1873" fmla="*/ 1364823 h 1786050"/>
              <a:gd name="connsiteX1874" fmla="*/ 2766596 w 4664922"/>
              <a:gd name="connsiteY1874" fmla="*/ 1364823 h 1786050"/>
              <a:gd name="connsiteX1875" fmla="*/ 2772380 w 4664922"/>
              <a:gd name="connsiteY1875" fmla="*/ 1363897 h 1786050"/>
              <a:gd name="connsiteX1876" fmla="*/ 2798641 w 4664922"/>
              <a:gd name="connsiteY1876" fmla="*/ 1360716 h 1786050"/>
              <a:gd name="connsiteX1877" fmla="*/ 2807202 w 4664922"/>
              <a:gd name="connsiteY1877" fmla="*/ 1361641 h 1786050"/>
              <a:gd name="connsiteX1878" fmla="*/ 2819638 w 4664922"/>
              <a:gd name="connsiteY1878" fmla="*/ 1362856 h 1786050"/>
              <a:gd name="connsiteX1879" fmla="*/ 2821952 w 4664922"/>
              <a:gd name="connsiteY1879" fmla="*/ 1362856 h 1786050"/>
              <a:gd name="connsiteX1880" fmla="*/ 2838149 w 4664922"/>
              <a:gd name="connsiteY1880" fmla="*/ 1366558 h 1786050"/>
              <a:gd name="connsiteX1881" fmla="*/ 2857006 w 4664922"/>
              <a:gd name="connsiteY1881" fmla="*/ 1371533 h 1786050"/>
              <a:gd name="connsiteX1882" fmla="*/ 2871640 w 4664922"/>
              <a:gd name="connsiteY1882" fmla="*/ 1376623 h 1786050"/>
              <a:gd name="connsiteX1883" fmla="*/ 2878466 w 4664922"/>
              <a:gd name="connsiteY1883" fmla="*/ 1382060 h 1786050"/>
              <a:gd name="connsiteX1884" fmla="*/ 2889573 w 4664922"/>
              <a:gd name="connsiteY1884" fmla="*/ 1397736 h 1786050"/>
              <a:gd name="connsiteX1885" fmla="*/ 2892233 w 4664922"/>
              <a:gd name="connsiteY1885" fmla="*/ 1404099 h 1786050"/>
              <a:gd name="connsiteX1886" fmla="*/ 2902472 w 4664922"/>
              <a:gd name="connsiteY1886" fmla="*/ 1422262 h 1786050"/>
              <a:gd name="connsiteX1887" fmla="*/ 2912999 w 4664922"/>
              <a:gd name="connsiteY1887" fmla="*/ 1444764 h 1786050"/>
              <a:gd name="connsiteX1888" fmla="*/ 2918783 w 4664922"/>
              <a:gd name="connsiteY1888" fmla="*/ 1454539 h 1786050"/>
              <a:gd name="connsiteX1889" fmla="*/ 2925725 w 4664922"/>
              <a:gd name="connsiteY1889" fmla="*/ 1469810 h 1786050"/>
              <a:gd name="connsiteX1890" fmla="*/ 2932493 w 4664922"/>
              <a:gd name="connsiteY1890" fmla="*/ 1488262 h 1786050"/>
              <a:gd name="connsiteX1891" fmla="*/ 2932493 w 4664922"/>
              <a:gd name="connsiteY1891" fmla="*/ 1498443 h 1786050"/>
              <a:gd name="connsiteX1892" fmla="*/ 2941690 w 4664922"/>
              <a:gd name="connsiteY1892" fmla="*/ 1502145 h 1786050"/>
              <a:gd name="connsiteX1893" fmla="*/ 2961762 w 4664922"/>
              <a:gd name="connsiteY1893" fmla="*/ 1509318 h 1786050"/>
              <a:gd name="connsiteX1894" fmla="*/ 2967546 w 4664922"/>
              <a:gd name="connsiteY1894" fmla="*/ 1511979 h 1786050"/>
              <a:gd name="connsiteX1895" fmla="*/ 2967546 w 4664922"/>
              <a:gd name="connsiteY1895" fmla="*/ 1511979 h 1786050"/>
              <a:gd name="connsiteX1896" fmla="*/ 2969687 w 4664922"/>
              <a:gd name="connsiteY1896" fmla="*/ 1511574 h 1786050"/>
              <a:gd name="connsiteX1897" fmla="*/ 2996295 w 4664922"/>
              <a:gd name="connsiteY1897" fmla="*/ 1524300 h 1786050"/>
              <a:gd name="connsiteX1898" fmla="*/ 3007516 w 4664922"/>
              <a:gd name="connsiteY1898" fmla="*/ 1530084 h 1786050"/>
              <a:gd name="connsiteX1899" fmla="*/ 3016020 w 4664922"/>
              <a:gd name="connsiteY1899" fmla="*/ 1538414 h 1786050"/>
              <a:gd name="connsiteX1900" fmla="*/ 3018970 w 4664922"/>
              <a:gd name="connsiteY1900" fmla="*/ 1550619 h 1786050"/>
              <a:gd name="connsiteX1901" fmla="*/ 3021689 w 4664922"/>
              <a:gd name="connsiteY1901" fmla="*/ 1561840 h 1786050"/>
              <a:gd name="connsiteX1902" fmla="*/ 3022961 w 4664922"/>
              <a:gd name="connsiteY1902" fmla="*/ 1565253 h 1786050"/>
              <a:gd name="connsiteX1903" fmla="*/ 3042570 w 4664922"/>
              <a:gd name="connsiteY1903" fmla="*/ 1571443 h 1786050"/>
              <a:gd name="connsiteX1904" fmla="*/ 3047024 w 4664922"/>
              <a:gd name="connsiteY1904" fmla="*/ 1571096 h 1786050"/>
              <a:gd name="connsiteX1905" fmla="*/ 3057494 w 4664922"/>
              <a:gd name="connsiteY1905" fmla="*/ 1571096 h 1786050"/>
              <a:gd name="connsiteX1906" fmla="*/ 3070393 w 4664922"/>
              <a:gd name="connsiteY1906" fmla="*/ 1566063 h 1786050"/>
              <a:gd name="connsiteX1907" fmla="*/ 3088152 w 4664922"/>
              <a:gd name="connsiteY1907" fmla="*/ 1558023 h 1786050"/>
              <a:gd name="connsiteX1908" fmla="*/ 3097407 w 4664922"/>
              <a:gd name="connsiteY1908" fmla="*/ 1555940 h 1786050"/>
              <a:gd name="connsiteX1909" fmla="*/ 3111116 w 4664922"/>
              <a:gd name="connsiteY1909" fmla="*/ 1551602 h 1786050"/>
              <a:gd name="connsiteX1910" fmla="*/ 3118636 w 4664922"/>
              <a:gd name="connsiteY1910" fmla="*/ 1554321 h 1786050"/>
              <a:gd name="connsiteX1911" fmla="*/ 3121007 w 4664922"/>
              <a:gd name="connsiteY1911" fmla="*/ 1562592 h 1786050"/>
              <a:gd name="connsiteX1912" fmla="*/ 3123668 w 4664922"/>
              <a:gd name="connsiteY1912" fmla="*/ 1576070 h 1786050"/>
              <a:gd name="connsiteX1913" fmla="*/ 3121296 w 4664922"/>
              <a:gd name="connsiteY1913" fmla="*/ 1586077 h 1786050"/>
              <a:gd name="connsiteX1914" fmla="*/ 3108455 w 4664922"/>
              <a:gd name="connsiteY1914" fmla="*/ 1615404 h 1786050"/>
              <a:gd name="connsiteX1915" fmla="*/ 3107240 w 4664922"/>
              <a:gd name="connsiteY1915" fmla="*/ 1620147 h 1786050"/>
              <a:gd name="connsiteX1916" fmla="*/ 3099026 w 4664922"/>
              <a:gd name="connsiteY1916" fmla="*/ 1630502 h 1786050"/>
              <a:gd name="connsiteX1917" fmla="*/ 3091102 w 4664922"/>
              <a:gd name="connsiteY1917" fmla="*/ 1641029 h 1786050"/>
              <a:gd name="connsiteX1918" fmla="*/ 3083235 w 4664922"/>
              <a:gd name="connsiteY1918" fmla="*/ 1651788 h 1786050"/>
              <a:gd name="connsiteX1919" fmla="*/ 3078203 w 4664922"/>
              <a:gd name="connsiteY1919" fmla="*/ 1658614 h 1786050"/>
              <a:gd name="connsiteX1920" fmla="*/ 3068890 w 4664922"/>
              <a:gd name="connsiteY1920" fmla="*/ 1664398 h 1786050"/>
              <a:gd name="connsiteX1921" fmla="*/ 3052173 w 4664922"/>
              <a:gd name="connsiteY1921" fmla="*/ 1659308 h 1786050"/>
              <a:gd name="connsiteX1922" fmla="*/ 3049223 w 4664922"/>
              <a:gd name="connsiteY1922" fmla="*/ 1658325 h 1786050"/>
              <a:gd name="connsiteX1923" fmla="*/ 3039504 w 4664922"/>
              <a:gd name="connsiteY1923" fmla="*/ 1664398 h 1786050"/>
              <a:gd name="connsiteX1924" fmla="*/ 3030249 w 4664922"/>
              <a:gd name="connsiteY1924" fmla="*/ 1670183 h 1786050"/>
              <a:gd name="connsiteX1925" fmla="*/ 3027936 w 4664922"/>
              <a:gd name="connsiteY1925" fmla="*/ 1671398 h 1786050"/>
              <a:gd name="connsiteX1926" fmla="*/ 3027241 w 4664922"/>
              <a:gd name="connsiteY1926" fmla="*/ 1688114 h 1786050"/>
              <a:gd name="connsiteX1927" fmla="*/ 3027241 w 4664922"/>
              <a:gd name="connsiteY1927" fmla="*/ 1696097 h 1786050"/>
              <a:gd name="connsiteX1928" fmla="*/ 3028688 w 4664922"/>
              <a:gd name="connsiteY1928" fmla="*/ 1710616 h 1786050"/>
              <a:gd name="connsiteX1929" fmla="*/ 3030192 w 4664922"/>
              <a:gd name="connsiteY1929" fmla="*/ 1724556 h 1786050"/>
              <a:gd name="connsiteX1930" fmla="*/ 3030539 w 4664922"/>
              <a:gd name="connsiteY1930" fmla="*/ 1735084 h 1786050"/>
              <a:gd name="connsiteX1931" fmla="*/ 3052288 w 4664922"/>
              <a:gd name="connsiteY1931" fmla="*/ 1723515 h 1786050"/>
              <a:gd name="connsiteX1932" fmla="*/ 3068022 w 4664922"/>
              <a:gd name="connsiteY1932" fmla="*/ 1732250 h 1786050"/>
              <a:gd name="connsiteX1933" fmla="*/ 3083813 w 4664922"/>
              <a:gd name="connsiteY1933" fmla="*/ 1741273 h 1786050"/>
              <a:gd name="connsiteX1934" fmla="*/ 3145649 w 4664922"/>
              <a:gd name="connsiteY1934" fmla="*/ 1702749 h 1786050"/>
              <a:gd name="connsiteX1935" fmla="*/ 3177695 w 4664922"/>
              <a:gd name="connsiteY1935" fmla="*/ 1665787 h 1786050"/>
              <a:gd name="connsiteX1936" fmla="*/ 3190363 w 4664922"/>
              <a:gd name="connsiteY1936" fmla="*/ 1652772 h 1786050"/>
              <a:gd name="connsiteX1937" fmla="*/ 3230159 w 4664922"/>
              <a:gd name="connsiteY1937" fmla="*/ 1599381 h 1786050"/>
              <a:gd name="connsiteX1938" fmla="*/ 3248380 w 4664922"/>
              <a:gd name="connsiteY1938" fmla="*/ 1574393 h 1786050"/>
              <a:gd name="connsiteX1939" fmla="*/ 3259313 w 4664922"/>
              <a:gd name="connsiteY1939" fmla="*/ 1560510 h 1786050"/>
              <a:gd name="connsiteX1940" fmla="*/ 3263825 w 4664922"/>
              <a:gd name="connsiteY1940" fmla="*/ 1553916 h 1786050"/>
              <a:gd name="connsiteX1941" fmla="*/ 3276203 w 4664922"/>
              <a:gd name="connsiteY1941" fmla="*/ 1532745 h 1786050"/>
              <a:gd name="connsiteX1942" fmla="*/ 3285169 w 4664922"/>
              <a:gd name="connsiteY1942" fmla="*/ 1480396 h 1786050"/>
              <a:gd name="connsiteX1943" fmla="*/ 3288061 w 4664922"/>
              <a:gd name="connsiteY1943" fmla="*/ 1460555 h 1786050"/>
              <a:gd name="connsiteX1944" fmla="*/ 3289855 w 4664922"/>
              <a:gd name="connsiteY1944" fmla="*/ 1454192 h 1786050"/>
              <a:gd name="connsiteX1945" fmla="*/ 3293267 w 4664922"/>
              <a:gd name="connsiteY1945" fmla="*/ 1443665 h 1786050"/>
              <a:gd name="connsiteX1946" fmla="*/ 3296044 w 4664922"/>
              <a:gd name="connsiteY1946" fmla="*/ 1437070 h 1786050"/>
              <a:gd name="connsiteX1947" fmla="*/ 3303506 w 4664922"/>
              <a:gd name="connsiteY1947" fmla="*/ 1424113 h 1786050"/>
              <a:gd name="connsiteX1948" fmla="*/ 3307670 w 4664922"/>
              <a:gd name="connsiteY1948" fmla="*/ 1407223 h 1786050"/>
              <a:gd name="connsiteX1949" fmla="*/ 3306745 w 4664922"/>
              <a:gd name="connsiteY1949" fmla="*/ 1395654 h 1786050"/>
              <a:gd name="connsiteX1950" fmla="*/ 3306109 w 4664922"/>
              <a:gd name="connsiteY1950" fmla="*/ 1386630 h 1786050"/>
              <a:gd name="connsiteX1951" fmla="*/ 3309753 w 4664922"/>
              <a:gd name="connsiteY1951" fmla="*/ 1377028 h 1786050"/>
              <a:gd name="connsiteX1952" fmla="*/ 3310678 w 4664922"/>
              <a:gd name="connsiteY1952" fmla="*/ 1375582 h 1786050"/>
              <a:gd name="connsiteX1953" fmla="*/ 3299746 w 4664922"/>
              <a:gd name="connsiteY1953" fmla="*/ 1365690 h 1786050"/>
              <a:gd name="connsiteX1954" fmla="*/ 3296911 w 4664922"/>
              <a:gd name="connsiteY1954" fmla="*/ 1364360 h 1786050"/>
              <a:gd name="connsiteX1955" fmla="*/ 3282566 w 4664922"/>
              <a:gd name="connsiteY1955" fmla="*/ 1350998 h 1786050"/>
              <a:gd name="connsiteX1956" fmla="*/ 3262379 w 4664922"/>
              <a:gd name="connsiteY1956" fmla="*/ 1335843 h 1786050"/>
              <a:gd name="connsiteX1957" fmla="*/ 3249942 w 4664922"/>
              <a:gd name="connsiteY1957" fmla="*/ 1334975 h 1786050"/>
              <a:gd name="connsiteX1958" fmla="*/ 3242249 w 4664922"/>
              <a:gd name="connsiteY1958" fmla="*/ 1334165 h 1786050"/>
              <a:gd name="connsiteX1959" fmla="*/ 3239819 w 4664922"/>
              <a:gd name="connsiteY1959" fmla="*/ 1334628 h 1786050"/>
              <a:gd name="connsiteX1960" fmla="*/ 3239819 w 4664922"/>
              <a:gd name="connsiteY1960" fmla="*/ 1335207 h 1786050"/>
              <a:gd name="connsiteX1961" fmla="*/ 3239241 w 4664922"/>
              <a:gd name="connsiteY1961" fmla="*/ 1343825 h 1786050"/>
              <a:gd name="connsiteX1962" fmla="*/ 3233456 w 4664922"/>
              <a:gd name="connsiteY1962" fmla="*/ 1345908 h 1786050"/>
              <a:gd name="connsiteX1963" fmla="*/ 3223796 w 4664922"/>
              <a:gd name="connsiteY1963" fmla="*/ 1354642 h 1786050"/>
              <a:gd name="connsiteX1964" fmla="*/ 3222928 w 4664922"/>
              <a:gd name="connsiteY1964" fmla="*/ 1355973 h 1786050"/>
              <a:gd name="connsiteX1965" fmla="*/ 3208352 w 4664922"/>
              <a:gd name="connsiteY1965" fmla="*/ 1363030 h 1786050"/>
              <a:gd name="connsiteX1966" fmla="*/ 3203493 w 4664922"/>
              <a:gd name="connsiteY1966" fmla="*/ 1360832 h 1786050"/>
              <a:gd name="connsiteX1967" fmla="*/ 3205865 w 4664922"/>
              <a:gd name="connsiteY1967" fmla="*/ 1355683 h 1786050"/>
              <a:gd name="connsiteX1968" fmla="*/ 3207021 w 4664922"/>
              <a:gd name="connsiteY1968" fmla="*/ 1348453 h 1786050"/>
              <a:gd name="connsiteX1969" fmla="*/ 3204303 w 4664922"/>
              <a:gd name="connsiteY1969" fmla="*/ 1340181 h 1786050"/>
              <a:gd name="connsiteX1970" fmla="*/ 3206906 w 4664922"/>
              <a:gd name="connsiteY1970" fmla="*/ 1332488 h 1786050"/>
              <a:gd name="connsiteX1971" fmla="*/ 3208236 w 4664922"/>
              <a:gd name="connsiteY1971" fmla="*/ 1329017 h 1786050"/>
              <a:gd name="connsiteX1972" fmla="*/ 3205228 w 4664922"/>
              <a:gd name="connsiteY1972" fmla="*/ 1330463 h 1786050"/>
              <a:gd name="connsiteX1973" fmla="*/ 3196610 w 4664922"/>
              <a:gd name="connsiteY1973" fmla="*/ 1340933 h 1786050"/>
              <a:gd name="connsiteX1974" fmla="*/ 3187875 w 4664922"/>
              <a:gd name="connsiteY1974" fmla="*/ 1350015 h 1786050"/>
              <a:gd name="connsiteX1975" fmla="*/ 3186949 w 4664922"/>
              <a:gd name="connsiteY1975" fmla="*/ 1350015 h 1786050"/>
              <a:gd name="connsiteX1976" fmla="*/ 3183537 w 4664922"/>
              <a:gd name="connsiteY1976" fmla="*/ 1348106 h 1786050"/>
              <a:gd name="connsiteX1977" fmla="*/ 3183537 w 4664922"/>
              <a:gd name="connsiteY1977" fmla="*/ 1320572 h 1786050"/>
              <a:gd name="connsiteX1978" fmla="*/ 3183537 w 4664922"/>
              <a:gd name="connsiteY1978" fmla="*/ 1319820 h 1786050"/>
              <a:gd name="connsiteX1979" fmla="*/ 3181223 w 4664922"/>
              <a:gd name="connsiteY1979" fmla="*/ 1319415 h 1786050"/>
              <a:gd name="connsiteX1980" fmla="*/ 3173761 w 4664922"/>
              <a:gd name="connsiteY1980" fmla="*/ 1320109 h 1786050"/>
              <a:gd name="connsiteX1981" fmla="*/ 3153342 w 4664922"/>
              <a:gd name="connsiteY1981" fmla="*/ 1321208 h 1786050"/>
              <a:gd name="connsiteX1982" fmla="*/ 3141484 w 4664922"/>
              <a:gd name="connsiteY1982" fmla="*/ 1314614 h 1786050"/>
              <a:gd name="connsiteX1983" fmla="*/ 3154152 w 4664922"/>
              <a:gd name="connsiteY1983" fmla="*/ 1298880 h 1786050"/>
              <a:gd name="connsiteX1984" fmla="*/ 3166241 w 4664922"/>
              <a:gd name="connsiteY1984" fmla="*/ 1287832 h 1786050"/>
              <a:gd name="connsiteX1985" fmla="*/ 3172373 w 4664922"/>
              <a:gd name="connsiteY1985" fmla="*/ 1282048 h 1786050"/>
              <a:gd name="connsiteX1986" fmla="*/ 3194238 w 4664922"/>
              <a:gd name="connsiteY1986" fmla="*/ 1269495 h 1786050"/>
              <a:gd name="connsiteX1987" fmla="*/ 3207427 w 4664922"/>
              <a:gd name="connsiteY1987" fmla="*/ 1261513 h 1786050"/>
              <a:gd name="connsiteX1988" fmla="*/ 3221540 w 4664922"/>
              <a:gd name="connsiteY1988" fmla="*/ 1243234 h 1786050"/>
              <a:gd name="connsiteX1989" fmla="*/ 3221540 w 4664922"/>
              <a:gd name="connsiteY1989" fmla="*/ 1242366 h 1786050"/>
              <a:gd name="connsiteX1990" fmla="*/ 3239357 w 4664922"/>
              <a:gd name="connsiteY1990" fmla="*/ 1227616 h 1786050"/>
              <a:gd name="connsiteX1991" fmla="*/ 3261106 w 4664922"/>
              <a:gd name="connsiteY1991" fmla="*/ 1212403 h 1786050"/>
              <a:gd name="connsiteX1992" fmla="*/ 3290665 w 4664922"/>
              <a:gd name="connsiteY1992" fmla="*/ 1182035 h 1786050"/>
              <a:gd name="connsiteX1993" fmla="*/ 3307324 w 4664922"/>
              <a:gd name="connsiteY1993" fmla="*/ 1168326 h 1786050"/>
              <a:gd name="connsiteX1994" fmla="*/ 3320859 w 4664922"/>
              <a:gd name="connsiteY1994" fmla="*/ 1157046 h 1786050"/>
              <a:gd name="connsiteX1995" fmla="*/ 3372919 w 4664922"/>
              <a:gd name="connsiteY1995" fmla="*/ 1129339 h 1786050"/>
              <a:gd name="connsiteX1996" fmla="*/ 3389868 w 4664922"/>
              <a:gd name="connsiteY1996" fmla="*/ 1127893 h 1786050"/>
              <a:gd name="connsiteX1997" fmla="*/ 3433309 w 4664922"/>
              <a:gd name="connsiteY1997" fmla="*/ 1136974 h 1786050"/>
              <a:gd name="connsiteX1998" fmla="*/ 3443374 w 4664922"/>
              <a:gd name="connsiteY1998" fmla="*/ 1139149 h 1786050"/>
              <a:gd name="connsiteX1999" fmla="*/ 3445803 w 4664922"/>
              <a:gd name="connsiteY1999" fmla="*/ 1136569 h 1786050"/>
              <a:gd name="connsiteX2000" fmla="*/ 3454017 w 4664922"/>
              <a:gd name="connsiteY2000" fmla="*/ 1133851 h 1786050"/>
              <a:gd name="connsiteX2001" fmla="*/ 3465586 w 4664922"/>
              <a:gd name="connsiteY2001" fmla="*/ 1134950 h 1786050"/>
              <a:gd name="connsiteX2002" fmla="*/ 3472238 w 4664922"/>
              <a:gd name="connsiteY2002" fmla="*/ 1135817 h 1786050"/>
              <a:gd name="connsiteX2003" fmla="*/ 3475650 w 4664922"/>
              <a:gd name="connsiteY2003" fmla="*/ 1135817 h 1786050"/>
              <a:gd name="connsiteX2004" fmla="*/ 3486699 w 4664922"/>
              <a:gd name="connsiteY2004" fmla="*/ 1133272 h 1786050"/>
              <a:gd name="connsiteX2005" fmla="*/ 3494508 w 4664922"/>
              <a:gd name="connsiteY2005" fmla="*/ 1131305 h 1786050"/>
              <a:gd name="connsiteX2006" fmla="*/ 3498672 w 4664922"/>
              <a:gd name="connsiteY2006" fmla="*/ 1132000 h 1786050"/>
              <a:gd name="connsiteX2007" fmla="*/ 3508795 w 4664922"/>
              <a:gd name="connsiteY2007" fmla="*/ 1134024 h 1786050"/>
              <a:gd name="connsiteX2008" fmla="*/ 3519959 w 4664922"/>
              <a:gd name="connsiteY2008" fmla="*/ 1126099 h 1786050"/>
              <a:gd name="connsiteX2009" fmla="*/ 3541940 w 4664922"/>
              <a:gd name="connsiteY2009" fmla="*/ 1117481 h 1786050"/>
              <a:gd name="connsiteX2010" fmla="*/ 3559987 w 4664922"/>
              <a:gd name="connsiteY2010" fmla="*/ 1121298 h 1786050"/>
              <a:gd name="connsiteX2011" fmla="*/ 3562417 w 4664922"/>
              <a:gd name="connsiteY2011" fmla="*/ 1123149 h 1786050"/>
              <a:gd name="connsiteX2012" fmla="*/ 3572019 w 4664922"/>
              <a:gd name="connsiteY2012" fmla="*/ 1127893 h 1786050"/>
              <a:gd name="connsiteX2013" fmla="*/ 3579308 w 4664922"/>
              <a:gd name="connsiteY2013" fmla="*/ 1125232 h 1786050"/>
              <a:gd name="connsiteX2014" fmla="*/ 3584282 w 4664922"/>
              <a:gd name="connsiteY2014" fmla="*/ 1123439 h 1786050"/>
              <a:gd name="connsiteX2015" fmla="*/ 3591455 w 4664922"/>
              <a:gd name="connsiteY2015" fmla="*/ 1128760 h 1786050"/>
              <a:gd name="connsiteX2016" fmla="*/ 3599032 w 4664922"/>
              <a:gd name="connsiteY2016" fmla="*/ 1134545 h 1786050"/>
              <a:gd name="connsiteX2017" fmla="*/ 3604817 w 4664922"/>
              <a:gd name="connsiteY2017" fmla="*/ 1139114 h 1786050"/>
              <a:gd name="connsiteX2018" fmla="*/ 3594058 w 4664922"/>
              <a:gd name="connsiteY2018" fmla="*/ 1145246 h 1786050"/>
              <a:gd name="connsiteX2019" fmla="*/ 3592323 w 4664922"/>
              <a:gd name="connsiteY2019" fmla="*/ 1145246 h 1786050"/>
              <a:gd name="connsiteX2020" fmla="*/ 3582720 w 4664922"/>
              <a:gd name="connsiteY2020" fmla="*/ 1148890 h 1786050"/>
              <a:gd name="connsiteX2021" fmla="*/ 3585844 w 4664922"/>
              <a:gd name="connsiteY2021" fmla="*/ 1152534 h 1786050"/>
              <a:gd name="connsiteX2022" fmla="*/ 3591223 w 4664922"/>
              <a:gd name="connsiteY2022" fmla="*/ 1153923 h 1786050"/>
              <a:gd name="connsiteX2023" fmla="*/ 3602445 w 4664922"/>
              <a:gd name="connsiteY2023" fmla="*/ 1150915 h 1786050"/>
              <a:gd name="connsiteX2024" fmla="*/ 3612857 w 4664922"/>
              <a:gd name="connsiteY2024" fmla="*/ 1148312 h 1786050"/>
              <a:gd name="connsiteX2025" fmla="*/ 3621187 w 4664922"/>
              <a:gd name="connsiteY2025" fmla="*/ 1148890 h 1786050"/>
              <a:gd name="connsiteX2026" fmla="*/ 3640796 w 4664922"/>
              <a:gd name="connsiteY2026" fmla="*/ 1143626 h 1786050"/>
              <a:gd name="connsiteX2027" fmla="*/ 3647333 w 4664922"/>
              <a:gd name="connsiteY2027" fmla="*/ 1141486 h 1786050"/>
              <a:gd name="connsiteX2028" fmla="*/ 3653522 w 4664922"/>
              <a:gd name="connsiteY2028" fmla="*/ 1143395 h 1786050"/>
              <a:gd name="connsiteX2029" fmla="*/ 3660058 w 4664922"/>
              <a:gd name="connsiteY2029" fmla="*/ 1143395 h 1786050"/>
              <a:gd name="connsiteX2030" fmla="*/ 3686840 w 4664922"/>
              <a:gd name="connsiteY2030" fmla="*/ 1136222 h 1786050"/>
              <a:gd name="connsiteX2031" fmla="*/ 3689559 w 4664922"/>
              <a:gd name="connsiteY2031" fmla="*/ 1136222 h 1786050"/>
              <a:gd name="connsiteX2032" fmla="*/ 3690947 w 4664922"/>
              <a:gd name="connsiteY2032" fmla="*/ 1135933 h 1786050"/>
              <a:gd name="connsiteX2033" fmla="*/ 3678163 w 4664922"/>
              <a:gd name="connsiteY2033" fmla="*/ 1130148 h 1786050"/>
              <a:gd name="connsiteX2034" fmla="*/ 3668619 w 4664922"/>
              <a:gd name="connsiteY2034" fmla="*/ 1126562 h 1786050"/>
              <a:gd name="connsiteX2035" fmla="*/ 3675213 w 4664922"/>
              <a:gd name="connsiteY2035" fmla="*/ 1105449 h 1786050"/>
              <a:gd name="connsiteX2036" fmla="*/ 3703383 w 4664922"/>
              <a:gd name="connsiteY2036" fmla="*/ 1078609 h 1786050"/>
              <a:gd name="connsiteX2037" fmla="*/ 3715357 w 4664922"/>
              <a:gd name="connsiteY2037" fmla="*/ 1069585 h 1786050"/>
              <a:gd name="connsiteX2038" fmla="*/ 3730686 w 4664922"/>
              <a:gd name="connsiteY2038" fmla="*/ 1062124 h 1786050"/>
              <a:gd name="connsiteX2039" fmla="*/ 3735256 w 4664922"/>
              <a:gd name="connsiteY2039" fmla="*/ 1058769 h 1786050"/>
              <a:gd name="connsiteX2040" fmla="*/ 3750815 w 4664922"/>
              <a:gd name="connsiteY2040" fmla="*/ 1032623 h 1786050"/>
              <a:gd name="connsiteX2041" fmla="*/ 3759724 w 4664922"/>
              <a:gd name="connsiteY2041" fmla="*/ 1032623 h 1786050"/>
              <a:gd name="connsiteX2042" fmla="*/ 3771293 w 4664922"/>
              <a:gd name="connsiteY2042" fmla="*/ 1033086 h 1786050"/>
              <a:gd name="connsiteX2043" fmla="*/ 3794951 w 4664922"/>
              <a:gd name="connsiteY2043" fmla="*/ 1028458 h 1786050"/>
              <a:gd name="connsiteX2044" fmla="*/ 3802644 w 4664922"/>
              <a:gd name="connsiteY2044" fmla="*/ 1025971 h 1786050"/>
              <a:gd name="connsiteX2045" fmla="*/ 3810511 w 4664922"/>
              <a:gd name="connsiteY2045" fmla="*/ 1031755 h 1786050"/>
              <a:gd name="connsiteX2046" fmla="*/ 3814040 w 4664922"/>
              <a:gd name="connsiteY2046" fmla="*/ 1035804 h 1786050"/>
              <a:gd name="connsiteX2047" fmla="*/ 3821675 w 4664922"/>
              <a:gd name="connsiteY2047" fmla="*/ 1032102 h 1786050"/>
              <a:gd name="connsiteX2048" fmla="*/ 3830930 w 4664922"/>
              <a:gd name="connsiteY2048" fmla="*/ 1027359 h 1786050"/>
              <a:gd name="connsiteX2049" fmla="*/ 3834053 w 4664922"/>
              <a:gd name="connsiteY2049" fmla="*/ 1028285 h 1786050"/>
              <a:gd name="connsiteX2050" fmla="*/ 3836078 w 4664922"/>
              <a:gd name="connsiteY2050" fmla="*/ 1031061 h 1786050"/>
              <a:gd name="connsiteX2051" fmla="*/ 3830293 w 4664922"/>
              <a:gd name="connsiteY2051" fmla="*/ 1041300 h 1786050"/>
              <a:gd name="connsiteX2052" fmla="*/ 3821386 w 4664922"/>
              <a:gd name="connsiteY2052" fmla="*/ 1054951 h 1786050"/>
              <a:gd name="connsiteX2053" fmla="*/ 3821386 w 4664922"/>
              <a:gd name="connsiteY2053" fmla="*/ 1060388 h 1786050"/>
              <a:gd name="connsiteX2054" fmla="*/ 3828443 w 4664922"/>
              <a:gd name="connsiteY2054" fmla="*/ 1062528 h 1786050"/>
              <a:gd name="connsiteX2055" fmla="*/ 3836194 w 4664922"/>
              <a:gd name="connsiteY2055" fmla="*/ 1064148 h 1786050"/>
              <a:gd name="connsiteX2056" fmla="*/ 3838565 w 4664922"/>
              <a:gd name="connsiteY2056" fmla="*/ 1066867 h 1786050"/>
              <a:gd name="connsiteX2057" fmla="*/ 3833359 w 4664922"/>
              <a:gd name="connsiteY2057" fmla="*/ 1072651 h 1786050"/>
              <a:gd name="connsiteX2058" fmla="*/ 3829484 w 4664922"/>
              <a:gd name="connsiteY2058" fmla="*/ 1075948 h 1786050"/>
              <a:gd name="connsiteX2059" fmla="*/ 3832955 w 4664922"/>
              <a:gd name="connsiteY2059" fmla="*/ 1076990 h 1786050"/>
              <a:gd name="connsiteX2060" fmla="*/ 3860777 w 4664922"/>
              <a:gd name="connsiteY2060" fmla="*/ 1061140 h 1786050"/>
              <a:gd name="connsiteX2061" fmla="*/ 3903467 w 4664922"/>
              <a:gd name="connsiteY2061" fmla="*/ 1039217 h 1786050"/>
              <a:gd name="connsiteX2062" fmla="*/ 3906937 w 4664922"/>
              <a:gd name="connsiteY2062" fmla="*/ 1039217 h 1786050"/>
              <a:gd name="connsiteX2063" fmla="*/ 3911449 w 4664922"/>
              <a:gd name="connsiteY2063" fmla="*/ 1038350 h 1786050"/>
              <a:gd name="connsiteX2064" fmla="*/ 3911970 w 4664922"/>
              <a:gd name="connsiteY2064" fmla="*/ 1027938 h 1786050"/>
              <a:gd name="connsiteX2065" fmla="*/ 3911333 w 4664922"/>
              <a:gd name="connsiteY2065" fmla="*/ 1013650 h 1786050"/>
              <a:gd name="connsiteX2066" fmla="*/ 3947660 w 4664922"/>
              <a:gd name="connsiteY2066" fmla="*/ 994214 h 1786050"/>
              <a:gd name="connsiteX2067" fmla="*/ 3959749 w 4664922"/>
              <a:gd name="connsiteY2067" fmla="*/ 996123 h 1786050"/>
              <a:gd name="connsiteX2068" fmla="*/ 3968541 w 4664922"/>
              <a:gd name="connsiteY2068" fmla="*/ 1003585 h 1786050"/>
              <a:gd name="connsiteX2069" fmla="*/ 3964550 w 4664922"/>
              <a:gd name="connsiteY2069" fmla="*/ 1005610 h 1786050"/>
              <a:gd name="connsiteX2070" fmla="*/ 3958766 w 4664922"/>
              <a:gd name="connsiteY2070" fmla="*/ 1004684 h 1786050"/>
              <a:gd name="connsiteX2071" fmla="*/ 3945115 w 4664922"/>
              <a:gd name="connsiteY2071" fmla="*/ 1008733 h 1786050"/>
              <a:gd name="connsiteX2072" fmla="*/ 3939330 w 4664922"/>
              <a:gd name="connsiteY2072" fmla="*/ 1024178 h 1786050"/>
              <a:gd name="connsiteX2073" fmla="*/ 3935281 w 4664922"/>
              <a:gd name="connsiteY2073" fmla="*/ 1039449 h 1786050"/>
              <a:gd name="connsiteX2074" fmla="*/ 3934645 w 4664922"/>
              <a:gd name="connsiteY2074" fmla="*/ 1046853 h 1786050"/>
              <a:gd name="connsiteX2075" fmla="*/ 3936149 w 4664922"/>
              <a:gd name="connsiteY2075" fmla="*/ 1050323 h 1786050"/>
              <a:gd name="connsiteX2076" fmla="*/ 3931579 w 4664922"/>
              <a:gd name="connsiteY2076" fmla="*/ 1055067 h 1786050"/>
              <a:gd name="connsiteX2077" fmla="*/ 3926836 w 4664922"/>
              <a:gd name="connsiteY2077" fmla="*/ 1059868 h 1786050"/>
              <a:gd name="connsiteX2078" fmla="*/ 3926836 w 4664922"/>
              <a:gd name="connsiteY2078" fmla="*/ 1061082 h 1786050"/>
              <a:gd name="connsiteX2079" fmla="*/ 3918043 w 4664922"/>
              <a:gd name="connsiteY2079" fmla="*/ 1073345 h 1786050"/>
              <a:gd name="connsiteX2080" fmla="*/ 3910581 w 4664922"/>
              <a:gd name="connsiteY2080" fmla="*/ 1075023 h 1786050"/>
              <a:gd name="connsiteX2081" fmla="*/ 3882874 w 4664922"/>
              <a:gd name="connsiteY2081" fmla="*/ 1088096 h 1786050"/>
              <a:gd name="connsiteX2082" fmla="*/ 3872867 w 4664922"/>
              <a:gd name="connsiteY2082" fmla="*/ 1100821 h 1786050"/>
              <a:gd name="connsiteX2083" fmla="*/ 3860547 w 4664922"/>
              <a:gd name="connsiteY2083" fmla="*/ 1113142 h 1786050"/>
              <a:gd name="connsiteX2084" fmla="*/ 3842557 w 4664922"/>
              <a:gd name="connsiteY2084" fmla="*/ 1129396 h 1786050"/>
              <a:gd name="connsiteX2085" fmla="*/ 3810048 w 4664922"/>
              <a:gd name="connsiteY2085" fmla="*/ 1159707 h 1786050"/>
              <a:gd name="connsiteX2086" fmla="*/ 3772334 w 4664922"/>
              <a:gd name="connsiteY2086" fmla="*/ 1186489 h 1786050"/>
              <a:gd name="connsiteX2087" fmla="*/ 3765392 w 4664922"/>
              <a:gd name="connsiteY2087" fmla="*/ 1189728 h 1786050"/>
              <a:gd name="connsiteX2088" fmla="*/ 3744858 w 4664922"/>
              <a:gd name="connsiteY2088" fmla="*/ 1195513 h 1786050"/>
              <a:gd name="connsiteX2089" fmla="*/ 3739074 w 4664922"/>
              <a:gd name="connsiteY2089" fmla="*/ 1195975 h 1786050"/>
              <a:gd name="connsiteX2090" fmla="*/ 3738322 w 4664922"/>
              <a:gd name="connsiteY2090" fmla="*/ 1201355 h 1786050"/>
              <a:gd name="connsiteX2091" fmla="*/ 3730455 w 4664922"/>
              <a:gd name="connsiteY2091" fmla="*/ 1228715 h 1786050"/>
              <a:gd name="connsiteX2092" fmla="*/ 3705697 w 4664922"/>
              <a:gd name="connsiteY2092" fmla="*/ 1290551 h 1786050"/>
              <a:gd name="connsiteX2093" fmla="*/ 3720505 w 4664922"/>
              <a:gd name="connsiteY2093" fmla="*/ 1390968 h 1786050"/>
              <a:gd name="connsiteX2094" fmla="*/ 3725422 w 4664922"/>
              <a:gd name="connsiteY2094" fmla="*/ 1417924 h 1786050"/>
              <a:gd name="connsiteX2095" fmla="*/ 3728835 w 4664922"/>
              <a:gd name="connsiteY2095" fmla="*/ 1437186 h 1786050"/>
              <a:gd name="connsiteX2096" fmla="*/ 3733752 w 4664922"/>
              <a:gd name="connsiteY2096" fmla="*/ 1449738 h 1786050"/>
              <a:gd name="connsiteX2097" fmla="*/ 3736066 w 4664922"/>
              <a:gd name="connsiteY2097" fmla="*/ 1456969 h 1786050"/>
              <a:gd name="connsiteX2098" fmla="*/ 3736412 w 4664922"/>
              <a:gd name="connsiteY2098" fmla="*/ 1456969 h 1786050"/>
              <a:gd name="connsiteX2099" fmla="*/ 3751510 w 4664922"/>
              <a:gd name="connsiteY2099" fmla="*/ 1443722 h 1786050"/>
              <a:gd name="connsiteX2100" fmla="*/ 3763078 w 4664922"/>
              <a:gd name="connsiteY2100" fmla="*/ 1432153 h 1786050"/>
              <a:gd name="connsiteX2101" fmla="*/ 3771119 w 4664922"/>
              <a:gd name="connsiteY2101" fmla="*/ 1422725 h 1786050"/>
              <a:gd name="connsiteX2102" fmla="*/ 3776903 w 4664922"/>
              <a:gd name="connsiteY2102" fmla="*/ 1416304 h 1786050"/>
              <a:gd name="connsiteX2103" fmla="*/ 3781473 w 4664922"/>
              <a:gd name="connsiteY2103" fmla="*/ 1398083 h 1786050"/>
              <a:gd name="connsiteX2104" fmla="*/ 3782515 w 4664922"/>
              <a:gd name="connsiteY2104" fmla="*/ 1388944 h 1786050"/>
              <a:gd name="connsiteX2105" fmla="*/ 3792058 w 4664922"/>
              <a:gd name="connsiteY2105" fmla="*/ 1382060 h 1786050"/>
              <a:gd name="connsiteX2106" fmla="*/ 3801256 w 4664922"/>
              <a:gd name="connsiteY2106" fmla="*/ 1376276 h 1786050"/>
              <a:gd name="connsiteX2107" fmla="*/ 3814329 w 4664922"/>
              <a:gd name="connsiteY2107" fmla="*/ 1372516 h 1786050"/>
              <a:gd name="connsiteX2108" fmla="*/ 3821964 w 4664922"/>
              <a:gd name="connsiteY2108" fmla="*/ 1371822 h 1786050"/>
              <a:gd name="connsiteX2109" fmla="*/ 3820518 w 4664922"/>
              <a:gd name="connsiteY2109" fmla="*/ 1355799 h 1786050"/>
              <a:gd name="connsiteX2110" fmla="*/ 3818782 w 4664922"/>
              <a:gd name="connsiteY2110" fmla="*/ 1350015 h 1786050"/>
              <a:gd name="connsiteX2111" fmla="*/ 3839780 w 4664922"/>
              <a:gd name="connsiteY2111" fmla="*/ 1327687 h 1786050"/>
              <a:gd name="connsiteX2112" fmla="*/ 3845564 w 4664922"/>
              <a:gd name="connsiteY2112" fmla="*/ 1323811 h 1786050"/>
              <a:gd name="connsiteX2113" fmla="*/ 3854357 w 4664922"/>
              <a:gd name="connsiteY2113" fmla="*/ 1321208 h 1786050"/>
              <a:gd name="connsiteX2114" fmla="*/ 3860835 w 4664922"/>
              <a:gd name="connsiteY2114" fmla="*/ 1321787 h 1786050"/>
              <a:gd name="connsiteX2115" fmla="*/ 3867314 w 4664922"/>
              <a:gd name="connsiteY2115" fmla="*/ 1322365 h 1786050"/>
              <a:gd name="connsiteX2116" fmla="*/ 3878189 w 4664922"/>
              <a:gd name="connsiteY2116" fmla="*/ 1318258 h 1786050"/>
              <a:gd name="connsiteX2117" fmla="*/ 3874602 w 4664922"/>
              <a:gd name="connsiteY2117" fmla="*/ 1294484 h 1786050"/>
              <a:gd name="connsiteX2118" fmla="*/ 3873214 w 4664922"/>
              <a:gd name="connsiteY2118" fmla="*/ 1292691 h 1786050"/>
              <a:gd name="connsiteX2119" fmla="*/ 3873214 w 4664922"/>
              <a:gd name="connsiteY2119" fmla="*/ 1283956 h 1786050"/>
              <a:gd name="connsiteX2120" fmla="*/ 3892997 w 4664922"/>
              <a:gd name="connsiteY2120" fmla="*/ 1257811 h 1786050"/>
              <a:gd name="connsiteX2121" fmla="*/ 3896468 w 4664922"/>
              <a:gd name="connsiteY2121" fmla="*/ 1257290 h 1786050"/>
              <a:gd name="connsiteX2122" fmla="*/ 3902715 w 4664922"/>
              <a:gd name="connsiteY2122" fmla="*/ 1258505 h 1786050"/>
              <a:gd name="connsiteX2123" fmla="*/ 3907516 w 4664922"/>
              <a:gd name="connsiteY2123" fmla="*/ 1259546 h 1786050"/>
              <a:gd name="connsiteX2124" fmla="*/ 3913301 w 4664922"/>
              <a:gd name="connsiteY2124" fmla="*/ 1256827 h 1786050"/>
              <a:gd name="connsiteX2125" fmla="*/ 3914805 w 4664922"/>
              <a:gd name="connsiteY2125" fmla="*/ 1250580 h 1786050"/>
              <a:gd name="connsiteX2126" fmla="*/ 3901326 w 4664922"/>
              <a:gd name="connsiteY2126" fmla="*/ 1240631 h 1786050"/>
              <a:gd name="connsiteX2127" fmla="*/ 3900864 w 4664922"/>
              <a:gd name="connsiteY2127" fmla="*/ 1240631 h 1786050"/>
              <a:gd name="connsiteX2128" fmla="*/ 3896583 w 4664922"/>
              <a:gd name="connsiteY2128" fmla="*/ 1236466 h 1786050"/>
              <a:gd name="connsiteX2129" fmla="*/ 3906128 w 4664922"/>
              <a:gd name="connsiteY2129" fmla="*/ 1207891 h 1786050"/>
              <a:gd name="connsiteX2130" fmla="*/ 3913705 w 4664922"/>
              <a:gd name="connsiteY2130" fmla="*/ 1199272 h 1786050"/>
              <a:gd name="connsiteX2131" fmla="*/ 3905665 w 4664922"/>
              <a:gd name="connsiteY2131" fmla="*/ 1195397 h 1786050"/>
              <a:gd name="connsiteX2132" fmla="*/ 3899880 w 4664922"/>
              <a:gd name="connsiteY2132" fmla="*/ 1194529 h 1786050"/>
              <a:gd name="connsiteX2133" fmla="*/ 3894617 w 4664922"/>
              <a:gd name="connsiteY2133" fmla="*/ 1195455 h 1786050"/>
              <a:gd name="connsiteX2134" fmla="*/ 3888427 w 4664922"/>
              <a:gd name="connsiteY2134" fmla="*/ 1196612 h 1786050"/>
              <a:gd name="connsiteX2135" fmla="*/ 3888080 w 4664922"/>
              <a:gd name="connsiteY2135" fmla="*/ 1196612 h 1786050"/>
              <a:gd name="connsiteX2136" fmla="*/ 3880503 w 4664922"/>
              <a:gd name="connsiteY2136" fmla="*/ 1190827 h 1786050"/>
              <a:gd name="connsiteX2137" fmla="*/ 3884205 w 4664922"/>
              <a:gd name="connsiteY2137" fmla="*/ 1166533 h 1786050"/>
              <a:gd name="connsiteX2138" fmla="*/ 3897914 w 4664922"/>
              <a:gd name="connsiteY2138" fmla="*/ 1154038 h 1786050"/>
              <a:gd name="connsiteX2139" fmla="*/ 3906995 w 4664922"/>
              <a:gd name="connsiteY2139" fmla="*/ 1142469 h 1786050"/>
              <a:gd name="connsiteX2140" fmla="*/ 3923018 w 4664922"/>
              <a:gd name="connsiteY2140" fmla="*/ 1114473 h 1786050"/>
              <a:gd name="connsiteX2141" fmla="*/ 3927762 w 4664922"/>
              <a:gd name="connsiteY2141" fmla="*/ 1107821 h 1786050"/>
              <a:gd name="connsiteX2142" fmla="*/ 3935570 w 4664922"/>
              <a:gd name="connsiteY2142" fmla="*/ 1104523 h 1786050"/>
              <a:gd name="connsiteX2143" fmla="*/ 3944073 w 4664922"/>
              <a:gd name="connsiteY2143" fmla="*/ 1105449 h 1786050"/>
              <a:gd name="connsiteX2144" fmla="*/ 3952288 w 4664922"/>
              <a:gd name="connsiteY2144" fmla="*/ 1106085 h 1786050"/>
              <a:gd name="connsiteX2145" fmla="*/ 3953328 w 4664922"/>
              <a:gd name="connsiteY2145" fmla="*/ 1106085 h 1786050"/>
              <a:gd name="connsiteX2146" fmla="*/ 3958014 w 4664922"/>
              <a:gd name="connsiteY2146" fmla="*/ 1110308 h 1786050"/>
              <a:gd name="connsiteX2147" fmla="*/ 3959865 w 4664922"/>
              <a:gd name="connsiteY2147" fmla="*/ 1112680 h 1786050"/>
              <a:gd name="connsiteX2148" fmla="*/ 3962294 w 4664922"/>
              <a:gd name="connsiteY2148" fmla="*/ 1111291 h 1786050"/>
              <a:gd name="connsiteX2149" fmla="*/ 3969987 w 4664922"/>
              <a:gd name="connsiteY2149" fmla="*/ 1102267 h 1786050"/>
              <a:gd name="connsiteX2150" fmla="*/ 3990522 w 4664922"/>
              <a:gd name="connsiteY2150" fmla="*/ 1084914 h 1786050"/>
              <a:gd name="connsiteX2151" fmla="*/ 3995035 w 4664922"/>
              <a:gd name="connsiteY2151" fmla="*/ 1086650 h 1786050"/>
              <a:gd name="connsiteX2152" fmla="*/ 3996827 w 4664922"/>
              <a:gd name="connsiteY2152" fmla="*/ 1098970 h 1786050"/>
              <a:gd name="connsiteX2153" fmla="*/ 3999835 w 4664922"/>
              <a:gd name="connsiteY2153" fmla="*/ 1109035 h 1786050"/>
              <a:gd name="connsiteX2154" fmla="*/ 4001224 w 4664922"/>
              <a:gd name="connsiteY2154" fmla="*/ 1111407 h 1786050"/>
              <a:gd name="connsiteX2155" fmla="*/ 4008280 w 4664922"/>
              <a:gd name="connsiteY2155" fmla="*/ 1106143 h 1786050"/>
              <a:gd name="connsiteX2156" fmla="*/ 4023493 w 4664922"/>
              <a:gd name="connsiteY2156" fmla="*/ 1093880 h 1786050"/>
              <a:gd name="connsiteX2157" fmla="*/ 4065258 w 4664922"/>
              <a:gd name="connsiteY2157" fmla="*/ 1084278 h 1786050"/>
              <a:gd name="connsiteX2158" fmla="*/ 4092907 w 4664922"/>
              <a:gd name="connsiteY2158" fmla="*/ 1088558 h 1786050"/>
              <a:gd name="connsiteX2159" fmla="*/ 4105401 w 4664922"/>
              <a:gd name="connsiteY2159" fmla="*/ 1100127 h 1786050"/>
              <a:gd name="connsiteX2160" fmla="*/ 4112342 w 4664922"/>
              <a:gd name="connsiteY2160" fmla="*/ 1105912 h 1786050"/>
              <a:gd name="connsiteX2161" fmla="*/ 4117202 w 4664922"/>
              <a:gd name="connsiteY2161" fmla="*/ 1098913 h 1786050"/>
              <a:gd name="connsiteX2162" fmla="*/ 4123564 w 4664922"/>
              <a:gd name="connsiteY2162" fmla="*/ 1089773 h 1786050"/>
              <a:gd name="connsiteX2163" fmla="*/ 4162841 w 4664922"/>
              <a:gd name="connsiteY2163" fmla="*/ 1067677 h 1786050"/>
              <a:gd name="connsiteX2164" fmla="*/ 4173252 w 4664922"/>
              <a:gd name="connsiteY2164" fmla="*/ 1061892 h 1786050"/>
              <a:gd name="connsiteX2165" fmla="*/ 4179037 w 4664922"/>
              <a:gd name="connsiteY2165" fmla="*/ 1056975 h 1786050"/>
              <a:gd name="connsiteX2166" fmla="*/ 4189796 w 4664922"/>
              <a:gd name="connsiteY2166" fmla="*/ 1050150 h 1786050"/>
              <a:gd name="connsiteX2167" fmla="*/ 4194597 w 4664922"/>
              <a:gd name="connsiteY2167" fmla="*/ 1046853 h 1786050"/>
              <a:gd name="connsiteX2168" fmla="*/ 4241509 w 4664922"/>
              <a:gd name="connsiteY2168" fmla="*/ 1025508 h 1786050"/>
              <a:gd name="connsiteX2169" fmla="*/ 4297386 w 4664922"/>
              <a:gd name="connsiteY2169" fmla="*/ 999825 h 1786050"/>
              <a:gd name="connsiteX2170" fmla="*/ 4297386 w 4664922"/>
              <a:gd name="connsiteY2170" fmla="*/ 999073 h 1786050"/>
              <a:gd name="connsiteX2171" fmla="*/ 4298023 w 4664922"/>
              <a:gd name="connsiteY2171" fmla="*/ 995140 h 1786050"/>
              <a:gd name="connsiteX2172" fmla="*/ 4304675 w 4664922"/>
              <a:gd name="connsiteY2172" fmla="*/ 992248 h 1786050"/>
              <a:gd name="connsiteX2173" fmla="*/ 4310459 w 4664922"/>
              <a:gd name="connsiteY2173" fmla="*/ 996065 h 1786050"/>
              <a:gd name="connsiteX2174" fmla="*/ 4320987 w 4664922"/>
              <a:gd name="connsiteY2174" fmla="*/ 999536 h 1786050"/>
              <a:gd name="connsiteX2175" fmla="*/ 4333828 w 4664922"/>
              <a:gd name="connsiteY2175" fmla="*/ 1001271 h 1786050"/>
              <a:gd name="connsiteX2176" fmla="*/ 4341406 w 4664922"/>
              <a:gd name="connsiteY2176" fmla="*/ 1003238 h 1786050"/>
              <a:gd name="connsiteX2177" fmla="*/ 4350950 w 4664922"/>
              <a:gd name="connsiteY2177" fmla="*/ 1005089 h 1786050"/>
              <a:gd name="connsiteX2178" fmla="*/ 4362519 w 4664922"/>
              <a:gd name="connsiteY2178" fmla="*/ 999305 h 1786050"/>
              <a:gd name="connsiteX2179" fmla="*/ 4364197 w 4664922"/>
              <a:gd name="connsiteY2179" fmla="*/ 986001 h 1786050"/>
              <a:gd name="connsiteX2180" fmla="*/ 4361362 w 4664922"/>
              <a:gd name="connsiteY2180" fmla="*/ 977844 h 1786050"/>
              <a:gd name="connsiteX2181" fmla="*/ 4353900 w 4664922"/>
              <a:gd name="connsiteY2181" fmla="*/ 967085 h 1786050"/>
              <a:gd name="connsiteX2182" fmla="*/ 4345687 w 4664922"/>
              <a:gd name="connsiteY2182" fmla="*/ 952509 h 1786050"/>
              <a:gd name="connsiteX2183" fmla="*/ 4338398 w 4664922"/>
              <a:gd name="connsiteY2183" fmla="*/ 934056 h 1786050"/>
              <a:gd name="connsiteX2184" fmla="*/ 4329722 w 4664922"/>
              <a:gd name="connsiteY2184" fmla="*/ 926710 h 1786050"/>
              <a:gd name="connsiteX2185" fmla="*/ 4328970 w 4664922"/>
              <a:gd name="connsiteY2185" fmla="*/ 926999 h 1786050"/>
              <a:gd name="connsiteX2186" fmla="*/ 4315549 w 4664922"/>
              <a:gd name="connsiteY2186" fmla="*/ 924570 h 1786050"/>
              <a:gd name="connsiteX2187" fmla="*/ 4310864 w 4664922"/>
              <a:gd name="connsiteY2187" fmla="*/ 916067 h 1786050"/>
              <a:gd name="connsiteX2188" fmla="*/ 4307683 w 4664922"/>
              <a:gd name="connsiteY2188" fmla="*/ 906407 h 1786050"/>
              <a:gd name="connsiteX2189" fmla="*/ 4304154 w 4664922"/>
              <a:gd name="connsiteY2189" fmla="*/ 907737 h 1786050"/>
              <a:gd name="connsiteX2190" fmla="*/ 4294147 w 4664922"/>
              <a:gd name="connsiteY2190" fmla="*/ 910456 h 1786050"/>
              <a:gd name="connsiteX2191" fmla="*/ 4279455 w 4664922"/>
              <a:gd name="connsiteY2191" fmla="*/ 902300 h 1786050"/>
              <a:gd name="connsiteX2192" fmla="*/ 4280322 w 4664922"/>
              <a:gd name="connsiteY2192" fmla="*/ 897267 h 1786050"/>
              <a:gd name="connsiteX2193" fmla="*/ 4297155 w 4664922"/>
              <a:gd name="connsiteY2193" fmla="*/ 891483 h 1786050"/>
              <a:gd name="connsiteX2194" fmla="*/ 4308030 w 4664922"/>
              <a:gd name="connsiteY2194" fmla="*/ 893392 h 1786050"/>
              <a:gd name="connsiteX2195" fmla="*/ 4318905 w 4664922"/>
              <a:gd name="connsiteY2195" fmla="*/ 902415 h 1786050"/>
              <a:gd name="connsiteX2196" fmla="*/ 4322722 w 4664922"/>
              <a:gd name="connsiteY2196" fmla="*/ 906812 h 1786050"/>
              <a:gd name="connsiteX2197" fmla="*/ 4332845 w 4664922"/>
              <a:gd name="connsiteY2197" fmla="*/ 908663 h 1786050"/>
              <a:gd name="connsiteX2198" fmla="*/ 4352743 w 4664922"/>
              <a:gd name="connsiteY2198" fmla="*/ 904787 h 1786050"/>
              <a:gd name="connsiteX2199" fmla="*/ 4361998 w 4664922"/>
              <a:gd name="connsiteY2199" fmla="*/ 900854 h 1786050"/>
              <a:gd name="connsiteX2200" fmla="*/ 4388607 w 4664922"/>
              <a:gd name="connsiteY2200" fmla="*/ 886624 h 1786050"/>
              <a:gd name="connsiteX2201" fmla="*/ 4390574 w 4664922"/>
              <a:gd name="connsiteY2201" fmla="*/ 880377 h 1786050"/>
              <a:gd name="connsiteX2202" fmla="*/ 4396763 w 4664922"/>
              <a:gd name="connsiteY2202" fmla="*/ 872047 h 1786050"/>
              <a:gd name="connsiteX2203" fmla="*/ 4400003 w 4664922"/>
              <a:gd name="connsiteY2203" fmla="*/ 867825 h 1786050"/>
              <a:gd name="connsiteX2204" fmla="*/ 4391904 w 4664922"/>
              <a:gd name="connsiteY2204" fmla="*/ 857875 h 1786050"/>
              <a:gd name="connsiteX2205" fmla="*/ 4387161 w 4664922"/>
              <a:gd name="connsiteY2205" fmla="*/ 847984 h 1786050"/>
              <a:gd name="connsiteX2206" fmla="*/ 4394391 w 4664922"/>
              <a:gd name="connsiteY2206" fmla="*/ 842200 h 1786050"/>
              <a:gd name="connsiteX2207" fmla="*/ 4399655 w 4664922"/>
              <a:gd name="connsiteY2207" fmla="*/ 837861 h 1786050"/>
              <a:gd name="connsiteX2208" fmla="*/ 4404398 w 4664922"/>
              <a:gd name="connsiteY2208" fmla="*/ 833349 h 1786050"/>
              <a:gd name="connsiteX2209" fmla="*/ 4408910 w 4664922"/>
              <a:gd name="connsiteY2209" fmla="*/ 833986 h 1786050"/>
              <a:gd name="connsiteX2210" fmla="*/ 4418570 w 4664922"/>
              <a:gd name="connsiteY2210" fmla="*/ 832597 h 1786050"/>
              <a:gd name="connsiteX2211" fmla="*/ 4422041 w 4664922"/>
              <a:gd name="connsiteY2211" fmla="*/ 831498 h 1786050"/>
              <a:gd name="connsiteX2212" fmla="*/ 4423834 w 4664922"/>
              <a:gd name="connsiteY2212" fmla="*/ 832424 h 1786050"/>
              <a:gd name="connsiteX2213" fmla="*/ 4419554 w 4664922"/>
              <a:gd name="connsiteY2213" fmla="*/ 843299 h 1786050"/>
              <a:gd name="connsiteX2214" fmla="*/ 4416430 w 4664922"/>
              <a:gd name="connsiteY2214" fmla="*/ 848736 h 1786050"/>
              <a:gd name="connsiteX2215" fmla="*/ 4421751 w 4664922"/>
              <a:gd name="connsiteY2215" fmla="*/ 860652 h 1786050"/>
              <a:gd name="connsiteX2216" fmla="*/ 4426205 w 4664922"/>
              <a:gd name="connsiteY2216" fmla="*/ 866436 h 1786050"/>
              <a:gd name="connsiteX2217" fmla="*/ 4438180 w 4664922"/>
              <a:gd name="connsiteY2217" fmla="*/ 869676 h 1786050"/>
              <a:gd name="connsiteX2218" fmla="*/ 4452872 w 4664922"/>
              <a:gd name="connsiteY2218" fmla="*/ 866494 h 1786050"/>
              <a:gd name="connsiteX2219" fmla="*/ 4460102 w 4664922"/>
              <a:gd name="connsiteY2219" fmla="*/ 865048 h 1786050"/>
              <a:gd name="connsiteX2220" fmla="*/ 4497296 w 4664922"/>
              <a:gd name="connsiteY2220" fmla="*/ 881360 h 1786050"/>
              <a:gd name="connsiteX2221" fmla="*/ 4516096 w 4664922"/>
              <a:gd name="connsiteY2221" fmla="*/ 904093 h 1786050"/>
              <a:gd name="connsiteX2222" fmla="*/ 4532119 w 4664922"/>
              <a:gd name="connsiteY2222" fmla="*/ 908778 h 1786050"/>
              <a:gd name="connsiteX2223" fmla="*/ 4543688 w 4664922"/>
              <a:gd name="connsiteY2223" fmla="*/ 914563 h 1786050"/>
              <a:gd name="connsiteX2224" fmla="*/ 4553637 w 4664922"/>
              <a:gd name="connsiteY2224" fmla="*/ 921909 h 1786050"/>
              <a:gd name="connsiteX2225" fmla="*/ 4556934 w 4664922"/>
              <a:gd name="connsiteY2225" fmla="*/ 921562 h 1786050"/>
              <a:gd name="connsiteX2226" fmla="*/ 4559189 w 4664922"/>
              <a:gd name="connsiteY2226" fmla="*/ 921562 h 1786050"/>
              <a:gd name="connsiteX2227" fmla="*/ 4566015 w 4664922"/>
              <a:gd name="connsiteY2227" fmla="*/ 923529 h 1786050"/>
              <a:gd name="connsiteX2228" fmla="*/ 4572956 w 4664922"/>
              <a:gd name="connsiteY2228" fmla="*/ 923529 h 1786050"/>
              <a:gd name="connsiteX2229" fmla="*/ 4577584 w 4664922"/>
              <a:gd name="connsiteY2229" fmla="*/ 921562 h 1786050"/>
              <a:gd name="connsiteX2230" fmla="*/ 4580476 w 4664922"/>
              <a:gd name="connsiteY2230" fmla="*/ 922025 h 1786050"/>
              <a:gd name="connsiteX2231" fmla="*/ 4583195 w 4664922"/>
              <a:gd name="connsiteY2231" fmla="*/ 922487 h 1786050"/>
              <a:gd name="connsiteX2232" fmla="*/ 4587939 w 4664922"/>
              <a:gd name="connsiteY2232" fmla="*/ 920289 h 1786050"/>
              <a:gd name="connsiteX2233" fmla="*/ 4588864 w 4664922"/>
              <a:gd name="connsiteY2233" fmla="*/ 918670 h 1786050"/>
              <a:gd name="connsiteX2234" fmla="*/ 4582269 w 4664922"/>
              <a:gd name="connsiteY2234" fmla="*/ 913464 h 1786050"/>
              <a:gd name="connsiteX2235" fmla="*/ 4575270 w 4664922"/>
              <a:gd name="connsiteY2235" fmla="*/ 907679 h 1786050"/>
              <a:gd name="connsiteX2236" fmla="*/ 4575618 w 4664922"/>
              <a:gd name="connsiteY2236" fmla="*/ 905481 h 1786050"/>
              <a:gd name="connsiteX2237" fmla="*/ 4578683 w 4664922"/>
              <a:gd name="connsiteY2237" fmla="*/ 903399 h 1786050"/>
              <a:gd name="connsiteX2238" fmla="*/ 4583311 w 4664922"/>
              <a:gd name="connsiteY2238" fmla="*/ 905539 h 1786050"/>
              <a:gd name="connsiteX2239" fmla="*/ 4589443 w 4664922"/>
              <a:gd name="connsiteY2239" fmla="*/ 908142 h 1786050"/>
              <a:gd name="connsiteX2240" fmla="*/ 4589789 w 4664922"/>
              <a:gd name="connsiteY2240" fmla="*/ 908142 h 1786050"/>
              <a:gd name="connsiteX2241" fmla="*/ 4590889 w 4664922"/>
              <a:gd name="connsiteY2241" fmla="*/ 907737 h 1786050"/>
              <a:gd name="connsiteX2242" fmla="*/ 4590889 w 4664922"/>
              <a:gd name="connsiteY2242" fmla="*/ 902473 h 1786050"/>
              <a:gd name="connsiteX2243" fmla="*/ 4592624 w 4664922"/>
              <a:gd name="connsiteY2243" fmla="*/ 894838 h 1786050"/>
              <a:gd name="connsiteX2244" fmla="*/ 4593838 w 4664922"/>
              <a:gd name="connsiteY2244" fmla="*/ 890210 h 1786050"/>
              <a:gd name="connsiteX2245" fmla="*/ 4588575 w 4664922"/>
              <a:gd name="connsiteY2245" fmla="*/ 869965 h 1786050"/>
              <a:gd name="connsiteX2246" fmla="*/ 4585798 w 4664922"/>
              <a:gd name="connsiteY2246" fmla="*/ 865684 h 1786050"/>
              <a:gd name="connsiteX2247" fmla="*/ 4590889 w 4664922"/>
              <a:gd name="connsiteY2247" fmla="*/ 861867 h 1786050"/>
              <a:gd name="connsiteX2248" fmla="*/ 4598061 w 4664922"/>
              <a:gd name="connsiteY2248" fmla="*/ 864759 h 1786050"/>
              <a:gd name="connsiteX2249" fmla="*/ 4625652 w 4664922"/>
              <a:gd name="connsiteY2249" fmla="*/ 871006 h 1786050"/>
              <a:gd name="connsiteX2250" fmla="*/ 4628082 w 4664922"/>
              <a:gd name="connsiteY2250" fmla="*/ 871006 h 1786050"/>
              <a:gd name="connsiteX2251" fmla="*/ 4629934 w 4664922"/>
              <a:gd name="connsiteY2251" fmla="*/ 871006 h 1786050"/>
              <a:gd name="connsiteX2252" fmla="*/ 4621430 w 4664922"/>
              <a:gd name="connsiteY2252" fmla="*/ 865916 h 1786050"/>
              <a:gd name="connsiteX2253" fmla="*/ 4617844 w 4664922"/>
              <a:gd name="connsiteY2253" fmla="*/ 862908 h 1786050"/>
              <a:gd name="connsiteX2254" fmla="*/ 4623628 w 4664922"/>
              <a:gd name="connsiteY2254" fmla="*/ 859553 h 1786050"/>
              <a:gd name="connsiteX2255" fmla="*/ 4628718 w 4664922"/>
              <a:gd name="connsiteY2255" fmla="*/ 861520 h 1786050"/>
              <a:gd name="connsiteX2256" fmla="*/ 4638610 w 4664922"/>
              <a:gd name="connsiteY2256" fmla="*/ 865684 h 1786050"/>
              <a:gd name="connsiteX2257" fmla="*/ 4641791 w 4664922"/>
              <a:gd name="connsiteY2257" fmla="*/ 863776 h 1786050"/>
              <a:gd name="connsiteX2258" fmla="*/ 4656542 w 4664922"/>
              <a:gd name="connsiteY2258" fmla="*/ 847926 h 1786050"/>
              <a:gd name="connsiteX2259" fmla="*/ 4658046 w 4664922"/>
              <a:gd name="connsiteY2259" fmla="*/ 847926 h 1786050"/>
              <a:gd name="connsiteX2260" fmla="*/ 4663830 w 4664922"/>
              <a:gd name="connsiteY2260" fmla="*/ 845902 h 1786050"/>
              <a:gd name="connsiteX2261" fmla="*/ 4659781 w 4664922"/>
              <a:gd name="connsiteY2261" fmla="*/ 842836 h 1786050"/>
              <a:gd name="connsiteX2262" fmla="*/ 4618827 w 4664922"/>
              <a:gd name="connsiteY2262" fmla="*/ 813914 h 1786050"/>
              <a:gd name="connsiteX2263" fmla="*/ 4588285 w 4664922"/>
              <a:gd name="connsiteY2263" fmla="*/ 803560 h 1786050"/>
              <a:gd name="connsiteX2264" fmla="*/ 4583369 w 4664922"/>
              <a:gd name="connsiteY2264" fmla="*/ 804427 h 1786050"/>
              <a:gd name="connsiteX2265" fmla="*/ 4580939 w 4664922"/>
              <a:gd name="connsiteY2265" fmla="*/ 807314 h 1786050"/>
              <a:gd name="connsiteX2266" fmla="*/ 4580534 w 4664922"/>
              <a:gd name="connsiteY2266" fmla="*/ 807319 h 1786050"/>
              <a:gd name="connsiteX2267" fmla="*/ 4568965 w 4664922"/>
              <a:gd name="connsiteY2267" fmla="*/ 798411 h 1786050"/>
              <a:gd name="connsiteX2268" fmla="*/ 4549934 w 4664922"/>
              <a:gd name="connsiteY2268" fmla="*/ 794767 h 1786050"/>
              <a:gd name="connsiteX2269" fmla="*/ 4535589 w 4664922"/>
              <a:gd name="connsiteY2269" fmla="*/ 797602 h 1786050"/>
              <a:gd name="connsiteX2270" fmla="*/ 4540332 w 4664922"/>
              <a:gd name="connsiteY2270" fmla="*/ 803386 h 1786050"/>
              <a:gd name="connsiteX2271" fmla="*/ 4547852 w 4664922"/>
              <a:gd name="connsiteY2271" fmla="*/ 809633 h 1786050"/>
              <a:gd name="connsiteX2272" fmla="*/ 4546464 w 4664922"/>
              <a:gd name="connsiteY2272" fmla="*/ 819756 h 1786050"/>
              <a:gd name="connsiteX2273" fmla="*/ 4543976 w 4664922"/>
              <a:gd name="connsiteY2273" fmla="*/ 827276 h 1786050"/>
              <a:gd name="connsiteX2274" fmla="*/ 4543976 w 4664922"/>
              <a:gd name="connsiteY2274" fmla="*/ 830342 h 1786050"/>
              <a:gd name="connsiteX2275" fmla="*/ 4542126 w 4664922"/>
              <a:gd name="connsiteY2275" fmla="*/ 831209 h 1786050"/>
              <a:gd name="connsiteX2276" fmla="*/ 4524772 w 4664922"/>
              <a:gd name="connsiteY2276" fmla="*/ 820855 h 1786050"/>
              <a:gd name="connsiteX2277" fmla="*/ 4523095 w 4664922"/>
              <a:gd name="connsiteY2277" fmla="*/ 791933 h 1786050"/>
              <a:gd name="connsiteX2278" fmla="*/ 4519046 w 4664922"/>
              <a:gd name="connsiteY2278" fmla="*/ 785628 h 1786050"/>
              <a:gd name="connsiteX2279" fmla="*/ 4512625 w 4664922"/>
              <a:gd name="connsiteY2279" fmla="*/ 777819 h 1786050"/>
              <a:gd name="connsiteX2280" fmla="*/ 4460565 w 4664922"/>
              <a:gd name="connsiteY2280" fmla="*/ 747566 h 1786050"/>
              <a:gd name="connsiteX2281" fmla="*/ 4448996 w 4664922"/>
              <a:gd name="connsiteY2281" fmla="*/ 743055 h 1786050"/>
              <a:gd name="connsiteX2282" fmla="*/ 4419438 w 4664922"/>
              <a:gd name="connsiteY2282" fmla="*/ 726916 h 1786050"/>
              <a:gd name="connsiteX2283" fmla="*/ 4401680 w 4664922"/>
              <a:gd name="connsiteY2283" fmla="*/ 718933 h 1786050"/>
              <a:gd name="connsiteX2284" fmla="*/ 4376402 w 4664922"/>
              <a:gd name="connsiteY2284" fmla="*/ 707365 h 1786050"/>
              <a:gd name="connsiteX2285" fmla="*/ 4300799 w 4664922"/>
              <a:gd name="connsiteY2285" fmla="*/ 676187 h 1786050"/>
              <a:gd name="connsiteX2286" fmla="*/ 4282752 w 4664922"/>
              <a:gd name="connsiteY2286" fmla="*/ 668493 h 1786050"/>
              <a:gd name="connsiteX2287" fmla="*/ 4275984 w 4664922"/>
              <a:gd name="connsiteY2287" fmla="*/ 665659 h 1786050"/>
              <a:gd name="connsiteX2288" fmla="*/ 4263259 w 4664922"/>
              <a:gd name="connsiteY2288" fmla="*/ 666237 h 1786050"/>
              <a:gd name="connsiteX2289" fmla="*/ 4211199 w 4664922"/>
              <a:gd name="connsiteY2289" fmla="*/ 663229 h 1786050"/>
              <a:gd name="connsiteX2290" fmla="*/ 4207959 w 4664922"/>
              <a:gd name="connsiteY2290" fmla="*/ 663229 h 1786050"/>
              <a:gd name="connsiteX2291" fmla="*/ 4197952 w 4664922"/>
              <a:gd name="connsiteY2291" fmla="*/ 666006 h 1786050"/>
              <a:gd name="connsiteX2292" fmla="*/ 4190374 w 4664922"/>
              <a:gd name="connsiteY2292" fmla="*/ 668320 h 1786050"/>
              <a:gd name="connsiteX2293" fmla="*/ 4185863 w 4664922"/>
              <a:gd name="connsiteY2293" fmla="*/ 667452 h 1786050"/>
              <a:gd name="connsiteX2294" fmla="*/ 4128655 w 4664922"/>
              <a:gd name="connsiteY2294" fmla="*/ 651545 h 1786050"/>
              <a:gd name="connsiteX2295" fmla="*/ 4124143 w 4664922"/>
              <a:gd name="connsiteY2295" fmla="*/ 652586 h 1786050"/>
              <a:gd name="connsiteX2296" fmla="*/ 4120152 w 4664922"/>
              <a:gd name="connsiteY2296" fmla="*/ 661957 h 1786050"/>
              <a:gd name="connsiteX2297" fmla="*/ 4114772 w 4664922"/>
              <a:gd name="connsiteY2297" fmla="*/ 670286 h 1786050"/>
              <a:gd name="connsiteX2298" fmla="*/ 4113442 w 4664922"/>
              <a:gd name="connsiteY2298" fmla="*/ 671327 h 1786050"/>
              <a:gd name="connsiteX2299" fmla="*/ 4128539 w 4664922"/>
              <a:gd name="connsiteY2299" fmla="*/ 690185 h 1786050"/>
              <a:gd name="connsiteX2300" fmla="*/ 4135654 w 4664922"/>
              <a:gd name="connsiteY2300" fmla="*/ 704877 h 1786050"/>
              <a:gd name="connsiteX2301" fmla="*/ 4121308 w 4664922"/>
              <a:gd name="connsiteY2301" fmla="*/ 718702 h 1786050"/>
              <a:gd name="connsiteX2302" fmla="*/ 4113384 w 4664922"/>
              <a:gd name="connsiteY2302" fmla="*/ 720264 h 1786050"/>
              <a:gd name="connsiteX2303" fmla="*/ 4082379 w 4664922"/>
              <a:gd name="connsiteY2303" fmla="*/ 704183 h 1786050"/>
              <a:gd name="connsiteX2304" fmla="*/ 4070463 w 4664922"/>
              <a:gd name="connsiteY2304" fmla="*/ 697473 h 1786050"/>
              <a:gd name="connsiteX2305" fmla="*/ 4055597 w 4664922"/>
              <a:gd name="connsiteY2305" fmla="*/ 686541 h 1786050"/>
              <a:gd name="connsiteX2306" fmla="*/ 4055597 w 4664922"/>
              <a:gd name="connsiteY2306" fmla="*/ 676244 h 1786050"/>
              <a:gd name="connsiteX2307" fmla="*/ 4060630 w 4664922"/>
              <a:gd name="connsiteY2307" fmla="*/ 673873 h 1786050"/>
              <a:gd name="connsiteX2308" fmla="*/ 4070116 w 4664922"/>
              <a:gd name="connsiteY2308" fmla="*/ 678037 h 1786050"/>
              <a:gd name="connsiteX2309" fmla="*/ 4077347 w 4664922"/>
              <a:gd name="connsiteY2309" fmla="*/ 680814 h 1786050"/>
              <a:gd name="connsiteX2310" fmla="*/ 4088510 w 4664922"/>
              <a:gd name="connsiteY2310" fmla="*/ 671096 h 1786050"/>
              <a:gd name="connsiteX2311" fmla="*/ 4087064 w 4664922"/>
              <a:gd name="connsiteY2311" fmla="*/ 667278 h 1786050"/>
              <a:gd name="connsiteX2312" fmla="*/ 4055366 w 4664922"/>
              <a:gd name="connsiteY2312" fmla="*/ 658255 h 1786050"/>
              <a:gd name="connsiteX2313" fmla="*/ 4038012 w 4664922"/>
              <a:gd name="connsiteY2313" fmla="*/ 670633 h 1786050"/>
              <a:gd name="connsiteX2314" fmla="*/ 4023609 w 4664922"/>
              <a:gd name="connsiteY2314" fmla="*/ 683533 h 1786050"/>
              <a:gd name="connsiteX2315" fmla="*/ 4007702 w 4664922"/>
              <a:gd name="connsiteY2315" fmla="*/ 686251 h 1786050"/>
              <a:gd name="connsiteX2316" fmla="*/ 3954022 w 4664922"/>
              <a:gd name="connsiteY2316" fmla="*/ 675724 h 1786050"/>
              <a:gd name="connsiteX2317" fmla="*/ 3936669 w 4664922"/>
              <a:gd name="connsiteY2317" fmla="*/ 673988 h 1786050"/>
              <a:gd name="connsiteX2318" fmla="*/ 3873040 w 4664922"/>
              <a:gd name="connsiteY2318" fmla="*/ 680641 h 1786050"/>
              <a:gd name="connsiteX2319" fmla="*/ 3869338 w 4664922"/>
              <a:gd name="connsiteY2319" fmla="*/ 696432 h 1786050"/>
              <a:gd name="connsiteX2320" fmla="*/ 3867256 w 4664922"/>
              <a:gd name="connsiteY2320" fmla="*/ 706208 h 1786050"/>
              <a:gd name="connsiteX2321" fmla="*/ 3866389 w 4664922"/>
              <a:gd name="connsiteY2321" fmla="*/ 706208 h 1786050"/>
              <a:gd name="connsiteX2322" fmla="*/ 3860604 w 4664922"/>
              <a:gd name="connsiteY2322" fmla="*/ 693771 h 1786050"/>
              <a:gd name="connsiteX2323" fmla="*/ 3858406 w 4664922"/>
              <a:gd name="connsiteY2323" fmla="*/ 678732 h 1786050"/>
              <a:gd name="connsiteX2324" fmla="*/ 3838565 w 4664922"/>
              <a:gd name="connsiteY2324" fmla="*/ 672253 h 1786050"/>
              <a:gd name="connsiteX2325" fmla="*/ 3821212 w 4664922"/>
              <a:gd name="connsiteY2325" fmla="*/ 669187 h 1786050"/>
              <a:gd name="connsiteX2326" fmla="*/ 3823121 w 4664922"/>
              <a:gd name="connsiteY2326" fmla="*/ 664618 h 1786050"/>
              <a:gd name="connsiteX2327" fmla="*/ 3823873 w 4664922"/>
              <a:gd name="connsiteY2327" fmla="*/ 658833 h 1786050"/>
              <a:gd name="connsiteX2328" fmla="*/ 3828096 w 4664922"/>
              <a:gd name="connsiteY2328" fmla="*/ 647264 h 1786050"/>
              <a:gd name="connsiteX2329" fmla="*/ 3829542 w 4664922"/>
              <a:gd name="connsiteY2329" fmla="*/ 643967 h 1786050"/>
              <a:gd name="connsiteX2330" fmla="*/ 3783903 w 4664922"/>
              <a:gd name="connsiteY2330" fmla="*/ 610475 h 1786050"/>
              <a:gd name="connsiteX2331" fmla="*/ 3740404 w 4664922"/>
              <a:gd name="connsiteY2331" fmla="*/ 604691 h 1786050"/>
              <a:gd name="connsiteX2332" fmla="*/ 3681229 w 4664922"/>
              <a:gd name="connsiteY2332" fmla="*/ 610822 h 1786050"/>
              <a:gd name="connsiteX2333" fmla="*/ 3637094 w 4664922"/>
              <a:gd name="connsiteY2333" fmla="*/ 614467 h 1786050"/>
              <a:gd name="connsiteX2334" fmla="*/ 3617195 w 4664922"/>
              <a:gd name="connsiteY2334" fmla="*/ 614467 h 1786050"/>
              <a:gd name="connsiteX2335" fmla="*/ 3608634 w 4664922"/>
              <a:gd name="connsiteY2335" fmla="*/ 612558 h 1786050"/>
              <a:gd name="connsiteX2336" fmla="*/ 3608634 w 4664922"/>
              <a:gd name="connsiteY2336" fmla="*/ 607699 h 1786050"/>
              <a:gd name="connsiteX2337" fmla="*/ 3608634 w 4664922"/>
              <a:gd name="connsiteY2337" fmla="*/ 600642 h 1786050"/>
              <a:gd name="connsiteX2338" fmla="*/ 3580927 w 4664922"/>
              <a:gd name="connsiteY2338" fmla="*/ 589073 h 1786050"/>
              <a:gd name="connsiteX2339" fmla="*/ 3576184 w 4664922"/>
              <a:gd name="connsiteY2339" fmla="*/ 590519 h 1786050"/>
              <a:gd name="connsiteX2340" fmla="*/ 3571325 w 4664922"/>
              <a:gd name="connsiteY2340" fmla="*/ 593643 h 1786050"/>
              <a:gd name="connsiteX2341" fmla="*/ 3566003 w 4664922"/>
              <a:gd name="connsiteY2341" fmla="*/ 590924 h 1786050"/>
              <a:gd name="connsiteX2342" fmla="*/ 3563631 w 4664922"/>
              <a:gd name="connsiteY2342" fmla="*/ 585487 h 1786050"/>
              <a:gd name="connsiteX2343" fmla="*/ 3533668 w 4664922"/>
              <a:gd name="connsiteY2343" fmla="*/ 575017 h 1786050"/>
              <a:gd name="connsiteX2344" fmla="*/ 3530660 w 4664922"/>
              <a:gd name="connsiteY2344" fmla="*/ 575017 h 1786050"/>
              <a:gd name="connsiteX2345" fmla="*/ 3520480 w 4664922"/>
              <a:gd name="connsiteY2345" fmla="*/ 571488 h 1786050"/>
              <a:gd name="connsiteX2346" fmla="*/ 3520480 w 4664922"/>
              <a:gd name="connsiteY2346" fmla="*/ 566861 h 1786050"/>
              <a:gd name="connsiteX2347" fmla="*/ 3527768 w 4664922"/>
              <a:gd name="connsiteY2347" fmla="*/ 563911 h 1786050"/>
              <a:gd name="connsiteX2348" fmla="*/ 3532627 w 4664922"/>
              <a:gd name="connsiteY2348" fmla="*/ 563911 h 1786050"/>
              <a:gd name="connsiteX2349" fmla="*/ 3538411 w 4664922"/>
              <a:gd name="connsiteY2349" fmla="*/ 563911 h 1786050"/>
              <a:gd name="connsiteX2350" fmla="*/ 3550906 w 4664922"/>
              <a:gd name="connsiteY2350" fmla="*/ 561018 h 1786050"/>
              <a:gd name="connsiteX2351" fmla="*/ 3549286 w 4664922"/>
              <a:gd name="connsiteY2351" fmla="*/ 555234 h 1786050"/>
              <a:gd name="connsiteX2352" fmla="*/ 3471775 w 4664922"/>
              <a:gd name="connsiteY2352" fmla="*/ 540542 h 1786050"/>
              <a:gd name="connsiteX2353" fmla="*/ 3462636 w 4664922"/>
              <a:gd name="connsiteY2353" fmla="*/ 541120 h 1786050"/>
              <a:gd name="connsiteX2354" fmla="*/ 3459107 w 4664922"/>
              <a:gd name="connsiteY2354" fmla="*/ 546905 h 1786050"/>
              <a:gd name="connsiteX2355" fmla="*/ 3446844 w 4664922"/>
              <a:gd name="connsiteY2355" fmla="*/ 567497 h 1786050"/>
              <a:gd name="connsiteX2356" fmla="*/ 3429491 w 4664922"/>
              <a:gd name="connsiteY2356" fmla="*/ 575537 h 1786050"/>
              <a:gd name="connsiteX2357" fmla="*/ 3417575 w 4664922"/>
              <a:gd name="connsiteY2357" fmla="*/ 570331 h 1786050"/>
              <a:gd name="connsiteX2358" fmla="*/ 3416071 w 4664922"/>
              <a:gd name="connsiteY2358" fmla="*/ 563969 h 1786050"/>
              <a:gd name="connsiteX2359" fmla="*/ 3427987 w 4664922"/>
              <a:gd name="connsiteY2359" fmla="*/ 556622 h 1786050"/>
              <a:gd name="connsiteX2360" fmla="*/ 3437473 w 4664922"/>
              <a:gd name="connsiteY2360" fmla="*/ 550838 h 1786050"/>
              <a:gd name="connsiteX2361" fmla="*/ 3423359 w 4664922"/>
              <a:gd name="connsiteY2361" fmla="*/ 546731 h 1786050"/>
              <a:gd name="connsiteX2362" fmla="*/ 3406931 w 4664922"/>
              <a:gd name="connsiteY2362" fmla="*/ 542161 h 1786050"/>
              <a:gd name="connsiteX2363" fmla="*/ 3406353 w 4664922"/>
              <a:gd name="connsiteY2363" fmla="*/ 536377 h 1786050"/>
              <a:gd name="connsiteX2364" fmla="*/ 3416880 w 4664922"/>
              <a:gd name="connsiteY2364" fmla="*/ 531981 h 1786050"/>
              <a:gd name="connsiteX2365" fmla="*/ 3423533 w 4664922"/>
              <a:gd name="connsiteY2365" fmla="*/ 532964 h 1786050"/>
              <a:gd name="connsiteX2366" fmla="*/ 3442043 w 4664922"/>
              <a:gd name="connsiteY2366" fmla="*/ 535683 h 1786050"/>
              <a:gd name="connsiteX2367" fmla="*/ 3449563 w 4664922"/>
              <a:gd name="connsiteY2367" fmla="*/ 533890 h 1786050"/>
              <a:gd name="connsiteX2368" fmla="*/ 3449563 w 4664922"/>
              <a:gd name="connsiteY2368" fmla="*/ 532964 h 1786050"/>
              <a:gd name="connsiteX2369" fmla="*/ 3432209 w 4664922"/>
              <a:gd name="connsiteY2369" fmla="*/ 528394 h 1786050"/>
              <a:gd name="connsiteX2370" fmla="*/ 3424401 w 4664922"/>
              <a:gd name="connsiteY2370" fmla="*/ 527064 h 1786050"/>
              <a:gd name="connsiteX2371" fmla="*/ 3412138 w 4664922"/>
              <a:gd name="connsiteY2371" fmla="*/ 524692 h 1786050"/>
              <a:gd name="connsiteX2372" fmla="*/ 3355161 w 4664922"/>
              <a:gd name="connsiteY2372" fmla="*/ 516710 h 1786050"/>
              <a:gd name="connsiteX2373" fmla="*/ 3348798 w 4664922"/>
              <a:gd name="connsiteY2373" fmla="*/ 516999 h 1786050"/>
              <a:gd name="connsiteX2374" fmla="*/ 3343013 w 4664922"/>
              <a:gd name="connsiteY2374" fmla="*/ 516999 h 1786050"/>
              <a:gd name="connsiteX2375" fmla="*/ 3319413 w 4664922"/>
              <a:gd name="connsiteY2375" fmla="*/ 511735 h 1786050"/>
              <a:gd name="connsiteX2376" fmla="*/ 3307266 w 4664922"/>
              <a:gd name="connsiteY2376" fmla="*/ 508207 h 1786050"/>
              <a:gd name="connsiteX2377" fmla="*/ 3305646 w 4664922"/>
              <a:gd name="connsiteY2377" fmla="*/ 508207 h 1786050"/>
              <a:gd name="connsiteX2378" fmla="*/ 3299341 w 4664922"/>
              <a:gd name="connsiteY2378" fmla="*/ 510636 h 1786050"/>
              <a:gd name="connsiteX2379" fmla="*/ 3302176 w 4664922"/>
              <a:gd name="connsiteY2379" fmla="*/ 518966 h 1786050"/>
              <a:gd name="connsiteX2380" fmla="*/ 3303043 w 4664922"/>
              <a:gd name="connsiteY2380" fmla="*/ 523825 h 1786050"/>
              <a:gd name="connsiteX2381" fmla="*/ 3284244 w 4664922"/>
              <a:gd name="connsiteY2381" fmla="*/ 529609 h 1786050"/>
              <a:gd name="connsiteX2382" fmla="*/ 3276898 w 4664922"/>
              <a:gd name="connsiteY2382" fmla="*/ 529088 h 1786050"/>
              <a:gd name="connsiteX2383" fmla="*/ 3273195 w 4664922"/>
              <a:gd name="connsiteY2383" fmla="*/ 529088 h 1786050"/>
              <a:gd name="connsiteX2384" fmla="*/ 3251966 w 4664922"/>
              <a:gd name="connsiteY2384" fmla="*/ 538344 h 1786050"/>
              <a:gd name="connsiteX2385" fmla="*/ 3252892 w 4664922"/>
              <a:gd name="connsiteY2385" fmla="*/ 544475 h 1786050"/>
              <a:gd name="connsiteX2386" fmla="*/ 3258677 w 4664922"/>
              <a:gd name="connsiteY2386" fmla="*/ 547830 h 1786050"/>
              <a:gd name="connsiteX2387" fmla="*/ 3264923 w 4664922"/>
              <a:gd name="connsiteY2387" fmla="*/ 545863 h 1786050"/>
              <a:gd name="connsiteX2388" fmla="*/ 3271402 w 4664922"/>
              <a:gd name="connsiteY2388" fmla="*/ 543897 h 1786050"/>
              <a:gd name="connsiteX2389" fmla="*/ 3274294 w 4664922"/>
              <a:gd name="connsiteY2389" fmla="*/ 544591 h 1786050"/>
              <a:gd name="connsiteX2390" fmla="*/ 3276088 w 4664922"/>
              <a:gd name="connsiteY2390" fmla="*/ 546789 h 1786050"/>
              <a:gd name="connsiteX2391" fmla="*/ 3270650 w 4664922"/>
              <a:gd name="connsiteY2391" fmla="*/ 552573 h 1786050"/>
              <a:gd name="connsiteX2392" fmla="*/ 3265271 w 4664922"/>
              <a:gd name="connsiteY2392" fmla="*/ 557606 h 1786050"/>
              <a:gd name="connsiteX2393" fmla="*/ 3267006 w 4664922"/>
              <a:gd name="connsiteY2393" fmla="*/ 559052 h 1786050"/>
              <a:gd name="connsiteX2394" fmla="*/ 3276088 w 4664922"/>
              <a:gd name="connsiteY2394" fmla="*/ 576000 h 1786050"/>
              <a:gd name="connsiteX2395" fmla="*/ 3276088 w 4664922"/>
              <a:gd name="connsiteY2395" fmla="*/ 578545 h 1786050"/>
              <a:gd name="connsiteX2396" fmla="*/ 3275104 w 4664922"/>
              <a:gd name="connsiteY2396" fmla="*/ 581264 h 1786050"/>
              <a:gd name="connsiteX2397" fmla="*/ 3264866 w 4664922"/>
              <a:gd name="connsiteY2397" fmla="*/ 584330 h 1786050"/>
              <a:gd name="connsiteX2398" fmla="*/ 3251908 w 4664922"/>
              <a:gd name="connsiteY2398" fmla="*/ 579355 h 1786050"/>
              <a:gd name="connsiteX2399" fmla="*/ 3245025 w 4664922"/>
              <a:gd name="connsiteY2399" fmla="*/ 576289 h 1786050"/>
              <a:gd name="connsiteX2400" fmla="*/ 3238489 w 4664922"/>
              <a:gd name="connsiteY2400" fmla="*/ 577099 h 1786050"/>
              <a:gd name="connsiteX2401" fmla="*/ 3226920 w 4664922"/>
              <a:gd name="connsiteY2401" fmla="*/ 578140 h 1786050"/>
              <a:gd name="connsiteX2402" fmla="*/ 3224664 w 4664922"/>
              <a:gd name="connsiteY2402" fmla="*/ 578140 h 1786050"/>
              <a:gd name="connsiteX2403" fmla="*/ 3214541 w 4664922"/>
              <a:gd name="connsiteY2403" fmla="*/ 580570 h 1786050"/>
              <a:gd name="connsiteX2404" fmla="*/ 3214541 w 4664922"/>
              <a:gd name="connsiteY2404" fmla="*/ 580570 h 1786050"/>
              <a:gd name="connsiteX2405" fmla="*/ 3219516 w 4664922"/>
              <a:gd name="connsiteY2405" fmla="*/ 582016 h 1786050"/>
              <a:gd name="connsiteX2406" fmla="*/ 3231085 w 4664922"/>
              <a:gd name="connsiteY2406" fmla="*/ 589131 h 1786050"/>
              <a:gd name="connsiteX2407" fmla="*/ 3219516 w 4664922"/>
              <a:gd name="connsiteY2407" fmla="*/ 594915 h 1786050"/>
              <a:gd name="connsiteX2408" fmla="*/ 3204361 w 4664922"/>
              <a:gd name="connsiteY2408" fmla="*/ 586470 h 1786050"/>
              <a:gd name="connsiteX2409" fmla="*/ 3197882 w 4664922"/>
              <a:gd name="connsiteY2409" fmla="*/ 581958 h 1786050"/>
              <a:gd name="connsiteX2410" fmla="*/ 3175150 w 4664922"/>
              <a:gd name="connsiteY2410" fmla="*/ 578487 h 1786050"/>
              <a:gd name="connsiteX2411" fmla="*/ 3156292 w 4664922"/>
              <a:gd name="connsiteY2411" fmla="*/ 574728 h 1786050"/>
              <a:gd name="connsiteX2412" fmla="*/ 3155656 w 4664922"/>
              <a:gd name="connsiteY2412" fmla="*/ 574728 h 1786050"/>
              <a:gd name="connsiteX2413" fmla="*/ 3142352 w 4664922"/>
              <a:gd name="connsiteY2413" fmla="*/ 579239 h 1786050"/>
              <a:gd name="connsiteX2414" fmla="*/ 3124189 w 4664922"/>
              <a:gd name="connsiteY2414" fmla="*/ 585024 h 1786050"/>
              <a:gd name="connsiteX2415" fmla="*/ 3121238 w 4664922"/>
              <a:gd name="connsiteY2415" fmla="*/ 585024 h 1786050"/>
              <a:gd name="connsiteX2416" fmla="*/ 3082020 w 4664922"/>
              <a:gd name="connsiteY2416" fmla="*/ 568712 h 1786050"/>
              <a:gd name="connsiteX2417" fmla="*/ 3075021 w 4664922"/>
              <a:gd name="connsiteY2417" fmla="*/ 561944 h 1786050"/>
              <a:gd name="connsiteX2418" fmla="*/ 3068484 w 4664922"/>
              <a:gd name="connsiteY2418" fmla="*/ 567728 h 1786050"/>
              <a:gd name="connsiteX2419" fmla="*/ 3061832 w 4664922"/>
              <a:gd name="connsiteY2419" fmla="*/ 582479 h 1786050"/>
              <a:gd name="connsiteX2420" fmla="*/ 3052809 w 4664922"/>
              <a:gd name="connsiteY2420" fmla="*/ 596419 h 1786050"/>
              <a:gd name="connsiteX2421" fmla="*/ 3044421 w 4664922"/>
              <a:gd name="connsiteY2421" fmla="*/ 606253 h 1786050"/>
              <a:gd name="connsiteX2422" fmla="*/ 3035802 w 4664922"/>
              <a:gd name="connsiteY2422" fmla="*/ 617301 h 1786050"/>
              <a:gd name="connsiteX2423" fmla="*/ 3032100 w 4664922"/>
              <a:gd name="connsiteY2423" fmla="*/ 618400 h 1786050"/>
              <a:gd name="connsiteX2424" fmla="*/ 3026316 w 4664922"/>
              <a:gd name="connsiteY2424" fmla="*/ 615508 h 1786050"/>
              <a:gd name="connsiteX2425" fmla="*/ 3018160 w 4664922"/>
              <a:gd name="connsiteY2425" fmla="*/ 612211 h 1786050"/>
              <a:gd name="connsiteX2426" fmla="*/ 3017639 w 4664922"/>
              <a:gd name="connsiteY2426" fmla="*/ 612211 h 1786050"/>
              <a:gd name="connsiteX2427" fmla="*/ 2976107 w 4664922"/>
              <a:gd name="connsiteY2427" fmla="*/ 574554 h 1786050"/>
              <a:gd name="connsiteX2428" fmla="*/ 2951639 w 4664922"/>
              <a:gd name="connsiteY2428" fmla="*/ 547425 h 1786050"/>
              <a:gd name="connsiteX2429" fmla="*/ 2949904 w 4664922"/>
              <a:gd name="connsiteY2429" fmla="*/ 544301 h 1786050"/>
              <a:gd name="connsiteX2430" fmla="*/ 2954184 w 4664922"/>
              <a:gd name="connsiteY2430" fmla="*/ 542335 h 1786050"/>
              <a:gd name="connsiteX2431" fmla="*/ 2963902 w 4664922"/>
              <a:gd name="connsiteY2431" fmla="*/ 546037 h 1786050"/>
              <a:gd name="connsiteX2432" fmla="*/ 2982412 w 4664922"/>
              <a:gd name="connsiteY2432" fmla="*/ 547888 h 1786050"/>
              <a:gd name="connsiteX2433" fmla="*/ 2985304 w 4664922"/>
              <a:gd name="connsiteY2433" fmla="*/ 538228 h 1786050"/>
              <a:gd name="connsiteX2434" fmla="*/ 2977669 w 4664922"/>
              <a:gd name="connsiteY2434" fmla="*/ 531402 h 1786050"/>
              <a:gd name="connsiteX2435" fmla="*/ 2970033 w 4664922"/>
              <a:gd name="connsiteY2435" fmla="*/ 526601 h 1786050"/>
              <a:gd name="connsiteX2436" fmla="*/ 2976107 w 4664922"/>
              <a:gd name="connsiteY2436" fmla="*/ 518329 h 1786050"/>
              <a:gd name="connsiteX2437" fmla="*/ 2972637 w 4664922"/>
              <a:gd name="connsiteY2437" fmla="*/ 511099 h 1786050"/>
              <a:gd name="connsiteX2438" fmla="*/ 2968414 w 4664922"/>
              <a:gd name="connsiteY2438" fmla="*/ 501034 h 1786050"/>
              <a:gd name="connsiteX2439" fmla="*/ 2970497 w 4664922"/>
              <a:gd name="connsiteY2439" fmla="*/ 499299 h 1786050"/>
              <a:gd name="connsiteX2440" fmla="*/ 2973215 w 4664922"/>
              <a:gd name="connsiteY2440" fmla="*/ 496927 h 1786050"/>
              <a:gd name="connsiteX2441" fmla="*/ 2965406 w 4664922"/>
              <a:gd name="connsiteY2441" fmla="*/ 491837 h 1786050"/>
              <a:gd name="connsiteX2442" fmla="*/ 2945855 w 4664922"/>
              <a:gd name="connsiteY2442" fmla="*/ 477896 h 1786050"/>
              <a:gd name="connsiteX2443" fmla="*/ 2926476 w 4664922"/>
              <a:gd name="connsiteY2443" fmla="*/ 475004 h 1786050"/>
              <a:gd name="connsiteX2444" fmla="*/ 2911842 w 4664922"/>
              <a:gd name="connsiteY2444" fmla="*/ 477491 h 1786050"/>
              <a:gd name="connsiteX2445" fmla="*/ 2911842 w 4664922"/>
              <a:gd name="connsiteY2445" fmla="*/ 477954 h 1786050"/>
              <a:gd name="connsiteX2446" fmla="*/ 2911264 w 4664922"/>
              <a:gd name="connsiteY2446" fmla="*/ 481540 h 1786050"/>
              <a:gd name="connsiteX2447" fmla="*/ 2906578 w 4664922"/>
              <a:gd name="connsiteY2447" fmla="*/ 483391 h 1786050"/>
              <a:gd name="connsiteX2448" fmla="*/ 2899984 w 4664922"/>
              <a:gd name="connsiteY2448" fmla="*/ 480557 h 1786050"/>
              <a:gd name="connsiteX2449" fmla="*/ 2899579 w 4664922"/>
              <a:gd name="connsiteY2449" fmla="*/ 476971 h 1786050"/>
              <a:gd name="connsiteX2450" fmla="*/ 2899579 w 4664922"/>
              <a:gd name="connsiteY2450" fmla="*/ 476277 h 1786050"/>
              <a:gd name="connsiteX2451" fmla="*/ 2888589 w 4664922"/>
              <a:gd name="connsiteY2451" fmla="*/ 473616 h 1786050"/>
              <a:gd name="connsiteX2452" fmla="*/ 2869153 w 4664922"/>
              <a:gd name="connsiteY2452" fmla="*/ 470029 h 1786050"/>
              <a:gd name="connsiteX2453" fmla="*/ 2850122 w 4664922"/>
              <a:gd name="connsiteY2453" fmla="*/ 456378 h 1786050"/>
              <a:gd name="connsiteX2454" fmla="*/ 2845148 w 4664922"/>
              <a:gd name="connsiteY2454" fmla="*/ 451866 h 1786050"/>
              <a:gd name="connsiteX2455" fmla="*/ 2845148 w 4664922"/>
              <a:gd name="connsiteY2455" fmla="*/ 451866 h 1786050"/>
              <a:gd name="connsiteX2456" fmla="*/ 2841446 w 4664922"/>
              <a:gd name="connsiteY2456" fmla="*/ 457651 h 1786050"/>
              <a:gd name="connsiteX2457" fmla="*/ 2834793 w 4664922"/>
              <a:gd name="connsiteY2457" fmla="*/ 465865 h 1786050"/>
              <a:gd name="connsiteX2458" fmla="*/ 2831959 w 4664922"/>
              <a:gd name="connsiteY2458" fmla="*/ 465171 h 1786050"/>
              <a:gd name="connsiteX2459" fmla="*/ 2819522 w 4664922"/>
              <a:gd name="connsiteY2459" fmla="*/ 468780 h 1786050"/>
              <a:gd name="connsiteX2460" fmla="*/ 2819696 w 4664922"/>
              <a:gd name="connsiteY2460" fmla="*/ 477838 h 1786050"/>
              <a:gd name="connsiteX2461" fmla="*/ 2820853 w 4664922"/>
              <a:gd name="connsiteY2461" fmla="*/ 492647 h 1786050"/>
              <a:gd name="connsiteX2462" fmla="*/ 2819349 w 4664922"/>
              <a:gd name="connsiteY2462" fmla="*/ 499009 h 1786050"/>
              <a:gd name="connsiteX2463" fmla="*/ 2814548 w 4664922"/>
              <a:gd name="connsiteY2463" fmla="*/ 505257 h 1786050"/>
              <a:gd name="connsiteX2464" fmla="*/ 2806507 w 4664922"/>
              <a:gd name="connsiteY2464" fmla="*/ 502943 h 1786050"/>
              <a:gd name="connsiteX2465" fmla="*/ 2801707 w 4664922"/>
              <a:gd name="connsiteY2465" fmla="*/ 501207 h 1786050"/>
              <a:gd name="connsiteX2466" fmla="*/ 2792510 w 4664922"/>
              <a:gd name="connsiteY2466" fmla="*/ 502538 h 1786050"/>
              <a:gd name="connsiteX2467" fmla="*/ 2779668 w 4664922"/>
              <a:gd name="connsiteY2467" fmla="*/ 505951 h 1786050"/>
              <a:gd name="connsiteX2468" fmla="*/ 2768736 w 4664922"/>
              <a:gd name="connsiteY2468" fmla="*/ 504447 h 1786050"/>
              <a:gd name="connsiteX2469" fmla="*/ 2745019 w 4664922"/>
              <a:gd name="connsiteY2469" fmla="*/ 501670 h 1786050"/>
              <a:gd name="connsiteX2470" fmla="*/ 2731252 w 4664922"/>
              <a:gd name="connsiteY2470" fmla="*/ 497043 h 1786050"/>
              <a:gd name="connsiteX2471" fmla="*/ 2724485 w 4664922"/>
              <a:gd name="connsiteY2471" fmla="*/ 491258 h 1786050"/>
              <a:gd name="connsiteX2472" fmla="*/ 2721650 w 4664922"/>
              <a:gd name="connsiteY2472" fmla="*/ 494324 h 1786050"/>
              <a:gd name="connsiteX2473" fmla="*/ 2708866 w 4664922"/>
              <a:gd name="connsiteY2473" fmla="*/ 498662 h 1786050"/>
              <a:gd name="connsiteX2474" fmla="*/ 2681101 w 4664922"/>
              <a:gd name="connsiteY2474" fmla="*/ 489292 h 1786050"/>
              <a:gd name="connsiteX2475" fmla="*/ 2690414 w 4664922"/>
              <a:gd name="connsiteY2475" fmla="*/ 476045 h 1786050"/>
              <a:gd name="connsiteX2476" fmla="*/ 2693017 w 4664922"/>
              <a:gd name="connsiteY2476" fmla="*/ 475004 h 1786050"/>
              <a:gd name="connsiteX2477" fmla="*/ 2693538 w 4664922"/>
              <a:gd name="connsiteY2477" fmla="*/ 475004 h 1786050"/>
              <a:gd name="connsiteX2478" fmla="*/ 2676185 w 4664922"/>
              <a:gd name="connsiteY2478" fmla="*/ 472343 h 1786050"/>
              <a:gd name="connsiteX2479" fmla="*/ 2668954 w 4664922"/>
              <a:gd name="connsiteY2479" fmla="*/ 472343 h 1786050"/>
              <a:gd name="connsiteX2480" fmla="*/ 2644197 w 4664922"/>
              <a:gd name="connsiteY2480" fmla="*/ 468352 h 1786050"/>
              <a:gd name="connsiteX2481" fmla="*/ 2623141 w 4664922"/>
              <a:gd name="connsiteY2481" fmla="*/ 464419 h 1786050"/>
              <a:gd name="connsiteX2482" fmla="*/ 2618456 w 4664922"/>
              <a:gd name="connsiteY2482" fmla="*/ 464419 h 1786050"/>
              <a:gd name="connsiteX2483" fmla="*/ 2609259 w 4664922"/>
              <a:gd name="connsiteY2483" fmla="*/ 465344 h 1786050"/>
              <a:gd name="connsiteX2484" fmla="*/ 2550142 w 4664922"/>
              <a:gd name="connsiteY2484" fmla="*/ 473211 h 1786050"/>
              <a:gd name="connsiteX2485" fmla="*/ 2550142 w 4664922"/>
              <a:gd name="connsiteY2485" fmla="*/ 478995 h 1786050"/>
              <a:gd name="connsiteX2486" fmla="*/ 2550547 w 4664922"/>
              <a:gd name="connsiteY2486" fmla="*/ 485763 h 1786050"/>
              <a:gd name="connsiteX2487" fmla="*/ 2541986 w 4664922"/>
              <a:gd name="connsiteY2487" fmla="*/ 486226 h 1786050"/>
              <a:gd name="connsiteX2488" fmla="*/ 2540540 w 4664922"/>
              <a:gd name="connsiteY2488" fmla="*/ 471128 h 1786050"/>
              <a:gd name="connsiteX2489" fmla="*/ 2540540 w 4664922"/>
              <a:gd name="connsiteY2489" fmla="*/ 460196 h 1786050"/>
              <a:gd name="connsiteX2490" fmla="*/ 2532037 w 4664922"/>
              <a:gd name="connsiteY2490" fmla="*/ 453428 h 1786050"/>
              <a:gd name="connsiteX2491" fmla="*/ 2529202 w 4664922"/>
              <a:gd name="connsiteY2491" fmla="*/ 454411 h 1786050"/>
              <a:gd name="connsiteX2492" fmla="*/ 2529202 w 4664922"/>
              <a:gd name="connsiteY2492" fmla="*/ 456436 h 1786050"/>
              <a:gd name="connsiteX2493" fmla="*/ 2528508 w 4664922"/>
              <a:gd name="connsiteY2493" fmla="*/ 459907 h 1786050"/>
              <a:gd name="connsiteX2494" fmla="*/ 2511791 w 4664922"/>
              <a:gd name="connsiteY2494" fmla="*/ 464708 h 1786050"/>
              <a:gd name="connsiteX2495" fmla="*/ 2499066 w 4664922"/>
              <a:gd name="connsiteY2495" fmla="*/ 461584 h 1786050"/>
              <a:gd name="connsiteX2496" fmla="*/ 2468003 w 4664922"/>
              <a:gd name="connsiteY2496" fmla="*/ 445735 h 1786050"/>
              <a:gd name="connsiteX2497" fmla="*/ 2463260 w 4664922"/>
              <a:gd name="connsiteY2497" fmla="*/ 445156 h 1786050"/>
              <a:gd name="connsiteX2498" fmla="*/ 2438560 w 4664922"/>
              <a:gd name="connsiteY2498" fmla="*/ 458981 h 1786050"/>
              <a:gd name="connsiteX2499" fmla="*/ 2438560 w 4664922"/>
              <a:gd name="connsiteY2499" fmla="*/ 461642 h 1786050"/>
              <a:gd name="connsiteX2500" fmla="*/ 2448567 w 4664922"/>
              <a:gd name="connsiteY2500" fmla="*/ 464129 h 1786050"/>
              <a:gd name="connsiteX2501" fmla="*/ 2455393 w 4664922"/>
              <a:gd name="connsiteY2501" fmla="*/ 466674 h 1786050"/>
              <a:gd name="connsiteX2502" fmla="*/ 2454757 w 4664922"/>
              <a:gd name="connsiteY2502" fmla="*/ 468930 h 1786050"/>
              <a:gd name="connsiteX2503" fmla="*/ 2436825 w 4664922"/>
              <a:gd name="connsiteY2503" fmla="*/ 473327 h 1786050"/>
              <a:gd name="connsiteX2504" fmla="*/ 2421901 w 4664922"/>
              <a:gd name="connsiteY2504" fmla="*/ 476508 h 1786050"/>
              <a:gd name="connsiteX2505" fmla="*/ 2379328 w 4664922"/>
              <a:gd name="connsiteY2505" fmla="*/ 492184 h 1786050"/>
              <a:gd name="connsiteX2506" fmla="*/ 2373196 w 4664922"/>
              <a:gd name="connsiteY2506" fmla="*/ 492936 h 1786050"/>
              <a:gd name="connsiteX2507" fmla="*/ 2335077 w 4664922"/>
              <a:gd name="connsiteY2507" fmla="*/ 505662 h 1786050"/>
              <a:gd name="connsiteX2508" fmla="*/ 2329292 w 4664922"/>
              <a:gd name="connsiteY2508" fmla="*/ 508901 h 1786050"/>
              <a:gd name="connsiteX2509" fmla="*/ 2327441 w 4664922"/>
              <a:gd name="connsiteY2509" fmla="*/ 507686 h 1786050"/>
              <a:gd name="connsiteX2510" fmla="*/ 2340341 w 4664922"/>
              <a:gd name="connsiteY2510" fmla="*/ 485011 h 1786050"/>
              <a:gd name="connsiteX2511" fmla="*/ 2355612 w 4664922"/>
              <a:gd name="connsiteY2511" fmla="*/ 477144 h 1786050"/>
              <a:gd name="connsiteX2512" fmla="*/ 2365734 w 4664922"/>
              <a:gd name="connsiteY2512" fmla="*/ 471823 h 1786050"/>
              <a:gd name="connsiteX2513" fmla="*/ 2387310 w 4664922"/>
              <a:gd name="connsiteY2513" fmla="*/ 463319 h 1786050"/>
              <a:gd name="connsiteX2514" fmla="*/ 2396334 w 4664922"/>
              <a:gd name="connsiteY2514" fmla="*/ 462047 h 1786050"/>
              <a:gd name="connsiteX2515" fmla="*/ 2411374 w 4664922"/>
              <a:gd name="connsiteY2515" fmla="*/ 453255 h 1786050"/>
              <a:gd name="connsiteX2516" fmla="*/ 2417852 w 4664922"/>
              <a:gd name="connsiteY2516" fmla="*/ 447470 h 1786050"/>
              <a:gd name="connsiteX2517" fmla="*/ 2420860 w 4664922"/>
              <a:gd name="connsiteY2517" fmla="*/ 446140 h 1786050"/>
              <a:gd name="connsiteX2518" fmla="*/ 2445502 w 4664922"/>
              <a:gd name="connsiteY2518" fmla="*/ 430637 h 1786050"/>
              <a:gd name="connsiteX2519" fmla="*/ 2493050 w 4664922"/>
              <a:gd name="connsiteY2519" fmla="*/ 410970 h 1786050"/>
              <a:gd name="connsiteX2520" fmla="*/ 2493454 w 4664922"/>
              <a:gd name="connsiteY2520" fmla="*/ 410970 h 1786050"/>
              <a:gd name="connsiteX2521" fmla="*/ 2500859 w 4664922"/>
              <a:gd name="connsiteY2521" fmla="*/ 402756 h 1786050"/>
              <a:gd name="connsiteX2522" fmla="*/ 2506296 w 4664922"/>
              <a:gd name="connsiteY2522" fmla="*/ 396394 h 1786050"/>
              <a:gd name="connsiteX2523" fmla="*/ 2538978 w 4664922"/>
              <a:gd name="connsiteY2523" fmla="*/ 383610 h 1786050"/>
              <a:gd name="connsiteX2524" fmla="*/ 2550547 w 4664922"/>
              <a:gd name="connsiteY2524" fmla="*/ 367992 h 1786050"/>
              <a:gd name="connsiteX2525" fmla="*/ 2545399 w 4664922"/>
              <a:gd name="connsiteY2525" fmla="*/ 364174 h 1786050"/>
              <a:gd name="connsiteX2526" fmla="*/ 2538457 w 4664922"/>
              <a:gd name="connsiteY2526" fmla="*/ 359084 h 1786050"/>
              <a:gd name="connsiteX2527" fmla="*/ 2538805 w 4664922"/>
              <a:gd name="connsiteY2527" fmla="*/ 356076 h 1786050"/>
              <a:gd name="connsiteX2528" fmla="*/ 2543953 w 4664922"/>
              <a:gd name="connsiteY2528" fmla="*/ 354514 h 1786050"/>
              <a:gd name="connsiteX2529" fmla="*/ 2552860 w 4664922"/>
              <a:gd name="connsiteY2529" fmla="*/ 352837 h 1786050"/>
              <a:gd name="connsiteX2530" fmla="*/ 2555637 w 4664922"/>
              <a:gd name="connsiteY2530" fmla="*/ 348695 h 1786050"/>
              <a:gd name="connsiteX2531" fmla="*/ 2555637 w 4664922"/>
              <a:gd name="connsiteY2531" fmla="*/ 348672 h 1786050"/>
              <a:gd name="connsiteX2532" fmla="*/ 2548118 w 4664922"/>
              <a:gd name="connsiteY2532" fmla="*/ 342309 h 1786050"/>
              <a:gd name="connsiteX2533" fmla="*/ 2546729 w 4664922"/>
              <a:gd name="connsiteY2533" fmla="*/ 342309 h 1786050"/>
              <a:gd name="connsiteX2534" fmla="*/ 2543143 w 4664922"/>
              <a:gd name="connsiteY2534" fmla="*/ 341904 h 1786050"/>
              <a:gd name="connsiteX2535" fmla="*/ 2543606 w 4664922"/>
              <a:gd name="connsiteY2535" fmla="*/ 338376 h 1786050"/>
              <a:gd name="connsiteX2536" fmla="*/ 2543143 w 4664922"/>
              <a:gd name="connsiteY2536" fmla="*/ 328658 h 1786050"/>
              <a:gd name="connsiteX2537" fmla="*/ 2538399 w 4664922"/>
              <a:gd name="connsiteY2537" fmla="*/ 326518 h 1786050"/>
              <a:gd name="connsiteX2538" fmla="*/ 2532615 w 4664922"/>
              <a:gd name="connsiteY2538" fmla="*/ 327675 h 1786050"/>
              <a:gd name="connsiteX2539" fmla="*/ 2526021 w 4664922"/>
              <a:gd name="connsiteY2539" fmla="*/ 327675 h 1786050"/>
              <a:gd name="connsiteX2540" fmla="*/ 2525211 w 4664922"/>
              <a:gd name="connsiteY2540" fmla="*/ 324609 h 1786050"/>
              <a:gd name="connsiteX2541" fmla="*/ 2519889 w 4664922"/>
              <a:gd name="connsiteY2541" fmla="*/ 303264 h 1786050"/>
              <a:gd name="connsiteX2542" fmla="*/ 2512890 w 4664922"/>
              <a:gd name="connsiteY2542" fmla="*/ 304190 h 1786050"/>
              <a:gd name="connsiteX2543" fmla="*/ 2503693 w 4664922"/>
              <a:gd name="connsiteY2543" fmla="*/ 306851 h 1786050"/>
              <a:gd name="connsiteX2544" fmla="*/ 2496173 w 4664922"/>
              <a:gd name="connsiteY2544" fmla="*/ 304190 h 1786050"/>
              <a:gd name="connsiteX2545" fmla="*/ 2460888 w 4664922"/>
              <a:gd name="connsiteY2545" fmla="*/ 294067 h 1786050"/>
              <a:gd name="connsiteX2546" fmla="*/ 2458401 w 4664922"/>
              <a:gd name="connsiteY2546" fmla="*/ 294356 h 1786050"/>
              <a:gd name="connsiteX2547" fmla="*/ 2456145 w 4664922"/>
              <a:gd name="connsiteY2547" fmla="*/ 295918 h 1786050"/>
              <a:gd name="connsiteX2548" fmla="*/ 2450361 w 4664922"/>
              <a:gd name="connsiteY2548" fmla="*/ 294472 h 1786050"/>
              <a:gd name="connsiteX2549" fmla="*/ 2442783 w 4664922"/>
              <a:gd name="connsiteY2549" fmla="*/ 292737 h 1786050"/>
              <a:gd name="connsiteX2550" fmla="*/ 2441279 w 4664922"/>
              <a:gd name="connsiteY2550" fmla="*/ 293084 h 1786050"/>
              <a:gd name="connsiteX2551" fmla="*/ 2424504 w 4664922"/>
              <a:gd name="connsiteY2551" fmla="*/ 295860 h 1786050"/>
              <a:gd name="connsiteX2552" fmla="*/ 2406573 w 4664922"/>
              <a:gd name="connsiteY2552" fmla="*/ 294241 h 1786050"/>
              <a:gd name="connsiteX2553" fmla="*/ 2390260 w 4664922"/>
              <a:gd name="connsiteY2553" fmla="*/ 303322 h 1786050"/>
              <a:gd name="connsiteX2554" fmla="*/ 2373254 w 4664922"/>
              <a:gd name="connsiteY2554" fmla="*/ 309107 h 1786050"/>
              <a:gd name="connsiteX2555" fmla="*/ 2354570 w 4664922"/>
              <a:gd name="connsiteY2555" fmla="*/ 307487 h 1786050"/>
              <a:gd name="connsiteX2556" fmla="*/ 2353067 w 4664922"/>
              <a:gd name="connsiteY2556" fmla="*/ 306157 h 1786050"/>
              <a:gd name="connsiteX2557" fmla="*/ 2364636 w 4664922"/>
              <a:gd name="connsiteY2557" fmla="*/ 291291 h 1786050"/>
              <a:gd name="connsiteX2558" fmla="*/ 2373601 w 4664922"/>
              <a:gd name="connsiteY2558" fmla="*/ 281226 h 1786050"/>
              <a:gd name="connsiteX2559" fmla="*/ 2362726 w 4664922"/>
              <a:gd name="connsiteY2559" fmla="*/ 280532 h 1786050"/>
              <a:gd name="connsiteX2560" fmla="*/ 2354223 w 4664922"/>
              <a:gd name="connsiteY2560" fmla="*/ 280532 h 1786050"/>
              <a:gd name="connsiteX2561" fmla="*/ 2345199 w 4664922"/>
              <a:gd name="connsiteY2561" fmla="*/ 280532 h 1786050"/>
              <a:gd name="connsiteX2562" fmla="*/ 2329061 w 4664922"/>
              <a:gd name="connsiteY2562" fmla="*/ 278160 h 1786050"/>
              <a:gd name="connsiteX2563" fmla="*/ 2301527 w 4664922"/>
              <a:gd name="connsiteY2563" fmla="*/ 273764 h 1786050"/>
              <a:gd name="connsiteX2564" fmla="*/ 2296090 w 4664922"/>
              <a:gd name="connsiteY2564" fmla="*/ 273764 h 1786050"/>
              <a:gd name="connsiteX2565" fmla="*/ 2292619 w 4664922"/>
              <a:gd name="connsiteY2565" fmla="*/ 272260 h 1786050"/>
              <a:gd name="connsiteX2566" fmla="*/ 2305692 w 4664922"/>
              <a:gd name="connsiteY2566" fmla="*/ 268211 h 1786050"/>
              <a:gd name="connsiteX2567" fmla="*/ 2318071 w 4664922"/>
              <a:gd name="connsiteY2567" fmla="*/ 263583 h 1786050"/>
              <a:gd name="connsiteX2568" fmla="*/ 2331028 w 4664922"/>
              <a:gd name="connsiteY2568" fmla="*/ 258551 h 1786050"/>
              <a:gd name="connsiteX2569" fmla="*/ 2336812 w 4664922"/>
              <a:gd name="connsiteY2569" fmla="*/ 256179 h 1786050"/>
              <a:gd name="connsiteX2570" fmla="*/ 2333746 w 4664922"/>
              <a:gd name="connsiteY2570" fmla="*/ 249816 h 1786050"/>
              <a:gd name="connsiteX2571" fmla="*/ 2322177 w 4664922"/>
              <a:gd name="connsiteY2571" fmla="*/ 246172 h 1786050"/>
              <a:gd name="connsiteX2572" fmla="*/ 2311187 w 4664922"/>
              <a:gd name="connsiteY2572" fmla="*/ 244610 h 1786050"/>
              <a:gd name="connsiteX2573" fmla="*/ 2306270 w 4664922"/>
              <a:gd name="connsiteY2573" fmla="*/ 243048 h 1786050"/>
              <a:gd name="connsiteX2574" fmla="*/ 2283133 w 4664922"/>
              <a:gd name="connsiteY2574" fmla="*/ 237264 h 1786050"/>
              <a:gd name="connsiteX2575" fmla="*/ 2267283 w 4664922"/>
              <a:gd name="connsiteY2575" fmla="*/ 240156 h 1786050"/>
              <a:gd name="connsiteX2576" fmla="*/ 2247443 w 4664922"/>
              <a:gd name="connsiteY2576" fmla="*/ 244899 h 1786050"/>
              <a:gd name="connsiteX2577" fmla="*/ 2226850 w 4664922"/>
              <a:gd name="connsiteY2577" fmla="*/ 258782 h 1786050"/>
              <a:gd name="connsiteX2578" fmla="*/ 2217422 w 4664922"/>
              <a:gd name="connsiteY2578" fmla="*/ 267459 h 1786050"/>
              <a:gd name="connsiteX2579" fmla="*/ 2197408 w 4664922"/>
              <a:gd name="connsiteY2579" fmla="*/ 288109 h 1786050"/>
              <a:gd name="connsiteX2580" fmla="*/ 2198564 w 4664922"/>
              <a:gd name="connsiteY2580" fmla="*/ 289092 h 1786050"/>
              <a:gd name="connsiteX2581" fmla="*/ 2204638 w 4664922"/>
              <a:gd name="connsiteY2581" fmla="*/ 297364 h 1786050"/>
              <a:gd name="connsiteX2582" fmla="*/ 2204638 w 4664922"/>
              <a:gd name="connsiteY2582" fmla="*/ 301702 h 1786050"/>
              <a:gd name="connsiteX2583" fmla="*/ 2203828 w 4664922"/>
              <a:gd name="connsiteY2583" fmla="*/ 305867 h 1786050"/>
              <a:gd name="connsiteX2584" fmla="*/ 2195094 w 4664922"/>
              <a:gd name="connsiteY2584" fmla="*/ 308586 h 1786050"/>
              <a:gd name="connsiteX2585" fmla="*/ 2187979 w 4664922"/>
              <a:gd name="connsiteY2585" fmla="*/ 307892 h 1786050"/>
              <a:gd name="connsiteX2586" fmla="*/ 2174964 w 4664922"/>
              <a:gd name="connsiteY2586" fmla="*/ 307140 h 1786050"/>
              <a:gd name="connsiteX2587" fmla="*/ 2148124 w 4664922"/>
              <a:gd name="connsiteY2587" fmla="*/ 311420 h 1786050"/>
              <a:gd name="connsiteX2588" fmla="*/ 2147720 w 4664922"/>
              <a:gd name="connsiteY2588" fmla="*/ 312346 h 1786050"/>
              <a:gd name="connsiteX2589" fmla="*/ 2158073 w 4664922"/>
              <a:gd name="connsiteY2589" fmla="*/ 320213 h 1786050"/>
              <a:gd name="connsiteX2590" fmla="*/ 2165420 w 4664922"/>
              <a:gd name="connsiteY2590" fmla="*/ 326518 h 1786050"/>
              <a:gd name="connsiteX2591" fmla="*/ 2161023 w 4664922"/>
              <a:gd name="connsiteY2591" fmla="*/ 328716 h 1786050"/>
              <a:gd name="connsiteX2592" fmla="*/ 2143150 w 4664922"/>
              <a:gd name="connsiteY2592" fmla="*/ 322931 h 1786050"/>
              <a:gd name="connsiteX2593" fmla="*/ 2135399 w 4664922"/>
              <a:gd name="connsiteY2593" fmla="*/ 321254 h 1786050"/>
              <a:gd name="connsiteX2594" fmla="*/ 2120995 w 4664922"/>
              <a:gd name="connsiteY2594" fmla="*/ 327559 h 1786050"/>
              <a:gd name="connsiteX2595" fmla="*/ 2109947 w 4664922"/>
              <a:gd name="connsiteY2595" fmla="*/ 333343 h 1786050"/>
              <a:gd name="connsiteX2596" fmla="*/ 2101675 w 4664922"/>
              <a:gd name="connsiteY2596" fmla="*/ 331839 h 1786050"/>
              <a:gd name="connsiteX2597" fmla="*/ 2095196 w 4664922"/>
              <a:gd name="connsiteY2597" fmla="*/ 332476 h 1786050"/>
              <a:gd name="connsiteX2598" fmla="*/ 2084033 w 4664922"/>
              <a:gd name="connsiteY2598" fmla="*/ 333054 h 1786050"/>
              <a:gd name="connsiteX2599" fmla="*/ 2082066 w 4664922"/>
              <a:gd name="connsiteY2599" fmla="*/ 331203 h 1786050"/>
              <a:gd name="connsiteX2600" fmla="*/ 2086520 w 4664922"/>
              <a:gd name="connsiteY2600" fmla="*/ 324725 h 1786050"/>
              <a:gd name="connsiteX2601" fmla="*/ 2091610 w 4664922"/>
              <a:gd name="connsiteY2601" fmla="*/ 318304 h 1786050"/>
              <a:gd name="connsiteX2602" fmla="*/ 2091206 w 4664922"/>
              <a:gd name="connsiteY2602" fmla="*/ 317436 h 1786050"/>
              <a:gd name="connsiteX2603" fmla="*/ 2085421 w 4664922"/>
              <a:gd name="connsiteY2603" fmla="*/ 315932 h 1786050"/>
              <a:gd name="connsiteX2604" fmla="*/ 2067374 w 4664922"/>
              <a:gd name="connsiteY2604" fmla="*/ 323799 h 1786050"/>
              <a:gd name="connsiteX2605" fmla="*/ 2063556 w 4664922"/>
              <a:gd name="connsiteY2605" fmla="*/ 326980 h 1786050"/>
              <a:gd name="connsiteX2606" fmla="*/ 2056036 w 4664922"/>
              <a:gd name="connsiteY2606" fmla="*/ 324088 h 1786050"/>
              <a:gd name="connsiteX2607" fmla="*/ 2048689 w 4664922"/>
              <a:gd name="connsiteY2607" fmla="*/ 321717 h 1786050"/>
              <a:gd name="connsiteX2608" fmla="*/ 2046723 w 4664922"/>
              <a:gd name="connsiteY2608" fmla="*/ 322758 h 1786050"/>
              <a:gd name="connsiteX2609" fmla="*/ 2030816 w 4664922"/>
              <a:gd name="connsiteY2609" fmla="*/ 330625 h 1786050"/>
              <a:gd name="connsiteX2610" fmla="*/ 2024395 w 4664922"/>
              <a:gd name="connsiteY2610" fmla="*/ 331724 h 1786050"/>
              <a:gd name="connsiteX2611" fmla="*/ 2016586 w 4664922"/>
              <a:gd name="connsiteY2611" fmla="*/ 331030 h 1786050"/>
              <a:gd name="connsiteX2612" fmla="*/ 2010166 w 4664922"/>
              <a:gd name="connsiteY2612" fmla="*/ 330451 h 1786050"/>
              <a:gd name="connsiteX2613" fmla="*/ 2005133 w 4664922"/>
              <a:gd name="connsiteY2613" fmla="*/ 332476 h 1786050"/>
              <a:gd name="connsiteX2614" fmla="*/ 2005133 w 4664922"/>
              <a:gd name="connsiteY2614" fmla="*/ 333980 h 1786050"/>
              <a:gd name="connsiteX2615" fmla="*/ 2014966 w 4664922"/>
              <a:gd name="connsiteY2615" fmla="*/ 339128 h 1786050"/>
              <a:gd name="connsiteX2616" fmla="*/ 2021908 w 4664922"/>
              <a:gd name="connsiteY2616" fmla="*/ 343119 h 1786050"/>
              <a:gd name="connsiteX2617" fmla="*/ 2021908 w 4664922"/>
              <a:gd name="connsiteY2617" fmla="*/ 344276 h 1786050"/>
              <a:gd name="connsiteX2618" fmla="*/ 2002588 w 4664922"/>
              <a:gd name="connsiteY2618" fmla="*/ 347052 h 1786050"/>
              <a:gd name="connsiteX2619" fmla="*/ 1976905 w 4664922"/>
              <a:gd name="connsiteY2619" fmla="*/ 350581 h 1786050"/>
              <a:gd name="connsiteX2620" fmla="*/ 1944859 w 4664922"/>
              <a:gd name="connsiteY2620" fmla="*/ 356076 h 1786050"/>
              <a:gd name="connsiteX2621" fmla="*/ 1941562 w 4664922"/>
              <a:gd name="connsiteY2621" fmla="*/ 356076 h 1786050"/>
              <a:gd name="connsiteX2622" fmla="*/ 1927680 w 4664922"/>
              <a:gd name="connsiteY2622" fmla="*/ 361861 h 1786050"/>
              <a:gd name="connsiteX2623" fmla="*/ 1916111 w 4664922"/>
              <a:gd name="connsiteY2623" fmla="*/ 368397 h 1786050"/>
              <a:gd name="connsiteX2624" fmla="*/ 1911541 w 4664922"/>
              <a:gd name="connsiteY2624" fmla="*/ 369265 h 1786050"/>
              <a:gd name="connsiteX2625" fmla="*/ 1891007 w 4664922"/>
              <a:gd name="connsiteY2625" fmla="*/ 378462 h 1786050"/>
              <a:gd name="connsiteX2626" fmla="*/ 1877644 w 4664922"/>
              <a:gd name="connsiteY2626" fmla="*/ 385345 h 1786050"/>
              <a:gd name="connsiteX2627" fmla="*/ 1868216 w 4664922"/>
              <a:gd name="connsiteY2627" fmla="*/ 381354 h 1786050"/>
              <a:gd name="connsiteX2628" fmla="*/ 1864340 w 4664922"/>
              <a:gd name="connsiteY2628" fmla="*/ 379850 h 1786050"/>
              <a:gd name="connsiteX2629" fmla="*/ 1857167 w 4664922"/>
              <a:gd name="connsiteY2629" fmla="*/ 382974 h 1786050"/>
              <a:gd name="connsiteX2630" fmla="*/ 1857167 w 4664922"/>
              <a:gd name="connsiteY2630" fmla="*/ 382974 h 1786050"/>
              <a:gd name="connsiteX2631" fmla="*/ 1858266 w 4664922"/>
              <a:gd name="connsiteY2631" fmla="*/ 382974 h 1786050"/>
              <a:gd name="connsiteX2632" fmla="*/ 1862431 w 4664922"/>
              <a:gd name="connsiteY2632" fmla="*/ 386502 h 1786050"/>
              <a:gd name="connsiteX2633" fmla="*/ 1855490 w 4664922"/>
              <a:gd name="connsiteY2633" fmla="*/ 391940 h 1786050"/>
              <a:gd name="connsiteX2634" fmla="*/ 1853754 w 4664922"/>
              <a:gd name="connsiteY2634" fmla="*/ 391650 h 1786050"/>
              <a:gd name="connsiteX2635" fmla="*/ 1852887 w 4664922"/>
              <a:gd name="connsiteY2635" fmla="*/ 391650 h 1786050"/>
              <a:gd name="connsiteX2636" fmla="*/ 1843285 w 4664922"/>
              <a:gd name="connsiteY2636" fmla="*/ 396509 h 1786050"/>
              <a:gd name="connsiteX2637" fmla="*/ 1843921 w 4664922"/>
              <a:gd name="connsiteY2637" fmla="*/ 396509 h 1786050"/>
              <a:gd name="connsiteX2638" fmla="*/ 1853234 w 4664922"/>
              <a:gd name="connsiteY2638" fmla="*/ 400848 h 1786050"/>
              <a:gd name="connsiteX2639" fmla="*/ 1852135 w 4664922"/>
              <a:gd name="connsiteY2639" fmla="*/ 408078 h 1786050"/>
              <a:gd name="connsiteX2640" fmla="*/ 1847970 w 4664922"/>
              <a:gd name="connsiteY2640" fmla="*/ 409698 h 1786050"/>
              <a:gd name="connsiteX2641" fmla="*/ 1839235 w 4664922"/>
              <a:gd name="connsiteY2641" fmla="*/ 407963 h 1786050"/>
              <a:gd name="connsiteX2642" fmla="*/ 1828650 w 4664922"/>
              <a:gd name="connsiteY2642" fmla="*/ 406979 h 1786050"/>
              <a:gd name="connsiteX2643" fmla="*/ 1828245 w 4664922"/>
              <a:gd name="connsiteY2643" fmla="*/ 408367 h 1786050"/>
              <a:gd name="connsiteX2644" fmla="*/ 1842706 w 4664922"/>
              <a:gd name="connsiteY2644" fmla="*/ 413516 h 1786050"/>
              <a:gd name="connsiteX2645" fmla="*/ 1855953 w 4664922"/>
              <a:gd name="connsiteY2645" fmla="*/ 423083 h 1786050"/>
              <a:gd name="connsiteX2646" fmla="*/ 1856068 w 4664922"/>
              <a:gd name="connsiteY2646" fmla="*/ 423754 h 1786050"/>
              <a:gd name="connsiteX2647" fmla="*/ 1855548 w 4664922"/>
              <a:gd name="connsiteY2647" fmla="*/ 425779 h 1786050"/>
              <a:gd name="connsiteX2648" fmla="*/ 1852482 w 4664922"/>
              <a:gd name="connsiteY2648" fmla="*/ 426820 h 1786050"/>
              <a:gd name="connsiteX2649" fmla="*/ 1846119 w 4664922"/>
              <a:gd name="connsiteY2649" fmla="*/ 425952 h 1786050"/>
              <a:gd name="connsiteX2650" fmla="*/ 1838541 w 4664922"/>
              <a:gd name="connsiteY2650" fmla="*/ 424911 h 1786050"/>
              <a:gd name="connsiteX2651" fmla="*/ 1835187 w 4664922"/>
              <a:gd name="connsiteY2651" fmla="*/ 425836 h 1786050"/>
              <a:gd name="connsiteX2652" fmla="*/ 1834493 w 4664922"/>
              <a:gd name="connsiteY2652" fmla="*/ 427861 h 1786050"/>
              <a:gd name="connsiteX2653" fmla="*/ 1844962 w 4664922"/>
              <a:gd name="connsiteY2653" fmla="*/ 431274 h 1786050"/>
              <a:gd name="connsiteX2654" fmla="*/ 1850746 w 4664922"/>
              <a:gd name="connsiteY2654" fmla="*/ 435381 h 1786050"/>
              <a:gd name="connsiteX2655" fmla="*/ 1854449 w 4664922"/>
              <a:gd name="connsiteY2655" fmla="*/ 441165 h 1786050"/>
              <a:gd name="connsiteX2656" fmla="*/ 1855895 w 4664922"/>
              <a:gd name="connsiteY2656" fmla="*/ 442669 h 1786050"/>
              <a:gd name="connsiteX2657" fmla="*/ 1855143 w 4664922"/>
              <a:gd name="connsiteY2657" fmla="*/ 450652 h 1786050"/>
              <a:gd name="connsiteX2658" fmla="*/ 1853234 w 4664922"/>
              <a:gd name="connsiteY2658" fmla="*/ 454759 h 1786050"/>
              <a:gd name="connsiteX2659" fmla="*/ 1852019 w 4664922"/>
              <a:gd name="connsiteY2659" fmla="*/ 459097 h 1786050"/>
              <a:gd name="connsiteX2660" fmla="*/ 1844557 w 4664922"/>
              <a:gd name="connsiteY2660" fmla="*/ 460312 h 1786050"/>
              <a:gd name="connsiteX2661" fmla="*/ 1843285 w 4664922"/>
              <a:gd name="connsiteY2661" fmla="*/ 457361 h 1786050"/>
              <a:gd name="connsiteX2662" fmla="*/ 1830733 w 4664922"/>
              <a:gd name="connsiteY2662" fmla="*/ 454007 h 1786050"/>
              <a:gd name="connsiteX2663" fmla="*/ 1819164 w 4664922"/>
              <a:gd name="connsiteY2663" fmla="*/ 456899 h 1786050"/>
              <a:gd name="connsiteX2664" fmla="*/ 1819164 w 4664922"/>
              <a:gd name="connsiteY2664" fmla="*/ 456899 h 1786050"/>
              <a:gd name="connsiteX2665" fmla="*/ 1810025 w 4664922"/>
              <a:gd name="connsiteY2665" fmla="*/ 463724 h 1786050"/>
              <a:gd name="connsiteX2666" fmla="*/ 1804761 w 4664922"/>
              <a:gd name="connsiteY2666" fmla="*/ 461237 h 1786050"/>
              <a:gd name="connsiteX2667" fmla="*/ 1798976 w 4664922"/>
              <a:gd name="connsiteY2667" fmla="*/ 459675 h 1786050"/>
              <a:gd name="connsiteX2668" fmla="*/ 1786250 w 4664922"/>
              <a:gd name="connsiteY2668" fmla="*/ 461179 h 1786050"/>
              <a:gd name="connsiteX2669" fmla="*/ 1765368 w 4664922"/>
              <a:gd name="connsiteY2669" fmla="*/ 463551 h 1786050"/>
              <a:gd name="connsiteX2670" fmla="*/ 1764443 w 4664922"/>
              <a:gd name="connsiteY2670" fmla="*/ 463551 h 1786050"/>
              <a:gd name="connsiteX2671" fmla="*/ 1695030 w 4664922"/>
              <a:gd name="connsiteY2671" fmla="*/ 469335 h 1786050"/>
              <a:gd name="connsiteX2672" fmla="*/ 1682824 w 4664922"/>
              <a:gd name="connsiteY2672" fmla="*/ 483044 h 1786050"/>
              <a:gd name="connsiteX2673" fmla="*/ 1686180 w 4664922"/>
              <a:gd name="connsiteY2673" fmla="*/ 494613 h 1786050"/>
              <a:gd name="connsiteX2674" fmla="*/ 1688667 w 4664922"/>
              <a:gd name="connsiteY2674" fmla="*/ 509873 h 1786050"/>
              <a:gd name="connsiteX2675" fmla="*/ 1688667 w 4664922"/>
              <a:gd name="connsiteY2675" fmla="*/ 509884 h 1786050"/>
              <a:gd name="connsiteX2676" fmla="*/ 1686932 w 4664922"/>
              <a:gd name="connsiteY2676" fmla="*/ 514801 h 1786050"/>
              <a:gd name="connsiteX2677" fmla="*/ 1723027 w 4664922"/>
              <a:gd name="connsiteY2677" fmla="*/ 533485 h 1786050"/>
              <a:gd name="connsiteX2678" fmla="*/ 1740958 w 4664922"/>
              <a:gd name="connsiteY2678" fmla="*/ 546962 h 1786050"/>
              <a:gd name="connsiteX2679" fmla="*/ 1739570 w 4664922"/>
              <a:gd name="connsiteY2679" fmla="*/ 561944 h 1786050"/>
              <a:gd name="connsiteX2680" fmla="*/ 1730315 w 4664922"/>
              <a:gd name="connsiteY2680" fmla="*/ 565820 h 1786050"/>
              <a:gd name="connsiteX2681" fmla="*/ 1691559 w 4664922"/>
              <a:gd name="connsiteY2681" fmla="*/ 547252 h 1786050"/>
              <a:gd name="connsiteX2682" fmla="*/ 1632442 w 4664922"/>
              <a:gd name="connsiteY2682" fmla="*/ 531229 h 1786050"/>
              <a:gd name="connsiteX2683" fmla="*/ 1628220 w 4664922"/>
              <a:gd name="connsiteY2683" fmla="*/ 531229 h 1786050"/>
              <a:gd name="connsiteX2684" fmla="*/ 1618733 w 4664922"/>
              <a:gd name="connsiteY2684" fmla="*/ 526254 h 1786050"/>
              <a:gd name="connsiteX2685" fmla="*/ 1609131 w 4664922"/>
              <a:gd name="connsiteY2685" fmla="*/ 521164 h 1786050"/>
              <a:gd name="connsiteX2686" fmla="*/ 1608379 w 4664922"/>
              <a:gd name="connsiteY2686" fmla="*/ 521164 h 1786050"/>
              <a:gd name="connsiteX2687" fmla="*/ 1588481 w 4664922"/>
              <a:gd name="connsiteY2687" fmla="*/ 531691 h 1786050"/>
              <a:gd name="connsiteX2688" fmla="*/ 1590968 w 4664922"/>
              <a:gd name="connsiteY2688" fmla="*/ 532617 h 1786050"/>
              <a:gd name="connsiteX2689" fmla="*/ 1597736 w 4664922"/>
              <a:gd name="connsiteY2689" fmla="*/ 532617 h 1786050"/>
              <a:gd name="connsiteX2690" fmla="*/ 1605140 w 4664922"/>
              <a:gd name="connsiteY2690" fmla="*/ 534526 h 1786050"/>
              <a:gd name="connsiteX2691" fmla="*/ 1603058 w 4664922"/>
              <a:gd name="connsiteY2691" fmla="*/ 538691 h 1786050"/>
              <a:gd name="connsiteX2692" fmla="*/ 1601785 w 4664922"/>
              <a:gd name="connsiteY2692" fmla="*/ 540252 h 1786050"/>
              <a:gd name="connsiteX2693" fmla="*/ 1606586 w 4664922"/>
              <a:gd name="connsiteY2693" fmla="*/ 541930 h 1786050"/>
              <a:gd name="connsiteX2694" fmla="*/ 1617692 w 4664922"/>
              <a:gd name="connsiteY2694" fmla="*/ 545690 h 1786050"/>
              <a:gd name="connsiteX2695" fmla="*/ 1621799 w 4664922"/>
              <a:gd name="connsiteY2695" fmla="*/ 550607 h 1786050"/>
              <a:gd name="connsiteX2696" fmla="*/ 1608668 w 4664922"/>
              <a:gd name="connsiteY2696" fmla="*/ 555755 h 1786050"/>
              <a:gd name="connsiteX2697" fmla="*/ 1593976 w 4664922"/>
              <a:gd name="connsiteY2697" fmla="*/ 551706 h 1786050"/>
              <a:gd name="connsiteX2698" fmla="*/ 1583101 w 4664922"/>
              <a:gd name="connsiteY2698" fmla="*/ 548235 h 1786050"/>
              <a:gd name="connsiteX2699" fmla="*/ 1566095 w 4664922"/>
              <a:gd name="connsiteY2699" fmla="*/ 557374 h 1786050"/>
              <a:gd name="connsiteX2700" fmla="*/ 1566731 w 4664922"/>
              <a:gd name="connsiteY2700" fmla="*/ 562118 h 1786050"/>
              <a:gd name="connsiteX2701" fmla="*/ 1601438 w 4664922"/>
              <a:gd name="connsiteY2701" fmla="*/ 583983 h 1786050"/>
              <a:gd name="connsiteX2702" fmla="*/ 1620295 w 4664922"/>
              <a:gd name="connsiteY2702" fmla="*/ 592949 h 1786050"/>
              <a:gd name="connsiteX2703" fmla="*/ 1626079 w 4664922"/>
              <a:gd name="connsiteY2703" fmla="*/ 597750 h 1786050"/>
              <a:gd name="connsiteX2704" fmla="*/ 1631864 w 4664922"/>
              <a:gd name="connsiteY2704" fmla="*/ 603071 h 1786050"/>
              <a:gd name="connsiteX2705" fmla="*/ 1621799 w 4664922"/>
              <a:gd name="connsiteY2705" fmla="*/ 608046 h 1786050"/>
              <a:gd name="connsiteX2706" fmla="*/ 1621337 w 4664922"/>
              <a:gd name="connsiteY2706" fmla="*/ 608046 h 1786050"/>
              <a:gd name="connsiteX2707" fmla="*/ 1600975 w 4664922"/>
              <a:gd name="connsiteY2707" fmla="*/ 598386 h 1786050"/>
              <a:gd name="connsiteX2708" fmla="*/ 1589753 w 4664922"/>
              <a:gd name="connsiteY2708" fmla="*/ 591734 h 1786050"/>
              <a:gd name="connsiteX2709" fmla="*/ 1576738 w 4664922"/>
              <a:gd name="connsiteY2709" fmla="*/ 589709 h 1786050"/>
              <a:gd name="connsiteX2710" fmla="*/ 1565921 w 4664922"/>
              <a:gd name="connsiteY2710" fmla="*/ 590114 h 1786050"/>
              <a:gd name="connsiteX2711" fmla="*/ 1555741 w 4664922"/>
              <a:gd name="connsiteY2711" fmla="*/ 590519 h 1786050"/>
              <a:gd name="connsiteX2712" fmla="*/ 1542957 w 4664922"/>
              <a:gd name="connsiteY2712" fmla="*/ 587453 h 1786050"/>
              <a:gd name="connsiteX2713" fmla="*/ 1541858 w 4664922"/>
              <a:gd name="connsiteY2713" fmla="*/ 576579 h 1786050"/>
              <a:gd name="connsiteX2714" fmla="*/ 1541395 w 4664922"/>
              <a:gd name="connsiteY2714" fmla="*/ 569811 h 1786050"/>
              <a:gd name="connsiteX2715" fmla="*/ 1547700 w 4664922"/>
              <a:gd name="connsiteY2715" fmla="*/ 541294 h 1786050"/>
              <a:gd name="connsiteX2716" fmla="*/ 1548510 w 4664922"/>
              <a:gd name="connsiteY2716" fmla="*/ 522610 h 1786050"/>
              <a:gd name="connsiteX2717" fmla="*/ 1536595 w 4664922"/>
              <a:gd name="connsiteY2717" fmla="*/ 509016 h 1786050"/>
              <a:gd name="connsiteX2718" fmla="*/ 1529826 w 4664922"/>
              <a:gd name="connsiteY2718" fmla="*/ 510463 h 1786050"/>
              <a:gd name="connsiteX2719" fmla="*/ 1530578 w 4664922"/>
              <a:gd name="connsiteY2719" fmla="*/ 518214 h 1786050"/>
              <a:gd name="connsiteX2720" fmla="*/ 1523637 w 4664922"/>
              <a:gd name="connsiteY2720" fmla="*/ 548235 h 1786050"/>
              <a:gd name="connsiteX2721" fmla="*/ 1503102 w 4664922"/>
              <a:gd name="connsiteY2721" fmla="*/ 558473 h 1786050"/>
              <a:gd name="connsiteX2722" fmla="*/ 1491187 w 4664922"/>
              <a:gd name="connsiteY2722" fmla="*/ 564258 h 1786050"/>
              <a:gd name="connsiteX2723" fmla="*/ 1484014 w 4664922"/>
              <a:gd name="connsiteY2723" fmla="*/ 573744 h 1786050"/>
              <a:gd name="connsiteX2724" fmla="*/ 1479097 w 4664922"/>
              <a:gd name="connsiteY2724" fmla="*/ 579066 h 1786050"/>
              <a:gd name="connsiteX2725" fmla="*/ 1479907 w 4664922"/>
              <a:gd name="connsiteY2725" fmla="*/ 580396 h 1786050"/>
              <a:gd name="connsiteX2726" fmla="*/ 1511317 w 4664922"/>
              <a:gd name="connsiteY2726" fmla="*/ 618342 h 1786050"/>
              <a:gd name="connsiteX2727" fmla="*/ 1504606 w 4664922"/>
              <a:gd name="connsiteY2727" fmla="*/ 637199 h 1786050"/>
              <a:gd name="connsiteX2728" fmla="*/ 1495178 w 4664922"/>
              <a:gd name="connsiteY2728" fmla="*/ 664560 h 1786050"/>
              <a:gd name="connsiteX2729" fmla="*/ 1495178 w 4664922"/>
              <a:gd name="connsiteY2729" fmla="*/ 681913 h 1786050"/>
              <a:gd name="connsiteX2730" fmla="*/ 1495988 w 4664922"/>
              <a:gd name="connsiteY2730" fmla="*/ 691920 h 1786050"/>
              <a:gd name="connsiteX2731" fmla="*/ 1502524 w 4664922"/>
              <a:gd name="connsiteY2731" fmla="*/ 694812 h 1786050"/>
              <a:gd name="connsiteX2732" fmla="*/ 1506805 w 4664922"/>
              <a:gd name="connsiteY2732" fmla="*/ 694523 h 1786050"/>
              <a:gd name="connsiteX2733" fmla="*/ 1511374 w 4664922"/>
              <a:gd name="connsiteY2733" fmla="*/ 694234 h 1786050"/>
              <a:gd name="connsiteX2734" fmla="*/ 1516465 w 4664922"/>
              <a:gd name="connsiteY2734" fmla="*/ 695159 h 1786050"/>
              <a:gd name="connsiteX2735" fmla="*/ 1531793 w 4664922"/>
              <a:gd name="connsiteY2735" fmla="*/ 692672 h 1786050"/>
              <a:gd name="connsiteX2736" fmla="*/ 1547700 w 4664922"/>
              <a:gd name="connsiteY2736" fmla="*/ 688160 h 1786050"/>
              <a:gd name="connsiteX2737" fmla="*/ 1551750 w 4664922"/>
              <a:gd name="connsiteY2737" fmla="*/ 687813 h 1786050"/>
              <a:gd name="connsiteX2738" fmla="*/ 1595653 w 4664922"/>
              <a:gd name="connsiteY2738" fmla="*/ 703431 h 1786050"/>
              <a:gd name="connsiteX2739" fmla="*/ 1600917 w 4664922"/>
              <a:gd name="connsiteY2739" fmla="*/ 706034 h 1786050"/>
              <a:gd name="connsiteX2740" fmla="*/ 1608726 w 4664922"/>
              <a:gd name="connsiteY2740" fmla="*/ 718471 h 1786050"/>
              <a:gd name="connsiteX2741" fmla="*/ 1611445 w 4664922"/>
              <a:gd name="connsiteY2741" fmla="*/ 727437 h 1786050"/>
              <a:gd name="connsiteX2742" fmla="*/ 1607106 w 4664922"/>
              <a:gd name="connsiteY2742" fmla="*/ 737559 h 1786050"/>
              <a:gd name="connsiteX2743" fmla="*/ 1599298 w 4664922"/>
              <a:gd name="connsiteY2743" fmla="*/ 750401 h 1786050"/>
              <a:gd name="connsiteX2744" fmla="*/ 1621105 w 4664922"/>
              <a:gd name="connsiteY2744" fmla="*/ 765845 h 1786050"/>
              <a:gd name="connsiteX2745" fmla="*/ 1630707 w 4664922"/>
              <a:gd name="connsiteY2745" fmla="*/ 770993 h 1786050"/>
              <a:gd name="connsiteX2746" fmla="*/ 1630707 w 4664922"/>
              <a:gd name="connsiteY2746" fmla="*/ 772671 h 1786050"/>
              <a:gd name="connsiteX2747" fmla="*/ 1624460 w 4664922"/>
              <a:gd name="connsiteY2747" fmla="*/ 774175 h 1786050"/>
              <a:gd name="connsiteX2748" fmla="*/ 1598835 w 4664922"/>
              <a:gd name="connsiteY2748" fmla="*/ 769952 h 1786050"/>
              <a:gd name="connsiteX2749" fmla="*/ 1588191 w 4664922"/>
              <a:gd name="connsiteY2749" fmla="*/ 756764 h 1786050"/>
              <a:gd name="connsiteX2750" fmla="*/ 1585993 w 4664922"/>
              <a:gd name="connsiteY2750" fmla="*/ 752425 h 1786050"/>
              <a:gd name="connsiteX2751" fmla="*/ 1588076 w 4664922"/>
              <a:gd name="connsiteY2751" fmla="*/ 742476 h 1786050"/>
              <a:gd name="connsiteX2752" fmla="*/ 1592414 w 4664922"/>
              <a:gd name="connsiteY2752" fmla="*/ 731601 h 1786050"/>
              <a:gd name="connsiteX2753" fmla="*/ 1584721 w 4664922"/>
              <a:gd name="connsiteY2753" fmla="*/ 720553 h 1786050"/>
              <a:gd name="connsiteX2754" fmla="*/ 1578936 w 4664922"/>
              <a:gd name="connsiteY2754" fmla="*/ 715058 h 1786050"/>
              <a:gd name="connsiteX2755" fmla="*/ 1562740 w 4664922"/>
              <a:gd name="connsiteY2755" fmla="*/ 704183 h 1786050"/>
              <a:gd name="connsiteX2756" fmla="*/ 1555336 w 4664922"/>
              <a:gd name="connsiteY2756" fmla="*/ 705456 h 1786050"/>
              <a:gd name="connsiteX2757" fmla="*/ 1521266 w 4664922"/>
              <a:gd name="connsiteY2757" fmla="*/ 715231 h 1786050"/>
              <a:gd name="connsiteX2758" fmla="*/ 1527050 w 4664922"/>
              <a:gd name="connsiteY2758" fmla="*/ 751442 h 1786050"/>
              <a:gd name="connsiteX2759" fmla="*/ 1527050 w 4664922"/>
              <a:gd name="connsiteY2759" fmla="*/ 751905 h 1786050"/>
              <a:gd name="connsiteX2760" fmla="*/ 1514613 w 4664922"/>
              <a:gd name="connsiteY2760" fmla="*/ 772150 h 1786050"/>
              <a:gd name="connsiteX2761" fmla="*/ 1504491 w 4664922"/>
              <a:gd name="connsiteY2761" fmla="*/ 784529 h 1786050"/>
              <a:gd name="connsiteX2762" fmla="*/ 1487600 w 4664922"/>
              <a:gd name="connsiteY2762" fmla="*/ 801593 h 1786050"/>
              <a:gd name="connsiteX2763" fmla="*/ 1483319 w 4664922"/>
              <a:gd name="connsiteY2763" fmla="*/ 803849 h 1786050"/>
              <a:gd name="connsiteX2764" fmla="*/ 1477535 w 4664922"/>
              <a:gd name="connsiteY2764" fmla="*/ 806625 h 1786050"/>
              <a:gd name="connsiteX2765" fmla="*/ 1458563 w 4664922"/>
              <a:gd name="connsiteY2765" fmla="*/ 824615 h 1786050"/>
              <a:gd name="connsiteX2766" fmla="*/ 1456943 w 4664922"/>
              <a:gd name="connsiteY2766" fmla="*/ 829647 h 1786050"/>
              <a:gd name="connsiteX2767" fmla="*/ 1451158 w 4664922"/>
              <a:gd name="connsiteY2767" fmla="*/ 831730 h 1786050"/>
              <a:gd name="connsiteX2768" fmla="*/ 1432475 w 4664922"/>
              <a:gd name="connsiteY2768" fmla="*/ 825598 h 1786050"/>
              <a:gd name="connsiteX2769" fmla="*/ 1416047 w 4664922"/>
              <a:gd name="connsiteY2769" fmla="*/ 825945 h 1786050"/>
              <a:gd name="connsiteX2770" fmla="*/ 1402453 w 4664922"/>
              <a:gd name="connsiteY2770" fmla="*/ 828201 h 1786050"/>
              <a:gd name="connsiteX2771" fmla="*/ 1401470 w 4664922"/>
              <a:gd name="connsiteY2771" fmla="*/ 828201 h 1786050"/>
              <a:gd name="connsiteX2772" fmla="*/ 1389438 w 4664922"/>
              <a:gd name="connsiteY2772" fmla="*/ 823342 h 1786050"/>
              <a:gd name="connsiteX2773" fmla="*/ 1383654 w 4664922"/>
              <a:gd name="connsiteY2773" fmla="*/ 820508 h 1786050"/>
              <a:gd name="connsiteX2774" fmla="*/ 1380241 w 4664922"/>
              <a:gd name="connsiteY2774" fmla="*/ 821260 h 1786050"/>
              <a:gd name="connsiteX2775" fmla="*/ 1366532 w 4664922"/>
              <a:gd name="connsiteY2775" fmla="*/ 817789 h 1786050"/>
              <a:gd name="connsiteX2776" fmla="*/ 1365491 w 4664922"/>
              <a:gd name="connsiteY2776" fmla="*/ 808071 h 1786050"/>
              <a:gd name="connsiteX2777" fmla="*/ 1371275 w 4664922"/>
              <a:gd name="connsiteY2777" fmla="*/ 803907 h 1786050"/>
              <a:gd name="connsiteX2778" fmla="*/ 1381977 w 4664922"/>
              <a:gd name="connsiteY2778" fmla="*/ 811947 h 1786050"/>
              <a:gd name="connsiteX2779" fmla="*/ 1384464 w 4664922"/>
              <a:gd name="connsiteY2779" fmla="*/ 813972 h 1786050"/>
              <a:gd name="connsiteX2780" fmla="*/ 1396033 w 4664922"/>
              <a:gd name="connsiteY2780" fmla="*/ 809518 h 1786050"/>
              <a:gd name="connsiteX2781" fmla="*/ 1399908 w 4664922"/>
              <a:gd name="connsiteY2781" fmla="*/ 808245 h 1786050"/>
              <a:gd name="connsiteX2782" fmla="*/ 1404073 w 4664922"/>
              <a:gd name="connsiteY2782" fmla="*/ 811137 h 1786050"/>
              <a:gd name="connsiteX2783" fmla="*/ 1412460 w 4664922"/>
              <a:gd name="connsiteY2783" fmla="*/ 815823 h 1786050"/>
              <a:gd name="connsiteX2784" fmla="*/ 1419691 w 4664922"/>
              <a:gd name="connsiteY2784" fmla="*/ 813451 h 1786050"/>
              <a:gd name="connsiteX2785" fmla="*/ 1426575 w 4664922"/>
              <a:gd name="connsiteY2785" fmla="*/ 810617 h 1786050"/>
              <a:gd name="connsiteX2786" fmla="*/ 1429235 w 4664922"/>
              <a:gd name="connsiteY2786" fmla="*/ 810617 h 1786050"/>
              <a:gd name="connsiteX2787" fmla="*/ 1433285 w 4664922"/>
              <a:gd name="connsiteY2787" fmla="*/ 809575 h 1786050"/>
              <a:gd name="connsiteX2788" fmla="*/ 1432012 w 4664922"/>
              <a:gd name="connsiteY2788" fmla="*/ 805758 h 1786050"/>
              <a:gd name="connsiteX2789" fmla="*/ 1431491 w 4664922"/>
              <a:gd name="connsiteY2789" fmla="*/ 802403 h 1786050"/>
              <a:gd name="connsiteX2790" fmla="*/ 1442713 w 4664922"/>
              <a:gd name="connsiteY2790" fmla="*/ 794825 h 1786050"/>
              <a:gd name="connsiteX2791" fmla="*/ 1444622 w 4664922"/>
              <a:gd name="connsiteY2791" fmla="*/ 794015 h 1786050"/>
              <a:gd name="connsiteX2792" fmla="*/ 1448729 w 4664922"/>
              <a:gd name="connsiteY2792" fmla="*/ 787074 h 1786050"/>
              <a:gd name="connsiteX2793" fmla="*/ 1453009 w 4664922"/>
              <a:gd name="connsiteY2793" fmla="*/ 779554 h 1786050"/>
              <a:gd name="connsiteX2794" fmla="*/ 1455843 w 4664922"/>
              <a:gd name="connsiteY2794" fmla="*/ 775158 h 1786050"/>
              <a:gd name="connsiteX2795" fmla="*/ 1460761 w 4664922"/>
              <a:gd name="connsiteY2795" fmla="*/ 770531 h 1786050"/>
              <a:gd name="connsiteX2796" fmla="*/ 1466834 w 4664922"/>
              <a:gd name="connsiteY2796" fmla="*/ 766250 h 1786050"/>
              <a:gd name="connsiteX2797" fmla="*/ 1474122 w 4664922"/>
              <a:gd name="connsiteY2797" fmla="*/ 761623 h 1786050"/>
              <a:gd name="connsiteX2798" fmla="*/ 1478229 w 4664922"/>
              <a:gd name="connsiteY2798" fmla="*/ 758557 h 1786050"/>
              <a:gd name="connsiteX2799" fmla="*/ 1478229 w 4664922"/>
              <a:gd name="connsiteY2799" fmla="*/ 750459 h 1786050"/>
              <a:gd name="connsiteX2800" fmla="*/ 1478229 w 4664922"/>
              <a:gd name="connsiteY2800" fmla="*/ 740741 h 1786050"/>
              <a:gd name="connsiteX2801" fmla="*/ 1486327 w 4664922"/>
              <a:gd name="connsiteY2801" fmla="*/ 730560 h 1786050"/>
              <a:gd name="connsiteX2802" fmla="*/ 1489683 w 4664922"/>
              <a:gd name="connsiteY2802" fmla="*/ 727494 h 1786050"/>
              <a:gd name="connsiteX2803" fmla="*/ 1486791 w 4664922"/>
              <a:gd name="connsiteY2803" fmla="*/ 722462 h 1786050"/>
              <a:gd name="connsiteX2804" fmla="*/ 1485113 w 4664922"/>
              <a:gd name="connsiteY2804" fmla="*/ 721247 h 1786050"/>
              <a:gd name="connsiteX2805" fmla="*/ 1464983 w 4664922"/>
              <a:gd name="connsiteY2805" fmla="*/ 698109 h 1786050"/>
              <a:gd name="connsiteX2806" fmla="*/ 1464289 w 4664922"/>
              <a:gd name="connsiteY2806" fmla="*/ 685442 h 1786050"/>
              <a:gd name="connsiteX2807" fmla="*/ 1464289 w 4664922"/>
              <a:gd name="connsiteY2807" fmla="*/ 670055 h 1786050"/>
              <a:gd name="connsiteX2808" fmla="*/ 1464289 w 4664922"/>
              <a:gd name="connsiteY2808" fmla="*/ 647785 h 1786050"/>
              <a:gd name="connsiteX2809" fmla="*/ 1463884 w 4664922"/>
              <a:gd name="connsiteY2809" fmla="*/ 644661 h 1786050"/>
              <a:gd name="connsiteX2810" fmla="*/ 1466718 w 4664922"/>
              <a:gd name="connsiteY2810" fmla="*/ 630489 h 1786050"/>
              <a:gd name="connsiteX2811" fmla="*/ 1470826 w 4664922"/>
              <a:gd name="connsiteY2811" fmla="*/ 615681 h 1786050"/>
              <a:gd name="connsiteX2812" fmla="*/ 1449250 w 4664922"/>
              <a:gd name="connsiteY2812" fmla="*/ 585834 h 1786050"/>
              <a:gd name="connsiteX2813" fmla="*/ 1444738 w 4664922"/>
              <a:gd name="connsiteY2813" fmla="*/ 580801 h 1786050"/>
              <a:gd name="connsiteX2814" fmla="*/ 1457869 w 4664922"/>
              <a:gd name="connsiteY2814" fmla="*/ 563448 h 1786050"/>
              <a:gd name="connsiteX2815" fmla="*/ 1469437 w 4664922"/>
              <a:gd name="connsiteY2815" fmla="*/ 517982 h 1786050"/>
              <a:gd name="connsiteX2816" fmla="*/ 1438490 w 4664922"/>
              <a:gd name="connsiteY2816" fmla="*/ 507628 h 1786050"/>
              <a:gd name="connsiteX2817" fmla="*/ 1436697 w 4664922"/>
              <a:gd name="connsiteY2817" fmla="*/ 507628 h 1786050"/>
              <a:gd name="connsiteX2818" fmla="*/ 1429119 w 4664922"/>
              <a:gd name="connsiteY2818" fmla="*/ 507628 h 1786050"/>
              <a:gd name="connsiteX2819" fmla="*/ 1384290 w 4664922"/>
              <a:gd name="connsiteY2819" fmla="*/ 504967 h 1786050"/>
              <a:gd name="connsiteX2820" fmla="*/ 1371738 w 4664922"/>
              <a:gd name="connsiteY2820" fmla="*/ 516536 h 1786050"/>
              <a:gd name="connsiteX2821" fmla="*/ 1370176 w 4664922"/>
              <a:gd name="connsiteY2821" fmla="*/ 519776 h 1786050"/>
              <a:gd name="connsiteX2822" fmla="*/ 1366243 w 4664922"/>
              <a:gd name="connsiteY2822" fmla="*/ 526948 h 1786050"/>
              <a:gd name="connsiteX2823" fmla="*/ 1352071 w 4664922"/>
              <a:gd name="connsiteY2823" fmla="*/ 558358 h 1786050"/>
              <a:gd name="connsiteX2824" fmla="*/ 1319331 w 4664922"/>
              <a:gd name="connsiteY2824" fmla="*/ 585313 h 1786050"/>
              <a:gd name="connsiteX2825" fmla="*/ 1315051 w 4664922"/>
              <a:gd name="connsiteY2825" fmla="*/ 586933 h 1786050"/>
              <a:gd name="connsiteX2826" fmla="*/ 1303482 w 4664922"/>
              <a:gd name="connsiteY2826" fmla="*/ 600179 h 1786050"/>
              <a:gd name="connsiteX2827" fmla="*/ 1304060 w 4664922"/>
              <a:gd name="connsiteY2827" fmla="*/ 609087 h 1786050"/>
              <a:gd name="connsiteX2828" fmla="*/ 1309845 w 4664922"/>
              <a:gd name="connsiteY2828" fmla="*/ 611979 h 1786050"/>
              <a:gd name="connsiteX2829" fmla="*/ 1312679 w 4664922"/>
              <a:gd name="connsiteY2829" fmla="*/ 611979 h 1786050"/>
              <a:gd name="connsiteX2830" fmla="*/ 1319273 w 4664922"/>
              <a:gd name="connsiteY2830" fmla="*/ 612558 h 1786050"/>
              <a:gd name="connsiteX2831" fmla="*/ 1321587 w 4664922"/>
              <a:gd name="connsiteY2831" fmla="*/ 617012 h 1786050"/>
              <a:gd name="connsiteX2832" fmla="*/ 1316208 w 4664922"/>
              <a:gd name="connsiteY2832" fmla="*/ 636216 h 1786050"/>
              <a:gd name="connsiteX2833" fmla="*/ 1316728 w 4664922"/>
              <a:gd name="connsiteY2833" fmla="*/ 639224 h 1786050"/>
              <a:gd name="connsiteX2834" fmla="*/ 1314704 w 4664922"/>
              <a:gd name="connsiteY2834" fmla="*/ 649081 h 1786050"/>
              <a:gd name="connsiteX2835" fmla="*/ 1314472 w 4664922"/>
              <a:gd name="connsiteY2835" fmla="*/ 649231 h 1786050"/>
              <a:gd name="connsiteX2836" fmla="*/ 1304581 w 4664922"/>
              <a:gd name="connsiteY2836" fmla="*/ 662188 h 1786050"/>
              <a:gd name="connsiteX2837" fmla="*/ 1305448 w 4664922"/>
              <a:gd name="connsiteY2837" fmla="*/ 666122 h 1786050"/>
              <a:gd name="connsiteX2838" fmla="*/ 1321355 w 4664922"/>
              <a:gd name="connsiteY2838" fmla="*/ 672369 h 1786050"/>
              <a:gd name="connsiteX2839" fmla="*/ 1337436 w 4664922"/>
              <a:gd name="connsiteY2839" fmla="*/ 678153 h 1786050"/>
              <a:gd name="connsiteX2840" fmla="*/ 1345014 w 4664922"/>
              <a:gd name="connsiteY2840" fmla="*/ 690127 h 1786050"/>
              <a:gd name="connsiteX2841" fmla="*/ 1349526 w 4664922"/>
              <a:gd name="connsiteY2841" fmla="*/ 700655 h 1786050"/>
              <a:gd name="connsiteX2842" fmla="*/ 1359244 w 4664922"/>
              <a:gd name="connsiteY2842" fmla="*/ 705803 h 1786050"/>
              <a:gd name="connsiteX2843" fmla="*/ 1366127 w 4664922"/>
              <a:gd name="connsiteY2843" fmla="*/ 709273 h 1786050"/>
              <a:gd name="connsiteX2844" fmla="*/ 1364739 w 4664922"/>
              <a:gd name="connsiteY2844" fmla="*/ 718760 h 1786050"/>
              <a:gd name="connsiteX2845" fmla="*/ 1348369 w 4664922"/>
              <a:gd name="connsiteY2845" fmla="*/ 738022 h 1786050"/>
              <a:gd name="connsiteX2846" fmla="*/ 1347906 w 4664922"/>
              <a:gd name="connsiteY2846" fmla="*/ 738022 h 1786050"/>
              <a:gd name="connsiteX2847" fmla="*/ 1323611 w 4664922"/>
              <a:gd name="connsiteY2847" fmla="*/ 719685 h 1786050"/>
              <a:gd name="connsiteX2848" fmla="*/ 1314414 w 4664922"/>
              <a:gd name="connsiteY2848" fmla="*/ 711587 h 1786050"/>
              <a:gd name="connsiteX2849" fmla="*/ 1292491 w 4664922"/>
              <a:gd name="connsiteY2849" fmla="*/ 701869 h 1786050"/>
              <a:gd name="connsiteX2850" fmla="*/ 1270569 w 4664922"/>
              <a:gd name="connsiteY2850" fmla="*/ 692672 h 1786050"/>
              <a:gd name="connsiteX2851" fmla="*/ 1255818 w 4664922"/>
              <a:gd name="connsiteY2851" fmla="*/ 687177 h 1786050"/>
              <a:gd name="connsiteX2852" fmla="*/ 1234127 w 4664922"/>
              <a:gd name="connsiteY2852" fmla="*/ 677633 h 1786050"/>
              <a:gd name="connsiteX2853" fmla="*/ 1184265 w 4664922"/>
              <a:gd name="connsiteY2853" fmla="*/ 664502 h 1786050"/>
              <a:gd name="connsiteX2854" fmla="*/ 1181777 w 4664922"/>
              <a:gd name="connsiteY2854" fmla="*/ 664502 h 1786050"/>
              <a:gd name="connsiteX2855" fmla="*/ 1149674 w 4664922"/>
              <a:gd name="connsiteY2855" fmla="*/ 661378 h 1786050"/>
              <a:gd name="connsiteX2856" fmla="*/ 1134750 w 4664922"/>
              <a:gd name="connsiteY2856" fmla="*/ 659990 h 1786050"/>
              <a:gd name="connsiteX2857" fmla="*/ 1126189 w 4664922"/>
              <a:gd name="connsiteY2857" fmla="*/ 655189 h 1786050"/>
              <a:gd name="connsiteX2858" fmla="*/ 1113926 w 4664922"/>
              <a:gd name="connsiteY2858" fmla="*/ 645008 h 1786050"/>
              <a:gd name="connsiteX2859" fmla="*/ 1102010 w 4664922"/>
              <a:gd name="connsiteY2859" fmla="*/ 639224 h 1786050"/>
              <a:gd name="connsiteX2860" fmla="*/ 1086219 w 4664922"/>
              <a:gd name="connsiteY2860" fmla="*/ 633150 h 1786050"/>
              <a:gd name="connsiteX2861" fmla="*/ 1081823 w 4664922"/>
              <a:gd name="connsiteY2861" fmla="*/ 634249 h 1786050"/>
              <a:gd name="connsiteX2862" fmla="*/ 1077889 w 4664922"/>
              <a:gd name="connsiteY2862" fmla="*/ 643736 h 1786050"/>
              <a:gd name="connsiteX2863" fmla="*/ 1089111 w 4664922"/>
              <a:gd name="connsiteY2863" fmla="*/ 654726 h 1786050"/>
              <a:gd name="connsiteX2864" fmla="*/ 1099234 w 4664922"/>
              <a:gd name="connsiteY2864" fmla="*/ 659817 h 1786050"/>
              <a:gd name="connsiteX2865" fmla="*/ 1109067 w 4664922"/>
              <a:gd name="connsiteY2865" fmla="*/ 662767 h 1786050"/>
              <a:gd name="connsiteX2866" fmla="*/ 1124743 w 4664922"/>
              <a:gd name="connsiteY2866" fmla="*/ 666642 h 1786050"/>
              <a:gd name="connsiteX2867" fmla="*/ 1127635 w 4664922"/>
              <a:gd name="connsiteY2867" fmla="*/ 676476 h 1786050"/>
              <a:gd name="connsiteX2868" fmla="*/ 1139783 w 4664922"/>
              <a:gd name="connsiteY2868" fmla="*/ 698225 h 1786050"/>
              <a:gd name="connsiteX2869" fmla="*/ 1142501 w 4664922"/>
              <a:gd name="connsiteY2869" fmla="*/ 708406 h 1786050"/>
              <a:gd name="connsiteX2870" fmla="*/ 1130527 w 4664922"/>
              <a:gd name="connsiteY2870" fmla="*/ 715116 h 1786050"/>
              <a:gd name="connsiteX2871" fmla="*/ 1112307 w 4664922"/>
              <a:gd name="connsiteY2871" fmla="*/ 719107 h 1786050"/>
              <a:gd name="connsiteX2872" fmla="*/ 1112943 w 4664922"/>
              <a:gd name="connsiteY2872" fmla="*/ 722636 h 1786050"/>
              <a:gd name="connsiteX2873" fmla="*/ 1113984 w 4664922"/>
              <a:gd name="connsiteY2873" fmla="*/ 729345 h 1786050"/>
              <a:gd name="connsiteX2874" fmla="*/ 1107505 w 4664922"/>
              <a:gd name="connsiteY2874" fmla="*/ 732064 h 1786050"/>
              <a:gd name="connsiteX2875" fmla="*/ 1097440 w 4664922"/>
              <a:gd name="connsiteY2875" fmla="*/ 729982 h 1786050"/>
              <a:gd name="connsiteX2876" fmla="*/ 1090846 w 4664922"/>
              <a:gd name="connsiteY2876" fmla="*/ 724197 h 1786050"/>
              <a:gd name="connsiteX2877" fmla="*/ 1097036 w 4664922"/>
              <a:gd name="connsiteY2877" fmla="*/ 712223 h 1786050"/>
              <a:gd name="connsiteX2878" fmla="*/ 1097556 w 4664922"/>
              <a:gd name="connsiteY2878" fmla="*/ 710951 h 1786050"/>
              <a:gd name="connsiteX2879" fmla="*/ 1080897 w 4664922"/>
              <a:gd name="connsiteY2879" fmla="*/ 701522 h 1786050"/>
              <a:gd name="connsiteX2880" fmla="*/ 1079913 w 4664922"/>
              <a:gd name="connsiteY2880" fmla="*/ 701522 h 1786050"/>
              <a:gd name="connsiteX2881" fmla="*/ 1052207 w 4664922"/>
              <a:gd name="connsiteY2881" fmla="*/ 715405 h 1786050"/>
              <a:gd name="connsiteX2882" fmla="*/ 1039712 w 4664922"/>
              <a:gd name="connsiteY2882" fmla="*/ 722636 h 1786050"/>
              <a:gd name="connsiteX2883" fmla="*/ 1023747 w 4664922"/>
              <a:gd name="connsiteY2883" fmla="*/ 722636 h 1786050"/>
              <a:gd name="connsiteX2884" fmla="*/ 1007146 w 4664922"/>
              <a:gd name="connsiteY2884" fmla="*/ 721247 h 1786050"/>
              <a:gd name="connsiteX2885" fmla="*/ 993494 w 4664922"/>
              <a:gd name="connsiteY2885" fmla="*/ 722809 h 1786050"/>
              <a:gd name="connsiteX2886" fmla="*/ 975563 w 4664922"/>
              <a:gd name="connsiteY2886" fmla="*/ 736055 h 1786050"/>
              <a:gd name="connsiteX2887" fmla="*/ 968795 w 4664922"/>
              <a:gd name="connsiteY2887" fmla="*/ 741840 h 1786050"/>
              <a:gd name="connsiteX2888" fmla="*/ 967522 w 4664922"/>
              <a:gd name="connsiteY2888" fmla="*/ 741840 h 1786050"/>
              <a:gd name="connsiteX2889" fmla="*/ 961738 w 4664922"/>
              <a:gd name="connsiteY2889" fmla="*/ 741435 h 1786050"/>
              <a:gd name="connsiteX2890" fmla="*/ 955432 w 4664922"/>
              <a:gd name="connsiteY2890" fmla="*/ 741435 h 1786050"/>
              <a:gd name="connsiteX2891" fmla="*/ 947739 w 4664922"/>
              <a:gd name="connsiteY2891" fmla="*/ 741435 h 1786050"/>
              <a:gd name="connsiteX2892" fmla="*/ 930386 w 4664922"/>
              <a:gd name="connsiteY2892" fmla="*/ 738600 h 1786050"/>
              <a:gd name="connsiteX2893" fmla="*/ 926221 w 4664922"/>
              <a:gd name="connsiteY2893" fmla="*/ 732816 h 1786050"/>
              <a:gd name="connsiteX2894" fmla="*/ 936228 w 4664922"/>
              <a:gd name="connsiteY2894" fmla="*/ 729172 h 1786050"/>
              <a:gd name="connsiteX2895" fmla="*/ 939352 w 4664922"/>
              <a:gd name="connsiteY2895" fmla="*/ 729172 h 1786050"/>
              <a:gd name="connsiteX2896" fmla="*/ 945137 w 4664922"/>
              <a:gd name="connsiteY2896" fmla="*/ 727437 h 1786050"/>
              <a:gd name="connsiteX2897" fmla="*/ 943169 w 4664922"/>
              <a:gd name="connsiteY2897" fmla="*/ 722925 h 1786050"/>
              <a:gd name="connsiteX2898" fmla="*/ 946120 w 4664922"/>
              <a:gd name="connsiteY2898" fmla="*/ 709158 h 1786050"/>
              <a:gd name="connsiteX2899" fmla="*/ 948954 w 4664922"/>
              <a:gd name="connsiteY2899" fmla="*/ 703952 h 1786050"/>
              <a:gd name="connsiteX2900" fmla="*/ 947855 w 4664922"/>
              <a:gd name="connsiteY2900" fmla="*/ 703952 h 1786050"/>
              <a:gd name="connsiteX2901" fmla="*/ 913611 w 4664922"/>
              <a:gd name="connsiteY2901" fmla="*/ 715521 h 1786050"/>
              <a:gd name="connsiteX2902" fmla="*/ 911587 w 4664922"/>
              <a:gd name="connsiteY2902" fmla="*/ 722809 h 1786050"/>
              <a:gd name="connsiteX2903" fmla="*/ 908174 w 4664922"/>
              <a:gd name="connsiteY2903" fmla="*/ 731023 h 1786050"/>
              <a:gd name="connsiteX2904" fmla="*/ 905456 w 4664922"/>
              <a:gd name="connsiteY2904" fmla="*/ 731775 h 1786050"/>
              <a:gd name="connsiteX2905" fmla="*/ 900423 w 4664922"/>
              <a:gd name="connsiteY2905" fmla="*/ 728304 h 1786050"/>
              <a:gd name="connsiteX2906" fmla="*/ 895159 w 4664922"/>
              <a:gd name="connsiteY2906" fmla="*/ 723850 h 1786050"/>
              <a:gd name="connsiteX2907" fmla="*/ 892614 w 4664922"/>
              <a:gd name="connsiteY2907" fmla="*/ 723561 h 1786050"/>
              <a:gd name="connsiteX2908" fmla="*/ 833844 w 4664922"/>
              <a:gd name="connsiteY2908" fmla="*/ 742071 h 1786050"/>
              <a:gd name="connsiteX2909" fmla="*/ 816491 w 4664922"/>
              <a:gd name="connsiteY2909" fmla="*/ 752425 h 1786050"/>
              <a:gd name="connsiteX2910" fmla="*/ 808103 w 4664922"/>
              <a:gd name="connsiteY2910" fmla="*/ 757458 h 1786050"/>
              <a:gd name="connsiteX2911" fmla="*/ 791734 w 4664922"/>
              <a:gd name="connsiteY2911" fmla="*/ 764457 h 1786050"/>
              <a:gd name="connsiteX2912" fmla="*/ 777619 w 4664922"/>
              <a:gd name="connsiteY2912" fmla="*/ 767812 h 1786050"/>
              <a:gd name="connsiteX2913" fmla="*/ 773281 w 4664922"/>
              <a:gd name="connsiteY2913" fmla="*/ 783488 h 1786050"/>
              <a:gd name="connsiteX2914" fmla="*/ 772124 w 4664922"/>
              <a:gd name="connsiteY2914" fmla="*/ 795866 h 1786050"/>
              <a:gd name="connsiteX2915" fmla="*/ 740541 w 4664922"/>
              <a:gd name="connsiteY2915" fmla="*/ 802692 h 1786050"/>
              <a:gd name="connsiteX2916" fmla="*/ 724287 w 4664922"/>
              <a:gd name="connsiteY2916" fmla="*/ 802692 h 1786050"/>
              <a:gd name="connsiteX2917" fmla="*/ 711156 w 4664922"/>
              <a:gd name="connsiteY2917" fmla="*/ 791123 h 1786050"/>
              <a:gd name="connsiteX2918" fmla="*/ 702653 w 4664922"/>
              <a:gd name="connsiteY2918" fmla="*/ 782042 h 1786050"/>
              <a:gd name="connsiteX2919" fmla="*/ 697968 w 4664922"/>
              <a:gd name="connsiteY2919" fmla="*/ 778918 h 1786050"/>
              <a:gd name="connsiteX2920" fmla="*/ 700975 w 4664922"/>
              <a:gd name="connsiteY2920" fmla="*/ 763069 h 1786050"/>
              <a:gd name="connsiteX2921" fmla="*/ 708148 w 4664922"/>
              <a:gd name="connsiteY2921" fmla="*/ 759424 h 1786050"/>
              <a:gd name="connsiteX2922" fmla="*/ 720354 w 4664922"/>
              <a:gd name="connsiteY2922" fmla="*/ 755375 h 1786050"/>
              <a:gd name="connsiteX2923" fmla="*/ 728973 w 4664922"/>
              <a:gd name="connsiteY2923" fmla="*/ 752888 h 1786050"/>
              <a:gd name="connsiteX2924" fmla="*/ 737186 w 4664922"/>
              <a:gd name="connsiteY2924" fmla="*/ 754218 h 1786050"/>
              <a:gd name="connsiteX2925" fmla="*/ 744359 w 4664922"/>
              <a:gd name="connsiteY2925" fmla="*/ 754218 h 1786050"/>
              <a:gd name="connsiteX2926" fmla="*/ 738112 w 4664922"/>
              <a:gd name="connsiteY2926" fmla="*/ 744848 h 1786050"/>
              <a:gd name="connsiteX2927" fmla="*/ 727527 w 4664922"/>
              <a:gd name="connsiteY2927" fmla="*/ 728883 h 1786050"/>
              <a:gd name="connsiteX2928" fmla="*/ 704736 w 4664922"/>
              <a:gd name="connsiteY2928" fmla="*/ 718933 h 1786050"/>
              <a:gd name="connsiteX2929" fmla="*/ 694208 w 4664922"/>
              <a:gd name="connsiteY2929" fmla="*/ 720148 h 1786050"/>
              <a:gd name="connsiteX2930" fmla="*/ 682639 w 4664922"/>
              <a:gd name="connsiteY2930" fmla="*/ 721594 h 1786050"/>
              <a:gd name="connsiteX2931" fmla="*/ 659502 w 4664922"/>
              <a:gd name="connsiteY2931" fmla="*/ 716446 h 1786050"/>
              <a:gd name="connsiteX2932" fmla="*/ 656840 w 4664922"/>
              <a:gd name="connsiteY2932" fmla="*/ 715694 h 1786050"/>
              <a:gd name="connsiteX2933" fmla="*/ 655510 w 4664922"/>
              <a:gd name="connsiteY2933" fmla="*/ 716678 h 1786050"/>
              <a:gd name="connsiteX2934" fmla="*/ 665112 w 4664922"/>
              <a:gd name="connsiteY2934" fmla="*/ 724833 h 1786050"/>
              <a:gd name="connsiteX2935" fmla="*/ 673789 w 4664922"/>
              <a:gd name="connsiteY2935" fmla="*/ 738716 h 1786050"/>
              <a:gd name="connsiteX2936" fmla="*/ 673789 w 4664922"/>
              <a:gd name="connsiteY2936" fmla="*/ 744501 h 1786050"/>
              <a:gd name="connsiteX2937" fmla="*/ 663146 w 4664922"/>
              <a:gd name="connsiteY2937" fmla="*/ 775794 h 1786050"/>
              <a:gd name="connsiteX2938" fmla="*/ 660138 w 4664922"/>
              <a:gd name="connsiteY2938" fmla="*/ 782736 h 1786050"/>
              <a:gd name="connsiteX2939" fmla="*/ 665460 w 4664922"/>
              <a:gd name="connsiteY2939" fmla="*/ 783835 h 1786050"/>
              <a:gd name="connsiteX2940" fmla="*/ 670607 w 4664922"/>
              <a:gd name="connsiteY2940" fmla="*/ 783835 h 1786050"/>
              <a:gd name="connsiteX2941" fmla="*/ 671533 w 4664922"/>
              <a:gd name="connsiteY2941" fmla="*/ 783835 h 1786050"/>
              <a:gd name="connsiteX2942" fmla="*/ 678185 w 4664922"/>
              <a:gd name="connsiteY2942" fmla="*/ 786380 h 1786050"/>
              <a:gd name="connsiteX2943" fmla="*/ 682350 w 4664922"/>
              <a:gd name="connsiteY2943" fmla="*/ 807204 h 1786050"/>
              <a:gd name="connsiteX2944" fmla="*/ 682350 w 4664922"/>
              <a:gd name="connsiteY2944" fmla="*/ 809228 h 1786050"/>
              <a:gd name="connsiteX2945" fmla="*/ 677375 w 4664922"/>
              <a:gd name="connsiteY2945" fmla="*/ 822128 h 1786050"/>
              <a:gd name="connsiteX2946" fmla="*/ 673847 w 4664922"/>
              <a:gd name="connsiteY2946" fmla="*/ 830284 h 1786050"/>
              <a:gd name="connsiteX2947" fmla="*/ 671186 w 4664922"/>
              <a:gd name="connsiteY2947" fmla="*/ 834101 h 1786050"/>
              <a:gd name="connsiteX2948" fmla="*/ 666501 w 4664922"/>
              <a:gd name="connsiteY2948" fmla="*/ 832193 h 1786050"/>
              <a:gd name="connsiteX2949" fmla="*/ 661873 w 4664922"/>
              <a:gd name="connsiteY2949" fmla="*/ 830573 h 1786050"/>
              <a:gd name="connsiteX2950" fmla="*/ 659096 w 4664922"/>
              <a:gd name="connsiteY2950" fmla="*/ 831961 h 1786050"/>
              <a:gd name="connsiteX2951" fmla="*/ 651866 w 4664922"/>
              <a:gd name="connsiteY2951" fmla="*/ 822012 h 1786050"/>
              <a:gd name="connsiteX2952" fmla="*/ 637752 w 4664922"/>
              <a:gd name="connsiteY2952" fmla="*/ 818657 h 1786050"/>
              <a:gd name="connsiteX2953" fmla="*/ 625200 w 4664922"/>
              <a:gd name="connsiteY2953" fmla="*/ 817616 h 1786050"/>
              <a:gd name="connsiteX2954" fmla="*/ 620573 w 4664922"/>
              <a:gd name="connsiteY2954" fmla="*/ 816922 h 1786050"/>
              <a:gd name="connsiteX2955" fmla="*/ 609004 w 4664922"/>
              <a:gd name="connsiteY2955" fmla="*/ 825598 h 1786050"/>
              <a:gd name="connsiteX2956" fmla="*/ 583899 w 4664922"/>
              <a:gd name="connsiteY2956" fmla="*/ 836589 h 1786050"/>
              <a:gd name="connsiteX2957" fmla="*/ 566951 w 4664922"/>
              <a:gd name="connsiteY2957" fmla="*/ 848158 h 1786050"/>
              <a:gd name="connsiteX2958" fmla="*/ 558158 w 4664922"/>
              <a:gd name="connsiteY2958" fmla="*/ 855388 h 1786050"/>
              <a:gd name="connsiteX2959" fmla="*/ 553010 w 4664922"/>
              <a:gd name="connsiteY2959" fmla="*/ 863544 h 1786050"/>
              <a:gd name="connsiteX2960" fmla="*/ 559951 w 4664922"/>
              <a:gd name="connsiteY2960" fmla="*/ 877485 h 1786050"/>
              <a:gd name="connsiteX2961" fmla="*/ 571520 w 4664922"/>
              <a:gd name="connsiteY2961" fmla="*/ 899870 h 1786050"/>
              <a:gd name="connsiteX2962" fmla="*/ 559026 w 4664922"/>
              <a:gd name="connsiteY2962" fmla="*/ 904035 h 1786050"/>
              <a:gd name="connsiteX2963" fmla="*/ 536813 w 4664922"/>
              <a:gd name="connsiteY2963" fmla="*/ 898251 h 1786050"/>
              <a:gd name="connsiteX2964" fmla="*/ 509627 w 4664922"/>
              <a:gd name="connsiteY2964" fmla="*/ 892466 h 1786050"/>
              <a:gd name="connsiteX2965" fmla="*/ 494298 w 4664922"/>
              <a:gd name="connsiteY2965" fmla="*/ 883732 h 1786050"/>
              <a:gd name="connsiteX2966" fmla="*/ 478275 w 4664922"/>
              <a:gd name="connsiteY2966" fmla="*/ 873898 h 1786050"/>
              <a:gd name="connsiteX2967" fmla="*/ 477870 w 4664922"/>
              <a:gd name="connsiteY2967" fmla="*/ 873898 h 1786050"/>
              <a:gd name="connsiteX2968" fmla="*/ 463005 w 4664922"/>
              <a:gd name="connsiteY2968" fmla="*/ 888186 h 1786050"/>
              <a:gd name="connsiteX2969" fmla="*/ 463005 w 4664922"/>
              <a:gd name="connsiteY2969" fmla="*/ 888649 h 1786050"/>
              <a:gd name="connsiteX2970" fmla="*/ 465260 w 4664922"/>
              <a:gd name="connsiteY2970" fmla="*/ 895011 h 1786050"/>
              <a:gd name="connsiteX2971" fmla="*/ 471044 w 4664922"/>
              <a:gd name="connsiteY2971" fmla="*/ 903399 h 1786050"/>
              <a:gd name="connsiteX2972" fmla="*/ 496670 w 4664922"/>
              <a:gd name="connsiteY2972" fmla="*/ 912018 h 1786050"/>
              <a:gd name="connsiteX2973" fmla="*/ 501644 w 4664922"/>
              <a:gd name="connsiteY2973" fmla="*/ 914563 h 1786050"/>
              <a:gd name="connsiteX2974" fmla="*/ 500140 w 4664922"/>
              <a:gd name="connsiteY2974" fmla="*/ 930239 h 1786050"/>
              <a:gd name="connsiteX2975" fmla="*/ 485448 w 4664922"/>
              <a:gd name="connsiteY2975" fmla="*/ 936659 h 1786050"/>
              <a:gd name="connsiteX2976" fmla="*/ 477639 w 4664922"/>
              <a:gd name="connsiteY2976" fmla="*/ 933594 h 1786050"/>
              <a:gd name="connsiteX2977" fmla="*/ 467227 w 4664922"/>
              <a:gd name="connsiteY2977" fmla="*/ 931280 h 1786050"/>
              <a:gd name="connsiteX2978" fmla="*/ 456005 w 4664922"/>
              <a:gd name="connsiteY2978" fmla="*/ 926537 h 1786050"/>
              <a:gd name="connsiteX2979" fmla="*/ 435471 w 4664922"/>
              <a:gd name="connsiteY2979" fmla="*/ 913175 h 1786050"/>
              <a:gd name="connsiteX2980" fmla="*/ 432231 w 4664922"/>
              <a:gd name="connsiteY2980" fmla="*/ 913464 h 1786050"/>
              <a:gd name="connsiteX2981" fmla="*/ 419910 w 4664922"/>
              <a:gd name="connsiteY2981" fmla="*/ 910514 h 1786050"/>
              <a:gd name="connsiteX2982" fmla="*/ 416786 w 4664922"/>
              <a:gd name="connsiteY2982" fmla="*/ 896458 h 1786050"/>
              <a:gd name="connsiteX2983" fmla="*/ 412853 w 4664922"/>
              <a:gd name="connsiteY2983" fmla="*/ 883558 h 1786050"/>
              <a:gd name="connsiteX2984" fmla="*/ 410308 w 4664922"/>
              <a:gd name="connsiteY2984" fmla="*/ 876675 h 1786050"/>
              <a:gd name="connsiteX2985" fmla="*/ 409383 w 4664922"/>
              <a:gd name="connsiteY2985" fmla="*/ 871874 h 1786050"/>
              <a:gd name="connsiteX2986" fmla="*/ 411581 w 4664922"/>
              <a:gd name="connsiteY2986" fmla="*/ 858107 h 1786050"/>
              <a:gd name="connsiteX2987" fmla="*/ 413837 w 4664922"/>
              <a:gd name="connsiteY2987" fmla="*/ 847868 h 1786050"/>
              <a:gd name="connsiteX2988" fmla="*/ 413142 w 4664922"/>
              <a:gd name="connsiteY2988" fmla="*/ 841621 h 1786050"/>
              <a:gd name="connsiteX2989" fmla="*/ 409961 w 4664922"/>
              <a:gd name="connsiteY2989" fmla="*/ 835258 h 1786050"/>
              <a:gd name="connsiteX2990" fmla="*/ 393244 w 4664922"/>
              <a:gd name="connsiteY2990" fmla="*/ 827449 h 1786050"/>
              <a:gd name="connsiteX2991" fmla="*/ 383006 w 4664922"/>
              <a:gd name="connsiteY2991" fmla="*/ 820913 h 1786050"/>
              <a:gd name="connsiteX2992" fmla="*/ 376469 w 4664922"/>
              <a:gd name="connsiteY2992" fmla="*/ 815128 h 1786050"/>
              <a:gd name="connsiteX2993" fmla="*/ 348993 w 4664922"/>
              <a:gd name="connsiteY2993" fmla="*/ 791991 h 1786050"/>
              <a:gd name="connsiteX2994" fmla="*/ 341936 w 4664922"/>
              <a:gd name="connsiteY2994" fmla="*/ 786206 h 1786050"/>
              <a:gd name="connsiteX2995" fmla="*/ 338292 w 4664922"/>
              <a:gd name="connsiteY2995" fmla="*/ 783430 h 1786050"/>
              <a:gd name="connsiteX2996" fmla="*/ 339912 w 4664922"/>
              <a:gd name="connsiteY2996" fmla="*/ 781579 h 1786050"/>
              <a:gd name="connsiteX2997" fmla="*/ 343845 w 4664922"/>
              <a:gd name="connsiteY2997" fmla="*/ 780827 h 1786050"/>
              <a:gd name="connsiteX2998" fmla="*/ 362992 w 4664922"/>
              <a:gd name="connsiteY2998" fmla="*/ 789851 h 1786050"/>
              <a:gd name="connsiteX2999" fmla="*/ 400243 w 4664922"/>
              <a:gd name="connsiteY2999" fmla="*/ 805700 h 1786050"/>
              <a:gd name="connsiteX3000" fmla="*/ 424017 w 4664922"/>
              <a:gd name="connsiteY3000" fmla="*/ 812930 h 1786050"/>
              <a:gd name="connsiteX3001" fmla="*/ 447965 w 4664922"/>
              <a:gd name="connsiteY3001" fmla="*/ 820624 h 1786050"/>
              <a:gd name="connsiteX3002" fmla="*/ 459071 w 4664922"/>
              <a:gd name="connsiteY3002" fmla="*/ 822590 h 1786050"/>
              <a:gd name="connsiteX3003" fmla="*/ 511767 w 4664922"/>
              <a:gd name="connsiteY3003" fmla="*/ 831151 h 1786050"/>
              <a:gd name="connsiteX3004" fmla="*/ 517551 w 4664922"/>
              <a:gd name="connsiteY3004" fmla="*/ 831556 h 1786050"/>
              <a:gd name="connsiteX3005" fmla="*/ 589683 w 4664922"/>
              <a:gd name="connsiteY3005" fmla="*/ 796850 h 1786050"/>
              <a:gd name="connsiteX3006" fmla="*/ 589221 w 4664922"/>
              <a:gd name="connsiteY3006" fmla="*/ 774117 h 1786050"/>
              <a:gd name="connsiteX3007" fmla="*/ 586965 w 4664922"/>
              <a:gd name="connsiteY3007" fmla="*/ 765324 h 1786050"/>
              <a:gd name="connsiteX3008" fmla="*/ 579156 w 4664922"/>
              <a:gd name="connsiteY3008" fmla="*/ 759135 h 1786050"/>
              <a:gd name="connsiteX3009" fmla="*/ 571289 w 4664922"/>
              <a:gd name="connsiteY3009" fmla="*/ 753640 h 1786050"/>
              <a:gd name="connsiteX3010" fmla="*/ 549713 w 4664922"/>
              <a:gd name="connsiteY3010" fmla="*/ 740625 h 1786050"/>
              <a:gd name="connsiteX3011" fmla="*/ 536293 w 4664922"/>
              <a:gd name="connsiteY3011" fmla="*/ 733337 h 1786050"/>
              <a:gd name="connsiteX3012" fmla="*/ 527154 w 4664922"/>
              <a:gd name="connsiteY3012" fmla="*/ 728131 h 1786050"/>
              <a:gd name="connsiteX3013" fmla="*/ 491348 w 4664922"/>
              <a:gd name="connsiteY3013" fmla="*/ 710777 h 1786050"/>
              <a:gd name="connsiteX3014" fmla="*/ 486489 w 4664922"/>
              <a:gd name="connsiteY3014" fmla="*/ 707538 h 1786050"/>
              <a:gd name="connsiteX3015" fmla="*/ 425926 w 4664922"/>
              <a:gd name="connsiteY3015" fmla="*/ 682260 h 1786050"/>
              <a:gd name="connsiteX3016" fmla="*/ 423786 w 4664922"/>
              <a:gd name="connsiteY3016" fmla="*/ 682549 h 1786050"/>
              <a:gd name="connsiteX3017" fmla="*/ 415456 w 4664922"/>
              <a:gd name="connsiteY3017" fmla="*/ 685210 h 1786050"/>
              <a:gd name="connsiteX3018" fmla="*/ 408226 w 4664922"/>
              <a:gd name="connsiteY3018" fmla="*/ 680583 h 1786050"/>
              <a:gd name="connsiteX3019" fmla="*/ 400359 w 4664922"/>
              <a:gd name="connsiteY3019" fmla="*/ 676765 h 1786050"/>
              <a:gd name="connsiteX3020" fmla="*/ 390062 w 4664922"/>
              <a:gd name="connsiteY3020" fmla="*/ 680467 h 1786050"/>
              <a:gd name="connsiteX3021" fmla="*/ 385146 w 4664922"/>
              <a:gd name="connsiteY3021" fmla="*/ 682087 h 1786050"/>
              <a:gd name="connsiteX3022" fmla="*/ 378552 w 4664922"/>
              <a:gd name="connsiteY3022" fmla="*/ 680525 h 1786050"/>
              <a:gd name="connsiteX3023" fmla="*/ 368950 w 4664922"/>
              <a:gd name="connsiteY3023" fmla="*/ 678500 h 1786050"/>
              <a:gd name="connsiteX3024" fmla="*/ 364554 w 4664922"/>
              <a:gd name="connsiteY3024" fmla="*/ 679021 h 1786050"/>
              <a:gd name="connsiteX3025" fmla="*/ 359405 w 4664922"/>
              <a:gd name="connsiteY3025" fmla="*/ 679657 h 1786050"/>
              <a:gd name="connsiteX3026" fmla="*/ 347547 w 4664922"/>
              <a:gd name="connsiteY3026" fmla="*/ 673583 h 1786050"/>
              <a:gd name="connsiteX3027" fmla="*/ 348125 w 4664922"/>
              <a:gd name="connsiteY3027" fmla="*/ 668262 h 1786050"/>
              <a:gd name="connsiteX3028" fmla="*/ 358364 w 4664922"/>
              <a:gd name="connsiteY3028" fmla="*/ 665774 h 1786050"/>
              <a:gd name="connsiteX3029" fmla="*/ 367793 w 4664922"/>
              <a:gd name="connsiteY3029" fmla="*/ 663750 h 1786050"/>
              <a:gd name="connsiteX3030" fmla="*/ 368082 w 4664922"/>
              <a:gd name="connsiteY3030" fmla="*/ 662709 h 1786050"/>
              <a:gd name="connsiteX3031" fmla="*/ 364090 w 4664922"/>
              <a:gd name="connsiteY3031" fmla="*/ 660569 h 1786050"/>
              <a:gd name="connsiteX3032" fmla="*/ 350381 w 4664922"/>
              <a:gd name="connsiteY3032" fmla="*/ 656288 h 1786050"/>
              <a:gd name="connsiteX3033" fmla="*/ 341126 w 4664922"/>
              <a:gd name="connsiteY3033" fmla="*/ 652817 h 1786050"/>
              <a:gd name="connsiteX3034" fmla="*/ 332623 w 4664922"/>
              <a:gd name="connsiteY3034" fmla="*/ 659412 h 1786050"/>
              <a:gd name="connsiteX3035" fmla="*/ 325509 w 4664922"/>
              <a:gd name="connsiteY3035" fmla="*/ 663981 h 1786050"/>
              <a:gd name="connsiteX3036" fmla="*/ 314287 w 4664922"/>
              <a:gd name="connsiteY3036" fmla="*/ 659007 h 1786050"/>
              <a:gd name="connsiteX3037" fmla="*/ 313940 w 4664922"/>
              <a:gd name="connsiteY3037" fmla="*/ 658717 h 1786050"/>
              <a:gd name="connsiteX3038" fmla="*/ 303181 w 4664922"/>
              <a:gd name="connsiteY3038" fmla="*/ 668204 h 1786050"/>
              <a:gd name="connsiteX3039" fmla="*/ 299074 w 4664922"/>
              <a:gd name="connsiteY3039" fmla="*/ 667741 h 1786050"/>
              <a:gd name="connsiteX3040" fmla="*/ 288546 w 4664922"/>
              <a:gd name="connsiteY3040" fmla="*/ 672484 h 1786050"/>
              <a:gd name="connsiteX3041" fmla="*/ 276688 w 4664922"/>
              <a:gd name="connsiteY3041" fmla="*/ 678269 h 1786050"/>
              <a:gd name="connsiteX3042" fmla="*/ 259335 w 4664922"/>
              <a:gd name="connsiteY3042" fmla="*/ 693598 h 1786050"/>
              <a:gd name="connsiteX3043" fmla="*/ 251988 w 4664922"/>
              <a:gd name="connsiteY3043" fmla="*/ 699382 h 1786050"/>
              <a:gd name="connsiteX3044" fmla="*/ 248865 w 4664922"/>
              <a:gd name="connsiteY3044" fmla="*/ 701291 h 1786050"/>
              <a:gd name="connsiteX3045" fmla="*/ 244527 w 4664922"/>
              <a:gd name="connsiteY3045" fmla="*/ 716562 h 1786050"/>
              <a:gd name="connsiteX3046" fmla="*/ 245683 w 4664922"/>
              <a:gd name="connsiteY3046" fmla="*/ 725238 h 1786050"/>
              <a:gd name="connsiteX3047" fmla="*/ 248749 w 4664922"/>
              <a:gd name="connsiteY3047" fmla="*/ 730618 h 1786050"/>
              <a:gd name="connsiteX3048" fmla="*/ 260318 w 4664922"/>
              <a:gd name="connsiteY3048" fmla="*/ 738138 h 1786050"/>
              <a:gd name="connsiteX3049" fmla="*/ 265408 w 4664922"/>
              <a:gd name="connsiteY3049" fmla="*/ 739931 h 1786050"/>
              <a:gd name="connsiteX3050" fmla="*/ 285307 w 4664922"/>
              <a:gd name="connsiteY3050" fmla="*/ 761102 h 1786050"/>
              <a:gd name="connsiteX3051" fmla="*/ 267953 w 4664922"/>
              <a:gd name="connsiteY3051" fmla="*/ 782215 h 1786050"/>
              <a:gd name="connsiteX3052" fmla="*/ 259624 w 4664922"/>
              <a:gd name="connsiteY3052" fmla="*/ 793090 h 1786050"/>
              <a:gd name="connsiteX3053" fmla="*/ 260144 w 4664922"/>
              <a:gd name="connsiteY3053" fmla="*/ 796792 h 1786050"/>
              <a:gd name="connsiteX3054" fmla="*/ 261301 w 4664922"/>
              <a:gd name="connsiteY3054" fmla="*/ 798469 h 1786050"/>
              <a:gd name="connsiteX3055" fmla="*/ 286059 w 4664922"/>
              <a:gd name="connsiteY3055" fmla="*/ 838093 h 1786050"/>
              <a:gd name="connsiteX3056" fmla="*/ 289009 w 4664922"/>
              <a:gd name="connsiteY3056" fmla="*/ 848794 h 1786050"/>
              <a:gd name="connsiteX3057" fmla="*/ 283803 w 4664922"/>
              <a:gd name="connsiteY3057" fmla="*/ 851860 h 1786050"/>
              <a:gd name="connsiteX3058" fmla="*/ 277093 w 4664922"/>
              <a:gd name="connsiteY3058" fmla="*/ 855446 h 1786050"/>
              <a:gd name="connsiteX3059" fmla="*/ 279118 w 4664922"/>
              <a:gd name="connsiteY3059" fmla="*/ 871006 h 1786050"/>
              <a:gd name="connsiteX3060" fmla="*/ 281258 w 4664922"/>
              <a:gd name="connsiteY3060" fmla="*/ 875402 h 1786050"/>
              <a:gd name="connsiteX3061" fmla="*/ 277440 w 4664922"/>
              <a:gd name="connsiteY3061" fmla="*/ 881187 h 1786050"/>
              <a:gd name="connsiteX3062" fmla="*/ 274837 w 4664922"/>
              <a:gd name="connsiteY3062" fmla="*/ 883500 h 1786050"/>
              <a:gd name="connsiteX3063" fmla="*/ 281604 w 4664922"/>
              <a:gd name="connsiteY3063" fmla="*/ 887665 h 1786050"/>
              <a:gd name="connsiteX3064" fmla="*/ 288546 w 4664922"/>
              <a:gd name="connsiteY3064" fmla="*/ 892351 h 1786050"/>
              <a:gd name="connsiteX3065" fmla="*/ 286348 w 4664922"/>
              <a:gd name="connsiteY3065" fmla="*/ 897441 h 1786050"/>
              <a:gd name="connsiteX3066" fmla="*/ 284382 w 4664922"/>
              <a:gd name="connsiteY3066" fmla="*/ 905770 h 1786050"/>
              <a:gd name="connsiteX3067" fmla="*/ 291091 w 4664922"/>
              <a:gd name="connsiteY3067" fmla="*/ 911208 h 1786050"/>
              <a:gd name="connsiteX3068" fmla="*/ 299074 w 4664922"/>
              <a:gd name="connsiteY3068" fmla="*/ 920752 h 1786050"/>
              <a:gd name="connsiteX3069" fmla="*/ 289240 w 4664922"/>
              <a:gd name="connsiteY3069" fmla="*/ 930528 h 1786050"/>
              <a:gd name="connsiteX3070" fmla="*/ 282126 w 4664922"/>
              <a:gd name="connsiteY3070" fmla="*/ 936312 h 1786050"/>
              <a:gd name="connsiteX3071" fmla="*/ 295429 w 4664922"/>
              <a:gd name="connsiteY3071" fmla="*/ 946724 h 1786050"/>
              <a:gd name="connsiteX3072" fmla="*/ 316600 w 4664922"/>
              <a:gd name="connsiteY3072" fmla="*/ 962342 h 1786050"/>
              <a:gd name="connsiteX3073" fmla="*/ 324121 w 4664922"/>
              <a:gd name="connsiteY3073" fmla="*/ 985480 h 1786050"/>
              <a:gd name="connsiteX3074" fmla="*/ 304395 w 4664922"/>
              <a:gd name="connsiteY3074" fmla="*/ 1004569 h 1786050"/>
              <a:gd name="connsiteX3075" fmla="*/ 283687 w 4664922"/>
              <a:gd name="connsiteY3075" fmla="*/ 1024293 h 1786050"/>
              <a:gd name="connsiteX3076" fmla="*/ 258640 w 4664922"/>
              <a:gd name="connsiteY3076" fmla="*/ 1046274 h 1786050"/>
              <a:gd name="connsiteX3077" fmla="*/ 241287 w 4664922"/>
              <a:gd name="connsiteY3077" fmla="*/ 1058537 h 1786050"/>
              <a:gd name="connsiteX3078" fmla="*/ 230124 w 4664922"/>
              <a:gd name="connsiteY3078" fmla="*/ 1072420 h 1786050"/>
              <a:gd name="connsiteX3079" fmla="*/ 238395 w 4664922"/>
              <a:gd name="connsiteY3079" fmla="*/ 1069238 h 1786050"/>
              <a:gd name="connsiteX3080" fmla="*/ 240651 w 4664922"/>
              <a:gd name="connsiteY3080" fmla="*/ 1068660 h 1786050"/>
              <a:gd name="connsiteX3081" fmla="*/ 250484 w 4664922"/>
              <a:gd name="connsiteY3081" fmla="*/ 1078436 h 1786050"/>
              <a:gd name="connsiteX3082" fmla="*/ 256963 w 4664922"/>
              <a:gd name="connsiteY3082" fmla="*/ 1087112 h 1786050"/>
              <a:gd name="connsiteX3083" fmla="*/ 269226 w 4664922"/>
              <a:gd name="connsiteY3083" fmla="*/ 1089657 h 1786050"/>
              <a:gd name="connsiteX3084" fmla="*/ 280795 w 4664922"/>
              <a:gd name="connsiteY3084" fmla="*/ 1092492 h 1786050"/>
              <a:gd name="connsiteX3085" fmla="*/ 282183 w 4664922"/>
              <a:gd name="connsiteY3085" fmla="*/ 1096599 h 1786050"/>
              <a:gd name="connsiteX3086" fmla="*/ 275531 w 4664922"/>
              <a:gd name="connsiteY3086" fmla="*/ 1098855 h 1786050"/>
              <a:gd name="connsiteX3087" fmla="*/ 266912 w 4664922"/>
              <a:gd name="connsiteY3087" fmla="*/ 1098045 h 1786050"/>
              <a:gd name="connsiteX3088" fmla="*/ 254128 w 4664922"/>
              <a:gd name="connsiteY3088" fmla="*/ 1101111 h 1786050"/>
              <a:gd name="connsiteX3089" fmla="*/ 241113 w 4664922"/>
              <a:gd name="connsiteY3089" fmla="*/ 1106895 h 1786050"/>
              <a:gd name="connsiteX3090" fmla="*/ 230818 w 4664922"/>
              <a:gd name="connsiteY3090" fmla="*/ 1114010 h 1786050"/>
              <a:gd name="connsiteX3091" fmla="*/ 228850 w 4664922"/>
              <a:gd name="connsiteY3091" fmla="*/ 1116555 h 1786050"/>
              <a:gd name="connsiteX3092" fmla="*/ 227578 w 4664922"/>
              <a:gd name="connsiteY3092" fmla="*/ 1128928 h 1786050"/>
              <a:gd name="connsiteX3093" fmla="*/ 226884 w 4664922"/>
              <a:gd name="connsiteY3093" fmla="*/ 1129454 h 1786050"/>
              <a:gd name="connsiteX3094" fmla="*/ 222893 w 4664922"/>
              <a:gd name="connsiteY3094" fmla="*/ 1134776 h 1786050"/>
              <a:gd name="connsiteX3095" fmla="*/ 217109 w 4664922"/>
              <a:gd name="connsiteY3095" fmla="*/ 1143106 h 1786050"/>
              <a:gd name="connsiteX3096" fmla="*/ 213927 w 4664922"/>
              <a:gd name="connsiteY3096" fmla="*/ 1148369 h 1786050"/>
              <a:gd name="connsiteX3097" fmla="*/ 214563 w 4664922"/>
              <a:gd name="connsiteY3097" fmla="*/ 1156178 h 1786050"/>
              <a:gd name="connsiteX3098" fmla="*/ 215720 w 4664922"/>
              <a:gd name="connsiteY3098" fmla="*/ 1163872 h 1786050"/>
              <a:gd name="connsiteX3099" fmla="*/ 220695 w 4664922"/>
              <a:gd name="connsiteY3099" fmla="*/ 1176540 h 1786050"/>
              <a:gd name="connsiteX3100" fmla="*/ 221620 w 4664922"/>
              <a:gd name="connsiteY3100" fmla="*/ 1177870 h 1786050"/>
              <a:gd name="connsiteX3101" fmla="*/ 222893 w 4664922"/>
              <a:gd name="connsiteY3101" fmla="*/ 1182498 h 1786050"/>
              <a:gd name="connsiteX3102" fmla="*/ 217861 w 4664922"/>
              <a:gd name="connsiteY3102" fmla="*/ 1186489 h 1786050"/>
              <a:gd name="connsiteX3103" fmla="*/ 214101 w 4664922"/>
              <a:gd name="connsiteY3103" fmla="*/ 1188456 h 1786050"/>
              <a:gd name="connsiteX3104" fmla="*/ 212770 w 4664922"/>
              <a:gd name="connsiteY3104" fmla="*/ 1191406 h 1786050"/>
              <a:gd name="connsiteX3105" fmla="*/ 217803 w 4664922"/>
              <a:gd name="connsiteY3105" fmla="*/ 1201297 h 1786050"/>
              <a:gd name="connsiteX3106" fmla="*/ 221100 w 4664922"/>
              <a:gd name="connsiteY3106" fmla="*/ 1217725 h 1786050"/>
              <a:gd name="connsiteX3107" fmla="*/ 229372 w 4664922"/>
              <a:gd name="connsiteY3107" fmla="*/ 1232244 h 1786050"/>
              <a:gd name="connsiteX3108" fmla="*/ 233594 w 4664922"/>
              <a:gd name="connsiteY3108" fmla="*/ 1242945 h 1786050"/>
              <a:gd name="connsiteX3109" fmla="*/ 236544 w 4664922"/>
              <a:gd name="connsiteY3109" fmla="*/ 1250927 h 1786050"/>
              <a:gd name="connsiteX3110" fmla="*/ 246435 w 4664922"/>
              <a:gd name="connsiteY3110" fmla="*/ 1255439 h 1786050"/>
              <a:gd name="connsiteX3111" fmla="*/ 250080 w 4664922"/>
              <a:gd name="connsiteY3111" fmla="*/ 1254977 h 1786050"/>
              <a:gd name="connsiteX3112" fmla="*/ 265235 w 4664922"/>
              <a:gd name="connsiteY3112" fmla="*/ 1262149 h 1786050"/>
              <a:gd name="connsiteX3113" fmla="*/ 269226 w 4664922"/>
              <a:gd name="connsiteY3113" fmla="*/ 1264810 h 1786050"/>
              <a:gd name="connsiteX3114" fmla="*/ 277845 w 4664922"/>
              <a:gd name="connsiteY3114" fmla="*/ 1261918 h 1786050"/>
              <a:gd name="connsiteX3115" fmla="*/ 278366 w 4664922"/>
              <a:gd name="connsiteY3115" fmla="*/ 1261918 h 1786050"/>
              <a:gd name="connsiteX3116" fmla="*/ 282299 w 4664922"/>
              <a:gd name="connsiteY3116" fmla="*/ 1261166 h 1786050"/>
              <a:gd name="connsiteX3117" fmla="*/ 303528 w 4664922"/>
              <a:gd name="connsiteY3117" fmla="*/ 1268570 h 1786050"/>
              <a:gd name="connsiteX3118" fmla="*/ 304800 w 4664922"/>
              <a:gd name="connsiteY3118" fmla="*/ 1269206 h 1786050"/>
              <a:gd name="connsiteX3119" fmla="*/ 307692 w 4664922"/>
              <a:gd name="connsiteY3119" fmla="*/ 1282221 h 1786050"/>
              <a:gd name="connsiteX3120" fmla="*/ 307692 w 4664922"/>
              <a:gd name="connsiteY3120" fmla="*/ 1288873 h 1786050"/>
              <a:gd name="connsiteX3121" fmla="*/ 307346 w 4664922"/>
              <a:gd name="connsiteY3121" fmla="*/ 1295641 h 1786050"/>
              <a:gd name="connsiteX3122" fmla="*/ 310180 w 4664922"/>
              <a:gd name="connsiteY3122" fmla="*/ 1307210 h 1786050"/>
              <a:gd name="connsiteX3123" fmla="*/ 316253 w 4664922"/>
              <a:gd name="connsiteY3123" fmla="*/ 1315944 h 1786050"/>
              <a:gd name="connsiteX3124" fmla="*/ 322732 w 4664922"/>
              <a:gd name="connsiteY3124" fmla="*/ 1324043 h 1786050"/>
              <a:gd name="connsiteX3125" fmla="*/ 332855 w 4664922"/>
              <a:gd name="connsiteY3125" fmla="*/ 1333587 h 1786050"/>
              <a:gd name="connsiteX3126" fmla="*/ 338640 w 4664922"/>
              <a:gd name="connsiteY3126" fmla="*/ 1339371 h 1786050"/>
              <a:gd name="connsiteX3127" fmla="*/ 354604 w 4664922"/>
              <a:gd name="connsiteY3127" fmla="*/ 1354122 h 1786050"/>
              <a:gd name="connsiteX3128" fmla="*/ 340028 w 4664922"/>
              <a:gd name="connsiteY3128" fmla="*/ 1368120 h 1786050"/>
              <a:gd name="connsiteX3129" fmla="*/ 337540 w 4664922"/>
              <a:gd name="connsiteY3129" fmla="*/ 1368583 h 1786050"/>
              <a:gd name="connsiteX3130" fmla="*/ 329326 w 4664922"/>
              <a:gd name="connsiteY3130" fmla="*/ 1366153 h 1786050"/>
              <a:gd name="connsiteX3131" fmla="*/ 321055 w 4664922"/>
              <a:gd name="connsiteY3131" fmla="*/ 1364823 h 1786050"/>
              <a:gd name="connsiteX3132" fmla="*/ 322327 w 4664922"/>
              <a:gd name="connsiteY3132" fmla="*/ 1377780 h 1786050"/>
              <a:gd name="connsiteX3133" fmla="*/ 325509 w 4664922"/>
              <a:gd name="connsiteY3133" fmla="*/ 1389349 h 1786050"/>
              <a:gd name="connsiteX3134" fmla="*/ 335920 w 4664922"/>
              <a:gd name="connsiteY3134" fmla="*/ 1403000 h 1786050"/>
              <a:gd name="connsiteX3135" fmla="*/ 344366 w 4664922"/>
              <a:gd name="connsiteY3135" fmla="*/ 1399240 h 1786050"/>
              <a:gd name="connsiteX3136" fmla="*/ 348125 w 4664922"/>
              <a:gd name="connsiteY3136" fmla="*/ 1396522 h 1786050"/>
              <a:gd name="connsiteX3137" fmla="*/ 353101 w 4664922"/>
              <a:gd name="connsiteY3137" fmla="*/ 1395480 h 1786050"/>
              <a:gd name="connsiteX3138" fmla="*/ 358480 w 4664922"/>
              <a:gd name="connsiteY3138" fmla="*/ 1395885 h 1786050"/>
              <a:gd name="connsiteX3139" fmla="*/ 366404 w 4664922"/>
              <a:gd name="connsiteY3139" fmla="*/ 1395885 h 1786050"/>
              <a:gd name="connsiteX3140" fmla="*/ 376469 w 4664922"/>
              <a:gd name="connsiteY3140" fmla="*/ 1394497 h 1786050"/>
              <a:gd name="connsiteX3141" fmla="*/ 390236 w 4664922"/>
              <a:gd name="connsiteY3141" fmla="*/ 1398777 h 1786050"/>
              <a:gd name="connsiteX3142" fmla="*/ 393880 w 4664922"/>
              <a:gd name="connsiteY3142" fmla="*/ 1420527 h 1786050"/>
              <a:gd name="connsiteX3143" fmla="*/ 396773 w 4664922"/>
              <a:gd name="connsiteY3143" fmla="*/ 1429319 h 1786050"/>
              <a:gd name="connsiteX3144" fmla="*/ 399954 w 4664922"/>
              <a:gd name="connsiteY3144" fmla="*/ 1434583 h 1786050"/>
              <a:gd name="connsiteX3145" fmla="*/ 412101 w 4664922"/>
              <a:gd name="connsiteY3145" fmla="*/ 1438112 h 1786050"/>
              <a:gd name="connsiteX3146" fmla="*/ 419390 w 4664922"/>
              <a:gd name="connsiteY3146" fmla="*/ 1438921 h 1786050"/>
              <a:gd name="connsiteX3147" fmla="*/ 432115 w 4664922"/>
              <a:gd name="connsiteY3147" fmla="*/ 1461481 h 1786050"/>
              <a:gd name="connsiteX3148" fmla="*/ 432115 w 4664922"/>
              <a:gd name="connsiteY3148" fmla="*/ 1464489 h 1786050"/>
              <a:gd name="connsiteX3149" fmla="*/ 436975 w 4664922"/>
              <a:gd name="connsiteY3149" fmla="*/ 1466224 h 1786050"/>
              <a:gd name="connsiteX3150" fmla="*/ 440618 w 4664922"/>
              <a:gd name="connsiteY3150" fmla="*/ 1465588 h 1786050"/>
              <a:gd name="connsiteX3151" fmla="*/ 442990 w 4664922"/>
              <a:gd name="connsiteY3151" fmla="*/ 1465067 h 1786050"/>
              <a:gd name="connsiteX3152" fmla="*/ 451493 w 4664922"/>
              <a:gd name="connsiteY3152" fmla="*/ 1469290 h 1786050"/>
              <a:gd name="connsiteX3153" fmla="*/ 454964 w 4664922"/>
              <a:gd name="connsiteY3153" fmla="*/ 1471719 h 1786050"/>
              <a:gd name="connsiteX3154" fmla="*/ 467748 w 4664922"/>
              <a:gd name="connsiteY3154" fmla="*/ 1470504 h 1786050"/>
              <a:gd name="connsiteX3155" fmla="*/ 478680 w 4664922"/>
              <a:gd name="connsiteY3155" fmla="*/ 1466860 h 1786050"/>
              <a:gd name="connsiteX3156" fmla="*/ 484465 w 4664922"/>
              <a:gd name="connsiteY3156" fmla="*/ 1469695 h 1786050"/>
              <a:gd name="connsiteX3157" fmla="*/ 490654 w 4664922"/>
              <a:gd name="connsiteY3157" fmla="*/ 1476752 h 1786050"/>
              <a:gd name="connsiteX3158" fmla="*/ 496438 w 4664922"/>
              <a:gd name="connsiteY3158" fmla="*/ 1484445 h 1786050"/>
              <a:gd name="connsiteX3159" fmla="*/ 502686 w 4664922"/>
              <a:gd name="connsiteY3159" fmla="*/ 1484965 h 1786050"/>
              <a:gd name="connsiteX3160" fmla="*/ 518246 w 4664922"/>
              <a:gd name="connsiteY3160" fmla="*/ 1487395 h 1786050"/>
              <a:gd name="connsiteX3161" fmla="*/ 528600 w 4664922"/>
              <a:gd name="connsiteY3161" fmla="*/ 1489998 h 1786050"/>
              <a:gd name="connsiteX3162" fmla="*/ 541325 w 4664922"/>
              <a:gd name="connsiteY3162" fmla="*/ 1493468 h 1786050"/>
              <a:gd name="connsiteX3163" fmla="*/ 548556 w 4664922"/>
              <a:gd name="connsiteY3163" fmla="*/ 1496708 h 1786050"/>
              <a:gd name="connsiteX3164" fmla="*/ 557638 w 4664922"/>
              <a:gd name="connsiteY3164" fmla="*/ 1504054 h 1786050"/>
              <a:gd name="connsiteX3165" fmla="*/ 552374 w 4664922"/>
              <a:gd name="connsiteY3165" fmla="*/ 1512788 h 1786050"/>
              <a:gd name="connsiteX3166" fmla="*/ 549771 w 4664922"/>
              <a:gd name="connsiteY3166" fmla="*/ 1515681 h 1786050"/>
              <a:gd name="connsiteX3167" fmla="*/ 552142 w 4664922"/>
              <a:gd name="connsiteY3167" fmla="*/ 1517879 h 1786050"/>
              <a:gd name="connsiteX3168" fmla="*/ 556423 w 4664922"/>
              <a:gd name="connsiteY3168" fmla="*/ 1523663 h 1786050"/>
              <a:gd name="connsiteX3169" fmla="*/ 550638 w 4664922"/>
              <a:gd name="connsiteY3169" fmla="*/ 1528522 h 1786050"/>
              <a:gd name="connsiteX3170" fmla="*/ 546647 w 4664922"/>
              <a:gd name="connsiteY3170" fmla="*/ 1530720 h 1786050"/>
              <a:gd name="connsiteX3171" fmla="*/ 549655 w 4664922"/>
              <a:gd name="connsiteY3171" fmla="*/ 1536042 h 1786050"/>
              <a:gd name="connsiteX3172" fmla="*/ 552663 w 4664922"/>
              <a:gd name="connsiteY3172" fmla="*/ 1540207 h 1786050"/>
              <a:gd name="connsiteX3173" fmla="*/ 550002 w 4664922"/>
              <a:gd name="connsiteY3173" fmla="*/ 1550908 h 1786050"/>
              <a:gd name="connsiteX3174" fmla="*/ 547920 w 4664922"/>
              <a:gd name="connsiteY3174" fmla="*/ 1556982 h 1786050"/>
              <a:gd name="connsiteX3175" fmla="*/ 542887 w 4664922"/>
              <a:gd name="connsiteY3175" fmla="*/ 1559295 h 1786050"/>
              <a:gd name="connsiteX3176" fmla="*/ 530914 w 4664922"/>
              <a:gd name="connsiteY3176" fmla="*/ 1558196 h 1786050"/>
              <a:gd name="connsiteX3177" fmla="*/ 524377 w 4664922"/>
              <a:gd name="connsiteY3177" fmla="*/ 1557502 h 1786050"/>
              <a:gd name="connsiteX3178" fmla="*/ 513907 w 4664922"/>
              <a:gd name="connsiteY3178" fmla="*/ 1564733 h 1786050"/>
              <a:gd name="connsiteX3179" fmla="*/ 503322 w 4664922"/>
              <a:gd name="connsiteY3179" fmla="*/ 1572021 h 1786050"/>
              <a:gd name="connsiteX3180" fmla="*/ 502570 w 4664922"/>
              <a:gd name="connsiteY3180" fmla="*/ 1572484 h 1786050"/>
              <a:gd name="connsiteX3181" fmla="*/ 503380 w 4664922"/>
              <a:gd name="connsiteY3181" fmla="*/ 1582549 h 1786050"/>
              <a:gd name="connsiteX3182" fmla="*/ 522989 w 4664922"/>
              <a:gd name="connsiteY3182" fmla="*/ 1580351 h 1786050"/>
              <a:gd name="connsiteX3183" fmla="*/ 531434 w 4664922"/>
              <a:gd name="connsiteY3183" fmla="*/ 1582780 h 1786050"/>
              <a:gd name="connsiteX3184" fmla="*/ 531434 w 4664922"/>
              <a:gd name="connsiteY3184" fmla="*/ 1584978 h 1786050"/>
              <a:gd name="connsiteX3185" fmla="*/ 496728 w 4664922"/>
              <a:gd name="connsiteY3185" fmla="*/ 1604067 h 1786050"/>
              <a:gd name="connsiteX3186" fmla="*/ 496265 w 4664922"/>
              <a:gd name="connsiteY3186" fmla="*/ 1604067 h 1786050"/>
              <a:gd name="connsiteX3187" fmla="*/ 501124 w 4664922"/>
              <a:gd name="connsiteY3187" fmla="*/ 1609215 h 1786050"/>
              <a:gd name="connsiteX3188" fmla="*/ 507949 w 4664922"/>
              <a:gd name="connsiteY3188" fmla="*/ 1618239 h 1786050"/>
              <a:gd name="connsiteX3189" fmla="*/ 500950 w 4664922"/>
              <a:gd name="connsiteY3189" fmla="*/ 1624023 h 1786050"/>
              <a:gd name="connsiteX3190" fmla="*/ 491753 w 4664922"/>
              <a:gd name="connsiteY3190" fmla="*/ 1633683 h 1786050"/>
              <a:gd name="connsiteX3191" fmla="*/ 489960 w 4664922"/>
              <a:gd name="connsiteY3191" fmla="*/ 1642533 h 1786050"/>
              <a:gd name="connsiteX3192" fmla="*/ 475730 w 4664922"/>
              <a:gd name="connsiteY3192" fmla="*/ 1646756 h 1786050"/>
              <a:gd name="connsiteX3193" fmla="*/ 467458 w 4664922"/>
              <a:gd name="connsiteY3193" fmla="*/ 1650053 h 1786050"/>
              <a:gd name="connsiteX3194" fmla="*/ 468673 w 4664922"/>
              <a:gd name="connsiteY3194" fmla="*/ 1650921 h 1786050"/>
              <a:gd name="connsiteX3195" fmla="*/ 473185 w 4664922"/>
              <a:gd name="connsiteY3195" fmla="*/ 1655490 h 1786050"/>
              <a:gd name="connsiteX3196" fmla="*/ 490133 w 4664922"/>
              <a:gd name="connsiteY3196" fmla="*/ 1668332 h 1786050"/>
              <a:gd name="connsiteX3197" fmla="*/ 541557 w 4664922"/>
              <a:gd name="connsiteY3197" fmla="*/ 1705410 h 1786050"/>
              <a:gd name="connsiteX3198" fmla="*/ 547862 w 4664922"/>
              <a:gd name="connsiteY3198" fmla="*/ 1710442 h 1786050"/>
              <a:gd name="connsiteX3199" fmla="*/ 558100 w 4664922"/>
              <a:gd name="connsiteY3199" fmla="*/ 1704832 h 1786050"/>
              <a:gd name="connsiteX3200" fmla="*/ 591650 w 4664922"/>
              <a:gd name="connsiteY3200" fmla="*/ 1714723 h 1786050"/>
              <a:gd name="connsiteX3201" fmla="*/ 604954 w 4664922"/>
              <a:gd name="connsiteY3201" fmla="*/ 1717037 h 1786050"/>
              <a:gd name="connsiteX3202" fmla="*/ 615713 w 4664922"/>
              <a:gd name="connsiteY3202" fmla="*/ 1716690 h 1786050"/>
              <a:gd name="connsiteX3203" fmla="*/ 624911 w 4664922"/>
              <a:gd name="connsiteY3203" fmla="*/ 1716342 h 1786050"/>
              <a:gd name="connsiteX3204" fmla="*/ 634282 w 4664922"/>
              <a:gd name="connsiteY3204" fmla="*/ 1718541 h 1786050"/>
              <a:gd name="connsiteX3205" fmla="*/ 650362 w 4664922"/>
              <a:gd name="connsiteY3205" fmla="*/ 1729068 h 1786050"/>
              <a:gd name="connsiteX3206" fmla="*/ 659212 w 4664922"/>
              <a:gd name="connsiteY3206" fmla="*/ 1734216 h 1786050"/>
              <a:gd name="connsiteX3207" fmla="*/ 666616 w 4664922"/>
              <a:gd name="connsiteY3207" fmla="*/ 1737745 h 1786050"/>
              <a:gd name="connsiteX3208" fmla="*/ 695191 w 4664922"/>
              <a:gd name="connsiteY3208" fmla="*/ 1733869 h 1786050"/>
              <a:gd name="connsiteX3209" fmla="*/ 700975 w 4664922"/>
              <a:gd name="connsiteY3209" fmla="*/ 1735894 h 1786050"/>
              <a:gd name="connsiteX3210" fmla="*/ 705199 w 4664922"/>
              <a:gd name="connsiteY3210" fmla="*/ 1737514 h 1786050"/>
              <a:gd name="connsiteX3211" fmla="*/ 710983 w 4664922"/>
              <a:gd name="connsiteY3211" fmla="*/ 1747983 h 1786050"/>
              <a:gd name="connsiteX3212" fmla="*/ 713296 w 4664922"/>
              <a:gd name="connsiteY3212" fmla="*/ 1754578 h 1786050"/>
              <a:gd name="connsiteX3213" fmla="*/ 714106 w 4664922"/>
              <a:gd name="connsiteY3213" fmla="*/ 1754578 h 1786050"/>
              <a:gd name="connsiteX3214" fmla="*/ 724403 w 4664922"/>
              <a:gd name="connsiteY3214" fmla="*/ 1759610 h 1786050"/>
              <a:gd name="connsiteX3215" fmla="*/ 739153 w 4664922"/>
              <a:gd name="connsiteY3215" fmla="*/ 1766783 h 1786050"/>
              <a:gd name="connsiteX3216" fmla="*/ 752977 w 4664922"/>
              <a:gd name="connsiteY3216" fmla="*/ 1776385 h 1786050"/>
              <a:gd name="connsiteX3217" fmla="*/ 759167 w 4664922"/>
              <a:gd name="connsiteY3217" fmla="*/ 1781417 h 1786050"/>
              <a:gd name="connsiteX3218" fmla="*/ 760555 w 4664922"/>
              <a:gd name="connsiteY3218" fmla="*/ 1780723 h 1786050"/>
              <a:gd name="connsiteX3219" fmla="*/ 3369911 w 4664922"/>
              <a:gd name="connsiteY3219" fmla="*/ 1631138 h 1786050"/>
              <a:gd name="connsiteX3220" fmla="*/ 3367944 w 4664922"/>
              <a:gd name="connsiteY3220" fmla="*/ 1630617 h 1786050"/>
              <a:gd name="connsiteX3221" fmla="*/ 3359672 w 4664922"/>
              <a:gd name="connsiteY3221" fmla="*/ 1620842 h 1786050"/>
              <a:gd name="connsiteX3222" fmla="*/ 3347467 w 4664922"/>
              <a:gd name="connsiteY3222" fmla="*/ 1610314 h 1786050"/>
              <a:gd name="connsiteX3223" fmla="*/ 3345153 w 4664922"/>
              <a:gd name="connsiteY3223" fmla="*/ 1610314 h 1786050"/>
              <a:gd name="connsiteX3224" fmla="*/ 3335262 w 4664922"/>
              <a:gd name="connsiteY3224" fmla="*/ 1623907 h 1786050"/>
              <a:gd name="connsiteX3225" fmla="*/ 3331040 w 4664922"/>
              <a:gd name="connsiteY3225" fmla="*/ 1630849 h 1786050"/>
              <a:gd name="connsiteX3226" fmla="*/ 3326354 w 4664922"/>
              <a:gd name="connsiteY3226" fmla="*/ 1627667 h 1786050"/>
              <a:gd name="connsiteX3227" fmla="*/ 3328321 w 4664922"/>
              <a:gd name="connsiteY3227" fmla="*/ 1593770 h 1786050"/>
              <a:gd name="connsiteX3228" fmla="*/ 3331098 w 4664922"/>
              <a:gd name="connsiteY3228" fmla="*/ 1550792 h 1786050"/>
              <a:gd name="connsiteX3229" fmla="*/ 3332138 w 4664922"/>
              <a:gd name="connsiteY3229" fmla="*/ 1498732 h 1786050"/>
              <a:gd name="connsiteX3230" fmla="*/ 3333469 w 4664922"/>
              <a:gd name="connsiteY3230" fmla="*/ 1445920 h 1786050"/>
              <a:gd name="connsiteX3231" fmla="*/ 3324503 w 4664922"/>
              <a:gd name="connsiteY3231" fmla="*/ 1391026 h 1786050"/>
              <a:gd name="connsiteX3232" fmla="*/ 3324503 w 4664922"/>
              <a:gd name="connsiteY3232" fmla="*/ 1373384 h 1786050"/>
              <a:gd name="connsiteX3233" fmla="*/ 3324966 w 4664922"/>
              <a:gd name="connsiteY3233" fmla="*/ 1363145 h 1786050"/>
              <a:gd name="connsiteX3234" fmla="*/ 3330750 w 4664922"/>
              <a:gd name="connsiteY3234" fmla="*/ 1360369 h 1786050"/>
              <a:gd name="connsiteX3235" fmla="*/ 3338212 w 4664922"/>
              <a:gd name="connsiteY3235" fmla="*/ 1346081 h 1786050"/>
              <a:gd name="connsiteX3236" fmla="*/ 3343187 w 4664922"/>
              <a:gd name="connsiteY3236" fmla="*/ 1332199 h 1786050"/>
              <a:gd name="connsiteX3237" fmla="*/ 3345559 w 4664922"/>
              <a:gd name="connsiteY3237" fmla="*/ 1331447 h 1786050"/>
              <a:gd name="connsiteX3238" fmla="*/ 3350302 w 4664922"/>
              <a:gd name="connsiteY3238" fmla="*/ 1340528 h 1786050"/>
              <a:gd name="connsiteX3239" fmla="*/ 3362218 w 4664922"/>
              <a:gd name="connsiteY3239" fmla="*/ 1364591 h 1786050"/>
              <a:gd name="connsiteX3240" fmla="*/ 3366498 w 4664922"/>
              <a:gd name="connsiteY3240" fmla="*/ 1392762 h 1786050"/>
              <a:gd name="connsiteX3241" fmla="*/ 3365862 w 4664922"/>
              <a:gd name="connsiteY3241" fmla="*/ 1423246 h 1786050"/>
              <a:gd name="connsiteX3242" fmla="*/ 3382000 w 4664922"/>
              <a:gd name="connsiteY3242" fmla="*/ 1477561 h 1786050"/>
              <a:gd name="connsiteX3243" fmla="*/ 3394842 w 4664922"/>
              <a:gd name="connsiteY3243" fmla="*/ 1520019 h 1786050"/>
              <a:gd name="connsiteX3244" fmla="*/ 3396924 w 4664922"/>
              <a:gd name="connsiteY3244" fmla="*/ 1531183 h 1786050"/>
              <a:gd name="connsiteX3245" fmla="*/ 3394206 w 4664922"/>
              <a:gd name="connsiteY3245" fmla="*/ 1532687 h 1786050"/>
              <a:gd name="connsiteX3246" fmla="*/ 3384198 w 4664922"/>
              <a:gd name="connsiteY3246" fmla="*/ 1526208 h 1786050"/>
              <a:gd name="connsiteX3247" fmla="*/ 3365168 w 4664922"/>
              <a:gd name="connsiteY3247" fmla="*/ 1517532 h 1786050"/>
              <a:gd name="connsiteX3248" fmla="*/ 3353657 w 4664922"/>
              <a:gd name="connsiteY3248" fmla="*/ 1526561 h 1786050"/>
              <a:gd name="connsiteX3249" fmla="*/ 3353599 w 4664922"/>
              <a:gd name="connsiteY3249" fmla="*/ 1528638 h 1786050"/>
              <a:gd name="connsiteX3250" fmla="*/ 3348740 w 4664922"/>
              <a:gd name="connsiteY3250" fmla="*/ 1550098 h 1786050"/>
              <a:gd name="connsiteX3251" fmla="*/ 3345443 w 4664922"/>
              <a:gd name="connsiteY3251" fmla="*/ 1572715 h 1786050"/>
              <a:gd name="connsiteX3252" fmla="*/ 3345443 w 4664922"/>
              <a:gd name="connsiteY3252" fmla="*/ 1573583 h 1786050"/>
              <a:gd name="connsiteX3253" fmla="*/ 3362796 w 4664922"/>
              <a:gd name="connsiteY3253" fmla="*/ 1604298 h 1786050"/>
              <a:gd name="connsiteX3254" fmla="*/ 3363664 w 4664922"/>
              <a:gd name="connsiteY3254" fmla="*/ 1604298 h 1786050"/>
              <a:gd name="connsiteX3255" fmla="*/ 3373497 w 4664922"/>
              <a:gd name="connsiteY3255" fmla="*/ 1623965 h 1786050"/>
              <a:gd name="connsiteX3256" fmla="*/ 3369911 w 4664922"/>
              <a:gd name="connsiteY3256" fmla="*/ 1630849 h 1786050"/>
              <a:gd name="connsiteX3257" fmla="*/ 3347467 w 4664922"/>
              <a:gd name="connsiteY3257" fmla="*/ 1608000 h 1786050"/>
              <a:gd name="connsiteX3258" fmla="*/ 3361640 w 4664922"/>
              <a:gd name="connsiteY3258" fmla="*/ 1619569 h 1786050"/>
              <a:gd name="connsiteX3259" fmla="*/ 3368870 w 4664922"/>
              <a:gd name="connsiteY3259" fmla="*/ 1628419 h 1786050"/>
              <a:gd name="connsiteX3260" fmla="*/ 3369911 w 4664922"/>
              <a:gd name="connsiteY3260" fmla="*/ 1628708 h 1786050"/>
              <a:gd name="connsiteX3261" fmla="*/ 3371820 w 4664922"/>
              <a:gd name="connsiteY3261" fmla="*/ 1623676 h 1786050"/>
              <a:gd name="connsiteX3262" fmla="*/ 3363780 w 4664922"/>
              <a:gd name="connsiteY3262" fmla="*/ 1606323 h 1786050"/>
              <a:gd name="connsiteX3263" fmla="*/ 3362680 w 4664922"/>
              <a:gd name="connsiteY3263" fmla="*/ 1606323 h 1786050"/>
              <a:gd name="connsiteX3264" fmla="*/ 3344171 w 4664922"/>
              <a:gd name="connsiteY3264" fmla="*/ 1573988 h 1786050"/>
              <a:gd name="connsiteX3265" fmla="*/ 3343881 w 4664922"/>
              <a:gd name="connsiteY3265" fmla="*/ 1573120 h 1786050"/>
              <a:gd name="connsiteX3266" fmla="*/ 3347236 w 4664922"/>
              <a:gd name="connsiteY3266" fmla="*/ 1549057 h 1786050"/>
              <a:gd name="connsiteX3267" fmla="*/ 3351979 w 4664922"/>
              <a:gd name="connsiteY3267" fmla="*/ 1528349 h 1786050"/>
              <a:gd name="connsiteX3268" fmla="*/ 3363548 w 4664922"/>
              <a:gd name="connsiteY3268" fmla="*/ 1514969 h 1786050"/>
              <a:gd name="connsiteX3269" fmla="*/ 3365573 w 4664922"/>
              <a:gd name="connsiteY3269" fmla="*/ 1514987 h 1786050"/>
              <a:gd name="connsiteX3270" fmla="*/ 3386166 w 4664922"/>
              <a:gd name="connsiteY3270" fmla="*/ 1524300 h 1786050"/>
              <a:gd name="connsiteX3271" fmla="*/ 3394611 w 4664922"/>
              <a:gd name="connsiteY3271" fmla="*/ 1530084 h 1786050"/>
              <a:gd name="connsiteX3272" fmla="*/ 3395420 w 4664922"/>
              <a:gd name="connsiteY3272" fmla="*/ 1529679 h 1786050"/>
              <a:gd name="connsiteX3273" fmla="*/ 3393280 w 4664922"/>
              <a:gd name="connsiteY3273" fmla="*/ 1520771 h 1786050"/>
              <a:gd name="connsiteX3274" fmla="*/ 3380265 w 4664922"/>
              <a:gd name="connsiteY3274" fmla="*/ 1477793 h 1786050"/>
              <a:gd name="connsiteX3275" fmla="*/ 3364127 w 4664922"/>
              <a:gd name="connsiteY3275" fmla="*/ 1423708 h 1786050"/>
              <a:gd name="connsiteX3276" fmla="*/ 3364705 w 4664922"/>
              <a:gd name="connsiteY3276" fmla="*/ 1391894 h 1786050"/>
              <a:gd name="connsiteX3277" fmla="*/ 3361292 w 4664922"/>
              <a:gd name="connsiteY3277" fmla="*/ 1366037 h 1786050"/>
              <a:gd name="connsiteX3278" fmla="*/ 3348509 w 4664922"/>
              <a:gd name="connsiteY3278" fmla="*/ 1340586 h 1786050"/>
              <a:gd name="connsiteX3279" fmla="*/ 3345963 w 4664922"/>
              <a:gd name="connsiteY3279" fmla="*/ 1333355 h 1786050"/>
              <a:gd name="connsiteX3280" fmla="*/ 3344807 w 4664922"/>
              <a:gd name="connsiteY3280" fmla="*/ 1333818 h 1786050"/>
              <a:gd name="connsiteX3281" fmla="*/ 3340873 w 4664922"/>
              <a:gd name="connsiteY3281" fmla="*/ 1345908 h 1786050"/>
              <a:gd name="connsiteX3282" fmla="*/ 3331444 w 4664922"/>
              <a:gd name="connsiteY3282" fmla="*/ 1362220 h 1786050"/>
              <a:gd name="connsiteX3283" fmla="*/ 3326933 w 4664922"/>
              <a:gd name="connsiteY3283" fmla="*/ 1364129 h 1786050"/>
              <a:gd name="connsiteX3284" fmla="*/ 3326933 w 4664922"/>
              <a:gd name="connsiteY3284" fmla="*/ 1372632 h 1786050"/>
              <a:gd name="connsiteX3285" fmla="*/ 3326933 w 4664922"/>
              <a:gd name="connsiteY3285" fmla="*/ 1391373 h 1786050"/>
              <a:gd name="connsiteX3286" fmla="*/ 3335783 w 4664922"/>
              <a:gd name="connsiteY3286" fmla="*/ 1444648 h 1786050"/>
              <a:gd name="connsiteX3287" fmla="*/ 3334626 w 4664922"/>
              <a:gd name="connsiteY3287" fmla="*/ 1498559 h 1786050"/>
              <a:gd name="connsiteX3288" fmla="*/ 3333354 w 4664922"/>
              <a:gd name="connsiteY3288" fmla="*/ 1549635 h 1786050"/>
              <a:gd name="connsiteX3289" fmla="*/ 3330808 w 4664922"/>
              <a:gd name="connsiteY3289" fmla="*/ 1594060 h 1786050"/>
              <a:gd name="connsiteX3290" fmla="*/ 3328321 w 4664922"/>
              <a:gd name="connsiteY3290" fmla="*/ 1626106 h 1786050"/>
              <a:gd name="connsiteX3291" fmla="*/ 3331271 w 4664922"/>
              <a:gd name="connsiteY3291" fmla="*/ 1628535 h 1786050"/>
              <a:gd name="connsiteX3292" fmla="*/ 3333354 w 4664922"/>
              <a:gd name="connsiteY3292" fmla="*/ 1623271 h 1786050"/>
              <a:gd name="connsiteX3293" fmla="*/ 3344923 w 4664922"/>
              <a:gd name="connsiteY3293" fmla="*/ 1607942 h 1786050"/>
              <a:gd name="connsiteX3294" fmla="*/ 3347467 w 4664922"/>
              <a:gd name="connsiteY3294" fmla="*/ 1607769 h 1786050"/>
              <a:gd name="connsiteX3295" fmla="*/ 2288917 w 4664922"/>
              <a:gd name="connsiteY3295" fmla="*/ 1435798 h 1786050"/>
              <a:gd name="connsiteX3296" fmla="*/ 2276828 w 4664922"/>
              <a:gd name="connsiteY3296" fmla="*/ 1432674 h 1786050"/>
              <a:gd name="connsiteX3297" fmla="*/ 2276828 w 4664922"/>
              <a:gd name="connsiteY3297" fmla="*/ 1430476 h 1786050"/>
              <a:gd name="connsiteX3298" fmla="*/ 2289727 w 4664922"/>
              <a:gd name="connsiteY3298" fmla="*/ 1424171 h 1786050"/>
              <a:gd name="connsiteX3299" fmla="*/ 2329177 w 4664922"/>
              <a:gd name="connsiteY3299" fmla="*/ 1398893 h 1786050"/>
              <a:gd name="connsiteX3300" fmla="*/ 2361512 w 4664922"/>
              <a:gd name="connsiteY3300" fmla="*/ 1367541 h 1786050"/>
              <a:gd name="connsiteX3301" fmla="*/ 2402003 w 4664922"/>
              <a:gd name="connsiteY3301" fmla="*/ 1329654 h 1786050"/>
              <a:gd name="connsiteX3302" fmla="*/ 2416638 w 4664922"/>
              <a:gd name="connsiteY3302" fmla="*/ 1302582 h 1786050"/>
              <a:gd name="connsiteX3303" fmla="*/ 2438387 w 4664922"/>
              <a:gd name="connsiteY3303" fmla="*/ 1273660 h 1786050"/>
              <a:gd name="connsiteX3304" fmla="*/ 2441048 w 4664922"/>
              <a:gd name="connsiteY3304" fmla="*/ 1277420 h 1786050"/>
              <a:gd name="connsiteX3305" fmla="*/ 2408539 w 4664922"/>
              <a:gd name="connsiteY3305" fmla="*/ 1372516 h 1786050"/>
              <a:gd name="connsiteX3306" fmla="*/ 2369552 w 4664922"/>
              <a:gd name="connsiteY3306" fmla="*/ 1393456 h 1786050"/>
              <a:gd name="connsiteX3307" fmla="*/ 2339878 w 4664922"/>
              <a:gd name="connsiteY3307" fmla="*/ 1414048 h 1786050"/>
              <a:gd name="connsiteX3308" fmla="*/ 2288743 w 4664922"/>
              <a:gd name="connsiteY3308" fmla="*/ 1435566 h 1786050"/>
              <a:gd name="connsiteX3309" fmla="*/ 2436883 w 4664922"/>
              <a:gd name="connsiteY3309" fmla="*/ 1275569 h 1786050"/>
              <a:gd name="connsiteX3310" fmla="*/ 2418315 w 4664922"/>
              <a:gd name="connsiteY3310" fmla="*/ 1303566 h 1786050"/>
              <a:gd name="connsiteX3311" fmla="*/ 2403565 w 4664922"/>
              <a:gd name="connsiteY3311" fmla="*/ 1330868 h 1786050"/>
              <a:gd name="connsiteX3312" fmla="*/ 2362495 w 4664922"/>
              <a:gd name="connsiteY3312" fmla="*/ 1369393 h 1786050"/>
              <a:gd name="connsiteX3313" fmla="*/ 2330912 w 4664922"/>
              <a:gd name="connsiteY3313" fmla="*/ 1399819 h 1786050"/>
              <a:gd name="connsiteX3314" fmla="*/ 2290421 w 4664922"/>
              <a:gd name="connsiteY3314" fmla="*/ 1426311 h 1786050"/>
              <a:gd name="connsiteX3315" fmla="*/ 2278852 w 4664922"/>
              <a:gd name="connsiteY3315" fmla="*/ 1431228 h 1786050"/>
              <a:gd name="connsiteX3316" fmla="*/ 2289149 w 4664922"/>
              <a:gd name="connsiteY3316" fmla="*/ 1433542 h 1786050"/>
              <a:gd name="connsiteX3317" fmla="*/ 2320153 w 4664922"/>
              <a:gd name="connsiteY3317" fmla="*/ 1428047 h 1786050"/>
              <a:gd name="connsiteX3318" fmla="*/ 2337506 w 4664922"/>
              <a:gd name="connsiteY3318" fmla="*/ 1413875 h 1786050"/>
              <a:gd name="connsiteX3319" fmla="*/ 2368569 w 4664922"/>
              <a:gd name="connsiteY3319" fmla="*/ 1391200 h 1786050"/>
              <a:gd name="connsiteX3320" fmla="*/ 2406919 w 4664922"/>
              <a:gd name="connsiteY3320" fmla="*/ 1370665 h 1786050"/>
              <a:gd name="connsiteX3321" fmla="*/ 2438734 w 4664922"/>
              <a:gd name="connsiteY3321" fmla="*/ 1277767 h 1786050"/>
              <a:gd name="connsiteX3322" fmla="*/ 2437635 w 4664922"/>
              <a:gd name="connsiteY3322" fmla="*/ 1275685 h 1786050"/>
              <a:gd name="connsiteX3323" fmla="*/ 67176 w 4664922"/>
              <a:gd name="connsiteY3323" fmla="*/ 1321845 h 1786050"/>
              <a:gd name="connsiteX3324" fmla="*/ 14364 w 4664922"/>
              <a:gd name="connsiteY3324" fmla="*/ 1317275 h 1786050"/>
              <a:gd name="connsiteX3325" fmla="*/ 655 w 4664922"/>
              <a:gd name="connsiteY3325" fmla="*/ 1312184 h 1786050"/>
              <a:gd name="connsiteX3326" fmla="*/ -39 w 4664922"/>
              <a:gd name="connsiteY3326" fmla="*/ 1310704 h 1786050"/>
              <a:gd name="connsiteX3327" fmla="*/ 19 w 4664922"/>
              <a:gd name="connsiteY3327" fmla="*/ 1310565 h 1786050"/>
              <a:gd name="connsiteX3328" fmla="*/ 1523 w 4664922"/>
              <a:gd name="connsiteY3328" fmla="*/ 1304780 h 1786050"/>
              <a:gd name="connsiteX3329" fmla="*/ 2506 w 4664922"/>
              <a:gd name="connsiteY3329" fmla="*/ 1301830 h 1786050"/>
              <a:gd name="connsiteX3330" fmla="*/ 14075 w 4664922"/>
              <a:gd name="connsiteY3330" fmla="*/ 1297723 h 1786050"/>
              <a:gd name="connsiteX3331" fmla="*/ 22231 w 4664922"/>
              <a:gd name="connsiteY3331" fmla="*/ 1303508 h 1786050"/>
              <a:gd name="connsiteX3332" fmla="*/ 24429 w 4664922"/>
              <a:gd name="connsiteY3332" fmla="*/ 1307036 h 1786050"/>
              <a:gd name="connsiteX3333" fmla="*/ 29519 w 4664922"/>
              <a:gd name="connsiteY3333" fmla="*/ 1308309 h 1786050"/>
              <a:gd name="connsiteX3334" fmla="*/ 33858 w 4664922"/>
              <a:gd name="connsiteY3334" fmla="*/ 1306805 h 1786050"/>
              <a:gd name="connsiteX3335" fmla="*/ 33106 w 4664922"/>
              <a:gd name="connsiteY3335" fmla="*/ 1304202 h 1786050"/>
              <a:gd name="connsiteX3336" fmla="*/ 31891 w 4664922"/>
              <a:gd name="connsiteY3336" fmla="*/ 1299921 h 1786050"/>
              <a:gd name="connsiteX3337" fmla="*/ 37676 w 4664922"/>
              <a:gd name="connsiteY3337" fmla="*/ 1294137 h 1786050"/>
              <a:gd name="connsiteX3338" fmla="*/ 41782 w 4664922"/>
              <a:gd name="connsiteY3338" fmla="*/ 1289047 h 1786050"/>
              <a:gd name="connsiteX3339" fmla="*/ 37907 w 4664922"/>
              <a:gd name="connsiteY3339" fmla="*/ 1285287 h 1786050"/>
              <a:gd name="connsiteX3340" fmla="*/ 37386 w 4664922"/>
              <a:gd name="connsiteY3340" fmla="*/ 1284072 h 1786050"/>
              <a:gd name="connsiteX3341" fmla="*/ 38427 w 4664922"/>
              <a:gd name="connsiteY3341" fmla="*/ 1283204 h 1786050"/>
              <a:gd name="connsiteX3342" fmla="*/ 40915 w 4664922"/>
              <a:gd name="connsiteY3342" fmla="*/ 1283204 h 1786050"/>
              <a:gd name="connsiteX3343" fmla="*/ 48145 w 4664922"/>
              <a:gd name="connsiteY3343" fmla="*/ 1282684 h 1786050"/>
              <a:gd name="connsiteX3344" fmla="*/ 56070 w 4664922"/>
              <a:gd name="connsiteY3344" fmla="*/ 1285460 h 1786050"/>
              <a:gd name="connsiteX3345" fmla="*/ 68969 w 4664922"/>
              <a:gd name="connsiteY3345" fmla="*/ 1291245 h 1786050"/>
              <a:gd name="connsiteX3346" fmla="*/ 70994 w 4664922"/>
              <a:gd name="connsiteY3346" fmla="*/ 1290898 h 1786050"/>
              <a:gd name="connsiteX3347" fmla="*/ 73134 w 4664922"/>
              <a:gd name="connsiteY3347" fmla="*/ 1290435 h 1786050"/>
              <a:gd name="connsiteX3348" fmla="*/ 87769 w 4664922"/>
              <a:gd name="connsiteY3348" fmla="*/ 1300963 h 1786050"/>
              <a:gd name="connsiteX3349" fmla="*/ 87190 w 4664922"/>
              <a:gd name="connsiteY3349" fmla="*/ 1307499 h 1786050"/>
              <a:gd name="connsiteX3350" fmla="*/ 86669 w 4664922"/>
              <a:gd name="connsiteY3350" fmla="*/ 1318779 h 1786050"/>
              <a:gd name="connsiteX3351" fmla="*/ 86669 w 4664922"/>
              <a:gd name="connsiteY3351" fmla="*/ 1319704 h 1786050"/>
              <a:gd name="connsiteX3352" fmla="*/ 85917 w 4664922"/>
              <a:gd name="connsiteY3352" fmla="*/ 1320225 h 1786050"/>
              <a:gd name="connsiteX3353" fmla="*/ 67002 w 4664922"/>
              <a:gd name="connsiteY3353" fmla="*/ 1321440 h 1786050"/>
              <a:gd name="connsiteX3354" fmla="*/ 2506 w 4664922"/>
              <a:gd name="connsiteY3354" fmla="*/ 1310854 h 1786050"/>
              <a:gd name="connsiteX3355" fmla="*/ 15116 w 4664922"/>
              <a:gd name="connsiteY3355" fmla="*/ 1315482 h 1786050"/>
              <a:gd name="connsiteX3356" fmla="*/ 67176 w 4664922"/>
              <a:gd name="connsiteY3356" fmla="*/ 1319589 h 1786050"/>
              <a:gd name="connsiteX3357" fmla="*/ 84529 w 4664922"/>
              <a:gd name="connsiteY3357" fmla="*/ 1318605 h 1786050"/>
              <a:gd name="connsiteX3358" fmla="*/ 85165 w 4664922"/>
              <a:gd name="connsiteY3358" fmla="*/ 1307615 h 1786050"/>
              <a:gd name="connsiteX3359" fmla="*/ 85744 w 4664922"/>
              <a:gd name="connsiteY3359" fmla="*/ 1301368 h 1786050"/>
              <a:gd name="connsiteX3360" fmla="*/ 73365 w 4664922"/>
              <a:gd name="connsiteY3360" fmla="*/ 1293096 h 1786050"/>
              <a:gd name="connsiteX3361" fmla="*/ 72208 w 4664922"/>
              <a:gd name="connsiteY3361" fmla="*/ 1293096 h 1786050"/>
              <a:gd name="connsiteX3362" fmla="*/ 69200 w 4664922"/>
              <a:gd name="connsiteY3362" fmla="*/ 1293674 h 1786050"/>
              <a:gd name="connsiteX3363" fmla="*/ 54450 w 4664922"/>
              <a:gd name="connsiteY3363" fmla="*/ 1286675 h 1786050"/>
              <a:gd name="connsiteX3364" fmla="*/ 48666 w 4664922"/>
              <a:gd name="connsiteY3364" fmla="*/ 1284882 h 1786050"/>
              <a:gd name="connsiteX3365" fmla="*/ 42071 w 4664922"/>
              <a:gd name="connsiteY3365" fmla="*/ 1285345 h 1786050"/>
              <a:gd name="connsiteX3366" fmla="*/ 44270 w 4664922"/>
              <a:gd name="connsiteY3366" fmla="*/ 1288121 h 1786050"/>
              <a:gd name="connsiteX3367" fmla="*/ 39295 w 4664922"/>
              <a:gd name="connsiteY3367" fmla="*/ 1296277 h 1786050"/>
              <a:gd name="connsiteX3368" fmla="*/ 34494 w 4664922"/>
              <a:gd name="connsiteY3368" fmla="*/ 1300384 h 1786050"/>
              <a:gd name="connsiteX3369" fmla="*/ 35362 w 4664922"/>
              <a:gd name="connsiteY3369" fmla="*/ 1302929 h 1786050"/>
              <a:gd name="connsiteX3370" fmla="*/ 36287 w 4664922"/>
              <a:gd name="connsiteY3370" fmla="*/ 1307846 h 1786050"/>
              <a:gd name="connsiteX3371" fmla="*/ 29924 w 4664922"/>
              <a:gd name="connsiteY3371" fmla="*/ 1310623 h 1786050"/>
              <a:gd name="connsiteX3372" fmla="*/ 23677 w 4664922"/>
              <a:gd name="connsiteY3372" fmla="*/ 1309003 h 1786050"/>
              <a:gd name="connsiteX3373" fmla="*/ 20380 w 4664922"/>
              <a:gd name="connsiteY3373" fmla="*/ 1303566 h 1786050"/>
              <a:gd name="connsiteX3374" fmla="*/ 14595 w 4664922"/>
              <a:gd name="connsiteY3374" fmla="*/ 1300153 h 1786050"/>
              <a:gd name="connsiteX3375" fmla="*/ 4646 w 4664922"/>
              <a:gd name="connsiteY3375" fmla="*/ 1303450 h 1786050"/>
              <a:gd name="connsiteX3376" fmla="*/ 4183 w 4664922"/>
              <a:gd name="connsiteY3376" fmla="*/ 1304607 h 1786050"/>
              <a:gd name="connsiteX3377" fmla="*/ 2332 w 4664922"/>
              <a:gd name="connsiteY3377" fmla="*/ 1310449 h 1786050"/>
              <a:gd name="connsiteX3378" fmla="*/ 806541 w 4664922"/>
              <a:gd name="connsiteY3378" fmla="*/ 712339 h 1786050"/>
              <a:gd name="connsiteX3379" fmla="*/ 806541 w 4664922"/>
              <a:gd name="connsiteY3379" fmla="*/ 712339 h 1786050"/>
              <a:gd name="connsiteX3380" fmla="*/ 789767 w 4664922"/>
              <a:gd name="connsiteY3380" fmla="*/ 704935 h 1786050"/>
              <a:gd name="connsiteX3381" fmla="*/ 785023 w 4664922"/>
              <a:gd name="connsiteY3381" fmla="*/ 688797 h 1786050"/>
              <a:gd name="connsiteX3382" fmla="*/ 810880 w 4664922"/>
              <a:gd name="connsiteY3382" fmla="*/ 673931 h 1786050"/>
              <a:gd name="connsiteX3383" fmla="*/ 817474 w 4664922"/>
              <a:gd name="connsiteY3383" fmla="*/ 674798 h 1786050"/>
              <a:gd name="connsiteX3384" fmla="*/ 845760 w 4664922"/>
              <a:gd name="connsiteY3384" fmla="*/ 691573 h 1786050"/>
              <a:gd name="connsiteX3385" fmla="*/ 841595 w 4664922"/>
              <a:gd name="connsiteY3385" fmla="*/ 694755 h 1786050"/>
              <a:gd name="connsiteX3386" fmla="*/ 830952 w 4664922"/>
              <a:gd name="connsiteY3386" fmla="*/ 701060 h 1786050"/>
              <a:gd name="connsiteX3387" fmla="*/ 806253 w 4664922"/>
              <a:gd name="connsiteY3387" fmla="*/ 711934 h 1786050"/>
              <a:gd name="connsiteX3388" fmla="*/ 810880 w 4664922"/>
              <a:gd name="connsiteY3388" fmla="*/ 676187 h 1786050"/>
              <a:gd name="connsiteX3389" fmla="*/ 787106 w 4664922"/>
              <a:gd name="connsiteY3389" fmla="*/ 689664 h 1786050"/>
              <a:gd name="connsiteX3390" fmla="*/ 791328 w 4664922"/>
              <a:gd name="connsiteY3390" fmla="*/ 703315 h 1786050"/>
              <a:gd name="connsiteX3391" fmla="*/ 806541 w 4664922"/>
              <a:gd name="connsiteY3391" fmla="*/ 710083 h 1786050"/>
              <a:gd name="connsiteX3392" fmla="*/ 806541 w 4664922"/>
              <a:gd name="connsiteY3392" fmla="*/ 710083 h 1786050"/>
              <a:gd name="connsiteX3393" fmla="*/ 829679 w 4664922"/>
              <a:gd name="connsiteY3393" fmla="*/ 699266 h 1786050"/>
              <a:gd name="connsiteX3394" fmla="*/ 841248 w 4664922"/>
              <a:gd name="connsiteY3394" fmla="*/ 692499 h 1786050"/>
              <a:gd name="connsiteX3395" fmla="*/ 843504 w 4664922"/>
              <a:gd name="connsiteY3395" fmla="*/ 691457 h 1786050"/>
              <a:gd name="connsiteX3396" fmla="*/ 816896 w 4664922"/>
              <a:gd name="connsiteY3396" fmla="*/ 676938 h 1786050"/>
              <a:gd name="connsiteX3397" fmla="*/ 810591 w 4664922"/>
              <a:gd name="connsiteY3397" fmla="*/ 675782 h 1786050"/>
              <a:gd name="connsiteX3398" fmla="*/ 1026061 w 4664922"/>
              <a:gd name="connsiteY3398" fmla="*/ 623028 h 1786050"/>
              <a:gd name="connsiteX3399" fmla="*/ 988115 w 4664922"/>
              <a:gd name="connsiteY3399" fmla="*/ 619268 h 1786050"/>
              <a:gd name="connsiteX3400" fmla="*/ 971398 w 4664922"/>
              <a:gd name="connsiteY3400" fmla="*/ 617185 h 1786050"/>
              <a:gd name="connsiteX3401" fmla="*/ 933220 w 4664922"/>
              <a:gd name="connsiteY3401" fmla="*/ 603129 h 1786050"/>
              <a:gd name="connsiteX3402" fmla="*/ 935997 w 4664922"/>
              <a:gd name="connsiteY3402" fmla="*/ 595841 h 1786050"/>
              <a:gd name="connsiteX3403" fmla="*/ 937559 w 4664922"/>
              <a:gd name="connsiteY3403" fmla="*/ 590345 h 1786050"/>
              <a:gd name="connsiteX3404" fmla="*/ 917371 w 4664922"/>
              <a:gd name="connsiteY3404" fmla="*/ 577620 h 1786050"/>
              <a:gd name="connsiteX3405" fmla="*/ 915520 w 4664922"/>
              <a:gd name="connsiteY3405" fmla="*/ 578198 h 1786050"/>
              <a:gd name="connsiteX3406" fmla="*/ 915983 w 4664922"/>
              <a:gd name="connsiteY3406" fmla="*/ 580859 h 1786050"/>
              <a:gd name="connsiteX3407" fmla="*/ 917661 w 4664922"/>
              <a:gd name="connsiteY3407" fmla="*/ 593296 h 1786050"/>
              <a:gd name="connsiteX3408" fmla="*/ 903778 w 4664922"/>
              <a:gd name="connsiteY3408" fmla="*/ 591097 h 1786050"/>
              <a:gd name="connsiteX3409" fmla="*/ 902100 w 4664922"/>
              <a:gd name="connsiteY3409" fmla="*/ 577446 h 1786050"/>
              <a:gd name="connsiteX3410" fmla="*/ 903200 w 4664922"/>
              <a:gd name="connsiteY3410" fmla="*/ 572356 h 1786050"/>
              <a:gd name="connsiteX3411" fmla="*/ 899555 w 4664922"/>
              <a:gd name="connsiteY3411" fmla="*/ 571199 h 1786050"/>
              <a:gd name="connsiteX3412" fmla="*/ 893771 w 4664922"/>
              <a:gd name="connsiteY3412" fmla="*/ 571199 h 1786050"/>
              <a:gd name="connsiteX3413" fmla="*/ 872484 w 4664922"/>
              <a:gd name="connsiteY3413" fmla="*/ 565415 h 1786050"/>
              <a:gd name="connsiteX3414" fmla="*/ 870922 w 4664922"/>
              <a:gd name="connsiteY3414" fmla="*/ 553846 h 1786050"/>
              <a:gd name="connsiteX3415" fmla="*/ 891573 w 4664922"/>
              <a:gd name="connsiteY3415" fmla="*/ 542277 h 1786050"/>
              <a:gd name="connsiteX3416" fmla="*/ 904819 w 4664922"/>
              <a:gd name="connsiteY3416" fmla="*/ 536088 h 1786050"/>
              <a:gd name="connsiteX3417" fmla="*/ 915751 w 4664922"/>
              <a:gd name="connsiteY3417" fmla="*/ 524808 h 1786050"/>
              <a:gd name="connsiteX3418" fmla="*/ 920957 w 4664922"/>
              <a:gd name="connsiteY3418" fmla="*/ 520180 h 1786050"/>
              <a:gd name="connsiteX3419" fmla="*/ 912339 w 4664922"/>
              <a:gd name="connsiteY3419" fmla="*/ 509768 h 1786050"/>
              <a:gd name="connsiteX3420" fmla="*/ 906902 w 4664922"/>
              <a:gd name="connsiteY3420" fmla="*/ 502307 h 1786050"/>
              <a:gd name="connsiteX3421" fmla="*/ 913264 w 4664922"/>
              <a:gd name="connsiteY3421" fmla="*/ 500282 h 1786050"/>
              <a:gd name="connsiteX3422" fmla="*/ 929287 w 4664922"/>
              <a:gd name="connsiteY3422" fmla="*/ 495712 h 1786050"/>
              <a:gd name="connsiteX3423" fmla="*/ 931486 w 4664922"/>
              <a:gd name="connsiteY3423" fmla="*/ 487788 h 1786050"/>
              <a:gd name="connsiteX3424" fmla="*/ 932295 w 4664922"/>
              <a:gd name="connsiteY3424" fmla="*/ 484895 h 1786050"/>
              <a:gd name="connsiteX3425" fmla="*/ 942996 w 4664922"/>
              <a:gd name="connsiteY3425" fmla="*/ 482119 h 1786050"/>
              <a:gd name="connsiteX3426" fmla="*/ 954970 w 4664922"/>
              <a:gd name="connsiteY3426" fmla="*/ 479053 h 1786050"/>
              <a:gd name="connsiteX3427" fmla="*/ 955722 w 4664922"/>
              <a:gd name="connsiteY3427" fmla="*/ 475698 h 1786050"/>
              <a:gd name="connsiteX3428" fmla="*/ 966018 w 4664922"/>
              <a:gd name="connsiteY3428" fmla="*/ 462105 h 1786050"/>
              <a:gd name="connsiteX3429" fmla="*/ 967001 w 4664922"/>
              <a:gd name="connsiteY3429" fmla="*/ 461584 h 1786050"/>
              <a:gd name="connsiteX3430" fmla="*/ 964052 w 4664922"/>
              <a:gd name="connsiteY3430" fmla="*/ 461584 h 1786050"/>
              <a:gd name="connsiteX3431" fmla="*/ 953986 w 4664922"/>
              <a:gd name="connsiteY3431" fmla="*/ 454122 h 1786050"/>
              <a:gd name="connsiteX3432" fmla="*/ 967117 w 4664922"/>
              <a:gd name="connsiteY3432" fmla="*/ 439950 h 1786050"/>
              <a:gd name="connsiteX3433" fmla="*/ 969605 w 4664922"/>
              <a:gd name="connsiteY3433" fmla="*/ 439430 h 1786050"/>
              <a:gd name="connsiteX3434" fmla="*/ 990024 w 4664922"/>
              <a:gd name="connsiteY3434" fmla="*/ 432141 h 1786050"/>
              <a:gd name="connsiteX3435" fmla="*/ 989734 w 4664922"/>
              <a:gd name="connsiteY3435" fmla="*/ 429481 h 1786050"/>
              <a:gd name="connsiteX3436" fmla="*/ 994535 w 4664922"/>
              <a:gd name="connsiteY3436" fmla="*/ 419011 h 1786050"/>
              <a:gd name="connsiteX3437" fmla="*/ 998816 w 4664922"/>
              <a:gd name="connsiteY3437" fmla="*/ 413863 h 1786050"/>
              <a:gd name="connsiteX3438" fmla="*/ 997949 w 4664922"/>
              <a:gd name="connsiteY3438" fmla="*/ 411896 h 1786050"/>
              <a:gd name="connsiteX3439" fmla="*/ 997081 w 4664922"/>
              <a:gd name="connsiteY3439" fmla="*/ 409004 h 1786050"/>
              <a:gd name="connsiteX3440" fmla="*/ 1005815 w 4664922"/>
              <a:gd name="connsiteY3440" fmla="*/ 403624 h 1786050"/>
              <a:gd name="connsiteX3441" fmla="*/ 1015418 w 4664922"/>
              <a:gd name="connsiteY3441" fmla="*/ 397840 h 1786050"/>
              <a:gd name="connsiteX3442" fmla="*/ 1013393 w 4664922"/>
              <a:gd name="connsiteY3442" fmla="*/ 394138 h 1786050"/>
              <a:gd name="connsiteX3443" fmla="*/ 1008765 w 4664922"/>
              <a:gd name="connsiteY3443" fmla="*/ 377652 h 1786050"/>
              <a:gd name="connsiteX3444" fmla="*/ 1016227 w 4664922"/>
              <a:gd name="connsiteY3444" fmla="*/ 371868 h 1786050"/>
              <a:gd name="connsiteX3445" fmla="*/ 1021375 w 4664922"/>
              <a:gd name="connsiteY3445" fmla="*/ 374008 h 1786050"/>
              <a:gd name="connsiteX3446" fmla="*/ 1028953 w 4664922"/>
              <a:gd name="connsiteY3446" fmla="*/ 376727 h 1786050"/>
              <a:gd name="connsiteX3447" fmla="*/ 1042951 w 4664922"/>
              <a:gd name="connsiteY3447" fmla="*/ 366835 h 1786050"/>
              <a:gd name="connsiteX3448" fmla="*/ 1054520 w 4664922"/>
              <a:gd name="connsiteY3448" fmla="*/ 358332 h 1786050"/>
              <a:gd name="connsiteX3449" fmla="*/ 1063718 w 4664922"/>
              <a:gd name="connsiteY3449" fmla="*/ 353589 h 1786050"/>
              <a:gd name="connsiteX3450" fmla="*/ 1100448 w 4664922"/>
              <a:gd name="connsiteY3450" fmla="*/ 337392 h 1786050"/>
              <a:gd name="connsiteX3451" fmla="*/ 1117454 w 4664922"/>
              <a:gd name="connsiteY3451" fmla="*/ 332534 h 1786050"/>
              <a:gd name="connsiteX3452" fmla="*/ 1134403 w 4664922"/>
              <a:gd name="connsiteY3452" fmla="*/ 327732 h 1786050"/>
              <a:gd name="connsiteX3453" fmla="*/ 1148054 w 4664922"/>
              <a:gd name="connsiteY3453" fmla="*/ 322469 h 1786050"/>
              <a:gd name="connsiteX3454" fmla="*/ 1166796 w 4664922"/>
              <a:gd name="connsiteY3454" fmla="*/ 315643 h 1786050"/>
              <a:gd name="connsiteX3455" fmla="*/ 1175299 w 4664922"/>
              <a:gd name="connsiteY3455" fmla="*/ 318188 h 1786050"/>
              <a:gd name="connsiteX3456" fmla="*/ 1192652 w 4664922"/>
              <a:gd name="connsiteY3456" fmla="*/ 322295 h 1786050"/>
              <a:gd name="connsiteX3457" fmla="*/ 1228111 w 4664922"/>
              <a:gd name="connsiteY3457" fmla="*/ 313329 h 1786050"/>
              <a:gd name="connsiteX3458" fmla="*/ 1248472 w 4664922"/>
              <a:gd name="connsiteY3458" fmla="*/ 309222 h 1786050"/>
              <a:gd name="connsiteX3459" fmla="*/ 1272419 w 4664922"/>
              <a:gd name="connsiteY3459" fmla="*/ 302917 h 1786050"/>
              <a:gd name="connsiteX3460" fmla="*/ 1338015 w 4664922"/>
              <a:gd name="connsiteY3460" fmla="*/ 281399 h 1786050"/>
              <a:gd name="connsiteX3461" fmla="*/ 1357798 w 4664922"/>
              <a:gd name="connsiteY3461" fmla="*/ 286779 h 1786050"/>
              <a:gd name="connsiteX3462" fmla="*/ 1362888 w 4664922"/>
              <a:gd name="connsiteY3462" fmla="*/ 298348 h 1786050"/>
              <a:gd name="connsiteX3463" fmla="*/ 1287112 w 4664922"/>
              <a:gd name="connsiteY3463" fmla="*/ 337219 h 1786050"/>
              <a:gd name="connsiteX3464" fmla="*/ 1135965 w 4664922"/>
              <a:gd name="connsiteY3464" fmla="*/ 393906 h 1786050"/>
              <a:gd name="connsiteX3465" fmla="*/ 1115546 w 4664922"/>
              <a:gd name="connsiteY3465" fmla="*/ 404955 h 1786050"/>
              <a:gd name="connsiteX3466" fmla="*/ 1099465 w 4664922"/>
              <a:gd name="connsiteY3466" fmla="*/ 411144 h 1786050"/>
              <a:gd name="connsiteX3467" fmla="*/ 1079971 w 4664922"/>
              <a:gd name="connsiteY3467" fmla="*/ 417275 h 1786050"/>
              <a:gd name="connsiteX3468" fmla="*/ 1073724 w 4664922"/>
              <a:gd name="connsiteY3468" fmla="*/ 418143 h 1786050"/>
              <a:gd name="connsiteX3469" fmla="*/ 1073724 w 4664922"/>
              <a:gd name="connsiteY3469" fmla="*/ 418895 h 1786050"/>
              <a:gd name="connsiteX3470" fmla="*/ 1071006 w 4664922"/>
              <a:gd name="connsiteY3470" fmla="*/ 436885 h 1786050"/>
              <a:gd name="connsiteX3471" fmla="*/ 1055851 w 4664922"/>
              <a:gd name="connsiteY3471" fmla="*/ 447065 h 1786050"/>
              <a:gd name="connsiteX3472" fmla="*/ 1049545 w 4664922"/>
              <a:gd name="connsiteY3472" fmla="*/ 455453 h 1786050"/>
              <a:gd name="connsiteX3473" fmla="*/ 1041274 w 4664922"/>
              <a:gd name="connsiteY3473" fmla="*/ 465633 h 1786050"/>
              <a:gd name="connsiteX3474" fmla="*/ 1031325 w 4664922"/>
              <a:gd name="connsiteY3474" fmla="*/ 474599 h 1786050"/>
              <a:gd name="connsiteX3475" fmla="*/ 1017558 w 4664922"/>
              <a:gd name="connsiteY3475" fmla="*/ 493746 h 1786050"/>
              <a:gd name="connsiteX3476" fmla="*/ 1007146 w 4664922"/>
              <a:gd name="connsiteY3476" fmla="*/ 509248 h 1786050"/>
              <a:gd name="connsiteX3477" fmla="*/ 995577 w 4664922"/>
              <a:gd name="connsiteY3477" fmla="*/ 525271 h 1786050"/>
              <a:gd name="connsiteX3478" fmla="*/ 986322 w 4664922"/>
              <a:gd name="connsiteY3478" fmla="*/ 539674 h 1786050"/>
              <a:gd name="connsiteX3479" fmla="*/ 1005468 w 4664922"/>
              <a:gd name="connsiteY3479" fmla="*/ 582479 h 1786050"/>
              <a:gd name="connsiteX3480" fmla="*/ 1028606 w 4664922"/>
              <a:gd name="connsiteY3480" fmla="*/ 601163 h 1786050"/>
              <a:gd name="connsiteX3481" fmla="*/ 1042894 w 4664922"/>
              <a:gd name="connsiteY3481" fmla="*/ 616491 h 1786050"/>
              <a:gd name="connsiteX3482" fmla="*/ 1025771 w 4664922"/>
              <a:gd name="connsiteY3482" fmla="*/ 622623 h 1786050"/>
              <a:gd name="connsiteX3483" fmla="*/ 917371 w 4664922"/>
              <a:gd name="connsiteY3483" fmla="*/ 575364 h 1786050"/>
              <a:gd name="connsiteX3484" fmla="*/ 939641 w 4664922"/>
              <a:gd name="connsiteY3484" fmla="*/ 589594 h 1786050"/>
              <a:gd name="connsiteX3485" fmla="*/ 937501 w 4664922"/>
              <a:gd name="connsiteY3485" fmla="*/ 597576 h 1786050"/>
              <a:gd name="connsiteX3486" fmla="*/ 935361 w 4664922"/>
              <a:gd name="connsiteY3486" fmla="*/ 602435 h 1786050"/>
              <a:gd name="connsiteX3487" fmla="*/ 971513 w 4664922"/>
              <a:gd name="connsiteY3487" fmla="*/ 614929 h 1786050"/>
              <a:gd name="connsiteX3488" fmla="*/ 988462 w 4664922"/>
              <a:gd name="connsiteY3488" fmla="*/ 617012 h 1786050"/>
              <a:gd name="connsiteX3489" fmla="*/ 1026061 w 4664922"/>
              <a:gd name="connsiteY3489" fmla="*/ 620772 h 1786050"/>
              <a:gd name="connsiteX3490" fmla="*/ 1041390 w 4664922"/>
              <a:gd name="connsiteY3490" fmla="*/ 615971 h 1786050"/>
              <a:gd name="connsiteX3491" fmla="*/ 1028027 w 4664922"/>
              <a:gd name="connsiteY3491" fmla="*/ 602724 h 1786050"/>
              <a:gd name="connsiteX3492" fmla="*/ 1004890 w 4664922"/>
              <a:gd name="connsiteY3492" fmla="*/ 583751 h 1786050"/>
              <a:gd name="connsiteX3493" fmla="*/ 985164 w 4664922"/>
              <a:gd name="connsiteY3493" fmla="*/ 539096 h 1786050"/>
              <a:gd name="connsiteX3494" fmla="*/ 995403 w 4664922"/>
              <a:gd name="connsiteY3494" fmla="*/ 523073 h 1786050"/>
              <a:gd name="connsiteX3495" fmla="*/ 1005815 w 4664922"/>
              <a:gd name="connsiteY3495" fmla="*/ 508669 h 1786050"/>
              <a:gd name="connsiteX3496" fmla="*/ 1017384 w 4664922"/>
              <a:gd name="connsiteY3496" fmla="*/ 491605 h 1786050"/>
              <a:gd name="connsiteX3497" fmla="*/ 1030225 w 4664922"/>
              <a:gd name="connsiteY3497" fmla="*/ 473616 h 1786050"/>
              <a:gd name="connsiteX3498" fmla="*/ 1042142 w 4664922"/>
              <a:gd name="connsiteY3498" fmla="*/ 463088 h 1786050"/>
              <a:gd name="connsiteX3499" fmla="*/ 1048389 w 4664922"/>
              <a:gd name="connsiteY3499" fmla="*/ 455337 h 1786050"/>
              <a:gd name="connsiteX3500" fmla="*/ 1056660 w 4664922"/>
              <a:gd name="connsiteY3500" fmla="*/ 444520 h 1786050"/>
              <a:gd name="connsiteX3501" fmla="*/ 1070138 w 4664922"/>
              <a:gd name="connsiteY3501" fmla="*/ 435439 h 1786050"/>
              <a:gd name="connsiteX3502" fmla="*/ 1072683 w 4664922"/>
              <a:gd name="connsiteY3502" fmla="*/ 419416 h 1786050"/>
              <a:gd name="connsiteX3503" fmla="*/ 1072683 w 4664922"/>
              <a:gd name="connsiteY3503" fmla="*/ 416581 h 1786050"/>
              <a:gd name="connsiteX3504" fmla="*/ 1080723 w 4664922"/>
              <a:gd name="connsiteY3504" fmla="*/ 414730 h 1786050"/>
              <a:gd name="connsiteX3505" fmla="*/ 1098597 w 4664922"/>
              <a:gd name="connsiteY3505" fmla="*/ 409351 h 1786050"/>
              <a:gd name="connsiteX3506" fmla="*/ 1115950 w 4664922"/>
              <a:gd name="connsiteY3506" fmla="*/ 402467 h 1786050"/>
              <a:gd name="connsiteX3507" fmla="*/ 1134750 w 4664922"/>
              <a:gd name="connsiteY3507" fmla="*/ 392692 h 1786050"/>
              <a:gd name="connsiteX3508" fmla="*/ 1287401 w 4664922"/>
              <a:gd name="connsiteY3508" fmla="*/ 334847 h 1786050"/>
              <a:gd name="connsiteX3509" fmla="*/ 1361500 w 4664922"/>
              <a:gd name="connsiteY3509" fmla="*/ 297711 h 1786050"/>
              <a:gd name="connsiteX3510" fmla="*/ 1356352 w 4664922"/>
              <a:gd name="connsiteY3510" fmla="*/ 287646 h 1786050"/>
              <a:gd name="connsiteX3511" fmla="*/ 1337957 w 4664922"/>
              <a:gd name="connsiteY3511" fmla="*/ 282845 h 1786050"/>
              <a:gd name="connsiteX3512" fmla="*/ 1273750 w 4664922"/>
              <a:gd name="connsiteY3512" fmla="*/ 303785 h 1786050"/>
              <a:gd name="connsiteX3513" fmla="*/ 1248530 w 4664922"/>
              <a:gd name="connsiteY3513" fmla="*/ 310611 h 1786050"/>
              <a:gd name="connsiteX3514" fmla="*/ 1229152 w 4664922"/>
              <a:gd name="connsiteY3514" fmla="*/ 314428 h 1786050"/>
              <a:gd name="connsiteX3515" fmla="*/ 1192594 w 4664922"/>
              <a:gd name="connsiteY3515" fmla="*/ 323683 h 1786050"/>
              <a:gd name="connsiteX3516" fmla="*/ 1173853 w 4664922"/>
              <a:gd name="connsiteY3516" fmla="*/ 319171 h 1786050"/>
              <a:gd name="connsiteX3517" fmla="*/ 1166622 w 4664922"/>
              <a:gd name="connsiteY3517" fmla="*/ 317089 h 1786050"/>
              <a:gd name="connsiteX3518" fmla="*/ 1149269 w 4664922"/>
              <a:gd name="connsiteY3518" fmla="*/ 323626 h 1786050"/>
              <a:gd name="connsiteX3519" fmla="*/ 1135039 w 4664922"/>
              <a:gd name="connsiteY3519" fmla="*/ 329121 h 1786050"/>
              <a:gd name="connsiteX3520" fmla="*/ 1134345 w 4664922"/>
              <a:gd name="connsiteY3520" fmla="*/ 329121 h 1786050"/>
              <a:gd name="connsiteX3521" fmla="*/ 1118496 w 4664922"/>
              <a:gd name="connsiteY3521" fmla="*/ 333690 h 1786050"/>
              <a:gd name="connsiteX3522" fmla="*/ 1101663 w 4664922"/>
              <a:gd name="connsiteY3522" fmla="*/ 338839 h 1786050"/>
              <a:gd name="connsiteX3523" fmla="*/ 1100391 w 4664922"/>
              <a:gd name="connsiteY3523" fmla="*/ 338839 h 1786050"/>
              <a:gd name="connsiteX3524" fmla="*/ 1066031 w 4664922"/>
              <a:gd name="connsiteY3524" fmla="*/ 353357 h 1786050"/>
              <a:gd name="connsiteX3525" fmla="*/ 1055272 w 4664922"/>
              <a:gd name="connsiteY3525" fmla="*/ 359720 h 1786050"/>
              <a:gd name="connsiteX3526" fmla="*/ 1045034 w 4664922"/>
              <a:gd name="connsiteY3526" fmla="*/ 366025 h 1786050"/>
              <a:gd name="connsiteX3527" fmla="*/ 1028837 w 4664922"/>
              <a:gd name="connsiteY3527" fmla="*/ 378173 h 1786050"/>
              <a:gd name="connsiteX3528" fmla="*/ 1019756 w 4664922"/>
              <a:gd name="connsiteY3528" fmla="*/ 374876 h 1786050"/>
              <a:gd name="connsiteX3529" fmla="*/ 1016112 w 4664922"/>
              <a:gd name="connsiteY3529" fmla="*/ 373256 h 1786050"/>
              <a:gd name="connsiteX3530" fmla="*/ 1010790 w 4664922"/>
              <a:gd name="connsiteY3530" fmla="*/ 377768 h 1786050"/>
              <a:gd name="connsiteX3531" fmla="*/ 1014839 w 4664922"/>
              <a:gd name="connsiteY3531" fmla="*/ 391824 h 1786050"/>
              <a:gd name="connsiteX3532" fmla="*/ 1017500 w 4664922"/>
              <a:gd name="connsiteY3532" fmla="*/ 397608 h 1786050"/>
              <a:gd name="connsiteX3533" fmla="*/ 1006451 w 4664922"/>
              <a:gd name="connsiteY3533" fmla="*/ 405012 h 1786050"/>
              <a:gd name="connsiteX3534" fmla="*/ 999163 w 4664922"/>
              <a:gd name="connsiteY3534" fmla="*/ 408830 h 1786050"/>
              <a:gd name="connsiteX3535" fmla="*/ 999568 w 4664922"/>
              <a:gd name="connsiteY3535" fmla="*/ 409640 h 1786050"/>
              <a:gd name="connsiteX3536" fmla="*/ 1000957 w 4664922"/>
              <a:gd name="connsiteY3536" fmla="*/ 413342 h 1786050"/>
              <a:gd name="connsiteX3537" fmla="*/ 995866 w 4664922"/>
              <a:gd name="connsiteY3537" fmla="*/ 419936 h 1786050"/>
              <a:gd name="connsiteX3538" fmla="*/ 991643 w 4664922"/>
              <a:gd name="connsiteY3538" fmla="*/ 427630 h 1786050"/>
              <a:gd name="connsiteX3539" fmla="*/ 991990 w 4664922"/>
              <a:gd name="connsiteY3539" fmla="*/ 432373 h 1786050"/>
              <a:gd name="connsiteX3540" fmla="*/ 969951 w 4664922"/>
              <a:gd name="connsiteY3540" fmla="*/ 440934 h 1786050"/>
              <a:gd name="connsiteX3541" fmla="*/ 967407 w 4664922"/>
              <a:gd name="connsiteY3541" fmla="*/ 441396 h 1786050"/>
              <a:gd name="connsiteX3542" fmla="*/ 955838 w 4664922"/>
              <a:gd name="connsiteY3542" fmla="*/ 452965 h 1786050"/>
              <a:gd name="connsiteX3543" fmla="*/ 963762 w 4664922"/>
              <a:gd name="connsiteY3543" fmla="*/ 458345 h 1786050"/>
              <a:gd name="connsiteX3544" fmla="*/ 969894 w 4664922"/>
              <a:gd name="connsiteY3544" fmla="*/ 460138 h 1786050"/>
              <a:gd name="connsiteX3545" fmla="*/ 966712 w 4664922"/>
              <a:gd name="connsiteY3545" fmla="*/ 463377 h 1786050"/>
              <a:gd name="connsiteX3546" fmla="*/ 957573 w 4664922"/>
              <a:gd name="connsiteY3546" fmla="*/ 474657 h 1786050"/>
              <a:gd name="connsiteX3547" fmla="*/ 956300 w 4664922"/>
              <a:gd name="connsiteY3547" fmla="*/ 479689 h 1786050"/>
              <a:gd name="connsiteX3548" fmla="*/ 942765 w 4664922"/>
              <a:gd name="connsiteY3548" fmla="*/ 483623 h 1786050"/>
              <a:gd name="connsiteX3549" fmla="*/ 933626 w 4664922"/>
              <a:gd name="connsiteY3549" fmla="*/ 485590 h 1786050"/>
              <a:gd name="connsiteX3550" fmla="*/ 933626 w 4664922"/>
              <a:gd name="connsiteY3550" fmla="*/ 486804 h 1786050"/>
              <a:gd name="connsiteX3551" fmla="*/ 930849 w 4664922"/>
              <a:gd name="connsiteY3551" fmla="*/ 496464 h 1786050"/>
              <a:gd name="connsiteX3552" fmla="*/ 913149 w 4664922"/>
              <a:gd name="connsiteY3552" fmla="*/ 501786 h 1786050"/>
              <a:gd name="connsiteX3553" fmla="*/ 908926 w 4664922"/>
              <a:gd name="connsiteY3553" fmla="*/ 502422 h 1786050"/>
              <a:gd name="connsiteX3554" fmla="*/ 913727 w 4664922"/>
              <a:gd name="connsiteY3554" fmla="*/ 507339 h 1786050"/>
              <a:gd name="connsiteX3555" fmla="*/ 923098 w 4664922"/>
              <a:gd name="connsiteY3555" fmla="*/ 518908 h 1786050"/>
              <a:gd name="connsiteX3556" fmla="*/ 916215 w 4664922"/>
              <a:gd name="connsiteY3556" fmla="*/ 526138 h 1786050"/>
              <a:gd name="connsiteX3557" fmla="*/ 906960 w 4664922"/>
              <a:gd name="connsiteY3557" fmla="*/ 535336 h 1786050"/>
              <a:gd name="connsiteX3558" fmla="*/ 891573 w 4664922"/>
              <a:gd name="connsiteY3558" fmla="*/ 543665 h 1786050"/>
              <a:gd name="connsiteX3559" fmla="*/ 873004 w 4664922"/>
              <a:gd name="connsiteY3559" fmla="*/ 553267 h 1786050"/>
              <a:gd name="connsiteX3560" fmla="*/ 874104 w 4664922"/>
              <a:gd name="connsiteY3560" fmla="*/ 563043 h 1786050"/>
              <a:gd name="connsiteX3561" fmla="*/ 893713 w 4664922"/>
              <a:gd name="connsiteY3561" fmla="*/ 567844 h 1786050"/>
              <a:gd name="connsiteX3562" fmla="*/ 899497 w 4664922"/>
              <a:gd name="connsiteY3562" fmla="*/ 567844 h 1786050"/>
              <a:gd name="connsiteX3563" fmla="*/ 904934 w 4664922"/>
              <a:gd name="connsiteY3563" fmla="*/ 570100 h 1786050"/>
              <a:gd name="connsiteX3564" fmla="*/ 904067 w 4664922"/>
              <a:gd name="connsiteY3564" fmla="*/ 577157 h 1786050"/>
              <a:gd name="connsiteX3565" fmla="*/ 904934 w 4664922"/>
              <a:gd name="connsiteY3565" fmla="*/ 588205 h 1786050"/>
              <a:gd name="connsiteX3566" fmla="*/ 915578 w 4664922"/>
              <a:gd name="connsiteY3566" fmla="*/ 590982 h 1786050"/>
              <a:gd name="connsiteX3567" fmla="*/ 913727 w 4664922"/>
              <a:gd name="connsiteY3567" fmla="*/ 580743 h 1786050"/>
              <a:gd name="connsiteX3568" fmla="*/ 913727 w 4664922"/>
              <a:gd name="connsiteY3568" fmla="*/ 575884 h 1786050"/>
              <a:gd name="connsiteX3569" fmla="*/ 917082 w 4664922"/>
              <a:gd name="connsiteY3569" fmla="*/ 574959 h 1786050"/>
              <a:gd name="connsiteX3570" fmla="*/ 4400639 w 4664922"/>
              <a:gd name="connsiteY3570" fmla="*/ 616260 h 1786050"/>
              <a:gd name="connsiteX3571" fmla="*/ 4400639 w 4664922"/>
              <a:gd name="connsiteY3571" fmla="*/ 616260 h 1786050"/>
              <a:gd name="connsiteX3572" fmla="*/ 4387392 w 4664922"/>
              <a:gd name="connsiteY3572" fmla="*/ 612963 h 1786050"/>
              <a:gd name="connsiteX3573" fmla="*/ 4380220 w 4664922"/>
              <a:gd name="connsiteY3573" fmla="*/ 610591 h 1786050"/>
              <a:gd name="connsiteX3574" fmla="*/ 4370386 w 4664922"/>
              <a:gd name="connsiteY3574" fmla="*/ 613136 h 1786050"/>
              <a:gd name="connsiteX3575" fmla="*/ 4358065 w 4664922"/>
              <a:gd name="connsiteY3575" fmla="*/ 616144 h 1786050"/>
              <a:gd name="connsiteX3576" fmla="*/ 4348752 w 4664922"/>
              <a:gd name="connsiteY3576" fmla="*/ 613830 h 1786050"/>
              <a:gd name="connsiteX3577" fmla="*/ 4344587 w 4664922"/>
              <a:gd name="connsiteY3577" fmla="*/ 606484 h 1786050"/>
              <a:gd name="connsiteX3578" fmla="*/ 4406365 w 4664922"/>
              <a:gd name="connsiteY3578" fmla="*/ 580454 h 1786050"/>
              <a:gd name="connsiteX3579" fmla="*/ 4415678 w 4664922"/>
              <a:gd name="connsiteY3579" fmla="*/ 581033 h 1786050"/>
              <a:gd name="connsiteX3580" fmla="*/ 4452641 w 4664922"/>
              <a:gd name="connsiteY3580" fmla="*/ 600063 h 1786050"/>
              <a:gd name="connsiteX3581" fmla="*/ 4445584 w 4664922"/>
              <a:gd name="connsiteY3581" fmla="*/ 606658 h 1786050"/>
              <a:gd name="connsiteX3582" fmla="*/ 4434015 w 4664922"/>
              <a:gd name="connsiteY3582" fmla="*/ 609781 h 1786050"/>
              <a:gd name="connsiteX3583" fmla="*/ 4400349 w 4664922"/>
              <a:gd name="connsiteY3583" fmla="*/ 615855 h 1786050"/>
              <a:gd name="connsiteX3584" fmla="*/ 4380220 w 4664922"/>
              <a:gd name="connsiteY3584" fmla="*/ 608335 h 1786050"/>
              <a:gd name="connsiteX3585" fmla="*/ 4388665 w 4664922"/>
              <a:gd name="connsiteY3585" fmla="*/ 611112 h 1786050"/>
              <a:gd name="connsiteX3586" fmla="*/ 4400639 w 4664922"/>
              <a:gd name="connsiteY3586" fmla="*/ 614004 h 1786050"/>
              <a:gd name="connsiteX3587" fmla="*/ 4400639 w 4664922"/>
              <a:gd name="connsiteY3587" fmla="*/ 614004 h 1786050"/>
              <a:gd name="connsiteX3588" fmla="*/ 4433089 w 4664922"/>
              <a:gd name="connsiteY3588" fmla="*/ 607583 h 1786050"/>
              <a:gd name="connsiteX3589" fmla="*/ 4445179 w 4664922"/>
              <a:gd name="connsiteY3589" fmla="*/ 604459 h 1786050"/>
              <a:gd name="connsiteX3590" fmla="*/ 4450327 w 4664922"/>
              <a:gd name="connsiteY3590" fmla="*/ 600063 h 1786050"/>
              <a:gd name="connsiteX3591" fmla="*/ 4415620 w 4664922"/>
              <a:gd name="connsiteY3591" fmla="*/ 583289 h 1786050"/>
              <a:gd name="connsiteX3592" fmla="*/ 4406596 w 4664922"/>
              <a:gd name="connsiteY3592" fmla="*/ 582710 h 1786050"/>
              <a:gd name="connsiteX3593" fmla="*/ 4347017 w 4664922"/>
              <a:gd name="connsiteY3593" fmla="*/ 607005 h 1786050"/>
              <a:gd name="connsiteX3594" fmla="*/ 4350025 w 4664922"/>
              <a:gd name="connsiteY3594" fmla="*/ 611806 h 1786050"/>
              <a:gd name="connsiteX3595" fmla="*/ 4358296 w 4664922"/>
              <a:gd name="connsiteY3595" fmla="*/ 613888 h 1786050"/>
              <a:gd name="connsiteX3596" fmla="*/ 4369865 w 4664922"/>
              <a:gd name="connsiteY3596" fmla="*/ 611054 h 1786050"/>
              <a:gd name="connsiteX3597" fmla="*/ 4379930 w 4664922"/>
              <a:gd name="connsiteY3597" fmla="*/ 607930 h 1786050"/>
              <a:gd name="connsiteX3598" fmla="*/ 1644185 w 4664922"/>
              <a:gd name="connsiteY3598" fmla="*/ 514049 h 1786050"/>
              <a:gd name="connsiteX3599" fmla="*/ 1631516 w 4664922"/>
              <a:gd name="connsiteY3599" fmla="*/ 510463 h 1786050"/>
              <a:gd name="connsiteX3600" fmla="*/ 1628856 w 4664922"/>
              <a:gd name="connsiteY3600" fmla="*/ 505546 h 1786050"/>
              <a:gd name="connsiteX3601" fmla="*/ 1647019 w 4664922"/>
              <a:gd name="connsiteY3601" fmla="*/ 494671 h 1786050"/>
              <a:gd name="connsiteX3602" fmla="*/ 1654134 w 4664922"/>
              <a:gd name="connsiteY3602" fmla="*/ 500213 h 1786050"/>
              <a:gd name="connsiteX3603" fmla="*/ 1654134 w 4664922"/>
              <a:gd name="connsiteY3603" fmla="*/ 500455 h 1786050"/>
              <a:gd name="connsiteX3604" fmla="*/ 1651878 w 4664922"/>
              <a:gd name="connsiteY3604" fmla="*/ 510983 h 1786050"/>
              <a:gd name="connsiteX3605" fmla="*/ 1644011 w 4664922"/>
              <a:gd name="connsiteY3605" fmla="*/ 513644 h 1786050"/>
              <a:gd name="connsiteX3606" fmla="*/ 1647019 w 4664922"/>
              <a:gd name="connsiteY3606" fmla="*/ 496696 h 1786050"/>
              <a:gd name="connsiteX3607" fmla="*/ 1631054 w 4664922"/>
              <a:gd name="connsiteY3607" fmla="*/ 505835 h 1786050"/>
              <a:gd name="connsiteX3608" fmla="*/ 1632558 w 4664922"/>
              <a:gd name="connsiteY3608" fmla="*/ 508207 h 1786050"/>
              <a:gd name="connsiteX3609" fmla="*/ 1649911 w 4664922"/>
              <a:gd name="connsiteY3609" fmla="*/ 509306 h 1786050"/>
              <a:gd name="connsiteX3610" fmla="*/ 1651647 w 4664922"/>
              <a:gd name="connsiteY3610" fmla="*/ 500513 h 1786050"/>
              <a:gd name="connsiteX3611" fmla="*/ 1646845 w 4664922"/>
              <a:gd name="connsiteY3611" fmla="*/ 496522 h 1786050"/>
              <a:gd name="connsiteX3612" fmla="*/ 1400603 w 4664922"/>
              <a:gd name="connsiteY3612" fmla="*/ 498547 h 1786050"/>
              <a:gd name="connsiteX3613" fmla="*/ 1400603 w 4664922"/>
              <a:gd name="connsiteY3613" fmla="*/ 498547 h 1786050"/>
              <a:gd name="connsiteX3614" fmla="*/ 1396033 w 4664922"/>
              <a:gd name="connsiteY3614" fmla="*/ 498257 h 1786050"/>
              <a:gd name="connsiteX3615" fmla="*/ 1390248 w 4664922"/>
              <a:gd name="connsiteY3615" fmla="*/ 488945 h 1786050"/>
              <a:gd name="connsiteX3616" fmla="*/ 1408527 w 4664922"/>
              <a:gd name="connsiteY3616" fmla="*/ 474194 h 1786050"/>
              <a:gd name="connsiteX3617" fmla="*/ 1439358 w 4664922"/>
              <a:gd name="connsiteY3617" fmla="*/ 483449 h 1786050"/>
              <a:gd name="connsiteX3618" fmla="*/ 1439358 w 4664922"/>
              <a:gd name="connsiteY3618" fmla="*/ 487961 h 1786050"/>
              <a:gd name="connsiteX3619" fmla="*/ 1400429 w 4664922"/>
              <a:gd name="connsiteY3619" fmla="*/ 498373 h 1786050"/>
              <a:gd name="connsiteX3620" fmla="*/ 1408296 w 4664922"/>
              <a:gd name="connsiteY3620" fmla="*/ 476450 h 1786050"/>
              <a:gd name="connsiteX3621" fmla="*/ 1392273 w 4664922"/>
              <a:gd name="connsiteY3621" fmla="*/ 489118 h 1786050"/>
              <a:gd name="connsiteX3622" fmla="*/ 1396380 w 4664922"/>
              <a:gd name="connsiteY3622" fmla="*/ 496002 h 1786050"/>
              <a:gd name="connsiteX3623" fmla="*/ 1400603 w 4664922"/>
              <a:gd name="connsiteY3623" fmla="*/ 496002 h 1786050"/>
              <a:gd name="connsiteX3624" fmla="*/ 1437218 w 4664922"/>
              <a:gd name="connsiteY3624" fmla="*/ 486573 h 1786050"/>
              <a:gd name="connsiteX3625" fmla="*/ 1437218 w 4664922"/>
              <a:gd name="connsiteY3625" fmla="*/ 484317 h 1786050"/>
              <a:gd name="connsiteX3626" fmla="*/ 1408411 w 4664922"/>
              <a:gd name="connsiteY3626" fmla="*/ 476277 h 1786050"/>
              <a:gd name="connsiteX3627" fmla="*/ 3359442 w 4664922"/>
              <a:gd name="connsiteY3627" fmla="*/ 492704 h 1786050"/>
              <a:gd name="connsiteX3628" fmla="*/ 3290028 w 4664922"/>
              <a:gd name="connsiteY3628" fmla="*/ 478359 h 1786050"/>
              <a:gd name="connsiteX3629" fmla="*/ 3290028 w 4664922"/>
              <a:gd name="connsiteY3629" fmla="*/ 474194 h 1786050"/>
              <a:gd name="connsiteX3630" fmla="*/ 3329362 w 4664922"/>
              <a:gd name="connsiteY3630" fmla="*/ 455106 h 1786050"/>
              <a:gd name="connsiteX3631" fmla="*/ 3336130 w 4664922"/>
              <a:gd name="connsiteY3631" fmla="*/ 455626 h 1786050"/>
              <a:gd name="connsiteX3632" fmla="*/ 3376621 w 4664922"/>
              <a:gd name="connsiteY3632" fmla="*/ 485937 h 1786050"/>
              <a:gd name="connsiteX3633" fmla="*/ 3371415 w 4664922"/>
              <a:gd name="connsiteY3633" fmla="*/ 491721 h 1786050"/>
              <a:gd name="connsiteX3634" fmla="*/ 3359268 w 4664922"/>
              <a:gd name="connsiteY3634" fmla="*/ 492531 h 1786050"/>
              <a:gd name="connsiteX3635" fmla="*/ 3329709 w 4664922"/>
              <a:gd name="connsiteY3635" fmla="*/ 457361 h 1786050"/>
              <a:gd name="connsiteX3636" fmla="*/ 3292399 w 4664922"/>
              <a:gd name="connsiteY3636" fmla="*/ 475235 h 1786050"/>
              <a:gd name="connsiteX3637" fmla="*/ 3291937 w 4664922"/>
              <a:gd name="connsiteY3637" fmla="*/ 477086 h 1786050"/>
              <a:gd name="connsiteX3638" fmla="*/ 3359442 w 4664922"/>
              <a:gd name="connsiteY3638" fmla="*/ 490448 h 1786050"/>
              <a:gd name="connsiteX3639" fmla="*/ 3371589 w 4664922"/>
              <a:gd name="connsiteY3639" fmla="*/ 489581 h 1786050"/>
              <a:gd name="connsiteX3640" fmla="*/ 3375001 w 4664922"/>
              <a:gd name="connsiteY3640" fmla="*/ 485994 h 1786050"/>
              <a:gd name="connsiteX3641" fmla="*/ 3336072 w 4664922"/>
              <a:gd name="connsiteY3641" fmla="*/ 457824 h 1786050"/>
              <a:gd name="connsiteX3642" fmla="*/ 3329536 w 4664922"/>
              <a:gd name="connsiteY3642" fmla="*/ 457188 h 1786050"/>
              <a:gd name="connsiteX3643" fmla="*/ 3290722 w 4664922"/>
              <a:gd name="connsiteY3643" fmla="*/ 450420 h 1786050"/>
              <a:gd name="connsiteX3644" fmla="*/ 3281004 w 4664922"/>
              <a:gd name="connsiteY3644" fmla="*/ 448916 h 1786050"/>
              <a:gd name="connsiteX3645" fmla="*/ 3275914 w 4664922"/>
              <a:gd name="connsiteY3645" fmla="*/ 443421 h 1786050"/>
              <a:gd name="connsiteX3646" fmla="*/ 3300324 w 4664922"/>
              <a:gd name="connsiteY3646" fmla="*/ 431852 h 1786050"/>
              <a:gd name="connsiteX3647" fmla="*/ 3308307 w 4664922"/>
              <a:gd name="connsiteY3647" fmla="*/ 437290 h 1786050"/>
              <a:gd name="connsiteX3648" fmla="*/ 3302522 w 4664922"/>
              <a:gd name="connsiteY3648" fmla="*/ 447470 h 1786050"/>
              <a:gd name="connsiteX3649" fmla="*/ 3290549 w 4664922"/>
              <a:gd name="connsiteY3649" fmla="*/ 450247 h 1786050"/>
              <a:gd name="connsiteX3650" fmla="*/ 3300324 w 4664922"/>
              <a:gd name="connsiteY3650" fmla="*/ 434166 h 1786050"/>
              <a:gd name="connsiteX3651" fmla="*/ 3278112 w 4664922"/>
              <a:gd name="connsiteY3651" fmla="*/ 443768 h 1786050"/>
              <a:gd name="connsiteX3652" fmla="*/ 3281756 w 4664922"/>
              <a:gd name="connsiteY3652" fmla="*/ 446776 h 1786050"/>
              <a:gd name="connsiteX3653" fmla="*/ 3290722 w 4664922"/>
              <a:gd name="connsiteY3653" fmla="*/ 448164 h 1786050"/>
              <a:gd name="connsiteX3654" fmla="*/ 3301481 w 4664922"/>
              <a:gd name="connsiteY3654" fmla="*/ 445619 h 1786050"/>
              <a:gd name="connsiteX3655" fmla="*/ 3306109 w 4664922"/>
              <a:gd name="connsiteY3655" fmla="*/ 437347 h 1786050"/>
              <a:gd name="connsiteX3656" fmla="*/ 3299920 w 4664922"/>
              <a:gd name="connsiteY3656" fmla="*/ 433992 h 1786050"/>
              <a:gd name="connsiteX3657" fmla="*/ 2511849 w 4664922"/>
              <a:gd name="connsiteY3657" fmla="*/ 442322 h 1786050"/>
              <a:gd name="connsiteX3658" fmla="*/ 2492992 w 4664922"/>
              <a:gd name="connsiteY3658" fmla="*/ 436538 h 1786050"/>
              <a:gd name="connsiteX3659" fmla="*/ 2492066 w 4664922"/>
              <a:gd name="connsiteY3659" fmla="*/ 433125 h 1786050"/>
              <a:gd name="connsiteX3660" fmla="*/ 2499875 w 4664922"/>
              <a:gd name="connsiteY3660" fmla="*/ 427977 h 1786050"/>
              <a:gd name="connsiteX3661" fmla="*/ 2509015 w 4664922"/>
              <a:gd name="connsiteY3661" fmla="*/ 422192 h 1786050"/>
              <a:gd name="connsiteX3662" fmla="*/ 2526021 w 4664922"/>
              <a:gd name="connsiteY3662" fmla="*/ 416697 h 1786050"/>
              <a:gd name="connsiteX3663" fmla="*/ 2542102 w 4664922"/>
              <a:gd name="connsiteY3663" fmla="*/ 421556 h 1786050"/>
              <a:gd name="connsiteX3664" fmla="*/ 2544242 w 4664922"/>
              <a:gd name="connsiteY3664" fmla="*/ 427630 h 1786050"/>
              <a:gd name="connsiteX3665" fmla="*/ 2511675 w 4664922"/>
              <a:gd name="connsiteY3665" fmla="*/ 442149 h 1786050"/>
              <a:gd name="connsiteX3666" fmla="*/ 2526021 w 4664922"/>
              <a:gd name="connsiteY3666" fmla="*/ 419184 h 1786050"/>
              <a:gd name="connsiteX3667" fmla="*/ 2511039 w 4664922"/>
              <a:gd name="connsiteY3667" fmla="*/ 423407 h 1786050"/>
              <a:gd name="connsiteX3668" fmla="*/ 2500685 w 4664922"/>
              <a:gd name="connsiteY3668" fmla="*/ 430117 h 1786050"/>
              <a:gd name="connsiteX3669" fmla="*/ 2494264 w 4664922"/>
              <a:gd name="connsiteY3669" fmla="*/ 433761 h 1786050"/>
              <a:gd name="connsiteX3670" fmla="*/ 2494785 w 4664922"/>
              <a:gd name="connsiteY3670" fmla="*/ 435149 h 1786050"/>
              <a:gd name="connsiteX3671" fmla="*/ 2512139 w 4664922"/>
              <a:gd name="connsiteY3671" fmla="*/ 440182 h 1786050"/>
              <a:gd name="connsiteX3672" fmla="*/ 2542275 w 4664922"/>
              <a:gd name="connsiteY3672" fmla="*/ 427687 h 1786050"/>
              <a:gd name="connsiteX3673" fmla="*/ 2540713 w 4664922"/>
              <a:gd name="connsiteY3673" fmla="*/ 423349 h 1786050"/>
              <a:gd name="connsiteX3674" fmla="*/ 2525848 w 4664922"/>
              <a:gd name="connsiteY3674" fmla="*/ 418895 h 1786050"/>
              <a:gd name="connsiteX3675" fmla="*/ 3528173 w 4664922"/>
              <a:gd name="connsiteY3675" fmla="*/ 410797 h 1786050"/>
              <a:gd name="connsiteX3676" fmla="*/ 3513885 w 4664922"/>
              <a:gd name="connsiteY3676" fmla="*/ 410334 h 1786050"/>
              <a:gd name="connsiteX3677" fmla="*/ 3468940 w 4664922"/>
              <a:gd name="connsiteY3677" fmla="*/ 395989 h 1786050"/>
              <a:gd name="connsiteX3678" fmla="*/ 3447654 w 4664922"/>
              <a:gd name="connsiteY3678" fmla="*/ 387717 h 1786050"/>
              <a:gd name="connsiteX3679" fmla="*/ 3444183 w 4664922"/>
              <a:gd name="connsiteY3679" fmla="*/ 383934 h 1786050"/>
              <a:gd name="connsiteX3680" fmla="*/ 3444183 w 4664922"/>
              <a:gd name="connsiteY3680" fmla="*/ 383610 h 1786050"/>
              <a:gd name="connsiteX3681" fmla="*/ 3462173 w 4664922"/>
              <a:gd name="connsiteY3681" fmla="*/ 364290 h 1786050"/>
              <a:gd name="connsiteX3682" fmla="*/ 3467321 w 4664922"/>
              <a:gd name="connsiteY3682" fmla="*/ 367414 h 1786050"/>
              <a:gd name="connsiteX3683" fmla="*/ 3489012 w 4664922"/>
              <a:gd name="connsiteY3683" fmla="*/ 377189 h 1786050"/>
              <a:gd name="connsiteX3684" fmla="*/ 3503127 w 4664922"/>
              <a:gd name="connsiteY3684" fmla="*/ 375049 h 1786050"/>
              <a:gd name="connsiteX3685" fmla="*/ 3507523 w 4664922"/>
              <a:gd name="connsiteY3685" fmla="*/ 374355 h 1786050"/>
              <a:gd name="connsiteX3686" fmla="*/ 3520422 w 4664922"/>
              <a:gd name="connsiteY3686" fmla="*/ 379098 h 1786050"/>
              <a:gd name="connsiteX3687" fmla="*/ 3530024 w 4664922"/>
              <a:gd name="connsiteY3687" fmla="*/ 382916 h 1786050"/>
              <a:gd name="connsiteX3688" fmla="*/ 3534363 w 4664922"/>
              <a:gd name="connsiteY3688" fmla="*/ 381586 h 1786050"/>
              <a:gd name="connsiteX3689" fmla="*/ 3543618 w 4664922"/>
              <a:gd name="connsiteY3689" fmla="*/ 379619 h 1786050"/>
              <a:gd name="connsiteX3690" fmla="*/ 3578729 w 4664922"/>
              <a:gd name="connsiteY3690" fmla="*/ 391997 h 1786050"/>
              <a:gd name="connsiteX3691" fmla="*/ 3580522 w 4664922"/>
              <a:gd name="connsiteY3691" fmla="*/ 396394 h 1786050"/>
              <a:gd name="connsiteX3692" fmla="*/ 3528000 w 4664922"/>
              <a:gd name="connsiteY3692" fmla="*/ 410508 h 1786050"/>
              <a:gd name="connsiteX3693" fmla="*/ 3461884 w 4664922"/>
              <a:gd name="connsiteY3693" fmla="*/ 366257 h 1786050"/>
              <a:gd name="connsiteX3694" fmla="*/ 3446150 w 4664922"/>
              <a:gd name="connsiteY3694" fmla="*/ 383610 h 1786050"/>
              <a:gd name="connsiteX3695" fmla="*/ 3447538 w 4664922"/>
              <a:gd name="connsiteY3695" fmla="*/ 385345 h 1786050"/>
              <a:gd name="connsiteX3696" fmla="*/ 3469750 w 4664922"/>
              <a:gd name="connsiteY3696" fmla="*/ 393906 h 1786050"/>
              <a:gd name="connsiteX3697" fmla="*/ 3513770 w 4664922"/>
              <a:gd name="connsiteY3697" fmla="*/ 407963 h 1786050"/>
              <a:gd name="connsiteX3698" fmla="*/ 3527884 w 4664922"/>
              <a:gd name="connsiteY3698" fmla="*/ 408425 h 1786050"/>
              <a:gd name="connsiteX3699" fmla="*/ 3577977 w 4664922"/>
              <a:gd name="connsiteY3699" fmla="*/ 396047 h 1786050"/>
              <a:gd name="connsiteX3700" fmla="*/ 3576762 w 4664922"/>
              <a:gd name="connsiteY3700" fmla="*/ 393386 h 1786050"/>
              <a:gd name="connsiteX3701" fmla="*/ 3543328 w 4664922"/>
              <a:gd name="connsiteY3701" fmla="*/ 381817 h 1786050"/>
              <a:gd name="connsiteX3702" fmla="*/ 3535288 w 4664922"/>
              <a:gd name="connsiteY3702" fmla="*/ 383436 h 1786050"/>
              <a:gd name="connsiteX3703" fmla="*/ 3529503 w 4664922"/>
              <a:gd name="connsiteY3703" fmla="*/ 385114 h 1786050"/>
              <a:gd name="connsiteX3704" fmla="*/ 3518744 w 4664922"/>
              <a:gd name="connsiteY3704" fmla="*/ 380949 h 1786050"/>
              <a:gd name="connsiteX3705" fmla="*/ 3507175 w 4664922"/>
              <a:gd name="connsiteY3705" fmla="*/ 376553 h 1786050"/>
              <a:gd name="connsiteX3706" fmla="*/ 3503473 w 4664922"/>
              <a:gd name="connsiteY3706" fmla="*/ 377131 h 1786050"/>
              <a:gd name="connsiteX3707" fmla="*/ 3488665 w 4664922"/>
              <a:gd name="connsiteY3707" fmla="*/ 379387 h 1786050"/>
              <a:gd name="connsiteX3708" fmla="*/ 3465007 w 4664922"/>
              <a:gd name="connsiteY3708" fmla="*/ 368513 h 1786050"/>
              <a:gd name="connsiteX3709" fmla="*/ 3461884 w 4664922"/>
              <a:gd name="connsiteY3709" fmla="*/ 366257 h 1786050"/>
              <a:gd name="connsiteX3710" fmla="*/ 3231837 w 4664922"/>
              <a:gd name="connsiteY3710" fmla="*/ 408194 h 1786050"/>
              <a:gd name="connsiteX3711" fmla="*/ 3223738 w 4664922"/>
              <a:gd name="connsiteY3711" fmla="*/ 405707 h 1786050"/>
              <a:gd name="connsiteX3712" fmla="*/ 3220384 w 4664922"/>
              <a:gd name="connsiteY3712" fmla="*/ 402178 h 1786050"/>
              <a:gd name="connsiteX3713" fmla="*/ 3202220 w 4664922"/>
              <a:gd name="connsiteY3713" fmla="*/ 388122 h 1786050"/>
              <a:gd name="connsiteX3714" fmla="*/ 3195048 w 4664922"/>
              <a:gd name="connsiteY3714" fmla="*/ 370479 h 1786050"/>
              <a:gd name="connsiteX3715" fmla="*/ 3245951 w 4664922"/>
              <a:gd name="connsiteY3715" fmla="*/ 321774 h 1786050"/>
              <a:gd name="connsiteX3716" fmla="*/ 3249074 w 4664922"/>
              <a:gd name="connsiteY3716" fmla="*/ 322237 h 1786050"/>
              <a:gd name="connsiteX3717" fmla="*/ 3274815 w 4664922"/>
              <a:gd name="connsiteY3717" fmla="*/ 338318 h 1786050"/>
              <a:gd name="connsiteX3718" fmla="*/ 3297548 w 4664922"/>
              <a:gd name="connsiteY3718" fmla="*/ 351969 h 1786050"/>
              <a:gd name="connsiteX3719" fmla="*/ 3300151 w 4664922"/>
              <a:gd name="connsiteY3719" fmla="*/ 348267 h 1786050"/>
              <a:gd name="connsiteX3720" fmla="*/ 3318951 w 4664922"/>
              <a:gd name="connsiteY3720" fmla="*/ 332476 h 1786050"/>
              <a:gd name="connsiteX3721" fmla="*/ 3340468 w 4664922"/>
              <a:gd name="connsiteY3721" fmla="*/ 337624 h 1786050"/>
              <a:gd name="connsiteX3722" fmla="*/ 3365052 w 4664922"/>
              <a:gd name="connsiteY3722" fmla="*/ 341499 h 1786050"/>
              <a:gd name="connsiteX3723" fmla="*/ 3399759 w 4664922"/>
              <a:gd name="connsiteY3723" fmla="*/ 348961 h 1786050"/>
              <a:gd name="connsiteX3724" fmla="*/ 3415955 w 4664922"/>
              <a:gd name="connsiteY3724" fmla="*/ 365736 h 1786050"/>
              <a:gd name="connsiteX3725" fmla="*/ 3406874 w 4664922"/>
              <a:gd name="connsiteY3725" fmla="*/ 374413 h 1786050"/>
              <a:gd name="connsiteX3726" fmla="*/ 3402651 w 4664922"/>
              <a:gd name="connsiteY3726" fmla="*/ 384015 h 1786050"/>
              <a:gd name="connsiteX3727" fmla="*/ 3387091 w 4664922"/>
              <a:gd name="connsiteY3727" fmla="*/ 397955 h 1786050"/>
              <a:gd name="connsiteX3728" fmla="*/ 3350302 w 4664922"/>
              <a:gd name="connsiteY3728" fmla="*/ 381181 h 1786050"/>
              <a:gd name="connsiteX3729" fmla="*/ 3350649 w 4664922"/>
              <a:gd name="connsiteY3729" fmla="*/ 371058 h 1786050"/>
              <a:gd name="connsiteX3730" fmla="*/ 3351343 w 4664922"/>
              <a:gd name="connsiteY3730" fmla="*/ 367240 h 1786050"/>
              <a:gd name="connsiteX3731" fmla="*/ 3343187 w 4664922"/>
              <a:gd name="connsiteY3731" fmla="*/ 363191 h 1786050"/>
              <a:gd name="connsiteX3732" fmla="*/ 3338097 w 4664922"/>
              <a:gd name="connsiteY3732" fmla="*/ 367009 h 1786050"/>
              <a:gd name="connsiteX3733" fmla="*/ 3342782 w 4664922"/>
              <a:gd name="connsiteY3733" fmla="*/ 380024 h 1786050"/>
              <a:gd name="connsiteX3734" fmla="*/ 3346889 w 4664922"/>
              <a:gd name="connsiteY3734" fmla="*/ 396567 h 1786050"/>
              <a:gd name="connsiteX3735" fmla="*/ 3339427 w 4664922"/>
              <a:gd name="connsiteY3735" fmla="*/ 399517 h 1786050"/>
              <a:gd name="connsiteX3736" fmla="*/ 3326065 w 4664922"/>
              <a:gd name="connsiteY3736" fmla="*/ 398881 h 1786050"/>
              <a:gd name="connsiteX3737" fmla="*/ 3314496 w 4664922"/>
              <a:gd name="connsiteY3737" fmla="*/ 398303 h 1786050"/>
              <a:gd name="connsiteX3738" fmla="*/ 3291705 w 4664922"/>
              <a:gd name="connsiteY3738" fmla="*/ 404087 h 1786050"/>
              <a:gd name="connsiteX3739" fmla="*/ 3282856 w 4664922"/>
              <a:gd name="connsiteY3739" fmla="*/ 407211 h 1786050"/>
              <a:gd name="connsiteX3740" fmla="*/ 3273658 w 4664922"/>
              <a:gd name="connsiteY3740" fmla="*/ 402525 h 1786050"/>
              <a:gd name="connsiteX3741" fmla="*/ 3265618 w 4664922"/>
              <a:gd name="connsiteY3741" fmla="*/ 399344 h 1786050"/>
              <a:gd name="connsiteX3742" fmla="*/ 3261627 w 4664922"/>
              <a:gd name="connsiteY3742" fmla="*/ 400732 h 1786050"/>
              <a:gd name="connsiteX3743" fmla="*/ 3231952 w 4664922"/>
              <a:gd name="connsiteY3743" fmla="*/ 408194 h 1786050"/>
              <a:gd name="connsiteX3744" fmla="*/ 3245951 w 4664922"/>
              <a:gd name="connsiteY3744" fmla="*/ 324030 h 1786050"/>
              <a:gd name="connsiteX3745" fmla="*/ 3197246 w 4664922"/>
              <a:gd name="connsiteY3745" fmla="*/ 371000 h 1786050"/>
              <a:gd name="connsiteX3746" fmla="*/ 3203030 w 4664922"/>
              <a:gd name="connsiteY3746" fmla="*/ 386097 h 1786050"/>
              <a:gd name="connsiteX3747" fmla="*/ 3221772 w 4664922"/>
              <a:gd name="connsiteY3747" fmla="*/ 400674 h 1786050"/>
              <a:gd name="connsiteX3748" fmla="*/ 3225069 w 4664922"/>
              <a:gd name="connsiteY3748" fmla="*/ 404087 h 1786050"/>
              <a:gd name="connsiteX3749" fmla="*/ 3231605 w 4664922"/>
              <a:gd name="connsiteY3749" fmla="*/ 405938 h 1786050"/>
              <a:gd name="connsiteX3750" fmla="*/ 3260527 w 4664922"/>
              <a:gd name="connsiteY3750" fmla="*/ 398707 h 1786050"/>
              <a:gd name="connsiteX3751" fmla="*/ 3264577 w 4664922"/>
              <a:gd name="connsiteY3751" fmla="*/ 397319 h 1786050"/>
              <a:gd name="connsiteX3752" fmla="*/ 3267179 w 4664922"/>
              <a:gd name="connsiteY3752" fmla="*/ 396856 h 1786050"/>
              <a:gd name="connsiteX3753" fmla="*/ 3274873 w 4664922"/>
              <a:gd name="connsiteY3753" fmla="*/ 400963 h 1786050"/>
              <a:gd name="connsiteX3754" fmla="*/ 3282508 w 4664922"/>
              <a:gd name="connsiteY3754" fmla="*/ 405070 h 1786050"/>
              <a:gd name="connsiteX3755" fmla="*/ 3290144 w 4664922"/>
              <a:gd name="connsiteY3755" fmla="*/ 402294 h 1786050"/>
              <a:gd name="connsiteX3756" fmla="*/ 3314149 w 4664922"/>
              <a:gd name="connsiteY3756" fmla="*/ 396047 h 1786050"/>
              <a:gd name="connsiteX3757" fmla="*/ 3326065 w 4664922"/>
              <a:gd name="connsiteY3757" fmla="*/ 396625 h 1786050"/>
              <a:gd name="connsiteX3758" fmla="*/ 3339254 w 4664922"/>
              <a:gd name="connsiteY3758" fmla="*/ 397261 h 1786050"/>
              <a:gd name="connsiteX3759" fmla="*/ 3345038 w 4664922"/>
              <a:gd name="connsiteY3759" fmla="*/ 395410 h 1786050"/>
              <a:gd name="connsiteX3760" fmla="*/ 3340873 w 4664922"/>
              <a:gd name="connsiteY3760" fmla="*/ 381065 h 1786050"/>
              <a:gd name="connsiteX3761" fmla="*/ 3335956 w 4664922"/>
              <a:gd name="connsiteY3761" fmla="*/ 366777 h 1786050"/>
              <a:gd name="connsiteX3762" fmla="*/ 3343071 w 4664922"/>
              <a:gd name="connsiteY3762" fmla="*/ 360970 h 1786050"/>
              <a:gd name="connsiteX3763" fmla="*/ 3343245 w 4664922"/>
              <a:gd name="connsiteY3763" fmla="*/ 360993 h 1786050"/>
              <a:gd name="connsiteX3764" fmla="*/ 3353425 w 4664922"/>
              <a:gd name="connsiteY3764" fmla="*/ 366315 h 1786050"/>
              <a:gd name="connsiteX3765" fmla="*/ 3352442 w 4664922"/>
              <a:gd name="connsiteY3765" fmla="*/ 372504 h 1786050"/>
              <a:gd name="connsiteX3766" fmla="*/ 3352442 w 4664922"/>
              <a:gd name="connsiteY3766" fmla="*/ 380255 h 1786050"/>
              <a:gd name="connsiteX3767" fmla="*/ 3387148 w 4664922"/>
              <a:gd name="connsiteY3767" fmla="*/ 395757 h 1786050"/>
              <a:gd name="connsiteX3768" fmla="*/ 3400569 w 4664922"/>
              <a:gd name="connsiteY3768" fmla="*/ 384188 h 1786050"/>
              <a:gd name="connsiteX3769" fmla="*/ 3406353 w 4664922"/>
              <a:gd name="connsiteY3769" fmla="*/ 372620 h 1786050"/>
              <a:gd name="connsiteX3770" fmla="*/ 3414046 w 4664922"/>
              <a:gd name="connsiteY3770" fmla="*/ 365852 h 1786050"/>
              <a:gd name="connsiteX3771" fmla="*/ 3398949 w 4664922"/>
              <a:gd name="connsiteY3771" fmla="*/ 351217 h 1786050"/>
              <a:gd name="connsiteX3772" fmla="*/ 3365457 w 4664922"/>
              <a:gd name="connsiteY3772" fmla="*/ 344045 h 1786050"/>
              <a:gd name="connsiteX3773" fmla="*/ 3340063 w 4664922"/>
              <a:gd name="connsiteY3773" fmla="*/ 339938 h 1786050"/>
              <a:gd name="connsiteX3774" fmla="*/ 3319471 w 4664922"/>
              <a:gd name="connsiteY3774" fmla="*/ 334963 h 1786050"/>
              <a:gd name="connsiteX3775" fmla="*/ 3302870 w 4664922"/>
              <a:gd name="connsiteY3775" fmla="*/ 348672 h 1786050"/>
              <a:gd name="connsiteX3776" fmla="*/ 3298069 w 4664922"/>
              <a:gd name="connsiteY3776" fmla="*/ 354457 h 1786050"/>
              <a:gd name="connsiteX3777" fmla="*/ 3273947 w 4664922"/>
              <a:gd name="connsiteY3777" fmla="*/ 340400 h 1786050"/>
              <a:gd name="connsiteX3778" fmla="*/ 3248901 w 4664922"/>
              <a:gd name="connsiteY3778" fmla="*/ 324609 h 1786050"/>
              <a:gd name="connsiteX3779" fmla="*/ 3246066 w 4664922"/>
              <a:gd name="connsiteY3779" fmla="*/ 324030 h 1786050"/>
              <a:gd name="connsiteX3780" fmla="*/ 2169295 w 4664922"/>
              <a:gd name="connsiteY3780" fmla="*/ 223497 h 1786050"/>
              <a:gd name="connsiteX3781" fmla="*/ 2169295 w 4664922"/>
              <a:gd name="connsiteY3781" fmla="*/ 223497 h 1786050"/>
              <a:gd name="connsiteX3782" fmla="*/ 2160271 w 4664922"/>
              <a:gd name="connsiteY3782" fmla="*/ 221704 h 1786050"/>
              <a:gd name="connsiteX3783" fmla="*/ 2156975 w 4664922"/>
              <a:gd name="connsiteY3783" fmla="*/ 217597 h 1786050"/>
              <a:gd name="connsiteX3784" fmla="*/ 2164841 w 4664922"/>
              <a:gd name="connsiteY3784" fmla="*/ 205681 h 1786050"/>
              <a:gd name="connsiteX3785" fmla="*/ 2179071 w 4664922"/>
              <a:gd name="connsiteY3785" fmla="*/ 181907 h 1786050"/>
              <a:gd name="connsiteX3786" fmla="*/ 2192375 w 4664922"/>
              <a:gd name="connsiteY3786" fmla="*/ 168892 h 1786050"/>
              <a:gd name="connsiteX3787" fmla="*/ 2195325 w 4664922"/>
              <a:gd name="connsiteY3787" fmla="*/ 168892 h 1786050"/>
              <a:gd name="connsiteX3788" fmla="*/ 2198970 w 4664922"/>
              <a:gd name="connsiteY3788" fmla="*/ 168198 h 1786050"/>
              <a:gd name="connsiteX3789" fmla="*/ 2198970 w 4664922"/>
              <a:gd name="connsiteY3789" fmla="*/ 166694 h 1786050"/>
              <a:gd name="connsiteX3790" fmla="*/ 2203944 w 4664922"/>
              <a:gd name="connsiteY3790" fmla="*/ 154720 h 1786050"/>
              <a:gd name="connsiteX3791" fmla="*/ 2208687 w 4664922"/>
              <a:gd name="connsiteY3791" fmla="*/ 144771 h 1786050"/>
              <a:gd name="connsiteX3792" fmla="*/ 2223495 w 4664922"/>
              <a:gd name="connsiteY3792" fmla="*/ 138987 h 1786050"/>
              <a:gd name="connsiteX3793" fmla="*/ 2237725 w 4664922"/>
              <a:gd name="connsiteY3793" fmla="*/ 134417 h 1786050"/>
              <a:gd name="connsiteX3794" fmla="*/ 2243857 w 4664922"/>
              <a:gd name="connsiteY3794" fmla="*/ 129905 h 1786050"/>
              <a:gd name="connsiteX3795" fmla="*/ 2259648 w 4664922"/>
              <a:gd name="connsiteY3795" fmla="*/ 139796 h 1786050"/>
              <a:gd name="connsiteX3796" fmla="*/ 2255830 w 4664922"/>
              <a:gd name="connsiteY3796" fmla="*/ 153101 h 1786050"/>
              <a:gd name="connsiteX3797" fmla="*/ 2246806 w 4664922"/>
              <a:gd name="connsiteY3797" fmla="*/ 169355 h 1786050"/>
              <a:gd name="connsiteX3798" fmla="*/ 2247269 w 4664922"/>
              <a:gd name="connsiteY3798" fmla="*/ 169760 h 1786050"/>
              <a:gd name="connsiteX3799" fmla="*/ 2250798 w 4664922"/>
              <a:gd name="connsiteY3799" fmla="*/ 166289 h 1786050"/>
              <a:gd name="connsiteX3800" fmla="*/ 2278332 w 4664922"/>
              <a:gd name="connsiteY3800" fmla="*/ 152522 h 1786050"/>
              <a:gd name="connsiteX3801" fmla="*/ 2292214 w 4664922"/>
              <a:gd name="connsiteY3801" fmla="*/ 158307 h 1786050"/>
              <a:gd name="connsiteX3802" fmla="*/ 2310840 w 4664922"/>
              <a:gd name="connsiteY3802" fmla="*/ 167851 h 1786050"/>
              <a:gd name="connsiteX3803" fmla="*/ 2328193 w 4664922"/>
              <a:gd name="connsiteY3803" fmla="*/ 182717 h 1786050"/>
              <a:gd name="connsiteX3804" fmla="*/ 2234139 w 4664922"/>
              <a:gd name="connsiteY3804" fmla="*/ 215110 h 1786050"/>
              <a:gd name="connsiteX3805" fmla="*/ 2230552 w 4664922"/>
              <a:gd name="connsiteY3805" fmla="*/ 215110 h 1786050"/>
              <a:gd name="connsiteX3806" fmla="*/ 2196308 w 4664922"/>
              <a:gd name="connsiteY3806" fmla="*/ 219969 h 1786050"/>
              <a:gd name="connsiteX3807" fmla="*/ 2169411 w 4664922"/>
              <a:gd name="connsiteY3807" fmla="*/ 223497 h 1786050"/>
              <a:gd name="connsiteX3808" fmla="*/ 2192433 w 4664922"/>
              <a:gd name="connsiteY3808" fmla="*/ 171437 h 1786050"/>
              <a:gd name="connsiteX3809" fmla="*/ 2181385 w 4664922"/>
              <a:gd name="connsiteY3809" fmla="*/ 182312 h 1786050"/>
              <a:gd name="connsiteX3810" fmla="*/ 2166461 w 4664922"/>
              <a:gd name="connsiteY3810" fmla="*/ 207590 h 1786050"/>
              <a:gd name="connsiteX3811" fmla="*/ 2159288 w 4664922"/>
              <a:gd name="connsiteY3811" fmla="*/ 217597 h 1786050"/>
              <a:gd name="connsiteX3812" fmla="*/ 2161429 w 4664922"/>
              <a:gd name="connsiteY3812" fmla="*/ 220026 h 1786050"/>
              <a:gd name="connsiteX3813" fmla="*/ 2169353 w 4664922"/>
              <a:gd name="connsiteY3813" fmla="*/ 221530 h 1786050"/>
              <a:gd name="connsiteX3814" fmla="*/ 2169353 w 4664922"/>
              <a:gd name="connsiteY3814" fmla="*/ 221530 h 1786050"/>
              <a:gd name="connsiteX3815" fmla="*/ 2196019 w 4664922"/>
              <a:gd name="connsiteY3815" fmla="*/ 217539 h 1786050"/>
              <a:gd name="connsiteX3816" fmla="*/ 2232808 w 4664922"/>
              <a:gd name="connsiteY3816" fmla="*/ 212622 h 1786050"/>
              <a:gd name="connsiteX3817" fmla="*/ 2234312 w 4664922"/>
              <a:gd name="connsiteY3817" fmla="*/ 212622 h 1786050"/>
              <a:gd name="connsiteX3818" fmla="*/ 2326111 w 4664922"/>
              <a:gd name="connsiteY3818" fmla="*/ 182023 h 1786050"/>
              <a:gd name="connsiteX3819" fmla="*/ 2310435 w 4664922"/>
              <a:gd name="connsiteY3819" fmla="*/ 169760 h 1786050"/>
              <a:gd name="connsiteX3820" fmla="*/ 2290884 w 4664922"/>
              <a:gd name="connsiteY3820" fmla="*/ 159579 h 1786050"/>
              <a:gd name="connsiteX3821" fmla="*/ 2278678 w 4664922"/>
              <a:gd name="connsiteY3821" fmla="*/ 154836 h 1786050"/>
              <a:gd name="connsiteX3822" fmla="*/ 2253112 w 4664922"/>
              <a:gd name="connsiteY3822" fmla="*/ 167446 h 1786050"/>
              <a:gd name="connsiteX3823" fmla="*/ 2247327 w 4664922"/>
              <a:gd name="connsiteY3823" fmla="*/ 172073 h 1786050"/>
              <a:gd name="connsiteX3824" fmla="*/ 2244782 w 4664922"/>
              <a:gd name="connsiteY3824" fmla="*/ 170280 h 1786050"/>
              <a:gd name="connsiteX3825" fmla="*/ 2254268 w 4664922"/>
              <a:gd name="connsiteY3825" fmla="*/ 151539 h 1786050"/>
              <a:gd name="connsiteX3826" fmla="*/ 2257624 w 4664922"/>
              <a:gd name="connsiteY3826" fmla="*/ 140722 h 1786050"/>
              <a:gd name="connsiteX3827" fmla="*/ 2243914 w 4664922"/>
              <a:gd name="connsiteY3827" fmla="*/ 132219 h 1786050"/>
              <a:gd name="connsiteX3828" fmla="*/ 2240039 w 4664922"/>
              <a:gd name="connsiteY3828" fmla="*/ 134648 h 1786050"/>
              <a:gd name="connsiteX3829" fmla="*/ 2223668 w 4664922"/>
              <a:gd name="connsiteY3829" fmla="*/ 141300 h 1786050"/>
              <a:gd name="connsiteX3830" fmla="*/ 2210943 w 4664922"/>
              <a:gd name="connsiteY3830" fmla="*/ 145060 h 1786050"/>
              <a:gd name="connsiteX3831" fmla="*/ 2205795 w 4664922"/>
              <a:gd name="connsiteY3831" fmla="*/ 156629 h 1786050"/>
              <a:gd name="connsiteX3832" fmla="*/ 2201283 w 4664922"/>
              <a:gd name="connsiteY3832" fmla="*/ 167041 h 1786050"/>
              <a:gd name="connsiteX3833" fmla="*/ 2200416 w 4664922"/>
              <a:gd name="connsiteY3833" fmla="*/ 170280 h 1786050"/>
              <a:gd name="connsiteX3834" fmla="*/ 2195094 w 4664922"/>
              <a:gd name="connsiteY3834" fmla="*/ 171726 h 1786050"/>
              <a:gd name="connsiteX3835" fmla="*/ 2141472 w 4664922"/>
              <a:gd name="connsiteY3835" fmla="*/ 172825 h 1786050"/>
              <a:gd name="connsiteX3836" fmla="*/ 2099882 w 4664922"/>
              <a:gd name="connsiteY3836" fmla="*/ 163744 h 1786050"/>
              <a:gd name="connsiteX3837" fmla="*/ 2067720 w 4664922"/>
              <a:gd name="connsiteY3837" fmla="*/ 156340 h 1786050"/>
              <a:gd name="connsiteX3838" fmla="*/ 2064192 w 4664922"/>
              <a:gd name="connsiteY3838" fmla="*/ 156687 h 1786050"/>
              <a:gd name="connsiteX3839" fmla="*/ 2060895 w 4664922"/>
              <a:gd name="connsiteY3839" fmla="*/ 157092 h 1786050"/>
              <a:gd name="connsiteX3840" fmla="*/ 2044872 w 4664922"/>
              <a:gd name="connsiteY3840" fmla="*/ 145523 h 1786050"/>
              <a:gd name="connsiteX3841" fmla="*/ 2037063 w 4664922"/>
              <a:gd name="connsiteY3841" fmla="*/ 138119 h 1786050"/>
              <a:gd name="connsiteX3842" fmla="*/ 2030642 w 4664922"/>
              <a:gd name="connsiteY3842" fmla="*/ 137251 h 1786050"/>
              <a:gd name="connsiteX3843" fmla="*/ 2016355 w 4664922"/>
              <a:gd name="connsiteY3843" fmla="*/ 132219 h 1786050"/>
              <a:gd name="connsiteX3844" fmla="*/ 2014620 w 4664922"/>
              <a:gd name="connsiteY3844" fmla="*/ 128632 h 1786050"/>
              <a:gd name="connsiteX3845" fmla="*/ 2024164 w 4664922"/>
              <a:gd name="connsiteY3845" fmla="*/ 118336 h 1786050"/>
              <a:gd name="connsiteX3846" fmla="*/ 2034576 w 4664922"/>
              <a:gd name="connsiteY3846" fmla="*/ 107114 h 1786050"/>
              <a:gd name="connsiteX3847" fmla="*/ 2101501 w 4664922"/>
              <a:gd name="connsiteY3847" fmla="*/ 87274 h 1786050"/>
              <a:gd name="connsiteX3848" fmla="*/ 2112608 w 4664922"/>
              <a:gd name="connsiteY3848" fmla="*/ 90455 h 1786050"/>
              <a:gd name="connsiteX3849" fmla="*/ 2128920 w 4664922"/>
              <a:gd name="connsiteY3849" fmla="*/ 107461 h 1786050"/>
              <a:gd name="connsiteX3850" fmla="*/ 2130655 w 4664922"/>
              <a:gd name="connsiteY3850" fmla="*/ 103065 h 1786050"/>
              <a:gd name="connsiteX3851" fmla="*/ 2142513 w 4664922"/>
              <a:gd name="connsiteY3851" fmla="*/ 95835 h 1786050"/>
              <a:gd name="connsiteX3852" fmla="*/ 2174096 w 4664922"/>
              <a:gd name="connsiteY3852" fmla="*/ 110238 h 1786050"/>
              <a:gd name="connsiteX3853" fmla="*/ 2173055 w 4664922"/>
              <a:gd name="connsiteY3853" fmla="*/ 121518 h 1786050"/>
              <a:gd name="connsiteX3854" fmla="*/ 2158305 w 4664922"/>
              <a:gd name="connsiteY3854" fmla="*/ 149456 h 1786050"/>
              <a:gd name="connsiteX3855" fmla="*/ 2160156 w 4664922"/>
              <a:gd name="connsiteY3855" fmla="*/ 150382 h 1786050"/>
              <a:gd name="connsiteX3856" fmla="*/ 2164841 w 4664922"/>
              <a:gd name="connsiteY3856" fmla="*/ 157103 h 1786050"/>
              <a:gd name="connsiteX3857" fmla="*/ 2164783 w 4664922"/>
              <a:gd name="connsiteY3857" fmla="*/ 157265 h 1786050"/>
              <a:gd name="connsiteX3858" fmla="*/ 2141530 w 4664922"/>
              <a:gd name="connsiteY3858" fmla="*/ 172536 h 1786050"/>
              <a:gd name="connsiteX3859" fmla="*/ 2067836 w 4664922"/>
              <a:gd name="connsiteY3859" fmla="*/ 153795 h 1786050"/>
              <a:gd name="connsiteX3860" fmla="*/ 2100634 w 4664922"/>
              <a:gd name="connsiteY3860" fmla="*/ 161314 h 1786050"/>
              <a:gd name="connsiteX3861" fmla="*/ 2141588 w 4664922"/>
              <a:gd name="connsiteY3861" fmla="*/ 170280 h 1786050"/>
              <a:gd name="connsiteX3862" fmla="*/ 2162643 w 4664922"/>
              <a:gd name="connsiteY3862" fmla="*/ 156860 h 1786050"/>
              <a:gd name="connsiteX3863" fmla="*/ 2160040 w 4664922"/>
              <a:gd name="connsiteY3863" fmla="*/ 152349 h 1786050"/>
              <a:gd name="connsiteX3864" fmla="*/ 2156396 w 4664922"/>
              <a:gd name="connsiteY3864" fmla="*/ 150093 h 1786050"/>
              <a:gd name="connsiteX3865" fmla="*/ 2171320 w 4664922"/>
              <a:gd name="connsiteY3865" fmla="*/ 119898 h 1786050"/>
              <a:gd name="connsiteX3866" fmla="*/ 2172188 w 4664922"/>
              <a:gd name="connsiteY3866" fmla="*/ 110990 h 1786050"/>
              <a:gd name="connsiteX3867" fmla="*/ 2142629 w 4664922"/>
              <a:gd name="connsiteY3867" fmla="*/ 97801 h 1786050"/>
              <a:gd name="connsiteX3868" fmla="*/ 2133027 w 4664922"/>
              <a:gd name="connsiteY3868" fmla="*/ 102776 h 1786050"/>
              <a:gd name="connsiteX3869" fmla="*/ 2129035 w 4664922"/>
              <a:gd name="connsiteY3869" fmla="*/ 109428 h 1786050"/>
              <a:gd name="connsiteX3870" fmla="*/ 2110699 w 4664922"/>
              <a:gd name="connsiteY3870" fmla="*/ 91207 h 1786050"/>
              <a:gd name="connsiteX3871" fmla="*/ 2101617 w 4664922"/>
              <a:gd name="connsiteY3871" fmla="*/ 89240 h 1786050"/>
              <a:gd name="connsiteX3872" fmla="*/ 2036948 w 4664922"/>
              <a:gd name="connsiteY3872" fmla="*/ 106594 h 1786050"/>
              <a:gd name="connsiteX3873" fmla="*/ 2025379 w 4664922"/>
              <a:gd name="connsiteY3873" fmla="*/ 119609 h 1786050"/>
              <a:gd name="connsiteX3874" fmla="*/ 2016760 w 4664922"/>
              <a:gd name="connsiteY3874" fmla="*/ 128227 h 1786050"/>
              <a:gd name="connsiteX3875" fmla="*/ 2017685 w 4664922"/>
              <a:gd name="connsiteY3875" fmla="*/ 129963 h 1786050"/>
              <a:gd name="connsiteX3876" fmla="*/ 2030700 w 4664922"/>
              <a:gd name="connsiteY3876" fmla="*/ 134533 h 1786050"/>
              <a:gd name="connsiteX3877" fmla="*/ 2037410 w 4664922"/>
              <a:gd name="connsiteY3877" fmla="*/ 135342 h 1786050"/>
              <a:gd name="connsiteX3878" fmla="*/ 2046549 w 4664922"/>
              <a:gd name="connsiteY3878" fmla="*/ 143672 h 1786050"/>
              <a:gd name="connsiteX3879" fmla="*/ 2063556 w 4664922"/>
              <a:gd name="connsiteY3879" fmla="*/ 153968 h 1786050"/>
              <a:gd name="connsiteX3880" fmla="*/ 2067836 w 4664922"/>
              <a:gd name="connsiteY3880" fmla="*/ 153795 h 1786050"/>
              <a:gd name="connsiteX3881" fmla="*/ 1997613 w 4664922"/>
              <a:gd name="connsiteY3881" fmla="*/ 122443 h 1786050"/>
              <a:gd name="connsiteX3882" fmla="*/ 1991135 w 4664922"/>
              <a:gd name="connsiteY3882" fmla="*/ 121633 h 1786050"/>
              <a:gd name="connsiteX3883" fmla="*/ 1973203 w 4664922"/>
              <a:gd name="connsiteY3883" fmla="*/ 110816 h 1786050"/>
              <a:gd name="connsiteX3884" fmla="*/ 1966725 w 4664922"/>
              <a:gd name="connsiteY3884" fmla="*/ 105495 h 1786050"/>
              <a:gd name="connsiteX3885" fmla="*/ 1962328 w 4664922"/>
              <a:gd name="connsiteY3885" fmla="*/ 100694 h 1786050"/>
              <a:gd name="connsiteX3886" fmla="*/ 1986507 w 4664922"/>
              <a:gd name="connsiteY3886" fmla="*/ 93579 h 1786050"/>
              <a:gd name="connsiteX3887" fmla="*/ 2000853 w 4664922"/>
              <a:gd name="connsiteY3887" fmla="*/ 90860 h 1786050"/>
              <a:gd name="connsiteX3888" fmla="*/ 1992523 w 4664922"/>
              <a:gd name="connsiteY3888" fmla="*/ 85076 h 1786050"/>
              <a:gd name="connsiteX3889" fmla="*/ 1981301 w 4664922"/>
              <a:gd name="connsiteY3889" fmla="*/ 70846 h 1786050"/>
              <a:gd name="connsiteX3890" fmla="*/ 1992234 w 4664922"/>
              <a:gd name="connsiteY3890" fmla="*/ 64367 h 1786050"/>
              <a:gd name="connsiteX3891" fmla="*/ 2007678 w 4664922"/>
              <a:gd name="connsiteY3891" fmla="*/ 54707 h 1786050"/>
              <a:gd name="connsiteX3892" fmla="*/ 2003803 w 4664922"/>
              <a:gd name="connsiteY3892" fmla="*/ 47882 h 1786050"/>
              <a:gd name="connsiteX3893" fmla="*/ 1999233 w 4664922"/>
              <a:gd name="connsiteY3893" fmla="*/ 42097 h 1786050"/>
              <a:gd name="connsiteX3894" fmla="*/ 2034749 w 4664922"/>
              <a:gd name="connsiteY3894" fmla="*/ 27174 h 1786050"/>
              <a:gd name="connsiteX3895" fmla="*/ 2062514 w 4664922"/>
              <a:gd name="connsiteY3895" fmla="*/ 15605 h 1786050"/>
              <a:gd name="connsiteX3896" fmla="*/ 2070902 w 4664922"/>
              <a:gd name="connsiteY3896" fmla="*/ 11845 h 1786050"/>
              <a:gd name="connsiteX3897" fmla="*/ 2075298 w 4664922"/>
              <a:gd name="connsiteY3897" fmla="*/ 13754 h 1786050"/>
              <a:gd name="connsiteX3898" fmla="*/ 2079405 w 4664922"/>
              <a:gd name="connsiteY3898" fmla="*/ 24513 h 1786050"/>
              <a:gd name="connsiteX3899" fmla="*/ 2094908 w 4664922"/>
              <a:gd name="connsiteY3899" fmla="*/ 41866 h 1786050"/>
              <a:gd name="connsiteX3900" fmla="*/ 2117178 w 4664922"/>
              <a:gd name="connsiteY3900" fmla="*/ 51931 h 1786050"/>
              <a:gd name="connsiteX3901" fmla="*/ 2106129 w 4664922"/>
              <a:gd name="connsiteY3901" fmla="*/ 57079 h 1786050"/>
              <a:gd name="connsiteX3902" fmla="*/ 2101039 w 4664922"/>
              <a:gd name="connsiteY3902" fmla="*/ 58988 h 1786050"/>
              <a:gd name="connsiteX3903" fmla="*/ 2102890 w 4664922"/>
              <a:gd name="connsiteY3903" fmla="*/ 65929 h 1786050"/>
              <a:gd name="connsiteX3904" fmla="*/ 2104857 w 4664922"/>
              <a:gd name="connsiteY3904" fmla="*/ 75763 h 1786050"/>
              <a:gd name="connsiteX3905" fmla="*/ 2099072 w 4664922"/>
              <a:gd name="connsiteY3905" fmla="*/ 79638 h 1786050"/>
              <a:gd name="connsiteX3906" fmla="*/ 2082124 w 4664922"/>
              <a:gd name="connsiteY3906" fmla="*/ 83167 h 1786050"/>
              <a:gd name="connsiteX3907" fmla="*/ 2024800 w 4664922"/>
              <a:gd name="connsiteY3907" fmla="*/ 100983 h 1786050"/>
              <a:gd name="connsiteX3908" fmla="*/ 2020867 w 4664922"/>
              <a:gd name="connsiteY3908" fmla="*/ 111858 h 1786050"/>
              <a:gd name="connsiteX3909" fmla="*/ 1997555 w 4664922"/>
              <a:gd name="connsiteY3909" fmla="*/ 122443 h 1786050"/>
              <a:gd name="connsiteX3910" fmla="*/ 1991077 w 4664922"/>
              <a:gd name="connsiteY3910" fmla="*/ 66739 h 1786050"/>
              <a:gd name="connsiteX3911" fmla="*/ 1983500 w 4664922"/>
              <a:gd name="connsiteY3911" fmla="*/ 71482 h 1786050"/>
              <a:gd name="connsiteX3912" fmla="*/ 1993449 w 4664922"/>
              <a:gd name="connsiteY3912" fmla="*/ 83051 h 1786050"/>
              <a:gd name="connsiteX3913" fmla="*/ 2003051 w 4664922"/>
              <a:gd name="connsiteY3913" fmla="*/ 91207 h 1786050"/>
              <a:gd name="connsiteX3914" fmla="*/ 1986507 w 4664922"/>
              <a:gd name="connsiteY3914" fmla="*/ 95719 h 1786050"/>
              <a:gd name="connsiteX3915" fmla="*/ 1964526 w 4664922"/>
              <a:gd name="connsiteY3915" fmla="*/ 100983 h 1786050"/>
              <a:gd name="connsiteX3916" fmla="*/ 1967534 w 4664922"/>
              <a:gd name="connsiteY3916" fmla="*/ 103239 h 1786050"/>
              <a:gd name="connsiteX3917" fmla="*/ 1974881 w 4664922"/>
              <a:gd name="connsiteY3917" fmla="*/ 109023 h 1786050"/>
              <a:gd name="connsiteX3918" fmla="*/ 1991655 w 4664922"/>
              <a:gd name="connsiteY3918" fmla="*/ 119146 h 1786050"/>
              <a:gd name="connsiteX3919" fmla="*/ 2019131 w 4664922"/>
              <a:gd name="connsiteY3919" fmla="*/ 110122 h 1786050"/>
              <a:gd name="connsiteX3920" fmla="*/ 2022544 w 4664922"/>
              <a:gd name="connsiteY3920" fmla="*/ 101099 h 1786050"/>
              <a:gd name="connsiteX3921" fmla="*/ 2081719 w 4664922"/>
              <a:gd name="connsiteY3921" fmla="*/ 80679 h 1786050"/>
              <a:gd name="connsiteX3922" fmla="*/ 2098552 w 4664922"/>
              <a:gd name="connsiteY3922" fmla="*/ 77151 h 1786050"/>
              <a:gd name="connsiteX3923" fmla="*/ 2102832 w 4664922"/>
              <a:gd name="connsiteY3923" fmla="*/ 74548 h 1786050"/>
              <a:gd name="connsiteX3924" fmla="*/ 2100865 w 4664922"/>
              <a:gd name="connsiteY3924" fmla="*/ 66623 h 1786050"/>
              <a:gd name="connsiteX3925" fmla="*/ 2099072 w 4664922"/>
              <a:gd name="connsiteY3925" fmla="*/ 57600 h 1786050"/>
              <a:gd name="connsiteX3926" fmla="*/ 2105955 w 4664922"/>
              <a:gd name="connsiteY3926" fmla="*/ 54534 h 1786050"/>
              <a:gd name="connsiteX3927" fmla="*/ 2114922 w 4664922"/>
              <a:gd name="connsiteY3927" fmla="*/ 51584 h 1786050"/>
              <a:gd name="connsiteX3928" fmla="*/ 2094618 w 4664922"/>
              <a:gd name="connsiteY3928" fmla="*/ 43833 h 1786050"/>
              <a:gd name="connsiteX3929" fmla="*/ 2077265 w 4664922"/>
              <a:gd name="connsiteY3929" fmla="*/ 24744 h 1786050"/>
              <a:gd name="connsiteX3930" fmla="*/ 2073621 w 4664922"/>
              <a:gd name="connsiteY3930" fmla="*/ 15778 h 1786050"/>
              <a:gd name="connsiteX3931" fmla="*/ 2070671 w 4664922"/>
              <a:gd name="connsiteY3931" fmla="*/ 14448 h 1786050"/>
              <a:gd name="connsiteX3932" fmla="*/ 2063556 w 4664922"/>
              <a:gd name="connsiteY3932" fmla="*/ 17861 h 1786050"/>
              <a:gd name="connsiteX3933" fmla="*/ 2034980 w 4664922"/>
              <a:gd name="connsiteY3933" fmla="*/ 29776 h 1786050"/>
              <a:gd name="connsiteX3934" fmla="*/ 2001257 w 4664922"/>
              <a:gd name="connsiteY3934" fmla="*/ 42791 h 1786050"/>
              <a:gd name="connsiteX3935" fmla="*/ 2004555 w 4664922"/>
              <a:gd name="connsiteY3935" fmla="*/ 46204 h 1786050"/>
              <a:gd name="connsiteX3936" fmla="*/ 2009645 w 4664922"/>
              <a:gd name="connsiteY3936" fmla="*/ 55575 h 1786050"/>
              <a:gd name="connsiteX3937" fmla="*/ 1991829 w 4664922"/>
              <a:gd name="connsiteY3937" fmla="*/ 67144 h 1786050"/>
              <a:gd name="connsiteX3938" fmla="*/ 1029127 w 4664922"/>
              <a:gd name="connsiteY3938" fmla="*/ 96355 h 1786050"/>
              <a:gd name="connsiteX3939" fmla="*/ 1005989 w 4664922"/>
              <a:gd name="connsiteY3939" fmla="*/ 91554 h 1786050"/>
              <a:gd name="connsiteX3940" fmla="*/ 1002691 w 4664922"/>
              <a:gd name="connsiteY3940" fmla="*/ 82357 h 1786050"/>
              <a:gd name="connsiteX3941" fmla="*/ 1022879 w 4664922"/>
              <a:gd name="connsiteY3941" fmla="*/ 73391 h 1786050"/>
              <a:gd name="connsiteX3942" fmla="*/ 1042084 w 4664922"/>
              <a:gd name="connsiteY3942" fmla="*/ 70788 h 1786050"/>
              <a:gd name="connsiteX3943" fmla="*/ 1042084 w 4664922"/>
              <a:gd name="connsiteY3943" fmla="*/ 67665 h 1786050"/>
              <a:gd name="connsiteX3944" fmla="*/ 1042084 w 4664922"/>
              <a:gd name="connsiteY3944" fmla="*/ 65640 h 1786050"/>
              <a:gd name="connsiteX3945" fmla="*/ 1056140 w 4664922"/>
              <a:gd name="connsiteY3945" fmla="*/ 62979 h 1786050"/>
              <a:gd name="connsiteX3946" fmla="*/ 1095879 w 4664922"/>
              <a:gd name="connsiteY3946" fmla="*/ 71540 h 1786050"/>
              <a:gd name="connsiteX3947" fmla="*/ 1096457 w 4664922"/>
              <a:gd name="connsiteY3947" fmla="*/ 74837 h 1786050"/>
              <a:gd name="connsiteX3948" fmla="*/ 1082285 w 4664922"/>
              <a:gd name="connsiteY3948" fmla="*/ 81316 h 1786050"/>
              <a:gd name="connsiteX3949" fmla="*/ 1067246 w 4664922"/>
              <a:gd name="connsiteY3949" fmla="*/ 86522 h 1786050"/>
              <a:gd name="connsiteX3950" fmla="*/ 1029069 w 4664922"/>
              <a:gd name="connsiteY3950" fmla="*/ 96355 h 1786050"/>
              <a:gd name="connsiteX3951" fmla="*/ 1056371 w 4664922"/>
              <a:gd name="connsiteY3951" fmla="*/ 65235 h 1786050"/>
              <a:gd name="connsiteX3952" fmla="*/ 1044166 w 4664922"/>
              <a:gd name="connsiteY3952" fmla="*/ 66970 h 1786050"/>
              <a:gd name="connsiteX3953" fmla="*/ 1044166 w 4664922"/>
              <a:gd name="connsiteY3953" fmla="*/ 72061 h 1786050"/>
              <a:gd name="connsiteX3954" fmla="*/ 1023111 w 4664922"/>
              <a:gd name="connsiteY3954" fmla="*/ 75647 h 1786050"/>
              <a:gd name="connsiteX3955" fmla="*/ 1005005 w 4664922"/>
              <a:gd name="connsiteY3955" fmla="*/ 83167 h 1786050"/>
              <a:gd name="connsiteX3956" fmla="*/ 1007666 w 4664922"/>
              <a:gd name="connsiteY3956" fmla="*/ 89819 h 1786050"/>
              <a:gd name="connsiteX3957" fmla="*/ 1029300 w 4664922"/>
              <a:gd name="connsiteY3957" fmla="*/ 94099 h 1786050"/>
              <a:gd name="connsiteX3958" fmla="*/ 1065800 w 4664922"/>
              <a:gd name="connsiteY3958" fmla="*/ 85134 h 1786050"/>
              <a:gd name="connsiteX3959" fmla="*/ 1082575 w 4664922"/>
              <a:gd name="connsiteY3959" fmla="*/ 79060 h 1786050"/>
              <a:gd name="connsiteX3960" fmla="*/ 1094722 w 4664922"/>
              <a:gd name="connsiteY3960" fmla="*/ 74143 h 1786050"/>
              <a:gd name="connsiteX3961" fmla="*/ 1094722 w 4664922"/>
              <a:gd name="connsiteY3961" fmla="*/ 72813 h 1786050"/>
              <a:gd name="connsiteX3962" fmla="*/ 1056313 w 4664922"/>
              <a:gd name="connsiteY3962" fmla="*/ 65235 h 1786050"/>
              <a:gd name="connsiteX3963" fmla="*/ 789420 w 4664922"/>
              <a:gd name="connsiteY3963" fmla="*/ 88373 h 1786050"/>
              <a:gd name="connsiteX3964" fmla="*/ 789420 w 4664922"/>
              <a:gd name="connsiteY3964" fmla="*/ 88373 h 1786050"/>
              <a:gd name="connsiteX3965" fmla="*/ 761076 w 4664922"/>
              <a:gd name="connsiteY3965" fmla="*/ 79812 h 1786050"/>
              <a:gd name="connsiteX3966" fmla="*/ 761076 w 4664922"/>
              <a:gd name="connsiteY3966" fmla="*/ 75416 h 1786050"/>
              <a:gd name="connsiteX3967" fmla="*/ 773223 w 4664922"/>
              <a:gd name="connsiteY3967" fmla="*/ 69978 h 1786050"/>
              <a:gd name="connsiteX3968" fmla="*/ 787337 w 4664922"/>
              <a:gd name="connsiteY3968" fmla="*/ 64194 h 1786050"/>
              <a:gd name="connsiteX3969" fmla="*/ 810880 w 4664922"/>
              <a:gd name="connsiteY3969" fmla="*/ 57137 h 1786050"/>
              <a:gd name="connsiteX3970" fmla="*/ 826151 w 4664922"/>
              <a:gd name="connsiteY3970" fmla="*/ 53550 h 1786050"/>
              <a:gd name="connsiteX3971" fmla="*/ 824762 w 4664922"/>
              <a:gd name="connsiteY3971" fmla="*/ 52047 h 1786050"/>
              <a:gd name="connsiteX3972" fmla="*/ 821986 w 4664922"/>
              <a:gd name="connsiteY3972" fmla="*/ 45047 h 1786050"/>
              <a:gd name="connsiteX3973" fmla="*/ 848536 w 4664922"/>
              <a:gd name="connsiteY3973" fmla="*/ 33131 h 1786050"/>
              <a:gd name="connsiteX3974" fmla="*/ 863865 w 4664922"/>
              <a:gd name="connsiteY3974" fmla="*/ 36371 h 1786050"/>
              <a:gd name="connsiteX3975" fmla="*/ 879946 w 4664922"/>
              <a:gd name="connsiteY3975" fmla="*/ 50658 h 1786050"/>
              <a:gd name="connsiteX3976" fmla="*/ 861841 w 4664922"/>
              <a:gd name="connsiteY3976" fmla="*/ 57889 h 1786050"/>
              <a:gd name="connsiteX3977" fmla="*/ 830547 w 4664922"/>
              <a:gd name="connsiteY3977" fmla="*/ 73854 h 1786050"/>
              <a:gd name="connsiteX3978" fmla="*/ 818978 w 4664922"/>
              <a:gd name="connsiteY3978" fmla="*/ 78539 h 1786050"/>
              <a:gd name="connsiteX3979" fmla="*/ 809029 w 4664922"/>
              <a:gd name="connsiteY3979" fmla="*/ 81779 h 1786050"/>
              <a:gd name="connsiteX3980" fmla="*/ 802840 w 4664922"/>
              <a:gd name="connsiteY3980" fmla="*/ 86984 h 1786050"/>
              <a:gd name="connsiteX3981" fmla="*/ 789478 w 4664922"/>
              <a:gd name="connsiteY3981" fmla="*/ 88431 h 1786050"/>
              <a:gd name="connsiteX3982" fmla="*/ 848190 w 4664922"/>
              <a:gd name="connsiteY3982" fmla="*/ 35330 h 1786050"/>
              <a:gd name="connsiteX3983" fmla="*/ 823780 w 4664922"/>
              <a:gd name="connsiteY3983" fmla="*/ 45684 h 1786050"/>
              <a:gd name="connsiteX3984" fmla="*/ 825688 w 4664922"/>
              <a:gd name="connsiteY3984" fmla="*/ 50138 h 1786050"/>
              <a:gd name="connsiteX3985" fmla="*/ 828002 w 4664922"/>
              <a:gd name="connsiteY3985" fmla="*/ 54013 h 1786050"/>
              <a:gd name="connsiteX3986" fmla="*/ 810649 w 4664922"/>
              <a:gd name="connsiteY3986" fmla="*/ 59335 h 1786050"/>
              <a:gd name="connsiteX3987" fmla="*/ 788610 w 4664922"/>
              <a:gd name="connsiteY3987" fmla="*/ 65409 h 1786050"/>
              <a:gd name="connsiteX3988" fmla="*/ 773166 w 4664922"/>
              <a:gd name="connsiteY3988" fmla="*/ 72176 h 1786050"/>
              <a:gd name="connsiteX3989" fmla="*/ 762522 w 4664922"/>
              <a:gd name="connsiteY3989" fmla="*/ 76399 h 1786050"/>
              <a:gd name="connsiteX3990" fmla="*/ 762811 w 4664922"/>
              <a:gd name="connsiteY3990" fmla="*/ 78828 h 1786050"/>
              <a:gd name="connsiteX3991" fmla="*/ 789130 w 4664922"/>
              <a:gd name="connsiteY3991" fmla="*/ 86117 h 1786050"/>
              <a:gd name="connsiteX3992" fmla="*/ 789130 w 4664922"/>
              <a:gd name="connsiteY3992" fmla="*/ 86117 h 1786050"/>
              <a:gd name="connsiteX3993" fmla="*/ 801336 w 4664922"/>
              <a:gd name="connsiteY3993" fmla="*/ 84786 h 1786050"/>
              <a:gd name="connsiteX3994" fmla="*/ 805847 w 4664922"/>
              <a:gd name="connsiteY3994" fmla="*/ 81721 h 1786050"/>
              <a:gd name="connsiteX3995" fmla="*/ 817995 w 4664922"/>
              <a:gd name="connsiteY3995" fmla="*/ 76225 h 1786050"/>
              <a:gd name="connsiteX3996" fmla="*/ 827655 w 4664922"/>
              <a:gd name="connsiteY3996" fmla="*/ 73507 h 1786050"/>
              <a:gd name="connsiteX3997" fmla="*/ 861031 w 4664922"/>
              <a:gd name="connsiteY3997" fmla="*/ 55575 h 1786050"/>
              <a:gd name="connsiteX3998" fmla="*/ 877112 w 4664922"/>
              <a:gd name="connsiteY3998" fmla="*/ 50196 h 1786050"/>
              <a:gd name="connsiteX3999" fmla="*/ 862245 w 4664922"/>
              <a:gd name="connsiteY3999" fmla="*/ 38337 h 1786050"/>
              <a:gd name="connsiteX4000" fmla="*/ 848132 w 4664922"/>
              <a:gd name="connsiteY4000" fmla="*/ 35387 h 1786050"/>
              <a:gd name="connsiteX4001" fmla="*/ 926395 w 4664922"/>
              <a:gd name="connsiteY4001" fmla="*/ 86637 h 1786050"/>
              <a:gd name="connsiteX4002" fmla="*/ 926395 w 4664922"/>
              <a:gd name="connsiteY4002" fmla="*/ 86637 h 1786050"/>
              <a:gd name="connsiteX4003" fmla="*/ 904704 w 4664922"/>
              <a:gd name="connsiteY4003" fmla="*/ 82820 h 1786050"/>
              <a:gd name="connsiteX4004" fmla="*/ 902910 w 4664922"/>
              <a:gd name="connsiteY4004" fmla="*/ 80506 h 1786050"/>
              <a:gd name="connsiteX4005" fmla="*/ 929924 w 4664922"/>
              <a:gd name="connsiteY4005" fmla="*/ 71251 h 1786050"/>
              <a:gd name="connsiteX4006" fmla="*/ 940104 w 4664922"/>
              <a:gd name="connsiteY4006" fmla="*/ 77672 h 1786050"/>
              <a:gd name="connsiteX4007" fmla="*/ 935766 w 4664922"/>
              <a:gd name="connsiteY4007" fmla="*/ 84844 h 1786050"/>
              <a:gd name="connsiteX4008" fmla="*/ 926337 w 4664922"/>
              <a:gd name="connsiteY4008" fmla="*/ 86695 h 1786050"/>
              <a:gd name="connsiteX4009" fmla="*/ 905224 w 4664922"/>
              <a:gd name="connsiteY4009" fmla="*/ 80853 h 1786050"/>
              <a:gd name="connsiteX4010" fmla="*/ 905224 w 4664922"/>
              <a:gd name="connsiteY4010" fmla="*/ 80853 h 1786050"/>
              <a:gd name="connsiteX4011" fmla="*/ 926164 w 4664922"/>
              <a:gd name="connsiteY4011" fmla="*/ 84555 h 1786050"/>
              <a:gd name="connsiteX4012" fmla="*/ 934493 w 4664922"/>
              <a:gd name="connsiteY4012" fmla="*/ 82993 h 1786050"/>
              <a:gd name="connsiteX4013" fmla="*/ 937617 w 4664922"/>
              <a:gd name="connsiteY4013" fmla="*/ 77845 h 1786050"/>
              <a:gd name="connsiteX4014" fmla="*/ 929692 w 4664922"/>
              <a:gd name="connsiteY4014" fmla="*/ 73680 h 1786050"/>
              <a:gd name="connsiteX4015" fmla="*/ 905166 w 4664922"/>
              <a:gd name="connsiteY4015" fmla="*/ 80679 h 1786050"/>
              <a:gd name="connsiteX4016" fmla="*/ 1126536 w 4664922"/>
              <a:gd name="connsiteY4016" fmla="*/ 68937 h 1786050"/>
              <a:gd name="connsiteX4017" fmla="*/ 1126536 w 4664922"/>
              <a:gd name="connsiteY4017" fmla="*/ 68937 h 1786050"/>
              <a:gd name="connsiteX4018" fmla="*/ 1102993 w 4664922"/>
              <a:gd name="connsiteY4018" fmla="*/ 62690 h 1786050"/>
              <a:gd name="connsiteX4019" fmla="*/ 1100622 w 4664922"/>
              <a:gd name="connsiteY4019" fmla="*/ 58236 h 1786050"/>
              <a:gd name="connsiteX4020" fmla="*/ 1112769 w 4664922"/>
              <a:gd name="connsiteY4020" fmla="*/ 46956 h 1786050"/>
              <a:gd name="connsiteX4021" fmla="*/ 1123586 w 4664922"/>
              <a:gd name="connsiteY4021" fmla="*/ 37065 h 1786050"/>
              <a:gd name="connsiteX4022" fmla="*/ 1124107 w 4664922"/>
              <a:gd name="connsiteY4022" fmla="*/ 34231 h 1786050"/>
              <a:gd name="connsiteX4023" fmla="*/ 1142790 w 4664922"/>
              <a:gd name="connsiteY4023" fmla="*/ 30239 h 1786050"/>
              <a:gd name="connsiteX4024" fmla="*/ 1170208 w 4664922"/>
              <a:gd name="connsiteY4024" fmla="*/ 37296 h 1786050"/>
              <a:gd name="connsiteX4025" fmla="*/ 1177208 w 4664922"/>
              <a:gd name="connsiteY4025" fmla="*/ 43081 h 1786050"/>
              <a:gd name="connsiteX4026" fmla="*/ 1183513 w 4664922"/>
              <a:gd name="connsiteY4026" fmla="*/ 48345 h 1786050"/>
              <a:gd name="connsiteX4027" fmla="*/ 1182182 w 4664922"/>
              <a:gd name="connsiteY4027" fmla="*/ 52683 h 1786050"/>
              <a:gd name="connsiteX4028" fmla="*/ 1126478 w 4664922"/>
              <a:gd name="connsiteY4028" fmla="*/ 68764 h 1786050"/>
              <a:gd name="connsiteX4029" fmla="*/ 1142790 w 4664922"/>
              <a:gd name="connsiteY4029" fmla="*/ 32495 h 1786050"/>
              <a:gd name="connsiteX4030" fmla="*/ 1125900 w 4664922"/>
              <a:gd name="connsiteY4030" fmla="*/ 35619 h 1786050"/>
              <a:gd name="connsiteX4031" fmla="*/ 1125900 w 4664922"/>
              <a:gd name="connsiteY4031" fmla="*/ 36429 h 1786050"/>
              <a:gd name="connsiteX4032" fmla="*/ 1114331 w 4664922"/>
              <a:gd name="connsiteY4032" fmla="*/ 48923 h 1786050"/>
              <a:gd name="connsiteX4033" fmla="*/ 1103225 w 4664922"/>
              <a:gd name="connsiteY4033" fmla="*/ 58352 h 1786050"/>
              <a:gd name="connsiteX4034" fmla="*/ 1104787 w 4664922"/>
              <a:gd name="connsiteY4034" fmla="*/ 60897 h 1786050"/>
              <a:gd name="connsiteX4035" fmla="*/ 1126883 w 4664922"/>
              <a:gd name="connsiteY4035" fmla="*/ 66681 h 1786050"/>
              <a:gd name="connsiteX4036" fmla="*/ 1180736 w 4664922"/>
              <a:gd name="connsiteY4036" fmla="*/ 51352 h 1786050"/>
              <a:gd name="connsiteX4037" fmla="*/ 1181662 w 4664922"/>
              <a:gd name="connsiteY4037" fmla="*/ 48923 h 1786050"/>
              <a:gd name="connsiteX4038" fmla="*/ 1176572 w 4664922"/>
              <a:gd name="connsiteY4038" fmla="*/ 45163 h 1786050"/>
              <a:gd name="connsiteX4039" fmla="*/ 1168358 w 4664922"/>
              <a:gd name="connsiteY4039" fmla="*/ 37701 h 1786050"/>
              <a:gd name="connsiteX4040" fmla="*/ 1142732 w 4664922"/>
              <a:gd name="connsiteY4040" fmla="*/ 32322 h 1786050"/>
              <a:gd name="connsiteX4041" fmla="*/ 727873 w 4664922"/>
              <a:gd name="connsiteY4041" fmla="*/ 67838 h 1786050"/>
              <a:gd name="connsiteX4042" fmla="*/ 703637 w 4664922"/>
              <a:gd name="connsiteY4042" fmla="*/ 57079 h 1786050"/>
              <a:gd name="connsiteX4043" fmla="*/ 703637 w 4664922"/>
              <a:gd name="connsiteY4043" fmla="*/ 53435 h 1786050"/>
              <a:gd name="connsiteX4044" fmla="*/ 721453 w 4664922"/>
              <a:gd name="connsiteY4044" fmla="*/ 49444 h 1786050"/>
              <a:gd name="connsiteX4045" fmla="*/ 746094 w 4664922"/>
              <a:gd name="connsiteY4045" fmla="*/ 45163 h 1786050"/>
              <a:gd name="connsiteX4046" fmla="*/ 771199 w 4664922"/>
              <a:gd name="connsiteY4046" fmla="*/ 40709 h 1786050"/>
              <a:gd name="connsiteX4047" fmla="*/ 795724 w 4664922"/>
              <a:gd name="connsiteY4047" fmla="*/ 46493 h 1786050"/>
              <a:gd name="connsiteX4048" fmla="*/ 796072 w 4664922"/>
              <a:gd name="connsiteY4048" fmla="*/ 49906 h 1786050"/>
              <a:gd name="connsiteX4049" fmla="*/ 789825 w 4664922"/>
              <a:gd name="connsiteY4049" fmla="*/ 53030 h 1786050"/>
              <a:gd name="connsiteX4050" fmla="*/ 782709 w 4664922"/>
              <a:gd name="connsiteY4050" fmla="*/ 52336 h 1786050"/>
              <a:gd name="connsiteX4051" fmla="*/ 771141 w 4664922"/>
              <a:gd name="connsiteY4051" fmla="*/ 51352 h 1786050"/>
              <a:gd name="connsiteX4052" fmla="*/ 749507 w 4664922"/>
              <a:gd name="connsiteY4052" fmla="*/ 59219 h 1786050"/>
              <a:gd name="connsiteX4053" fmla="*/ 727873 w 4664922"/>
              <a:gd name="connsiteY4053" fmla="*/ 67838 h 1786050"/>
              <a:gd name="connsiteX4054" fmla="*/ 771256 w 4664922"/>
              <a:gd name="connsiteY4054" fmla="*/ 42965 h 1786050"/>
              <a:gd name="connsiteX4055" fmla="*/ 747193 w 4664922"/>
              <a:gd name="connsiteY4055" fmla="*/ 47130 h 1786050"/>
              <a:gd name="connsiteX4056" fmla="*/ 721626 w 4664922"/>
              <a:gd name="connsiteY4056" fmla="*/ 51700 h 1786050"/>
              <a:gd name="connsiteX4057" fmla="*/ 705603 w 4664922"/>
              <a:gd name="connsiteY4057" fmla="*/ 54650 h 1786050"/>
              <a:gd name="connsiteX4058" fmla="*/ 705603 w 4664922"/>
              <a:gd name="connsiteY4058" fmla="*/ 56211 h 1786050"/>
              <a:gd name="connsiteX4059" fmla="*/ 727757 w 4664922"/>
              <a:gd name="connsiteY4059" fmla="*/ 65582 h 1786050"/>
              <a:gd name="connsiteX4060" fmla="*/ 748177 w 4664922"/>
              <a:gd name="connsiteY4060" fmla="*/ 57426 h 1786050"/>
              <a:gd name="connsiteX4061" fmla="*/ 771314 w 4664922"/>
              <a:gd name="connsiteY4061" fmla="*/ 48981 h 1786050"/>
              <a:gd name="connsiteX4062" fmla="*/ 782883 w 4664922"/>
              <a:gd name="connsiteY4062" fmla="*/ 49964 h 1786050"/>
              <a:gd name="connsiteX4063" fmla="*/ 789651 w 4664922"/>
              <a:gd name="connsiteY4063" fmla="*/ 50658 h 1786050"/>
              <a:gd name="connsiteX4064" fmla="*/ 793816 w 4664922"/>
              <a:gd name="connsiteY4064" fmla="*/ 48923 h 1786050"/>
              <a:gd name="connsiteX4065" fmla="*/ 793816 w 4664922"/>
              <a:gd name="connsiteY4065" fmla="*/ 47650 h 1786050"/>
              <a:gd name="connsiteX4066" fmla="*/ 771256 w 4664922"/>
              <a:gd name="connsiteY4066" fmla="*/ 43081 h 1786050"/>
              <a:gd name="connsiteX4067" fmla="*/ 994420 w 4664922"/>
              <a:gd name="connsiteY4067" fmla="*/ 57310 h 1786050"/>
              <a:gd name="connsiteX4068" fmla="*/ 994420 w 4664922"/>
              <a:gd name="connsiteY4068" fmla="*/ 57310 h 1786050"/>
              <a:gd name="connsiteX4069" fmla="*/ 956648 w 4664922"/>
              <a:gd name="connsiteY4069" fmla="*/ 48576 h 1786050"/>
              <a:gd name="connsiteX4070" fmla="*/ 955664 w 4664922"/>
              <a:gd name="connsiteY4070" fmla="*/ 45568 h 1786050"/>
              <a:gd name="connsiteX4071" fmla="*/ 972613 w 4664922"/>
              <a:gd name="connsiteY4071" fmla="*/ 37412 h 1786050"/>
              <a:gd name="connsiteX4072" fmla="*/ 986090 w 4664922"/>
              <a:gd name="connsiteY4072" fmla="*/ 31975 h 1786050"/>
              <a:gd name="connsiteX4073" fmla="*/ 986090 w 4664922"/>
              <a:gd name="connsiteY4073" fmla="*/ 31975 h 1786050"/>
              <a:gd name="connsiteX4074" fmla="*/ 986090 w 4664922"/>
              <a:gd name="connsiteY4074" fmla="*/ 31975 h 1786050"/>
              <a:gd name="connsiteX4075" fmla="*/ 979901 w 4664922"/>
              <a:gd name="connsiteY4075" fmla="*/ 22199 h 1786050"/>
              <a:gd name="connsiteX4076" fmla="*/ 984876 w 4664922"/>
              <a:gd name="connsiteY4076" fmla="*/ 19943 h 1786050"/>
              <a:gd name="connsiteX4077" fmla="*/ 1006625 w 4664922"/>
              <a:gd name="connsiteY4077" fmla="*/ 26017 h 1786050"/>
              <a:gd name="connsiteX4078" fmla="*/ 1026639 w 4664922"/>
              <a:gd name="connsiteY4078" fmla="*/ 29256 h 1786050"/>
              <a:gd name="connsiteX4079" fmla="*/ 1034274 w 4664922"/>
              <a:gd name="connsiteY4079" fmla="*/ 29256 h 1786050"/>
              <a:gd name="connsiteX4080" fmla="*/ 1040580 w 4664922"/>
              <a:gd name="connsiteY4080" fmla="*/ 29256 h 1786050"/>
              <a:gd name="connsiteX4081" fmla="*/ 1052669 w 4664922"/>
              <a:gd name="connsiteY4081" fmla="*/ 32495 h 1786050"/>
              <a:gd name="connsiteX4082" fmla="*/ 1054173 w 4664922"/>
              <a:gd name="connsiteY4082" fmla="*/ 39668 h 1786050"/>
              <a:gd name="connsiteX4083" fmla="*/ 994420 w 4664922"/>
              <a:gd name="connsiteY4083" fmla="*/ 57426 h 1786050"/>
              <a:gd name="connsiteX4084" fmla="*/ 984586 w 4664922"/>
              <a:gd name="connsiteY4084" fmla="*/ 21910 h 1786050"/>
              <a:gd name="connsiteX4085" fmla="*/ 981752 w 4664922"/>
              <a:gd name="connsiteY4085" fmla="*/ 22662 h 1786050"/>
              <a:gd name="connsiteX4086" fmla="*/ 987536 w 4664922"/>
              <a:gd name="connsiteY4086" fmla="*/ 29950 h 1786050"/>
              <a:gd name="connsiteX4087" fmla="*/ 988578 w 4664922"/>
              <a:gd name="connsiteY4087" fmla="*/ 32495 h 1786050"/>
              <a:gd name="connsiteX4088" fmla="*/ 973538 w 4664922"/>
              <a:gd name="connsiteY4088" fmla="*/ 39552 h 1786050"/>
              <a:gd name="connsiteX4089" fmla="*/ 958152 w 4664922"/>
              <a:gd name="connsiteY4089" fmla="*/ 46146 h 1786050"/>
              <a:gd name="connsiteX4090" fmla="*/ 958556 w 4664922"/>
              <a:gd name="connsiteY4090" fmla="*/ 46956 h 1786050"/>
              <a:gd name="connsiteX4091" fmla="*/ 994709 w 4664922"/>
              <a:gd name="connsiteY4091" fmla="*/ 55054 h 1786050"/>
              <a:gd name="connsiteX4092" fmla="*/ 1051917 w 4664922"/>
              <a:gd name="connsiteY4092" fmla="*/ 38742 h 1786050"/>
              <a:gd name="connsiteX4093" fmla="*/ 1050933 w 4664922"/>
              <a:gd name="connsiteY4093" fmla="*/ 33363 h 1786050"/>
              <a:gd name="connsiteX4094" fmla="*/ 1040580 w 4664922"/>
              <a:gd name="connsiteY4094" fmla="*/ 30876 h 1786050"/>
              <a:gd name="connsiteX4095" fmla="*/ 1034390 w 4664922"/>
              <a:gd name="connsiteY4095" fmla="*/ 30876 h 1786050"/>
              <a:gd name="connsiteX4096" fmla="*/ 1026639 w 4664922"/>
              <a:gd name="connsiteY4096" fmla="*/ 30876 h 1786050"/>
              <a:gd name="connsiteX4097" fmla="*/ 1005757 w 4664922"/>
              <a:gd name="connsiteY4097" fmla="*/ 27463 h 1786050"/>
              <a:gd name="connsiteX4098" fmla="*/ 984586 w 4664922"/>
              <a:gd name="connsiteY4098" fmla="*/ 22025 h 1786050"/>
              <a:gd name="connsiteX4099" fmla="*/ 1212493 w 4664922"/>
              <a:gd name="connsiteY4099" fmla="*/ 51352 h 1786050"/>
              <a:gd name="connsiteX4100" fmla="*/ 1194098 w 4664922"/>
              <a:gd name="connsiteY4100" fmla="*/ 46089 h 1786050"/>
              <a:gd name="connsiteX4101" fmla="*/ 1193289 w 4664922"/>
              <a:gd name="connsiteY4101" fmla="*/ 41982 h 1786050"/>
              <a:gd name="connsiteX4102" fmla="*/ 1225508 w 4664922"/>
              <a:gd name="connsiteY4102" fmla="*/ 32032 h 1786050"/>
              <a:gd name="connsiteX4103" fmla="*/ 1227359 w 4664922"/>
              <a:gd name="connsiteY4103" fmla="*/ 32032 h 1786050"/>
              <a:gd name="connsiteX4104" fmla="*/ 1234763 w 4664922"/>
              <a:gd name="connsiteY4104" fmla="*/ 28562 h 1786050"/>
              <a:gd name="connsiteX4105" fmla="*/ 1248935 w 4664922"/>
              <a:gd name="connsiteY4105" fmla="*/ 22777 h 1786050"/>
              <a:gd name="connsiteX4106" fmla="*/ 1254083 w 4664922"/>
              <a:gd name="connsiteY4106" fmla="*/ 23356 h 1786050"/>
              <a:gd name="connsiteX4107" fmla="*/ 1265999 w 4664922"/>
              <a:gd name="connsiteY4107" fmla="*/ 34404 h 1786050"/>
              <a:gd name="connsiteX4108" fmla="*/ 1240258 w 4664922"/>
              <a:gd name="connsiteY4108" fmla="*/ 48981 h 1786050"/>
              <a:gd name="connsiteX4109" fmla="*/ 1233664 w 4664922"/>
              <a:gd name="connsiteY4109" fmla="*/ 49733 h 1786050"/>
              <a:gd name="connsiteX4110" fmla="*/ 1212493 w 4664922"/>
              <a:gd name="connsiteY4110" fmla="*/ 51468 h 1786050"/>
              <a:gd name="connsiteX4111" fmla="*/ 1225508 w 4664922"/>
              <a:gd name="connsiteY4111" fmla="*/ 33999 h 1786050"/>
              <a:gd name="connsiteX4112" fmla="*/ 1195313 w 4664922"/>
              <a:gd name="connsiteY4112" fmla="*/ 42676 h 1786050"/>
              <a:gd name="connsiteX4113" fmla="*/ 1195776 w 4664922"/>
              <a:gd name="connsiteY4113" fmla="*/ 44353 h 1786050"/>
              <a:gd name="connsiteX4114" fmla="*/ 1212493 w 4664922"/>
              <a:gd name="connsiteY4114" fmla="*/ 48865 h 1786050"/>
              <a:gd name="connsiteX4115" fmla="*/ 1233432 w 4664922"/>
              <a:gd name="connsiteY4115" fmla="*/ 47130 h 1786050"/>
              <a:gd name="connsiteX4116" fmla="*/ 1240027 w 4664922"/>
              <a:gd name="connsiteY4116" fmla="*/ 46378 h 1786050"/>
              <a:gd name="connsiteX4117" fmla="*/ 1263743 w 4664922"/>
              <a:gd name="connsiteY4117" fmla="*/ 33941 h 1786050"/>
              <a:gd name="connsiteX4118" fmla="*/ 1253678 w 4664922"/>
              <a:gd name="connsiteY4118" fmla="*/ 25207 h 1786050"/>
              <a:gd name="connsiteX4119" fmla="*/ 1248935 w 4664922"/>
              <a:gd name="connsiteY4119" fmla="*/ 24686 h 1786050"/>
              <a:gd name="connsiteX4120" fmla="*/ 1236209 w 4664922"/>
              <a:gd name="connsiteY4120" fmla="*/ 30124 h 1786050"/>
              <a:gd name="connsiteX4121" fmla="*/ 1227128 w 4664922"/>
              <a:gd name="connsiteY4121" fmla="*/ 34115 h 1786050"/>
              <a:gd name="connsiteX4122" fmla="*/ 1953131 w 4664922"/>
              <a:gd name="connsiteY4122" fmla="*/ 36139 h 1786050"/>
              <a:gd name="connsiteX4123" fmla="*/ 1934852 w 4664922"/>
              <a:gd name="connsiteY4123" fmla="*/ 32206 h 1786050"/>
              <a:gd name="connsiteX4124" fmla="*/ 1932307 w 4664922"/>
              <a:gd name="connsiteY4124" fmla="*/ 26422 h 1786050"/>
              <a:gd name="connsiteX4125" fmla="*/ 1956602 w 4664922"/>
              <a:gd name="connsiteY4125" fmla="*/ 18728 h 1786050"/>
              <a:gd name="connsiteX4126" fmla="*/ 1972219 w 4664922"/>
              <a:gd name="connsiteY4126" fmla="*/ 23009 h 1786050"/>
              <a:gd name="connsiteX4127" fmla="*/ 1973029 w 4664922"/>
              <a:gd name="connsiteY4127" fmla="*/ 27058 h 1786050"/>
              <a:gd name="connsiteX4128" fmla="*/ 1953131 w 4664922"/>
              <a:gd name="connsiteY4128" fmla="*/ 36486 h 1786050"/>
              <a:gd name="connsiteX4129" fmla="*/ 1956602 w 4664922"/>
              <a:gd name="connsiteY4129" fmla="*/ 20753 h 1786050"/>
              <a:gd name="connsiteX4130" fmla="*/ 1934447 w 4664922"/>
              <a:gd name="connsiteY4130" fmla="*/ 26942 h 1786050"/>
              <a:gd name="connsiteX4131" fmla="*/ 1936298 w 4664922"/>
              <a:gd name="connsiteY4131" fmla="*/ 30471 h 1786050"/>
              <a:gd name="connsiteX4132" fmla="*/ 1953131 w 4664922"/>
              <a:gd name="connsiteY4132" fmla="*/ 33883 h 1786050"/>
              <a:gd name="connsiteX4133" fmla="*/ 1970831 w 4664922"/>
              <a:gd name="connsiteY4133" fmla="*/ 26248 h 1786050"/>
              <a:gd name="connsiteX4134" fmla="*/ 1970427 w 4664922"/>
              <a:gd name="connsiteY4134" fmla="*/ 24108 h 1786050"/>
              <a:gd name="connsiteX4135" fmla="*/ 1956602 w 4664922"/>
              <a:gd name="connsiteY4135" fmla="*/ 21100 h 1786050"/>
              <a:gd name="connsiteX4136" fmla="*/ 1039076 w 4664922"/>
              <a:gd name="connsiteY4136" fmla="*/ 24397 h 1786050"/>
              <a:gd name="connsiteX4137" fmla="*/ 1002403 w 4664922"/>
              <a:gd name="connsiteY4137" fmla="*/ 13985 h 1786050"/>
              <a:gd name="connsiteX4138" fmla="*/ 1002403 w 4664922"/>
              <a:gd name="connsiteY4138" fmla="*/ 12770 h 1786050"/>
              <a:gd name="connsiteX4139" fmla="*/ 1016169 w 4664922"/>
              <a:gd name="connsiteY4139" fmla="*/ 11035 h 1786050"/>
              <a:gd name="connsiteX4140" fmla="*/ 1039712 w 4664922"/>
              <a:gd name="connsiteY4140" fmla="*/ 8085 h 1786050"/>
              <a:gd name="connsiteX4141" fmla="*/ 1039712 w 4664922"/>
              <a:gd name="connsiteY4141" fmla="*/ 8085 h 1786050"/>
              <a:gd name="connsiteX4142" fmla="*/ 1039712 w 4664922"/>
              <a:gd name="connsiteY4142" fmla="*/ 8085 h 1786050"/>
              <a:gd name="connsiteX4143" fmla="*/ 1039712 w 4664922"/>
              <a:gd name="connsiteY4143" fmla="*/ 5366 h 1786050"/>
              <a:gd name="connsiteX4144" fmla="*/ 1066668 w 4664922"/>
              <a:gd name="connsiteY4144" fmla="*/ -129 h 1786050"/>
              <a:gd name="connsiteX4145" fmla="*/ 1090268 w 4664922"/>
              <a:gd name="connsiteY4145" fmla="*/ 5077 h 1786050"/>
              <a:gd name="connsiteX4146" fmla="*/ 1091598 w 4664922"/>
              <a:gd name="connsiteY4146" fmla="*/ 10861 h 1786050"/>
              <a:gd name="connsiteX4147" fmla="*/ 1076559 w 4664922"/>
              <a:gd name="connsiteY4147" fmla="*/ 15142 h 1786050"/>
              <a:gd name="connsiteX4148" fmla="*/ 1065800 w 4664922"/>
              <a:gd name="connsiteY4148" fmla="*/ 14448 h 1786050"/>
              <a:gd name="connsiteX4149" fmla="*/ 1056487 w 4664922"/>
              <a:gd name="connsiteY4149" fmla="*/ 18092 h 1786050"/>
              <a:gd name="connsiteX4150" fmla="*/ 1039076 w 4664922"/>
              <a:gd name="connsiteY4150" fmla="*/ 24744 h 1786050"/>
              <a:gd name="connsiteX4151" fmla="*/ 1004947 w 4664922"/>
              <a:gd name="connsiteY4151" fmla="*/ 14043 h 1786050"/>
              <a:gd name="connsiteX4152" fmla="*/ 1039076 w 4664922"/>
              <a:gd name="connsiteY4152" fmla="*/ 22141 h 1786050"/>
              <a:gd name="connsiteX4153" fmla="*/ 1054520 w 4664922"/>
              <a:gd name="connsiteY4153" fmla="*/ 16357 h 1786050"/>
              <a:gd name="connsiteX4154" fmla="*/ 1066089 w 4664922"/>
              <a:gd name="connsiteY4154" fmla="*/ 11960 h 1786050"/>
              <a:gd name="connsiteX4155" fmla="*/ 1076559 w 4664922"/>
              <a:gd name="connsiteY4155" fmla="*/ 12655 h 1786050"/>
              <a:gd name="connsiteX4156" fmla="*/ 1089516 w 4664922"/>
              <a:gd name="connsiteY4156" fmla="*/ 9647 h 1786050"/>
              <a:gd name="connsiteX4157" fmla="*/ 1088532 w 4664922"/>
              <a:gd name="connsiteY4157" fmla="*/ 6523 h 1786050"/>
              <a:gd name="connsiteX4158" fmla="*/ 1066668 w 4664922"/>
              <a:gd name="connsiteY4158" fmla="*/ 2127 h 1786050"/>
              <a:gd name="connsiteX4159" fmla="*/ 1041736 w 4664922"/>
              <a:gd name="connsiteY4159" fmla="*/ 6465 h 1786050"/>
              <a:gd name="connsiteX4160" fmla="*/ 1041736 w 4664922"/>
              <a:gd name="connsiteY4160" fmla="*/ 6465 h 1786050"/>
              <a:gd name="connsiteX4161" fmla="*/ 1042084 w 4664922"/>
              <a:gd name="connsiteY4161" fmla="*/ 9068 h 1786050"/>
              <a:gd name="connsiteX4162" fmla="*/ 1016574 w 4664922"/>
              <a:gd name="connsiteY4162" fmla="*/ 13291 h 1786050"/>
              <a:gd name="connsiteX4163" fmla="*/ 1004947 w 4664922"/>
              <a:gd name="connsiteY4163" fmla="*/ 14390 h 178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Lst>
            <a:rect l="l" t="t" r="r" b="b"/>
            <a:pathLst>
              <a:path w="4664922" h="1786050">
                <a:moveTo>
                  <a:pt x="768654" y="1785814"/>
                </a:moveTo>
                <a:cubicBezTo>
                  <a:pt x="767034" y="1785675"/>
                  <a:pt x="765472" y="1785200"/>
                  <a:pt x="764084" y="1784425"/>
                </a:cubicBezTo>
                <a:cubicBezTo>
                  <a:pt x="762869" y="1783685"/>
                  <a:pt x="761423" y="1783303"/>
                  <a:pt x="759977" y="1783326"/>
                </a:cubicBezTo>
                <a:cubicBezTo>
                  <a:pt x="757663" y="1784136"/>
                  <a:pt x="755118" y="1781533"/>
                  <a:pt x="751416" y="1777831"/>
                </a:cubicBezTo>
                <a:cubicBezTo>
                  <a:pt x="748177" y="1773695"/>
                  <a:pt x="743780" y="1770583"/>
                  <a:pt x="738806" y="1768865"/>
                </a:cubicBezTo>
                <a:cubicBezTo>
                  <a:pt x="733195" y="1767298"/>
                  <a:pt x="727931" y="1764752"/>
                  <a:pt x="723246" y="1761345"/>
                </a:cubicBezTo>
                <a:cubicBezTo>
                  <a:pt x="720469" y="1759280"/>
                  <a:pt x="717404" y="1757695"/>
                  <a:pt x="714106" y="1756660"/>
                </a:cubicBezTo>
                <a:lnTo>
                  <a:pt x="713181" y="1756660"/>
                </a:lnTo>
                <a:cubicBezTo>
                  <a:pt x="710809" y="1756660"/>
                  <a:pt x="709942" y="1753016"/>
                  <a:pt x="708843" y="1748388"/>
                </a:cubicBezTo>
                <a:cubicBezTo>
                  <a:pt x="707975" y="1744918"/>
                  <a:pt x="706702" y="1739654"/>
                  <a:pt x="705083" y="1739654"/>
                </a:cubicBezTo>
                <a:cubicBezTo>
                  <a:pt x="702943" y="1739735"/>
                  <a:pt x="700918" y="1739012"/>
                  <a:pt x="699298" y="1737629"/>
                </a:cubicBezTo>
                <a:cubicBezTo>
                  <a:pt x="698141" y="1736582"/>
                  <a:pt x="696695" y="1735998"/>
                  <a:pt x="695133" y="1736010"/>
                </a:cubicBezTo>
                <a:cubicBezTo>
                  <a:pt x="676392" y="1736010"/>
                  <a:pt x="670029" y="1737861"/>
                  <a:pt x="667947" y="1739422"/>
                </a:cubicBezTo>
                <a:cubicBezTo>
                  <a:pt x="667195" y="1740007"/>
                  <a:pt x="666269" y="1740331"/>
                  <a:pt x="665286" y="1740348"/>
                </a:cubicBezTo>
                <a:cubicBezTo>
                  <a:pt x="662741" y="1740348"/>
                  <a:pt x="660254" y="1738092"/>
                  <a:pt x="657650" y="1735720"/>
                </a:cubicBezTo>
                <a:cubicBezTo>
                  <a:pt x="655047" y="1733349"/>
                  <a:pt x="652618" y="1731209"/>
                  <a:pt x="650304" y="1731209"/>
                </a:cubicBezTo>
                <a:cubicBezTo>
                  <a:pt x="643479" y="1731209"/>
                  <a:pt x="635901" y="1724383"/>
                  <a:pt x="632430" y="1719640"/>
                </a:cubicBezTo>
                <a:cubicBezTo>
                  <a:pt x="631968" y="1719061"/>
                  <a:pt x="630290" y="1718309"/>
                  <a:pt x="624853" y="1718309"/>
                </a:cubicBezTo>
                <a:cubicBezTo>
                  <a:pt x="622192" y="1718309"/>
                  <a:pt x="619068" y="1718309"/>
                  <a:pt x="615771" y="1718656"/>
                </a:cubicBezTo>
                <a:cubicBezTo>
                  <a:pt x="612474" y="1719003"/>
                  <a:pt x="608425" y="1719003"/>
                  <a:pt x="604896" y="1719003"/>
                </a:cubicBezTo>
                <a:cubicBezTo>
                  <a:pt x="599864" y="1719489"/>
                  <a:pt x="594773" y="1718552"/>
                  <a:pt x="590262" y="1716285"/>
                </a:cubicBezTo>
                <a:cubicBezTo>
                  <a:pt x="581643" y="1710564"/>
                  <a:pt x="571636" y="1707232"/>
                  <a:pt x="561340" y="1706625"/>
                </a:cubicBezTo>
                <a:cubicBezTo>
                  <a:pt x="560414" y="1706561"/>
                  <a:pt x="559547" y="1706561"/>
                  <a:pt x="558621" y="1706625"/>
                </a:cubicBezTo>
                <a:cubicBezTo>
                  <a:pt x="555092" y="1707596"/>
                  <a:pt x="551796" y="1709141"/>
                  <a:pt x="548788" y="1711194"/>
                </a:cubicBezTo>
                <a:cubicBezTo>
                  <a:pt x="548440" y="1711426"/>
                  <a:pt x="547978" y="1711426"/>
                  <a:pt x="547630" y="1711194"/>
                </a:cubicBezTo>
                <a:cubicBezTo>
                  <a:pt x="544912" y="1709656"/>
                  <a:pt x="542425" y="1707706"/>
                  <a:pt x="540285" y="1705410"/>
                </a:cubicBezTo>
                <a:cubicBezTo>
                  <a:pt x="521600" y="1685280"/>
                  <a:pt x="504190" y="1672670"/>
                  <a:pt x="489960" y="1669026"/>
                </a:cubicBezTo>
                <a:cubicBezTo>
                  <a:pt x="482035" y="1667424"/>
                  <a:pt x="475325" y="1662316"/>
                  <a:pt x="471623" y="1655143"/>
                </a:cubicBezTo>
                <a:cubicBezTo>
                  <a:pt x="470466" y="1653234"/>
                  <a:pt x="469656" y="1651846"/>
                  <a:pt x="468615" y="1651673"/>
                </a:cubicBezTo>
                <a:cubicBezTo>
                  <a:pt x="466128" y="1651210"/>
                  <a:pt x="465434" y="1649590"/>
                  <a:pt x="465550" y="1648375"/>
                </a:cubicBezTo>
                <a:cubicBezTo>
                  <a:pt x="465550" y="1645657"/>
                  <a:pt x="469483" y="1642996"/>
                  <a:pt x="476077" y="1642996"/>
                </a:cubicBezTo>
                <a:cubicBezTo>
                  <a:pt x="482671" y="1642996"/>
                  <a:pt x="486663" y="1641897"/>
                  <a:pt x="488629" y="1639583"/>
                </a:cubicBezTo>
                <a:cubicBezTo>
                  <a:pt x="490075" y="1637547"/>
                  <a:pt x="490596" y="1634950"/>
                  <a:pt x="489902" y="1632526"/>
                </a:cubicBezTo>
                <a:cubicBezTo>
                  <a:pt x="488803" y="1625932"/>
                  <a:pt x="495166" y="1622924"/>
                  <a:pt x="500314" y="1620495"/>
                </a:cubicBezTo>
                <a:cubicBezTo>
                  <a:pt x="503090" y="1619164"/>
                  <a:pt x="506098" y="1617834"/>
                  <a:pt x="506098" y="1616561"/>
                </a:cubicBezTo>
                <a:cubicBezTo>
                  <a:pt x="506098" y="1615289"/>
                  <a:pt x="502628" y="1611702"/>
                  <a:pt x="500314" y="1609388"/>
                </a:cubicBezTo>
                <a:cubicBezTo>
                  <a:pt x="498000" y="1607075"/>
                  <a:pt x="494530" y="1604183"/>
                  <a:pt x="494530" y="1602100"/>
                </a:cubicBezTo>
                <a:cubicBezTo>
                  <a:pt x="494761" y="1601157"/>
                  <a:pt x="495513" y="1600423"/>
                  <a:pt x="496438" y="1600191"/>
                </a:cubicBezTo>
                <a:cubicBezTo>
                  <a:pt x="503727" y="1597646"/>
                  <a:pt x="527848" y="1586945"/>
                  <a:pt x="529641" y="1582375"/>
                </a:cubicBezTo>
                <a:cubicBezTo>
                  <a:pt x="529641" y="1582375"/>
                  <a:pt x="529641" y="1582086"/>
                  <a:pt x="529641" y="1582028"/>
                </a:cubicBezTo>
                <a:cubicBezTo>
                  <a:pt x="529641" y="1581970"/>
                  <a:pt x="529005" y="1580871"/>
                  <a:pt x="523220" y="1580871"/>
                </a:cubicBezTo>
                <a:cubicBezTo>
                  <a:pt x="516395" y="1581074"/>
                  <a:pt x="509627" y="1581866"/>
                  <a:pt x="502975" y="1583243"/>
                </a:cubicBezTo>
                <a:cubicBezTo>
                  <a:pt x="502396" y="1583324"/>
                  <a:pt x="501818" y="1582954"/>
                  <a:pt x="501644" y="1582375"/>
                </a:cubicBezTo>
                <a:lnTo>
                  <a:pt x="501644" y="1581797"/>
                </a:lnTo>
                <a:cubicBezTo>
                  <a:pt x="500546" y="1576938"/>
                  <a:pt x="499388" y="1571905"/>
                  <a:pt x="501008" y="1569476"/>
                </a:cubicBezTo>
                <a:cubicBezTo>
                  <a:pt x="501529" y="1568695"/>
                  <a:pt x="502396" y="1568169"/>
                  <a:pt x="503322" y="1568030"/>
                </a:cubicBezTo>
                <a:cubicBezTo>
                  <a:pt x="506793" y="1566306"/>
                  <a:pt x="510031" y="1564039"/>
                  <a:pt x="512809" y="1561320"/>
                </a:cubicBezTo>
                <a:cubicBezTo>
                  <a:pt x="518593" y="1556461"/>
                  <a:pt x="522237" y="1553511"/>
                  <a:pt x="524724" y="1553511"/>
                </a:cubicBezTo>
                <a:cubicBezTo>
                  <a:pt x="526054" y="1553511"/>
                  <a:pt x="528600" y="1553858"/>
                  <a:pt x="531550" y="1554205"/>
                </a:cubicBezTo>
                <a:cubicBezTo>
                  <a:pt x="535367" y="1554795"/>
                  <a:pt x="539243" y="1555159"/>
                  <a:pt x="543119" y="1555304"/>
                </a:cubicBezTo>
                <a:cubicBezTo>
                  <a:pt x="544044" y="1555373"/>
                  <a:pt x="544970" y="1555275"/>
                  <a:pt x="545895" y="1555015"/>
                </a:cubicBezTo>
                <a:cubicBezTo>
                  <a:pt x="546358" y="1552707"/>
                  <a:pt x="547110" y="1550474"/>
                  <a:pt x="548151" y="1548363"/>
                </a:cubicBezTo>
                <a:cubicBezTo>
                  <a:pt x="549424" y="1545297"/>
                  <a:pt x="551332" y="1540669"/>
                  <a:pt x="550754" y="1539339"/>
                </a:cubicBezTo>
                <a:cubicBezTo>
                  <a:pt x="550060" y="1538049"/>
                  <a:pt x="549192" y="1536863"/>
                  <a:pt x="548209" y="1535811"/>
                </a:cubicBezTo>
                <a:cubicBezTo>
                  <a:pt x="546011" y="1533323"/>
                  <a:pt x="543755" y="1530662"/>
                  <a:pt x="544738" y="1528175"/>
                </a:cubicBezTo>
                <a:cubicBezTo>
                  <a:pt x="545722" y="1525688"/>
                  <a:pt x="547862" y="1525456"/>
                  <a:pt x="550118" y="1524647"/>
                </a:cubicBezTo>
                <a:cubicBezTo>
                  <a:pt x="552374" y="1523837"/>
                  <a:pt x="554340" y="1523143"/>
                  <a:pt x="554340" y="1521928"/>
                </a:cubicBezTo>
                <a:cubicBezTo>
                  <a:pt x="554340" y="1520713"/>
                  <a:pt x="552548" y="1519209"/>
                  <a:pt x="550986" y="1518052"/>
                </a:cubicBezTo>
                <a:cubicBezTo>
                  <a:pt x="549424" y="1516895"/>
                  <a:pt x="547688" y="1515681"/>
                  <a:pt x="547688" y="1514003"/>
                </a:cubicBezTo>
                <a:cubicBezTo>
                  <a:pt x="547688" y="1512326"/>
                  <a:pt x="549134" y="1511227"/>
                  <a:pt x="550986" y="1509549"/>
                </a:cubicBezTo>
                <a:cubicBezTo>
                  <a:pt x="552836" y="1507872"/>
                  <a:pt x="555844" y="1505037"/>
                  <a:pt x="555556" y="1502724"/>
                </a:cubicBezTo>
                <a:cubicBezTo>
                  <a:pt x="555266" y="1500410"/>
                  <a:pt x="552605" y="1499022"/>
                  <a:pt x="547862" y="1496939"/>
                </a:cubicBezTo>
                <a:cubicBezTo>
                  <a:pt x="545317" y="1495985"/>
                  <a:pt x="542829" y="1494886"/>
                  <a:pt x="540400" y="1493642"/>
                </a:cubicBezTo>
                <a:cubicBezTo>
                  <a:pt x="536640" y="1491820"/>
                  <a:pt x="532649" y="1490721"/>
                  <a:pt x="528484" y="1490403"/>
                </a:cubicBezTo>
                <a:cubicBezTo>
                  <a:pt x="524666" y="1490067"/>
                  <a:pt x="520964" y="1489113"/>
                  <a:pt x="517436" y="1487568"/>
                </a:cubicBezTo>
                <a:cubicBezTo>
                  <a:pt x="512693" y="1485937"/>
                  <a:pt x="507718" y="1485191"/>
                  <a:pt x="502744" y="1485370"/>
                </a:cubicBezTo>
                <a:cubicBezTo>
                  <a:pt x="497364" y="1485370"/>
                  <a:pt x="494414" y="1485370"/>
                  <a:pt x="494414" y="1482941"/>
                </a:cubicBezTo>
                <a:cubicBezTo>
                  <a:pt x="492794" y="1480529"/>
                  <a:pt x="490827" y="1478348"/>
                  <a:pt x="488629" y="1476462"/>
                </a:cubicBezTo>
                <a:cubicBezTo>
                  <a:pt x="486200" y="1474183"/>
                  <a:pt x="484002" y="1471667"/>
                  <a:pt x="482093" y="1468943"/>
                </a:cubicBezTo>
                <a:cubicBezTo>
                  <a:pt x="481225" y="1467728"/>
                  <a:pt x="479779" y="1467086"/>
                  <a:pt x="478333" y="1467265"/>
                </a:cubicBezTo>
                <a:cubicBezTo>
                  <a:pt x="474862" y="1467502"/>
                  <a:pt x="471508" y="1468642"/>
                  <a:pt x="468615" y="1470562"/>
                </a:cubicBezTo>
                <a:cubicBezTo>
                  <a:pt x="464393" y="1474253"/>
                  <a:pt x="458203" y="1474744"/>
                  <a:pt x="453460" y="1471777"/>
                </a:cubicBezTo>
                <a:cubicBezTo>
                  <a:pt x="452187" y="1470996"/>
                  <a:pt x="450973" y="1470146"/>
                  <a:pt x="449816" y="1469232"/>
                </a:cubicBezTo>
                <a:cubicBezTo>
                  <a:pt x="446634" y="1466860"/>
                  <a:pt x="443626" y="1464720"/>
                  <a:pt x="441139" y="1465761"/>
                </a:cubicBezTo>
                <a:cubicBezTo>
                  <a:pt x="439693" y="1466357"/>
                  <a:pt x="438189" y="1466652"/>
                  <a:pt x="436627" y="1466629"/>
                </a:cubicBezTo>
                <a:cubicBezTo>
                  <a:pt x="434140" y="1466831"/>
                  <a:pt x="431653" y="1465848"/>
                  <a:pt x="429975" y="1463968"/>
                </a:cubicBezTo>
                <a:cubicBezTo>
                  <a:pt x="428934" y="1462504"/>
                  <a:pt x="428703" y="1460613"/>
                  <a:pt x="429339" y="1458935"/>
                </a:cubicBezTo>
                <a:cubicBezTo>
                  <a:pt x="430959" y="1453556"/>
                  <a:pt x="421762" y="1440830"/>
                  <a:pt x="417770" y="1439153"/>
                </a:cubicBezTo>
                <a:cubicBezTo>
                  <a:pt x="415688" y="1438609"/>
                  <a:pt x="413548" y="1438395"/>
                  <a:pt x="411407" y="1438516"/>
                </a:cubicBezTo>
                <a:cubicBezTo>
                  <a:pt x="406085" y="1438516"/>
                  <a:pt x="399491" y="1438516"/>
                  <a:pt x="397235" y="1433773"/>
                </a:cubicBezTo>
                <a:cubicBezTo>
                  <a:pt x="396310" y="1432003"/>
                  <a:pt x="395326" y="1430303"/>
                  <a:pt x="394170" y="1428683"/>
                </a:cubicBezTo>
                <a:cubicBezTo>
                  <a:pt x="391624" y="1424807"/>
                  <a:pt x="389195" y="1421105"/>
                  <a:pt x="391220" y="1417577"/>
                </a:cubicBezTo>
                <a:cubicBezTo>
                  <a:pt x="393244" y="1414048"/>
                  <a:pt x="390526" y="1402711"/>
                  <a:pt x="387576" y="1398083"/>
                </a:cubicBezTo>
                <a:cubicBezTo>
                  <a:pt x="386361" y="1396117"/>
                  <a:pt x="381791" y="1394902"/>
                  <a:pt x="376007" y="1394902"/>
                </a:cubicBezTo>
                <a:cubicBezTo>
                  <a:pt x="372883" y="1394798"/>
                  <a:pt x="369759" y="1395208"/>
                  <a:pt x="366810" y="1396117"/>
                </a:cubicBezTo>
                <a:cubicBezTo>
                  <a:pt x="365594" y="1396579"/>
                  <a:pt x="364264" y="1396793"/>
                  <a:pt x="362934" y="1396753"/>
                </a:cubicBezTo>
                <a:cubicBezTo>
                  <a:pt x="361314" y="1396753"/>
                  <a:pt x="359521" y="1396753"/>
                  <a:pt x="357786" y="1396348"/>
                </a:cubicBezTo>
                <a:cubicBezTo>
                  <a:pt x="356050" y="1395943"/>
                  <a:pt x="354199" y="1395943"/>
                  <a:pt x="352637" y="1395943"/>
                </a:cubicBezTo>
                <a:cubicBezTo>
                  <a:pt x="351307" y="1395879"/>
                  <a:pt x="349977" y="1396140"/>
                  <a:pt x="348762" y="1396695"/>
                </a:cubicBezTo>
                <a:cubicBezTo>
                  <a:pt x="347547" y="1397418"/>
                  <a:pt x="346390" y="1398251"/>
                  <a:pt x="345291" y="1399182"/>
                </a:cubicBezTo>
                <a:cubicBezTo>
                  <a:pt x="342688" y="1401820"/>
                  <a:pt x="339160" y="1403353"/>
                  <a:pt x="335458" y="1403463"/>
                </a:cubicBezTo>
                <a:cubicBezTo>
                  <a:pt x="328517" y="1403463"/>
                  <a:pt x="325913" y="1401323"/>
                  <a:pt x="322847" y="1388076"/>
                </a:cubicBezTo>
                <a:cubicBezTo>
                  <a:pt x="321865" y="1383738"/>
                  <a:pt x="320707" y="1380036"/>
                  <a:pt x="319724" y="1376797"/>
                </a:cubicBezTo>
                <a:cubicBezTo>
                  <a:pt x="317584" y="1369913"/>
                  <a:pt x="316022" y="1365228"/>
                  <a:pt x="318914" y="1361641"/>
                </a:cubicBezTo>
                <a:cubicBezTo>
                  <a:pt x="319782" y="1360652"/>
                  <a:pt x="321055" y="1360114"/>
                  <a:pt x="322327" y="1360195"/>
                </a:cubicBezTo>
                <a:cubicBezTo>
                  <a:pt x="324930" y="1360450"/>
                  <a:pt x="327417" y="1361196"/>
                  <a:pt x="329731" y="1362393"/>
                </a:cubicBezTo>
                <a:cubicBezTo>
                  <a:pt x="333086" y="1363839"/>
                  <a:pt x="336672" y="1365285"/>
                  <a:pt x="338640" y="1364360"/>
                </a:cubicBezTo>
                <a:cubicBezTo>
                  <a:pt x="347952" y="1360253"/>
                  <a:pt x="352637" y="1356204"/>
                  <a:pt x="351943" y="1352791"/>
                </a:cubicBezTo>
                <a:cubicBezTo>
                  <a:pt x="349109" y="1346723"/>
                  <a:pt x="343961" y="1342026"/>
                  <a:pt x="337656" y="1339718"/>
                </a:cubicBezTo>
                <a:cubicBezTo>
                  <a:pt x="334995" y="1339082"/>
                  <a:pt x="333086" y="1336363"/>
                  <a:pt x="330830" y="1333298"/>
                </a:cubicBezTo>
                <a:cubicBezTo>
                  <a:pt x="328748" y="1329561"/>
                  <a:pt x="325567" y="1326524"/>
                  <a:pt x="321749" y="1324563"/>
                </a:cubicBezTo>
                <a:cubicBezTo>
                  <a:pt x="317873" y="1322747"/>
                  <a:pt x="315039" y="1319282"/>
                  <a:pt x="313998" y="1315135"/>
                </a:cubicBezTo>
                <a:cubicBezTo>
                  <a:pt x="313188" y="1312080"/>
                  <a:pt x="311336" y="1309396"/>
                  <a:pt x="308792" y="1307499"/>
                </a:cubicBezTo>
                <a:cubicBezTo>
                  <a:pt x="303586" y="1304144"/>
                  <a:pt x="304280" y="1298475"/>
                  <a:pt x="304916" y="1293501"/>
                </a:cubicBezTo>
                <a:cubicBezTo>
                  <a:pt x="305205" y="1291436"/>
                  <a:pt x="305321" y="1289342"/>
                  <a:pt x="305263" y="1287254"/>
                </a:cubicBezTo>
                <a:cubicBezTo>
                  <a:pt x="305263" y="1285113"/>
                  <a:pt x="305263" y="1282684"/>
                  <a:pt x="305263" y="1280370"/>
                </a:cubicBezTo>
                <a:cubicBezTo>
                  <a:pt x="305263" y="1275858"/>
                  <a:pt x="305263" y="1270305"/>
                  <a:pt x="303586" y="1269380"/>
                </a:cubicBezTo>
                <a:lnTo>
                  <a:pt x="302313" y="1268743"/>
                </a:lnTo>
                <a:cubicBezTo>
                  <a:pt x="296123" y="1265065"/>
                  <a:pt x="289240" y="1262629"/>
                  <a:pt x="282126" y="1261571"/>
                </a:cubicBezTo>
                <a:cubicBezTo>
                  <a:pt x="281084" y="1261524"/>
                  <a:pt x="280043" y="1261727"/>
                  <a:pt x="279118" y="1262149"/>
                </a:cubicBezTo>
                <a:lnTo>
                  <a:pt x="278597" y="1262149"/>
                </a:lnTo>
                <a:cubicBezTo>
                  <a:pt x="275647" y="1263815"/>
                  <a:pt x="272407" y="1264879"/>
                  <a:pt x="269053" y="1265273"/>
                </a:cubicBezTo>
                <a:cubicBezTo>
                  <a:pt x="266565" y="1265227"/>
                  <a:pt x="264309" y="1263740"/>
                  <a:pt x="263268" y="1261455"/>
                </a:cubicBezTo>
                <a:cubicBezTo>
                  <a:pt x="261417" y="1256359"/>
                  <a:pt x="255806" y="1253652"/>
                  <a:pt x="250658" y="1255324"/>
                </a:cubicBezTo>
                <a:cubicBezTo>
                  <a:pt x="249270" y="1255711"/>
                  <a:pt x="247881" y="1255908"/>
                  <a:pt x="246435" y="1255902"/>
                </a:cubicBezTo>
                <a:cubicBezTo>
                  <a:pt x="242097" y="1255734"/>
                  <a:pt x="237932" y="1253941"/>
                  <a:pt x="234866" y="1250869"/>
                </a:cubicBezTo>
                <a:cubicBezTo>
                  <a:pt x="232726" y="1248232"/>
                  <a:pt x="231454" y="1245004"/>
                  <a:pt x="231164" y="1241615"/>
                </a:cubicBezTo>
                <a:cubicBezTo>
                  <a:pt x="230760" y="1238184"/>
                  <a:pt x="229487" y="1234910"/>
                  <a:pt x="227520" y="1232070"/>
                </a:cubicBezTo>
                <a:cubicBezTo>
                  <a:pt x="223356" y="1227848"/>
                  <a:pt x="216645" y="1220096"/>
                  <a:pt x="218786" y="1215064"/>
                </a:cubicBezTo>
                <a:cubicBezTo>
                  <a:pt x="220868" y="1210298"/>
                  <a:pt x="219769" y="1204721"/>
                  <a:pt x="216009" y="1201124"/>
                </a:cubicBezTo>
                <a:cubicBezTo>
                  <a:pt x="212654" y="1198156"/>
                  <a:pt x="210572" y="1194014"/>
                  <a:pt x="210225" y="1189555"/>
                </a:cubicBezTo>
                <a:cubicBezTo>
                  <a:pt x="210283" y="1187802"/>
                  <a:pt x="211035" y="1186148"/>
                  <a:pt x="212365" y="1184985"/>
                </a:cubicBezTo>
                <a:cubicBezTo>
                  <a:pt x="213695" y="1184025"/>
                  <a:pt x="215141" y="1183244"/>
                  <a:pt x="216645" y="1182671"/>
                </a:cubicBezTo>
                <a:cubicBezTo>
                  <a:pt x="218381" y="1181919"/>
                  <a:pt x="220116" y="1181167"/>
                  <a:pt x="220405" y="1180126"/>
                </a:cubicBezTo>
                <a:cubicBezTo>
                  <a:pt x="220695" y="1179085"/>
                  <a:pt x="220405" y="1178622"/>
                  <a:pt x="219480" y="1177407"/>
                </a:cubicBezTo>
                <a:lnTo>
                  <a:pt x="218555" y="1176135"/>
                </a:lnTo>
                <a:cubicBezTo>
                  <a:pt x="215199" y="1172311"/>
                  <a:pt x="213291" y="1167412"/>
                  <a:pt x="213175" y="1162310"/>
                </a:cubicBezTo>
                <a:cubicBezTo>
                  <a:pt x="212943" y="1159823"/>
                  <a:pt x="212597" y="1157347"/>
                  <a:pt x="212076" y="1154906"/>
                </a:cubicBezTo>
                <a:cubicBezTo>
                  <a:pt x="211382" y="1152112"/>
                  <a:pt x="211150" y="1149220"/>
                  <a:pt x="211382" y="1146345"/>
                </a:cubicBezTo>
                <a:cubicBezTo>
                  <a:pt x="211902" y="1143800"/>
                  <a:pt x="213233" y="1141498"/>
                  <a:pt x="215199" y="1139809"/>
                </a:cubicBezTo>
                <a:cubicBezTo>
                  <a:pt x="217397" y="1137547"/>
                  <a:pt x="219191" y="1134950"/>
                  <a:pt x="220579" y="1132115"/>
                </a:cubicBezTo>
                <a:cubicBezTo>
                  <a:pt x="221736" y="1129958"/>
                  <a:pt x="223240" y="1128002"/>
                  <a:pt x="225033" y="1126331"/>
                </a:cubicBezTo>
                <a:cubicBezTo>
                  <a:pt x="228214" y="1123034"/>
                  <a:pt x="230124" y="1121125"/>
                  <a:pt x="226190" y="1115456"/>
                </a:cubicBezTo>
                <a:cubicBezTo>
                  <a:pt x="225843" y="1115022"/>
                  <a:pt x="225843" y="1114386"/>
                  <a:pt x="226190" y="1113952"/>
                </a:cubicBezTo>
                <a:cubicBezTo>
                  <a:pt x="227058" y="1113154"/>
                  <a:pt x="227810" y="1112240"/>
                  <a:pt x="228446" y="1111233"/>
                </a:cubicBezTo>
                <a:cubicBezTo>
                  <a:pt x="231049" y="1107103"/>
                  <a:pt x="235214" y="1104205"/>
                  <a:pt x="240015" y="1103193"/>
                </a:cubicBezTo>
                <a:cubicBezTo>
                  <a:pt x="244411" y="1101678"/>
                  <a:pt x="248633" y="1099740"/>
                  <a:pt x="252682" y="1097409"/>
                </a:cubicBezTo>
                <a:cubicBezTo>
                  <a:pt x="256848" y="1094580"/>
                  <a:pt x="261880" y="1093406"/>
                  <a:pt x="266855" y="1094112"/>
                </a:cubicBezTo>
                <a:cubicBezTo>
                  <a:pt x="269573" y="1094597"/>
                  <a:pt x="272349" y="1094863"/>
                  <a:pt x="275126" y="1094921"/>
                </a:cubicBezTo>
                <a:cubicBezTo>
                  <a:pt x="279233" y="1094921"/>
                  <a:pt x="279696" y="1093996"/>
                  <a:pt x="279696" y="1093996"/>
                </a:cubicBezTo>
                <a:cubicBezTo>
                  <a:pt x="279696" y="1093996"/>
                  <a:pt x="279696" y="1093360"/>
                  <a:pt x="278712" y="1092318"/>
                </a:cubicBezTo>
                <a:cubicBezTo>
                  <a:pt x="276919" y="1090294"/>
                  <a:pt x="272928" y="1090294"/>
                  <a:pt x="268705" y="1090236"/>
                </a:cubicBezTo>
                <a:cubicBezTo>
                  <a:pt x="263904" y="1090739"/>
                  <a:pt x="259104" y="1089657"/>
                  <a:pt x="254996" y="1087170"/>
                </a:cubicBezTo>
                <a:cubicBezTo>
                  <a:pt x="252220" y="1084480"/>
                  <a:pt x="249848" y="1081351"/>
                  <a:pt x="248055" y="1077915"/>
                </a:cubicBezTo>
                <a:cubicBezTo>
                  <a:pt x="245394" y="1073635"/>
                  <a:pt x="242675" y="1069238"/>
                  <a:pt x="240131" y="1069238"/>
                </a:cubicBezTo>
                <a:cubicBezTo>
                  <a:pt x="239725" y="1069244"/>
                  <a:pt x="239263" y="1069366"/>
                  <a:pt x="238915" y="1069585"/>
                </a:cubicBezTo>
                <a:cubicBezTo>
                  <a:pt x="235214" y="1071344"/>
                  <a:pt x="231338" y="1072738"/>
                  <a:pt x="227346" y="1073750"/>
                </a:cubicBezTo>
                <a:cubicBezTo>
                  <a:pt x="226884" y="1073872"/>
                  <a:pt x="226421" y="1073681"/>
                  <a:pt x="226190" y="1073288"/>
                </a:cubicBezTo>
                <a:cubicBezTo>
                  <a:pt x="225958" y="1072900"/>
                  <a:pt x="225958" y="1072403"/>
                  <a:pt x="226190" y="1072015"/>
                </a:cubicBezTo>
                <a:cubicBezTo>
                  <a:pt x="230066" y="1066011"/>
                  <a:pt x="234462" y="1060394"/>
                  <a:pt x="239379" y="1055240"/>
                </a:cubicBezTo>
                <a:cubicBezTo>
                  <a:pt x="244700" y="1050416"/>
                  <a:pt x="250484" y="1046205"/>
                  <a:pt x="256732" y="1042688"/>
                </a:cubicBezTo>
                <a:cubicBezTo>
                  <a:pt x="266739" y="1036556"/>
                  <a:pt x="277093" y="1030194"/>
                  <a:pt x="280852" y="1021690"/>
                </a:cubicBezTo>
                <a:cubicBezTo>
                  <a:pt x="284266" y="1014055"/>
                  <a:pt x="293463" y="1007461"/>
                  <a:pt x="302313" y="1001040"/>
                </a:cubicBezTo>
                <a:cubicBezTo>
                  <a:pt x="311163" y="994619"/>
                  <a:pt x="318914" y="989066"/>
                  <a:pt x="321228" y="982993"/>
                </a:cubicBezTo>
                <a:cubicBezTo>
                  <a:pt x="323542" y="976919"/>
                  <a:pt x="324467" y="974200"/>
                  <a:pt x="314171" y="962284"/>
                </a:cubicBezTo>
                <a:cubicBezTo>
                  <a:pt x="308098" y="956240"/>
                  <a:pt x="301098" y="951132"/>
                  <a:pt x="293521" y="947129"/>
                </a:cubicBezTo>
                <a:cubicBezTo>
                  <a:pt x="285770" y="942502"/>
                  <a:pt x="279638" y="938800"/>
                  <a:pt x="279118" y="935040"/>
                </a:cubicBezTo>
                <a:cubicBezTo>
                  <a:pt x="278597" y="931280"/>
                  <a:pt x="283166" y="929255"/>
                  <a:pt x="287563" y="927115"/>
                </a:cubicBezTo>
                <a:cubicBezTo>
                  <a:pt x="291959" y="924975"/>
                  <a:pt x="296471" y="923124"/>
                  <a:pt x="296065" y="919653"/>
                </a:cubicBezTo>
                <a:cubicBezTo>
                  <a:pt x="295661" y="916182"/>
                  <a:pt x="292653" y="913869"/>
                  <a:pt x="289182" y="911844"/>
                </a:cubicBezTo>
                <a:cubicBezTo>
                  <a:pt x="286232" y="910404"/>
                  <a:pt x="283687" y="908281"/>
                  <a:pt x="281720" y="905655"/>
                </a:cubicBezTo>
                <a:cubicBezTo>
                  <a:pt x="279696" y="901958"/>
                  <a:pt x="280564" y="897331"/>
                  <a:pt x="283860" y="894664"/>
                </a:cubicBezTo>
                <a:cubicBezTo>
                  <a:pt x="284786" y="893450"/>
                  <a:pt x="285828" y="892235"/>
                  <a:pt x="285654" y="891599"/>
                </a:cubicBezTo>
                <a:cubicBezTo>
                  <a:pt x="285480" y="890962"/>
                  <a:pt x="282299" y="889343"/>
                  <a:pt x="279870" y="888417"/>
                </a:cubicBezTo>
                <a:cubicBezTo>
                  <a:pt x="276110" y="886913"/>
                  <a:pt x="272292" y="885351"/>
                  <a:pt x="271713" y="882633"/>
                </a:cubicBezTo>
                <a:cubicBezTo>
                  <a:pt x="271135" y="879914"/>
                  <a:pt x="273680" y="878699"/>
                  <a:pt x="275531" y="877890"/>
                </a:cubicBezTo>
                <a:cubicBezTo>
                  <a:pt x="277382" y="877080"/>
                  <a:pt x="278712" y="876154"/>
                  <a:pt x="278192" y="874708"/>
                </a:cubicBezTo>
                <a:cubicBezTo>
                  <a:pt x="277614" y="873314"/>
                  <a:pt x="276977" y="871961"/>
                  <a:pt x="276225" y="870659"/>
                </a:cubicBezTo>
                <a:cubicBezTo>
                  <a:pt x="273449" y="865627"/>
                  <a:pt x="269631" y="858743"/>
                  <a:pt x="274374" y="852669"/>
                </a:cubicBezTo>
                <a:cubicBezTo>
                  <a:pt x="276457" y="850350"/>
                  <a:pt x="279233" y="848811"/>
                  <a:pt x="282299" y="848331"/>
                </a:cubicBezTo>
                <a:cubicBezTo>
                  <a:pt x="284324" y="847810"/>
                  <a:pt x="285596" y="847406"/>
                  <a:pt x="286001" y="846538"/>
                </a:cubicBezTo>
                <a:cubicBezTo>
                  <a:pt x="286406" y="845670"/>
                  <a:pt x="285596" y="842257"/>
                  <a:pt x="283166" y="837803"/>
                </a:cubicBezTo>
                <a:cubicBezTo>
                  <a:pt x="275126" y="823111"/>
                  <a:pt x="263037" y="805121"/>
                  <a:pt x="258467" y="798354"/>
                </a:cubicBezTo>
                <a:lnTo>
                  <a:pt x="257368" y="796618"/>
                </a:lnTo>
                <a:cubicBezTo>
                  <a:pt x="256326" y="795051"/>
                  <a:pt x="255980" y="793124"/>
                  <a:pt x="256442" y="791297"/>
                </a:cubicBezTo>
                <a:cubicBezTo>
                  <a:pt x="258062" y="786247"/>
                  <a:pt x="261359" y="781897"/>
                  <a:pt x="265755" y="778976"/>
                </a:cubicBezTo>
                <a:cubicBezTo>
                  <a:pt x="270903" y="775447"/>
                  <a:pt x="282241" y="763705"/>
                  <a:pt x="282241" y="759714"/>
                </a:cubicBezTo>
                <a:cubicBezTo>
                  <a:pt x="282241" y="755722"/>
                  <a:pt x="268243" y="743344"/>
                  <a:pt x="263384" y="740451"/>
                </a:cubicBezTo>
                <a:cubicBezTo>
                  <a:pt x="261938" y="739757"/>
                  <a:pt x="260434" y="739231"/>
                  <a:pt x="258872" y="738890"/>
                </a:cubicBezTo>
                <a:cubicBezTo>
                  <a:pt x="253434" y="738207"/>
                  <a:pt x="248691" y="735014"/>
                  <a:pt x="245973" y="730271"/>
                </a:cubicBezTo>
                <a:cubicBezTo>
                  <a:pt x="244931" y="728246"/>
                  <a:pt x="243891" y="726511"/>
                  <a:pt x="242965" y="725065"/>
                </a:cubicBezTo>
                <a:cubicBezTo>
                  <a:pt x="240419" y="720900"/>
                  <a:pt x="238569" y="717950"/>
                  <a:pt x="242039" y="713496"/>
                </a:cubicBezTo>
                <a:cubicBezTo>
                  <a:pt x="245105" y="709586"/>
                  <a:pt x="246493" y="704611"/>
                  <a:pt x="245915" y="699671"/>
                </a:cubicBezTo>
                <a:cubicBezTo>
                  <a:pt x="245915" y="696548"/>
                  <a:pt x="248576" y="695969"/>
                  <a:pt x="250774" y="695564"/>
                </a:cubicBezTo>
                <a:cubicBezTo>
                  <a:pt x="252972" y="695159"/>
                  <a:pt x="255632" y="694581"/>
                  <a:pt x="256558" y="691342"/>
                </a:cubicBezTo>
                <a:cubicBezTo>
                  <a:pt x="259104" y="682231"/>
                  <a:pt x="266855" y="675521"/>
                  <a:pt x="276225" y="674278"/>
                </a:cubicBezTo>
                <a:cubicBezTo>
                  <a:pt x="280158" y="673624"/>
                  <a:pt x="283860" y="671785"/>
                  <a:pt x="286753" y="669014"/>
                </a:cubicBezTo>
                <a:cubicBezTo>
                  <a:pt x="289703" y="666179"/>
                  <a:pt x="293405" y="664323"/>
                  <a:pt x="297454" y="663692"/>
                </a:cubicBezTo>
                <a:cubicBezTo>
                  <a:pt x="297975" y="663634"/>
                  <a:pt x="298553" y="663634"/>
                  <a:pt x="299074" y="663692"/>
                </a:cubicBezTo>
                <a:cubicBezTo>
                  <a:pt x="300289" y="663952"/>
                  <a:pt x="301503" y="664091"/>
                  <a:pt x="302718" y="664097"/>
                </a:cubicBezTo>
                <a:cubicBezTo>
                  <a:pt x="305784" y="664097"/>
                  <a:pt x="310064" y="663172"/>
                  <a:pt x="311626" y="654784"/>
                </a:cubicBezTo>
                <a:cubicBezTo>
                  <a:pt x="311684" y="654431"/>
                  <a:pt x="311915" y="654130"/>
                  <a:pt x="312262" y="653974"/>
                </a:cubicBezTo>
                <a:cubicBezTo>
                  <a:pt x="312610" y="653801"/>
                  <a:pt x="313014" y="653801"/>
                  <a:pt x="313361" y="653974"/>
                </a:cubicBezTo>
                <a:cubicBezTo>
                  <a:pt x="314113" y="654385"/>
                  <a:pt x="314807" y="654888"/>
                  <a:pt x="315386" y="655478"/>
                </a:cubicBezTo>
                <a:cubicBezTo>
                  <a:pt x="317989" y="658023"/>
                  <a:pt x="321401" y="659556"/>
                  <a:pt x="325046" y="659817"/>
                </a:cubicBezTo>
                <a:cubicBezTo>
                  <a:pt x="327244" y="659967"/>
                  <a:pt x="329268" y="658683"/>
                  <a:pt x="330078" y="656635"/>
                </a:cubicBezTo>
                <a:cubicBezTo>
                  <a:pt x="331582" y="652013"/>
                  <a:pt x="335804" y="648826"/>
                  <a:pt x="340664" y="648653"/>
                </a:cubicBezTo>
                <a:cubicBezTo>
                  <a:pt x="344481" y="648872"/>
                  <a:pt x="348125" y="650203"/>
                  <a:pt x="351191" y="652470"/>
                </a:cubicBezTo>
                <a:cubicBezTo>
                  <a:pt x="354893" y="655027"/>
                  <a:pt x="359232" y="656398"/>
                  <a:pt x="363744" y="656404"/>
                </a:cubicBezTo>
                <a:cubicBezTo>
                  <a:pt x="366578" y="656404"/>
                  <a:pt x="369528" y="656404"/>
                  <a:pt x="369528" y="660511"/>
                </a:cubicBezTo>
                <a:cubicBezTo>
                  <a:pt x="369702" y="661477"/>
                  <a:pt x="369470" y="662466"/>
                  <a:pt x="368834" y="663229"/>
                </a:cubicBezTo>
                <a:cubicBezTo>
                  <a:pt x="367041" y="665427"/>
                  <a:pt x="362529" y="665774"/>
                  <a:pt x="357786" y="666122"/>
                </a:cubicBezTo>
                <a:cubicBezTo>
                  <a:pt x="354778" y="665983"/>
                  <a:pt x="351770" y="666579"/>
                  <a:pt x="349051" y="667857"/>
                </a:cubicBezTo>
                <a:cubicBezTo>
                  <a:pt x="348473" y="668719"/>
                  <a:pt x="348473" y="669829"/>
                  <a:pt x="349051" y="670691"/>
                </a:cubicBezTo>
                <a:cubicBezTo>
                  <a:pt x="351191" y="674006"/>
                  <a:pt x="354951" y="675857"/>
                  <a:pt x="358885" y="675492"/>
                </a:cubicBezTo>
                <a:cubicBezTo>
                  <a:pt x="360446" y="675469"/>
                  <a:pt x="362008" y="675273"/>
                  <a:pt x="363512" y="674914"/>
                </a:cubicBezTo>
                <a:cubicBezTo>
                  <a:pt x="365132" y="674526"/>
                  <a:pt x="366752" y="674330"/>
                  <a:pt x="368429" y="674335"/>
                </a:cubicBezTo>
                <a:cubicBezTo>
                  <a:pt x="371957" y="674463"/>
                  <a:pt x="375486" y="675186"/>
                  <a:pt x="378783" y="676476"/>
                </a:cubicBezTo>
                <a:cubicBezTo>
                  <a:pt x="382659" y="677864"/>
                  <a:pt x="385609" y="678616"/>
                  <a:pt x="388154" y="676476"/>
                </a:cubicBezTo>
                <a:cubicBezTo>
                  <a:pt x="391509" y="673931"/>
                  <a:pt x="395558" y="672496"/>
                  <a:pt x="399723" y="672369"/>
                </a:cubicBezTo>
                <a:cubicBezTo>
                  <a:pt x="403599" y="672195"/>
                  <a:pt x="407243" y="674006"/>
                  <a:pt x="409441" y="677170"/>
                </a:cubicBezTo>
                <a:cubicBezTo>
                  <a:pt x="411639" y="680409"/>
                  <a:pt x="413490" y="680814"/>
                  <a:pt x="414820" y="680814"/>
                </a:cubicBezTo>
                <a:cubicBezTo>
                  <a:pt x="417423" y="680513"/>
                  <a:pt x="419910" y="679686"/>
                  <a:pt x="422166" y="678384"/>
                </a:cubicBezTo>
                <a:cubicBezTo>
                  <a:pt x="423150" y="677997"/>
                  <a:pt x="424249" y="677818"/>
                  <a:pt x="425290" y="677864"/>
                </a:cubicBezTo>
                <a:cubicBezTo>
                  <a:pt x="435817" y="677864"/>
                  <a:pt x="465781" y="689433"/>
                  <a:pt x="487067" y="703547"/>
                </a:cubicBezTo>
                <a:lnTo>
                  <a:pt x="491984" y="706786"/>
                </a:lnTo>
                <a:cubicBezTo>
                  <a:pt x="511767" y="719975"/>
                  <a:pt x="518246" y="724139"/>
                  <a:pt x="526344" y="723561"/>
                </a:cubicBezTo>
                <a:cubicBezTo>
                  <a:pt x="530740" y="723578"/>
                  <a:pt x="534847" y="725736"/>
                  <a:pt x="537334" y="729345"/>
                </a:cubicBezTo>
                <a:cubicBezTo>
                  <a:pt x="539995" y="733175"/>
                  <a:pt x="544276" y="735593"/>
                  <a:pt x="548903" y="735940"/>
                </a:cubicBezTo>
                <a:cubicBezTo>
                  <a:pt x="558795" y="736183"/>
                  <a:pt x="567819" y="741672"/>
                  <a:pt x="572561" y="750343"/>
                </a:cubicBezTo>
                <a:cubicBezTo>
                  <a:pt x="573256" y="752078"/>
                  <a:pt x="576321" y="753351"/>
                  <a:pt x="579272" y="754623"/>
                </a:cubicBezTo>
                <a:cubicBezTo>
                  <a:pt x="583552" y="756474"/>
                  <a:pt x="588411" y="758557"/>
                  <a:pt x="588411" y="762895"/>
                </a:cubicBezTo>
                <a:cubicBezTo>
                  <a:pt x="588758" y="765660"/>
                  <a:pt x="589510" y="768361"/>
                  <a:pt x="590551" y="770935"/>
                </a:cubicBezTo>
                <a:cubicBezTo>
                  <a:pt x="593212" y="778802"/>
                  <a:pt x="596856" y="789619"/>
                  <a:pt x="590551" y="795982"/>
                </a:cubicBezTo>
                <a:cubicBezTo>
                  <a:pt x="581470" y="805121"/>
                  <a:pt x="545664" y="831498"/>
                  <a:pt x="516799" y="831498"/>
                </a:cubicBezTo>
                <a:cubicBezTo>
                  <a:pt x="514659" y="831493"/>
                  <a:pt x="512519" y="831342"/>
                  <a:pt x="510379" y="831036"/>
                </a:cubicBezTo>
                <a:cubicBezTo>
                  <a:pt x="485737" y="827449"/>
                  <a:pt x="472722" y="825251"/>
                  <a:pt x="457625" y="822475"/>
                </a:cubicBezTo>
                <a:lnTo>
                  <a:pt x="446519" y="820566"/>
                </a:lnTo>
                <a:cubicBezTo>
                  <a:pt x="438073" y="819004"/>
                  <a:pt x="429859" y="816355"/>
                  <a:pt x="422108" y="812699"/>
                </a:cubicBezTo>
                <a:cubicBezTo>
                  <a:pt x="414820" y="809194"/>
                  <a:pt x="407011" y="806816"/>
                  <a:pt x="398971" y="805642"/>
                </a:cubicBezTo>
                <a:cubicBezTo>
                  <a:pt x="384625" y="804595"/>
                  <a:pt x="371090" y="798793"/>
                  <a:pt x="360446" y="789156"/>
                </a:cubicBezTo>
                <a:cubicBezTo>
                  <a:pt x="355414" y="783401"/>
                  <a:pt x="347894" y="780428"/>
                  <a:pt x="340259" y="781174"/>
                </a:cubicBezTo>
                <a:lnTo>
                  <a:pt x="341821" y="781810"/>
                </a:lnTo>
                <a:cubicBezTo>
                  <a:pt x="344829" y="783083"/>
                  <a:pt x="349398" y="785049"/>
                  <a:pt x="350208" y="788925"/>
                </a:cubicBezTo>
                <a:cubicBezTo>
                  <a:pt x="351365" y="794709"/>
                  <a:pt x="367966" y="808361"/>
                  <a:pt x="376007" y="810270"/>
                </a:cubicBezTo>
                <a:cubicBezTo>
                  <a:pt x="379477" y="811247"/>
                  <a:pt x="382312" y="813648"/>
                  <a:pt x="383873" y="816864"/>
                </a:cubicBezTo>
                <a:cubicBezTo>
                  <a:pt x="385262" y="820236"/>
                  <a:pt x="388616" y="822405"/>
                  <a:pt x="392261" y="822359"/>
                </a:cubicBezTo>
                <a:cubicBezTo>
                  <a:pt x="399260" y="822741"/>
                  <a:pt x="405855" y="825783"/>
                  <a:pt x="410655" y="830862"/>
                </a:cubicBezTo>
                <a:cubicBezTo>
                  <a:pt x="412911" y="832939"/>
                  <a:pt x="414300" y="835831"/>
                  <a:pt x="414415" y="838902"/>
                </a:cubicBezTo>
                <a:cubicBezTo>
                  <a:pt x="414415" y="840852"/>
                  <a:pt x="414588" y="842790"/>
                  <a:pt x="415052" y="844687"/>
                </a:cubicBezTo>
                <a:cubicBezTo>
                  <a:pt x="415919" y="848967"/>
                  <a:pt x="416902" y="853768"/>
                  <a:pt x="411870" y="857239"/>
                </a:cubicBezTo>
                <a:cubicBezTo>
                  <a:pt x="408399" y="859611"/>
                  <a:pt x="409151" y="863428"/>
                  <a:pt x="410597" y="868519"/>
                </a:cubicBezTo>
                <a:cubicBezTo>
                  <a:pt x="411234" y="870381"/>
                  <a:pt x="411581" y="872336"/>
                  <a:pt x="411581" y="874303"/>
                </a:cubicBezTo>
                <a:cubicBezTo>
                  <a:pt x="411870" y="876299"/>
                  <a:pt x="412622" y="878196"/>
                  <a:pt x="413837" y="879798"/>
                </a:cubicBezTo>
                <a:cubicBezTo>
                  <a:pt x="416729" y="883980"/>
                  <a:pt x="418233" y="888990"/>
                  <a:pt x="418060" y="894086"/>
                </a:cubicBezTo>
                <a:cubicBezTo>
                  <a:pt x="417192" y="898361"/>
                  <a:pt x="418060" y="902803"/>
                  <a:pt x="420547" y="906407"/>
                </a:cubicBezTo>
                <a:cubicBezTo>
                  <a:pt x="423381" y="908871"/>
                  <a:pt x="427315" y="909704"/>
                  <a:pt x="430901" y="908605"/>
                </a:cubicBezTo>
                <a:cubicBezTo>
                  <a:pt x="432115" y="908420"/>
                  <a:pt x="433273" y="908321"/>
                  <a:pt x="434487" y="908316"/>
                </a:cubicBezTo>
                <a:cubicBezTo>
                  <a:pt x="446056" y="908316"/>
                  <a:pt x="456815" y="916992"/>
                  <a:pt x="457220" y="923760"/>
                </a:cubicBezTo>
                <a:cubicBezTo>
                  <a:pt x="457220" y="926016"/>
                  <a:pt x="460922" y="926305"/>
                  <a:pt x="466302" y="926421"/>
                </a:cubicBezTo>
                <a:cubicBezTo>
                  <a:pt x="471681" y="926537"/>
                  <a:pt x="476193" y="926710"/>
                  <a:pt x="478449" y="929660"/>
                </a:cubicBezTo>
                <a:cubicBezTo>
                  <a:pt x="480011" y="931170"/>
                  <a:pt x="482093" y="931945"/>
                  <a:pt x="484233" y="931800"/>
                </a:cubicBezTo>
                <a:cubicBezTo>
                  <a:pt x="489035" y="931962"/>
                  <a:pt x="493604" y="930065"/>
                  <a:pt x="496901" y="926594"/>
                </a:cubicBezTo>
                <a:cubicBezTo>
                  <a:pt x="499215" y="922522"/>
                  <a:pt x="499794" y="917681"/>
                  <a:pt x="498520" y="913175"/>
                </a:cubicBezTo>
                <a:cubicBezTo>
                  <a:pt x="497884" y="912139"/>
                  <a:pt x="496670" y="911561"/>
                  <a:pt x="495455" y="911671"/>
                </a:cubicBezTo>
                <a:cubicBezTo>
                  <a:pt x="489150" y="911671"/>
                  <a:pt x="472318" y="911671"/>
                  <a:pt x="467806" y="901721"/>
                </a:cubicBezTo>
                <a:cubicBezTo>
                  <a:pt x="466302" y="898818"/>
                  <a:pt x="464393" y="896180"/>
                  <a:pt x="462021" y="893912"/>
                </a:cubicBezTo>
                <a:cubicBezTo>
                  <a:pt x="459533" y="891136"/>
                  <a:pt x="457393" y="888706"/>
                  <a:pt x="459418" y="884947"/>
                </a:cubicBezTo>
                <a:lnTo>
                  <a:pt x="459418" y="884542"/>
                </a:lnTo>
                <a:cubicBezTo>
                  <a:pt x="462310" y="879104"/>
                  <a:pt x="467632" y="869039"/>
                  <a:pt x="476308" y="869039"/>
                </a:cubicBezTo>
                <a:lnTo>
                  <a:pt x="476829" y="869039"/>
                </a:lnTo>
                <a:cubicBezTo>
                  <a:pt x="481457" y="869039"/>
                  <a:pt x="487935" y="874419"/>
                  <a:pt x="494182" y="879336"/>
                </a:cubicBezTo>
                <a:cubicBezTo>
                  <a:pt x="497884" y="883020"/>
                  <a:pt x="502396" y="885860"/>
                  <a:pt x="507313" y="887665"/>
                </a:cubicBezTo>
                <a:lnTo>
                  <a:pt x="507718" y="887665"/>
                </a:lnTo>
                <a:cubicBezTo>
                  <a:pt x="513849" y="886450"/>
                  <a:pt x="532244" y="888417"/>
                  <a:pt x="537103" y="894549"/>
                </a:cubicBezTo>
                <a:cubicBezTo>
                  <a:pt x="539127" y="897210"/>
                  <a:pt x="548267" y="899350"/>
                  <a:pt x="557522" y="899350"/>
                </a:cubicBezTo>
                <a:cubicBezTo>
                  <a:pt x="564347" y="899350"/>
                  <a:pt x="567645" y="898019"/>
                  <a:pt x="567761" y="897094"/>
                </a:cubicBezTo>
                <a:cubicBezTo>
                  <a:pt x="568339" y="893392"/>
                  <a:pt x="567761" y="887260"/>
                  <a:pt x="556770" y="876675"/>
                </a:cubicBezTo>
                <a:cubicBezTo>
                  <a:pt x="551911" y="872886"/>
                  <a:pt x="549076" y="867044"/>
                  <a:pt x="549192" y="860883"/>
                </a:cubicBezTo>
                <a:cubicBezTo>
                  <a:pt x="549597" y="856852"/>
                  <a:pt x="551853" y="853248"/>
                  <a:pt x="555324" y="851108"/>
                </a:cubicBezTo>
                <a:cubicBezTo>
                  <a:pt x="558332" y="848933"/>
                  <a:pt x="561166" y="846578"/>
                  <a:pt x="563885" y="844051"/>
                </a:cubicBezTo>
                <a:cubicBezTo>
                  <a:pt x="570190" y="838266"/>
                  <a:pt x="576726" y="832482"/>
                  <a:pt x="582106" y="831961"/>
                </a:cubicBezTo>
                <a:cubicBezTo>
                  <a:pt x="585172" y="831556"/>
                  <a:pt x="600674" y="829416"/>
                  <a:pt x="605532" y="821954"/>
                </a:cubicBezTo>
                <a:cubicBezTo>
                  <a:pt x="608946" y="816632"/>
                  <a:pt x="612300" y="812236"/>
                  <a:pt x="618895" y="812236"/>
                </a:cubicBezTo>
                <a:cubicBezTo>
                  <a:pt x="620630" y="812254"/>
                  <a:pt x="622423" y="812508"/>
                  <a:pt x="624101" y="812988"/>
                </a:cubicBezTo>
                <a:cubicBezTo>
                  <a:pt x="628092" y="813758"/>
                  <a:pt x="632083" y="814087"/>
                  <a:pt x="636132" y="813972"/>
                </a:cubicBezTo>
                <a:cubicBezTo>
                  <a:pt x="643883" y="813972"/>
                  <a:pt x="651172" y="813972"/>
                  <a:pt x="652387" y="819062"/>
                </a:cubicBezTo>
                <a:cubicBezTo>
                  <a:pt x="653601" y="824152"/>
                  <a:pt x="655973" y="827276"/>
                  <a:pt x="657419" y="827276"/>
                </a:cubicBezTo>
                <a:cubicBezTo>
                  <a:pt x="657882" y="827235"/>
                  <a:pt x="658286" y="827004"/>
                  <a:pt x="658518" y="826639"/>
                </a:cubicBezTo>
                <a:cubicBezTo>
                  <a:pt x="659096" y="826003"/>
                  <a:pt x="659848" y="825639"/>
                  <a:pt x="660716" y="825656"/>
                </a:cubicBezTo>
                <a:cubicBezTo>
                  <a:pt x="662625" y="825928"/>
                  <a:pt x="664418" y="826663"/>
                  <a:pt x="665922" y="827796"/>
                </a:cubicBezTo>
                <a:cubicBezTo>
                  <a:pt x="667021" y="828548"/>
                  <a:pt x="668236" y="829098"/>
                  <a:pt x="669509" y="829416"/>
                </a:cubicBezTo>
                <a:cubicBezTo>
                  <a:pt x="669913" y="829416"/>
                  <a:pt x="669913" y="828201"/>
                  <a:pt x="669913" y="827854"/>
                </a:cubicBezTo>
                <a:cubicBezTo>
                  <a:pt x="670145" y="824337"/>
                  <a:pt x="671591" y="821005"/>
                  <a:pt x="673905" y="818368"/>
                </a:cubicBezTo>
                <a:cubicBezTo>
                  <a:pt x="676681" y="815146"/>
                  <a:pt x="678301" y="811062"/>
                  <a:pt x="678417" y="806799"/>
                </a:cubicBezTo>
                <a:lnTo>
                  <a:pt x="678417" y="804774"/>
                </a:lnTo>
                <a:cubicBezTo>
                  <a:pt x="678417" y="797486"/>
                  <a:pt x="678417" y="789214"/>
                  <a:pt x="674888" y="785570"/>
                </a:cubicBezTo>
                <a:cubicBezTo>
                  <a:pt x="673557" y="784257"/>
                  <a:pt x="671707" y="783569"/>
                  <a:pt x="669855" y="783661"/>
                </a:cubicBezTo>
                <a:lnTo>
                  <a:pt x="669046" y="783661"/>
                </a:lnTo>
                <a:cubicBezTo>
                  <a:pt x="662394" y="783661"/>
                  <a:pt x="657882" y="784182"/>
                  <a:pt x="656436" y="781463"/>
                </a:cubicBezTo>
                <a:cubicBezTo>
                  <a:pt x="655452" y="779612"/>
                  <a:pt x="656436" y="776836"/>
                  <a:pt x="659617" y="772150"/>
                </a:cubicBezTo>
                <a:cubicBezTo>
                  <a:pt x="667137" y="761391"/>
                  <a:pt x="671765" y="748260"/>
                  <a:pt x="669971" y="742881"/>
                </a:cubicBezTo>
                <a:cubicBezTo>
                  <a:pt x="669509" y="740648"/>
                  <a:pt x="669509" y="738346"/>
                  <a:pt x="669971" y="736113"/>
                </a:cubicBezTo>
                <a:cubicBezTo>
                  <a:pt x="670376" y="731023"/>
                  <a:pt x="670781" y="726627"/>
                  <a:pt x="662972" y="724544"/>
                </a:cubicBezTo>
                <a:cubicBezTo>
                  <a:pt x="655163" y="722462"/>
                  <a:pt x="651403" y="717487"/>
                  <a:pt x="651750" y="713901"/>
                </a:cubicBezTo>
                <a:cubicBezTo>
                  <a:pt x="652097" y="710315"/>
                  <a:pt x="655105" y="710083"/>
                  <a:pt x="658923" y="711934"/>
                </a:cubicBezTo>
                <a:cubicBezTo>
                  <a:pt x="665922" y="715139"/>
                  <a:pt x="673499" y="716816"/>
                  <a:pt x="681193" y="716851"/>
                </a:cubicBezTo>
                <a:cubicBezTo>
                  <a:pt x="684837" y="716863"/>
                  <a:pt x="688540" y="716417"/>
                  <a:pt x="692068" y="715521"/>
                </a:cubicBezTo>
                <a:cubicBezTo>
                  <a:pt x="695712" y="714601"/>
                  <a:pt x="699414" y="714150"/>
                  <a:pt x="703174" y="714190"/>
                </a:cubicBezTo>
                <a:cubicBezTo>
                  <a:pt x="714742" y="714190"/>
                  <a:pt x="727179" y="717892"/>
                  <a:pt x="728221" y="726164"/>
                </a:cubicBezTo>
                <a:cubicBezTo>
                  <a:pt x="730129" y="731873"/>
                  <a:pt x="733600" y="736940"/>
                  <a:pt x="738228" y="740799"/>
                </a:cubicBezTo>
                <a:cubicBezTo>
                  <a:pt x="743260" y="746120"/>
                  <a:pt x="747193" y="750285"/>
                  <a:pt x="744475" y="753293"/>
                </a:cubicBezTo>
                <a:cubicBezTo>
                  <a:pt x="742566" y="755375"/>
                  <a:pt x="739095" y="754913"/>
                  <a:pt x="735104" y="753871"/>
                </a:cubicBezTo>
                <a:cubicBezTo>
                  <a:pt x="732617" y="753114"/>
                  <a:pt x="730013" y="752685"/>
                  <a:pt x="727411" y="752599"/>
                </a:cubicBezTo>
                <a:cubicBezTo>
                  <a:pt x="724807" y="752576"/>
                  <a:pt x="722205" y="753299"/>
                  <a:pt x="720006" y="754681"/>
                </a:cubicBezTo>
                <a:cubicBezTo>
                  <a:pt x="716073" y="757220"/>
                  <a:pt x="711561" y="758753"/>
                  <a:pt x="706876" y="759135"/>
                </a:cubicBezTo>
                <a:cubicBezTo>
                  <a:pt x="703753" y="759540"/>
                  <a:pt x="702307" y="759771"/>
                  <a:pt x="701439" y="761507"/>
                </a:cubicBezTo>
                <a:cubicBezTo>
                  <a:pt x="698604" y="765550"/>
                  <a:pt x="697563" y="770548"/>
                  <a:pt x="698431" y="775389"/>
                </a:cubicBezTo>
                <a:cubicBezTo>
                  <a:pt x="699067" y="776483"/>
                  <a:pt x="700166" y="777183"/>
                  <a:pt x="701439" y="777241"/>
                </a:cubicBezTo>
                <a:cubicBezTo>
                  <a:pt x="705603" y="777877"/>
                  <a:pt x="708496" y="782504"/>
                  <a:pt x="711504" y="787363"/>
                </a:cubicBezTo>
                <a:cubicBezTo>
                  <a:pt x="714512" y="792222"/>
                  <a:pt x="718040" y="797833"/>
                  <a:pt x="722725" y="797833"/>
                </a:cubicBezTo>
                <a:lnTo>
                  <a:pt x="722725" y="797833"/>
                </a:lnTo>
                <a:cubicBezTo>
                  <a:pt x="724807" y="797833"/>
                  <a:pt x="727757" y="797833"/>
                  <a:pt x="731286" y="797833"/>
                </a:cubicBezTo>
                <a:lnTo>
                  <a:pt x="738690" y="797833"/>
                </a:lnTo>
                <a:cubicBezTo>
                  <a:pt x="745458" y="797833"/>
                  <a:pt x="765992" y="797833"/>
                  <a:pt x="768191" y="792453"/>
                </a:cubicBezTo>
                <a:cubicBezTo>
                  <a:pt x="769174" y="788682"/>
                  <a:pt x="769522" y="784766"/>
                  <a:pt x="769174" y="780885"/>
                </a:cubicBezTo>
                <a:cubicBezTo>
                  <a:pt x="769174" y="773538"/>
                  <a:pt x="769174" y="765903"/>
                  <a:pt x="774959" y="763127"/>
                </a:cubicBezTo>
                <a:cubicBezTo>
                  <a:pt x="779702" y="761328"/>
                  <a:pt x="784677" y="760142"/>
                  <a:pt x="789709" y="759598"/>
                </a:cubicBezTo>
                <a:cubicBezTo>
                  <a:pt x="796188" y="758557"/>
                  <a:pt x="804170" y="757226"/>
                  <a:pt x="804170" y="754797"/>
                </a:cubicBezTo>
                <a:cubicBezTo>
                  <a:pt x="804170" y="751326"/>
                  <a:pt x="808509" y="749707"/>
                  <a:pt x="814003" y="747624"/>
                </a:cubicBezTo>
                <a:cubicBezTo>
                  <a:pt x="820250" y="745785"/>
                  <a:pt x="825978" y="742470"/>
                  <a:pt x="830721" y="737964"/>
                </a:cubicBezTo>
                <a:cubicBezTo>
                  <a:pt x="839281" y="728246"/>
                  <a:pt x="879714" y="718644"/>
                  <a:pt x="891225" y="718644"/>
                </a:cubicBezTo>
                <a:cubicBezTo>
                  <a:pt x="892383" y="718586"/>
                  <a:pt x="893481" y="718725"/>
                  <a:pt x="894581" y="719049"/>
                </a:cubicBezTo>
                <a:cubicBezTo>
                  <a:pt x="897126" y="720142"/>
                  <a:pt x="899266" y="721953"/>
                  <a:pt x="900828" y="724255"/>
                </a:cubicBezTo>
                <a:cubicBezTo>
                  <a:pt x="902678" y="726627"/>
                  <a:pt x="903546" y="727494"/>
                  <a:pt x="905802" y="726337"/>
                </a:cubicBezTo>
                <a:cubicBezTo>
                  <a:pt x="908058" y="725181"/>
                  <a:pt x="908000" y="723330"/>
                  <a:pt x="907943" y="720206"/>
                </a:cubicBezTo>
                <a:cubicBezTo>
                  <a:pt x="907364" y="716915"/>
                  <a:pt x="908406" y="713560"/>
                  <a:pt x="910777" y="711182"/>
                </a:cubicBezTo>
                <a:cubicBezTo>
                  <a:pt x="921825" y="705005"/>
                  <a:pt x="933915" y="700909"/>
                  <a:pt x="946467" y="699093"/>
                </a:cubicBezTo>
                <a:cubicBezTo>
                  <a:pt x="949070" y="699093"/>
                  <a:pt x="949706" y="700134"/>
                  <a:pt x="949822" y="701002"/>
                </a:cubicBezTo>
                <a:cubicBezTo>
                  <a:pt x="949475" y="703587"/>
                  <a:pt x="948318" y="706011"/>
                  <a:pt x="946583" y="707943"/>
                </a:cubicBezTo>
                <a:cubicBezTo>
                  <a:pt x="943979" y="711761"/>
                  <a:pt x="940798" y="716099"/>
                  <a:pt x="943459" y="718991"/>
                </a:cubicBezTo>
                <a:cubicBezTo>
                  <a:pt x="946120" y="721884"/>
                  <a:pt x="946641" y="724082"/>
                  <a:pt x="945773" y="725875"/>
                </a:cubicBezTo>
                <a:cubicBezTo>
                  <a:pt x="944905" y="727668"/>
                  <a:pt x="941492" y="729114"/>
                  <a:pt x="936113" y="728883"/>
                </a:cubicBezTo>
                <a:lnTo>
                  <a:pt x="934551" y="728883"/>
                </a:lnTo>
                <a:cubicBezTo>
                  <a:pt x="929576" y="728883"/>
                  <a:pt x="926974" y="730040"/>
                  <a:pt x="926742" y="730907"/>
                </a:cubicBezTo>
                <a:cubicBezTo>
                  <a:pt x="926510" y="731775"/>
                  <a:pt x="927320" y="732527"/>
                  <a:pt x="929866" y="734089"/>
                </a:cubicBezTo>
                <a:cubicBezTo>
                  <a:pt x="934956" y="736078"/>
                  <a:pt x="940393" y="736929"/>
                  <a:pt x="945831" y="736576"/>
                </a:cubicBezTo>
                <a:cubicBezTo>
                  <a:pt x="948376" y="736576"/>
                  <a:pt x="950979" y="736576"/>
                  <a:pt x="953466" y="736576"/>
                </a:cubicBezTo>
                <a:lnTo>
                  <a:pt x="959829" y="736576"/>
                </a:lnTo>
                <a:cubicBezTo>
                  <a:pt x="961969" y="736530"/>
                  <a:pt x="964167" y="736680"/>
                  <a:pt x="966307" y="737039"/>
                </a:cubicBezTo>
                <a:cubicBezTo>
                  <a:pt x="968505" y="737559"/>
                  <a:pt x="969663" y="735998"/>
                  <a:pt x="972092" y="732642"/>
                </a:cubicBezTo>
                <a:cubicBezTo>
                  <a:pt x="976315" y="725481"/>
                  <a:pt x="983314" y="720362"/>
                  <a:pt x="991412" y="718471"/>
                </a:cubicBezTo>
                <a:cubicBezTo>
                  <a:pt x="996039" y="717343"/>
                  <a:pt x="1000783" y="716799"/>
                  <a:pt x="1005584" y="716851"/>
                </a:cubicBezTo>
                <a:cubicBezTo>
                  <a:pt x="1011252" y="716955"/>
                  <a:pt x="1016921" y="717418"/>
                  <a:pt x="1022532" y="718239"/>
                </a:cubicBezTo>
                <a:cubicBezTo>
                  <a:pt x="1027391" y="719350"/>
                  <a:pt x="1032424" y="719448"/>
                  <a:pt x="1037282" y="718528"/>
                </a:cubicBezTo>
                <a:cubicBezTo>
                  <a:pt x="1041448" y="716406"/>
                  <a:pt x="1045496" y="714046"/>
                  <a:pt x="1049429" y="711471"/>
                </a:cubicBezTo>
                <a:cubicBezTo>
                  <a:pt x="1059668" y="705109"/>
                  <a:pt x="1072567" y="697242"/>
                  <a:pt x="1078352" y="697242"/>
                </a:cubicBezTo>
                <a:cubicBezTo>
                  <a:pt x="1078931" y="697143"/>
                  <a:pt x="1079509" y="697143"/>
                  <a:pt x="1080087" y="697242"/>
                </a:cubicBezTo>
                <a:cubicBezTo>
                  <a:pt x="1091309" y="701233"/>
                  <a:pt x="1097440" y="704993"/>
                  <a:pt x="1098192" y="708290"/>
                </a:cubicBezTo>
                <a:cubicBezTo>
                  <a:pt x="1098424" y="709522"/>
                  <a:pt x="1098019" y="710795"/>
                  <a:pt x="1097094" y="711645"/>
                </a:cubicBezTo>
                <a:cubicBezTo>
                  <a:pt x="1095532" y="713207"/>
                  <a:pt x="1090730" y="718008"/>
                  <a:pt x="1091309" y="721594"/>
                </a:cubicBezTo>
                <a:cubicBezTo>
                  <a:pt x="1091714" y="723387"/>
                  <a:pt x="1093450" y="724833"/>
                  <a:pt x="1096515" y="725990"/>
                </a:cubicBezTo>
                <a:cubicBezTo>
                  <a:pt x="1103051" y="728362"/>
                  <a:pt x="1109125" y="728478"/>
                  <a:pt x="1110282" y="726337"/>
                </a:cubicBezTo>
                <a:cubicBezTo>
                  <a:pt x="1110861" y="725412"/>
                  <a:pt x="1110282" y="723850"/>
                  <a:pt x="1109241" y="721941"/>
                </a:cubicBezTo>
                <a:cubicBezTo>
                  <a:pt x="1108026" y="720270"/>
                  <a:pt x="1107737" y="718060"/>
                  <a:pt x="1108605" y="716157"/>
                </a:cubicBezTo>
                <a:cubicBezTo>
                  <a:pt x="1110455" y="712744"/>
                  <a:pt x="1117281" y="711009"/>
                  <a:pt x="1128792" y="711009"/>
                </a:cubicBezTo>
                <a:cubicBezTo>
                  <a:pt x="1132841" y="711431"/>
                  <a:pt x="1136717" y="709343"/>
                  <a:pt x="1138626" y="705745"/>
                </a:cubicBezTo>
                <a:cubicBezTo>
                  <a:pt x="1139667" y="702997"/>
                  <a:pt x="1138799" y="699903"/>
                  <a:pt x="1136543" y="698052"/>
                </a:cubicBezTo>
                <a:cubicBezTo>
                  <a:pt x="1130411" y="692267"/>
                  <a:pt x="1123239" y="683591"/>
                  <a:pt x="1123644" y="674509"/>
                </a:cubicBezTo>
                <a:cubicBezTo>
                  <a:pt x="1124049" y="671588"/>
                  <a:pt x="1123239" y="668626"/>
                  <a:pt x="1121330" y="666353"/>
                </a:cubicBezTo>
                <a:cubicBezTo>
                  <a:pt x="1117339" y="663397"/>
                  <a:pt x="1112307" y="662240"/>
                  <a:pt x="1107447" y="663172"/>
                </a:cubicBezTo>
                <a:cubicBezTo>
                  <a:pt x="1099523" y="663692"/>
                  <a:pt x="1097788" y="661610"/>
                  <a:pt x="1095879" y="659469"/>
                </a:cubicBezTo>
                <a:cubicBezTo>
                  <a:pt x="1093680" y="656878"/>
                  <a:pt x="1090499" y="655311"/>
                  <a:pt x="1087086" y="655131"/>
                </a:cubicBezTo>
                <a:cubicBezTo>
                  <a:pt x="1080377" y="654177"/>
                  <a:pt x="1075055" y="648948"/>
                  <a:pt x="1073956" y="642232"/>
                </a:cubicBezTo>
                <a:cubicBezTo>
                  <a:pt x="1072972" y="637668"/>
                  <a:pt x="1075055" y="632994"/>
                  <a:pt x="1079104" y="630663"/>
                </a:cubicBezTo>
                <a:cubicBezTo>
                  <a:pt x="1080781" y="629784"/>
                  <a:pt x="1082633" y="629327"/>
                  <a:pt x="1084541" y="629333"/>
                </a:cubicBezTo>
                <a:cubicBezTo>
                  <a:pt x="1090557" y="630154"/>
                  <a:pt x="1096342" y="632329"/>
                  <a:pt x="1101432" y="635696"/>
                </a:cubicBezTo>
                <a:cubicBezTo>
                  <a:pt x="1104903" y="637546"/>
                  <a:pt x="1108836" y="639687"/>
                  <a:pt x="1113001" y="641480"/>
                </a:cubicBezTo>
                <a:cubicBezTo>
                  <a:pt x="1118438" y="643661"/>
                  <a:pt x="1123066" y="647507"/>
                  <a:pt x="1126189" y="652470"/>
                </a:cubicBezTo>
                <a:cubicBezTo>
                  <a:pt x="1128329" y="655594"/>
                  <a:pt x="1129255" y="656751"/>
                  <a:pt x="1132552" y="656288"/>
                </a:cubicBezTo>
                <a:cubicBezTo>
                  <a:pt x="1137816" y="656120"/>
                  <a:pt x="1143080" y="656606"/>
                  <a:pt x="1148228" y="657734"/>
                </a:cubicBezTo>
                <a:cubicBezTo>
                  <a:pt x="1158697" y="659649"/>
                  <a:pt x="1169283" y="660673"/>
                  <a:pt x="1179926" y="660800"/>
                </a:cubicBezTo>
                <a:lnTo>
                  <a:pt x="1185711" y="660800"/>
                </a:lnTo>
                <a:cubicBezTo>
                  <a:pt x="1208849" y="660800"/>
                  <a:pt x="1220417" y="665543"/>
                  <a:pt x="1233606" y="674335"/>
                </a:cubicBezTo>
                <a:cubicBezTo>
                  <a:pt x="1240085" y="678564"/>
                  <a:pt x="1247199" y="681670"/>
                  <a:pt x="1254662" y="683533"/>
                </a:cubicBezTo>
                <a:cubicBezTo>
                  <a:pt x="1259867" y="684967"/>
                  <a:pt x="1264957" y="686905"/>
                  <a:pt x="1269817" y="689317"/>
                </a:cubicBezTo>
                <a:cubicBezTo>
                  <a:pt x="1276874" y="692707"/>
                  <a:pt x="1284104" y="695738"/>
                  <a:pt x="1291508" y="698399"/>
                </a:cubicBezTo>
                <a:cubicBezTo>
                  <a:pt x="1299317" y="701019"/>
                  <a:pt x="1306779" y="704368"/>
                  <a:pt x="1313952" y="708406"/>
                </a:cubicBezTo>
                <a:cubicBezTo>
                  <a:pt x="1315976" y="709910"/>
                  <a:pt x="1319389" y="713091"/>
                  <a:pt x="1323323" y="716678"/>
                </a:cubicBezTo>
                <a:cubicBezTo>
                  <a:pt x="1331016" y="723792"/>
                  <a:pt x="1342642" y="734436"/>
                  <a:pt x="1346113" y="734436"/>
                </a:cubicBezTo>
                <a:cubicBezTo>
                  <a:pt x="1349584" y="734436"/>
                  <a:pt x="1356988" y="724891"/>
                  <a:pt x="1360921" y="716446"/>
                </a:cubicBezTo>
                <a:cubicBezTo>
                  <a:pt x="1362541" y="712975"/>
                  <a:pt x="1363120" y="710199"/>
                  <a:pt x="1362425" y="709100"/>
                </a:cubicBezTo>
                <a:cubicBezTo>
                  <a:pt x="1361731" y="708001"/>
                  <a:pt x="1359533" y="707017"/>
                  <a:pt x="1357161" y="706728"/>
                </a:cubicBezTo>
                <a:cubicBezTo>
                  <a:pt x="1352707" y="706630"/>
                  <a:pt x="1348601" y="704495"/>
                  <a:pt x="1345939" y="700944"/>
                </a:cubicBezTo>
                <a:cubicBezTo>
                  <a:pt x="1343510" y="697473"/>
                  <a:pt x="1341833" y="693534"/>
                  <a:pt x="1341023" y="689375"/>
                </a:cubicBezTo>
                <a:cubicBezTo>
                  <a:pt x="1340618" y="685037"/>
                  <a:pt x="1338188" y="681132"/>
                  <a:pt x="1334544" y="678789"/>
                </a:cubicBezTo>
                <a:cubicBezTo>
                  <a:pt x="1329570" y="676401"/>
                  <a:pt x="1324306" y="674596"/>
                  <a:pt x="1318926" y="673410"/>
                </a:cubicBezTo>
                <a:cubicBezTo>
                  <a:pt x="1312795" y="672415"/>
                  <a:pt x="1306952" y="670020"/>
                  <a:pt x="1301920" y="666411"/>
                </a:cubicBezTo>
                <a:cubicBezTo>
                  <a:pt x="1300590" y="664791"/>
                  <a:pt x="1300127" y="662662"/>
                  <a:pt x="1300532" y="660626"/>
                </a:cubicBezTo>
                <a:cubicBezTo>
                  <a:pt x="1302209" y="654582"/>
                  <a:pt x="1306142" y="649393"/>
                  <a:pt x="1311464" y="646107"/>
                </a:cubicBezTo>
                <a:cubicBezTo>
                  <a:pt x="1314588" y="644083"/>
                  <a:pt x="1314067" y="642001"/>
                  <a:pt x="1312795" y="638819"/>
                </a:cubicBezTo>
                <a:cubicBezTo>
                  <a:pt x="1312043" y="636910"/>
                  <a:pt x="1311233" y="634770"/>
                  <a:pt x="1312795" y="633324"/>
                </a:cubicBezTo>
                <a:cubicBezTo>
                  <a:pt x="1315976" y="628106"/>
                  <a:pt x="1317596" y="622079"/>
                  <a:pt x="1317422" y="615971"/>
                </a:cubicBezTo>
                <a:cubicBezTo>
                  <a:pt x="1317422" y="614582"/>
                  <a:pt x="1316902" y="613599"/>
                  <a:pt x="1316323" y="613310"/>
                </a:cubicBezTo>
                <a:cubicBezTo>
                  <a:pt x="1314588" y="612708"/>
                  <a:pt x="1312795" y="612569"/>
                  <a:pt x="1311002" y="612905"/>
                </a:cubicBezTo>
                <a:cubicBezTo>
                  <a:pt x="1309960" y="612963"/>
                  <a:pt x="1308977" y="612963"/>
                  <a:pt x="1307936" y="612905"/>
                </a:cubicBezTo>
                <a:cubicBezTo>
                  <a:pt x="1304928" y="613021"/>
                  <a:pt x="1302151" y="611545"/>
                  <a:pt x="1300532" y="609029"/>
                </a:cubicBezTo>
                <a:cubicBezTo>
                  <a:pt x="1298623" y="605750"/>
                  <a:pt x="1298276" y="601776"/>
                  <a:pt x="1299606" y="598212"/>
                </a:cubicBezTo>
                <a:cubicBezTo>
                  <a:pt x="1301573" y="591728"/>
                  <a:pt x="1306200" y="586377"/>
                  <a:pt x="1312332" y="583520"/>
                </a:cubicBezTo>
                <a:lnTo>
                  <a:pt x="1316670" y="581842"/>
                </a:lnTo>
                <a:cubicBezTo>
                  <a:pt x="1327371" y="577793"/>
                  <a:pt x="1343626" y="571662"/>
                  <a:pt x="1348079" y="556391"/>
                </a:cubicBezTo>
                <a:cubicBezTo>
                  <a:pt x="1351493" y="545210"/>
                  <a:pt x="1356352" y="534508"/>
                  <a:pt x="1362425" y="524519"/>
                </a:cubicBezTo>
                <a:cubicBezTo>
                  <a:pt x="1363929" y="521800"/>
                  <a:pt x="1365260" y="519486"/>
                  <a:pt x="1366301" y="517462"/>
                </a:cubicBezTo>
                <a:cubicBezTo>
                  <a:pt x="1366822" y="516363"/>
                  <a:pt x="1367342" y="515321"/>
                  <a:pt x="1367805" y="514222"/>
                </a:cubicBezTo>
                <a:cubicBezTo>
                  <a:pt x="1370871" y="507860"/>
                  <a:pt x="1373994" y="501265"/>
                  <a:pt x="1380704" y="501265"/>
                </a:cubicBezTo>
                <a:cubicBezTo>
                  <a:pt x="1381456" y="501213"/>
                  <a:pt x="1382150" y="501213"/>
                  <a:pt x="1382902" y="501265"/>
                </a:cubicBezTo>
                <a:cubicBezTo>
                  <a:pt x="1397652" y="502995"/>
                  <a:pt x="1412460" y="503863"/>
                  <a:pt x="1427269" y="503868"/>
                </a:cubicBezTo>
                <a:cubicBezTo>
                  <a:pt x="1430508" y="503868"/>
                  <a:pt x="1433053" y="503868"/>
                  <a:pt x="1434673" y="503868"/>
                </a:cubicBezTo>
                <a:lnTo>
                  <a:pt x="1436639" y="503868"/>
                </a:lnTo>
                <a:cubicBezTo>
                  <a:pt x="1445779" y="503868"/>
                  <a:pt x="1468858" y="508785"/>
                  <a:pt x="1469784" y="516247"/>
                </a:cubicBezTo>
                <a:cubicBezTo>
                  <a:pt x="1470710" y="523709"/>
                  <a:pt x="1469784" y="553672"/>
                  <a:pt x="1457695" y="563679"/>
                </a:cubicBezTo>
                <a:cubicBezTo>
                  <a:pt x="1448960" y="570910"/>
                  <a:pt x="1444911" y="575942"/>
                  <a:pt x="1445374" y="579066"/>
                </a:cubicBezTo>
                <a:cubicBezTo>
                  <a:pt x="1445374" y="580454"/>
                  <a:pt x="1446588" y="581495"/>
                  <a:pt x="1448555" y="582363"/>
                </a:cubicBezTo>
                <a:cubicBezTo>
                  <a:pt x="1456075" y="585834"/>
                  <a:pt x="1474007" y="600411"/>
                  <a:pt x="1471404" y="614698"/>
                </a:cubicBezTo>
                <a:cubicBezTo>
                  <a:pt x="1470420" y="619846"/>
                  <a:pt x="1469032" y="624913"/>
                  <a:pt x="1467239" y="629853"/>
                </a:cubicBezTo>
                <a:cubicBezTo>
                  <a:pt x="1465446" y="634018"/>
                  <a:pt x="1464520" y="638507"/>
                  <a:pt x="1464520" y="643042"/>
                </a:cubicBezTo>
                <a:cubicBezTo>
                  <a:pt x="1464520" y="643967"/>
                  <a:pt x="1464520" y="645008"/>
                  <a:pt x="1464925" y="646107"/>
                </a:cubicBezTo>
                <a:cubicBezTo>
                  <a:pt x="1466429" y="653749"/>
                  <a:pt x="1466429" y="661604"/>
                  <a:pt x="1464925" y="669245"/>
                </a:cubicBezTo>
                <a:cubicBezTo>
                  <a:pt x="1463942" y="673959"/>
                  <a:pt x="1463942" y="678818"/>
                  <a:pt x="1464925" y="683533"/>
                </a:cubicBezTo>
                <a:cubicBezTo>
                  <a:pt x="1465735" y="687917"/>
                  <a:pt x="1465966" y="692389"/>
                  <a:pt x="1465619" y="696837"/>
                </a:cubicBezTo>
                <a:cubicBezTo>
                  <a:pt x="1464636" y="703142"/>
                  <a:pt x="1479386" y="713901"/>
                  <a:pt x="1484881" y="717950"/>
                </a:cubicBezTo>
                <a:lnTo>
                  <a:pt x="1486617" y="719223"/>
                </a:lnTo>
                <a:cubicBezTo>
                  <a:pt x="1489162" y="720727"/>
                  <a:pt x="1490608" y="723526"/>
                  <a:pt x="1490377" y="726453"/>
                </a:cubicBezTo>
                <a:cubicBezTo>
                  <a:pt x="1489798" y="728865"/>
                  <a:pt x="1487889" y="730728"/>
                  <a:pt x="1485460" y="731254"/>
                </a:cubicBezTo>
                <a:cubicBezTo>
                  <a:pt x="1482105" y="733152"/>
                  <a:pt x="1479733" y="736327"/>
                  <a:pt x="1478808" y="740047"/>
                </a:cubicBezTo>
                <a:cubicBezTo>
                  <a:pt x="1477709" y="742493"/>
                  <a:pt x="1477709" y="745293"/>
                  <a:pt x="1478808" y="747740"/>
                </a:cubicBezTo>
                <a:cubicBezTo>
                  <a:pt x="1480775" y="750898"/>
                  <a:pt x="1480890" y="754866"/>
                  <a:pt x="1479155" y="758152"/>
                </a:cubicBezTo>
                <a:cubicBezTo>
                  <a:pt x="1478114" y="760651"/>
                  <a:pt x="1475742" y="762322"/>
                  <a:pt x="1473024" y="762432"/>
                </a:cubicBezTo>
                <a:cubicBezTo>
                  <a:pt x="1470941" y="762432"/>
                  <a:pt x="1469206" y="764341"/>
                  <a:pt x="1467239" y="766308"/>
                </a:cubicBezTo>
                <a:cubicBezTo>
                  <a:pt x="1465446" y="768905"/>
                  <a:pt x="1462727" y="770704"/>
                  <a:pt x="1459603" y="771340"/>
                </a:cubicBezTo>
                <a:cubicBezTo>
                  <a:pt x="1457463" y="771340"/>
                  <a:pt x="1457232" y="772324"/>
                  <a:pt x="1456769" y="774290"/>
                </a:cubicBezTo>
                <a:cubicBezTo>
                  <a:pt x="1456480" y="776731"/>
                  <a:pt x="1454976" y="778883"/>
                  <a:pt x="1452836" y="780075"/>
                </a:cubicBezTo>
                <a:cubicBezTo>
                  <a:pt x="1450811" y="781174"/>
                  <a:pt x="1450291" y="783488"/>
                  <a:pt x="1449654" y="786148"/>
                </a:cubicBezTo>
                <a:cubicBezTo>
                  <a:pt x="1449423" y="789735"/>
                  <a:pt x="1447398" y="792951"/>
                  <a:pt x="1444217" y="794652"/>
                </a:cubicBezTo>
                <a:lnTo>
                  <a:pt x="1442308" y="795461"/>
                </a:lnTo>
                <a:cubicBezTo>
                  <a:pt x="1438432" y="797081"/>
                  <a:pt x="1433111" y="799337"/>
                  <a:pt x="1432359" y="801593"/>
                </a:cubicBezTo>
                <a:cubicBezTo>
                  <a:pt x="1432127" y="802061"/>
                  <a:pt x="1432127" y="802628"/>
                  <a:pt x="1432359" y="803097"/>
                </a:cubicBezTo>
                <a:cubicBezTo>
                  <a:pt x="1433400" y="804832"/>
                  <a:pt x="1434731" y="807319"/>
                  <a:pt x="1433689" y="809228"/>
                </a:cubicBezTo>
                <a:cubicBezTo>
                  <a:pt x="1432648" y="811137"/>
                  <a:pt x="1429987" y="811773"/>
                  <a:pt x="1424839" y="811253"/>
                </a:cubicBezTo>
                <a:cubicBezTo>
                  <a:pt x="1421426" y="810906"/>
                  <a:pt x="1420906" y="811716"/>
                  <a:pt x="1420096" y="813046"/>
                </a:cubicBezTo>
                <a:cubicBezTo>
                  <a:pt x="1419286" y="814376"/>
                  <a:pt x="1417204" y="816980"/>
                  <a:pt x="1410725" y="816517"/>
                </a:cubicBezTo>
                <a:cubicBezTo>
                  <a:pt x="1406561" y="816534"/>
                  <a:pt x="1402743" y="814324"/>
                  <a:pt x="1400660" y="810732"/>
                </a:cubicBezTo>
                <a:cubicBezTo>
                  <a:pt x="1399677" y="809286"/>
                  <a:pt x="1399214" y="808766"/>
                  <a:pt x="1398347" y="808766"/>
                </a:cubicBezTo>
                <a:cubicBezTo>
                  <a:pt x="1397363" y="808893"/>
                  <a:pt x="1396438" y="809228"/>
                  <a:pt x="1395570" y="809749"/>
                </a:cubicBezTo>
                <a:cubicBezTo>
                  <a:pt x="1391752" y="812271"/>
                  <a:pt x="1387414" y="813896"/>
                  <a:pt x="1382902" y="814492"/>
                </a:cubicBezTo>
                <a:cubicBezTo>
                  <a:pt x="1380531" y="814724"/>
                  <a:pt x="1378448" y="813000"/>
                  <a:pt x="1378217" y="810651"/>
                </a:cubicBezTo>
                <a:cubicBezTo>
                  <a:pt x="1378217" y="810617"/>
                  <a:pt x="1378217" y="810588"/>
                  <a:pt x="1378217" y="810559"/>
                </a:cubicBezTo>
                <a:cubicBezTo>
                  <a:pt x="1376887" y="806990"/>
                  <a:pt x="1373531" y="804578"/>
                  <a:pt x="1369714" y="804427"/>
                </a:cubicBezTo>
                <a:cubicBezTo>
                  <a:pt x="1367978" y="804346"/>
                  <a:pt x="1366358" y="805463"/>
                  <a:pt x="1365838" y="807146"/>
                </a:cubicBezTo>
                <a:cubicBezTo>
                  <a:pt x="1364797" y="809656"/>
                  <a:pt x="1365086" y="812525"/>
                  <a:pt x="1366590" y="814781"/>
                </a:cubicBezTo>
                <a:cubicBezTo>
                  <a:pt x="1369193" y="818165"/>
                  <a:pt x="1373821" y="819253"/>
                  <a:pt x="1377639" y="817384"/>
                </a:cubicBezTo>
                <a:cubicBezTo>
                  <a:pt x="1378969" y="816864"/>
                  <a:pt x="1380415" y="816592"/>
                  <a:pt x="1381861" y="816575"/>
                </a:cubicBezTo>
                <a:cubicBezTo>
                  <a:pt x="1384637" y="816742"/>
                  <a:pt x="1387240" y="817893"/>
                  <a:pt x="1389207" y="819814"/>
                </a:cubicBezTo>
                <a:cubicBezTo>
                  <a:pt x="1392100" y="822544"/>
                  <a:pt x="1395917" y="824094"/>
                  <a:pt x="1399908" y="824152"/>
                </a:cubicBezTo>
                <a:cubicBezTo>
                  <a:pt x="1404651" y="824141"/>
                  <a:pt x="1409395" y="823423"/>
                  <a:pt x="1413906" y="822012"/>
                </a:cubicBezTo>
                <a:cubicBezTo>
                  <a:pt x="1417493" y="820976"/>
                  <a:pt x="1421137" y="820352"/>
                  <a:pt x="1424839" y="820161"/>
                </a:cubicBezTo>
                <a:cubicBezTo>
                  <a:pt x="1427327" y="820103"/>
                  <a:pt x="1429813" y="820722"/>
                  <a:pt x="1431954" y="821954"/>
                </a:cubicBezTo>
                <a:cubicBezTo>
                  <a:pt x="1437276" y="825124"/>
                  <a:pt x="1443176" y="827096"/>
                  <a:pt x="1449307" y="827738"/>
                </a:cubicBezTo>
                <a:cubicBezTo>
                  <a:pt x="1450869" y="827889"/>
                  <a:pt x="1452431" y="827386"/>
                  <a:pt x="1453645" y="826350"/>
                </a:cubicBezTo>
                <a:cubicBezTo>
                  <a:pt x="1454455" y="825402"/>
                  <a:pt x="1454803" y="824164"/>
                  <a:pt x="1454629" y="822937"/>
                </a:cubicBezTo>
                <a:cubicBezTo>
                  <a:pt x="1454282" y="813277"/>
                  <a:pt x="1464289" y="808245"/>
                  <a:pt x="1474874" y="802923"/>
                </a:cubicBezTo>
                <a:lnTo>
                  <a:pt x="1480312" y="800089"/>
                </a:lnTo>
                <a:lnTo>
                  <a:pt x="1484593" y="797833"/>
                </a:lnTo>
                <a:cubicBezTo>
                  <a:pt x="1494484" y="792743"/>
                  <a:pt x="1500962" y="789388"/>
                  <a:pt x="1500326" y="783025"/>
                </a:cubicBezTo>
                <a:cubicBezTo>
                  <a:pt x="1499921" y="778860"/>
                  <a:pt x="1505069" y="774175"/>
                  <a:pt x="1511143" y="768737"/>
                </a:cubicBezTo>
                <a:cubicBezTo>
                  <a:pt x="1517217" y="763300"/>
                  <a:pt x="1525199" y="755954"/>
                  <a:pt x="1523058" y="751095"/>
                </a:cubicBezTo>
                <a:lnTo>
                  <a:pt x="1523058" y="750632"/>
                </a:lnTo>
                <a:cubicBezTo>
                  <a:pt x="1518258" y="739757"/>
                  <a:pt x="1509291" y="719570"/>
                  <a:pt x="1517911" y="711818"/>
                </a:cubicBezTo>
                <a:cubicBezTo>
                  <a:pt x="1524389" y="706034"/>
                  <a:pt x="1541685" y="703258"/>
                  <a:pt x="1553138" y="701464"/>
                </a:cubicBezTo>
                <a:cubicBezTo>
                  <a:pt x="1556204" y="701002"/>
                  <a:pt x="1558922" y="700597"/>
                  <a:pt x="1560368" y="700250"/>
                </a:cubicBezTo>
                <a:cubicBezTo>
                  <a:pt x="1566153" y="698919"/>
                  <a:pt x="1572458" y="702795"/>
                  <a:pt x="1578936" y="711818"/>
                </a:cubicBezTo>
                <a:cubicBezTo>
                  <a:pt x="1580498" y="713756"/>
                  <a:pt x="1582292" y="715469"/>
                  <a:pt x="1584316" y="716909"/>
                </a:cubicBezTo>
                <a:cubicBezTo>
                  <a:pt x="1588596" y="720380"/>
                  <a:pt x="1593455" y="724313"/>
                  <a:pt x="1592819" y="729982"/>
                </a:cubicBezTo>
                <a:cubicBezTo>
                  <a:pt x="1592009" y="734077"/>
                  <a:pt x="1590447" y="737993"/>
                  <a:pt x="1588249" y="741551"/>
                </a:cubicBezTo>
                <a:cubicBezTo>
                  <a:pt x="1586803" y="744269"/>
                  <a:pt x="1584779" y="747971"/>
                  <a:pt x="1585588" y="748665"/>
                </a:cubicBezTo>
                <a:cubicBezTo>
                  <a:pt x="1586919" y="750192"/>
                  <a:pt x="1587902" y="751986"/>
                  <a:pt x="1588423" y="753929"/>
                </a:cubicBezTo>
                <a:cubicBezTo>
                  <a:pt x="1589406" y="760119"/>
                  <a:pt x="1593513" y="765353"/>
                  <a:pt x="1599298" y="767754"/>
                </a:cubicBezTo>
                <a:cubicBezTo>
                  <a:pt x="1607396" y="770218"/>
                  <a:pt x="1615725" y="771578"/>
                  <a:pt x="1624171" y="771803"/>
                </a:cubicBezTo>
                <a:cubicBezTo>
                  <a:pt x="1625559" y="771884"/>
                  <a:pt x="1627005" y="771722"/>
                  <a:pt x="1628335" y="771340"/>
                </a:cubicBezTo>
                <a:cubicBezTo>
                  <a:pt x="1625732" y="769912"/>
                  <a:pt x="1623014" y="768732"/>
                  <a:pt x="1620237" y="767812"/>
                </a:cubicBezTo>
                <a:cubicBezTo>
                  <a:pt x="1610288" y="764110"/>
                  <a:pt x="1596695" y="759019"/>
                  <a:pt x="1597099" y="750169"/>
                </a:cubicBezTo>
                <a:cubicBezTo>
                  <a:pt x="1597736" y="744720"/>
                  <a:pt x="1601091" y="739983"/>
                  <a:pt x="1606066" y="737617"/>
                </a:cubicBezTo>
                <a:cubicBezTo>
                  <a:pt x="1610346" y="734783"/>
                  <a:pt x="1611850" y="733510"/>
                  <a:pt x="1609825" y="730676"/>
                </a:cubicBezTo>
                <a:cubicBezTo>
                  <a:pt x="1608032" y="727633"/>
                  <a:pt x="1606933" y="724203"/>
                  <a:pt x="1606702" y="720669"/>
                </a:cubicBezTo>
                <a:cubicBezTo>
                  <a:pt x="1606933" y="716122"/>
                  <a:pt x="1604330" y="711905"/>
                  <a:pt x="1600165" y="710083"/>
                </a:cubicBezTo>
                <a:lnTo>
                  <a:pt x="1594901" y="707422"/>
                </a:lnTo>
                <a:cubicBezTo>
                  <a:pt x="1583332" y="701638"/>
                  <a:pt x="1564765" y="692036"/>
                  <a:pt x="1551981" y="692036"/>
                </a:cubicBezTo>
                <a:cubicBezTo>
                  <a:pt x="1550766" y="692042"/>
                  <a:pt x="1549609" y="692134"/>
                  <a:pt x="1548394" y="692325"/>
                </a:cubicBezTo>
                <a:cubicBezTo>
                  <a:pt x="1543073" y="693447"/>
                  <a:pt x="1537809" y="694934"/>
                  <a:pt x="1532719" y="696779"/>
                </a:cubicBezTo>
                <a:cubicBezTo>
                  <a:pt x="1525546" y="699151"/>
                  <a:pt x="1519762" y="700886"/>
                  <a:pt x="1515828" y="699151"/>
                </a:cubicBezTo>
                <a:cubicBezTo>
                  <a:pt x="1514498" y="698647"/>
                  <a:pt x="1513052" y="698410"/>
                  <a:pt x="1511605" y="698456"/>
                </a:cubicBezTo>
                <a:cubicBezTo>
                  <a:pt x="1510217" y="698456"/>
                  <a:pt x="1508713" y="698456"/>
                  <a:pt x="1507267" y="698746"/>
                </a:cubicBezTo>
                <a:cubicBezTo>
                  <a:pt x="1505763" y="698925"/>
                  <a:pt x="1504259" y="699023"/>
                  <a:pt x="1502756" y="699035"/>
                </a:cubicBezTo>
                <a:cubicBezTo>
                  <a:pt x="1499458" y="699330"/>
                  <a:pt x="1496219" y="697826"/>
                  <a:pt x="1494310" y="695102"/>
                </a:cubicBezTo>
                <a:cubicBezTo>
                  <a:pt x="1492401" y="691556"/>
                  <a:pt x="1491996" y="687379"/>
                  <a:pt x="1493211" y="683533"/>
                </a:cubicBezTo>
                <a:cubicBezTo>
                  <a:pt x="1494484" y="678211"/>
                  <a:pt x="1494484" y="672658"/>
                  <a:pt x="1493211" y="667336"/>
                </a:cubicBezTo>
                <a:cubicBezTo>
                  <a:pt x="1491129" y="659065"/>
                  <a:pt x="1497376" y="648016"/>
                  <a:pt x="1502871" y="638414"/>
                </a:cubicBezTo>
                <a:cubicBezTo>
                  <a:pt x="1506862" y="631299"/>
                  <a:pt x="1510680" y="624531"/>
                  <a:pt x="1509465" y="621639"/>
                </a:cubicBezTo>
                <a:cubicBezTo>
                  <a:pt x="1506284" y="614120"/>
                  <a:pt x="1484129" y="589131"/>
                  <a:pt x="1478634" y="584445"/>
                </a:cubicBezTo>
                <a:cubicBezTo>
                  <a:pt x="1477651" y="583711"/>
                  <a:pt x="1477130" y="582583"/>
                  <a:pt x="1477073" y="581380"/>
                </a:cubicBezTo>
                <a:cubicBezTo>
                  <a:pt x="1477073" y="578950"/>
                  <a:pt x="1479791" y="576810"/>
                  <a:pt x="1482857" y="574323"/>
                </a:cubicBezTo>
                <a:cubicBezTo>
                  <a:pt x="1485923" y="571835"/>
                  <a:pt x="1489220" y="569290"/>
                  <a:pt x="1489220" y="566629"/>
                </a:cubicBezTo>
                <a:cubicBezTo>
                  <a:pt x="1489220" y="562465"/>
                  <a:pt x="1495004" y="560845"/>
                  <a:pt x="1502756" y="558473"/>
                </a:cubicBezTo>
                <a:cubicBezTo>
                  <a:pt x="1510507" y="556102"/>
                  <a:pt x="1518258" y="553904"/>
                  <a:pt x="1522191" y="548987"/>
                </a:cubicBezTo>
                <a:cubicBezTo>
                  <a:pt x="1530058" y="539211"/>
                  <a:pt x="1531099" y="524403"/>
                  <a:pt x="1529017" y="521684"/>
                </a:cubicBezTo>
                <a:cubicBezTo>
                  <a:pt x="1527050" y="518682"/>
                  <a:pt x="1526761" y="514911"/>
                  <a:pt x="1528149" y="511619"/>
                </a:cubicBezTo>
                <a:cubicBezTo>
                  <a:pt x="1529190" y="509433"/>
                  <a:pt x="1531504" y="508137"/>
                  <a:pt x="1533933" y="508380"/>
                </a:cubicBezTo>
                <a:cubicBezTo>
                  <a:pt x="1535206" y="508415"/>
                  <a:pt x="1536479" y="508629"/>
                  <a:pt x="1537693" y="509016"/>
                </a:cubicBezTo>
                <a:cubicBezTo>
                  <a:pt x="1550882" y="515483"/>
                  <a:pt x="1556435" y="531385"/>
                  <a:pt x="1550072" y="544649"/>
                </a:cubicBezTo>
                <a:cubicBezTo>
                  <a:pt x="1541337" y="558242"/>
                  <a:pt x="1539139" y="566629"/>
                  <a:pt x="1543362" y="570274"/>
                </a:cubicBezTo>
                <a:cubicBezTo>
                  <a:pt x="1546659" y="573108"/>
                  <a:pt x="1545502" y="576463"/>
                  <a:pt x="1544461" y="579471"/>
                </a:cubicBezTo>
                <a:cubicBezTo>
                  <a:pt x="1543420" y="582479"/>
                  <a:pt x="1542437" y="585255"/>
                  <a:pt x="1545097" y="588032"/>
                </a:cubicBezTo>
                <a:cubicBezTo>
                  <a:pt x="1548452" y="589998"/>
                  <a:pt x="1552328" y="590831"/>
                  <a:pt x="1556204" y="590403"/>
                </a:cubicBezTo>
                <a:cubicBezTo>
                  <a:pt x="1559269" y="590403"/>
                  <a:pt x="1562682" y="590403"/>
                  <a:pt x="1566269" y="589998"/>
                </a:cubicBezTo>
                <a:cubicBezTo>
                  <a:pt x="1569855" y="589594"/>
                  <a:pt x="1573672" y="589594"/>
                  <a:pt x="1577201" y="589594"/>
                </a:cubicBezTo>
                <a:cubicBezTo>
                  <a:pt x="1582002" y="589270"/>
                  <a:pt x="1586803" y="590062"/>
                  <a:pt x="1591199" y="591907"/>
                </a:cubicBezTo>
                <a:cubicBezTo>
                  <a:pt x="1594843" y="593758"/>
                  <a:pt x="1598777" y="596246"/>
                  <a:pt x="1602768" y="598617"/>
                </a:cubicBezTo>
                <a:cubicBezTo>
                  <a:pt x="1610056" y="603187"/>
                  <a:pt x="1617577" y="607930"/>
                  <a:pt x="1621915" y="607930"/>
                </a:cubicBezTo>
                <a:lnTo>
                  <a:pt x="1622262" y="607930"/>
                </a:lnTo>
                <a:cubicBezTo>
                  <a:pt x="1626774" y="607641"/>
                  <a:pt x="1630013" y="605906"/>
                  <a:pt x="1630186" y="604864"/>
                </a:cubicBezTo>
                <a:cubicBezTo>
                  <a:pt x="1630360" y="603823"/>
                  <a:pt x="1629434" y="603245"/>
                  <a:pt x="1625964" y="602030"/>
                </a:cubicBezTo>
                <a:cubicBezTo>
                  <a:pt x="1622956" y="601035"/>
                  <a:pt x="1620411" y="598976"/>
                  <a:pt x="1618849" y="596246"/>
                </a:cubicBezTo>
                <a:cubicBezTo>
                  <a:pt x="1616709" y="593238"/>
                  <a:pt x="1614511" y="590114"/>
                  <a:pt x="1601496" y="588205"/>
                </a:cubicBezTo>
                <a:cubicBezTo>
                  <a:pt x="1586572" y="585990"/>
                  <a:pt x="1573268" y="577591"/>
                  <a:pt x="1564880" y="565068"/>
                </a:cubicBezTo>
                <a:cubicBezTo>
                  <a:pt x="1563607" y="563020"/>
                  <a:pt x="1563376" y="560481"/>
                  <a:pt x="1564301" y="558242"/>
                </a:cubicBezTo>
                <a:cubicBezTo>
                  <a:pt x="1568525" y="551891"/>
                  <a:pt x="1575639" y="548038"/>
                  <a:pt x="1583275" y="547946"/>
                </a:cubicBezTo>
                <a:cubicBezTo>
                  <a:pt x="1587613" y="547975"/>
                  <a:pt x="1591835" y="549328"/>
                  <a:pt x="1595422" y="551821"/>
                </a:cubicBezTo>
                <a:cubicBezTo>
                  <a:pt x="1599471" y="554326"/>
                  <a:pt x="1604098" y="555593"/>
                  <a:pt x="1608842" y="555465"/>
                </a:cubicBezTo>
                <a:cubicBezTo>
                  <a:pt x="1615147" y="555465"/>
                  <a:pt x="1619485" y="553499"/>
                  <a:pt x="1619775" y="552110"/>
                </a:cubicBezTo>
                <a:cubicBezTo>
                  <a:pt x="1619775" y="551648"/>
                  <a:pt x="1619196" y="550722"/>
                  <a:pt x="1616940" y="549739"/>
                </a:cubicBezTo>
                <a:cubicBezTo>
                  <a:pt x="1613469" y="548246"/>
                  <a:pt x="1609883" y="547032"/>
                  <a:pt x="1606181" y="546095"/>
                </a:cubicBezTo>
                <a:cubicBezTo>
                  <a:pt x="1602306" y="544996"/>
                  <a:pt x="1600396" y="544417"/>
                  <a:pt x="1599760" y="542682"/>
                </a:cubicBezTo>
                <a:cubicBezTo>
                  <a:pt x="1599124" y="540946"/>
                  <a:pt x="1600570" y="540021"/>
                  <a:pt x="1601669" y="538980"/>
                </a:cubicBezTo>
                <a:cubicBezTo>
                  <a:pt x="1602768" y="537939"/>
                  <a:pt x="1603173" y="537187"/>
                  <a:pt x="1603173" y="537187"/>
                </a:cubicBezTo>
                <a:cubicBezTo>
                  <a:pt x="1600454" y="536955"/>
                  <a:pt x="1597736" y="536955"/>
                  <a:pt x="1595017" y="537187"/>
                </a:cubicBezTo>
                <a:lnTo>
                  <a:pt x="1591141" y="537187"/>
                </a:lnTo>
                <a:cubicBezTo>
                  <a:pt x="1586861" y="537187"/>
                  <a:pt x="1586398" y="534989"/>
                  <a:pt x="1586340" y="534005"/>
                </a:cubicBezTo>
                <a:cubicBezTo>
                  <a:pt x="1586340" y="529436"/>
                  <a:pt x="1596984" y="521511"/>
                  <a:pt x="1608495" y="521222"/>
                </a:cubicBezTo>
                <a:lnTo>
                  <a:pt x="1609304" y="521222"/>
                </a:lnTo>
                <a:cubicBezTo>
                  <a:pt x="1614106" y="520580"/>
                  <a:pt x="1618733" y="523073"/>
                  <a:pt x="1620873" y="527411"/>
                </a:cubicBezTo>
                <a:cubicBezTo>
                  <a:pt x="1622031" y="530361"/>
                  <a:pt x="1625154" y="532015"/>
                  <a:pt x="1628220" y="531287"/>
                </a:cubicBezTo>
                <a:cubicBezTo>
                  <a:pt x="1639789" y="530535"/>
                  <a:pt x="1675652" y="535162"/>
                  <a:pt x="1691848" y="547714"/>
                </a:cubicBezTo>
                <a:cubicBezTo>
                  <a:pt x="1702434" y="556102"/>
                  <a:pt x="1718572" y="565820"/>
                  <a:pt x="1729216" y="565820"/>
                </a:cubicBezTo>
                <a:cubicBezTo>
                  <a:pt x="1732050" y="566063"/>
                  <a:pt x="1734827" y="564946"/>
                  <a:pt x="1736678" y="562812"/>
                </a:cubicBezTo>
                <a:cubicBezTo>
                  <a:pt x="1739396" y="559115"/>
                  <a:pt x="1739859" y="554199"/>
                  <a:pt x="1737776" y="550086"/>
                </a:cubicBezTo>
                <a:cubicBezTo>
                  <a:pt x="1734884" y="543521"/>
                  <a:pt x="1728811" y="538934"/>
                  <a:pt x="1721696" y="537996"/>
                </a:cubicBezTo>
                <a:cubicBezTo>
                  <a:pt x="1708565" y="536782"/>
                  <a:pt x="1683576" y="524056"/>
                  <a:pt x="1683576" y="517057"/>
                </a:cubicBezTo>
                <a:cubicBezTo>
                  <a:pt x="1683750" y="514998"/>
                  <a:pt x="1684444" y="513013"/>
                  <a:pt x="1685544" y="511272"/>
                </a:cubicBezTo>
                <a:cubicBezTo>
                  <a:pt x="1687510" y="507570"/>
                  <a:pt x="1689188" y="504389"/>
                  <a:pt x="1683461" y="498662"/>
                </a:cubicBezTo>
                <a:cubicBezTo>
                  <a:pt x="1679875" y="495128"/>
                  <a:pt x="1678371" y="489974"/>
                  <a:pt x="1679528" y="485069"/>
                </a:cubicBezTo>
                <a:cubicBezTo>
                  <a:pt x="1681321" y="478058"/>
                  <a:pt x="1686411" y="472355"/>
                  <a:pt x="1693179" y="469740"/>
                </a:cubicBezTo>
                <a:cubicBezTo>
                  <a:pt x="1703301" y="466096"/>
                  <a:pt x="1742346" y="464534"/>
                  <a:pt x="1763344" y="463956"/>
                </a:cubicBezTo>
                <a:lnTo>
                  <a:pt x="1764212" y="463956"/>
                </a:lnTo>
                <a:cubicBezTo>
                  <a:pt x="1771153" y="463597"/>
                  <a:pt x="1778037" y="462805"/>
                  <a:pt x="1784862" y="461584"/>
                </a:cubicBezTo>
                <a:cubicBezTo>
                  <a:pt x="1789200" y="460774"/>
                  <a:pt x="1793538" y="460271"/>
                  <a:pt x="1797935" y="460080"/>
                </a:cubicBezTo>
                <a:cubicBezTo>
                  <a:pt x="1800596" y="459843"/>
                  <a:pt x="1803257" y="460601"/>
                  <a:pt x="1805397" y="462220"/>
                </a:cubicBezTo>
                <a:cubicBezTo>
                  <a:pt x="1806322" y="463296"/>
                  <a:pt x="1807653" y="463973"/>
                  <a:pt x="1809099" y="464129"/>
                </a:cubicBezTo>
                <a:cubicBezTo>
                  <a:pt x="1811471" y="464129"/>
                  <a:pt x="1813784" y="461353"/>
                  <a:pt x="1816503" y="458345"/>
                </a:cubicBezTo>
                <a:lnTo>
                  <a:pt x="1816503" y="458345"/>
                </a:lnTo>
                <a:cubicBezTo>
                  <a:pt x="1820262" y="455591"/>
                  <a:pt x="1824890" y="454278"/>
                  <a:pt x="1829518" y="454643"/>
                </a:cubicBezTo>
                <a:cubicBezTo>
                  <a:pt x="1834666" y="454643"/>
                  <a:pt x="1844326" y="455800"/>
                  <a:pt x="1844326" y="460427"/>
                </a:cubicBezTo>
                <a:cubicBezTo>
                  <a:pt x="1844268" y="460884"/>
                  <a:pt x="1844442" y="461330"/>
                  <a:pt x="1844788" y="461642"/>
                </a:cubicBezTo>
                <a:cubicBezTo>
                  <a:pt x="1845656" y="462452"/>
                  <a:pt x="1847970" y="461642"/>
                  <a:pt x="1849069" y="460659"/>
                </a:cubicBezTo>
                <a:cubicBezTo>
                  <a:pt x="1849706" y="459993"/>
                  <a:pt x="1849937" y="459062"/>
                  <a:pt x="1849764" y="458171"/>
                </a:cubicBezTo>
                <a:cubicBezTo>
                  <a:pt x="1849648" y="455979"/>
                  <a:pt x="1850573" y="453856"/>
                  <a:pt x="1852193" y="452387"/>
                </a:cubicBezTo>
                <a:cubicBezTo>
                  <a:pt x="1853928" y="450362"/>
                  <a:pt x="1854680" y="449379"/>
                  <a:pt x="1852945" y="447354"/>
                </a:cubicBezTo>
                <a:cubicBezTo>
                  <a:pt x="1852598" y="446886"/>
                  <a:pt x="1852193" y="446464"/>
                  <a:pt x="1851730" y="446082"/>
                </a:cubicBezTo>
                <a:cubicBezTo>
                  <a:pt x="1849474" y="444335"/>
                  <a:pt x="1847912" y="441859"/>
                  <a:pt x="1847334" y="439083"/>
                </a:cubicBezTo>
                <a:cubicBezTo>
                  <a:pt x="1846986" y="437521"/>
                  <a:pt x="1846871" y="437058"/>
                  <a:pt x="1843516" y="436711"/>
                </a:cubicBezTo>
                <a:cubicBezTo>
                  <a:pt x="1836227" y="435901"/>
                  <a:pt x="1831947" y="434339"/>
                  <a:pt x="1831195" y="431910"/>
                </a:cubicBezTo>
                <a:cubicBezTo>
                  <a:pt x="1830617" y="430389"/>
                  <a:pt x="1831079" y="428677"/>
                  <a:pt x="1832237" y="427572"/>
                </a:cubicBezTo>
                <a:cubicBezTo>
                  <a:pt x="1833567" y="426270"/>
                  <a:pt x="1835475" y="425634"/>
                  <a:pt x="1837327" y="425836"/>
                </a:cubicBezTo>
                <a:cubicBezTo>
                  <a:pt x="1840045" y="425946"/>
                  <a:pt x="1842706" y="426293"/>
                  <a:pt x="1845367" y="426878"/>
                </a:cubicBezTo>
                <a:cubicBezTo>
                  <a:pt x="1847276" y="427329"/>
                  <a:pt x="1849185" y="427618"/>
                  <a:pt x="1851152" y="427745"/>
                </a:cubicBezTo>
                <a:cubicBezTo>
                  <a:pt x="1852250" y="427745"/>
                  <a:pt x="1852482" y="427745"/>
                  <a:pt x="1852482" y="427745"/>
                </a:cubicBezTo>
                <a:cubicBezTo>
                  <a:pt x="1852077" y="422586"/>
                  <a:pt x="1847623" y="418704"/>
                  <a:pt x="1842475" y="419086"/>
                </a:cubicBezTo>
                <a:cubicBezTo>
                  <a:pt x="1842186" y="419103"/>
                  <a:pt x="1841896" y="419138"/>
                  <a:pt x="1841607" y="419184"/>
                </a:cubicBezTo>
                <a:cubicBezTo>
                  <a:pt x="1835823" y="419763"/>
                  <a:pt x="1826568" y="416755"/>
                  <a:pt x="1824832" y="412648"/>
                </a:cubicBezTo>
                <a:cubicBezTo>
                  <a:pt x="1824312" y="411300"/>
                  <a:pt x="1824659" y="409761"/>
                  <a:pt x="1825700" y="408772"/>
                </a:cubicBezTo>
                <a:cubicBezTo>
                  <a:pt x="1826799" y="407806"/>
                  <a:pt x="1828245" y="407326"/>
                  <a:pt x="1829691" y="407442"/>
                </a:cubicBezTo>
                <a:cubicBezTo>
                  <a:pt x="1832699" y="407656"/>
                  <a:pt x="1835649" y="408234"/>
                  <a:pt x="1838541" y="409177"/>
                </a:cubicBezTo>
                <a:cubicBezTo>
                  <a:pt x="1843111" y="410450"/>
                  <a:pt x="1847854" y="411549"/>
                  <a:pt x="1849069" y="410045"/>
                </a:cubicBezTo>
                <a:cubicBezTo>
                  <a:pt x="1850284" y="408755"/>
                  <a:pt x="1850573" y="406863"/>
                  <a:pt x="1849879" y="405244"/>
                </a:cubicBezTo>
                <a:cubicBezTo>
                  <a:pt x="1848433" y="402814"/>
                  <a:pt x="1845598" y="401582"/>
                  <a:pt x="1842822" y="402178"/>
                </a:cubicBezTo>
                <a:cubicBezTo>
                  <a:pt x="1842012" y="402444"/>
                  <a:pt x="1841087" y="402444"/>
                  <a:pt x="1840277" y="402178"/>
                </a:cubicBezTo>
                <a:cubicBezTo>
                  <a:pt x="1839756" y="401866"/>
                  <a:pt x="1839409" y="401293"/>
                  <a:pt x="1839409" y="400674"/>
                </a:cubicBezTo>
                <a:cubicBezTo>
                  <a:pt x="1839409" y="397840"/>
                  <a:pt x="1847565" y="393154"/>
                  <a:pt x="1851556" y="393154"/>
                </a:cubicBezTo>
                <a:cubicBezTo>
                  <a:pt x="1852077" y="393056"/>
                  <a:pt x="1852656" y="393056"/>
                  <a:pt x="1853176" y="393154"/>
                </a:cubicBezTo>
                <a:cubicBezTo>
                  <a:pt x="1853523" y="393212"/>
                  <a:pt x="1853812" y="393212"/>
                  <a:pt x="1854160" y="393154"/>
                </a:cubicBezTo>
                <a:cubicBezTo>
                  <a:pt x="1856242" y="393091"/>
                  <a:pt x="1858093" y="391795"/>
                  <a:pt x="1858845" y="389857"/>
                </a:cubicBezTo>
                <a:cubicBezTo>
                  <a:pt x="1858845" y="389047"/>
                  <a:pt x="1857341" y="388758"/>
                  <a:pt x="1856705" y="388700"/>
                </a:cubicBezTo>
                <a:cubicBezTo>
                  <a:pt x="1853754" y="388353"/>
                  <a:pt x="1853523" y="386849"/>
                  <a:pt x="1853581" y="386155"/>
                </a:cubicBezTo>
                <a:cubicBezTo>
                  <a:pt x="1853581" y="383668"/>
                  <a:pt x="1858671" y="380891"/>
                  <a:pt x="1863009" y="380891"/>
                </a:cubicBezTo>
                <a:cubicBezTo>
                  <a:pt x="1865208" y="380741"/>
                  <a:pt x="1867290" y="381591"/>
                  <a:pt x="1868794" y="383205"/>
                </a:cubicBezTo>
                <a:cubicBezTo>
                  <a:pt x="1870761" y="385345"/>
                  <a:pt x="1873595" y="386508"/>
                  <a:pt x="1876488" y="386387"/>
                </a:cubicBezTo>
                <a:cubicBezTo>
                  <a:pt x="1881057" y="386491"/>
                  <a:pt x="1885395" y="384327"/>
                  <a:pt x="1888056" y="380602"/>
                </a:cubicBezTo>
                <a:cubicBezTo>
                  <a:pt x="1892568" y="373719"/>
                  <a:pt x="1898410" y="372677"/>
                  <a:pt x="1910037" y="370479"/>
                </a:cubicBezTo>
                <a:lnTo>
                  <a:pt x="1914549" y="369612"/>
                </a:lnTo>
                <a:cubicBezTo>
                  <a:pt x="1918598" y="369189"/>
                  <a:pt x="1922242" y="367090"/>
                  <a:pt x="1924672" y="363827"/>
                </a:cubicBezTo>
                <a:cubicBezTo>
                  <a:pt x="1927159" y="360877"/>
                  <a:pt x="1929762" y="358043"/>
                  <a:pt x="1940231" y="357522"/>
                </a:cubicBezTo>
                <a:lnTo>
                  <a:pt x="1943529" y="357522"/>
                </a:lnTo>
                <a:cubicBezTo>
                  <a:pt x="1957816" y="357233"/>
                  <a:pt x="1972451" y="356944"/>
                  <a:pt x="1973492" y="353589"/>
                </a:cubicBezTo>
                <a:cubicBezTo>
                  <a:pt x="1974533" y="350234"/>
                  <a:pt x="1982516" y="349771"/>
                  <a:pt x="2001142" y="348499"/>
                </a:cubicBezTo>
                <a:cubicBezTo>
                  <a:pt x="2006810" y="348238"/>
                  <a:pt x="2012480" y="347660"/>
                  <a:pt x="2018090" y="346763"/>
                </a:cubicBezTo>
                <a:cubicBezTo>
                  <a:pt x="2017049" y="346243"/>
                  <a:pt x="2014909" y="345548"/>
                  <a:pt x="2013232" y="344970"/>
                </a:cubicBezTo>
                <a:cubicBezTo>
                  <a:pt x="2008604" y="343408"/>
                  <a:pt x="2003340" y="341673"/>
                  <a:pt x="2002067" y="338549"/>
                </a:cubicBezTo>
                <a:cubicBezTo>
                  <a:pt x="2001547" y="337491"/>
                  <a:pt x="2001547" y="336253"/>
                  <a:pt x="2002067" y="335194"/>
                </a:cubicBezTo>
                <a:cubicBezTo>
                  <a:pt x="2003571" y="332811"/>
                  <a:pt x="2006348" y="331527"/>
                  <a:pt x="2009124" y="331897"/>
                </a:cubicBezTo>
                <a:cubicBezTo>
                  <a:pt x="2011380" y="331961"/>
                  <a:pt x="2013636" y="332158"/>
                  <a:pt x="2015834" y="332476"/>
                </a:cubicBezTo>
                <a:cubicBezTo>
                  <a:pt x="2018321" y="332875"/>
                  <a:pt x="2020809" y="333106"/>
                  <a:pt x="2023354" y="333170"/>
                </a:cubicBezTo>
                <a:cubicBezTo>
                  <a:pt x="2025321" y="333268"/>
                  <a:pt x="2027287" y="332956"/>
                  <a:pt x="2029139" y="332244"/>
                </a:cubicBezTo>
                <a:cubicBezTo>
                  <a:pt x="2034518" y="329942"/>
                  <a:pt x="2039724" y="327351"/>
                  <a:pt x="2044814" y="324493"/>
                </a:cubicBezTo>
                <a:lnTo>
                  <a:pt x="2046781" y="323394"/>
                </a:lnTo>
                <a:cubicBezTo>
                  <a:pt x="2049037" y="322179"/>
                  <a:pt x="2052565" y="323857"/>
                  <a:pt x="2056267" y="325824"/>
                </a:cubicBezTo>
                <a:cubicBezTo>
                  <a:pt x="2058234" y="327073"/>
                  <a:pt x="2060432" y="327941"/>
                  <a:pt x="2062746" y="328369"/>
                </a:cubicBezTo>
                <a:cubicBezTo>
                  <a:pt x="2063498" y="328369"/>
                  <a:pt x="2064076" y="328369"/>
                  <a:pt x="2064424" y="326923"/>
                </a:cubicBezTo>
                <a:cubicBezTo>
                  <a:pt x="2066101" y="320791"/>
                  <a:pt x="2077439" y="317378"/>
                  <a:pt x="2084611" y="317378"/>
                </a:cubicBezTo>
                <a:cubicBezTo>
                  <a:pt x="2087272" y="317159"/>
                  <a:pt x="2089990" y="317916"/>
                  <a:pt x="2092131" y="319519"/>
                </a:cubicBezTo>
                <a:cubicBezTo>
                  <a:pt x="2092825" y="320172"/>
                  <a:pt x="2093230" y="321103"/>
                  <a:pt x="2093172" y="322064"/>
                </a:cubicBezTo>
                <a:cubicBezTo>
                  <a:pt x="2093172" y="324667"/>
                  <a:pt x="2090222" y="327385"/>
                  <a:pt x="2087388" y="330046"/>
                </a:cubicBezTo>
                <a:cubicBezTo>
                  <a:pt x="2085942" y="331435"/>
                  <a:pt x="2083512" y="333633"/>
                  <a:pt x="2083570" y="334442"/>
                </a:cubicBezTo>
                <a:lnTo>
                  <a:pt x="2083570" y="334442"/>
                </a:lnTo>
                <a:lnTo>
                  <a:pt x="2084033" y="334442"/>
                </a:lnTo>
                <a:cubicBezTo>
                  <a:pt x="2087330" y="335044"/>
                  <a:pt x="2090742" y="334830"/>
                  <a:pt x="2093982" y="333806"/>
                </a:cubicBezTo>
                <a:cubicBezTo>
                  <a:pt x="2096527" y="332886"/>
                  <a:pt x="2099246" y="332707"/>
                  <a:pt x="2101907" y="333286"/>
                </a:cubicBezTo>
                <a:cubicBezTo>
                  <a:pt x="2104278" y="334182"/>
                  <a:pt x="2106765" y="334627"/>
                  <a:pt x="2109253" y="334616"/>
                </a:cubicBezTo>
                <a:cubicBezTo>
                  <a:pt x="2112839" y="335108"/>
                  <a:pt x="2116368" y="333395"/>
                  <a:pt x="2118161" y="330278"/>
                </a:cubicBezTo>
                <a:cubicBezTo>
                  <a:pt x="2120359" y="324956"/>
                  <a:pt x="2128225" y="322526"/>
                  <a:pt x="2134705" y="322526"/>
                </a:cubicBezTo>
                <a:cubicBezTo>
                  <a:pt x="2137770" y="322417"/>
                  <a:pt x="2140836" y="323093"/>
                  <a:pt x="2143554" y="324493"/>
                </a:cubicBezTo>
                <a:cubicBezTo>
                  <a:pt x="2148760" y="327351"/>
                  <a:pt x="2154429" y="329138"/>
                  <a:pt x="2160329" y="329757"/>
                </a:cubicBezTo>
                <a:cubicBezTo>
                  <a:pt x="2161602" y="329757"/>
                  <a:pt x="2162469" y="329757"/>
                  <a:pt x="2162585" y="329121"/>
                </a:cubicBezTo>
                <a:cubicBezTo>
                  <a:pt x="2162701" y="328484"/>
                  <a:pt x="2158709" y="326576"/>
                  <a:pt x="2156453" y="325592"/>
                </a:cubicBezTo>
                <a:cubicBezTo>
                  <a:pt x="2151074" y="323105"/>
                  <a:pt x="2144885" y="320328"/>
                  <a:pt x="2144885" y="315817"/>
                </a:cubicBezTo>
                <a:cubicBezTo>
                  <a:pt x="2144827" y="314833"/>
                  <a:pt x="2145174" y="313873"/>
                  <a:pt x="2145868" y="313156"/>
                </a:cubicBezTo>
                <a:cubicBezTo>
                  <a:pt x="2150264" y="308528"/>
                  <a:pt x="2169006" y="308181"/>
                  <a:pt x="2174386" y="308181"/>
                </a:cubicBezTo>
                <a:cubicBezTo>
                  <a:pt x="2178839" y="308106"/>
                  <a:pt x="2183293" y="308378"/>
                  <a:pt x="2187747" y="308991"/>
                </a:cubicBezTo>
                <a:cubicBezTo>
                  <a:pt x="2194573" y="310148"/>
                  <a:pt x="2199952" y="309627"/>
                  <a:pt x="2201456" y="307718"/>
                </a:cubicBezTo>
                <a:cubicBezTo>
                  <a:pt x="2201920" y="307065"/>
                  <a:pt x="2202035" y="306226"/>
                  <a:pt x="2201804" y="305462"/>
                </a:cubicBezTo>
                <a:cubicBezTo>
                  <a:pt x="2201572" y="303814"/>
                  <a:pt x="2201572" y="302136"/>
                  <a:pt x="2201804" y="300488"/>
                </a:cubicBezTo>
                <a:cubicBezTo>
                  <a:pt x="2201804" y="297191"/>
                  <a:pt x="2202208" y="295571"/>
                  <a:pt x="2197581" y="294703"/>
                </a:cubicBezTo>
                <a:cubicBezTo>
                  <a:pt x="2196019" y="294553"/>
                  <a:pt x="2194746" y="293321"/>
                  <a:pt x="2194573" y="291753"/>
                </a:cubicBezTo>
                <a:cubicBezTo>
                  <a:pt x="2193879" y="285622"/>
                  <a:pt x="2207935" y="272433"/>
                  <a:pt x="2215860" y="268616"/>
                </a:cubicBezTo>
                <a:cubicBezTo>
                  <a:pt x="2219330" y="266672"/>
                  <a:pt x="2222280" y="263913"/>
                  <a:pt x="2224478" y="260575"/>
                </a:cubicBezTo>
                <a:cubicBezTo>
                  <a:pt x="2229511" y="252917"/>
                  <a:pt x="2237435" y="247635"/>
                  <a:pt x="2246459" y="245941"/>
                </a:cubicBezTo>
                <a:cubicBezTo>
                  <a:pt x="2254616" y="244379"/>
                  <a:pt x="2260978" y="242644"/>
                  <a:pt x="2266127" y="241255"/>
                </a:cubicBezTo>
                <a:cubicBezTo>
                  <a:pt x="2271448" y="239416"/>
                  <a:pt x="2277059" y="238398"/>
                  <a:pt x="2282670" y="238247"/>
                </a:cubicBezTo>
                <a:cubicBezTo>
                  <a:pt x="2290884" y="239236"/>
                  <a:pt x="2298924" y="241180"/>
                  <a:pt x="2306676" y="244032"/>
                </a:cubicBezTo>
                <a:lnTo>
                  <a:pt x="2311592" y="245536"/>
                </a:lnTo>
                <a:cubicBezTo>
                  <a:pt x="2315005" y="246484"/>
                  <a:pt x="2318475" y="246988"/>
                  <a:pt x="2322004" y="247040"/>
                </a:cubicBezTo>
                <a:cubicBezTo>
                  <a:pt x="2327384" y="247445"/>
                  <a:pt x="2332416" y="247734"/>
                  <a:pt x="2335250" y="251609"/>
                </a:cubicBezTo>
                <a:cubicBezTo>
                  <a:pt x="2338085" y="255485"/>
                  <a:pt x="2339531" y="257741"/>
                  <a:pt x="2338548" y="260170"/>
                </a:cubicBezTo>
                <a:cubicBezTo>
                  <a:pt x="2337564" y="262600"/>
                  <a:pt x="2335540" y="263120"/>
                  <a:pt x="2331259" y="263872"/>
                </a:cubicBezTo>
                <a:cubicBezTo>
                  <a:pt x="2326921" y="264862"/>
                  <a:pt x="2322756" y="266498"/>
                  <a:pt x="2318939" y="268731"/>
                </a:cubicBezTo>
                <a:cubicBezTo>
                  <a:pt x="2314889" y="271143"/>
                  <a:pt x="2310435" y="272792"/>
                  <a:pt x="2305750" y="273590"/>
                </a:cubicBezTo>
                <a:cubicBezTo>
                  <a:pt x="2303436" y="273590"/>
                  <a:pt x="2301296" y="274169"/>
                  <a:pt x="2299503" y="274516"/>
                </a:cubicBezTo>
                <a:lnTo>
                  <a:pt x="2301354" y="274516"/>
                </a:lnTo>
                <a:cubicBezTo>
                  <a:pt x="2302395" y="274516"/>
                  <a:pt x="2327615" y="274516"/>
                  <a:pt x="2330854" y="280011"/>
                </a:cubicBezTo>
                <a:cubicBezTo>
                  <a:pt x="2331259" y="280474"/>
                  <a:pt x="2333630" y="281226"/>
                  <a:pt x="2345026" y="281226"/>
                </a:cubicBezTo>
                <a:lnTo>
                  <a:pt x="2353992" y="281226"/>
                </a:lnTo>
                <a:lnTo>
                  <a:pt x="2362553" y="281226"/>
                </a:lnTo>
                <a:cubicBezTo>
                  <a:pt x="2372849" y="281226"/>
                  <a:pt x="2375799" y="281862"/>
                  <a:pt x="2375799" y="283944"/>
                </a:cubicBezTo>
                <a:cubicBezTo>
                  <a:pt x="2375799" y="286027"/>
                  <a:pt x="2373023" y="288861"/>
                  <a:pt x="2366082" y="295860"/>
                </a:cubicBezTo>
                <a:cubicBezTo>
                  <a:pt x="2361974" y="299557"/>
                  <a:pt x="2358388" y="303756"/>
                  <a:pt x="2355322" y="308355"/>
                </a:cubicBezTo>
                <a:cubicBezTo>
                  <a:pt x="2361280" y="309361"/>
                  <a:pt x="2367296" y="309864"/>
                  <a:pt x="2373312" y="309859"/>
                </a:cubicBezTo>
                <a:cubicBezTo>
                  <a:pt x="2382451" y="309859"/>
                  <a:pt x="2387946" y="308470"/>
                  <a:pt x="2388062" y="306099"/>
                </a:cubicBezTo>
                <a:cubicBezTo>
                  <a:pt x="2388525" y="297885"/>
                  <a:pt x="2399631" y="292852"/>
                  <a:pt x="2407267" y="294993"/>
                </a:cubicBezTo>
                <a:cubicBezTo>
                  <a:pt x="2412993" y="296132"/>
                  <a:pt x="2418778" y="296641"/>
                  <a:pt x="2424620" y="296497"/>
                </a:cubicBezTo>
                <a:cubicBezTo>
                  <a:pt x="2429710" y="297034"/>
                  <a:pt x="2434916" y="296358"/>
                  <a:pt x="2439717" y="294530"/>
                </a:cubicBezTo>
                <a:cubicBezTo>
                  <a:pt x="2440527" y="293685"/>
                  <a:pt x="2441742" y="293257"/>
                  <a:pt x="2442898" y="293373"/>
                </a:cubicBezTo>
                <a:cubicBezTo>
                  <a:pt x="2445733" y="293622"/>
                  <a:pt x="2448452" y="294246"/>
                  <a:pt x="2451113" y="295224"/>
                </a:cubicBezTo>
                <a:cubicBezTo>
                  <a:pt x="2452790" y="295849"/>
                  <a:pt x="2454583" y="296294"/>
                  <a:pt x="2456377" y="296554"/>
                </a:cubicBezTo>
                <a:lnTo>
                  <a:pt x="2456377" y="296554"/>
                </a:lnTo>
                <a:cubicBezTo>
                  <a:pt x="2456377" y="294703"/>
                  <a:pt x="2459731" y="294703"/>
                  <a:pt x="2461062" y="294703"/>
                </a:cubicBezTo>
                <a:cubicBezTo>
                  <a:pt x="2468870" y="294703"/>
                  <a:pt x="2489232" y="298810"/>
                  <a:pt x="2497735" y="305289"/>
                </a:cubicBezTo>
                <a:cubicBezTo>
                  <a:pt x="2499470" y="306689"/>
                  <a:pt x="2501611" y="307464"/>
                  <a:pt x="2503867" y="307487"/>
                </a:cubicBezTo>
                <a:cubicBezTo>
                  <a:pt x="2506759" y="307238"/>
                  <a:pt x="2509593" y="306411"/>
                  <a:pt x="2512139" y="305057"/>
                </a:cubicBezTo>
                <a:cubicBezTo>
                  <a:pt x="2513931" y="304057"/>
                  <a:pt x="2515898" y="303409"/>
                  <a:pt x="2517923" y="303149"/>
                </a:cubicBezTo>
                <a:cubicBezTo>
                  <a:pt x="2519195" y="303137"/>
                  <a:pt x="2520468" y="303635"/>
                  <a:pt x="2521394" y="304537"/>
                </a:cubicBezTo>
                <a:cubicBezTo>
                  <a:pt x="2527756" y="310958"/>
                  <a:pt x="2527525" y="323857"/>
                  <a:pt x="2527178" y="327675"/>
                </a:cubicBezTo>
                <a:cubicBezTo>
                  <a:pt x="2527178" y="328658"/>
                  <a:pt x="2527178" y="329005"/>
                  <a:pt x="2527178" y="329063"/>
                </a:cubicBezTo>
                <a:cubicBezTo>
                  <a:pt x="2527409" y="329132"/>
                  <a:pt x="2527640" y="329132"/>
                  <a:pt x="2527872" y="329063"/>
                </a:cubicBezTo>
                <a:cubicBezTo>
                  <a:pt x="2529087" y="328930"/>
                  <a:pt x="2530359" y="328658"/>
                  <a:pt x="2531516" y="328253"/>
                </a:cubicBezTo>
                <a:cubicBezTo>
                  <a:pt x="2533599" y="327570"/>
                  <a:pt x="2535797" y="327166"/>
                  <a:pt x="2537995" y="327038"/>
                </a:cubicBezTo>
                <a:cubicBezTo>
                  <a:pt x="2540482" y="326940"/>
                  <a:pt x="2542911" y="328033"/>
                  <a:pt x="2544473" y="329988"/>
                </a:cubicBezTo>
                <a:cubicBezTo>
                  <a:pt x="2547134" y="333453"/>
                  <a:pt x="2547423" y="338168"/>
                  <a:pt x="2545283" y="341962"/>
                </a:cubicBezTo>
                <a:cubicBezTo>
                  <a:pt x="2545110" y="342355"/>
                  <a:pt x="2544936" y="342760"/>
                  <a:pt x="2544820" y="343177"/>
                </a:cubicBezTo>
                <a:lnTo>
                  <a:pt x="2545688" y="343177"/>
                </a:lnTo>
                <a:cubicBezTo>
                  <a:pt x="2546382" y="343090"/>
                  <a:pt x="2547018" y="343090"/>
                  <a:pt x="2547712" y="343177"/>
                </a:cubicBezTo>
                <a:cubicBezTo>
                  <a:pt x="2552398" y="343483"/>
                  <a:pt x="2556331" y="346815"/>
                  <a:pt x="2557430" y="351391"/>
                </a:cubicBezTo>
                <a:cubicBezTo>
                  <a:pt x="2558009" y="354376"/>
                  <a:pt x="2556216" y="357308"/>
                  <a:pt x="2553266" y="358101"/>
                </a:cubicBezTo>
                <a:cubicBezTo>
                  <a:pt x="2550200" y="359200"/>
                  <a:pt x="2546960" y="359807"/>
                  <a:pt x="2543663" y="359894"/>
                </a:cubicBezTo>
                <a:cubicBezTo>
                  <a:pt x="2542159" y="359894"/>
                  <a:pt x="2540482" y="359894"/>
                  <a:pt x="2540193" y="360530"/>
                </a:cubicBezTo>
                <a:cubicBezTo>
                  <a:pt x="2540077" y="360883"/>
                  <a:pt x="2540077" y="361276"/>
                  <a:pt x="2540193" y="361629"/>
                </a:cubicBezTo>
                <a:cubicBezTo>
                  <a:pt x="2540597" y="363307"/>
                  <a:pt x="2543201" y="364232"/>
                  <a:pt x="2545688" y="365158"/>
                </a:cubicBezTo>
                <a:cubicBezTo>
                  <a:pt x="2548175" y="366083"/>
                  <a:pt x="2552630" y="367645"/>
                  <a:pt x="2552340" y="371289"/>
                </a:cubicBezTo>
                <a:cubicBezTo>
                  <a:pt x="2551241" y="378965"/>
                  <a:pt x="2546266" y="385536"/>
                  <a:pt x="2539151" y="388643"/>
                </a:cubicBezTo>
                <a:cubicBezTo>
                  <a:pt x="2528392" y="393501"/>
                  <a:pt x="2509651" y="401657"/>
                  <a:pt x="2505544" y="401657"/>
                </a:cubicBezTo>
                <a:cubicBezTo>
                  <a:pt x="2504561" y="401657"/>
                  <a:pt x="2503230" y="404492"/>
                  <a:pt x="2502189" y="406748"/>
                </a:cubicBezTo>
                <a:cubicBezTo>
                  <a:pt x="2500164" y="410970"/>
                  <a:pt x="2497677" y="416234"/>
                  <a:pt x="2492934" y="416234"/>
                </a:cubicBezTo>
                <a:lnTo>
                  <a:pt x="2492298" y="416234"/>
                </a:lnTo>
                <a:cubicBezTo>
                  <a:pt x="2484547" y="416234"/>
                  <a:pt x="2449782" y="427803"/>
                  <a:pt x="2446832" y="434513"/>
                </a:cubicBezTo>
                <a:cubicBezTo>
                  <a:pt x="2443882" y="441223"/>
                  <a:pt x="2429479" y="447470"/>
                  <a:pt x="2420976" y="451172"/>
                </a:cubicBezTo>
                <a:lnTo>
                  <a:pt x="2418026" y="452445"/>
                </a:lnTo>
                <a:cubicBezTo>
                  <a:pt x="2415712" y="453596"/>
                  <a:pt x="2413687" y="455331"/>
                  <a:pt x="2412241" y="457477"/>
                </a:cubicBezTo>
                <a:cubicBezTo>
                  <a:pt x="2408423" y="462949"/>
                  <a:pt x="2402407" y="466460"/>
                  <a:pt x="2395755" y="467079"/>
                </a:cubicBezTo>
                <a:cubicBezTo>
                  <a:pt x="2392458" y="467600"/>
                  <a:pt x="2389392" y="467947"/>
                  <a:pt x="2386674" y="468294"/>
                </a:cubicBezTo>
                <a:cubicBezTo>
                  <a:pt x="2376725" y="469567"/>
                  <a:pt x="2370767" y="470319"/>
                  <a:pt x="2366602" y="475930"/>
                </a:cubicBezTo>
                <a:cubicBezTo>
                  <a:pt x="2363652" y="479389"/>
                  <a:pt x="2359545" y="481604"/>
                  <a:pt x="2355033" y="482119"/>
                </a:cubicBezTo>
                <a:cubicBezTo>
                  <a:pt x="2349653" y="483085"/>
                  <a:pt x="2344737" y="485624"/>
                  <a:pt x="2340803" y="489407"/>
                </a:cubicBezTo>
                <a:cubicBezTo>
                  <a:pt x="2335019" y="494931"/>
                  <a:pt x="2330738" y="501809"/>
                  <a:pt x="2328309" y="509421"/>
                </a:cubicBezTo>
                <a:cubicBezTo>
                  <a:pt x="2329871" y="508820"/>
                  <a:pt x="2331259" y="507894"/>
                  <a:pt x="2332416" y="506703"/>
                </a:cubicBezTo>
                <a:cubicBezTo>
                  <a:pt x="2343985" y="496811"/>
                  <a:pt x="2349769" y="496117"/>
                  <a:pt x="2371692" y="493456"/>
                </a:cubicBezTo>
                <a:lnTo>
                  <a:pt x="2377824" y="492704"/>
                </a:lnTo>
                <a:cubicBezTo>
                  <a:pt x="2391244" y="491027"/>
                  <a:pt x="2418315" y="483044"/>
                  <a:pt x="2418315" y="479285"/>
                </a:cubicBezTo>
                <a:cubicBezTo>
                  <a:pt x="2418315" y="475525"/>
                  <a:pt x="2424793" y="474946"/>
                  <a:pt x="2435263" y="473847"/>
                </a:cubicBezTo>
                <a:cubicBezTo>
                  <a:pt x="2441858" y="473153"/>
                  <a:pt x="2450071" y="472285"/>
                  <a:pt x="2451633" y="470319"/>
                </a:cubicBezTo>
                <a:cubicBezTo>
                  <a:pt x="2451749" y="470139"/>
                  <a:pt x="2451749" y="469920"/>
                  <a:pt x="2451633" y="469740"/>
                </a:cubicBezTo>
                <a:cubicBezTo>
                  <a:pt x="2451633" y="469220"/>
                  <a:pt x="2448625" y="469162"/>
                  <a:pt x="2447006" y="469162"/>
                </a:cubicBezTo>
                <a:cubicBezTo>
                  <a:pt x="2442898" y="469613"/>
                  <a:pt x="2438734" y="468479"/>
                  <a:pt x="2435437" y="465980"/>
                </a:cubicBezTo>
                <a:cubicBezTo>
                  <a:pt x="2434222" y="464511"/>
                  <a:pt x="2434106" y="462446"/>
                  <a:pt x="2435090" y="460832"/>
                </a:cubicBezTo>
                <a:cubicBezTo>
                  <a:pt x="2440990" y="451699"/>
                  <a:pt x="2450997" y="446024"/>
                  <a:pt x="2461872" y="445619"/>
                </a:cubicBezTo>
                <a:cubicBezTo>
                  <a:pt x="2463665" y="445613"/>
                  <a:pt x="2465458" y="445845"/>
                  <a:pt x="2467193" y="446313"/>
                </a:cubicBezTo>
                <a:cubicBezTo>
                  <a:pt x="2478993" y="449165"/>
                  <a:pt x="2489984" y="454776"/>
                  <a:pt x="2499181" y="462683"/>
                </a:cubicBezTo>
                <a:cubicBezTo>
                  <a:pt x="2502536" y="464685"/>
                  <a:pt x="2506469" y="465575"/>
                  <a:pt x="2510403" y="465228"/>
                </a:cubicBezTo>
                <a:cubicBezTo>
                  <a:pt x="2515667" y="465708"/>
                  <a:pt x="2520930" y="464338"/>
                  <a:pt x="2525327" y="461353"/>
                </a:cubicBezTo>
                <a:cubicBezTo>
                  <a:pt x="2525558" y="460884"/>
                  <a:pt x="2525558" y="460317"/>
                  <a:pt x="2525327" y="459849"/>
                </a:cubicBezTo>
                <a:cubicBezTo>
                  <a:pt x="2524864" y="458513"/>
                  <a:pt x="2525038" y="457026"/>
                  <a:pt x="2525848" y="455858"/>
                </a:cubicBezTo>
                <a:cubicBezTo>
                  <a:pt x="2527004" y="454550"/>
                  <a:pt x="2528740" y="453850"/>
                  <a:pt x="2530475" y="453949"/>
                </a:cubicBezTo>
                <a:cubicBezTo>
                  <a:pt x="2535623" y="453960"/>
                  <a:pt x="2540077" y="457535"/>
                  <a:pt x="2541234" y="462568"/>
                </a:cubicBezTo>
                <a:cubicBezTo>
                  <a:pt x="2541697" y="466408"/>
                  <a:pt x="2541697" y="470296"/>
                  <a:pt x="2541234" y="474136"/>
                </a:cubicBezTo>
                <a:cubicBezTo>
                  <a:pt x="2540713" y="479632"/>
                  <a:pt x="2540193" y="485416"/>
                  <a:pt x="2542044" y="487498"/>
                </a:cubicBezTo>
                <a:cubicBezTo>
                  <a:pt x="2542738" y="488175"/>
                  <a:pt x="2543721" y="488459"/>
                  <a:pt x="2544647" y="488250"/>
                </a:cubicBezTo>
                <a:cubicBezTo>
                  <a:pt x="2545977" y="488250"/>
                  <a:pt x="2546787" y="487845"/>
                  <a:pt x="2547134" y="487325"/>
                </a:cubicBezTo>
                <a:cubicBezTo>
                  <a:pt x="2547481" y="486804"/>
                  <a:pt x="2547134" y="484375"/>
                  <a:pt x="2546440" y="482466"/>
                </a:cubicBezTo>
                <a:cubicBezTo>
                  <a:pt x="2545514" y="479574"/>
                  <a:pt x="2544184" y="475525"/>
                  <a:pt x="2547886" y="473789"/>
                </a:cubicBezTo>
                <a:cubicBezTo>
                  <a:pt x="2552860" y="471476"/>
                  <a:pt x="2579006" y="468699"/>
                  <a:pt x="2607697" y="465749"/>
                </a:cubicBezTo>
                <a:lnTo>
                  <a:pt x="2616894" y="464823"/>
                </a:lnTo>
                <a:cubicBezTo>
                  <a:pt x="2618514" y="464737"/>
                  <a:pt x="2620191" y="464737"/>
                  <a:pt x="2621811" y="464823"/>
                </a:cubicBezTo>
                <a:cubicBezTo>
                  <a:pt x="2629215" y="465095"/>
                  <a:pt x="2636504" y="466460"/>
                  <a:pt x="2643503" y="468873"/>
                </a:cubicBezTo>
                <a:cubicBezTo>
                  <a:pt x="2651196" y="471637"/>
                  <a:pt x="2659294" y="472951"/>
                  <a:pt x="2667450" y="472748"/>
                </a:cubicBezTo>
                <a:cubicBezTo>
                  <a:pt x="2669995" y="472748"/>
                  <a:pt x="2672483" y="472748"/>
                  <a:pt x="2674854" y="472748"/>
                </a:cubicBezTo>
                <a:cubicBezTo>
                  <a:pt x="2683473" y="472748"/>
                  <a:pt x="2693827" y="473963"/>
                  <a:pt x="2694521" y="477260"/>
                </a:cubicBezTo>
                <a:cubicBezTo>
                  <a:pt x="2694521" y="477896"/>
                  <a:pt x="2694521" y="479111"/>
                  <a:pt x="2692612" y="480036"/>
                </a:cubicBezTo>
                <a:lnTo>
                  <a:pt x="2689894" y="481135"/>
                </a:lnTo>
                <a:cubicBezTo>
                  <a:pt x="2683820" y="483507"/>
                  <a:pt x="2680002" y="485474"/>
                  <a:pt x="2681911" y="491547"/>
                </a:cubicBezTo>
                <a:cubicBezTo>
                  <a:pt x="2683415" y="496117"/>
                  <a:pt x="2696603" y="499357"/>
                  <a:pt x="2707536" y="499357"/>
                </a:cubicBezTo>
                <a:cubicBezTo>
                  <a:pt x="2714998" y="499357"/>
                  <a:pt x="2717948" y="497910"/>
                  <a:pt x="2718064" y="496985"/>
                </a:cubicBezTo>
                <a:cubicBezTo>
                  <a:pt x="2718180" y="494220"/>
                  <a:pt x="2720378" y="492010"/>
                  <a:pt x="2723154" y="491952"/>
                </a:cubicBezTo>
                <a:cubicBezTo>
                  <a:pt x="2727030" y="492542"/>
                  <a:pt x="2730327" y="495041"/>
                  <a:pt x="2731947" y="498604"/>
                </a:cubicBezTo>
                <a:cubicBezTo>
                  <a:pt x="2733682" y="501786"/>
                  <a:pt x="2736806" y="501959"/>
                  <a:pt x="2743516" y="502075"/>
                </a:cubicBezTo>
                <a:cubicBezTo>
                  <a:pt x="2751671" y="501988"/>
                  <a:pt x="2759770" y="502943"/>
                  <a:pt x="2767694" y="504910"/>
                </a:cubicBezTo>
                <a:cubicBezTo>
                  <a:pt x="2771107" y="505818"/>
                  <a:pt x="2774578" y="506304"/>
                  <a:pt x="2778106" y="506356"/>
                </a:cubicBezTo>
                <a:cubicBezTo>
                  <a:pt x="2782155" y="506332"/>
                  <a:pt x="2786147" y="505233"/>
                  <a:pt x="2789675" y="503174"/>
                </a:cubicBezTo>
                <a:cubicBezTo>
                  <a:pt x="2791816" y="501884"/>
                  <a:pt x="2794187" y="501132"/>
                  <a:pt x="2796674" y="500976"/>
                </a:cubicBezTo>
                <a:cubicBezTo>
                  <a:pt x="2798062" y="500988"/>
                  <a:pt x="2799393" y="501242"/>
                  <a:pt x="2800665" y="501728"/>
                </a:cubicBezTo>
                <a:lnTo>
                  <a:pt x="2805525" y="503521"/>
                </a:lnTo>
                <a:cubicBezTo>
                  <a:pt x="2807839" y="504568"/>
                  <a:pt x="2810268" y="505291"/>
                  <a:pt x="2812755" y="505662"/>
                </a:cubicBezTo>
                <a:cubicBezTo>
                  <a:pt x="2813623" y="505662"/>
                  <a:pt x="2814953" y="505662"/>
                  <a:pt x="2815358" y="501439"/>
                </a:cubicBezTo>
                <a:cubicBezTo>
                  <a:pt x="2815647" y="499119"/>
                  <a:pt x="2816110" y="496829"/>
                  <a:pt x="2816862" y="494613"/>
                </a:cubicBezTo>
                <a:cubicBezTo>
                  <a:pt x="2818655" y="490304"/>
                  <a:pt x="2818250" y="485399"/>
                  <a:pt x="2815821" y="481425"/>
                </a:cubicBezTo>
                <a:cubicBezTo>
                  <a:pt x="2812986" y="475704"/>
                  <a:pt x="2815300" y="468757"/>
                  <a:pt x="2821026" y="465923"/>
                </a:cubicBezTo>
                <a:cubicBezTo>
                  <a:pt x="2824208" y="464355"/>
                  <a:pt x="2827910" y="464314"/>
                  <a:pt x="2831091" y="465807"/>
                </a:cubicBezTo>
                <a:cubicBezTo>
                  <a:pt x="2831670" y="466079"/>
                  <a:pt x="2832364" y="466235"/>
                  <a:pt x="2833001" y="466270"/>
                </a:cubicBezTo>
                <a:cubicBezTo>
                  <a:pt x="2835141" y="466270"/>
                  <a:pt x="2836240" y="463493"/>
                  <a:pt x="2837513" y="459617"/>
                </a:cubicBezTo>
                <a:cubicBezTo>
                  <a:pt x="2838785" y="455742"/>
                  <a:pt x="2840115" y="451866"/>
                  <a:pt x="2843702" y="452387"/>
                </a:cubicBezTo>
                <a:cubicBezTo>
                  <a:pt x="2847288" y="452908"/>
                  <a:pt x="2848098" y="454990"/>
                  <a:pt x="2850180" y="457824"/>
                </a:cubicBezTo>
                <a:cubicBezTo>
                  <a:pt x="2854287" y="464204"/>
                  <a:pt x="2860708" y="468774"/>
                  <a:pt x="2868054" y="470608"/>
                </a:cubicBezTo>
                <a:cubicBezTo>
                  <a:pt x="2874302" y="472222"/>
                  <a:pt x="2880722" y="473402"/>
                  <a:pt x="2887143" y="474136"/>
                </a:cubicBezTo>
                <a:cubicBezTo>
                  <a:pt x="2894200" y="475120"/>
                  <a:pt x="2898712" y="475698"/>
                  <a:pt x="2899810" y="477896"/>
                </a:cubicBezTo>
                <a:cubicBezTo>
                  <a:pt x="2900216" y="478735"/>
                  <a:pt x="2900216" y="479718"/>
                  <a:pt x="2899810" y="480557"/>
                </a:cubicBezTo>
                <a:cubicBezTo>
                  <a:pt x="2899579" y="481026"/>
                  <a:pt x="2899579" y="481593"/>
                  <a:pt x="2899810" y="482061"/>
                </a:cubicBezTo>
                <a:cubicBezTo>
                  <a:pt x="2901083" y="483316"/>
                  <a:pt x="2902760" y="483987"/>
                  <a:pt x="2904554" y="483912"/>
                </a:cubicBezTo>
                <a:cubicBezTo>
                  <a:pt x="2905595" y="484022"/>
                  <a:pt x="2906694" y="483663"/>
                  <a:pt x="2907446" y="482929"/>
                </a:cubicBezTo>
                <a:cubicBezTo>
                  <a:pt x="2907677" y="482397"/>
                  <a:pt x="2907677" y="481783"/>
                  <a:pt x="2907446" y="481251"/>
                </a:cubicBezTo>
                <a:cubicBezTo>
                  <a:pt x="2907272" y="480424"/>
                  <a:pt x="2907446" y="479556"/>
                  <a:pt x="2907967" y="478880"/>
                </a:cubicBezTo>
                <a:cubicBezTo>
                  <a:pt x="2910281" y="475987"/>
                  <a:pt x="2919535" y="475525"/>
                  <a:pt x="2924394" y="475525"/>
                </a:cubicBezTo>
                <a:cubicBezTo>
                  <a:pt x="2925262" y="475525"/>
                  <a:pt x="2945565" y="475525"/>
                  <a:pt x="2946028" y="480441"/>
                </a:cubicBezTo>
                <a:cubicBezTo>
                  <a:pt x="2946375" y="484086"/>
                  <a:pt x="2955052" y="491200"/>
                  <a:pt x="2963381" y="492357"/>
                </a:cubicBezTo>
                <a:cubicBezTo>
                  <a:pt x="2969571" y="493225"/>
                  <a:pt x="2972984" y="496638"/>
                  <a:pt x="2973099" y="499530"/>
                </a:cubicBezTo>
                <a:cubicBezTo>
                  <a:pt x="2973215" y="502422"/>
                  <a:pt x="2971595" y="503579"/>
                  <a:pt x="2968761" y="504273"/>
                </a:cubicBezTo>
                <a:cubicBezTo>
                  <a:pt x="2968529" y="504296"/>
                  <a:pt x="2968298" y="504424"/>
                  <a:pt x="2968183" y="504620"/>
                </a:cubicBezTo>
                <a:cubicBezTo>
                  <a:pt x="2967719" y="505893"/>
                  <a:pt x="2970381" y="509942"/>
                  <a:pt x="2972174" y="512603"/>
                </a:cubicBezTo>
                <a:cubicBezTo>
                  <a:pt x="2975124" y="516999"/>
                  <a:pt x="2976859" y="519776"/>
                  <a:pt x="2976107" y="521742"/>
                </a:cubicBezTo>
                <a:cubicBezTo>
                  <a:pt x="2975876" y="522488"/>
                  <a:pt x="2975240" y="523049"/>
                  <a:pt x="2974488" y="523246"/>
                </a:cubicBezTo>
                <a:cubicBezTo>
                  <a:pt x="2971943" y="524039"/>
                  <a:pt x="2970149" y="526347"/>
                  <a:pt x="2969975" y="529031"/>
                </a:cubicBezTo>
                <a:cubicBezTo>
                  <a:pt x="2969975" y="531344"/>
                  <a:pt x="2973504" y="531807"/>
                  <a:pt x="2975413" y="531865"/>
                </a:cubicBezTo>
                <a:cubicBezTo>
                  <a:pt x="2980272" y="532021"/>
                  <a:pt x="2984379" y="535608"/>
                  <a:pt x="2985189" y="540426"/>
                </a:cubicBezTo>
                <a:cubicBezTo>
                  <a:pt x="2986577" y="544944"/>
                  <a:pt x="2984958" y="549837"/>
                  <a:pt x="2981140" y="552631"/>
                </a:cubicBezTo>
                <a:cubicBezTo>
                  <a:pt x="2978305" y="554118"/>
                  <a:pt x="2975182" y="554910"/>
                  <a:pt x="2972001" y="554945"/>
                </a:cubicBezTo>
                <a:cubicBezTo>
                  <a:pt x="2967604" y="554945"/>
                  <a:pt x="2963381" y="553343"/>
                  <a:pt x="2960084" y="550433"/>
                </a:cubicBezTo>
                <a:cubicBezTo>
                  <a:pt x="2957770" y="548478"/>
                  <a:pt x="2954878" y="547379"/>
                  <a:pt x="2951870" y="547309"/>
                </a:cubicBezTo>
                <a:cubicBezTo>
                  <a:pt x="2951176" y="547263"/>
                  <a:pt x="2950482" y="547385"/>
                  <a:pt x="2949846" y="547656"/>
                </a:cubicBezTo>
                <a:cubicBezTo>
                  <a:pt x="2950077" y="547876"/>
                  <a:pt x="2950309" y="548073"/>
                  <a:pt x="2950598" y="548235"/>
                </a:cubicBezTo>
                <a:cubicBezTo>
                  <a:pt x="2955110" y="551243"/>
                  <a:pt x="2974372" y="567786"/>
                  <a:pt x="2976049" y="576810"/>
                </a:cubicBezTo>
                <a:cubicBezTo>
                  <a:pt x="2977611" y="584850"/>
                  <a:pt x="3006360" y="612673"/>
                  <a:pt x="3015326" y="612673"/>
                </a:cubicBezTo>
                <a:lnTo>
                  <a:pt x="3015673" y="612673"/>
                </a:lnTo>
                <a:cubicBezTo>
                  <a:pt x="3019375" y="612436"/>
                  <a:pt x="3022961" y="613859"/>
                  <a:pt x="3025507" y="616549"/>
                </a:cubicBezTo>
                <a:cubicBezTo>
                  <a:pt x="3027704" y="618516"/>
                  <a:pt x="3029266" y="619673"/>
                  <a:pt x="3032158" y="618053"/>
                </a:cubicBezTo>
                <a:cubicBezTo>
                  <a:pt x="3035571" y="615357"/>
                  <a:pt x="3038232" y="611858"/>
                  <a:pt x="3039910" y="607872"/>
                </a:cubicBezTo>
                <a:cubicBezTo>
                  <a:pt x="3042744" y="602609"/>
                  <a:pt x="3045694" y="597634"/>
                  <a:pt x="3049917" y="596940"/>
                </a:cubicBezTo>
                <a:cubicBezTo>
                  <a:pt x="3053271" y="596361"/>
                  <a:pt x="3055180" y="590577"/>
                  <a:pt x="3057147" y="584503"/>
                </a:cubicBezTo>
                <a:cubicBezTo>
                  <a:pt x="3058593" y="579002"/>
                  <a:pt x="3060964" y="573785"/>
                  <a:pt x="3064146" y="569059"/>
                </a:cubicBezTo>
                <a:cubicBezTo>
                  <a:pt x="3067732" y="564489"/>
                  <a:pt x="3069931" y="562638"/>
                  <a:pt x="3072476" y="562638"/>
                </a:cubicBezTo>
                <a:cubicBezTo>
                  <a:pt x="3075021" y="562638"/>
                  <a:pt x="3078261" y="565877"/>
                  <a:pt x="3081268" y="570331"/>
                </a:cubicBezTo>
                <a:cubicBezTo>
                  <a:pt x="3087052" y="577909"/>
                  <a:pt x="3106489" y="586759"/>
                  <a:pt x="3121759" y="585602"/>
                </a:cubicBezTo>
                <a:cubicBezTo>
                  <a:pt x="3127891" y="584989"/>
                  <a:pt x="3133849" y="583017"/>
                  <a:pt x="3139112" y="579818"/>
                </a:cubicBezTo>
                <a:cubicBezTo>
                  <a:pt x="3143393" y="577134"/>
                  <a:pt x="3148310" y="575503"/>
                  <a:pt x="3153342" y="575075"/>
                </a:cubicBezTo>
                <a:lnTo>
                  <a:pt x="3154094" y="575075"/>
                </a:lnTo>
                <a:cubicBezTo>
                  <a:pt x="3160689" y="575601"/>
                  <a:pt x="3167225" y="576879"/>
                  <a:pt x="3173530" y="578892"/>
                </a:cubicBezTo>
                <a:cubicBezTo>
                  <a:pt x="3179661" y="580865"/>
                  <a:pt x="3185967" y="582126"/>
                  <a:pt x="3192387" y="582652"/>
                </a:cubicBezTo>
                <a:cubicBezTo>
                  <a:pt x="3193312" y="582652"/>
                  <a:pt x="3194296" y="582560"/>
                  <a:pt x="3195222" y="582363"/>
                </a:cubicBezTo>
                <a:lnTo>
                  <a:pt x="3196956" y="582363"/>
                </a:lnTo>
                <a:cubicBezTo>
                  <a:pt x="3200774" y="582363"/>
                  <a:pt x="3202741" y="585313"/>
                  <a:pt x="3204129" y="588147"/>
                </a:cubicBezTo>
                <a:cubicBezTo>
                  <a:pt x="3206096" y="593423"/>
                  <a:pt x="3211591" y="596500"/>
                  <a:pt x="3217144" y="595436"/>
                </a:cubicBezTo>
                <a:cubicBezTo>
                  <a:pt x="3224664" y="594684"/>
                  <a:pt x="3226688" y="592717"/>
                  <a:pt x="3226746" y="591618"/>
                </a:cubicBezTo>
                <a:cubicBezTo>
                  <a:pt x="3226804" y="590519"/>
                  <a:pt x="3223680" y="587685"/>
                  <a:pt x="3217087" y="586817"/>
                </a:cubicBezTo>
                <a:cubicBezTo>
                  <a:pt x="3215351" y="586817"/>
                  <a:pt x="3209971" y="585834"/>
                  <a:pt x="3210145" y="582942"/>
                </a:cubicBezTo>
                <a:cubicBezTo>
                  <a:pt x="3210319" y="580049"/>
                  <a:pt x="3216682" y="578430"/>
                  <a:pt x="3222524" y="578430"/>
                </a:cubicBezTo>
                <a:lnTo>
                  <a:pt x="3224954" y="578430"/>
                </a:lnTo>
                <a:cubicBezTo>
                  <a:pt x="3228656" y="578586"/>
                  <a:pt x="3232415" y="578256"/>
                  <a:pt x="3236059" y="577446"/>
                </a:cubicBezTo>
                <a:cubicBezTo>
                  <a:pt x="3238315" y="576949"/>
                  <a:pt x="3240687" y="576660"/>
                  <a:pt x="3243001" y="576579"/>
                </a:cubicBezTo>
                <a:cubicBezTo>
                  <a:pt x="3246356" y="576417"/>
                  <a:pt x="3249537" y="577857"/>
                  <a:pt x="3251620" y="580454"/>
                </a:cubicBezTo>
                <a:cubicBezTo>
                  <a:pt x="3254628" y="583369"/>
                  <a:pt x="3258677" y="584885"/>
                  <a:pt x="3262841" y="584619"/>
                </a:cubicBezTo>
                <a:cubicBezTo>
                  <a:pt x="3265907" y="584845"/>
                  <a:pt x="3268915" y="584006"/>
                  <a:pt x="3271402" y="582247"/>
                </a:cubicBezTo>
                <a:cubicBezTo>
                  <a:pt x="3271691" y="581993"/>
                  <a:pt x="3271865" y="581640"/>
                  <a:pt x="3271865" y="581264"/>
                </a:cubicBezTo>
                <a:cubicBezTo>
                  <a:pt x="3271807" y="580379"/>
                  <a:pt x="3271807" y="579488"/>
                  <a:pt x="3271865" y="578603"/>
                </a:cubicBezTo>
                <a:cubicBezTo>
                  <a:pt x="3272848" y="572466"/>
                  <a:pt x="3269725" y="566404"/>
                  <a:pt x="3264114" y="563679"/>
                </a:cubicBezTo>
                <a:cubicBezTo>
                  <a:pt x="3262205" y="562754"/>
                  <a:pt x="3261222" y="561713"/>
                  <a:pt x="3261048" y="560324"/>
                </a:cubicBezTo>
                <a:cubicBezTo>
                  <a:pt x="3261048" y="557721"/>
                  <a:pt x="3264056" y="555581"/>
                  <a:pt x="3267411" y="553210"/>
                </a:cubicBezTo>
                <a:cubicBezTo>
                  <a:pt x="3268973" y="552168"/>
                  <a:pt x="3271807" y="550202"/>
                  <a:pt x="3271865" y="549450"/>
                </a:cubicBezTo>
                <a:lnTo>
                  <a:pt x="3271865" y="549450"/>
                </a:lnTo>
                <a:cubicBezTo>
                  <a:pt x="3271749" y="549288"/>
                  <a:pt x="3271518" y="549172"/>
                  <a:pt x="3271345" y="549103"/>
                </a:cubicBezTo>
                <a:cubicBezTo>
                  <a:pt x="3269378" y="548119"/>
                  <a:pt x="3266717" y="549103"/>
                  <a:pt x="3263941" y="550433"/>
                </a:cubicBezTo>
                <a:cubicBezTo>
                  <a:pt x="3261685" y="551648"/>
                  <a:pt x="3259255" y="552377"/>
                  <a:pt x="3256710" y="552573"/>
                </a:cubicBezTo>
                <a:cubicBezTo>
                  <a:pt x="3253644" y="552469"/>
                  <a:pt x="3250868" y="550896"/>
                  <a:pt x="3249190" y="548351"/>
                </a:cubicBezTo>
                <a:cubicBezTo>
                  <a:pt x="3247050" y="546043"/>
                  <a:pt x="3246587" y="542659"/>
                  <a:pt x="3247975" y="539848"/>
                </a:cubicBezTo>
                <a:cubicBezTo>
                  <a:pt x="3251099" y="533311"/>
                  <a:pt x="3262494" y="529320"/>
                  <a:pt x="3271113" y="529320"/>
                </a:cubicBezTo>
                <a:cubicBezTo>
                  <a:pt x="3272443" y="529227"/>
                  <a:pt x="3273774" y="529227"/>
                  <a:pt x="3275104" y="529320"/>
                </a:cubicBezTo>
                <a:cubicBezTo>
                  <a:pt x="3277418" y="529673"/>
                  <a:pt x="3279790" y="529846"/>
                  <a:pt x="3282162" y="529840"/>
                </a:cubicBezTo>
                <a:cubicBezTo>
                  <a:pt x="3290433" y="529840"/>
                  <a:pt x="3297606" y="527816"/>
                  <a:pt x="3298878" y="525155"/>
                </a:cubicBezTo>
                <a:cubicBezTo>
                  <a:pt x="3298878" y="524692"/>
                  <a:pt x="3299283" y="523940"/>
                  <a:pt x="3298300" y="522726"/>
                </a:cubicBezTo>
                <a:cubicBezTo>
                  <a:pt x="3295061" y="518619"/>
                  <a:pt x="3293903" y="514743"/>
                  <a:pt x="3295234" y="511967"/>
                </a:cubicBezTo>
                <a:cubicBezTo>
                  <a:pt x="3296102" y="510116"/>
                  <a:pt x="3298647" y="507802"/>
                  <a:pt x="3305357" y="508322"/>
                </a:cubicBezTo>
                <a:cubicBezTo>
                  <a:pt x="3309811" y="508912"/>
                  <a:pt x="3314091" y="510139"/>
                  <a:pt x="3318199" y="511967"/>
                </a:cubicBezTo>
                <a:cubicBezTo>
                  <a:pt x="3325371" y="515217"/>
                  <a:pt x="3333064" y="516970"/>
                  <a:pt x="3340931" y="517115"/>
                </a:cubicBezTo>
                <a:cubicBezTo>
                  <a:pt x="3342724" y="517115"/>
                  <a:pt x="3344517" y="517115"/>
                  <a:pt x="3346311" y="516825"/>
                </a:cubicBezTo>
                <a:cubicBezTo>
                  <a:pt x="3348104" y="516536"/>
                  <a:pt x="3350475" y="516825"/>
                  <a:pt x="3352905" y="516825"/>
                </a:cubicBezTo>
                <a:cubicBezTo>
                  <a:pt x="3372225" y="517855"/>
                  <a:pt x="3391487" y="520545"/>
                  <a:pt x="3410344" y="524866"/>
                </a:cubicBezTo>
                <a:cubicBezTo>
                  <a:pt x="3415088" y="525791"/>
                  <a:pt x="3419310" y="526659"/>
                  <a:pt x="3422549" y="527180"/>
                </a:cubicBezTo>
                <a:lnTo>
                  <a:pt x="3430359" y="528510"/>
                </a:lnTo>
                <a:cubicBezTo>
                  <a:pt x="3440828" y="530245"/>
                  <a:pt x="3447191" y="531287"/>
                  <a:pt x="3449158" y="534294"/>
                </a:cubicBezTo>
                <a:cubicBezTo>
                  <a:pt x="3449678" y="535052"/>
                  <a:pt x="3449852" y="535995"/>
                  <a:pt x="3449678" y="536897"/>
                </a:cubicBezTo>
                <a:cubicBezTo>
                  <a:pt x="3449273" y="539327"/>
                  <a:pt x="3446092" y="540542"/>
                  <a:pt x="3439960" y="540542"/>
                </a:cubicBezTo>
                <a:cubicBezTo>
                  <a:pt x="3433482" y="540432"/>
                  <a:pt x="3427061" y="539500"/>
                  <a:pt x="3420814" y="537765"/>
                </a:cubicBezTo>
                <a:cubicBezTo>
                  <a:pt x="3415030" y="535972"/>
                  <a:pt x="3407799" y="537187"/>
                  <a:pt x="3406295" y="540021"/>
                </a:cubicBezTo>
                <a:cubicBezTo>
                  <a:pt x="3405775" y="541097"/>
                  <a:pt x="3406006" y="542364"/>
                  <a:pt x="3406758" y="543260"/>
                </a:cubicBezTo>
                <a:cubicBezTo>
                  <a:pt x="3408378" y="545690"/>
                  <a:pt x="3415319" y="546326"/>
                  <a:pt x="3421508" y="546847"/>
                </a:cubicBezTo>
                <a:cubicBezTo>
                  <a:pt x="3429780" y="547599"/>
                  <a:pt x="3437647" y="548293"/>
                  <a:pt x="3437647" y="553210"/>
                </a:cubicBezTo>
                <a:cubicBezTo>
                  <a:pt x="3437647" y="558126"/>
                  <a:pt x="3431863" y="559457"/>
                  <a:pt x="3426541" y="561076"/>
                </a:cubicBezTo>
                <a:cubicBezTo>
                  <a:pt x="3421219" y="562696"/>
                  <a:pt x="3416996" y="563911"/>
                  <a:pt x="3416186" y="566861"/>
                </a:cubicBezTo>
                <a:cubicBezTo>
                  <a:pt x="3415840" y="568399"/>
                  <a:pt x="3416244" y="570013"/>
                  <a:pt x="3417286" y="571199"/>
                </a:cubicBezTo>
                <a:cubicBezTo>
                  <a:pt x="3419831" y="574109"/>
                  <a:pt x="3423533" y="575699"/>
                  <a:pt x="3427409" y="575537"/>
                </a:cubicBezTo>
                <a:cubicBezTo>
                  <a:pt x="3434350" y="574890"/>
                  <a:pt x="3440654" y="571124"/>
                  <a:pt x="3444530" y="565299"/>
                </a:cubicBezTo>
                <a:cubicBezTo>
                  <a:pt x="3450430" y="560243"/>
                  <a:pt x="3454479" y="553395"/>
                  <a:pt x="3456099" y="545805"/>
                </a:cubicBezTo>
                <a:cubicBezTo>
                  <a:pt x="3456909" y="542335"/>
                  <a:pt x="3457603" y="539616"/>
                  <a:pt x="3461074" y="538401"/>
                </a:cubicBezTo>
                <a:cubicBezTo>
                  <a:pt x="3464313" y="537777"/>
                  <a:pt x="3467668" y="537540"/>
                  <a:pt x="3470965" y="537707"/>
                </a:cubicBezTo>
                <a:cubicBezTo>
                  <a:pt x="3488665" y="537707"/>
                  <a:pt x="3542634" y="541583"/>
                  <a:pt x="3550386" y="553383"/>
                </a:cubicBezTo>
                <a:cubicBezTo>
                  <a:pt x="3552699" y="556854"/>
                  <a:pt x="3553220" y="559630"/>
                  <a:pt x="3552063" y="561713"/>
                </a:cubicBezTo>
                <a:cubicBezTo>
                  <a:pt x="3550154" y="565357"/>
                  <a:pt x="3543675" y="565820"/>
                  <a:pt x="3537601" y="565820"/>
                </a:cubicBezTo>
                <a:lnTo>
                  <a:pt x="3531817" y="565820"/>
                </a:lnTo>
                <a:lnTo>
                  <a:pt x="3527074" y="565820"/>
                </a:lnTo>
                <a:cubicBezTo>
                  <a:pt x="3524356" y="565820"/>
                  <a:pt x="3522446" y="566456"/>
                  <a:pt x="3521752" y="567671"/>
                </a:cubicBezTo>
                <a:cubicBezTo>
                  <a:pt x="3521348" y="568382"/>
                  <a:pt x="3521348" y="569273"/>
                  <a:pt x="3521752" y="569984"/>
                </a:cubicBezTo>
                <a:cubicBezTo>
                  <a:pt x="3523025" y="571882"/>
                  <a:pt x="3525281" y="572929"/>
                  <a:pt x="3527537" y="572703"/>
                </a:cubicBezTo>
                <a:cubicBezTo>
                  <a:pt x="3528231" y="572755"/>
                  <a:pt x="3528983" y="572755"/>
                  <a:pt x="3529677" y="572703"/>
                </a:cubicBezTo>
                <a:cubicBezTo>
                  <a:pt x="3530834" y="572454"/>
                  <a:pt x="3531991" y="572339"/>
                  <a:pt x="3533147" y="572356"/>
                </a:cubicBezTo>
                <a:cubicBezTo>
                  <a:pt x="3543270" y="572356"/>
                  <a:pt x="3565367" y="579644"/>
                  <a:pt x="3565367" y="585082"/>
                </a:cubicBezTo>
                <a:cubicBezTo>
                  <a:pt x="3565483" y="586568"/>
                  <a:pt x="3566119" y="587968"/>
                  <a:pt x="3567160" y="589015"/>
                </a:cubicBezTo>
                <a:cubicBezTo>
                  <a:pt x="3569358" y="591445"/>
                  <a:pt x="3572135" y="591676"/>
                  <a:pt x="3573754" y="589015"/>
                </a:cubicBezTo>
                <a:cubicBezTo>
                  <a:pt x="3575374" y="587066"/>
                  <a:pt x="3577919" y="586106"/>
                  <a:pt x="3580406" y="586470"/>
                </a:cubicBezTo>
                <a:cubicBezTo>
                  <a:pt x="3589430" y="586470"/>
                  <a:pt x="3606321" y="593006"/>
                  <a:pt x="3610023" y="599138"/>
                </a:cubicBezTo>
                <a:cubicBezTo>
                  <a:pt x="3611469" y="601955"/>
                  <a:pt x="3611469" y="605287"/>
                  <a:pt x="3610023" y="608104"/>
                </a:cubicBezTo>
                <a:cubicBezTo>
                  <a:pt x="3609560" y="609318"/>
                  <a:pt x="3609155" y="610475"/>
                  <a:pt x="3609502" y="610938"/>
                </a:cubicBezTo>
                <a:cubicBezTo>
                  <a:pt x="3609849" y="611401"/>
                  <a:pt x="3611122" y="612037"/>
                  <a:pt x="3616154" y="611864"/>
                </a:cubicBezTo>
                <a:lnTo>
                  <a:pt x="3636110" y="611864"/>
                </a:lnTo>
                <a:cubicBezTo>
                  <a:pt x="3650687" y="612471"/>
                  <a:pt x="3665322" y="611285"/>
                  <a:pt x="3679609" y="608335"/>
                </a:cubicBezTo>
                <a:cubicBezTo>
                  <a:pt x="3699219" y="603974"/>
                  <a:pt x="3719291" y="601880"/>
                  <a:pt x="3739420" y="602088"/>
                </a:cubicBezTo>
                <a:cubicBezTo>
                  <a:pt x="3754402" y="601550"/>
                  <a:pt x="3769442" y="603505"/>
                  <a:pt x="3783787" y="607872"/>
                </a:cubicBezTo>
                <a:cubicBezTo>
                  <a:pt x="3805015" y="616260"/>
                  <a:pt x="3829542" y="632803"/>
                  <a:pt x="3830815" y="643215"/>
                </a:cubicBezTo>
                <a:cubicBezTo>
                  <a:pt x="3831045" y="645338"/>
                  <a:pt x="3830120" y="647426"/>
                  <a:pt x="3828385" y="648653"/>
                </a:cubicBezTo>
                <a:cubicBezTo>
                  <a:pt x="3824914" y="650272"/>
                  <a:pt x="3823410" y="654385"/>
                  <a:pt x="3825030" y="657850"/>
                </a:cubicBezTo>
                <a:cubicBezTo>
                  <a:pt x="3826302" y="660545"/>
                  <a:pt x="3825782" y="663744"/>
                  <a:pt x="3823700" y="665890"/>
                </a:cubicBezTo>
                <a:cubicBezTo>
                  <a:pt x="3822427" y="667163"/>
                  <a:pt x="3822254" y="667799"/>
                  <a:pt x="3822369" y="668030"/>
                </a:cubicBezTo>
                <a:cubicBezTo>
                  <a:pt x="3823006" y="669592"/>
                  <a:pt x="3832781" y="669592"/>
                  <a:pt x="3837467" y="669592"/>
                </a:cubicBezTo>
                <a:cubicBezTo>
                  <a:pt x="3850886" y="669592"/>
                  <a:pt x="3859563" y="673063"/>
                  <a:pt x="3859563" y="678384"/>
                </a:cubicBezTo>
                <a:cubicBezTo>
                  <a:pt x="3859563" y="683706"/>
                  <a:pt x="3863091" y="702621"/>
                  <a:pt x="3865347" y="703605"/>
                </a:cubicBezTo>
                <a:cubicBezTo>
                  <a:pt x="3865984" y="701117"/>
                  <a:pt x="3866215" y="698526"/>
                  <a:pt x="3865926" y="695969"/>
                </a:cubicBezTo>
                <a:cubicBezTo>
                  <a:pt x="3865926" y="689491"/>
                  <a:pt x="3865926" y="681450"/>
                  <a:pt x="3870669" y="678269"/>
                </a:cubicBezTo>
                <a:cubicBezTo>
                  <a:pt x="3876454" y="674451"/>
                  <a:pt x="3914631" y="671212"/>
                  <a:pt x="3935628" y="671212"/>
                </a:cubicBezTo>
                <a:cubicBezTo>
                  <a:pt x="3951940" y="671212"/>
                  <a:pt x="3953792" y="672947"/>
                  <a:pt x="3954428" y="673526"/>
                </a:cubicBezTo>
                <a:cubicBezTo>
                  <a:pt x="3957782" y="676649"/>
                  <a:pt x="3985953" y="683417"/>
                  <a:pt x="4006488" y="683417"/>
                </a:cubicBezTo>
                <a:cubicBezTo>
                  <a:pt x="4011520" y="683758"/>
                  <a:pt x="4016610" y="682948"/>
                  <a:pt x="4021295" y="681045"/>
                </a:cubicBezTo>
                <a:cubicBezTo>
                  <a:pt x="4026501" y="677644"/>
                  <a:pt x="4031187" y="673450"/>
                  <a:pt x="4035120" y="668609"/>
                </a:cubicBezTo>
                <a:cubicBezTo>
                  <a:pt x="4040905" y="662073"/>
                  <a:pt x="4046689" y="655941"/>
                  <a:pt x="4054093" y="655478"/>
                </a:cubicBezTo>
                <a:lnTo>
                  <a:pt x="4056523" y="655478"/>
                </a:lnTo>
                <a:cubicBezTo>
                  <a:pt x="4067398" y="655478"/>
                  <a:pt x="4082495" y="659412"/>
                  <a:pt x="4087700" y="665370"/>
                </a:cubicBezTo>
                <a:cubicBezTo>
                  <a:pt x="4089204" y="666902"/>
                  <a:pt x="4089899" y="669037"/>
                  <a:pt x="4089610" y="671154"/>
                </a:cubicBezTo>
                <a:cubicBezTo>
                  <a:pt x="4088568" y="677760"/>
                  <a:pt x="4082958" y="682659"/>
                  <a:pt x="4076247" y="682723"/>
                </a:cubicBezTo>
                <a:cubicBezTo>
                  <a:pt x="4073066" y="682688"/>
                  <a:pt x="4070000" y="681520"/>
                  <a:pt x="4067571" y="679426"/>
                </a:cubicBezTo>
                <a:cubicBezTo>
                  <a:pt x="4065373" y="677338"/>
                  <a:pt x="4062538" y="676053"/>
                  <a:pt x="4059530" y="675782"/>
                </a:cubicBezTo>
                <a:cubicBezTo>
                  <a:pt x="4058316" y="675701"/>
                  <a:pt x="4057101" y="676244"/>
                  <a:pt x="4056349" y="677228"/>
                </a:cubicBezTo>
                <a:cubicBezTo>
                  <a:pt x="4055077" y="679842"/>
                  <a:pt x="4055077" y="682885"/>
                  <a:pt x="4056349" y="685499"/>
                </a:cubicBezTo>
                <a:cubicBezTo>
                  <a:pt x="4058374" y="691284"/>
                  <a:pt x="4063869" y="693193"/>
                  <a:pt x="4069711" y="694928"/>
                </a:cubicBezTo>
                <a:cubicBezTo>
                  <a:pt x="4074859" y="695836"/>
                  <a:pt x="4079545" y="698543"/>
                  <a:pt x="4082900" y="702564"/>
                </a:cubicBezTo>
                <a:cubicBezTo>
                  <a:pt x="4090014" y="711431"/>
                  <a:pt x="4100485" y="716909"/>
                  <a:pt x="4111822" y="717661"/>
                </a:cubicBezTo>
                <a:cubicBezTo>
                  <a:pt x="4114252" y="717690"/>
                  <a:pt x="4116623" y="717239"/>
                  <a:pt x="4118879" y="716330"/>
                </a:cubicBezTo>
                <a:cubicBezTo>
                  <a:pt x="4126514" y="713033"/>
                  <a:pt x="4131084" y="708695"/>
                  <a:pt x="4131836" y="704183"/>
                </a:cubicBezTo>
                <a:cubicBezTo>
                  <a:pt x="4132009" y="699156"/>
                  <a:pt x="4129580" y="694384"/>
                  <a:pt x="4125473" y="691515"/>
                </a:cubicBezTo>
                <a:cubicBezTo>
                  <a:pt x="4110144" y="677633"/>
                  <a:pt x="4109103" y="672831"/>
                  <a:pt x="4109682" y="670518"/>
                </a:cubicBezTo>
                <a:cubicBezTo>
                  <a:pt x="4110029" y="669118"/>
                  <a:pt x="4111186" y="668054"/>
                  <a:pt x="4112574" y="667799"/>
                </a:cubicBezTo>
                <a:cubicBezTo>
                  <a:pt x="4114830" y="667163"/>
                  <a:pt x="4115466" y="664965"/>
                  <a:pt x="4116392" y="661089"/>
                </a:cubicBezTo>
                <a:cubicBezTo>
                  <a:pt x="4117028" y="657335"/>
                  <a:pt x="4118590" y="653795"/>
                  <a:pt x="4120904" y="650793"/>
                </a:cubicBezTo>
                <a:cubicBezTo>
                  <a:pt x="4122581" y="649312"/>
                  <a:pt x="4124837" y="648635"/>
                  <a:pt x="4127093" y="648942"/>
                </a:cubicBezTo>
                <a:cubicBezTo>
                  <a:pt x="4140860" y="648942"/>
                  <a:pt x="4174467" y="660800"/>
                  <a:pt x="4184937" y="664965"/>
                </a:cubicBezTo>
                <a:cubicBezTo>
                  <a:pt x="4188350" y="666150"/>
                  <a:pt x="4192168" y="665659"/>
                  <a:pt x="4195176" y="663634"/>
                </a:cubicBezTo>
                <a:cubicBezTo>
                  <a:pt x="4198530" y="661749"/>
                  <a:pt x="4202290" y="660719"/>
                  <a:pt x="4206166" y="660626"/>
                </a:cubicBezTo>
                <a:cubicBezTo>
                  <a:pt x="4207381" y="660615"/>
                  <a:pt x="4208595" y="660713"/>
                  <a:pt x="4209753" y="660916"/>
                </a:cubicBezTo>
                <a:cubicBezTo>
                  <a:pt x="4226816" y="662848"/>
                  <a:pt x="4244054" y="663837"/>
                  <a:pt x="4261233" y="663866"/>
                </a:cubicBezTo>
                <a:cubicBezTo>
                  <a:pt x="4265341" y="663952"/>
                  <a:pt x="4269505" y="663779"/>
                  <a:pt x="4273612" y="663345"/>
                </a:cubicBezTo>
                <a:cubicBezTo>
                  <a:pt x="4276968" y="662576"/>
                  <a:pt x="4280496" y="663981"/>
                  <a:pt x="4282405" y="666874"/>
                </a:cubicBezTo>
                <a:cubicBezTo>
                  <a:pt x="4286512" y="671605"/>
                  <a:pt x="4292643" y="674168"/>
                  <a:pt x="4298890" y="673815"/>
                </a:cubicBezTo>
                <a:cubicBezTo>
                  <a:pt x="4318211" y="674972"/>
                  <a:pt x="4365064" y="694350"/>
                  <a:pt x="4375997" y="705629"/>
                </a:cubicBezTo>
                <a:cubicBezTo>
                  <a:pt x="4381260" y="711124"/>
                  <a:pt x="4391383" y="714074"/>
                  <a:pt x="4400233" y="716678"/>
                </a:cubicBezTo>
                <a:cubicBezTo>
                  <a:pt x="4409084" y="719280"/>
                  <a:pt x="4416546" y="721421"/>
                  <a:pt x="4419322" y="725585"/>
                </a:cubicBezTo>
                <a:cubicBezTo>
                  <a:pt x="4423082" y="731370"/>
                  <a:pt x="4435634" y="736229"/>
                  <a:pt x="4447781" y="740856"/>
                </a:cubicBezTo>
                <a:lnTo>
                  <a:pt x="4459350" y="745368"/>
                </a:lnTo>
                <a:cubicBezTo>
                  <a:pt x="4471556" y="750516"/>
                  <a:pt x="4511410" y="768101"/>
                  <a:pt x="4512856" y="777356"/>
                </a:cubicBezTo>
                <a:cubicBezTo>
                  <a:pt x="4513377" y="780653"/>
                  <a:pt x="4515748" y="782042"/>
                  <a:pt x="4518236" y="783546"/>
                </a:cubicBezTo>
                <a:cubicBezTo>
                  <a:pt x="4520724" y="785049"/>
                  <a:pt x="4524368" y="787247"/>
                  <a:pt x="4523384" y="792280"/>
                </a:cubicBezTo>
                <a:cubicBezTo>
                  <a:pt x="4520550" y="806683"/>
                  <a:pt x="4520839" y="816459"/>
                  <a:pt x="4524136" y="819062"/>
                </a:cubicBezTo>
                <a:cubicBezTo>
                  <a:pt x="4535705" y="827854"/>
                  <a:pt x="4539060" y="828895"/>
                  <a:pt x="4539985" y="828895"/>
                </a:cubicBezTo>
                <a:cubicBezTo>
                  <a:pt x="4540043" y="828566"/>
                  <a:pt x="4540043" y="828242"/>
                  <a:pt x="4539985" y="827912"/>
                </a:cubicBezTo>
                <a:cubicBezTo>
                  <a:pt x="4539176" y="824464"/>
                  <a:pt x="4540217" y="820838"/>
                  <a:pt x="4542762" y="818368"/>
                </a:cubicBezTo>
                <a:cubicBezTo>
                  <a:pt x="4545018" y="815360"/>
                  <a:pt x="4546174" y="813509"/>
                  <a:pt x="4544208" y="810906"/>
                </a:cubicBezTo>
                <a:cubicBezTo>
                  <a:pt x="4542357" y="808528"/>
                  <a:pt x="4539985" y="806562"/>
                  <a:pt x="4537325" y="805121"/>
                </a:cubicBezTo>
                <a:cubicBezTo>
                  <a:pt x="4534143" y="803213"/>
                  <a:pt x="4531193" y="801362"/>
                  <a:pt x="4531540" y="797486"/>
                </a:cubicBezTo>
                <a:cubicBezTo>
                  <a:pt x="4531887" y="793610"/>
                  <a:pt x="4542068" y="792569"/>
                  <a:pt x="4548142" y="792569"/>
                </a:cubicBezTo>
                <a:cubicBezTo>
                  <a:pt x="4555141" y="792569"/>
                  <a:pt x="4567404" y="793610"/>
                  <a:pt x="4569197" y="797544"/>
                </a:cubicBezTo>
                <a:cubicBezTo>
                  <a:pt x="4571337" y="801269"/>
                  <a:pt x="4574866" y="803988"/>
                  <a:pt x="4579030" y="805121"/>
                </a:cubicBezTo>
                <a:cubicBezTo>
                  <a:pt x="4579435" y="805121"/>
                  <a:pt x="4579609" y="805121"/>
                  <a:pt x="4579609" y="804485"/>
                </a:cubicBezTo>
                <a:cubicBezTo>
                  <a:pt x="4579609" y="802403"/>
                  <a:pt x="4582038" y="801362"/>
                  <a:pt x="4586781" y="801362"/>
                </a:cubicBezTo>
                <a:cubicBezTo>
                  <a:pt x="4596788" y="801362"/>
                  <a:pt x="4614373" y="805758"/>
                  <a:pt x="4619174" y="812930"/>
                </a:cubicBezTo>
                <a:cubicBezTo>
                  <a:pt x="4625422" y="821896"/>
                  <a:pt x="4651046" y="838324"/>
                  <a:pt x="4659029" y="841158"/>
                </a:cubicBezTo>
                <a:cubicBezTo>
                  <a:pt x="4664813" y="843067"/>
                  <a:pt x="4664813" y="845670"/>
                  <a:pt x="4664813" y="846943"/>
                </a:cubicBezTo>
                <a:cubicBezTo>
                  <a:pt x="4664409" y="849372"/>
                  <a:pt x="4661227" y="850876"/>
                  <a:pt x="4656715" y="850876"/>
                </a:cubicBezTo>
                <a:lnTo>
                  <a:pt x="4655211" y="850876"/>
                </a:lnTo>
                <a:cubicBezTo>
                  <a:pt x="4648096" y="850876"/>
                  <a:pt x="4643643" y="860016"/>
                  <a:pt x="4642659" y="864875"/>
                </a:cubicBezTo>
                <a:cubicBezTo>
                  <a:pt x="4642139" y="867350"/>
                  <a:pt x="4639767" y="868993"/>
                  <a:pt x="4637279" y="868634"/>
                </a:cubicBezTo>
                <a:cubicBezTo>
                  <a:pt x="4632999" y="868449"/>
                  <a:pt x="4628892" y="866772"/>
                  <a:pt x="4625710" y="863891"/>
                </a:cubicBezTo>
                <a:cubicBezTo>
                  <a:pt x="4624727" y="862983"/>
                  <a:pt x="4623455" y="862486"/>
                  <a:pt x="4622124" y="862503"/>
                </a:cubicBezTo>
                <a:cubicBezTo>
                  <a:pt x="4620910" y="862393"/>
                  <a:pt x="4619695" y="862861"/>
                  <a:pt x="4618885" y="863776"/>
                </a:cubicBezTo>
                <a:lnTo>
                  <a:pt x="4618885" y="863776"/>
                </a:lnTo>
                <a:cubicBezTo>
                  <a:pt x="4619405" y="864088"/>
                  <a:pt x="4619984" y="864284"/>
                  <a:pt x="4620620" y="864354"/>
                </a:cubicBezTo>
                <a:cubicBezTo>
                  <a:pt x="4625422" y="865222"/>
                  <a:pt x="4631206" y="868924"/>
                  <a:pt x="4630916" y="871932"/>
                </a:cubicBezTo>
                <a:cubicBezTo>
                  <a:pt x="4630916" y="872799"/>
                  <a:pt x="4630222" y="874303"/>
                  <a:pt x="4626868" y="874303"/>
                </a:cubicBezTo>
                <a:lnTo>
                  <a:pt x="4624438" y="874303"/>
                </a:lnTo>
                <a:cubicBezTo>
                  <a:pt x="4618653" y="874303"/>
                  <a:pt x="4604540" y="874303"/>
                  <a:pt x="4595516" y="867593"/>
                </a:cubicBezTo>
                <a:cubicBezTo>
                  <a:pt x="4593896" y="866211"/>
                  <a:pt x="4591872" y="865366"/>
                  <a:pt x="4589731" y="865164"/>
                </a:cubicBezTo>
                <a:cubicBezTo>
                  <a:pt x="4588401" y="865002"/>
                  <a:pt x="4587187" y="865812"/>
                  <a:pt x="4586839" y="867073"/>
                </a:cubicBezTo>
                <a:cubicBezTo>
                  <a:pt x="4586723" y="867911"/>
                  <a:pt x="4587302" y="868692"/>
                  <a:pt x="4588112" y="868866"/>
                </a:cubicBezTo>
                <a:cubicBezTo>
                  <a:pt x="4592681" y="870370"/>
                  <a:pt x="4595169" y="884426"/>
                  <a:pt x="4594937" y="891309"/>
                </a:cubicBezTo>
                <a:cubicBezTo>
                  <a:pt x="4594937" y="895416"/>
                  <a:pt x="4593838" y="897614"/>
                  <a:pt x="4592103" y="898077"/>
                </a:cubicBezTo>
                <a:cubicBezTo>
                  <a:pt x="4590368" y="898540"/>
                  <a:pt x="4591409" y="900391"/>
                  <a:pt x="4592103" y="903110"/>
                </a:cubicBezTo>
                <a:cubicBezTo>
                  <a:pt x="4592797" y="905828"/>
                  <a:pt x="4593144" y="908489"/>
                  <a:pt x="4592103" y="910109"/>
                </a:cubicBezTo>
                <a:cubicBezTo>
                  <a:pt x="4591467" y="910948"/>
                  <a:pt x="4590425" y="911433"/>
                  <a:pt x="4589385" y="911439"/>
                </a:cubicBezTo>
                <a:lnTo>
                  <a:pt x="4588864" y="911439"/>
                </a:lnTo>
                <a:cubicBezTo>
                  <a:pt x="4586145" y="911190"/>
                  <a:pt x="4583600" y="910143"/>
                  <a:pt x="4581518" y="908431"/>
                </a:cubicBezTo>
                <a:cubicBezTo>
                  <a:pt x="4580534" y="907616"/>
                  <a:pt x="4579377" y="907020"/>
                  <a:pt x="4578105" y="906696"/>
                </a:cubicBezTo>
                <a:cubicBezTo>
                  <a:pt x="4578105" y="906696"/>
                  <a:pt x="4577526" y="906696"/>
                  <a:pt x="4576948" y="907621"/>
                </a:cubicBezTo>
                <a:cubicBezTo>
                  <a:pt x="4576890" y="907783"/>
                  <a:pt x="4576890" y="907980"/>
                  <a:pt x="4576948" y="908142"/>
                </a:cubicBezTo>
                <a:cubicBezTo>
                  <a:pt x="4577295" y="909357"/>
                  <a:pt x="4580361" y="911034"/>
                  <a:pt x="4582732" y="912365"/>
                </a:cubicBezTo>
                <a:cubicBezTo>
                  <a:pt x="4586608" y="914505"/>
                  <a:pt x="4590252" y="916530"/>
                  <a:pt x="4590541" y="919306"/>
                </a:cubicBezTo>
                <a:cubicBezTo>
                  <a:pt x="4590657" y="920712"/>
                  <a:pt x="4590021" y="922065"/>
                  <a:pt x="4588864" y="922892"/>
                </a:cubicBezTo>
                <a:cubicBezTo>
                  <a:pt x="4587187" y="924552"/>
                  <a:pt x="4584988" y="925518"/>
                  <a:pt x="4582617" y="925611"/>
                </a:cubicBezTo>
                <a:cubicBezTo>
                  <a:pt x="4581518" y="925576"/>
                  <a:pt x="4580419" y="925397"/>
                  <a:pt x="4579377" y="925091"/>
                </a:cubicBezTo>
                <a:cubicBezTo>
                  <a:pt x="4578626" y="924853"/>
                  <a:pt x="4577816" y="924715"/>
                  <a:pt x="4577006" y="924686"/>
                </a:cubicBezTo>
                <a:cubicBezTo>
                  <a:pt x="4575849" y="924680"/>
                  <a:pt x="4574692" y="925189"/>
                  <a:pt x="4573940" y="926074"/>
                </a:cubicBezTo>
                <a:cubicBezTo>
                  <a:pt x="4572783" y="927248"/>
                  <a:pt x="4571221" y="927913"/>
                  <a:pt x="4569544" y="927925"/>
                </a:cubicBezTo>
                <a:cubicBezTo>
                  <a:pt x="4567751" y="927780"/>
                  <a:pt x="4566015" y="927248"/>
                  <a:pt x="4564453" y="926363"/>
                </a:cubicBezTo>
                <a:cubicBezTo>
                  <a:pt x="4562197" y="924969"/>
                  <a:pt x="4559537" y="924396"/>
                  <a:pt x="4556876" y="924743"/>
                </a:cubicBezTo>
                <a:cubicBezTo>
                  <a:pt x="4550224" y="926716"/>
                  <a:pt x="4543167" y="923025"/>
                  <a:pt x="4541027" y="916414"/>
                </a:cubicBezTo>
                <a:cubicBezTo>
                  <a:pt x="4539985" y="913753"/>
                  <a:pt x="4536283" y="913059"/>
                  <a:pt x="4531193" y="912191"/>
                </a:cubicBezTo>
                <a:cubicBezTo>
                  <a:pt x="4525409" y="911185"/>
                  <a:pt x="4519856" y="909293"/>
                  <a:pt x="4514650" y="906580"/>
                </a:cubicBezTo>
                <a:cubicBezTo>
                  <a:pt x="4504701" y="901935"/>
                  <a:pt x="4497354" y="893022"/>
                  <a:pt x="4494694" y="882344"/>
                </a:cubicBezTo>
                <a:cubicBezTo>
                  <a:pt x="4493305" y="877080"/>
                  <a:pt x="4472828" y="867767"/>
                  <a:pt x="4459987" y="867767"/>
                </a:cubicBezTo>
                <a:cubicBezTo>
                  <a:pt x="4457847" y="867651"/>
                  <a:pt x="4455707" y="868073"/>
                  <a:pt x="4453797" y="868982"/>
                </a:cubicBezTo>
                <a:cubicBezTo>
                  <a:pt x="4448881" y="871336"/>
                  <a:pt x="4443501" y="872504"/>
                  <a:pt x="4438064" y="872394"/>
                </a:cubicBezTo>
                <a:cubicBezTo>
                  <a:pt x="4432279" y="872394"/>
                  <a:pt x="4424875" y="871122"/>
                  <a:pt x="4423892" y="867477"/>
                </a:cubicBezTo>
                <a:cubicBezTo>
                  <a:pt x="4422967" y="865638"/>
                  <a:pt x="4421636" y="864001"/>
                  <a:pt x="4420074" y="862676"/>
                </a:cubicBezTo>
                <a:cubicBezTo>
                  <a:pt x="4416141" y="858685"/>
                  <a:pt x="4411282" y="853768"/>
                  <a:pt x="4414290" y="848042"/>
                </a:cubicBezTo>
                <a:cubicBezTo>
                  <a:pt x="4415158" y="846364"/>
                  <a:pt x="4416314" y="844398"/>
                  <a:pt x="4417413" y="842547"/>
                </a:cubicBezTo>
                <a:cubicBezTo>
                  <a:pt x="4419149" y="839944"/>
                  <a:pt x="4420595" y="837150"/>
                  <a:pt x="4421694" y="834217"/>
                </a:cubicBezTo>
                <a:cubicBezTo>
                  <a:pt x="4420884" y="834338"/>
                  <a:pt x="4420074" y="834616"/>
                  <a:pt x="4419380" y="835027"/>
                </a:cubicBezTo>
                <a:cubicBezTo>
                  <a:pt x="4417066" y="836369"/>
                  <a:pt x="4414464" y="837138"/>
                  <a:pt x="4411802" y="837283"/>
                </a:cubicBezTo>
                <a:cubicBezTo>
                  <a:pt x="4410530" y="837242"/>
                  <a:pt x="4409257" y="836988"/>
                  <a:pt x="4408042" y="836531"/>
                </a:cubicBezTo>
                <a:cubicBezTo>
                  <a:pt x="4406886" y="836091"/>
                  <a:pt x="4405671" y="835912"/>
                  <a:pt x="4404456" y="836010"/>
                </a:cubicBezTo>
                <a:cubicBezTo>
                  <a:pt x="4403010" y="836010"/>
                  <a:pt x="4402432" y="837225"/>
                  <a:pt x="4401564" y="839192"/>
                </a:cubicBezTo>
                <a:cubicBezTo>
                  <a:pt x="4400697" y="842570"/>
                  <a:pt x="4397689" y="844947"/>
                  <a:pt x="4394218" y="844976"/>
                </a:cubicBezTo>
                <a:cubicBezTo>
                  <a:pt x="4391788" y="844860"/>
                  <a:pt x="4389648" y="846497"/>
                  <a:pt x="4389128" y="848852"/>
                </a:cubicBezTo>
                <a:cubicBezTo>
                  <a:pt x="4388491" y="851848"/>
                  <a:pt x="4389995" y="854879"/>
                  <a:pt x="4392772" y="856198"/>
                </a:cubicBezTo>
                <a:cubicBezTo>
                  <a:pt x="4397689" y="858373"/>
                  <a:pt x="4401159" y="862838"/>
                  <a:pt x="4402085" y="868114"/>
                </a:cubicBezTo>
                <a:cubicBezTo>
                  <a:pt x="4401969" y="870890"/>
                  <a:pt x="4400233" y="873337"/>
                  <a:pt x="4397631" y="874361"/>
                </a:cubicBezTo>
                <a:cubicBezTo>
                  <a:pt x="4393234" y="876559"/>
                  <a:pt x="4393003" y="878179"/>
                  <a:pt x="4392656" y="880955"/>
                </a:cubicBezTo>
                <a:cubicBezTo>
                  <a:pt x="4392425" y="883448"/>
                  <a:pt x="4391673" y="885855"/>
                  <a:pt x="4390400" y="888012"/>
                </a:cubicBezTo>
                <a:cubicBezTo>
                  <a:pt x="4387218" y="893450"/>
                  <a:pt x="4373625" y="898887"/>
                  <a:pt x="4362693" y="903283"/>
                </a:cubicBezTo>
                <a:cubicBezTo>
                  <a:pt x="4358933" y="904729"/>
                  <a:pt x="4355752" y="906060"/>
                  <a:pt x="4353553" y="907101"/>
                </a:cubicBezTo>
                <a:cubicBezTo>
                  <a:pt x="4346959" y="909849"/>
                  <a:pt x="4339844" y="911248"/>
                  <a:pt x="4332672" y="911208"/>
                </a:cubicBezTo>
                <a:cubicBezTo>
                  <a:pt x="4328680" y="911468"/>
                  <a:pt x="4324689" y="910710"/>
                  <a:pt x="4321103" y="909010"/>
                </a:cubicBezTo>
                <a:cubicBezTo>
                  <a:pt x="4319078" y="907789"/>
                  <a:pt x="4317459" y="905973"/>
                  <a:pt x="4316475" y="903804"/>
                </a:cubicBezTo>
                <a:cubicBezTo>
                  <a:pt x="4314509" y="899853"/>
                  <a:pt x="4310980" y="896944"/>
                  <a:pt x="4306700" y="895821"/>
                </a:cubicBezTo>
                <a:cubicBezTo>
                  <a:pt x="4303518" y="894578"/>
                  <a:pt x="4300105" y="893970"/>
                  <a:pt x="4296692" y="894028"/>
                </a:cubicBezTo>
                <a:cubicBezTo>
                  <a:pt x="4291197" y="893588"/>
                  <a:pt x="4285760" y="895405"/>
                  <a:pt x="4281653" y="899061"/>
                </a:cubicBezTo>
                <a:cubicBezTo>
                  <a:pt x="4280959" y="899911"/>
                  <a:pt x="4280785" y="901045"/>
                  <a:pt x="4281132" y="902068"/>
                </a:cubicBezTo>
                <a:cubicBezTo>
                  <a:pt x="4283620" y="906598"/>
                  <a:pt x="4288536" y="909201"/>
                  <a:pt x="4293685" y="908663"/>
                </a:cubicBezTo>
                <a:cubicBezTo>
                  <a:pt x="4296750" y="908697"/>
                  <a:pt x="4299816" y="907876"/>
                  <a:pt x="4302476" y="906291"/>
                </a:cubicBezTo>
                <a:cubicBezTo>
                  <a:pt x="4303865" y="905290"/>
                  <a:pt x="4305484" y="904706"/>
                  <a:pt x="4307220" y="904614"/>
                </a:cubicBezTo>
                <a:cubicBezTo>
                  <a:pt x="4312657" y="904614"/>
                  <a:pt x="4312657" y="912943"/>
                  <a:pt x="4312657" y="916530"/>
                </a:cubicBezTo>
                <a:cubicBezTo>
                  <a:pt x="4313004" y="919219"/>
                  <a:pt x="4314451" y="921660"/>
                  <a:pt x="4316591" y="923297"/>
                </a:cubicBezTo>
                <a:cubicBezTo>
                  <a:pt x="4320235" y="926537"/>
                  <a:pt x="4324862" y="927751"/>
                  <a:pt x="4327003" y="925785"/>
                </a:cubicBezTo>
                <a:cubicBezTo>
                  <a:pt x="4327639" y="925218"/>
                  <a:pt x="4328449" y="924905"/>
                  <a:pt x="4329258" y="924917"/>
                </a:cubicBezTo>
                <a:cubicBezTo>
                  <a:pt x="4333134" y="924917"/>
                  <a:pt x="4337877" y="930701"/>
                  <a:pt x="4339729" y="933189"/>
                </a:cubicBezTo>
                <a:cubicBezTo>
                  <a:pt x="4344471" y="939436"/>
                  <a:pt x="4348868" y="948517"/>
                  <a:pt x="4347364" y="953608"/>
                </a:cubicBezTo>
                <a:cubicBezTo>
                  <a:pt x="4346265" y="957425"/>
                  <a:pt x="4350719" y="961764"/>
                  <a:pt x="4355000" y="965929"/>
                </a:cubicBezTo>
                <a:cubicBezTo>
                  <a:pt x="4359280" y="970093"/>
                  <a:pt x="4363387" y="974085"/>
                  <a:pt x="4363156" y="978423"/>
                </a:cubicBezTo>
                <a:cubicBezTo>
                  <a:pt x="4363271" y="980910"/>
                  <a:pt x="4364139" y="983305"/>
                  <a:pt x="4365701" y="985249"/>
                </a:cubicBezTo>
                <a:cubicBezTo>
                  <a:pt x="4368188" y="989355"/>
                  <a:pt x="4371022" y="993983"/>
                  <a:pt x="4363676" y="1001329"/>
                </a:cubicBezTo>
                <a:cubicBezTo>
                  <a:pt x="4360321" y="1005309"/>
                  <a:pt x="4355520" y="1007704"/>
                  <a:pt x="4350314" y="1007923"/>
                </a:cubicBezTo>
                <a:cubicBezTo>
                  <a:pt x="4346843" y="1007721"/>
                  <a:pt x="4343431" y="1007062"/>
                  <a:pt x="4340133" y="1005957"/>
                </a:cubicBezTo>
                <a:cubicBezTo>
                  <a:pt x="4337935" y="1005321"/>
                  <a:pt x="4335448" y="1004626"/>
                  <a:pt x="4332730" y="1004048"/>
                </a:cubicBezTo>
                <a:cubicBezTo>
                  <a:pt x="4328564" y="1003209"/>
                  <a:pt x="4324400" y="1002654"/>
                  <a:pt x="4320177" y="1002370"/>
                </a:cubicBezTo>
                <a:cubicBezTo>
                  <a:pt x="4313467" y="1001734"/>
                  <a:pt x="4308608" y="1001329"/>
                  <a:pt x="4307625" y="997164"/>
                </a:cubicBezTo>
                <a:cubicBezTo>
                  <a:pt x="4307220" y="995313"/>
                  <a:pt x="4305022" y="995082"/>
                  <a:pt x="4304096" y="995082"/>
                </a:cubicBezTo>
                <a:cubicBezTo>
                  <a:pt x="4302246" y="994989"/>
                  <a:pt x="4300452" y="995736"/>
                  <a:pt x="4299238" y="997107"/>
                </a:cubicBezTo>
                <a:cubicBezTo>
                  <a:pt x="4298890" y="997702"/>
                  <a:pt x="4298890" y="998420"/>
                  <a:pt x="4299238" y="999016"/>
                </a:cubicBezTo>
                <a:cubicBezTo>
                  <a:pt x="4299469" y="999872"/>
                  <a:pt x="4299295" y="1000780"/>
                  <a:pt x="4298775" y="1001503"/>
                </a:cubicBezTo>
                <a:cubicBezTo>
                  <a:pt x="4294841" y="1008270"/>
                  <a:pt x="4265225" y="1023021"/>
                  <a:pt x="4241451" y="1028285"/>
                </a:cubicBezTo>
                <a:cubicBezTo>
                  <a:pt x="4216636" y="1034069"/>
                  <a:pt x="4198010" y="1043035"/>
                  <a:pt x="4196217" y="1048183"/>
                </a:cubicBezTo>
                <a:cubicBezTo>
                  <a:pt x="4195060" y="1051365"/>
                  <a:pt x="4192572" y="1052117"/>
                  <a:pt x="4189912" y="1052926"/>
                </a:cubicBezTo>
                <a:cubicBezTo>
                  <a:pt x="4186152" y="1053707"/>
                  <a:pt x="4182739" y="1055749"/>
                  <a:pt x="4180309" y="1058711"/>
                </a:cubicBezTo>
                <a:cubicBezTo>
                  <a:pt x="4176665" y="1063223"/>
                  <a:pt x="4175740" y="1063685"/>
                  <a:pt x="4173716" y="1064495"/>
                </a:cubicBezTo>
                <a:cubicBezTo>
                  <a:pt x="4170129" y="1065698"/>
                  <a:pt x="4166832" y="1067561"/>
                  <a:pt x="4163940" y="1069990"/>
                </a:cubicBezTo>
                <a:cubicBezTo>
                  <a:pt x="4151677" y="1079234"/>
                  <a:pt x="4138257" y="1086765"/>
                  <a:pt x="4123969" y="1092376"/>
                </a:cubicBezTo>
                <a:cubicBezTo>
                  <a:pt x="4119862" y="1093591"/>
                  <a:pt x="4119573" y="1096252"/>
                  <a:pt x="4119226" y="1099607"/>
                </a:cubicBezTo>
                <a:cubicBezTo>
                  <a:pt x="4118879" y="1102962"/>
                  <a:pt x="4118358" y="1107127"/>
                  <a:pt x="4112632" y="1108573"/>
                </a:cubicBezTo>
                <a:cubicBezTo>
                  <a:pt x="4108814" y="1109498"/>
                  <a:pt x="4106211" y="1106143"/>
                  <a:pt x="4103319" y="1102152"/>
                </a:cubicBezTo>
                <a:cubicBezTo>
                  <a:pt x="4100485" y="1097536"/>
                  <a:pt x="4096493" y="1093730"/>
                  <a:pt x="4091750" y="1091104"/>
                </a:cubicBezTo>
                <a:cubicBezTo>
                  <a:pt x="4083189" y="1088084"/>
                  <a:pt x="4074165" y="1086713"/>
                  <a:pt x="4065084" y="1087055"/>
                </a:cubicBezTo>
                <a:cubicBezTo>
                  <a:pt x="4047731" y="1087055"/>
                  <a:pt x="4033154" y="1090409"/>
                  <a:pt x="4024593" y="1096252"/>
                </a:cubicBezTo>
                <a:cubicBezTo>
                  <a:pt x="4019329" y="1099942"/>
                  <a:pt x="4014354" y="1103980"/>
                  <a:pt x="4009611" y="1108341"/>
                </a:cubicBezTo>
                <a:cubicBezTo>
                  <a:pt x="4005562" y="1111985"/>
                  <a:pt x="4003132" y="1114126"/>
                  <a:pt x="4001050" y="1114126"/>
                </a:cubicBezTo>
                <a:cubicBezTo>
                  <a:pt x="3998968" y="1114126"/>
                  <a:pt x="3997753" y="1111176"/>
                  <a:pt x="3997464" y="1110076"/>
                </a:cubicBezTo>
                <a:cubicBezTo>
                  <a:pt x="3996712" y="1106363"/>
                  <a:pt x="3996539" y="1102557"/>
                  <a:pt x="3997001" y="1098797"/>
                </a:cubicBezTo>
                <a:cubicBezTo>
                  <a:pt x="3997001" y="1094227"/>
                  <a:pt x="3997464" y="1089947"/>
                  <a:pt x="3995729" y="1088154"/>
                </a:cubicBezTo>
                <a:cubicBezTo>
                  <a:pt x="3994977" y="1087413"/>
                  <a:pt x="3993935" y="1087031"/>
                  <a:pt x="3992894" y="1087112"/>
                </a:cubicBezTo>
                <a:cubicBezTo>
                  <a:pt x="3987110" y="1087112"/>
                  <a:pt x="3979937" y="1096367"/>
                  <a:pt x="3974095" y="1103829"/>
                </a:cubicBezTo>
                <a:cubicBezTo>
                  <a:pt x="3971723" y="1107127"/>
                  <a:pt x="3969062" y="1110221"/>
                  <a:pt x="3966170" y="1113085"/>
                </a:cubicBezTo>
                <a:cubicBezTo>
                  <a:pt x="3965129" y="1114189"/>
                  <a:pt x="3963741" y="1114889"/>
                  <a:pt x="3962237" y="1115051"/>
                </a:cubicBezTo>
                <a:cubicBezTo>
                  <a:pt x="3960096" y="1115051"/>
                  <a:pt x="3959171" y="1113085"/>
                  <a:pt x="3958361" y="1111407"/>
                </a:cubicBezTo>
                <a:cubicBezTo>
                  <a:pt x="3957551" y="1109729"/>
                  <a:pt x="3956742" y="1108168"/>
                  <a:pt x="3955180" y="1108515"/>
                </a:cubicBezTo>
                <a:cubicBezTo>
                  <a:pt x="3952114" y="1108746"/>
                  <a:pt x="3949106" y="1108532"/>
                  <a:pt x="3946098" y="1107878"/>
                </a:cubicBezTo>
                <a:cubicBezTo>
                  <a:pt x="3943379" y="1107404"/>
                  <a:pt x="3940661" y="1107115"/>
                  <a:pt x="3937942" y="1107011"/>
                </a:cubicBezTo>
                <a:cubicBezTo>
                  <a:pt x="3934818" y="1107011"/>
                  <a:pt x="3932967" y="1107705"/>
                  <a:pt x="3932158" y="1109209"/>
                </a:cubicBezTo>
                <a:cubicBezTo>
                  <a:pt x="3931348" y="1110713"/>
                  <a:pt x="3929381" y="1113258"/>
                  <a:pt x="3927298" y="1116092"/>
                </a:cubicBezTo>
                <a:cubicBezTo>
                  <a:pt x="3921514" y="1123496"/>
                  <a:pt x="3913474" y="1134776"/>
                  <a:pt x="3911739" y="1143163"/>
                </a:cubicBezTo>
                <a:cubicBezTo>
                  <a:pt x="3910466" y="1148682"/>
                  <a:pt x="3906764" y="1153338"/>
                  <a:pt x="3901674" y="1155831"/>
                </a:cubicBezTo>
                <a:cubicBezTo>
                  <a:pt x="3896583" y="1158966"/>
                  <a:pt x="3892071" y="1163027"/>
                  <a:pt x="3888485" y="1167805"/>
                </a:cubicBezTo>
                <a:cubicBezTo>
                  <a:pt x="3883279" y="1173902"/>
                  <a:pt x="3881949" y="1182376"/>
                  <a:pt x="3884957" y="1189786"/>
                </a:cubicBezTo>
                <a:cubicBezTo>
                  <a:pt x="3885940" y="1192227"/>
                  <a:pt x="3888138" y="1193957"/>
                  <a:pt x="3890741" y="1194298"/>
                </a:cubicBezTo>
                <a:cubicBezTo>
                  <a:pt x="3892708" y="1194170"/>
                  <a:pt x="3894674" y="1193800"/>
                  <a:pt x="3896526" y="1193199"/>
                </a:cubicBezTo>
                <a:cubicBezTo>
                  <a:pt x="3898376" y="1192586"/>
                  <a:pt x="3900343" y="1192250"/>
                  <a:pt x="3902310" y="1192215"/>
                </a:cubicBezTo>
                <a:cubicBezTo>
                  <a:pt x="3904392" y="1192244"/>
                  <a:pt x="3906475" y="1192557"/>
                  <a:pt x="3908441" y="1193141"/>
                </a:cubicBezTo>
                <a:cubicBezTo>
                  <a:pt x="3913705" y="1194587"/>
                  <a:pt x="3917523" y="1195802"/>
                  <a:pt x="3918101" y="1198925"/>
                </a:cubicBezTo>
                <a:cubicBezTo>
                  <a:pt x="3918680" y="1202049"/>
                  <a:pt x="3916077" y="1204710"/>
                  <a:pt x="3909598" y="1209800"/>
                </a:cubicBezTo>
                <a:cubicBezTo>
                  <a:pt x="3901963" y="1216094"/>
                  <a:pt x="3898550" y="1226199"/>
                  <a:pt x="3900864" y="1235830"/>
                </a:cubicBezTo>
                <a:cubicBezTo>
                  <a:pt x="3901442" y="1237507"/>
                  <a:pt x="3902194" y="1238491"/>
                  <a:pt x="3903004" y="1238491"/>
                </a:cubicBezTo>
                <a:lnTo>
                  <a:pt x="3903872" y="1238491"/>
                </a:lnTo>
                <a:cubicBezTo>
                  <a:pt x="3910524" y="1239636"/>
                  <a:pt x="3916193" y="1243957"/>
                  <a:pt x="3919027" y="1250060"/>
                </a:cubicBezTo>
                <a:cubicBezTo>
                  <a:pt x="3920357" y="1253108"/>
                  <a:pt x="3919547" y="1256683"/>
                  <a:pt x="3916945" y="1258794"/>
                </a:cubicBezTo>
                <a:cubicBezTo>
                  <a:pt x="3914978" y="1260836"/>
                  <a:pt x="3912259" y="1262016"/>
                  <a:pt x="3909425" y="1262091"/>
                </a:cubicBezTo>
                <a:cubicBezTo>
                  <a:pt x="3907574" y="1261993"/>
                  <a:pt x="3905723" y="1261623"/>
                  <a:pt x="3903930" y="1260992"/>
                </a:cubicBezTo>
                <a:cubicBezTo>
                  <a:pt x="3901268" y="1259876"/>
                  <a:pt x="3898376" y="1259616"/>
                  <a:pt x="3895542" y="1260240"/>
                </a:cubicBezTo>
                <a:cubicBezTo>
                  <a:pt x="3889758" y="1261918"/>
                  <a:pt x="3880387" y="1275569"/>
                  <a:pt x="3877264" y="1284940"/>
                </a:cubicBezTo>
                <a:cubicBezTo>
                  <a:pt x="3876222" y="1287022"/>
                  <a:pt x="3875991" y="1289423"/>
                  <a:pt x="3876685" y="1291650"/>
                </a:cubicBezTo>
                <a:lnTo>
                  <a:pt x="3878073" y="1293385"/>
                </a:lnTo>
                <a:cubicBezTo>
                  <a:pt x="3882990" y="1299169"/>
                  <a:pt x="3892014" y="1310391"/>
                  <a:pt x="3881428" y="1320167"/>
                </a:cubicBezTo>
                <a:cubicBezTo>
                  <a:pt x="3878073" y="1323325"/>
                  <a:pt x="3873619" y="1325032"/>
                  <a:pt x="3869050" y="1324910"/>
                </a:cubicBezTo>
                <a:cubicBezTo>
                  <a:pt x="3866793" y="1324870"/>
                  <a:pt x="3864537" y="1324673"/>
                  <a:pt x="3862281" y="1324332"/>
                </a:cubicBezTo>
                <a:cubicBezTo>
                  <a:pt x="3860257" y="1324002"/>
                  <a:pt x="3858175" y="1323805"/>
                  <a:pt x="3856092" y="1323753"/>
                </a:cubicBezTo>
                <a:cubicBezTo>
                  <a:pt x="3853431" y="1323655"/>
                  <a:pt x="3850828" y="1324407"/>
                  <a:pt x="3848630" y="1325894"/>
                </a:cubicBezTo>
                <a:lnTo>
                  <a:pt x="3842846" y="1329885"/>
                </a:lnTo>
                <a:cubicBezTo>
                  <a:pt x="3833823" y="1335669"/>
                  <a:pt x="3821386" y="1344230"/>
                  <a:pt x="3822832" y="1349725"/>
                </a:cubicBezTo>
                <a:cubicBezTo>
                  <a:pt x="3823294" y="1351403"/>
                  <a:pt x="3823873" y="1353312"/>
                  <a:pt x="3824567" y="1355510"/>
                </a:cubicBezTo>
                <a:cubicBezTo>
                  <a:pt x="3827112" y="1363435"/>
                  <a:pt x="3830005" y="1372400"/>
                  <a:pt x="3824567" y="1374309"/>
                </a:cubicBezTo>
                <a:cubicBezTo>
                  <a:pt x="3821848" y="1375067"/>
                  <a:pt x="3819014" y="1375362"/>
                  <a:pt x="3816180" y="1375177"/>
                </a:cubicBezTo>
                <a:cubicBezTo>
                  <a:pt x="3811726" y="1375177"/>
                  <a:pt x="3807041" y="1375177"/>
                  <a:pt x="3804611" y="1378011"/>
                </a:cubicBezTo>
                <a:cubicBezTo>
                  <a:pt x="3801777" y="1380904"/>
                  <a:pt x="3798364" y="1383131"/>
                  <a:pt x="3794604" y="1384548"/>
                </a:cubicBezTo>
                <a:cubicBezTo>
                  <a:pt x="3790902" y="1386341"/>
                  <a:pt x="3787084" y="1388134"/>
                  <a:pt x="3786159" y="1390332"/>
                </a:cubicBezTo>
                <a:cubicBezTo>
                  <a:pt x="3785580" y="1393068"/>
                  <a:pt x="3785291" y="1395862"/>
                  <a:pt x="3785291" y="1398662"/>
                </a:cubicBezTo>
                <a:cubicBezTo>
                  <a:pt x="3785291" y="1406181"/>
                  <a:pt x="3784713" y="1415494"/>
                  <a:pt x="3779507" y="1418734"/>
                </a:cubicBezTo>
                <a:cubicBezTo>
                  <a:pt x="3777251" y="1420099"/>
                  <a:pt x="3775515" y="1422123"/>
                  <a:pt x="3774474" y="1424518"/>
                </a:cubicBezTo>
                <a:cubicBezTo>
                  <a:pt x="3772334" y="1428423"/>
                  <a:pt x="3769384" y="1431847"/>
                  <a:pt x="3765855" y="1434583"/>
                </a:cubicBezTo>
                <a:cubicBezTo>
                  <a:pt x="3762442" y="1437475"/>
                  <a:pt x="3758335" y="1441814"/>
                  <a:pt x="3754287" y="1446152"/>
                </a:cubicBezTo>
                <a:cubicBezTo>
                  <a:pt x="3746072" y="1454829"/>
                  <a:pt x="3740866" y="1460092"/>
                  <a:pt x="3737570" y="1460092"/>
                </a:cubicBezTo>
                <a:cubicBezTo>
                  <a:pt x="3736875" y="1460104"/>
                  <a:pt x="3736181" y="1459809"/>
                  <a:pt x="3735660" y="1459282"/>
                </a:cubicBezTo>
                <a:cubicBezTo>
                  <a:pt x="3733867" y="1456847"/>
                  <a:pt x="3732826" y="1453926"/>
                  <a:pt x="3732653" y="1450895"/>
                </a:cubicBezTo>
                <a:cubicBezTo>
                  <a:pt x="3732363" y="1446701"/>
                  <a:pt x="3730917" y="1442681"/>
                  <a:pt x="3728372" y="1439326"/>
                </a:cubicBezTo>
                <a:cubicBezTo>
                  <a:pt x="3725364" y="1436145"/>
                  <a:pt x="3724901" y="1427757"/>
                  <a:pt x="3724323" y="1418618"/>
                </a:cubicBezTo>
                <a:cubicBezTo>
                  <a:pt x="3723745" y="1409479"/>
                  <a:pt x="3723166" y="1398546"/>
                  <a:pt x="3719753" y="1392704"/>
                </a:cubicBezTo>
                <a:cubicBezTo>
                  <a:pt x="3712523" y="1380383"/>
                  <a:pt x="3705003" y="1313052"/>
                  <a:pt x="3704598" y="1291187"/>
                </a:cubicBezTo>
                <a:cubicBezTo>
                  <a:pt x="3704714" y="1267529"/>
                  <a:pt x="3713796" y="1244802"/>
                  <a:pt x="3729992" y="1227558"/>
                </a:cubicBezTo>
                <a:cubicBezTo>
                  <a:pt x="3736470" y="1220710"/>
                  <a:pt x="3739189" y="1211154"/>
                  <a:pt x="3737280" y="1201933"/>
                </a:cubicBezTo>
                <a:cubicBezTo>
                  <a:pt x="3736760" y="1197942"/>
                  <a:pt x="3736354" y="1194529"/>
                  <a:pt x="3739941" y="1194067"/>
                </a:cubicBezTo>
                <a:cubicBezTo>
                  <a:pt x="3741445" y="1194067"/>
                  <a:pt x="3743527" y="1193777"/>
                  <a:pt x="3746015" y="1193662"/>
                </a:cubicBezTo>
                <a:cubicBezTo>
                  <a:pt x="3751510" y="1193315"/>
                  <a:pt x="3764409" y="1192620"/>
                  <a:pt x="3764409" y="1189902"/>
                </a:cubicBezTo>
                <a:cubicBezTo>
                  <a:pt x="3764409" y="1187183"/>
                  <a:pt x="3767590" y="1186373"/>
                  <a:pt x="3772854" y="1184522"/>
                </a:cubicBezTo>
                <a:cubicBezTo>
                  <a:pt x="3787662" y="1180305"/>
                  <a:pt x="3800562" y="1171166"/>
                  <a:pt x="3809412" y="1158608"/>
                </a:cubicBezTo>
                <a:cubicBezTo>
                  <a:pt x="3818378" y="1146264"/>
                  <a:pt x="3829599" y="1135777"/>
                  <a:pt x="3842557" y="1127719"/>
                </a:cubicBezTo>
                <a:cubicBezTo>
                  <a:pt x="3849382" y="1123843"/>
                  <a:pt x="3855283" y="1118580"/>
                  <a:pt x="3859910" y="1112275"/>
                </a:cubicBezTo>
                <a:cubicBezTo>
                  <a:pt x="3863091" y="1106883"/>
                  <a:pt x="3867545" y="1102372"/>
                  <a:pt x="3872925" y="1099144"/>
                </a:cubicBezTo>
                <a:cubicBezTo>
                  <a:pt x="3877784" y="1095731"/>
                  <a:pt x="3881602" y="1093360"/>
                  <a:pt x="3882007" y="1088096"/>
                </a:cubicBezTo>
                <a:cubicBezTo>
                  <a:pt x="3882643" y="1078956"/>
                  <a:pt x="3899996" y="1075370"/>
                  <a:pt x="3911449" y="1072998"/>
                </a:cubicBezTo>
                <a:cubicBezTo>
                  <a:pt x="3913879" y="1072565"/>
                  <a:pt x="3916309" y="1072009"/>
                  <a:pt x="3918680" y="1071321"/>
                </a:cubicBezTo>
                <a:cubicBezTo>
                  <a:pt x="3925448" y="1069354"/>
                  <a:pt x="3925621" y="1066057"/>
                  <a:pt x="3925910" y="1061082"/>
                </a:cubicBezTo>
                <a:lnTo>
                  <a:pt x="3925910" y="1059868"/>
                </a:lnTo>
                <a:cubicBezTo>
                  <a:pt x="3925910" y="1056744"/>
                  <a:pt x="3929092" y="1054893"/>
                  <a:pt x="3931695" y="1053273"/>
                </a:cubicBezTo>
                <a:cubicBezTo>
                  <a:pt x="3933257" y="1052290"/>
                  <a:pt x="3935108" y="1051191"/>
                  <a:pt x="3935223" y="1050266"/>
                </a:cubicBezTo>
                <a:cubicBezTo>
                  <a:pt x="3935165" y="1049623"/>
                  <a:pt x="3934818" y="1049039"/>
                  <a:pt x="3934298" y="1048646"/>
                </a:cubicBezTo>
                <a:cubicBezTo>
                  <a:pt x="3931001" y="1045349"/>
                  <a:pt x="3932678" y="1042225"/>
                  <a:pt x="3934298" y="1038581"/>
                </a:cubicBezTo>
                <a:cubicBezTo>
                  <a:pt x="3936901" y="1034324"/>
                  <a:pt x="3938231" y="1029407"/>
                  <a:pt x="3938173" y="1024409"/>
                </a:cubicBezTo>
                <a:cubicBezTo>
                  <a:pt x="3937711" y="1018023"/>
                  <a:pt x="3939967" y="1011741"/>
                  <a:pt x="3944305" y="1007056"/>
                </a:cubicBezTo>
                <a:cubicBezTo>
                  <a:pt x="3948354" y="1002723"/>
                  <a:pt x="3954428" y="1000930"/>
                  <a:pt x="3960154" y="1002370"/>
                </a:cubicBezTo>
                <a:cubicBezTo>
                  <a:pt x="3961889" y="1002885"/>
                  <a:pt x="3963741" y="1003175"/>
                  <a:pt x="3965533" y="1003238"/>
                </a:cubicBezTo>
                <a:cubicBezTo>
                  <a:pt x="3966979" y="1003238"/>
                  <a:pt x="3967327" y="1002891"/>
                  <a:pt x="3967327" y="1002891"/>
                </a:cubicBezTo>
                <a:cubicBezTo>
                  <a:pt x="3967327" y="1002891"/>
                  <a:pt x="3965939" y="1000693"/>
                  <a:pt x="3959807" y="998090"/>
                </a:cubicBezTo>
                <a:cubicBezTo>
                  <a:pt x="3956221" y="996812"/>
                  <a:pt x="3952461" y="996222"/>
                  <a:pt x="3948643" y="996355"/>
                </a:cubicBezTo>
                <a:cubicBezTo>
                  <a:pt x="3934876" y="996355"/>
                  <a:pt x="3915151" y="1001734"/>
                  <a:pt x="3914573" y="1013708"/>
                </a:cubicBezTo>
                <a:cubicBezTo>
                  <a:pt x="3914457" y="1018364"/>
                  <a:pt x="3914631" y="1023027"/>
                  <a:pt x="3915209" y="1027648"/>
                </a:cubicBezTo>
                <a:cubicBezTo>
                  <a:pt x="3915787" y="1033433"/>
                  <a:pt x="3916251" y="1037482"/>
                  <a:pt x="3914110" y="1039796"/>
                </a:cubicBezTo>
                <a:cubicBezTo>
                  <a:pt x="3912375" y="1041386"/>
                  <a:pt x="3909945" y="1042000"/>
                  <a:pt x="3907689" y="1041415"/>
                </a:cubicBezTo>
                <a:cubicBezTo>
                  <a:pt x="3906590" y="1041357"/>
                  <a:pt x="3905549" y="1041357"/>
                  <a:pt x="3904450" y="1041415"/>
                </a:cubicBezTo>
                <a:cubicBezTo>
                  <a:pt x="3891667" y="1041415"/>
                  <a:pt x="3877090" y="1048993"/>
                  <a:pt x="3863381" y="1062702"/>
                </a:cubicBezTo>
                <a:cubicBezTo>
                  <a:pt x="3848052" y="1078031"/>
                  <a:pt x="3836946" y="1079188"/>
                  <a:pt x="3833938" y="1079188"/>
                </a:cubicBezTo>
                <a:cubicBezTo>
                  <a:pt x="3831740" y="1079610"/>
                  <a:pt x="3829484" y="1078708"/>
                  <a:pt x="3828153" y="1076874"/>
                </a:cubicBezTo>
                <a:cubicBezTo>
                  <a:pt x="3826997" y="1074676"/>
                  <a:pt x="3829831" y="1072709"/>
                  <a:pt x="3832781" y="1070742"/>
                </a:cubicBezTo>
                <a:cubicBezTo>
                  <a:pt x="3834285" y="1069701"/>
                  <a:pt x="3837119" y="1067792"/>
                  <a:pt x="3837004" y="1066983"/>
                </a:cubicBezTo>
                <a:cubicBezTo>
                  <a:pt x="3836888" y="1066173"/>
                  <a:pt x="3837004" y="1066520"/>
                  <a:pt x="3835963" y="1066115"/>
                </a:cubicBezTo>
                <a:cubicBezTo>
                  <a:pt x="3833707" y="1065276"/>
                  <a:pt x="3831335" y="1064808"/>
                  <a:pt x="3828905" y="1064727"/>
                </a:cubicBezTo>
                <a:cubicBezTo>
                  <a:pt x="3825261" y="1064380"/>
                  <a:pt x="3821848" y="1064032"/>
                  <a:pt x="3820171" y="1061545"/>
                </a:cubicBezTo>
                <a:cubicBezTo>
                  <a:pt x="3819072" y="1059237"/>
                  <a:pt x="3819072" y="1056565"/>
                  <a:pt x="3820171" y="1054257"/>
                </a:cubicBezTo>
                <a:cubicBezTo>
                  <a:pt x="3822312" y="1048866"/>
                  <a:pt x="3825493" y="1043955"/>
                  <a:pt x="3829542" y="1039796"/>
                </a:cubicBezTo>
                <a:cubicBezTo>
                  <a:pt x="3832492" y="1036383"/>
                  <a:pt x="3835327" y="1033144"/>
                  <a:pt x="3834979" y="1031350"/>
                </a:cubicBezTo>
                <a:cubicBezTo>
                  <a:pt x="3834863" y="1030818"/>
                  <a:pt x="3834459" y="1030373"/>
                  <a:pt x="3833996" y="1030136"/>
                </a:cubicBezTo>
                <a:cubicBezTo>
                  <a:pt x="3831219" y="1028400"/>
                  <a:pt x="3827691" y="1031119"/>
                  <a:pt x="3824162" y="1033838"/>
                </a:cubicBezTo>
                <a:cubicBezTo>
                  <a:pt x="3821964" y="1036076"/>
                  <a:pt x="3819130" y="1037592"/>
                  <a:pt x="3816006" y="1038176"/>
                </a:cubicBezTo>
                <a:cubicBezTo>
                  <a:pt x="3815428" y="1038170"/>
                  <a:pt x="3814907" y="1038072"/>
                  <a:pt x="3814386" y="1037887"/>
                </a:cubicBezTo>
                <a:cubicBezTo>
                  <a:pt x="3812246" y="1036822"/>
                  <a:pt x="3810569" y="1035041"/>
                  <a:pt x="3809643" y="1032854"/>
                </a:cubicBezTo>
                <a:cubicBezTo>
                  <a:pt x="3808081" y="1030194"/>
                  <a:pt x="3806751" y="1027938"/>
                  <a:pt x="3803859" y="1027938"/>
                </a:cubicBezTo>
                <a:cubicBezTo>
                  <a:pt x="3801545" y="1028129"/>
                  <a:pt x="3799289" y="1028886"/>
                  <a:pt x="3797322" y="1030136"/>
                </a:cubicBezTo>
                <a:cubicBezTo>
                  <a:pt x="3789629" y="1033861"/>
                  <a:pt x="3781069" y="1035556"/>
                  <a:pt x="3772507" y="1035052"/>
                </a:cubicBezTo>
                <a:cubicBezTo>
                  <a:pt x="3768285" y="1035052"/>
                  <a:pt x="3764236" y="1035052"/>
                  <a:pt x="3760938" y="1034590"/>
                </a:cubicBezTo>
                <a:cubicBezTo>
                  <a:pt x="3757641" y="1034127"/>
                  <a:pt x="3754402" y="1034243"/>
                  <a:pt x="3752262" y="1034590"/>
                </a:cubicBezTo>
                <a:cubicBezTo>
                  <a:pt x="3744626" y="1034879"/>
                  <a:pt x="3738784" y="1051943"/>
                  <a:pt x="3738784" y="1058479"/>
                </a:cubicBezTo>
                <a:cubicBezTo>
                  <a:pt x="3738784" y="1062528"/>
                  <a:pt x="3735892" y="1063223"/>
                  <a:pt x="3732537" y="1064264"/>
                </a:cubicBezTo>
                <a:cubicBezTo>
                  <a:pt x="3727215" y="1065328"/>
                  <a:pt x="3722299" y="1067763"/>
                  <a:pt x="3718192" y="1071321"/>
                </a:cubicBezTo>
                <a:cubicBezTo>
                  <a:pt x="3714605" y="1074387"/>
                  <a:pt x="3710440" y="1077105"/>
                  <a:pt x="3706044" y="1080460"/>
                </a:cubicBezTo>
                <a:cubicBezTo>
                  <a:pt x="3695111" y="1087124"/>
                  <a:pt x="3685683" y="1096038"/>
                  <a:pt x="3678452" y="1106606"/>
                </a:cubicBezTo>
                <a:cubicBezTo>
                  <a:pt x="3674345" y="1113547"/>
                  <a:pt x="3669949" y="1121992"/>
                  <a:pt x="3671916" y="1125463"/>
                </a:cubicBezTo>
                <a:cubicBezTo>
                  <a:pt x="3672841" y="1127083"/>
                  <a:pt x="3675329" y="1127893"/>
                  <a:pt x="3679494" y="1127893"/>
                </a:cubicBezTo>
                <a:cubicBezTo>
                  <a:pt x="3688633" y="1127893"/>
                  <a:pt x="3694707" y="1132694"/>
                  <a:pt x="3694707" y="1135875"/>
                </a:cubicBezTo>
                <a:cubicBezTo>
                  <a:pt x="3694707" y="1136731"/>
                  <a:pt x="3694244" y="1137529"/>
                  <a:pt x="3693550" y="1138015"/>
                </a:cubicBezTo>
                <a:cubicBezTo>
                  <a:pt x="3692567" y="1138524"/>
                  <a:pt x="3691467" y="1138750"/>
                  <a:pt x="3690368" y="1138652"/>
                </a:cubicBezTo>
                <a:lnTo>
                  <a:pt x="3688170" y="1138652"/>
                </a:lnTo>
                <a:cubicBezTo>
                  <a:pt x="3679262" y="1138276"/>
                  <a:pt x="3670470" y="1140572"/>
                  <a:pt x="3662892" y="1145246"/>
                </a:cubicBezTo>
                <a:cubicBezTo>
                  <a:pt x="3661736" y="1146409"/>
                  <a:pt x="3660174" y="1147085"/>
                  <a:pt x="3658496" y="1147155"/>
                </a:cubicBezTo>
                <a:cubicBezTo>
                  <a:pt x="3656876" y="1147016"/>
                  <a:pt x="3655257" y="1146478"/>
                  <a:pt x="3653868" y="1145593"/>
                </a:cubicBezTo>
                <a:cubicBezTo>
                  <a:pt x="3652307" y="1144644"/>
                  <a:pt x="3650514" y="1144089"/>
                  <a:pt x="3648663" y="1143973"/>
                </a:cubicBezTo>
                <a:cubicBezTo>
                  <a:pt x="3646754" y="1144066"/>
                  <a:pt x="3644903" y="1144685"/>
                  <a:pt x="3643341" y="1145766"/>
                </a:cubicBezTo>
                <a:cubicBezTo>
                  <a:pt x="3637094" y="1149706"/>
                  <a:pt x="3629864" y="1151719"/>
                  <a:pt x="3622517" y="1151551"/>
                </a:cubicBezTo>
                <a:cubicBezTo>
                  <a:pt x="3619683" y="1151528"/>
                  <a:pt x="3616791" y="1151337"/>
                  <a:pt x="3613956" y="1150972"/>
                </a:cubicBezTo>
                <a:cubicBezTo>
                  <a:pt x="3610717" y="1151071"/>
                  <a:pt x="3607536" y="1151904"/>
                  <a:pt x="3604644" y="1153402"/>
                </a:cubicBezTo>
                <a:cubicBezTo>
                  <a:pt x="3600826" y="1155166"/>
                  <a:pt x="3596719" y="1156225"/>
                  <a:pt x="3592554" y="1156525"/>
                </a:cubicBezTo>
                <a:cubicBezTo>
                  <a:pt x="3590298" y="1156560"/>
                  <a:pt x="3588042" y="1156005"/>
                  <a:pt x="3586075" y="1154906"/>
                </a:cubicBezTo>
                <a:cubicBezTo>
                  <a:pt x="3581910" y="1152534"/>
                  <a:pt x="3581506" y="1150220"/>
                  <a:pt x="3581910" y="1148716"/>
                </a:cubicBezTo>
                <a:cubicBezTo>
                  <a:pt x="3582836" y="1145246"/>
                  <a:pt x="3588621" y="1143395"/>
                  <a:pt x="3593479" y="1143395"/>
                </a:cubicBezTo>
                <a:lnTo>
                  <a:pt x="3595446" y="1143395"/>
                </a:lnTo>
                <a:cubicBezTo>
                  <a:pt x="3600131" y="1143858"/>
                  <a:pt x="3603602" y="1141139"/>
                  <a:pt x="3603718" y="1139404"/>
                </a:cubicBezTo>
                <a:cubicBezTo>
                  <a:pt x="3603834" y="1137668"/>
                  <a:pt x="3602387" y="1137495"/>
                  <a:pt x="3600016" y="1137205"/>
                </a:cubicBezTo>
                <a:cubicBezTo>
                  <a:pt x="3596140" y="1136309"/>
                  <a:pt x="3592785" y="1133810"/>
                  <a:pt x="3590877" y="1130322"/>
                </a:cubicBezTo>
                <a:cubicBezTo>
                  <a:pt x="3589141" y="1127950"/>
                  <a:pt x="3587637" y="1125868"/>
                  <a:pt x="3585555" y="1125868"/>
                </a:cubicBezTo>
                <a:cubicBezTo>
                  <a:pt x="3584224" y="1125966"/>
                  <a:pt x="3582894" y="1126470"/>
                  <a:pt x="3581852" y="1127314"/>
                </a:cubicBezTo>
                <a:cubicBezTo>
                  <a:pt x="3579366" y="1129148"/>
                  <a:pt x="3576358" y="1130195"/>
                  <a:pt x="3573292" y="1130322"/>
                </a:cubicBezTo>
                <a:cubicBezTo>
                  <a:pt x="3569127" y="1129894"/>
                  <a:pt x="3565193" y="1128031"/>
                  <a:pt x="3562243" y="1125058"/>
                </a:cubicBezTo>
                <a:lnTo>
                  <a:pt x="3559929" y="1123265"/>
                </a:lnTo>
                <a:cubicBezTo>
                  <a:pt x="3554724" y="1120731"/>
                  <a:pt x="3548997" y="1119575"/>
                  <a:pt x="3543213" y="1119910"/>
                </a:cubicBezTo>
                <a:cubicBezTo>
                  <a:pt x="3533090" y="1119910"/>
                  <a:pt x="3525860" y="1122687"/>
                  <a:pt x="3523256" y="1127314"/>
                </a:cubicBezTo>
                <a:cubicBezTo>
                  <a:pt x="3521116" y="1132763"/>
                  <a:pt x="3515910" y="1136378"/>
                  <a:pt x="3510068" y="1136453"/>
                </a:cubicBezTo>
                <a:cubicBezTo>
                  <a:pt x="3506365" y="1136263"/>
                  <a:pt x="3502722" y="1135540"/>
                  <a:pt x="3499251" y="1134313"/>
                </a:cubicBezTo>
                <a:cubicBezTo>
                  <a:pt x="3495722" y="1133434"/>
                  <a:pt x="3492020" y="1133868"/>
                  <a:pt x="3488839" y="1135528"/>
                </a:cubicBezTo>
                <a:cubicBezTo>
                  <a:pt x="3485079" y="1137263"/>
                  <a:pt x="3481030" y="1138189"/>
                  <a:pt x="3476923" y="1138247"/>
                </a:cubicBezTo>
                <a:cubicBezTo>
                  <a:pt x="3475766" y="1138247"/>
                  <a:pt x="3474494" y="1138247"/>
                  <a:pt x="3473221" y="1138247"/>
                </a:cubicBezTo>
                <a:lnTo>
                  <a:pt x="3466569" y="1137379"/>
                </a:lnTo>
                <a:cubicBezTo>
                  <a:pt x="3462751" y="1136766"/>
                  <a:pt x="3458875" y="1136401"/>
                  <a:pt x="3455000" y="1136280"/>
                </a:cubicBezTo>
                <a:cubicBezTo>
                  <a:pt x="3452629" y="1135997"/>
                  <a:pt x="3450257" y="1136708"/>
                  <a:pt x="3448464" y="1138247"/>
                </a:cubicBezTo>
                <a:cubicBezTo>
                  <a:pt x="3446555" y="1140786"/>
                  <a:pt x="3443720" y="1142406"/>
                  <a:pt x="3440539" y="1142701"/>
                </a:cubicBezTo>
                <a:cubicBezTo>
                  <a:pt x="3437473" y="1142464"/>
                  <a:pt x="3434639" y="1141029"/>
                  <a:pt x="3432672" y="1138709"/>
                </a:cubicBezTo>
                <a:cubicBezTo>
                  <a:pt x="3428739" y="1134776"/>
                  <a:pt x="3409997" y="1130322"/>
                  <a:pt x="3390851" y="1130322"/>
                </a:cubicBezTo>
                <a:cubicBezTo>
                  <a:pt x="3385298" y="1130258"/>
                  <a:pt x="3379803" y="1130721"/>
                  <a:pt x="3374365" y="1131710"/>
                </a:cubicBezTo>
                <a:cubicBezTo>
                  <a:pt x="3352616" y="1135991"/>
                  <a:pt x="3324272" y="1152245"/>
                  <a:pt x="3323983" y="1157335"/>
                </a:cubicBezTo>
                <a:cubicBezTo>
                  <a:pt x="3323983" y="1161211"/>
                  <a:pt x="3317099" y="1165491"/>
                  <a:pt x="3309406" y="1170408"/>
                </a:cubicBezTo>
                <a:cubicBezTo>
                  <a:pt x="3303332" y="1173543"/>
                  <a:pt x="3297953" y="1177893"/>
                  <a:pt x="3293615" y="1183192"/>
                </a:cubicBezTo>
                <a:cubicBezTo>
                  <a:pt x="3289276" y="1192158"/>
                  <a:pt x="3280079" y="1200545"/>
                  <a:pt x="3263419" y="1214312"/>
                </a:cubicBezTo>
                <a:cubicBezTo>
                  <a:pt x="3256363" y="1219842"/>
                  <a:pt x="3249016" y="1224978"/>
                  <a:pt x="3241439" y="1229698"/>
                </a:cubicBezTo>
                <a:cubicBezTo>
                  <a:pt x="3233051" y="1235078"/>
                  <a:pt x="3225821" y="1239706"/>
                  <a:pt x="3224548" y="1243292"/>
                </a:cubicBezTo>
                <a:lnTo>
                  <a:pt x="3224548" y="1244160"/>
                </a:lnTo>
                <a:cubicBezTo>
                  <a:pt x="3222466" y="1252489"/>
                  <a:pt x="3216971" y="1259564"/>
                  <a:pt x="3209393" y="1263653"/>
                </a:cubicBezTo>
                <a:cubicBezTo>
                  <a:pt x="3205691" y="1265793"/>
                  <a:pt x="3201122" y="1268628"/>
                  <a:pt x="3196320" y="1271578"/>
                </a:cubicBezTo>
                <a:cubicBezTo>
                  <a:pt x="3189148" y="1276246"/>
                  <a:pt x="3181743" y="1280497"/>
                  <a:pt x="3174108" y="1284303"/>
                </a:cubicBezTo>
                <a:cubicBezTo>
                  <a:pt x="3171852" y="1285385"/>
                  <a:pt x="3170059" y="1287173"/>
                  <a:pt x="3168960" y="1289394"/>
                </a:cubicBezTo>
                <a:cubicBezTo>
                  <a:pt x="3165952" y="1294565"/>
                  <a:pt x="3161441" y="1298701"/>
                  <a:pt x="3156061" y="1301252"/>
                </a:cubicBezTo>
                <a:cubicBezTo>
                  <a:pt x="3148483" y="1305243"/>
                  <a:pt x="3143740" y="1310738"/>
                  <a:pt x="3144492" y="1314498"/>
                </a:cubicBezTo>
                <a:cubicBezTo>
                  <a:pt x="3145012" y="1317217"/>
                  <a:pt x="3148541" y="1318894"/>
                  <a:pt x="3154325" y="1319357"/>
                </a:cubicBezTo>
                <a:cubicBezTo>
                  <a:pt x="3160977" y="1319617"/>
                  <a:pt x="3167688" y="1319247"/>
                  <a:pt x="3174282" y="1318258"/>
                </a:cubicBezTo>
                <a:cubicBezTo>
                  <a:pt x="3176827" y="1317859"/>
                  <a:pt x="3179430" y="1317605"/>
                  <a:pt x="3182033" y="1317506"/>
                </a:cubicBezTo>
                <a:cubicBezTo>
                  <a:pt x="3183537" y="1317298"/>
                  <a:pt x="3185099" y="1317813"/>
                  <a:pt x="3186197" y="1318894"/>
                </a:cubicBezTo>
                <a:cubicBezTo>
                  <a:pt x="3186661" y="1319745"/>
                  <a:pt x="3186661" y="1320763"/>
                  <a:pt x="3186197" y="1321613"/>
                </a:cubicBezTo>
                <a:cubicBezTo>
                  <a:pt x="3184520" y="1326588"/>
                  <a:pt x="3182843" y="1342726"/>
                  <a:pt x="3186197" y="1347180"/>
                </a:cubicBezTo>
                <a:cubicBezTo>
                  <a:pt x="3187065" y="1348337"/>
                  <a:pt x="3187701" y="1348164"/>
                  <a:pt x="3188280" y="1348048"/>
                </a:cubicBezTo>
                <a:cubicBezTo>
                  <a:pt x="3191693" y="1347296"/>
                  <a:pt x="3193486" y="1343999"/>
                  <a:pt x="3195510" y="1340123"/>
                </a:cubicBezTo>
                <a:cubicBezTo>
                  <a:pt x="3197420" y="1335403"/>
                  <a:pt x="3200716" y="1331372"/>
                  <a:pt x="3204997" y="1328554"/>
                </a:cubicBezTo>
                <a:cubicBezTo>
                  <a:pt x="3206327" y="1327611"/>
                  <a:pt x="3207889" y="1326998"/>
                  <a:pt x="3209509" y="1326761"/>
                </a:cubicBezTo>
                <a:cubicBezTo>
                  <a:pt x="3210145" y="1326715"/>
                  <a:pt x="3210723" y="1327004"/>
                  <a:pt x="3211071" y="1327513"/>
                </a:cubicBezTo>
                <a:cubicBezTo>
                  <a:pt x="3211823" y="1328670"/>
                  <a:pt x="3211071" y="1330463"/>
                  <a:pt x="3209913" y="1333298"/>
                </a:cubicBezTo>
                <a:cubicBezTo>
                  <a:pt x="3208815" y="1335640"/>
                  <a:pt x="3208005" y="1338081"/>
                  <a:pt x="3207369" y="1340586"/>
                </a:cubicBezTo>
                <a:cubicBezTo>
                  <a:pt x="3207021" y="1342952"/>
                  <a:pt x="3207889" y="1345329"/>
                  <a:pt x="3209625" y="1346949"/>
                </a:cubicBezTo>
                <a:cubicBezTo>
                  <a:pt x="3211649" y="1349436"/>
                  <a:pt x="3213905" y="1352213"/>
                  <a:pt x="3208236" y="1357303"/>
                </a:cubicBezTo>
                <a:cubicBezTo>
                  <a:pt x="3206617" y="1358807"/>
                  <a:pt x="3206385" y="1359675"/>
                  <a:pt x="3206443" y="1359964"/>
                </a:cubicBezTo>
                <a:cubicBezTo>
                  <a:pt x="3206501" y="1360253"/>
                  <a:pt x="3207427" y="1360716"/>
                  <a:pt x="3209219" y="1360716"/>
                </a:cubicBezTo>
                <a:cubicBezTo>
                  <a:pt x="3214079" y="1360739"/>
                  <a:pt x="3218764" y="1358628"/>
                  <a:pt x="3221946" y="1354931"/>
                </a:cubicBezTo>
                <a:lnTo>
                  <a:pt x="3222755" y="1353659"/>
                </a:lnTo>
                <a:cubicBezTo>
                  <a:pt x="3227498" y="1346255"/>
                  <a:pt x="3230044" y="1342669"/>
                  <a:pt x="3234903" y="1343999"/>
                </a:cubicBezTo>
                <a:cubicBezTo>
                  <a:pt x="3236233" y="1344381"/>
                  <a:pt x="3237621" y="1343895"/>
                  <a:pt x="3238431" y="1342784"/>
                </a:cubicBezTo>
                <a:cubicBezTo>
                  <a:pt x="3239530" y="1340760"/>
                  <a:pt x="3239703" y="1338324"/>
                  <a:pt x="3238778" y="1336190"/>
                </a:cubicBezTo>
                <a:cubicBezTo>
                  <a:pt x="3238315" y="1335368"/>
                  <a:pt x="3238315" y="1334350"/>
                  <a:pt x="3238778" y="1333529"/>
                </a:cubicBezTo>
                <a:cubicBezTo>
                  <a:pt x="3239935" y="1332436"/>
                  <a:pt x="3241497" y="1331921"/>
                  <a:pt x="3243059" y="1332141"/>
                </a:cubicBezTo>
                <a:cubicBezTo>
                  <a:pt x="3245777" y="1332251"/>
                  <a:pt x="3248438" y="1332522"/>
                  <a:pt x="3251099" y="1332951"/>
                </a:cubicBezTo>
                <a:cubicBezTo>
                  <a:pt x="3254916" y="1333633"/>
                  <a:pt x="3258792" y="1333945"/>
                  <a:pt x="3262668" y="1333876"/>
                </a:cubicBezTo>
                <a:lnTo>
                  <a:pt x="3263825" y="1333876"/>
                </a:lnTo>
                <a:cubicBezTo>
                  <a:pt x="3273022" y="1333876"/>
                  <a:pt x="3284475" y="1343016"/>
                  <a:pt x="3285285" y="1351229"/>
                </a:cubicBezTo>
                <a:cubicBezTo>
                  <a:pt x="3285979" y="1357014"/>
                  <a:pt x="3292284" y="1360080"/>
                  <a:pt x="3298358" y="1362798"/>
                </a:cubicBezTo>
                <a:lnTo>
                  <a:pt x="3301250" y="1364071"/>
                </a:lnTo>
                <a:cubicBezTo>
                  <a:pt x="3306166" y="1366385"/>
                  <a:pt x="3313224" y="1371648"/>
                  <a:pt x="3313455" y="1375929"/>
                </a:cubicBezTo>
                <a:cubicBezTo>
                  <a:pt x="3313513" y="1377398"/>
                  <a:pt x="3312703" y="1378757"/>
                  <a:pt x="3311373" y="1379399"/>
                </a:cubicBezTo>
                <a:cubicBezTo>
                  <a:pt x="3306803" y="1382118"/>
                  <a:pt x="3307034" y="1383102"/>
                  <a:pt x="3308596" y="1385994"/>
                </a:cubicBezTo>
                <a:cubicBezTo>
                  <a:pt x="3309638" y="1389279"/>
                  <a:pt x="3309984" y="1392750"/>
                  <a:pt x="3309580" y="1396174"/>
                </a:cubicBezTo>
                <a:cubicBezTo>
                  <a:pt x="3309232" y="1399697"/>
                  <a:pt x="3309464" y="1403255"/>
                  <a:pt x="3310274" y="1406702"/>
                </a:cubicBezTo>
                <a:cubicBezTo>
                  <a:pt x="3313860" y="1413441"/>
                  <a:pt x="3311836" y="1421817"/>
                  <a:pt x="3305530" y="1426138"/>
                </a:cubicBezTo>
                <a:cubicBezTo>
                  <a:pt x="3302060" y="1429134"/>
                  <a:pt x="3299630" y="1433200"/>
                  <a:pt x="3298705" y="1437707"/>
                </a:cubicBezTo>
                <a:cubicBezTo>
                  <a:pt x="3298184" y="1440367"/>
                  <a:pt x="3297143" y="1442884"/>
                  <a:pt x="3295581" y="1445111"/>
                </a:cubicBezTo>
                <a:cubicBezTo>
                  <a:pt x="3293846" y="1447985"/>
                  <a:pt x="3292805" y="1451242"/>
                  <a:pt x="3292631" y="1454597"/>
                </a:cubicBezTo>
                <a:cubicBezTo>
                  <a:pt x="3292573" y="1457270"/>
                  <a:pt x="3291763" y="1459867"/>
                  <a:pt x="3290317" y="1462117"/>
                </a:cubicBezTo>
                <a:cubicBezTo>
                  <a:pt x="3288929" y="1468219"/>
                  <a:pt x="3288177" y="1474438"/>
                  <a:pt x="3287946" y="1480685"/>
                </a:cubicBezTo>
                <a:cubicBezTo>
                  <a:pt x="3286442" y="1498038"/>
                  <a:pt x="3284360" y="1521696"/>
                  <a:pt x="3278748" y="1533728"/>
                </a:cubicBezTo>
                <a:cubicBezTo>
                  <a:pt x="3275451" y="1541421"/>
                  <a:pt x="3271171" y="1548681"/>
                  <a:pt x="3266139" y="1555362"/>
                </a:cubicBezTo>
                <a:cubicBezTo>
                  <a:pt x="3264577" y="1557404"/>
                  <a:pt x="3263073" y="1559527"/>
                  <a:pt x="3261742" y="1561725"/>
                </a:cubicBezTo>
                <a:cubicBezTo>
                  <a:pt x="3258330" y="1566682"/>
                  <a:pt x="3254628" y="1571414"/>
                  <a:pt x="3250636" y="1575897"/>
                </a:cubicBezTo>
                <a:cubicBezTo>
                  <a:pt x="3243753" y="1583370"/>
                  <a:pt x="3237737" y="1591572"/>
                  <a:pt x="3232704" y="1600365"/>
                </a:cubicBezTo>
                <a:cubicBezTo>
                  <a:pt x="3224896" y="1618586"/>
                  <a:pt x="3204187" y="1642070"/>
                  <a:pt x="3192560" y="1654391"/>
                </a:cubicBezTo>
                <a:cubicBezTo>
                  <a:pt x="3189032" y="1658093"/>
                  <a:pt x="3184578" y="1662605"/>
                  <a:pt x="3179835" y="1667464"/>
                </a:cubicBezTo>
                <a:cubicBezTo>
                  <a:pt x="3166704" y="1680826"/>
                  <a:pt x="3148714" y="1699163"/>
                  <a:pt x="3148426" y="1702980"/>
                </a:cubicBezTo>
                <a:cubicBezTo>
                  <a:pt x="3147905" y="1710211"/>
                  <a:pt x="3095324" y="1743471"/>
                  <a:pt x="3084797" y="1743471"/>
                </a:cubicBezTo>
                <a:cubicBezTo>
                  <a:pt x="3078145" y="1742251"/>
                  <a:pt x="3072071" y="1738902"/>
                  <a:pt x="3067444" y="1733927"/>
                </a:cubicBezTo>
                <a:cubicBezTo>
                  <a:pt x="3063684" y="1729762"/>
                  <a:pt x="3058651" y="1726887"/>
                  <a:pt x="3053156" y="1725713"/>
                </a:cubicBezTo>
                <a:cubicBezTo>
                  <a:pt x="3049859" y="1725713"/>
                  <a:pt x="3041587" y="1730109"/>
                  <a:pt x="3031117" y="1737861"/>
                </a:cubicBezTo>
                <a:cubicBezTo>
                  <a:pt x="3030770" y="1738057"/>
                  <a:pt x="3030307" y="1738057"/>
                  <a:pt x="3029960" y="1737861"/>
                </a:cubicBezTo>
                <a:cubicBezTo>
                  <a:pt x="3029613" y="1737693"/>
                  <a:pt x="3029324" y="1737334"/>
                  <a:pt x="3029324" y="1736935"/>
                </a:cubicBezTo>
                <a:cubicBezTo>
                  <a:pt x="3028861" y="1732481"/>
                  <a:pt x="3028803" y="1728143"/>
                  <a:pt x="3028745" y="1724325"/>
                </a:cubicBezTo>
                <a:cubicBezTo>
                  <a:pt x="3029093" y="1719906"/>
                  <a:pt x="3028630" y="1715469"/>
                  <a:pt x="3027473" y="1711194"/>
                </a:cubicBezTo>
                <a:cubicBezTo>
                  <a:pt x="3025564" y="1706220"/>
                  <a:pt x="3024985" y="1700834"/>
                  <a:pt x="3025853" y="1695576"/>
                </a:cubicBezTo>
                <a:cubicBezTo>
                  <a:pt x="3026316" y="1693222"/>
                  <a:pt x="3026316" y="1690810"/>
                  <a:pt x="3025853" y="1688462"/>
                </a:cubicBezTo>
                <a:cubicBezTo>
                  <a:pt x="3024581" y="1684065"/>
                  <a:pt x="3023597" y="1674058"/>
                  <a:pt x="3026895" y="1669720"/>
                </a:cubicBezTo>
                <a:cubicBezTo>
                  <a:pt x="3027820" y="1668390"/>
                  <a:pt x="3029382" y="1667609"/>
                  <a:pt x="3031001" y="1667638"/>
                </a:cubicBezTo>
                <a:cubicBezTo>
                  <a:pt x="3033142" y="1667638"/>
                  <a:pt x="3035976" y="1665035"/>
                  <a:pt x="3038695" y="1662547"/>
                </a:cubicBezTo>
                <a:cubicBezTo>
                  <a:pt x="3041645" y="1659013"/>
                  <a:pt x="3045752" y="1656647"/>
                  <a:pt x="3050263" y="1655895"/>
                </a:cubicBezTo>
                <a:cubicBezTo>
                  <a:pt x="3051767" y="1655895"/>
                  <a:pt x="3053271" y="1656381"/>
                  <a:pt x="3054486" y="1657284"/>
                </a:cubicBezTo>
                <a:cubicBezTo>
                  <a:pt x="3059114" y="1660257"/>
                  <a:pt x="3064436" y="1661876"/>
                  <a:pt x="3069931" y="1661969"/>
                </a:cubicBezTo>
                <a:cubicBezTo>
                  <a:pt x="3072071" y="1661969"/>
                  <a:pt x="3076987" y="1661622"/>
                  <a:pt x="3076987" y="1658209"/>
                </a:cubicBezTo>
                <a:cubicBezTo>
                  <a:pt x="3076987" y="1654796"/>
                  <a:pt x="3079995" y="1651846"/>
                  <a:pt x="3082772" y="1649590"/>
                </a:cubicBezTo>
                <a:cubicBezTo>
                  <a:pt x="3086243" y="1647560"/>
                  <a:pt x="3088788" y="1644199"/>
                  <a:pt x="3089771" y="1640277"/>
                </a:cubicBezTo>
                <a:cubicBezTo>
                  <a:pt x="3091044" y="1635337"/>
                  <a:pt x="3094110" y="1631074"/>
                  <a:pt x="3098448" y="1628361"/>
                </a:cubicBezTo>
                <a:cubicBezTo>
                  <a:pt x="3101861" y="1626152"/>
                  <a:pt x="3104463" y="1622936"/>
                  <a:pt x="3105910" y="1619164"/>
                </a:cubicBezTo>
                <a:cubicBezTo>
                  <a:pt x="3106315" y="1617834"/>
                  <a:pt x="3106719" y="1616214"/>
                  <a:pt x="3107183" y="1614421"/>
                </a:cubicBezTo>
                <a:cubicBezTo>
                  <a:pt x="3109785" y="1603951"/>
                  <a:pt x="3113719" y="1588102"/>
                  <a:pt x="3121007" y="1583763"/>
                </a:cubicBezTo>
                <a:cubicBezTo>
                  <a:pt x="3124536" y="1581623"/>
                  <a:pt x="3124015" y="1580351"/>
                  <a:pt x="3122453" y="1576591"/>
                </a:cubicBezTo>
                <a:cubicBezTo>
                  <a:pt x="3120313" y="1572073"/>
                  <a:pt x="3119330" y="1567070"/>
                  <a:pt x="3119677" y="1562072"/>
                </a:cubicBezTo>
                <a:cubicBezTo>
                  <a:pt x="3119966" y="1559723"/>
                  <a:pt x="3119330" y="1557352"/>
                  <a:pt x="3117884" y="1555478"/>
                </a:cubicBezTo>
                <a:cubicBezTo>
                  <a:pt x="3116322" y="1554055"/>
                  <a:pt x="3114240" y="1553326"/>
                  <a:pt x="3112099" y="1553453"/>
                </a:cubicBezTo>
                <a:cubicBezTo>
                  <a:pt x="3107703" y="1553615"/>
                  <a:pt x="3103365" y="1554974"/>
                  <a:pt x="3099663" y="1557386"/>
                </a:cubicBezTo>
                <a:cubicBezTo>
                  <a:pt x="3096481" y="1559000"/>
                  <a:pt x="3092952" y="1559851"/>
                  <a:pt x="3089366" y="1559874"/>
                </a:cubicBezTo>
                <a:cubicBezTo>
                  <a:pt x="3083177" y="1560510"/>
                  <a:pt x="3076178" y="1561204"/>
                  <a:pt x="3073401" y="1566641"/>
                </a:cubicBezTo>
                <a:cubicBezTo>
                  <a:pt x="3071666" y="1570928"/>
                  <a:pt x="3067328" y="1573566"/>
                  <a:pt x="3062700" y="1573120"/>
                </a:cubicBezTo>
                <a:cubicBezTo>
                  <a:pt x="3061254" y="1573201"/>
                  <a:pt x="3059750" y="1573201"/>
                  <a:pt x="3058304" y="1573120"/>
                </a:cubicBezTo>
                <a:cubicBezTo>
                  <a:pt x="3055007" y="1572773"/>
                  <a:pt x="3051652" y="1572773"/>
                  <a:pt x="3048355" y="1573120"/>
                </a:cubicBezTo>
                <a:cubicBezTo>
                  <a:pt x="3039158" y="1574416"/>
                  <a:pt x="3029787" y="1572050"/>
                  <a:pt x="3022267" y="1566526"/>
                </a:cubicBezTo>
                <a:cubicBezTo>
                  <a:pt x="3020879" y="1565161"/>
                  <a:pt x="3020243" y="1563246"/>
                  <a:pt x="3020416" y="1561320"/>
                </a:cubicBezTo>
                <a:cubicBezTo>
                  <a:pt x="3020416" y="1557826"/>
                  <a:pt x="3019548" y="1554384"/>
                  <a:pt x="3017871" y="1551313"/>
                </a:cubicBezTo>
                <a:cubicBezTo>
                  <a:pt x="3015731" y="1547194"/>
                  <a:pt x="3014632" y="1542596"/>
                  <a:pt x="3014747" y="1537951"/>
                </a:cubicBezTo>
                <a:cubicBezTo>
                  <a:pt x="3015094" y="1534133"/>
                  <a:pt x="3012896" y="1533381"/>
                  <a:pt x="3007864" y="1532166"/>
                </a:cubicBezTo>
                <a:cubicBezTo>
                  <a:pt x="3003352" y="1531258"/>
                  <a:pt x="2999129" y="1529141"/>
                  <a:pt x="2995717" y="1526035"/>
                </a:cubicBezTo>
                <a:cubicBezTo>
                  <a:pt x="2988717" y="1519649"/>
                  <a:pt x="2980040" y="1515467"/>
                  <a:pt x="2970670" y="1514003"/>
                </a:cubicBezTo>
                <a:cubicBezTo>
                  <a:pt x="2970265" y="1513916"/>
                  <a:pt x="2969918" y="1513916"/>
                  <a:pt x="2969513" y="1514003"/>
                </a:cubicBezTo>
                <a:cubicBezTo>
                  <a:pt x="2967777" y="1514871"/>
                  <a:pt x="2965175" y="1513483"/>
                  <a:pt x="2961357" y="1511285"/>
                </a:cubicBezTo>
                <a:cubicBezTo>
                  <a:pt x="2955630" y="1507525"/>
                  <a:pt x="2949094" y="1505165"/>
                  <a:pt x="2942269" y="1504401"/>
                </a:cubicBezTo>
                <a:cubicBezTo>
                  <a:pt x="2938103" y="1504592"/>
                  <a:pt x="2934112" y="1502891"/>
                  <a:pt x="2931336" y="1499773"/>
                </a:cubicBezTo>
                <a:cubicBezTo>
                  <a:pt x="2929369" y="1496008"/>
                  <a:pt x="2929138" y="1491560"/>
                  <a:pt x="2930758" y="1487626"/>
                </a:cubicBezTo>
                <a:cubicBezTo>
                  <a:pt x="2931567" y="1484850"/>
                  <a:pt x="2927634" y="1477388"/>
                  <a:pt x="2924163" y="1470851"/>
                </a:cubicBezTo>
                <a:cubicBezTo>
                  <a:pt x="2921213" y="1465854"/>
                  <a:pt x="2918841" y="1460561"/>
                  <a:pt x="2917049" y="1455060"/>
                </a:cubicBezTo>
                <a:cubicBezTo>
                  <a:pt x="2916412" y="1451213"/>
                  <a:pt x="2914793" y="1447592"/>
                  <a:pt x="2912363" y="1444532"/>
                </a:cubicBezTo>
                <a:cubicBezTo>
                  <a:pt x="2906578" y="1437903"/>
                  <a:pt x="2902818" y="1429788"/>
                  <a:pt x="2901430" y="1421105"/>
                </a:cubicBezTo>
                <a:cubicBezTo>
                  <a:pt x="2900910" y="1414390"/>
                  <a:pt x="2897439" y="1408241"/>
                  <a:pt x="2892002" y="1404273"/>
                </a:cubicBezTo>
                <a:cubicBezTo>
                  <a:pt x="2888821" y="1402670"/>
                  <a:pt x="2887316" y="1398951"/>
                  <a:pt x="2888531" y="1395596"/>
                </a:cubicBezTo>
                <a:cubicBezTo>
                  <a:pt x="2889977" y="1389812"/>
                  <a:pt x="2884077" y="1386052"/>
                  <a:pt x="2878350" y="1382292"/>
                </a:cubicBezTo>
                <a:cubicBezTo>
                  <a:pt x="2875574" y="1380782"/>
                  <a:pt x="2873086" y="1378827"/>
                  <a:pt x="2870946" y="1376507"/>
                </a:cubicBezTo>
                <a:cubicBezTo>
                  <a:pt x="2869211" y="1374020"/>
                  <a:pt x="2863947" y="1373268"/>
                  <a:pt x="2857815" y="1372400"/>
                </a:cubicBezTo>
                <a:cubicBezTo>
                  <a:pt x="2851048" y="1371787"/>
                  <a:pt x="2844454" y="1370029"/>
                  <a:pt x="2838264" y="1367194"/>
                </a:cubicBezTo>
                <a:cubicBezTo>
                  <a:pt x="2832943" y="1364395"/>
                  <a:pt x="2826927" y="1363192"/>
                  <a:pt x="2820911" y="1363724"/>
                </a:cubicBezTo>
                <a:cubicBezTo>
                  <a:pt x="2816515" y="1363990"/>
                  <a:pt x="2812119" y="1363562"/>
                  <a:pt x="2807896" y="1362451"/>
                </a:cubicBezTo>
                <a:cubicBezTo>
                  <a:pt x="2805293" y="1361803"/>
                  <a:pt x="2802574" y="1361514"/>
                  <a:pt x="2799914" y="1361584"/>
                </a:cubicBezTo>
                <a:cubicBezTo>
                  <a:pt x="2791237" y="1361919"/>
                  <a:pt x="2782561" y="1362983"/>
                  <a:pt x="2774057" y="1364765"/>
                </a:cubicBezTo>
                <a:cubicBezTo>
                  <a:pt x="2771975" y="1365205"/>
                  <a:pt x="2769892" y="1365517"/>
                  <a:pt x="2767810" y="1365690"/>
                </a:cubicBezTo>
                <a:cubicBezTo>
                  <a:pt x="2767174" y="1365737"/>
                  <a:pt x="2766538" y="1365737"/>
                  <a:pt x="2765901" y="1365690"/>
                </a:cubicBezTo>
                <a:cubicBezTo>
                  <a:pt x="2764397" y="1365690"/>
                  <a:pt x="2762083" y="1365343"/>
                  <a:pt x="2759423" y="1365343"/>
                </a:cubicBezTo>
                <a:cubicBezTo>
                  <a:pt x="2749589" y="1364667"/>
                  <a:pt x="2740044" y="1368889"/>
                  <a:pt x="2733971" y="1376623"/>
                </a:cubicBezTo>
                <a:cubicBezTo>
                  <a:pt x="2728187" y="1384258"/>
                  <a:pt x="2728187" y="1387035"/>
                  <a:pt x="2728939" y="1388192"/>
                </a:cubicBezTo>
                <a:cubicBezTo>
                  <a:pt x="2729691" y="1389349"/>
                  <a:pt x="2731831" y="1389580"/>
                  <a:pt x="2733971" y="1389580"/>
                </a:cubicBezTo>
                <a:lnTo>
                  <a:pt x="2735475" y="1389580"/>
                </a:lnTo>
                <a:cubicBezTo>
                  <a:pt x="2739524" y="1389580"/>
                  <a:pt x="2742416" y="1396059"/>
                  <a:pt x="2744672" y="1409884"/>
                </a:cubicBezTo>
                <a:cubicBezTo>
                  <a:pt x="2745656" y="1415668"/>
                  <a:pt x="2736111" y="1423130"/>
                  <a:pt x="2731889" y="1424865"/>
                </a:cubicBezTo>
                <a:cubicBezTo>
                  <a:pt x="2727666" y="1426600"/>
                  <a:pt x="2717138" y="1443607"/>
                  <a:pt x="2715576" y="1449970"/>
                </a:cubicBezTo>
                <a:cubicBezTo>
                  <a:pt x="2714130" y="1454048"/>
                  <a:pt x="2712164" y="1457935"/>
                  <a:pt x="2709792" y="1461538"/>
                </a:cubicBezTo>
                <a:cubicBezTo>
                  <a:pt x="2706322" y="1467323"/>
                  <a:pt x="2701925" y="1474843"/>
                  <a:pt x="2702735" y="1477735"/>
                </a:cubicBezTo>
                <a:cubicBezTo>
                  <a:pt x="2703313" y="1479869"/>
                  <a:pt x="2702851" y="1482137"/>
                  <a:pt x="2701579" y="1483924"/>
                </a:cubicBezTo>
                <a:cubicBezTo>
                  <a:pt x="2698801" y="1487765"/>
                  <a:pt x="2694637" y="1490409"/>
                  <a:pt x="2690010" y="1491328"/>
                </a:cubicBezTo>
                <a:cubicBezTo>
                  <a:pt x="2684572" y="1493260"/>
                  <a:pt x="2679424" y="1495927"/>
                  <a:pt x="2674681" y="1499253"/>
                </a:cubicBezTo>
                <a:cubicBezTo>
                  <a:pt x="2671441" y="1501497"/>
                  <a:pt x="2667971" y="1503435"/>
                  <a:pt x="2664327" y="1505037"/>
                </a:cubicBezTo>
                <a:cubicBezTo>
                  <a:pt x="2663054" y="1505413"/>
                  <a:pt x="2661666" y="1505570"/>
                  <a:pt x="2660336" y="1505500"/>
                </a:cubicBezTo>
                <a:cubicBezTo>
                  <a:pt x="2653220" y="1505500"/>
                  <a:pt x="2638701" y="1502666"/>
                  <a:pt x="2636330" y="1497171"/>
                </a:cubicBezTo>
                <a:cubicBezTo>
                  <a:pt x="2634710" y="1493468"/>
                  <a:pt x="2624761" y="1490576"/>
                  <a:pt x="2617299" y="1490576"/>
                </a:cubicBezTo>
                <a:cubicBezTo>
                  <a:pt x="2615506" y="1490513"/>
                  <a:pt x="2613655" y="1490744"/>
                  <a:pt x="2611920" y="1491270"/>
                </a:cubicBezTo>
                <a:cubicBezTo>
                  <a:pt x="2605326" y="1493700"/>
                  <a:pt x="2588782" y="1492369"/>
                  <a:pt x="2586989" y="1485486"/>
                </a:cubicBezTo>
                <a:cubicBezTo>
                  <a:pt x="2586468" y="1483577"/>
                  <a:pt x="2579932" y="1481495"/>
                  <a:pt x="2570330" y="1481495"/>
                </a:cubicBezTo>
                <a:cubicBezTo>
                  <a:pt x="2565008" y="1481119"/>
                  <a:pt x="2559628" y="1482137"/>
                  <a:pt x="2554827" y="1484445"/>
                </a:cubicBezTo>
                <a:cubicBezTo>
                  <a:pt x="2551878" y="1486452"/>
                  <a:pt x="2548754" y="1488176"/>
                  <a:pt x="2545456" y="1489593"/>
                </a:cubicBezTo>
                <a:cubicBezTo>
                  <a:pt x="2540019" y="1492254"/>
                  <a:pt x="2533887" y="1495377"/>
                  <a:pt x="2533483" y="1498212"/>
                </a:cubicBezTo>
                <a:cubicBezTo>
                  <a:pt x="2532904" y="1502319"/>
                  <a:pt x="2527294" y="1503186"/>
                  <a:pt x="2521394" y="1503996"/>
                </a:cubicBezTo>
                <a:cubicBezTo>
                  <a:pt x="2517865" y="1504291"/>
                  <a:pt x="2514394" y="1505269"/>
                  <a:pt x="2511213" y="1506888"/>
                </a:cubicBezTo>
                <a:cubicBezTo>
                  <a:pt x="2504792" y="1509572"/>
                  <a:pt x="2498024" y="1511250"/>
                  <a:pt x="2491083" y="1511863"/>
                </a:cubicBezTo>
                <a:cubicBezTo>
                  <a:pt x="2485935" y="1512332"/>
                  <a:pt x="2480903" y="1513483"/>
                  <a:pt x="2476043" y="1515276"/>
                </a:cubicBezTo>
                <a:cubicBezTo>
                  <a:pt x="2475291" y="1518399"/>
                  <a:pt x="2462508" y="1518746"/>
                  <a:pt x="2457013" y="1518746"/>
                </a:cubicBezTo>
                <a:cubicBezTo>
                  <a:pt x="2453369" y="1518746"/>
                  <a:pt x="2441279" y="1518746"/>
                  <a:pt x="2437924" y="1515739"/>
                </a:cubicBezTo>
                <a:cubicBezTo>
                  <a:pt x="2433297" y="1514125"/>
                  <a:pt x="2428379" y="1513454"/>
                  <a:pt x="2423521" y="1513772"/>
                </a:cubicBezTo>
                <a:cubicBezTo>
                  <a:pt x="2414034" y="1513483"/>
                  <a:pt x="2405011" y="1513135"/>
                  <a:pt x="2402929" y="1508913"/>
                </a:cubicBezTo>
                <a:cubicBezTo>
                  <a:pt x="2401019" y="1506050"/>
                  <a:pt x="2398474" y="1503661"/>
                  <a:pt x="2395524" y="1501914"/>
                </a:cubicBezTo>
                <a:cubicBezTo>
                  <a:pt x="2391764" y="1499195"/>
                  <a:pt x="2388236" y="1496708"/>
                  <a:pt x="2388236" y="1493064"/>
                </a:cubicBezTo>
                <a:cubicBezTo>
                  <a:pt x="2388236" y="1490923"/>
                  <a:pt x="2382451" y="1489477"/>
                  <a:pt x="2377535" y="1488320"/>
                </a:cubicBezTo>
                <a:cubicBezTo>
                  <a:pt x="2372617" y="1487163"/>
                  <a:pt x="2367123" y="1485775"/>
                  <a:pt x="2365966" y="1483057"/>
                </a:cubicBezTo>
                <a:cubicBezTo>
                  <a:pt x="2364809" y="1480338"/>
                  <a:pt x="2354397" y="1477272"/>
                  <a:pt x="2349075" y="1477272"/>
                </a:cubicBezTo>
                <a:cubicBezTo>
                  <a:pt x="2348265" y="1477174"/>
                  <a:pt x="2347397" y="1477295"/>
                  <a:pt x="2346645" y="1477619"/>
                </a:cubicBezTo>
                <a:cubicBezTo>
                  <a:pt x="2346067" y="1477955"/>
                  <a:pt x="2345373" y="1478117"/>
                  <a:pt x="2344679" y="1478082"/>
                </a:cubicBezTo>
                <a:cubicBezTo>
                  <a:pt x="2339357" y="1477382"/>
                  <a:pt x="2334152" y="1476144"/>
                  <a:pt x="2329119" y="1474380"/>
                </a:cubicBezTo>
                <a:cubicBezTo>
                  <a:pt x="2325648" y="1473396"/>
                  <a:pt x="2322409" y="1472413"/>
                  <a:pt x="2320789" y="1472124"/>
                </a:cubicBezTo>
                <a:cubicBezTo>
                  <a:pt x="2315873" y="1472170"/>
                  <a:pt x="2311014" y="1472749"/>
                  <a:pt x="2306212" y="1473859"/>
                </a:cubicBezTo>
                <a:cubicBezTo>
                  <a:pt x="2302800" y="1474617"/>
                  <a:pt x="2299387" y="1475120"/>
                  <a:pt x="2295917" y="1475363"/>
                </a:cubicBezTo>
                <a:cubicBezTo>
                  <a:pt x="2292619" y="1476190"/>
                  <a:pt x="2289553" y="1477735"/>
                  <a:pt x="2286950" y="1479875"/>
                </a:cubicBezTo>
                <a:cubicBezTo>
                  <a:pt x="2283885" y="1482229"/>
                  <a:pt x="2280414" y="1483976"/>
                  <a:pt x="2276712" y="1485023"/>
                </a:cubicBezTo>
                <a:cubicBezTo>
                  <a:pt x="2272085" y="1484676"/>
                  <a:pt x="2267573" y="1483294"/>
                  <a:pt x="2263523" y="1480974"/>
                </a:cubicBezTo>
                <a:cubicBezTo>
                  <a:pt x="2260458" y="1479308"/>
                  <a:pt x="2257103" y="1478117"/>
                  <a:pt x="2253690" y="1477446"/>
                </a:cubicBezTo>
                <a:cubicBezTo>
                  <a:pt x="2253458" y="1477405"/>
                  <a:pt x="2253227" y="1477405"/>
                  <a:pt x="2252996" y="1477446"/>
                </a:cubicBezTo>
                <a:cubicBezTo>
                  <a:pt x="2252475" y="1477839"/>
                  <a:pt x="2251781" y="1478047"/>
                  <a:pt x="2251144" y="1478024"/>
                </a:cubicBezTo>
                <a:cubicBezTo>
                  <a:pt x="2246228" y="1478024"/>
                  <a:pt x="2237147" y="1467612"/>
                  <a:pt x="2234486" y="1464373"/>
                </a:cubicBezTo>
                <a:cubicBezTo>
                  <a:pt x="2232403" y="1460295"/>
                  <a:pt x="2231651" y="1455656"/>
                  <a:pt x="2232345" y="1451127"/>
                </a:cubicBezTo>
                <a:cubicBezTo>
                  <a:pt x="2232808" y="1447667"/>
                  <a:pt x="2232403" y="1444162"/>
                  <a:pt x="2231188" y="1440888"/>
                </a:cubicBezTo>
                <a:cubicBezTo>
                  <a:pt x="2229569" y="1438459"/>
                  <a:pt x="2222801" y="1437244"/>
                  <a:pt x="2216843" y="1436203"/>
                </a:cubicBezTo>
                <a:cubicBezTo>
                  <a:pt x="2212736" y="1435746"/>
                  <a:pt x="2208687" y="1434710"/>
                  <a:pt x="2204869" y="1433137"/>
                </a:cubicBezTo>
                <a:cubicBezTo>
                  <a:pt x="2198912" y="1429192"/>
                  <a:pt x="2192259" y="1426479"/>
                  <a:pt x="2185260" y="1425154"/>
                </a:cubicBezTo>
                <a:cubicBezTo>
                  <a:pt x="2179071" y="1425386"/>
                  <a:pt x="2172882" y="1423882"/>
                  <a:pt x="2167502" y="1420816"/>
                </a:cubicBezTo>
                <a:cubicBezTo>
                  <a:pt x="2161313" y="1417374"/>
                  <a:pt x="2154719" y="1414748"/>
                  <a:pt x="2147835" y="1413007"/>
                </a:cubicBezTo>
                <a:cubicBezTo>
                  <a:pt x="2145116" y="1412255"/>
                  <a:pt x="2143844" y="1414048"/>
                  <a:pt x="2142050" y="1417403"/>
                </a:cubicBezTo>
                <a:cubicBezTo>
                  <a:pt x="2141298" y="1418925"/>
                  <a:pt x="2140373" y="1420342"/>
                  <a:pt x="2139274" y="1421626"/>
                </a:cubicBezTo>
                <a:cubicBezTo>
                  <a:pt x="2137423" y="1423078"/>
                  <a:pt x="2135341" y="1424194"/>
                  <a:pt x="2133085" y="1424923"/>
                </a:cubicBezTo>
                <a:cubicBezTo>
                  <a:pt x="2129498" y="1426369"/>
                  <a:pt x="2125796" y="1427873"/>
                  <a:pt x="2124986" y="1430707"/>
                </a:cubicBezTo>
                <a:cubicBezTo>
                  <a:pt x="2124177" y="1433542"/>
                  <a:pt x="2121400" y="1435393"/>
                  <a:pt x="2118682" y="1437186"/>
                </a:cubicBezTo>
                <a:cubicBezTo>
                  <a:pt x="2115095" y="1439558"/>
                  <a:pt x="2112897" y="1441177"/>
                  <a:pt x="2113649" y="1443838"/>
                </a:cubicBezTo>
                <a:cubicBezTo>
                  <a:pt x="2115905" y="1452630"/>
                  <a:pt x="2119434" y="1463274"/>
                  <a:pt x="2122962" y="1465877"/>
                </a:cubicBezTo>
                <a:cubicBezTo>
                  <a:pt x="2127763" y="1469752"/>
                  <a:pt x="2124929" y="1480222"/>
                  <a:pt x="2122384" y="1483577"/>
                </a:cubicBezTo>
                <a:cubicBezTo>
                  <a:pt x="2119722" y="1485729"/>
                  <a:pt x="2116599" y="1487216"/>
                  <a:pt x="2113244" y="1487915"/>
                </a:cubicBezTo>
                <a:cubicBezTo>
                  <a:pt x="2107980" y="1489651"/>
                  <a:pt x="2101675" y="1491849"/>
                  <a:pt x="2099824" y="1494799"/>
                </a:cubicBezTo>
                <a:cubicBezTo>
                  <a:pt x="2098899" y="1496511"/>
                  <a:pt x="2097106" y="1497564"/>
                  <a:pt x="2095196" y="1497518"/>
                </a:cubicBezTo>
                <a:cubicBezTo>
                  <a:pt x="2090569" y="1496661"/>
                  <a:pt x="2086173" y="1494672"/>
                  <a:pt x="2082471" y="1491733"/>
                </a:cubicBezTo>
                <a:lnTo>
                  <a:pt x="2078885" y="1489477"/>
                </a:lnTo>
                <a:cubicBezTo>
                  <a:pt x="2076281" y="1487956"/>
                  <a:pt x="2073273" y="1487175"/>
                  <a:pt x="2070266" y="1487221"/>
                </a:cubicBezTo>
                <a:cubicBezTo>
                  <a:pt x="2065986" y="1487210"/>
                  <a:pt x="2061820" y="1488546"/>
                  <a:pt x="2058350" y="1491039"/>
                </a:cubicBezTo>
                <a:cubicBezTo>
                  <a:pt x="2057598" y="1491641"/>
                  <a:pt x="2056672" y="1491947"/>
                  <a:pt x="2055689" y="1491907"/>
                </a:cubicBezTo>
                <a:cubicBezTo>
                  <a:pt x="2050599" y="1490883"/>
                  <a:pt x="2045797" y="1488812"/>
                  <a:pt x="2041517" y="1485833"/>
                </a:cubicBezTo>
                <a:cubicBezTo>
                  <a:pt x="2039434" y="1484462"/>
                  <a:pt x="2037178" y="1483323"/>
                  <a:pt x="2034807" y="1482420"/>
                </a:cubicBezTo>
                <a:cubicBezTo>
                  <a:pt x="2032204" y="1481900"/>
                  <a:pt x="2030989" y="1477908"/>
                  <a:pt x="2029659" y="1473744"/>
                </a:cubicBezTo>
                <a:cubicBezTo>
                  <a:pt x="2028849" y="1471256"/>
                  <a:pt x="2027519" y="1467034"/>
                  <a:pt x="2026477" y="1467034"/>
                </a:cubicBezTo>
                <a:lnTo>
                  <a:pt x="2025031" y="1467034"/>
                </a:lnTo>
                <a:cubicBezTo>
                  <a:pt x="2012537" y="1465709"/>
                  <a:pt x="2000101" y="1463505"/>
                  <a:pt x="1987896" y="1460439"/>
                </a:cubicBezTo>
                <a:cubicBezTo>
                  <a:pt x="1985813" y="1459913"/>
                  <a:pt x="1983615" y="1459658"/>
                  <a:pt x="1981474" y="1459687"/>
                </a:cubicBezTo>
                <a:cubicBezTo>
                  <a:pt x="1975690" y="1459687"/>
                  <a:pt x="1970600" y="1461134"/>
                  <a:pt x="1969906" y="1462985"/>
                </a:cubicBezTo>
                <a:cubicBezTo>
                  <a:pt x="1969211" y="1464836"/>
                  <a:pt x="1964989" y="1466339"/>
                  <a:pt x="1960535" y="1467323"/>
                </a:cubicBezTo>
                <a:cubicBezTo>
                  <a:pt x="1956081" y="1468306"/>
                  <a:pt x="1952263" y="1469116"/>
                  <a:pt x="1951222" y="1471198"/>
                </a:cubicBezTo>
                <a:cubicBezTo>
                  <a:pt x="1948851" y="1474368"/>
                  <a:pt x="1945553" y="1476763"/>
                  <a:pt x="1941793" y="1478082"/>
                </a:cubicBezTo>
                <a:cubicBezTo>
                  <a:pt x="1938670" y="1479354"/>
                  <a:pt x="1935778" y="1481200"/>
                  <a:pt x="1933348" y="1483519"/>
                </a:cubicBezTo>
                <a:cubicBezTo>
                  <a:pt x="1930630" y="1485885"/>
                  <a:pt x="1927390" y="1487557"/>
                  <a:pt x="1923920" y="1488378"/>
                </a:cubicBezTo>
                <a:cubicBezTo>
                  <a:pt x="1919119" y="1489998"/>
                  <a:pt x="1914144" y="1491675"/>
                  <a:pt x="1912351" y="1495377"/>
                </a:cubicBezTo>
                <a:cubicBezTo>
                  <a:pt x="1909169" y="1502550"/>
                  <a:pt x="1894997" y="1505905"/>
                  <a:pt x="1886437" y="1507293"/>
                </a:cubicBezTo>
                <a:cubicBezTo>
                  <a:pt x="1873942" y="1509434"/>
                  <a:pt x="1869083" y="1512037"/>
                  <a:pt x="1869083" y="1513656"/>
                </a:cubicBezTo>
                <a:cubicBezTo>
                  <a:pt x="1869083" y="1515276"/>
                  <a:pt x="1867869" y="1516433"/>
                  <a:pt x="1864687" y="1516433"/>
                </a:cubicBezTo>
                <a:cubicBezTo>
                  <a:pt x="1862489" y="1516300"/>
                  <a:pt x="1860349" y="1515970"/>
                  <a:pt x="1858209" y="1515449"/>
                </a:cubicBezTo>
                <a:cubicBezTo>
                  <a:pt x="1856300" y="1514992"/>
                  <a:pt x="1854391" y="1514703"/>
                  <a:pt x="1852424" y="1514582"/>
                </a:cubicBezTo>
                <a:cubicBezTo>
                  <a:pt x="1846986" y="1514582"/>
                  <a:pt x="1839293" y="1505211"/>
                  <a:pt x="1838368" y="1499079"/>
                </a:cubicBezTo>
                <a:cubicBezTo>
                  <a:pt x="1838021" y="1496650"/>
                  <a:pt x="1836922" y="1496650"/>
                  <a:pt x="1836401" y="1496650"/>
                </a:cubicBezTo>
                <a:cubicBezTo>
                  <a:pt x="1834319" y="1497032"/>
                  <a:pt x="1832352" y="1497859"/>
                  <a:pt x="1830617" y="1499079"/>
                </a:cubicBezTo>
                <a:cubicBezTo>
                  <a:pt x="1823444" y="1501787"/>
                  <a:pt x="1815866" y="1503215"/>
                  <a:pt x="1808231" y="1503302"/>
                </a:cubicBezTo>
                <a:cubicBezTo>
                  <a:pt x="1803199" y="1503302"/>
                  <a:pt x="1793423" y="1496592"/>
                  <a:pt x="1793423" y="1490866"/>
                </a:cubicBezTo>
                <a:cubicBezTo>
                  <a:pt x="1793423" y="1485139"/>
                  <a:pt x="1791803" y="1481726"/>
                  <a:pt x="1788680" y="1481726"/>
                </a:cubicBezTo>
                <a:cubicBezTo>
                  <a:pt x="1784226" y="1481726"/>
                  <a:pt x="1776012" y="1479817"/>
                  <a:pt x="1770690" y="1467091"/>
                </a:cubicBezTo>
                <a:cubicBezTo>
                  <a:pt x="1768550" y="1461174"/>
                  <a:pt x="1763749" y="1456651"/>
                  <a:pt x="1757675" y="1454944"/>
                </a:cubicBezTo>
                <a:cubicBezTo>
                  <a:pt x="1756287" y="1454412"/>
                  <a:pt x="1754899" y="1453793"/>
                  <a:pt x="1753568" y="1453093"/>
                </a:cubicBezTo>
                <a:cubicBezTo>
                  <a:pt x="1752816" y="1452706"/>
                  <a:pt x="1751949" y="1452526"/>
                  <a:pt x="1751081" y="1452573"/>
                </a:cubicBezTo>
                <a:cubicBezTo>
                  <a:pt x="1745007" y="1453521"/>
                  <a:pt x="1739165" y="1455476"/>
                  <a:pt x="1733728" y="1458357"/>
                </a:cubicBezTo>
                <a:cubicBezTo>
                  <a:pt x="1731298" y="1459398"/>
                  <a:pt x="1729216" y="1460324"/>
                  <a:pt x="1727539" y="1460960"/>
                </a:cubicBezTo>
                <a:cubicBezTo>
                  <a:pt x="1726035" y="1461504"/>
                  <a:pt x="1724415" y="1461758"/>
                  <a:pt x="1722795" y="1461712"/>
                </a:cubicBezTo>
                <a:cubicBezTo>
                  <a:pt x="1717589" y="1461359"/>
                  <a:pt x="1712441" y="1460329"/>
                  <a:pt x="1707524" y="1458646"/>
                </a:cubicBezTo>
                <a:cubicBezTo>
                  <a:pt x="1704979" y="1457952"/>
                  <a:pt x="1702549" y="1457258"/>
                  <a:pt x="1700293" y="1456795"/>
                </a:cubicBezTo>
                <a:cubicBezTo>
                  <a:pt x="1695897" y="1455193"/>
                  <a:pt x="1692196" y="1452231"/>
                  <a:pt x="1689592" y="1448350"/>
                </a:cubicBezTo>
                <a:cubicBezTo>
                  <a:pt x="1686238" y="1444417"/>
                  <a:pt x="1682998" y="1440830"/>
                  <a:pt x="1679585" y="1441640"/>
                </a:cubicBezTo>
                <a:cubicBezTo>
                  <a:pt x="1676173" y="1442450"/>
                  <a:pt x="1673801" y="1446730"/>
                  <a:pt x="1671545" y="1450953"/>
                </a:cubicBezTo>
                <a:cubicBezTo>
                  <a:pt x="1669289" y="1455176"/>
                  <a:pt x="1667149" y="1459225"/>
                  <a:pt x="1663505" y="1459225"/>
                </a:cubicBezTo>
                <a:cubicBezTo>
                  <a:pt x="1659860" y="1459225"/>
                  <a:pt x="1655117" y="1450606"/>
                  <a:pt x="1647771" y="1435335"/>
                </a:cubicBezTo>
                <a:cubicBezTo>
                  <a:pt x="1643722" y="1426502"/>
                  <a:pt x="1639210" y="1417924"/>
                  <a:pt x="1634120" y="1409652"/>
                </a:cubicBezTo>
                <a:cubicBezTo>
                  <a:pt x="1632732" y="1407512"/>
                  <a:pt x="1631228" y="1405082"/>
                  <a:pt x="1629550" y="1402537"/>
                </a:cubicBezTo>
                <a:cubicBezTo>
                  <a:pt x="1617981" y="1384201"/>
                  <a:pt x="1600050" y="1356262"/>
                  <a:pt x="1584432" y="1350477"/>
                </a:cubicBezTo>
                <a:cubicBezTo>
                  <a:pt x="1576680" y="1347643"/>
                  <a:pt x="1572226" y="1343999"/>
                  <a:pt x="1571301" y="1339603"/>
                </a:cubicBezTo>
                <a:cubicBezTo>
                  <a:pt x="1570780" y="1335166"/>
                  <a:pt x="1572631" y="1330781"/>
                  <a:pt x="1576160" y="1328034"/>
                </a:cubicBezTo>
                <a:cubicBezTo>
                  <a:pt x="1576622" y="1327571"/>
                  <a:pt x="1576796" y="1327224"/>
                  <a:pt x="1576680" y="1327050"/>
                </a:cubicBezTo>
                <a:cubicBezTo>
                  <a:pt x="1576564" y="1326877"/>
                  <a:pt x="1574193" y="1325546"/>
                  <a:pt x="1570202" y="1325546"/>
                </a:cubicBezTo>
                <a:cubicBezTo>
                  <a:pt x="1566442" y="1325460"/>
                  <a:pt x="1562682" y="1326293"/>
                  <a:pt x="1559327" y="1327976"/>
                </a:cubicBezTo>
                <a:cubicBezTo>
                  <a:pt x="1557187" y="1329249"/>
                  <a:pt x="1554873" y="1330810"/>
                  <a:pt x="1552386" y="1332488"/>
                </a:cubicBezTo>
                <a:cubicBezTo>
                  <a:pt x="1546948" y="1336734"/>
                  <a:pt x="1540759" y="1339984"/>
                  <a:pt x="1534165" y="1342090"/>
                </a:cubicBezTo>
                <a:cubicBezTo>
                  <a:pt x="1530289" y="1343403"/>
                  <a:pt x="1526588" y="1345358"/>
                  <a:pt x="1523348" y="1347874"/>
                </a:cubicBezTo>
                <a:cubicBezTo>
                  <a:pt x="1518605" y="1351571"/>
                  <a:pt x="1513052" y="1353983"/>
                  <a:pt x="1507094" y="1354874"/>
                </a:cubicBezTo>
                <a:cubicBezTo>
                  <a:pt x="1505995" y="1354879"/>
                  <a:pt x="1504953" y="1354706"/>
                  <a:pt x="1503912" y="1354353"/>
                </a:cubicBezTo>
                <a:cubicBezTo>
                  <a:pt x="1500326" y="1353138"/>
                  <a:pt x="1497260" y="1355336"/>
                  <a:pt x="1494368" y="1357592"/>
                </a:cubicBezTo>
                <a:cubicBezTo>
                  <a:pt x="1492517" y="1359478"/>
                  <a:pt x="1490087" y="1360687"/>
                  <a:pt x="1487485" y="1361005"/>
                </a:cubicBezTo>
                <a:cubicBezTo>
                  <a:pt x="1485749" y="1360965"/>
                  <a:pt x="1484071" y="1360236"/>
                  <a:pt x="1482857" y="1358980"/>
                </a:cubicBezTo>
                <a:cubicBezTo>
                  <a:pt x="1481527" y="1357905"/>
                  <a:pt x="1480717" y="1356297"/>
                  <a:pt x="1480717" y="1354584"/>
                </a:cubicBezTo>
                <a:cubicBezTo>
                  <a:pt x="1480717" y="1351576"/>
                  <a:pt x="1483898" y="1349147"/>
                  <a:pt x="1486906" y="1346718"/>
                </a:cubicBezTo>
                <a:cubicBezTo>
                  <a:pt x="1489914" y="1344288"/>
                  <a:pt x="1492228" y="1342495"/>
                  <a:pt x="1492228" y="1340586"/>
                </a:cubicBezTo>
                <a:cubicBezTo>
                  <a:pt x="1492228" y="1339718"/>
                  <a:pt x="1492228" y="1339313"/>
                  <a:pt x="1490782" y="1339313"/>
                </a:cubicBezTo>
                <a:cubicBezTo>
                  <a:pt x="1489393" y="1339406"/>
                  <a:pt x="1488005" y="1339660"/>
                  <a:pt x="1486675" y="1340065"/>
                </a:cubicBezTo>
                <a:cubicBezTo>
                  <a:pt x="1484997" y="1340517"/>
                  <a:pt x="1483262" y="1340789"/>
                  <a:pt x="1481527" y="1340875"/>
                </a:cubicBezTo>
                <a:cubicBezTo>
                  <a:pt x="1480196" y="1340985"/>
                  <a:pt x="1478866" y="1340476"/>
                  <a:pt x="1477940" y="1339487"/>
                </a:cubicBezTo>
                <a:cubicBezTo>
                  <a:pt x="1475626" y="1337086"/>
                  <a:pt x="1472503" y="1335588"/>
                  <a:pt x="1469206" y="1335264"/>
                </a:cubicBezTo>
                <a:cubicBezTo>
                  <a:pt x="1467412" y="1335264"/>
                  <a:pt x="1467181" y="1336074"/>
                  <a:pt x="1467181" y="1336942"/>
                </a:cubicBezTo>
                <a:cubicBezTo>
                  <a:pt x="1467412" y="1338943"/>
                  <a:pt x="1465966" y="1340742"/>
                  <a:pt x="1463942" y="1340968"/>
                </a:cubicBezTo>
                <a:cubicBezTo>
                  <a:pt x="1463826" y="1340985"/>
                  <a:pt x="1463653" y="1340997"/>
                  <a:pt x="1463479" y="1340991"/>
                </a:cubicBezTo>
                <a:cubicBezTo>
                  <a:pt x="1460182" y="1340927"/>
                  <a:pt x="1457463" y="1338463"/>
                  <a:pt x="1457059" y="1335207"/>
                </a:cubicBezTo>
                <a:cubicBezTo>
                  <a:pt x="1457059" y="1332546"/>
                  <a:pt x="1454282" y="1327860"/>
                  <a:pt x="1451274" y="1327860"/>
                </a:cubicBezTo>
                <a:cubicBezTo>
                  <a:pt x="1450233" y="1327924"/>
                  <a:pt x="1449250" y="1328456"/>
                  <a:pt x="1448613" y="1329306"/>
                </a:cubicBezTo>
                <a:cubicBezTo>
                  <a:pt x="1443292" y="1333679"/>
                  <a:pt x="1436582" y="1336039"/>
                  <a:pt x="1429698" y="1335959"/>
                </a:cubicBezTo>
                <a:cubicBezTo>
                  <a:pt x="1426921" y="1336219"/>
                  <a:pt x="1424145" y="1335363"/>
                  <a:pt x="1422005" y="1333587"/>
                </a:cubicBezTo>
                <a:cubicBezTo>
                  <a:pt x="1419344" y="1330405"/>
                  <a:pt x="1421022" y="1327802"/>
                  <a:pt x="1422525" y="1325951"/>
                </a:cubicBezTo>
                <a:cubicBezTo>
                  <a:pt x="1423740" y="1324604"/>
                  <a:pt x="1424492" y="1322938"/>
                  <a:pt x="1424781" y="1321150"/>
                </a:cubicBezTo>
                <a:cubicBezTo>
                  <a:pt x="1424723" y="1318409"/>
                  <a:pt x="1423971" y="1315725"/>
                  <a:pt x="1422583" y="1313341"/>
                </a:cubicBezTo>
                <a:cubicBezTo>
                  <a:pt x="1420616" y="1309813"/>
                  <a:pt x="1419749" y="1305798"/>
                  <a:pt x="1419980" y="1301773"/>
                </a:cubicBezTo>
                <a:cubicBezTo>
                  <a:pt x="1420096" y="1300135"/>
                  <a:pt x="1419576" y="1298516"/>
                  <a:pt x="1418418" y="1297318"/>
                </a:cubicBezTo>
                <a:cubicBezTo>
                  <a:pt x="1415352" y="1293877"/>
                  <a:pt x="1411072" y="1291794"/>
                  <a:pt x="1406445" y="1291534"/>
                </a:cubicBezTo>
                <a:cubicBezTo>
                  <a:pt x="1405577" y="1291505"/>
                  <a:pt x="1404767" y="1291644"/>
                  <a:pt x="1403957" y="1291939"/>
                </a:cubicBezTo>
                <a:cubicBezTo>
                  <a:pt x="1401991" y="1292679"/>
                  <a:pt x="1399908" y="1293050"/>
                  <a:pt x="1397826" y="1293038"/>
                </a:cubicBezTo>
                <a:cubicBezTo>
                  <a:pt x="1392273" y="1292749"/>
                  <a:pt x="1386836" y="1291355"/>
                  <a:pt x="1381861" y="1288931"/>
                </a:cubicBezTo>
                <a:cubicBezTo>
                  <a:pt x="1380010" y="1288248"/>
                  <a:pt x="1378043" y="1287954"/>
                  <a:pt x="1376077" y="1288063"/>
                </a:cubicBezTo>
                <a:cubicBezTo>
                  <a:pt x="1364970" y="1288063"/>
                  <a:pt x="1350393" y="1292402"/>
                  <a:pt x="1349641" y="1295988"/>
                </a:cubicBezTo>
                <a:cubicBezTo>
                  <a:pt x="1348774" y="1300558"/>
                  <a:pt x="1336164" y="1303739"/>
                  <a:pt x="1319851" y="1307557"/>
                </a:cubicBezTo>
                <a:cubicBezTo>
                  <a:pt x="1316208" y="1308263"/>
                  <a:pt x="1312564" y="1309171"/>
                  <a:pt x="1309035" y="1310276"/>
                </a:cubicBezTo>
                <a:cubicBezTo>
                  <a:pt x="1296193" y="1313532"/>
                  <a:pt x="1283120" y="1315985"/>
                  <a:pt x="1269990" y="1317622"/>
                </a:cubicBezTo>
                <a:cubicBezTo>
                  <a:pt x="1266288" y="1318368"/>
                  <a:pt x="1262702" y="1319617"/>
                  <a:pt x="1259347" y="1321324"/>
                </a:cubicBezTo>
                <a:cubicBezTo>
                  <a:pt x="1253967" y="1324135"/>
                  <a:pt x="1248067" y="1325772"/>
                  <a:pt x="1241993" y="1326125"/>
                </a:cubicBezTo>
                <a:cubicBezTo>
                  <a:pt x="1233143" y="1326125"/>
                  <a:pt x="1211451" y="1326935"/>
                  <a:pt x="1201502" y="1334339"/>
                </a:cubicBezTo>
                <a:cubicBezTo>
                  <a:pt x="1197164" y="1337225"/>
                  <a:pt x="1192016" y="1338625"/>
                  <a:pt x="1186810" y="1338330"/>
                </a:cubicBezTo>
                <a:cubicBezTo>
                  <a:pt x="1184207" y="1338330"/>
                  <a:pt x="1181604" y="1338330"/>
                  <a:pt x="1179117" y="1337925"/>
                </a:cubicBezTo>
                <a:cubicBezTo>
                  <a:pt x="1175588" y="1337393"/>
                  <a:pt x="1172002" y="1337393"/>
                  <a:pt x="1168473" y="1337925"/>
                </a:cubicBezTo>
                <a:cubicBezTo>
                  <a:pt x="1166102" y="1338614"/>
                  <a:pt x="1163672" y="1338926"/>
                  <a:pt x="1161243" y="1338851"/>
                </a:cubicBezTo>
                <a:cubicBezTo>
                  <a:pt x="1159103" y="1338851"/>
                  <a:pt x="1156962" y="1338851"/>
                  <a:pt x="1154880" y="1338561"/>
                </a:cubicBezTo>
                <a:cubicBezTo>
                  <a:pt x="1152798" y="1338272"/>
                  <a:pt x="1151294" y="1338561"/>
                  <a:pt x="1149790" y="1338561"/>
                </a:cubicBezTo>
                <a:cubicBezTo>
                  <a:pt x="1148402" y="1338429"/>
                  <a:pt x="1146956" y="1338671"/>
                  <a:pt x="1145682" y="1339256"/>
                </a:cubicBezTo>
                <a:cubicBezTo>
                  <a:pt x="1143022" y="1341049"/>
                  <a:pt x="1143600" y="1354642"/>
                  <a:pt x="1147244" y="1360774"/>
                </a:cubicBezTo>
                <a:cubicBezTo>
                  <a:pt x="1149038" y="1363724"/>
                  <a:pt x="1155805" y="1365980"/>
                  <a:pt x="1161301" y="1367773"/>
                </a:cubicBezTo>
                <a:cubicBezTo>
                  <a:pt x="1166796" y="1369566"/>
                  <a:pt x="1170902" y="1371012"/>
                  <a:pt x="1171597" y="1373094"/>
                </a:cubicBezTo>
                <a:cubicBezTo>
                  <a:pt x="1171886" y="1373656"/>
                  <a:pt x="1171886" y="1374327"/>
                  <a:pt x="1171597" y="1374888"/>
                </a:cubicBezTo>
                <a:cubicBezTo>
                  <a:pt x="1170093" y="1377144"/>
                  <a:pt x="1163094" y="1377780"/>
                  <a:pt x="1151698" y="1378590"/>
                </a:cubicBezTo>
                <a:cubicBezTo>
                  <a:pt x="1147996" y="1378590"/>
                  <a:pt x="1144526" y="1379110"/>
                  <a:pt x="1141865" y="1379399"/>
                </a:cubicBezTo>
                <a:cubicBezTo>
                  <a:pt x="1139898" y="1379527"/>
                  <a:pt x="1138047" y="1380603"/>
                  <a:pt x="1137006" y="1382292"/>
                </a:cubicBezTo>
                <a:cubicBezTo>
                  <a:pt x="1135329" y="1387214"/>
                  <a:pt x="1135675" y="1392594"/>
                  <a:pt x="1137931" y="1397273"/>
                </a:cubicBezTo>
                <a:cubicBezTo>
                  <a:pt x="1138568" y="1398748"/>
                  <a:pt x="1138568" y="1400426"/>
                  <a:pt x="1137931" y="1401901"/>
                </a:cubicBezTo>
                <a:cubicBezTo>
                  <a:pt x="1134981" y="1408322"/>
                  <a:pt x="1121966" y="1412833"/>
                  <a:pt x="1120578" y="1413470"/>
                </a:cubicBezTo>
                <a:cubicBezTo>
                  <a:pt x="1118900" y="1413915"/>
                  <a:pt x="1117918" y="1415627"/>
                  <a:pt x="1118380" y="1417293"/>
                </a:cubicBezTo>
                <a:cubicBezTo>
                  <a:pt x="1118380" y="1417311"/>
                  <a:pt x="1118380" y="1417328"/>
                  <a:pt x="1118380" y="1417345"/>
                </a:cubicBezTo>
                <a:cubicBezTo>
                  <a:pt x="1119364" y="1421788"/>
                  <a:pt x="1123008" y="1425154"/>
                  <a:pt x="1127519" y="1425791"/>
                </a:cubicBezTo>
                <a:cubicBezTo>
                  <a:pt x="1131395" y="1426074"/>
                  <a:pt x="1135155" y="1427219"/>
                  <a:pt x="1138568" y="1429146"/>
                </a:cubicBezTo>
                <a:cubicBezTo>
                  <a:pt x="1141113" y="1430638"/>
                  <a:pt x="1143947" y="1431564"/>
                  <a:pt x="1146898" y="1431864"/>
                </a:cubicBezTo>
                <a:cubicBezTo>
                  <a:pt x="1154417" y="1431864"/>
                  <a:pt x="1155227" y="1446210"/>
                  <a:pt x="1155227" y="1452399"/>
                </a:cubicBezTo>
                <a:cubicBezTo>
                  <a:pt x="1155227" y="1459572"/>
                  <a:pt x="1149154" y="1463216"/>
                  <a:pt x="1137179" y="1463216"/>
                </a:cubicBezTo>
                <a:cubicBezTo>
                  <a:pt x="1132031" y="1463002"/>
                  <a:pt x="1127057" y="1461180"/>
                  <a:pt x="1123008" y="1458010"/>
                </a:cubicBezTo>
                <a:cubicBezTo>
                  <a:pt x="1121041" y="1456489"/>
                  <a:pt x="1118785" y="1455372"/>
                  <a:pt x="1116356" y="1454713"/>
                </a:cubicBezTo>
                <a:cubicBezTo>
                  <a:pt x="1114100" y="1454250"/>
                  <a:pt x="1113232" y="1456448"/>
                  <a:pt x="1111959" y="1460497"/>
                </a:cubicBezTo>
                <a:cubicBezTo>
                  <a:pt x="1111497" y="1463505"/>
                  <a:pt x="1109819" y="1466212"/>
                  <a:pt x="1107390" y="1468017"/>
                </a:cubicBezTo>
                <a:cubicBezTo>
                  <a:pt x="1106811" y="1468341"/>
                  <a:pt x="1106175" y="1468520"/>
                  <a:pt x="1105539" y="1468538"/>
                </a:cubicBezTo>
                <a:cubicBezTo>
                  <a:pt x="1103341" y="1468538"/>
                  <a:pt x="1101895" y="1466571"/>
                  <a:pt x="1100333" y="1464546"/>
                </a:cubicBezTo>
                <a:cubicBezTo>
                  <a:pt x="1098771" y="1462522"/>
                  <a:pt x="1096688" y="1459687"/>
                  <a:pt x="1093565" y="1459687"/>
                </a:cubicBezTo>
                <a:cubicBezTo>
                  <a:pt x="1089574" y="1459687"/>
                  <a:pt x="1077369" y="1459687"/>
                  <a:pt x="1074303" y="1450432"/>
                </a:cubicBezTo>
                <a:cubicBezTo>
                  <a:pt x="1073262" y="1447309"/>
                  <a:pt x="1068518" y="1445111"/>
                  <a:pt x="1062734" y="1445111"/>
                </a:cubicBezTo>
                <a:cubicBezTo>
                  <a:pt x="1057991" y="1444891"/>
                  <a:pt x="1053305" y="1446528"/>
                  <a:pt x="1049719" y="1449680"/>
                </a:cubicBezTo>
                <a:cubicBezTo>
                  <a:pt x="1047810" y="1452174"/>
                  <a:pt x="1044976" y="1453776"/>
                  <a:pt x="1041852" y="1454134"/>
                </a:cubicBezTo>
                <a:cubicBezTo>
                  <a:pt x="1038902" y="1453677"/>
                  <a:pt x="1036241" y="1452231"/>
                  <a:pt x="1034217" y="1450028"/>
                </a:cubicBezTo>
                <a:lnTo>
                  <a:pt x="1032424" y="1448523"/>
                </a:lnTo>
                <a:cubicBezTo>
                  <a:pt x="1030920" y="1447540"/>
                  <a:pt x="1029184" y="1447077"/>
                  <a:pt x="1027391" y="1447193"/>
                </a:cubicBezTo>
                <a:cubicBezTo>
                  <a:pt x="1019582" y="1447193"/>
                  <a:pt x="1009112" y="1452688"/>
                  <a:pt x="1007550" y="1456564"/>
                </a:cubicBezTo>
                <a:cubicBezTo>
                  <a:pt x="1004543" y="1461249"/>
                  <a:pt x="999163" y="1463812"/>
                  <a:pt x="993610" y="1463158"/>
                </a:cubicBezTo>
                <a:cubicBezTo>
                  <a:pt x="988982" y="1463187"/>
                  <a:pt x="984412" y="1461926"/>
                  <a:pt x="980479" y="1459514"/>
                </a:cubicBezTo>
                <a:cubicBezTo>
                  <a:pt x="977009" y="1456963"/>
                  <a:pt x="973075" y="1455152"/>
                  <a:pt x="968911" y="1454192"/>
                </a:cubicBezTo>
                <a:cubicBezTo>
                  <a:pt x="968101" y="1454192"/>
                  <a:pt x="966423" y="1454192"/>
                  <a:pt x="966423" y="1458588"/>
                </a:cubicBezTo>
                <a:cubicBezTo>
                  <a:pt x="966423" y="1462985"/>
                  <a:pt x="964572" y="1463563"/>
                  <a:pt x="963415" y="1463563"/>
                </a:cubicBezTo>
                <a:cubicBezTo>
                  <a:pt x="960581" y="1463563"/>
                  <a:pt x="956879" y="1458704"/>
                  <a:pt x="956879" y="1454886"/>
                </a:cubicBezTo>
                <a:cubicBezTo>
                  <a:pt x="956879" y="1451069"/>
                  <a:pt x="943748" y="1442623"/>
                  <a:pt x="937443" y="1438459"/>
                </a:cubicBezTo>
                <a:lnTo>
                  <a:pt x="934436" y="1436492"/>
                </a:lnTo>
                <a:cubicBezTo>
                  <a:pt x="929287" y="1434155"/>
                  <a:pt x="923734" y="1432651"/>
                  <a:pt x="918123" y="1432038"/>
                </a:cubicBezTo>
                <a:cubicBezTo>
                  <a:pt x="908868" y="1430418"/>
                  <a:pt x="903200" y="1429261"/>
                  <a:pt x="902390" y="1426253"/>
                </a:cubicBezTo>
                <a:cubicBezTo>
                  <a:pt x="901926" y="1424287"/>
                  <a:pt x="897762" y="1421973"/>
                  <a:pt x="893077" y="1421973"/>
                </a:cubicBezTo>
                <a:cubicBezTo>
                  <a:pt x="889779" y="1421695"/>
                  <a:pt x="886656" y="1423460"/>
                  <a:pt x="885152" y="1426427"/>
                </a:cubicBezTo>
                <a:cubicBezTo>
                  <a:pt x="883764" y="1429782"/>
                  <a:pt x="881681" y="1431459"/>
                  <a:pt x="879078" y="1431459"/>
                </a:cubicBezTo>
                <a:cubicBezTo>
                  <a:pt x="876418" y="1431124"/>
                  <a:pt x="873872" y="1430112"/>
                  <a:pt x="871732" y="1428509"/>
                </a:cubicBezTo>
                <a:lnTo>
                  <a:pt x="869071" y="1426948"/>
                </a:lnTo>
                <a:cubicBezTo>
                  <a:pt x="868377" y="1426641"/>
                  <a:pt x="867567" y="1426502"/>
                  <a:pt x="866815" y="1426543"/>
                </a:cubicBezTo>
                <a:cubicBezTo>
                  <a:pt x="861205" y="1427451"/>
                  <a:pt x="855825" y="1429412"/>
                  <a:pt x="850966" y="1432327"/>
                </a:cubicBezTo>
                <a:lnTo>
                  <a:pt x="849520" y="1433079"/>
                </a:lnTo>
                <a:cubicBezTo>
                  <a:pt x="848421" y="1433600"/>
                  <a:pt x="846744" y="1434641"/>
                  <a:pt x="844719" y="1435798"/>
                </a:cubicBezTo>
                <a:cubicBezTo>
                  <a:pt x="837604" y="1440078"/>
                  <a:pt x="826787" y="1446557"/>
                  <a:pt x="819904" y="1446557"/>
                </a:cubicBezTo>
                <a:cubicBezTo>
                  <a:pt x="816606" y="1446557"/>
                  <a:pt x="815855" y="1448408"/>
                  <a:pt x="814755" y="1451242"/>
                </a:cubicBezTo>
                <a:cubicBezTo>
                  <a:pt x="813599" y="1455604"/>
                  <a:pt x="810070" y="1458935"/>
                  <a:pt x="805674" y="1459861"/>
                </a:cubicBezTo>
                <a:cubicBezTo>
                  <a:pt x="803013" y="1460127"/>
                  <a:pt x="800642" y="1461492"/>
                  <a:pt x="799022" y="1463621"/>
                </a:cubicBezTo>
                <a:cubicBezTo>
                  <a:pt x="797923" y="1466403"/>
                  <a:pt x="797923" y="1469515"/>
                  <a:pt x="799022" y="1472297"/>
                </a:cubicBezTo>
                <a:lnTo>
                  <a:pt x="799022" y="1472992"/>
                </a:lnTo>
                <a:cubicBezTo>
                  <a:pt x="799311" y="1474056"/>
                  <a:pt x="799716" y="1475097"/>
                  <a:pt x="800121" y="1476115"/>
                </a:cubicBezTo>
                <a:cubicBezTo>
                  <a:pt x="801914" y="1479337"/>
                  <a:pt x="802377" y="1483132"/>
                  <a:pt x="801451" y="1486701"/>
                </a:cubicBezTo>
                <a:cubicBezTo>
                  <a:pt x="799600" y="1489790"/>
                  <a:pt x="796303" y="1491745"/>
                  <a:pt x="792717" y="1491907"/>
                </a:cubicBezTo>
                <a:cubicBezTo>
                  <a:pt x="787627" y="1491907"/>
                  <a:pt x="784271" y="1487106"/>
                  <a:pt x="780801" y="1481957"/>
                </a:cubicBezTo>
                <a:cubicBezTo>
                  <a:pt x="778719" y="1478551"/>
                  <a:pt x="776115" y="1475508"/>
                  <a:pt x="773050" y="1472934"/>
                </a:cubicBezTo>
                <a:cubicBezTo>
                  <a:pt x="771372" y="1471661"/>
                  <a:pt x="769348" y="1470973"/>
                  <a:pt x="767266" y="1470967"/>
                </a:cubicBezTo>
                <a:cubicBezTo>
                  <a:pt x="762001" y="1471713"/>
                  <a:pt x="758299" y="1476503"/>
                  <a:pt x="758878" y="1481784"/>
                </a:cubicBezTo>
                <a:cubicBezTo>
                  <a:pt x="758878" y="1487106"/>
                  <a:pt x="755407" y="1489477"/>
                  <a:pt x="751763" y="1491965"/>
                </a:cubicBezTo>
                <a:cubicBezTo>
                  <a:pt x="748697" y="1493735"/>
                  <a:pt x="746094" y="1496239"/>
                  <a:pt x="744186" y="1499253"/>
                </a:cubicBezTo>
                <a:cubicBezTo>
                  <a:pt x="741814" y="1503360"/>
                  <a:pt x="744186" y="1505037"/>
                  <a:pt x="748466" y="1507582"/>
                </a:cubicBezTo>
                <a:cubicBezTo>
                  <a:pt x="750722" y="1508855"/>
                  <a:pt x="752804" y="1510070"/>
                  <a:pt x="752804" y="1512037"/>
                </a:cubicBezTo>
                <a:cubicBezTo>
                  <a:pt x="752804" y="1515854"/>
                  <a:pt x="747309" y="1519094"/>
                  <a:pt x="742566" y="1521465"/>
                </a:cubicBezTo>
                <a:cubicBezTo>
                  <a:pt x="739789" y="1524438"/>
                  <a:pt x="737822" y="1528054"/>
                  <a:pt x="736781" y="1531993"/>
                </a:cubicBezTo>
                <a:cubicBezTo>
                  <a:pt x="736203" y="1533555"/>
                  <a:pt x="736203" y="1535290"/>
                  <a:pt x="736781" y="1536852"/>
                </a:cubicBezTo>
                <a:cubicBezTo>
                  <a:pt x="737418" y="1537835"/>
                  <a:pt x="739905" y="1538529"/>
                  <a:pt x="742566" y="1539165"/>
                </a:cubicBezTo>
                <a:cubicBezTo>
                  <a:pt x="747309" y="1540438"/>
                  <a:pt x="753787" y="1542173"/>
                  <a:pt x="752920" y="1548536"/>
                </a:cubicBezTo>
                <a:cubicBezTo>
                  <a:pt x="752168" y="1553858"/>
                  <a:pt x="751300" y="1559758"/>
                  <a:pt x="752920" y="1561609"/>
                </a:cubicBezTo>
                <a:cubicBezTo>
                  <a:pt x="753267" y="1562014"/>
                  <a:pt x="754366" y="1562477"/>
                  <a:pt x="756217" y="1561609"/>
                </a:cubicBezTo>
                <a:cubicBezTo>
                  <a:pt x="759803" y="1560510"/>
                  <a:pt x="763506" y="1559984"/>
                  <a:pt x="767208" y="1560047"/>
                </a:cubicBezTo>
                <a:cubicBezTo>
                  <a:pt x="769058" y="1560047"/>
                  <a:pt x="770794" y="1560047"/>
                  <a:pt x="772356" y="1560047"/>
                </a:cubicBezTo>
                <a:lnTo>
                  <a:pt x="776000" y="1560047"/>
                </a:lnTo>
                <a:cubicBezTo>
                  <a:pt x="779644" y="1560047"/>
                  <a:pt x="782305" y="1563981"/>
                  <a:pt x="786007" y="1569418"/>
                </a:cubicBezTo>
                <a:cubicBezTo>
                  <a:pt x="788379" y="1573051"/>
                  <a:pt x="790982" y="1576533"/>
                  <a:pt x="793816" y="1579830"/>
                </a:cubicBezTo>
                <a:cubicBezTo>
                  <a:pt x="799600" y="1586713"/>
                  <a:pt x="803418" y="1591110"/>
                  <a:pt x="802435" y="1594580"/>
                </a:cubicBezTo>
                <a:cubicBezTo>
                  <a:pt x="801856" y="1596431"/>
                  <a:pt x="800121" y="1597704"/>
                  <a:pt x="796650" y="1598630"/>
                </a:cubicBezTo>
                <a:cubicBezTo>
                  <a:pt x="793180" y="1599555"/>
                  <a:pt x="792832" y="1600191"/>
                  <a:pt x="792774" y="1601117"/>
                </a:cubicBezTo>
                <a:cubicBezTo>
                  <a:pt x="792717" y="1602042"/>
                  <a:pt x="795262" y="1605282"/>
                  <a:pt x="802840" y="1608636"/>
                </a:cubicBezTo>
                <a:cubicBezTo>
                  <a:pt x="806021" y="1610123"/>
                  <a:pt x="809087" y="1611905"/>
                  <a:pt x="811921" y="1613958"/>
                </a:cubicBezTo>
                <a:cubicBezTo>
                  <a:pt x="812442" y="1614340"/>
                  <a:pt x="812557" y="1615069"/>
                  <a:pt x="812153" y="1615578"/>
                </a:cubicBezTo>
                <a:cubicBezTo>
                  <a:pt x="812095" y="1615665"/>
                  <a:pt x="812037" y="1615746"/>
                  <a:pt x="811921" y="1615809"/>
                </a:cubicBezTo>
                <a:cubicBezTo>
                  <a:pt x="806021" y="1619517"/>
                  <a:pt x="799832" y="1622803"/>
                  <a:pt x="793468" y="1625643"/>
                </a:cubicBezTo>
                <a:cubicBezTo>
                  <a:pt x="781900" y="1631022"/>
                  <a:pt x="770331" y="1636575"/>
                  <a:pt x="763679" y="1645078"/>
                </a:cubicBezTo>
                <a:cubicBezTo>
                  <a:pt x="760903" y="1648532"/>
                  <a:pt x="757895" y="1651835"/>
                  <a:pt x="754771" y="1654970"/>
                </a:cubicBezTo>
                <a:cubicBezTo>
                  <a:pt x="748524" y="1661448"/>
                  <a:pt x="743202" y="1667001"/>
                  <a:pt x="743202" y="1672786"/>
                </a:cubicBezTo>
                <a:cubicBezTo>
                  <a:pt x="743838" y="1676979"/>
                  <a:pt x="746152" y="1680716"/>
                  <a:pt x="749681" y="1683082"/>
                </a:cubicBezTo>
                <a:cubicBezTo>
                  <a:pt x="763852" y="1695287"/>
                  <a:pt x="762696" y="1703906"/>
                  <a:pt x="761249" y="1713913"/>
                </a:cubicBezTo>
                <a:cubicBezTo>
                  <a:pt x="760960" y="1716227"/>
                  <a:pt x="760613" y="1718599"/>
                  <a:pt x="760497" y="1721144"/>
                </a:cubicBezTo>
                <a:cubicBezTo>
                  <a:pt x="759977" y="1729415"/>
                  <a:pt x="780511" y="1754578"/>
                  <a:pt x="791560" y="1768055"/>
                </a:cubicBezTo>
                <a:cubicBezTo>
                  <a:pt x="791734" y="1768379"/>
                  <a:pt x="791734" y="1768773"/>
                  <a:pt x="791560" y="1769096"/>
                </a:cubicBezTo>
                <a:cubicBezTo>
                  <a:pt x="789593" y="1774008"/>
                  <a:pt x="785197" y="1777536"/>
                  <a:pt x="779991" y="1778409"/>
                </a:cubicBezTo>
                <a:cubicBezTo>
                  <a:pt x="777099" y="1779335"/>
                  <a:pt x="774612" y="1780145"/>
                  <a:pt x="773802" y="1782111"/>
                </a:cubicBezTo>
                <a:cubicBezTo>
                  <a:pt x="773570" y="1784431"/>
                  <a:pt x="771488" y="1786132"/>
                  <a:pt x="769174" y="1785900"/>
                </a:cubicBezTo>
                <a:cubicBezTo>
                  <a:pt x="769000" y="1785883"/>
                  <a:pt x="768827" y="1785854"/>
                  <a:pt x="768654" y="1785814"/>
                </a:cubicBezTo>
                <a:close/>
                <a:moveTo>
                  <a:pt x="760497" y="1781013"/>
                </a:moveTo>
                <a:cubicBezTo>
                  <a:pt x="762059" y="1781163"/>
                  <a:pt x="763621" y="1781631"/>
                  <a:pt x="765010" y="1782401"/>
                </a:cubicBezTo>
                <a:cubicBezTo>
                  <a:pt x="766166" y="1783008"/>
                  <a:pt x="767381" y="1783396"/>
                  <a:pt x="768654" y="1783558"/>
                </a:cubicBezTo>
                <a:cubicBezTo>
                  <a:pt x="769290" y="1783558"/>
                  <a:pt x="770042" y="1783558"/>
                  <a:pt x="770620" y="1781880"/>
                </a:cubicBezTo>
                <a:cubicBezTo>
                  <a:pt x="771835" y="1778930"/>
                  <a:pt x="774901" y="1777889"/>
                  <a:pt x="778198" y="1776848"/>
                </a:cubicBezTo>
                <a:cubicBezTo>
                  <a:pt x="782479" y="1776159"/>
                  <a:pt x="786123" y="1773441"/>
                  <a:pt x="788031" y="1769559"/>
                </a:cubicBezTo>
                <a:cubicBezTo>
                  <a:pt x="771893" y="1749834"/>
                  <a:pt x="756333" y="1729994"/>
                  <a:pt x="756853" y="1721606"/>
                </a:cubicBezTo>
                <a:cubicBezTo>
                  <a:pt x="756969" y="1719107"/>
                  <a:pt x="757259" y="1716614"/>
                  <a:pt x="757663" y="1714144"/>
                </a:cubicBezTo>
                <a:cubicBezTo>
                  <a:pt x="758936" y="1704427"/>
                  <a:pt x="759977" y="1696791"/>
                  <a:pt x="746731" y="1685222"/>
                </a:cubicBezTo>
                <a:cubicBezTo>
                  <a:pt x="742740" y="1682434"/>
                  <a:pt x="740136" y="1678113"/>
                  <a:pt x="739500" y="1673306"/>
                </a:cubicBezTo>
                <a:cubicBezTo>
                  <a:pt x="739500" y="1666539"/>
                  <a:pt x="744938" y="1660638"/>
                  <a:pt x="751531" y="1653813"/>
                </a:cubicBezTo>
                <a:cubicBezTo>
                  <a:pt x="754655" y="1650741"/>
                  <a:pt x="757547" y="1647496"/>
                  <a:pt x="760324" y="1644095"/>
                </a:cubicBezTo>
                <a:cubicBezTo>
                  <a:pt x="767381" y="1635129"/>
                  <a:pt x="779355" y="1629460"/>
                  <a:pt x="790866" y="1624023"/>
                </a:cubicBezTo>
                <a:cubicBezTo>
                  <a:pt x="796592" y="1621432"/>
                  <a:pt x="802203" y="1618516"/>
                  <a:pt x="807641" y="1615289"/>
                </a:cubicBezTo>
                <a:cubicBezTo>
                  <a:pt x="805327" y="1613681"/>
                  <a:pt x="802840" y="1612286"/>
                  <a:pt x="800294" y="1611124"/>
                </a:cubicBezTo>
                <a:cubicBezTo>
                  <a:pt x="792543" y="1607653"/>
                  <a:pt x="788726" y="1604356"/>
                  <a:pt x="788726" y="1601348"/>
                </a:cubicBezTo>
                <a:cubicBezTo>
                  <a:pt x="788726" y="1599381"/>
                  <a:pt x="790692" y="1597877"/>
                  <a:pt x="794220" y="1596836"/>
                </a:cubicBezTo>
                <a:cubicBezTo>
                  <a:pt x="796534" y="1596200"/>
                  <a:pt x="797865" y="1595332"/>
                  <a:pt x="798154" y="1594349"/>
                </a:cubicBezTo>
                <a:cubicBezTo>
                  <a:pt x="798848" y="1591977"/>
                  <a:pt x="795030" y="1587465"/>
                  <a:pt x="790056" y="1581739"/>
                </a:cubicBezTo>
                <a:cubicBezTo>
                  <a:pt x="787164" y="1578367"/>
                  <a:pt x="784503" y="1574809"/>
                  <a:pt x="782073" y="1571096"/>
                </a:cubicBezTo>
                <a:cubicBezTo>
                  <a:pt x="778834" y="1566410"/>
                  <a:pt x="776289" y="1562708"/>
                  <a:pt x="773918" y="1562708"/>
                </a:cubicBezTo>
                <a:lnTo>
                  <a:pt x="770158" y="1562708"/>
                </a:lnTo>
                <a:cubicBezTo>
                  <a:pt x="768596" y="1562708"/>
                  <a:pt x="766918" y="1562708"/>
                  <a:pt x="765125" y="1562708"/>
                </a:cubicBezTo>
                <a:cubicBezTo>
                  <a:pt x="761654" y="1562633"/>
                  <a:pt x="758184" y="1563125"/>
                  <a:pt x="754887" y="1564154"/>
                </a:cubicBezTo>
                <a:cubicBezTo>
                  <a:pt x="752977" y="1565167"/>
                  <a:pt x="750606" y="1564814"/>
                  <a:pt x="749102" y="1563287"/>
                </a:cubicBezTo>
                <a:cubicBezTo>
                  <a:pt x="746788" y="1560626"/>
                  <a:pt x="747656" y="1554726"/>
                  <a:pt x="748524" y="1548478"/>
                </a:cubicBezTo>
                <a:cubicBezTo>
                  <a:pt x="749102" y="1544372"/>
                  <a:pt x="745284" y="1542983"/>
                  <a:pt x="739789" y="1541479"/>
                </a:cubicBezTo>
                <a:cubicBezTo>
                  <a:pt x="737244" y="1541196"/>
                  <a:pt x="734815" y="1540051"/>
                  <a:pt x="732964" y="1538240"/>
                </a:cubicBezTo>
                <a:cubicBezTo>
                  <a:pt x="732038" y="1536117"/>
                  <a:pt x="732038" y="1533711"/>
                  <a:pt x="732964" y="1531588"/>
                </a:cubicBezTo>
                <a:cubicBezTo>
                  <a:pt x="734005" y="1527064"/>
                  <a:pt x="736319" y="1522934"/>
                  <a:pt x="739616" y="1519672"/>
                </a:cubicBezTo>
                <a:cubicBezTo>
                  <a:pt x="747136" y="1515912"/>
                  <a:pt x="748697" y="1513540"/>
                  <a:pt x="748697" y="1512210"/>
                </a:cubicBezTo>
                <a:cubicBezTo>
                  <a:pt x="748697" y="1510880"/>
                  <a:pt x="746904" y="1510533"/>
                  <a:pt x="745516" y="1509723"/>
                </a:cubicBezTo>
                <a:cubicBezTo>
                  <a:pt x="741988" y="1507698"/>
                  <a:pt x="736724" y="1504690"/>
                  <a:pt x="740368" y="1498154"/>
                </a:cubicBezTo>
                <a:cubicBezTo>
                  <a:pt x="742450" y="1494845"/>
                  <a:pt x="745284" y="1492069"/>
                  <a:pt x="748639" y="1490056"/>
                </a:cubicBezTo>
                <a:cubicBezTo>
                  <a:pt x="752052" y="1487742"/>
                  <a:pt x="754771" y="1485891"/>
                  <a:pt x="754771" y="1481784"/>
                </a:cubicBezTo>
                <a:cubicBezTo>
                  <a:pt x="754193" y="1475265"/>
                  <a:pt x="758936" y="1469469"/>
                  <a:pt x="765414" y="1468711"/>
                </a:cubicBezTo>
                <a:cubicBezTo>
                  <a:pt x="767902" y="1468775"/>
                  <a:pt x="770331" y="1469625"/>
                  <a:pt x="772298" y="1471141"/>
                </a:cubicBezTo>
                <a:cubicBezTo>
                  <a:pt x="775595" y="1473836"/>
                  <a:pt x="778371" y="1477064"/>
                  <a:pt x="780569" y="1480685"/>
                </a:cubicBezTo>
                <a:cubicBezTo>
                  <a:pt x="784329" y="1486469"/>
                  <a:pt x="787916" y="1491155"/>
                  <a:pt x="793006" y="1489188"/>
                </a:cubicBezTo>
                <a:cubicBezTo>
                  <a:pt x="794857" y="1488679"/>
                  <a:pt x="796361" y="1487447"/>
                  <a:pt x="797286" y="1485775"/>
                </a:cubicBezTo>
                <a:cubicBezTo>
                  <a:pt x="797980" y="1482762"/>
                  <a:pt x="797460" y="1479603"/>
                  <a:pt x="795956" y="1476925"/>
                </a:cubicBezTo>
                <a:cubicBezTo>
                  <a:pt x="795494" y="1475710"/>
                  <a:pt x="795030" y="1474611"/>
                  <a:pt x="794742" y="1473570"/>
                </a:cubicBezTo>
                <a:lnTo>
                  <a:pt x="794742" y="1472876"/>
                </a:lnTo>
                <a:cubicBezTo>
                  <a:pt x="793295" y="1469532"/>
                  <a:pt x="793295" y="1465750"/>
                  <a:pt x="794742" y="1462406"/>
                </a:cubicBezTo>
                <a:cubicBezTo>
                  <a:pt x="796650" y="1459786"/>
                  <a:pt x="799600" y="1458068"/>
                  <a:pt x="802840" y="1457663"/>
                </a:cubicBezTo>
                <a:cubicBezTo>
                  <a:pt x="806541" y="1456905"/>
                  <a:pt x="809491" y="1454065"/>
                  <a:pt x="810359" y="1450375"/>
                </a:cubicBezTo>
                <a:cubicBezTo>
                  <a:pt x="811459" y="1447540"/>
                  <a:pt x="812789" y="1444301"/>
                  <a:pt x="817590" y="1444301"/>
                </a:cubicBezTo>
                <a:cubicBezTo>
                  <a:pt x="823837" y="1444301"/>
                  <a:pt x="834943" y="1437764"/>
                  <a:pt x="841248" y="1433889"/>
                </a:cubicBezTo>
                <a:cubicBezTo>
                  <a:pt x="843388" y="1432616"/>
                  <a:pt x="845008" y="1431633"/>
                  <a:pt x="846165" y="1431055"/>
                </a:cubicBezTo>
                <a:lnTo>
                  <a:pt x="847611" y="1430303"/>
                </a:lnTo>
                <a:cubicBezTo>
                  <a:pt x="852817" y="1427295"/>
                  <a:pt x="858543" y="1425334"/>
                  <a:pt x="864501" y="1424518"/>
                </a:cubicBezTo>
                <a:cubicBezTo>
                  <a:pt x="865659" y="1424489"/>
                  <a:pt x="866757" y="1424726"/>
                  <a:pt x="867799" y="1425212"/>
                </a:cubicBezTo>
                <a:cubicBezTo>
                  <a:pt x="868782" y="1425681"/>
                  <a:pt x="869708" y="1426201"/>
                  <a:pt x="870575" y="1426774"/>
                </a:cubicBezTo>
                <a:cubicBezTo>
                  <a:pt x="872368" y="1428162"/>
                  <a:pt x="874508" y="1429076"/>
                  <a:pt x="876764" y="1429435"/>
                </a:cubicBezTo>
                <a:cubicBezTo>
                  <a:pt x="877806" y="1429435"/>
                  <a:pt x="879368" y="1429030"/>
                  <a:pt x="880756" y="1425733"/>
                </a:cubicBezTo>
                <a:cubicBezTo>
                  <a:pt x="882607" y="1421938"/>
                  <a:pt x="886540" y="1419648"/>
                  <a:pt x="890763" y="1419948"/>
                </a:cubicBezTo>
                <a:cubicBezTo>
                  <a:pt x="895622" y="1419948"/>
                  <a:pt x="901406" y="1422378"/>
                  <a:pt x="902332" y="1425733"/>
                </a:cubicBezTo>
                <a:cubicBezTo>
                  <a:pt x="902794" y="1427584"/>
                  <a:pt x="910603" y="1428972"/>
                  <a:pt x="916272" y="1429956"/>
                </a:cubicBezTo>
                <a:cubicBezTo>
                  <a:pt x="922288" y="1430574"/>
                  <a:pt x="928130" y="1432194"/>
                  <a:pt x="933626" y="1434757"/>
                </a:cubicBezTo>
                <a:lnTo>
                  <a:pt x="936633" y="1436781"/>
                </a:lnTo>
                <a:cubicBezTo>
                  <a:pt x="947855" y="1444127"/>
                  <a:pt x="957110" y="1450606"/>
                  <a:pt x="957110" y="1455060"/>
                </a:cubicBezTo>
                <a:cubicBezTo>
                  <a:pt x="957110" y="1457836"/>
                  <a:pt x="960060" y="1461481"/>
                  <a:pt x="961391" y="1461481"/>
                </a:cubicBezTo>
                <a:cubicBezTo>
                  <a:pt x="961796" y="1461481"/>
                  <a:pt x="962200" y="1460555"/>
                  <a:pt x="962200" y="1458762"/>
                </a:cubicBezTo>
                <a:cubicBezTo>
                  <a:pt x="962200" y="1453267"/>
                  <a:pt x="964746" y="1452110"/>
                  <a:pt x="966886" y="1452110"/>
                </a:cubicBezTo>
                <a:cubicBezTo>
                  <a:pt x="971513" y="1452989"/>
                  <a:pt x="975910" y="1454973"/>
                  <a:pt x="979612" y="1457894"/>
                </a:cubicBezTo>
                <a:cubicBezTo>
                  <a:pt x="983256" y="1460063"/>
                  <a:pt x="987363" y="1461203"/>
                  <a:pt x="991585" y="1461191"/>
                </a:cubicBezTo>
                <a:cubicBezTo>
                  <a:pt x="996097" y="1461648"/>
                  <a:pt x="1000493" y="1459664"/>
                  <a:pt x="1003154" y="1455985"/>
                </a:cubicBezTo>
                <a:cubicBezTo>
                  <a:pt x="1005179" y="1450895"/>
                  <a:pt x="1016632" y="1445226"/>
                  <a:pt x="1025077" y="1445226"/>
                </a:cubicBezTo>
                <a:cubicBezTo>
                  <a:pt x="1027391" y="1445099"/>
                  <a:pt x="1029647" y="1445753"/>
                  <a:pt x="1031556" y="1447077"/>
                </a:cubicBezTo>
                <a:lnTo>
                  <a:pt x="1033349" y="1448581"/>
                </a:lnTo>
                <a:cubicBezTo>
                  <a:pt x="1035836" y="1450664"/>
                  <a:pt x="1037630" y="1452168"/>
                  <a:pt x="1039538" y="1452168"/>
                </a:cubicBezTo>
                <a:cubicBezTo>
                  <a:pt x="1042026" y="1451728"/>
                  <a:pt x="1044282" y="1450369"/>
                  <a:pt x="1045786" y="1448350"/>
                </a:cubicBezTo>
                <a:cubicBezTo>
                  <a:pt x="1049835" y="1444821"/>
                  <a:pt x="1055041" y="1442965"/>
                  <a:pt x="1060420" y="1443144"/>
                </a:cubicBezTo>
                <a:cubicBezTo>
                  <a:pt x="1067478" y="1443144"/>
                  <a:pt x="1072915" y="1445805"/>
                  <a:pt x="1074303" y="1449970"/>
                </a:cubicBezTo>
                <a:cubicBezTo>
                  <a:pt x="1076038" y="1455233"/>
                  <a:pt x="1081533" y="1457721"/>
                  <a:pt x="1091656" y="1457721"/>
                </a:cubicBezTo>
                <a:cubicBezTo>
                  <a:pt x="1095300" y="1458097"/>
                  <a:pt x="1098540" y="1460266"/>
                  <a:pt x="1100275" y="1463505"/>
                </a:cubicBezTo>
                <a:cubicBezTo>
                  <a:pt x="1101432" y="1465067"/>
                  <a:pt x="1102531" y="1466571"/>
                  <a:pt x="1103630" y="1466571"/>
                </a:cubicBezTo>
                <a:cubicBezTo>
                  <a:pt x="1103919" y="1466617"/>
                  <a:pt x="1104151" y="1466617"/>
                  <a:pt x="1104439" y="1466571"/>
                </a:cubicBezTo>
                <a:cubicBezTo>
                  <a:pt x="1106175" y="1465703"/>
                  <a:pt x="1107101" y="1462927"/>
                  <a:pt x="1107911" y="1460324"/>
                </a:cubicBezTo>
                <a:cubicBezTo>
                  <a:pt x="1109009" y="1456853"/>
                  <a:pt x="1110282" y="1453035"/>
                  <a:pt x="1113695" y="1453035"/>
                </a:cubicBezTo>
                <a:lnTo>
                  <a:pt x="1114736" y="1453035"/>
                </a:lnTo>
                <a:cubicBezTo>
                  <a:pt x="1117396" y="1453799"/>
                  <a:pt x="1119884" y="1455031"/>
                  <a:pt x="1122140" y="1456680"/>
                </a:cubicBezTo>
                <a:cubicBezTo>
                  <a:pt x="1125842" y="1459589"/>
                  <a:pt x="1130411" y="1461267"/>
                  <a:pt x="1135097" y="1461481"/>
                </a:cubicBezTo>
                <a:cubicBezTo>
                  <a:pt x="1145567" y="1461481"/>
                  <a:pt x="1150946" y="1458646"/>
                  <a:pt x="1150946" y="1452977"/>
                </a:cubicBezTo>
                <a:cubicBezTo>
                  <a:pt x="1150946" y="1444532"/>
                  <a:pt x="1149327" y="1434699"/>
                  <a:pt x="1144815" y="1434699"/>
                </a:cubicBezTo>
                <a:cubicBezTo>
                  <a:pt x="1141518" y="1434444"/>
                  <a:pt x="1138337" y="1433438"/>
                  <a:pt x="1135502" y="1431749"/>
                </a:cubicBezTo>
                <a:cubicBezTo>
                  <a:pt x="1132437" y="1429990"/>
                  <a:pt x="1128965" y="1428926"/>
                  <a:pt x="1125437" y="1428625"/>
                </a:cubicBezTo>
                <a:cubicBezTo>
                  <a:pt x="1119768" y="1428047"/>
                  <a:pt x="1115083" y="1423864"/>
                  <a:pt x="1113868" y="1418271"/>
                </a:cubicBezTo>
                <a:cubicBezTo>
                  <a:pt x="1113174" y="1415518"/>
                  <a:pt x="1114794" y="1412718"/>
                  <a:pt x="1117512" y="1411908"/>
                </a:cubicBezTo>
                <a:cubicBezTo>
                  <a:pt x="1123991" y="1409768"/>
                  <a:pt x="1131800" y="1405661"/>
                  <a:pt x="1133651" y="1401670"/>
                </a:cubicBezTo>
                <a:cubicBezTo>
                  <a:pt x="1134114" y="1400773"/>
                  <a:pt x="1134114" y="1399732"/>
                  <a:pt x="1133651" y="1398835"/>
                </a:cubicBezTo>
                <a:cubicBezTo>
                  <a:pt x="1132957" y="1397042"/>
                  <a:pt x="1129544" y="1387613"/>
                  <a:pt x="1132899" y="1381945"/>
                </a:cubicBezTo>
                <a:cubicBezTo>
                  <a:pt x="1134287" y="1379619"/>
                  <a:pt x="1136717" y="1378127"/>
                  <a:pt x="1139435" y="1377953"/>
                </a:cubicBezTo>
                <a:cubicBezTo>
                  <a:pt x="1142154" y="1377606"/>
                  <a:pt x="1145682" y="1377317"/>
                  <a:pt x="1149385" y="1377086"/>
                </a:cubicBezTo>
                <a:cubicBezTo>
                  <a:pt x="1155863" y="1376623"/>
                  <a:pt x="1166738" y="1375871"/>
                  <a:pt x="1167606" y="1374367"/>
                </a:cubicBezTo>
                <a:cubicBezTo>
                  <a:pt x="1164829" y="1372701"/>
                  <a:pt x="1161821" y="1371452"/>
                  <a:pt x="1158697" y="1370665"/>
                </a:cubicBezTo>
                <a:cubicBezTo>
                  <a:pt x="1152624" y="1368641"/>
                  <a:pt x="1145682" y="1366385"/>
                  <a:pt x="1143484" y="1362683"/>
                </a:cubicBezTo>
                <a:cubicBezTo>
                  <a:pt x="1139840" y="1356609"/>
                  <a:pt x="1138047" y="1341165"/>
                  <a:pt x="1142559" y="1338156"/>
                </a:cubicBezTo>
                <a:cubicBezTo>
                  <a:pt x="1144178" y="1337272"/>
                  <a:pt x="1146088" y="1336890"/>
                  <a:pt x="1147938" y="1337058"/>
                </a:cubicBezTo>
                <a:cubicBezTo>
                  <a:pt x="1149500" y="1337058"/>
                  <a:pt x="1151294" y="1337058"/>
                  <a:pt x="1153202" y="1337058"/>
                </a:cubicBezTo>
                <a:cubicBezTo>
                  <a:pt x="1155111" y="1337058"/>
                  <a:pt x="1157367" y="1337347"/>
                  <a:pt x="1159391" y="1337347"/>
                </a:cubicBezTo>
                <a:cubicBezTo>
                  <a:pt x="1161590" y="1337433"/>
                  <a:pt x="1163788" y="1337156"/>
                  <a:pt x="1165928" y="1336537"/>
                </a:cubicBezTo>
                <a:cubicBezTo>
                  <a:pt x="1167664" y="1336068"/>
                  <a:pt x="1169399" y="1335854"/>
                  <a:pt x="1171192" y="1335901"/>
                </a:cubicBezTo>
                <a:cubicBezTo>
                  <a:pt x="1173101" y="1335901"/>
                  <a:pt x="1175241" y="1335901"/>
                  <a:pt x="1177439" y="1336248"/>
                </a:cubicBezTo>
                <a:cubicBezTo>
                  <a:pt x="1179637" y="1336595"/>
                  <a:pt x="1182414" y="1336595"/>
                  <a:pt x="1184959" y="1336595"/>
                </a:cubicBezTo>
                <a:cubicBezTo>
                  <a:pt x="1189645" y="1336942"/>
                  <a:pt x="1194330" y="1335698"/>
                  <a:pt x="1198263" y="1333066"/>
                </a:cubicBezTo>
                <a:cubicBezTo>
                  <a:pt x="1208791" y="1325257"/>
                  <a:pt x="1231061" y="1324390"/>
                  <a:pt x="1240143" y="1324390"/>
                </a:cubicBezTo>
                <a:cubicBezTo>
                  <a:pt x="1245927" y="1324043"/>
                  <a:pt x="1251538" y="1322463"/>
                  <a:pt x="1256628" y="1319762"/>
                </a:cubicBezTo>
                <a:cubicBezTo>
                  <a:pt x="1260156" y="1317975"/>
                  <a:pt x="1263974" y="1316690"/>
                  <a:pt x="1267850" y="1315944"/>
                </a:cubicBezTo>
                <a:cubicBezTo>
                  <a:pt x="1280807" y="1314313"/>
                  <a:pt x="1293706" y="1311895"/>
                  <a:pt x="1306374" y="1308714"/>
                </a:cubicBezTo>
                <a:cubicBezTo>
                  <a:pt x="1310018" y="1307563"/>
                  <a:pt x="1313778" y="1306620"/>
                  <a:pt x="1317538" y="1305879"/>
                </a:cubicBezTo>
                <a:cubicBezTo>
                  <a:pt x="1327140" y="1303739"/>
                  <a:pt x="1344956" y="1299748"/>
                  <a:pt x="1345650" y="1296219"/>
                </a:cubicBezTo>
                <a:cubicBezTo>
                  <a:pt x="1346865" y="1290435"/>
                  <a:pt x="1364854" y="1286502"/>
                  <a:pt x="1374573" y="1286502"/>
                </a:cubicBezTo>
                <a:cubicBezTo>
                  <a:pt x="1376887" y="1286380"/>
                  <a:pt x="1379258" y="1286733"/>
                  <a:pt x="1381456" y="1287543"/>
                </a:cubicBezTo>
                <a:cubicBezTo>
                  <a:pt x="1386141" y="1289851"/>
                  <a:pt x="1391290" y="1291187"/>
                  <a:pt x="1396495" y="1291476"/>
                </a:cubicBezTo>
                <a:cubicBezTo>
                  <a:pt x="1398289" y="1291494"/>
                  <a:pt x="1400082" y="1291175"/>
                  <a:pt x="1401759" y="1290551"/>
                </a:cubicBezTo>
                <a:cubicBezTo>
                  <a:pt x="1408180" y="1289203"/>
                  <a:pt x="1414774" y="1291413"/>
                  <a:pt x="1419112" y="1296335"/>
                </a:cubicBezTo>
                <a:cubicBezTo>
                  <a:pt x="1420732" y="1298018"/>
                  <a:pt x="1421484" y="1300338"/>
                  <a:pt x="1421137" y="1302640"/>
                </a:cubicBezTo>
                <a:cubicBezTo>
                  <a:pt x="1420964" y="1306238"/>
                  <a:pt x="1421831" y="1309807"/>
                  <a:pt x="1423624" y="1312936"/>
                </a:cubicBezTo>
                <a:cubicBezTo>
                  <a:pt x="1425186" y="1315672"/>
                  <a:pt x="1425996" y="1318761"/>
                  <a:pt x="1425996" y="1321902"/>
                </a:cubicBezTo>
                <a:cubicBezTo>
                  <a:pt x="1425649" y="1324031"/>
                  <a:pt x="1424723" y="1326027"/>
                  <a:pt x="1423335" y="1327687"/>
                </a:cubicBezTo>
                <a:cubicBezTo>
                  <a:pt x="1421716" y="1329943"/>
                  <a:pt x="1421195" y="1330752"/>
                  <a:pt x="1422699" y="1332488"/>
                </a:cubicBezTo>
                <a:cubicBezTo>
                  <a:pt x="1424376" y="1333743"/>
                  <a:pt x="1426401" y="1334321"/>
                  <a:pt x="1428483" y="1334107"/>
                </a:cubicBezTo>
                <a:cubicBezTo>
                  <a:pt x="1434789" y="1334275"/>
                  <a:pt x="1440920" y="1332227"/>
                  <a:pt x="1445836" y="1328323"/>
                </a:cubicBezTo>
                <a:cubicBezTo>
                  <a:pt x="1446878" y="1326975"/>
                  <a:pt x="1448498" y="1326165"/>
                  <a:pt x="1450233" y="1326125"/>
                </a:cubicBezTo>
                <a:cubicBezTo>
                  <a:pt x="1454571" y="1326125"/>
                  <a:pt x="1458099" y="1331909"/>
                  <a:pt x="1458099" y="1335727"/>
                </a:cubicBezTo>
                <a:cubicBezTo>
                  <a:pt x="1458447" y="1337786"/>
                  <a:pt x="1460182" y="1339313"/>
                  <a:pt x="1462265" y="1339371"/>
                </a:cubicBezTo>
                <a:cubicBezTo>
                  <a:pt x="1462959" y="1339371"/>
                  <a:pt x="1463711" y="1339371"/>
                  <a:pt x="1463711" y="1337578"/>
                </a:cubicBezTo>
                <a:cubicBezTo>
                  <a:pt x="1463653" y="1335473"/>
                  <a:pt x="1465272" y="1333697"/>
                  <a:pt x="1467354" y="1333622"/>
                </a:cubicBezTo>
                <a:cubicBezTo>
                  <a:pt x="1467586" y="1333610"/>
                  <a:pt x="1467818" y="1333622"/>
                  <a:pt x="1467991" y="1333645"/>
                </a:cubicBezTo>
                <a:cubicBezTo>
                  <a:pt x="1471982" y="1333969"/>
                  <a:pt x="1475742" y="1335762"/>
                  <a:pt x="1478461" y="1338677"/>
                </a:cubicBezTo>
                <a:cubicBezTo>
                  <a:pt x="1479271" y="1339660"/>
                  <a:pt x="1482163" y="1339140"/>
                  <a:pt x="1484939" y="1338677"/>
                </a:cubicBezTo>
                <a:cubicBezTo>
                  <a:pt x="1486443" y="1338238"/>
                  <a:pt x="1488005" y="1337966"/>
                  <a:pt x="1489567" y="1337867"/>
                </a:cubicBezTo>
                <a:cubicBezTo>
                  <a:pt x="1491360" y="1337601"/>
                  <a:pt x="1492980" y="1338822"/>
                  <a:pt x="1493269" y="1340592"/>
                </a:cubicBezTo>
                <a:cubicBezTo>
                  <a:pt x="1493269" y="1340858"/>
                  <a:pt x="1493269" y="1341130"/>
                  <a:pt x="1493269" y="1341396"/>
                </a:cubicBezTo>
                <a:cubicBezTo>
                  <a:pt x="1493269" y="1344404"/>
                  <a:pt x="1490145" y="1346891"/>
                  <a:pt x="1487079" y="1349321"/>
                </a:cubicBezTo>
                <a:cubicBezTo>
                  <a:pt x="1484014" y="1351750"/>
                  <a:pt x="1481815" y="1353543"/>
                  <a:pt x="1481758" y="1355510"/>
                </a:cubicBezTo>
                <a:cubicBezTo>
                  <a:pt x="1481815" y="1356539"/>
                  <a:pt x="1482337" y="1357494"/>
                  <a:pt x="1483146" y="1358113"/>
                </a:cubicBezTo>
                <a:cubicBezTo>
                  <a:pt x="1483956" y="1358963"/>
                  <a:pt x="1485113" y="1359478"/>
                  <a:pt x="1486270" y="1359559"/>
                </a:cubicBezTo>
                <a:cubicBezTo>
                  <a:pt x="1488468" y="1359235"/>
                  <a:pt x="1490492" y="1358200"/>
                  <a:pt x="1492054" y="1356609"/>
                </a:cubicBezTo>
                <a:cubicBezTo>
                  <a:pt x="1494426" y="1354324"/>
                  <a:pt x="1497492" y="1352901"/>
                  <a:pt x="1500789" y="1352560"/>
                </a:cubicBezTo>
                <a:cubicBezTo>
                  <a:pt x="1501772" y="1352537"/>
                  <a:pt x="1502756" y="1352699"/>
                  <a:pt x="1503681" y="1353023"/>
                </a:cubicBezTo>
                <a:cubicBezTo>
                  <a:pt x="1508540" y="1354642"/>
                  <a:pt x="1515250" y="1350651"/>
                  <a:pt x="1521034" y="1346775"/>
                </a:cubicBezTo>
                <a:cubicBezTo>
                  <a:pt x="1524562" y="1344219"/>
                  <a:pt x="1528438" y="1342264"/>
                  <a:pt x="1532603" y="1340991"/>
                </a:cubicBezTo>
                <a:cubicBezTo>
                  <a:pt x="1538908" y="1338990"/>
                  <a:pt x="1544750" y="1335872"/>
                  <a:pt x="1549956" y="1331794"/>
                </a:cubicBezTo>
                <a:cubicBezTo>
                  <a:pt x="1552444" y="1330116"/>
                  <a:pt x="1554816" y="1328497"/>
                  <a:pt x="1557013" y="1327224"/>
                </a:cubicBezTo>
                <a:cubicBezTo>
                  <a:pt x="1560715" y="1325309"/>
                  <a:pt x="1564880" y="1324349"/>
                  <a:pt x="1569045" y="1324447"/>
                </a:cubicBezTo>
                <a:cubicBezTo>
                  <a:pt x="1571243" y="1324447"/>
                  <a:pt x="1576564" y="1324737"/>
                  <a:pt x="1577664" y="1327340"/>
                </a:cubicBezTo>
                <a:cubicBezTo>
                  <a:pt x="1578068" y="1328612"/>
                  <a:pt x="1577606" y="1330001"/>
                  <a:pt x="1576564" y="1330810"/>
                </a:cubicBezTo>
                <a:cubicBezTo>
                  <a:pt x="1573672" y="1333089"/>
                  <a:pt x="1572111" y="1336635"/>
                  <a:pt x="1572342" y="1340297"/>
                </a:cubicBezTo>
                <a:cubicBezTo>
                  <a:pt x="1573094" y="1343825"/>
                  <a:pt x="1577086" y="1346949"/>
                  <a:pt x="1583911" y="1349552"/>
                </a:cubicBezTo>
                <a:cubicBezTo>
                  <a:pt x="1600165" y="1355336"/>
                  <a:pt x="1618213" y="1383622"/>
                  <a:pt x="1630186" y="1402248"/>
                </a:cubicBezTo>
                <a:cubicBezTo>
                  <a:pt x="1631806" y="1404793"/>
                  <a:pt x="1633368" y="1407223"/>
                  <a:pt x="1634756" y="1409305"/>
                </a:cubicBezTo>
                <a:cubicBezTo>
                  <a:pt x="1639846" y="1417687"/>
                  <a:pt x="1644416" y="1426363"/>
                  <a:pt x="1648523" y="1435277"/>
                </a:cubicBezTo>
                <a:cubicBezTo>
                  <a:pt x="1653613" y="1445863"/>
                  <a:pt x="1659456" y="1457894"/>
                  <a:pt x="1662232" y="1457894"/>
                </a:cubicBezTo>
                <a:cubicBezTo>
                  <a:pt x="1665009" y="1457894"/>
                  <a:pt x="1666339" y="1454424"/>
                  <a:pt x="1668017" y="1450779"/>
                </a:cubicBezTo>
                <a:cubicBezTo>
                  <a:pt x="1669694" y="1447135"/>
                  <a:pt x="1672991" y="1441409"/>
                  <a:pt x="1677561" y="1440367"/>
                </a:cubicBezTo>
                <a:lnTo>
                  <a:pt x="1679123" y="1440367"/>
                </a:lnTo>
                <a:cubicBezTo>
                  <a:pt x="1683288" y="1440367"/>
                  <a:pt x="1686411" y="1444070"/>
                  <a:pt x="1689766" y="1448003"/>
                </a:cubicBezTo>
                <a:cubicBezTo>
                  <a:pt x="1692080" y="1451427"/>
                  <a:pt x="1695377" y="1454088"/>
                  <a:pt x="1699253" y="1455638"/>
                </a:cubicBezTo>
                <a:cubicBezTo>
                  <a:pt x="1701567" y="1456159"/>
                  <a:pt x="1704053" y="1456853"/>
                  <a:pt x="1706657" y="1457605"/>
                </a:cubicBezTo>
                <a:cubicBezTo>
                  <a:pt x="1711400" y="1459202"/>
                  <a:pt x="1716316" y="1460197"/>
                  <a:pt x="1721291" y="1460555"/>
                </a:cubicBezTo>
                <a:cubicBezTo>
                  <a:pt x="1722621" y="1460578"/>
                  <a:pt x="1724010" y="1460364"/>
                  <a:pt x="1725283" y="1459919"/>
                </a:cubicBezTo>
                <a:cubicBezTo>
                  <a:pt x="1726844" y="1459340"/>
                  <a:pt x="1728927" y="1458415"/>
                  <a:pt x="1731067" y="1457374"/>
                </a:cubicBezTo>
                <a:cubicBezTo>
                  <a:pt x="1736851" y="1454389"/>
                  <a:pt x="1743156" y="1452434"/>
                  <a:pt x="1749635" y="1451589"/>
                </a:cubicBezTo>
                <a:cubicBezTo>
                  <a:pt x="1750907" y="1451549"/>
                  <a:pt x="1752122" y="1451826"/>
                  <a:pt x="1753221" y="1452399"/>
                </a:cubicBezTo>
                <a:cubicBezTo>
                  <a:pt x="1754493" y="1453047"/>
                  <a:pt x="1755767" y="1453625"/>
                  <a:pt x="1757097" y="1454134"/>
                </a:cubicBezTo>
                <a:cubicBezTo>
                  <a:pt x="1763691" y="1456043"/>
                  <a:pt x="1768955" y="1460989"/>
                  <a:pt x="1771326" y="1467439"/>
                </a:cubicBezTo>
                <a:cubicBezTo>
                  <a:pt x="1776127" y="1479007"/>
                  <a:pt x="1783358" y="1480743"/>
                  <a:pt x="1787234" y="1480743"/>
                </a:cubicBezTo>
                <a:cubicBezTo>
                  <a:pt x="1791109" y="1480743"/>
                  <a:pt x="1794232" y="1482709"/>
                  <a:pt x="1794232" y="1492312"/>
                </a:cubicBezTo>
                <a:cubicBezTo>
                  <a:pt x="1794232" y="1496419"/>
                  <a:pt x="1802447" y="1502492"/>
                  <a:pt x="1806785" y="1502492"/>
                </a:cubicBezTo>
                <a:cubicBezTo>
                  <a:pt x="1814015" y="1502382"/>
                  <a:pt x="1821188" y="1501069"/>
                  <a:pt x="1828014" y="1498617"/>
                </a:cubicBezTo>
                <a:cubicBezTo>
                  <a:pt x="1830154" y="1497113"/>
                  <a:pt x="1832583" y="1496158"/>
                  <a:pt x="1835187" y="1495840"/>
                </a:cubicBezTo>
                <a:cubicBezTo>
                  <a:pt x="1836517" y="1495840"/>
                  <a:pt x="1838889" y="1496361"/>
                  <a:pt x="1839409" y="1500236"/>
                </a:cubicBezTo>
                <a:cubicBezTo>
                  <a:pt x="1840219" y="1505674"/>
                  <a:pt x="1847276" y="1513772"/>
                  <a:pt x="1850978" y="1513772"/>
                </a:cubicBezTo>
                <a:cubicBezTo>
                  <a:pt x="1853002" y="1513887"/>
                  <a:pt x="1855085" y="1514200"/>
                  <a:pt x="1857052" y="1514697"/>
                </a:cubicBezTo>
                <a:cubicBezTo>
                  <a:pt x="1858961" y="1515137"/>
                  <a:pt x="1860869" y="1515426"/>
                  <a:pt x="1862836" y="1515565"/>
                </a:cubicBezTo>
                <a:cubicBezTo>
                  <a:pt x="1864803" y="1515565"/>
                  <a:pt x="1864977" y="1514929"/>
                  <a:pt x="1865034" y="1514697"/>
                </a:cubicBezTo>
                <a:cubicBezTo>
                  <a:pt x="1865671" y="1511342"/>
                  <a:pt x="1872264" y="1508566"/>
                  <a:pt x="1884528" y="1506541"/>
                </a:cubicBezTo>
                <a:cubicBezTo>
                  <a:pt x="1889445" y="1505731"/>
                  <a:pt x="1905814" y="1502492"/>
                  <a:pt x="1908707" y="1495898"/>
                </a:cubicBezTo>
                <a:cubicBezTo>
                  <a:pt x="1910731" y="1491270"/>
                  <a:pt x="1916400" y="1489362"/>
                  <a:pt x="1921432" y="1487684"/>
                </a:cubicBezTo>
                <a:cubicBezTo>
                  <a:pt x="1924556" y="1486996"/>
                  <a:pt x="1927448" y="1485567"/>
                  <a:pt x="1929878" y="1483519"/>
                </a:cubicBezTo>
                <a:cubicBezTo>
                  <a:pt x="1932538" y="1481020"/>
                  <a:pt x="1935604" y="1479054"/>
                  <a:pt x="1939017" y="1477735"/>
                </a:cubicBezTo>
                <a:cubicBezTo>
                  <a:pt x="1942314" y="1476601"/>
                  <a:pt x="1945207" y="1474606"/>
                  <a:pt x="1947462" y="1471950"/>
                </a:cubicBezTo>
                <a:cubicBezTo>
                  <a:pt x="1948966" y="1468943"/>
                  <a:pt x="1953767" y="1467901"/>
                  <a:pt x="1958337" y="1466918"/>
                </a:cubicBezTo>
                <a:cubicBezTo>
                  <a:pt x="1961692" y="1466166"/>
                  <a:pt x="1965452" y="1465356"/>
                  <a:pt x="1966030" y="1463968"/>
                </a:cubicBezTo>
                <a:cubicBezTo>
                  <a:pt x="1967823" y="1459456"/>
                  <a:pt x="1977599" y="1459225"/>
                  <a:pt x="1979739" y="1459225"/>
                </a:cubicBezTo>
                <a:cubicBezTo>
                  <a:pt x="1982111" y="1459190"/>
                  <a:pt x="1984482" y="1459462"/>
                  <a:pt x="1986796" y="1460034"/>
                </a:cubicBezTo>
                <a:cubicBezTo>
                  <a:pt x="1998828" y="1463042"/>
                  <a:pt x="2010976" y="1465229"/>
                  <a:pt x="2023296" y="1466571"/>
                </a:cubicBezTo>
                <a:lnTo>
                  <a:pt x="2024743" y="1466571"/>
                </a:lnTo>
                <a:cubicBezTo>
                  <a:pt x="2027461" y="1466571"/>
                  <a:pt x="2028676" y="1470389"/>
                  <a:pt x="2030064" y="1474843"/>
                </a:cubicBezTo>
                <a:cubicBezTo>
                  <a:pt x="2030932" y="1477561"/>
                  <a:pt x="2032204" y="1481726"/>
                  <a:pt x="2033534" y="1482015"/>
                </a:cubicBezTo>
                <a:cubicBezTo>
                  <a:pt x="2036138" y="1482929"/>
                  <a:pt x="2038625" y="1484156"/>
                  <a:pt x="2040938" y="1485659"/>
                </a:cubicBezTo>
                <a:cubicBezTo>
                  <a:pt x="2044872" y="1488390"/>
                  <a:pt x="2049268" y="1490351"/>
                  <a:pt x="2053953" y="1491444"/>
                </a:cubicBezTo>
                <a:cubicBezTo>
                  <a:pt x="2054417" y="1491479"/>
                  <a:pt x="2054879" y="1491357"/>
                  <a:pt x="2055226" y="1491097"/>
                </a:cubicBezTo>
                <a:cubicBezTo>
                  <a:pt x="2059102" y="1488251"/>
                  <a:pt x="2063730" y="1486730"/>
                  <a:pt x="2068530" y="1486758"/>
                </a:cubicBezTo>
                <a:cubicBezTo>
                  <a:pt x="2071943" y="1486712"/>
                  <a:pt x="2075356" y="1487615"/>
                  <a:pt x="2078306" y="1489362"/>
                </a:cubicBezTo>
                <a:cubicBezTo>
                  <a:pt x="2079521" y="1490056"/>
                  <a:pt x="2080735" y="1490866"/>
                  <a:pt x="2081893" y="1491618"/>
                </a:cubicBezTo>
                <a:cubicBezTo>
                  <a:pt x="2088313" y="1495609"/>
                  <a:pt x="2093982" y="1499195"/>
                  <a:pt x="2096122" y="1495435"/>
                </a:cubicBezTo>
                <a:cubicBezTo>
                  <a:pt x="2098262" y="1491675"/>
                  <a:pt x="2104915" y="1489651"/>
                  <a:pt x="2110757" y="1487568"/>
                </a:cubicBezTo>
                <a:cubicBezTo>
                  <a:pt x="2113649" y="1486845"/>
                  <a:pt x="2116368" y="1485654"/>
                  <a:pt x="2118855" y="1484040"/>
                </a:cubicBezTo>
                <a:cubicBezTo>
                  <a:pt x="2121111" y="1480916"/>
                  <a:pt x="2123078" y="1472008"/>
                  <a:pt x="2119838" y="1469405"/>
                </a:cubicBezTo>
                <a:cubicBezTo>
                  <a:pt x="2114690" y="1465298"/>
                  <a:pt x="2110236" y="1448119"/>
                  <a:pt x="2109773" y="1446267"/>
                </a:cubicBezTo>
                <a:cubicBezTo>
                  <a:pt x="2108675" y="1441871"/>
                  <a:pt x="2112376" y="1439384"/>
                  <a:pt x="2115558" y="1437186"/>
                </a:cubicBezTo>
                <a:cubicBezTo>
                  <a:pt x="2117872" y="1435624"/>
                  <a:pt x="2120301" y="1434005"/>
                  <a:pt x="2120880" y="1431922"/>
                </a:cubicBezTo>
                <a:cubicBezTo>
                  <a:pt x="2122036" y="1427931"/>
                  <a:pt x="2126664" y="1426138"/>
                  <a:pt x="2130366" y="1424576"/>
                </a:cubicBezTo>
                <a:cubicBezTo>
                  <a:pt x="2132333" y="1423934"/>
                  <a:pt x="2134126" y="1422979"/>
                  <a:pt x="2135745" y="1421742"/>
                </a:cubicBezTo>
                <a:cubicBezTo>
                  <a:pt x="2136729" y="1420648"/>
                  <a:pt x="2137481" y="1419416"/>
                  <a:pt x="2138117" y="1418097"/>
                </a:cubicBezTo>
                <a:cubicBezTo>
                  <a:pt x="2139563" y="1415379"/>
                  <a:pt x="2141240" y="1412313"/>
                  <a:pt x="2144654" y="1412313"/>
                </a:cubicBezTo>
                <a:cubicBezTo>
                  <a:pt x="2145290" y="1412296"/>
                  <a:pt x="2145926" y="1412394"/>
                  <a:pt x="2146504" y="1412602"/>
                </a:cubicBezTo>
                <a:cubicBezTo>
                  <a:pt x="2153735" y="1414482"/>
                  <a:pt x="2160735" y="1417299"/>
                  <a:pt x="2167213" y="1420990"/>
                </a:cubicBezTo>
                <a:cubicBezTo>
                  <a:pt x="2172188" y="1423558"/>
                  <a:pt x="2177740" y="1424813"/>
                  <a:pt x="2183351" y="1424634"/>
                </a:cubicBezTo>
                <a:cubicBezTo>
                  <a:pt x="2190813" y="1425854"/>
                  <a:pt x="2197870" y="1428677"/>
                  <a:pt x="2204118" y="1432905"/>
                </a:cubicBezTo>
                <a:cubicBezTo>
                  <a:pt x="2207704" y="1434305"/>
                  <a:pt x="2211463" y="1435260"/>
                  <a:pt x="2215281" y="1435740"/>
                </a:cubicBezTo>
                <a:cubicBezTo>
                  <a:pt x="2222338" y="1436955"/>
                  <a:pt x="2229048" y="1438112"/>
                  <a:pt x="2231131" y="1441524"/>
                </a:cubicBezTo>
                <a:cubicBezTo>
                  <a:pt x="2232692" y="1445163"/>
                  <a:pt x="2233213" y="1449166"/>
                  <a:pt x="2232692" y="1453093"/>
                </a:cubicBezTo>
                <a:cubicBezTo>
                  <a:pt x="2232114" y="1457027"/>
                  <a:pt x="2232692" y="1461041"/>
                  <a:pt x="2234312" y="1464662"/>
                </a:cubicBezTo>
                <a:cubicBezTo>
                  <a:pt x="2239634" y="1471025"/>
                  <a:pt x="2246459" y="1477504"/>
                  <a:pt x="2249236" y="1477504"/>
                </a:cubicBezTo>
                <a:cubicBezTo>
                  <a:pt x="2249236" y="1477504"/>
                  <a:pt x="2249641" y="1477504"/>
                  <a:pt x="2249698" y="1477504"/>
                </a:cubicBezTo>
                <a:cubicBezTo>
                  <a:pt x="2250335" y="1477081"/>
                  <a:pt x="2251029" y="1476879"/>
                  <a:pt x="2251781" y="1476925"/>
                </a:cubicBezTo>
                <a:cubicBezTo>
                  <a:pt x="2255541" y="1477550"/>
                  <a:pt x="2259185" y="1478799"/>
                  <a:pt x="2262540" y="1480627"/>
                </a:cubicBezTo>
                <a:cubicBezTo>
                  <a:pt x="2266185" y="1482715"/>
                  <a:pt x="2270233" y="1484051"/>
                  <a:pt x="2274456" y="1484561"/>
                </a:cubicBezTo>
                <a:cubicBezTo>
                  <a:pt x="2277869" y="1483531"/>
                  <a:pt x="2281050" y="1481882"/>
                  <a:pt x="2283827" y="1479701"/>
                </a:cubicBezTo>
                <a:cubicBezTo>
                  <a:pt x="2286777" y="1477266"/>
                  <a:pt x="2290247" y="1475600"/>
                  <a:pt x="2294007" y="1474843"/>
                </a:cubicBezTo>
                <a:cubicBezTo>
                  <a:pt x="2297363" y="1474588"/>
                  <a:pt x="2300660" y="1474102"/>
                  <a:pt x="2303899" y="1473396"/>
                </a:cubicBezTo>
                <a:cubicBezTo>
                  <a:pt x="2308932" y="1472182"/>
                  <a:pt x="2314079" y="1471597"/>
                  <a:pt x="2319227" y="1471661"/>
                </a:cubicBezTo>
                <a:cubicBezTo>
                  <a:pt x="2320963" y="1471950"/>
                  <a:pt x="2324145" y="1472876"/>
                  <a:pt x="2327846" y="1473975"/>
                </a:cubicBezTo>
                <a:cubicBezTo>
                  <a:pt x="2332705" y="1475612"/>
                  <a:pt x="2337680" y="1476792"/>
                  <a:pt x="2342770" y="1477504"/>
                </a:cubicBezTo>
                <a:lnTo>
                  <a:pt x="2343522" y="1477504"/>
                </a:lnTo>
                <a:cubicBezTo>
                  <a:pt x="2344621" y="1476931"/>
                  <a:pt x="2345893" y="1476688"/>
                  <a:pt x="2347167" y="1476809"/>
                </a:cubicBezTo>
                <a:cubicBezTo>
                  <a:pt x="2352951" y="1476809"/>
                  <a:pt x="2363826" y="1479123"/>
                  <a:pt x="2366082" y="1483635"/>
                </a:cubicBezTo>
                <a:cubicBezTo>
                  <a:pt x="2366949" y="1485428"/>
                  <a:pt x="2371866" y="1486643"/>
                  <a:pt x="2376377" y="1487684"/>
                </a:cubicBezTo>
                <a:cubicBezTo>
                  <a:pt x="2382798" y="1489246"/>
                  <a:pt x="2388814" y="1490692"/>
                  <a:pt x="2388814" y="1494625"/>
                </a:cubicBezTo>
                <a:cubicBezTo>
                  <a:pt x="2388814" y="1497113"/>
                  <a:pt x="2391880" y="1499311"/>
                  <a:pt x="2395177" y="1501625"/>
                </a:cubicBezTo>
                <a:cubicBezTo>
                  <a:pt x="2398474" y="1503562"/>
                  <a:pt x="2401193" y="1506235"/>
                  <a:pt x="2403275" y="1509434"/>
                </a:cubicBezTo>
                <a:cubicBezTo>
                  <a:pt x="2404779" y="1512499"/>
                  <a:pt x="2414266" y="1512846"/>
                  <a:pt x="2421901" y="1513078"/>
                </a:cubicBezTo>
                <a:cubicBezTo>
                  <a:pt x="2427281" y="1512667"/>
                  <a:pt x="2432718" y="1513517"/>
                  <a:pt x="2437692" y="1515565"/>
                </a:cubicBezTo>
                <a:cubicBezTo>
                  <a:pt x="2443304" y="1517694"/>
                  <a:pt x="2449319" y="1518544"/>
                  <a:pt x="2455335" y="1518052"/>
                </a:cubicBezTo>
                <a:cubicBezTo>
                  <a:pt x="2461062" y="1518480"/>
                  <a:pt x="2466846" y="1517792"/>
                  <a:pt x="2472342" y="1516028"/>
                </a:cubicBezTo>
                <a:cubicBezTo>
                  <a:pt x="2472746" y="1514061"/>
                  <a:pt x="2477258" y="1513078"/>
                  <a:pt x="2489058" y="1511169"/>
                </a:cubicBezTo>
                <a:cubicBezTo>
                  <a:pt x="2495652" y="1510562"/>
                  <a:pt x="2502073" y="1509023"/>
                  <a:pt x="2508205" y="1506599"/>
                </a:cubicBezTo>
                <a:cubicBezTo>
                  <a:pt x="2511675" y="1504760"/>
                  <a:pt x="2515435" y="1503655"/>
                  <a:pt x="2519369" y="1503360"/>
                </a:cubicBezTo>
                <a:cubicBezTo>
                  <a:pt x="2524228" y="1502550"/>
                  <a:pt x="2529202" y="1501740"/>
                  <a:pt x="2529607" y="1499311"/>
                </a:cubicBezTo>
                <a:cubicBezTo>
                  <a:pt x="2530128" y="1495088"/>
                  <a:pt x="2536317" y="1492138"/>
                  <a:pt x="2542796" y="1488957"/>
                </a:cubicBezTo>
                <a:cubicBezTo>
                  <a:pt x="2545919" y="1487586"/>
                  <a:pt x="2548985" y="1485937"/>
                  <a:pt x="2551820" y="1484040"/>
                </a:cubicBezTo>
                <a:cubicBezTo>
                  <a:pt x="2557025" y="1481368"/>
                  <a:pt x="2562810" y="1480187"/>
                  <a:pt x="2568652" y="1480627"/>
                </a:cubicBezTo>
                <a:cubicBezTo>
                  <a:pt x="2576634" y="1480627"/>
                  <a:pt x="2586005" y="1482073"/>
                  <a:pt x="2587509" y="1486411"/>
                </a:cubicBezTo>
                <a:cubicBezTo>
                  <a:pt x="2588377" y="1489593"/>
                  <a:pt x="2595665" y="1491502"/>
                  <a:pt x="2602202" y="1491502"/>
                </a:cubicBezTo>
                <a:cubicBezTo>
                  <a:pt x="2604632" y="1491571"/>
                  <a:pt x="2607118" y="1491236"/>
                  <a:pt x="2609432" y="1490519"/>
                </a:cubicBezTo>
                <a:cubicBezTo>
                  <a:pt x="2611457" y="1489882"/>
                  <a:pt x="2613539" y="1489587"/>
                  <a:pt x="2615621" y="1489651"/>
                </a:cubicBezTo>
                <a:cubicBezTo>
                  <a:pt x="2623026" y="1489651"/>
                  <a:pt x="2634479" y="1492369"/>
                  <a:pt x="2636735" y="1497576"/>
                </a:cubicBezTo>
                <a:cubicBezTo>
                  <a:pt x="2638412" y="1501451"/>
                  <a:pt x="2651196" y="1504575"/>
                  <a:pt x="2658658" y="1504575"/>
                </a:cubicBezTo>
                <a:cubicBezTo>
                  <a:pt x="2659757" y="1504615"/>
                  <a:pt x="2660856" y="1504499"/>
                  <a:pt x="2661955" y="1504228"/>
                </a:cubicBezTo>
                <a:cubicBezTo>
                  <a:pt x="2665368" y="1502562"/>
                  <a:pt x="2668665" y="1500630"/>
                  <a:pt x="2671789" y="1498443"/>
                </a:cubicBezTo>
                <a:cubicBezTo>
                  <a:pt x="2676763" y="1494909"/>
                  <a:pt x="2682258" y="1492121"/>
                  <a:pt x="2688043" y="1490171"/>
                </a:cubicBezTo>
                <a:cubicBezTo>
                  <a:pt x="2692150" y="1489425"/>
                  <a:pt x="2695794" y="1487152"/>
                  <a:pt x="2698281" y="1483809"/>
                </a:cubicBezTo>
                <a:cubicBezTo>
                  <a:pt x="2699207" y="1482565"/>
                  <a:pt x="2699553" y="1480980"/>
                  <a:pt x="2699207" y="1479470"/>
                </a:cubicBezTo>
                <a:cubicBezTo>
                  <a:pt x="2698107" y="1475595"/>
                  <a:pt x="2702388" y="1468422"/>
                  <a:pt x="2706495" y="1461481"/>
                </a:cubicBezTo>
                <a:cubicBezTo>
                  <a:pt x="2708809" y="1458068"/>
                  <a:pt x="2710718" y="1454424"/>
                  <a:pt x="2712280" y="1450606"/>
                </a:cubicBezTo>
                <a:cubicBezTo>
                  <a:pt x="2713842" y="1444474"/>
                  <a:pt x="2725179" y="1425906"/>
                  <a:pt x="2729633" y="1423998"/>
                </a:cubicBezTo>
                <a:cubicBezTo>
                  <a:pt x="2734087" y="1422089"/>
                  <a:pt x="2741722" y="1415379"/>
                  <a:pt x="2741202" y="1411503"/>
                </a:cubicBezTo>
                <a:cubicBezTo>
                  <a:pt x="2738483" y="1394150"/>
                  <a:pt x="2735417" y="1393051"/>
                  <a:pt x="2734260" y="1393051"/>
                </a:cubicBezTo>
                <a:lnTo>
                  <a:pt x="2732756" y="1393051"/>
                </a:lnTo>
                <a:cubicBezTo>
                  <a:pt x="2730732" y="1393051"/>
                  <a:pt x="2726972" y="1393051"/>
                  <a:pt x="2725699" y="1390448"/>
                </a:cubicBezTo>
                <a:cubicBezTo>
                  <a:pt x="2724427" y="1387845"/>
                  <a:pt x="2725699" y="1383391"/>
                  <a:pt x="2730963" y="1376681"/>
                </a:cubicBezTo>
                <a:cubicBezTo>
                  <a:pt x="2737442" y="1368334"/>
                  <a:pt x="2747680" y="1363759"/>
                  <a:pt x="2758208" y="1364476"/>
                </a:cubicBezTo>
                <a:cubicBezTo>
                  <a:pt x="2760984" y="1364476"/>
                  <a:pt x="2763298" y="1364476"/>
                  <a:pt x="2764860" y="1364823"/>
                </a:cubicBezTo>
                <a:lnTo>
                  <a:pt x="2766596" y="1364823"/>
                </a:lnTo>
                <a:cubicBezTo>
                  <a:pt x="2768562" y="1364614"/>
                  <a:pt x="2770471" y="1364302"/>
                  <a:pt x="2772380" y="1363897"/>
                </a:cubicBezTo>
                <a:cubicBezTo>
                  <a:pt x="2781057" y="1362116"/>
                  <a:pt x="2789791" y="1361051"/>
                  <a:pt x="2798641" y="1360716"/>
                </a:cubicBezTo>
                <a:cubicBezTo>
                  <a:pt x="2801533" y="1360635"/>
                  <a:pt x="2804425" y="1360942"/>
                  <a:pt x="2807202" y="1361641"/>
                </a:cubicBezTo>
                <a:cubicBezTo>
                  <a:pt x="2811251" y="1362717"/>
                  <a:pt x="2815474" y="1363128"/>
                  <a:pt x="2819638" y="1362856"/>
                </a:cubicBezTo>
                <a:lnTo>
                  <a:pt x="2821952" y="1362856"/>
                </a:lnTo>
                <a:cubicBezTo>
                  <a:pt x="2827563" y="1362654"/>
                  <a:pt x="2833174" y="1363932"/>
                  <a:pt x="2838149" y="1366558"/>
                </a:cubicBezTo>
                <a:cubicBezTo>
                  <a:pt x="2844106" y="1369283"/>
                  <a:pt x="2850470" y="1370966"/>
                  <a:pt x="2857006" y="1371533"/>
                </a:cubicBezTo>
                <a:cubicBezTo>
                  <a:pt x="2863600" y="1372516"/>
                  <a:pt x="2869269" y="1373326"/>
                  <a:pt x="2871640" y="1376623"/>
                </a:cubicBezTo>
                <a:cubicBezTo>
                  <a:pt x="2873607" y="1378769"/>
                  <a:pt x="2875921" y="1380603"/>
                  <a:pt x="2878466" y="1382060"/>
                </a:cubicBezTo>
                <a:cubicBezTo>
                  <a:pt x="2884251" y="1385820"/>
                  <a:pt x="2891365" y="1390564"/>
                  <a:pt x="2889573" y="1397736"/>
                </a:cubicBezTo>
                <a:cubicBezTo>
                  <a:pt x="2888705" y="1401380"/>
                  <a:pt x="2889573" y="1402248"/>
                  <a:pt x="2892233" y="1404099"/>
                </a:cubicBezTo>
                <a:cubicBezTo>
                  <a:pt x="2898075" y="1408420"/>
                  <a:pt x="2901778" y="1415026"/>
                  <a:pt x="2902472" y="1422262"/>
                </a:cubicBezTo>
                <a:cubicBezTo>
                  <a:pt x="2903802" y="1430598"/>
                  <a:pt x="2907446" y="1438395"/>
                  <a:pt x="2912999" y="1444764"/>
                </a:cubicBezTo>
                <a:cubicBezTo>
                  <a:pt x="2915660" y="1447529"/>
                  <a:pt x="2917627" y="1450878"/>
                  <a:pt x="2918783" y="1454539"/>
                </a:cubicBezTo>
                <a:cubicBezTo>
                  <a:pt x="2920519" y="1459867"/>
                  <a:pt x="2922890" y="1464986"/>
                  <a:pt x="2925725" y="1469810"/>
                </a:cubicBezTo>
                <a:cubicBezTo>
                  <a:pt x="2929890" y="1477735"/>
                  <a:pt x="2933534" y="1484618"/>
                  <a:pt x="2932493" y="1488262"/>
                </a:cubicBezTo>
                <a:cubicBezTo>
                  <a:pt x="2930989" y="1491496"/>
                  <a:pt x="2930989" y="1495210"/>
                  <a:pt x="2932493" y="1498443"/>
                </a:cubicBezTo>
                <a:cubicBezTo>
                  <a:pt x="2934864" y="1500994"/>
                  <a:pt x="2938219" y="1502353"/>
                  <a:pt x="2941690" y="1502145"/>
                </a:cubicBezTo>
                <a:cubicBezTo>
                  <a:pt x="2948863" y="1502943"/>
                  <a:pt x="2955746" y="1505396"/>
                  <a:pt x="2961762" y="1509318"/>
                </a:cubicBezTo>
                <a:cubicBezTo>
                  <a:pt x="2963497" y="1510550"/>
                  <a:pt x="2965464" y="1511446"/>
                  <a:pt x="2967546" y="1511979"/>
                </a:cubicBezTo>
                <a:lnTo>
                  <a:pt x="2967546" y="1511979"/>
                </a:lnTo>
                <a:cubicBezTo>
                  <a:pt x="2968241" y="1511666"/>
                  <a:pt x="2968935" y="1511527"/>
                  <a:pt x="2969687" y="1511574"/>
                </a:cubicBezTo>
                <a:cubicBezTo>
                  <a:pt x="2979636" y="1513026"/>
                  <a:pt x="2988891" y="1517462"/>
                  <a:pt x="2996295" y="1524300"/>
                </a:cubicBezTo>
                <a:cubicBezTo>
                  <a:pt x="2999419" y="1527221"/>
                  <a:pt x="3003294" y="1529216"/>
                  <a:pt x="3007516" y="1530084"/>
                </a:cubicBezTo>
                <a:cubicBezTo>
                  <a:pt x="3012144" y="1531357"/>
                  <a:pt x="3016540" y="1532513"/>
                  <a:pt x="3016020" y="1538414"/>
                </a:cubicBezTo>
                <a:cubicBezTo>
                  <a:pt x="3015962" y="1542665"/>
                  <a:pt x="3016945" y="1546865"/>
                  <a:pt x="3018970" y="1550619"/>
                </a:cubicBezTo>
                <a:cubicBezTo>
                  <a:pt x="3020763" y="1554078"/>
                  <a:pt x="3021747" y="1557930"/>
                  <a:pt x="3021689" y="1561840"/>
                </a:cubicBezTo>
                <a:cubicBezTo>
                  <a:pt x="3021573" y="1563113"/>
                  <a:pt x="3022035" y="1564362"/>
                  <a:pt x="3022961" y="1565253"/>
                </a:cubicBezTo>
                <a:cubicBezTo>
                  <a:pt x="3028572" y="1569603"/>
                  <a:pt x="3035514" y="1571795"/>
                  <a:pt x="3042570" y="1571443"/>
                </a:cubicBezTo>
                <a:cubicBezTo>
                  <a:pt x="3044074" y="1571448"/>
                  <a:pt x="3045578" y="1571333"/>
                  <a:pt x="3047024" y="1571096"/>
                </a:cubicBezTo>
                <a:cubicBezTo>
                  <a:pt x="3050495" y="1570720"/>
                  <a:pt x="3054023" y="1570720"/>
                  <a:pt x="3057494" y="1571096"/>
                </a:cubicBezTo>
                <a:cubicBezTo>
                  <a:pt x="3063278" y="1571501"/>
                  <a:pt x="3067501" y="1571963"/>
                  <a:pt x="3070393" y="1566063"/>
                </a:cubicBezTo>
                <a:cubicBezTo>
                  <a:pt x="3073285" y="1560163"/>
                  <a:pt x="3081384" y="1558717"/>
                  <a:pt x="3088152" y="1558023"/>
                </a:cubicBezTo>
                <a:cubicBezTo>
                  <a:pt x="3091333" y="1558040"/>
                  <a:pt x="3094514" y="1557329"/>
                  <a:pt x="3097407" y="1555940"/>
                </a:cubicBezTo>
                <a:cubicBezTo>
                  <a:pt x="3101513" y="1553262"/>
                  <a:pt x="3106257" y="1551758"/>
                  <a:pt x="3111116" y="1551602"/>
                </a:cubicBezTo>
                <a:cubicBezTo>
                  <a:pt x="3113892" y="1551429"/>
                  <a:pt x="3116611" y="1552418"/>
                  <a:pt x="3118636" y="1554321"/>
                </a:cubicBezTo>
                <a:cubicBezTo>
                  <a:pt x="3120544" y="1556623"/>
                  <a:pt x="3121412" y="1559625"/>
                  <a:pt x="3121007" y="1562592"/>
                </a:cubicBezTo>
                <a:cubicBezTo>
                  <a:pt x="3120776" y="1567237"/>
                  <a:pt x="3121701" y="1571871"/>
                  <a:pt x="3123668" y="1576070"/>
                </a:cubicBezTo>
                <a:cubicBezTo>
                  <a:pt x="3125230" y="1579946"/>
                  <a:pt x="3126502" y="1582954"/>
                  <a:pt x="3121296" y="1586077"/>
                </a:cubicBezTo>
                <a:cubicBezTo>
                  <a:pt x="3114818" y="1589953"/>
                  <a:pt x="3110827" y="1605860"/>
                  <a:pt x="3108455" y="1615404"/>
                </a:cubicBezTo>
                <a:lnTo>
                  <a:pt x="3107240" y="1620147"/>
                </a:lnTo>
                <a:cubicBezTo>
                  <a:pt x="3105621" y="1624370"/>
                  <a:pt x="3102786" y="1627991"/>
                  <a:pt x="3099026" y="1630502"/>
                </a:cubicBezTo>
                <a:cubicBezTo>
                  <a:pt x="3095151" y="1632902"/>
                  <a:pt x="3092316" y="1636656"/>
                  <a:pt x="3091102" y="1641029"/>
                </a:cubicBezTo>
                <a:cubicBezTo>
                  <a:pt x="3090118" y="1645558"/>
                  <a:pt x="3087226" y="1649463"/>
                  <a:pt x="3083235" y="1651788"/>
                </a:cubicBezTo>
                <a:cubicBezTo>
                  <a:pt x="3080401" y="1653986"/>
                  <a:pt x="3078203" y="1655722"/>
                  <a:pt x="3078203" y="1658614"/>
                </a:cubicBezTo>
                <a:cubicBezTo>
                  <a:pt x="3078203" y="1661506"/>
                  <a:pt x="3074731" y="1664398"/>
                  <a:pt x="3068890" y="1664398"/>
                </a:cubicBezTo>
                <a:cubicBezTo>
                  <a:pt x="3062932" y="1664323"/>
                  <a:pt x="3057147" y="1662559"/>
                  <a:pt x="3052173" y="1659308"/>
                </a:cubicBezTo>
                <a:cubicBezTo>
                  <a:pt x="3051305" y="1658683"/>
                  <a:pt x="3050263" y="1658342"/>
                  <a:pt x="3049223" y="1658325"/>
                </a:cubicBezTo>
                <a:cubicBezTo>
                  <a:pt x="3046099" y="1658325"/>
                  <a:pt x="3042744" y="1661390"/>
                  <a:pt x="3039504" y="1664398"/>
                </a:cubicBezTo>
                <a:cubicBezTo>
                  <a:pt x="3036266" y="1667406"/>
                  <a:pt x="3033258" y="1670183"/>
                  <a:pt x="3030249" y="1670183"/>
                </a:cubicBezTo>
                <a:cubicBezTo>
                  <a:pt x="3029324" y="1670131"/>
                  <a:pt x="3028399" y="1670599"/>
                  <a:pt x="3027936" y="1671398"/>
                </a:cubicBezTo>
                <a:cubicBezTo>
                  <a:pt x="3025737" y="1676719"/>
                  <a:pt x="3025507" y="1682631"/>
                  <a:pt x="3027241" y="1688114"/>
                </a:cubicBezTo>
                <a:cubicBezTo>
                  <a:pt x="3027762" y="1690752"/>
                  <a:pt x="3027762" y="1693459"/>
                  <a:pt x="3027241" y="1696097"/>
                </a:cubicBezTo>
                <a:cubicBezTo>
                  <a:pt x="3026432" y="1700979"/>
                  <a:pt x="3026953" y="1705988"/>
                  <a:pt x="3028688" y="1710616"/>
                </a:cubicBezTo>
                <a:cubicBezTo>
                  <a:pt x="3029902" y="1715151"/>
                  <a:pt x="3030423" y="1719859"/>
                  <a:pt x="3030192" y="1724556"/>
                </a:cubicBezTo>
                <a:cubicBezTo>
                  <a:pt x="3030192" y="1727796"/>
                  <a:pt x="3030192" y="1731382"/>
                  <a:pt x="3030539" y="1735084"/>
                </a:cubicBezTo>
                <a:cubicBezTo>
                  <a:pt x="3038232" y="1729589"/>
                  <a:pt x="3047892" y="1723515"/>
                  <a:pt x="3052288" y="1723515"/>
                </a:cubicBezTo>
                <a:cubicBezTo>
                  <a:pt x="3058362" y="1724597"/>
                  <a:pt x="3063915" y="1727668"/>
                  <a:pt x="3068022" y="1732250"/>
                </a:cubicBezTo>
                <a:cubicBezTo>
                  <a:pt x="3072245" y="1736825"/>
                  <a:pt x="3077739" y="1739978"/>
                  <a:pt x="3083813" y="1741273"/>
                </a:cubicBezTo>
                <a:cubicBezTo>
                  <a:pt x="3096481" y="1741273"/>
                  <a:pt x="3145128" y="1706856"/>
                  <a:pt x="3145649" y="1702749"/>
                </a:cubicBezTo>
                <a:cubicBezTo>
                  <a:pt x="3146170" y="1698642"/>
                  <a:pt x="3159185" y="1684702"/>
                  <a:pt x="3177695" y="1665787"/>
                </a:cubicBezTo>
                <a:cubicBezTo>
                  <a:pt x="3182437" y="1660986"/>
                  <a:pt x="3186892" y="1656474"/>
                  <a:pt x="3190363" y="1652772"/>
                </a:cubicBezTo>
                <a:cubicBezTo>
                  <a:pt x="3201932" y="1640567"/>
                  <a:pt x="3222466" y="1617313"/>
                  <a:pt x="3230159" y="1599381"/>
                </a:cubicBezTo>
                <a:cubicBezTo>
                  <a:pt x="3235249" y="1590387"/>
                  <a:pt x="3241381" y="1582005"/>
                  <a:pt x="3248380" y="1574393"/>
                </a:cubicBezTo>
                <a:cubicBezTo>
                  <a:pt x="3252256" y="1569968"/>
                  <a:pt x="3255900" y="1565334"/>
                  <a:pt x="3259313" y="1560510"/>
                </a:cubicBezTo>
                <a:cubicBezTo>
                  <a:pt x="3260701" y="1558219"/>
                  <a:pt x="3262205" y="1556016"/>
                  <a:pt x="3263825" y="1553916"/>
                </a:cubicBezTo>
                <a:cubicBezTo>
                  <a:pt x="3268799" y="1547397"/>
                  <a:pt x="3272964" y="1540282"/>
                  <a:pt x="3276203" y="1532745"/>
                </a:cubicBezTo>
                <a:cubicBezTo>
                  <a:pt x="3281641" y="1521176"/>
                  <a:pt x="3283665" y="1497576"/>
                  <a:pt x="3285169" y="1480396"/>
                </a:cubicBezTo>
                <a:cubicBezTo>
                  <a:pt x="3286268" y="1467670"/>
                  <a:pt x="3286789" y="1462001"/>
                  <a:pt x="3288061" y="1460555"/>
                </a:cubicBezTo>
                <a:cubicBezTo>
                  <a:pt x="3289218" y="1458623"/>
                  <a:pt x="3289797" y="1456431"/>
                  <a:pt x="3289855" y="1454192"/>
                </a:cubicBezTo>
                <a:cubicBezTo>
                  <a:pt x="3290086" y="1450450"/>
                  <a:pt x="3291243" y="1446823"/>
                  <a:pt x="3293267" y="1443665"/>
                </a:cubicBezTo>
                <a:cubicBezTo>
                  <a:pt x="3294598" y="1441669"/>
                  <a:pt x="3295581" y="1439430"/>
                  <a:pt x="3296044" y="1437070"/>
                </a:cubicBezTo>
                <a:cubicBezTo>
                  <a:pt x="3297027" y="1432044"/>
                  <a:pt x="3299630" y="1427486"/>
                  <a:pt x="3303506" y="1424113"/>
                </a:cubicBezTo>
                <a:cubicBezTo>
                  <a:pt x="3309117" y="1420458"/>
                  <a:pt x="3310968" y="1413071"/>
                  <a:pt x="3307670" y="1407223"/>
                </a:cubicBezTo>
                <a:cubicBezTo>
                  <a:pt x="3306688" y="1403445"/>
                  <a:pt x="3306398" y="1399535"/>
                  <a:pt x="3306745" y="1395654"/>
                </a:cubicBezTo>
                <a:cubicBezTo>
                  <a:pt x="3307092" y="1392634"/>
                  <a:pt x="3306918" y="1389568"/>
                  <a:pt x="3306109" y="1386630"/>
                </a:cubicBezTo>
                <a:cubicBezTo>
                  <a:pt x="3303737" y="1382234"/>
                  <a:pt x="3304605" y="1379978"/>
                  <a:pt x="3309753" y="1377028"/>
                </a:cubicBezTo>
                <a:cubicBezTo>
                  <a:pt x="3310332" y="1376762"/>
                  <a:pt x="3310678" y="1376201"/>
                  <a:pt x="3310678" y="1375582"/>
                </a:cubicBezTo>
                <a:cubicBezTo>
                  <a:pt x="3310678" y="1373037"/>
                  <a:pt x="3305357" y="1368293"/>
                  <a:pt x="3299746" y="1365690"/>
                </a:cubicBezTo>
                <a:lnTo>
                  <a:pt x="3296911" y="1364360"/>
                </a:lnTo>
                <a:cubicBezTo>
                  <a:pt x="3290549" y="1361584"/>
                  <a:pt x="3283318" y="1358576"/>
                  <a:pt x="3282566" y="1350998"/>
                </a:cubicBezTo>
                <a:cubicBezTo>
                  <a:pt x="3281814" y="1343420"/>
                  <a:pt x="3270535" y="1335207"/>
                  <a:pt x="3262379" y="1335843"/>
                </a:cubicBezTo>
                <a:cubicBezTo>
                  <a:pt x="3258214" y="1335987"/>
                  <a:pt x="3254049" y="1335692"/>
                  <a:pt x="3249942" y="1334975"/>
                </a:cubicBezTo>
                <a:cubicBezTo>
                  <a:pt x="3247397" y="1334547"/>
                  <a:pt x="3244852" y="1334281"/>
                  <a:pt x="3242249" y="1334165"/>
                </a:cubicBezTo>
                <a:cubicBezTo>
                  <a:pt x="3240167" y="1334165"/>
                  <a:pt x="3239819" y="1334570"/>
                  <a:pt x="3239819" y="1334628"/>
                </a:cubicBezTo>
                <a:cubicBezTo>
                  <a:pt x="3239819" y="1334686"/>
                  <a:pt x="3239819" y="1334628"/>
                  <a:pt x="3239819" y="1335207"/>
                </a:cubicBezTo>
                <a:cubicBezTo>
                  <a:pt x="3241034" y="1338006"/>
                  <a:pt x="3240803" y="1341217"/>
                  <a:pt x="3239241" y="1343825"/>
                </a:cubicBezTo>
                <a:cubicBezTo>
                  <a:pt x="3237969" y="1345676"/>
                  <a:pt x="3235655" y="1346509"/>
                  <a:pt x="3233456" y="1345908"/>
                </a:cubicBezTo>
                <a:cubicBezTo>
                  <a:pt x="3230044" y="1345040"/>
                  <a:pt x="3228192" y="1347817"/>
                  <a:pt x="3223796" y="1354642"/>
                </a:cubicBezTo>
                <a:lnTo>
                  <a:pt x="3222928" y="1355973"/>
                </a:lnTo>
                <a:cubicBezTo>
                  <a:pt x="3219400" y="1360398"/>
                  <a:pt x="3214021" y="1362989"/>
                  <a:pt x="3208352" y="1363030"/>
                </a:cubicBezTo>
                <a:cubicBezTo>
                  <a:pt x="3205749" y="1363030"/>
                  <a:pt x="3204072" y="1362220"/>
                  <a:pt x="3203493" y="1360832"/>
                </a:cubicBezTo>
                <a:cubicBezTo>
                  <a:pt x="3202915" y="1359443"/>
                  <a:pt x="3203493" y="1357650"/>
                  <a:pt x="3205865" y="1355683"/>
                </a:cubicBezTo>
                <a:cubicBezTo>
                  <a:pt x="3209971" y="1352039"/>
                  <a:pt x="3208988" y="1350824"/>
                  <a:pt x="3207021" y="1348453"/>
                </a:cubicBezTo>
                <a:cubicBezTo>
                  <a:pt x="3204824" y="1346313"/>
                  <a:pt x="3203782" y="1343218"/>
                  <a:pt x="3204303" y="1340181"/>
                </a:cubicBezTo>
                <a:cubicBezTo>
                  <a:pt x="3204939" y="1337549"/>
                  <a:pt x="3205807" y="1334975"/>
                  <a:pt x="3206906" y="1332488"/>
                </a:cubicBezTo>
                <a:cubicBezTo>
                  <a:pt x="3207427" y="1331366"/>
                  <a:pt x="3207889" y="1330203"/>
                  <a:pt x="3208236" y="1329017"/>
                </a:cubicBezTo>
                <a:cubicBezTo>
                  <a:pt x="3207195" y="1329399"/>
                  <a:pt x="3206154" y="1329885"/>
                  <a:pt x="3205228" y="1330463"/>
                </a:cubicBezTo>
                <a:cubicBezTo>
                  <a:pt x="3201411" y="1333037"/>
                  <a:pt x="3198403" y="1336676"/>
                  <a:pt x="3196610" y="1340933"/>
                </a:cubicBezTo>
                <a:cubicBezTo>
                  <a:pt x="3194412" y="1345098"/>
                  <a:pt x="3192329" y="1349089"/>
                  <a:pt x="3187875" y="1350015"/>
                </a:cubicBezTo>
                <a:lnTo>
                  <a:pt x="3186949" y="1350015"/>
                </a:lnTo>
                <a:cubicBezTo>
                  <a:pt x="3185561" y="1349997"/>
                  <a:pt x="3184289" y="1349280"/>
                  <a:pt x="3183537" y="1348106"/>
                </a:cubicBezTo>
                <a:cubicBezTo>
                  <a:pt x="3179488" y="1342321"/>
                  <a:pt x="3181859" y="1324968"/>
                  <a:pt x="3183537" y="1320572"/>
                </a:cubicBezTo>
                <a:cubicBezTo>
                  <a:pt x="3183537" y="1320109"/>
                  <a:pt x="3183537" y="1319878"/>
                  <a:pt x="3183537" y="1319820"/>
                </a:cubicBezTo>
                <a:cubicBezTo>
                  <a:pt x="3183537" y="1319762"/>
                  <a:pt x="3183189" y="1319415"/>
                  <a:pt x="3181223" y="1319415"/>
                </a:cubicBezTo>
                <a:cubicBezTo>
                  <a:pt x="3179256" y="1319415"/>
                  <a:pt x="3176769" y="1319762"/>
                  <a:pt x="3173761" y="1320109"/>
                </a:cubicBezTo>
                <a:cubicBezTo>
                  <a:pt x="3166993" y="1321185"/>
                  <a:pt x="3160168" y="1321555"/>
                  <a:pt x="3153342" y="1321208"/>
                </a:cubicBezTo>
                <a:cubicBezTo>
                  <a:pt x="3144550" y="1320630"/>
                  <a:pt x="3141773" y="1317275"/>
                  <a:pt x="3141484" y="1314614"/>
                </a:cubicBezTo>
                <a:cubicBezTo>
                  <a:pt x="3140443" y="1309813"/>
                  <a:pt x="3145533" y="1303450"/>
                  <a:pt x="3154152" y="1298880"/>
                </a:cubicBezTo>
                <a:cubicBezTo>
                  <a:pt x="3159185" y="1296480"/>
                  <a:pt x="3163407" y="1292633"/>
                  <a:pt x="3166241" y="1287832"/>
                </a:cubicBezTo>
                <a:cubicBezTo>
                  <a:pt x="3167572" y="1285281"/>
                  <a:pt x="3169770" y="1283245"/>
                  <a:pt x="3172373" y="1282048"/>
                </a:cubicBezTo>
                <a:cubicBezTo>
                  <a:pt x="3179893" y="1278305"/>
                  <a:pt x="3187181" y="1274117"/>
                  <a:pt x="3194238" y="1269495"/>
                </a:cubicBezTo>
                <a:cubicBezTo>
                  <a:pt x="3199097" y="1266488"/>
                  <a:pt x="3203667" y="1263711"/>
                  <a:pt x="3207427" y="1261513"/>
                </a:cubicBezTo>
                <a:cubicBezTo>
                  <a:pt x="3214483" y="1257684"/>
                  <a:pt x="3219632" y="1251043"/>
                  <a:pt x="3221540" y="1243234"/>
                </a:cubicBezTo>
                <a:lnTo>
                  <a:pt x="3221540" y="1242366"/>
                </a:lnTo>
                <a:cubicBezTo>
                  <a:pt x="3223102" y="1238086"/>
                  <a:pt x="3229928" y="1233690"/>
                  <a:pt x="3239357" y="1227616"/>
                </a:cubicBezTo>
                <a:cubicBezTo>
                  <a:pt x="3246876" y="1222942"/>
                  <a:pt x="3254164" y="1217864"/>
                  <a:pt x="3261106" y="1212403"/>
                </a:cubicBezTo>
                <a:cubicBezTo>
                  <a:pt x="3277476" y="1198983"/>
                  <a:pt x="3286557" y="1190654"/>
                  <a:pt x="3290665" y="1182035"/>
                </a:cubicBezTo>
                <a:cubicBezTo>
                  <a:pt x="3292805" y="1177581"/>
                  <a:pt x="3300209" y="1172838"/>
                  <a:pt x="3307324" y="1168326"/>
                </a:cubicBezTo>
                <a:cubicBezTo>
                  <a:pt x="3314438" y="1163814"/>
                  <a:pt x="3320685" y="1159765"/>
                  <a:pt x="3320859" y="1157046"/>
                </a:cubicBezTo>
                <a:cubicBezTo>
                  <a:pt x="3321322" y="1149295"/>
                  <a:pt x="3353599" y="1133156"/>
                  <a:pt x="3372919" y="1129339"/>
                </a:cubicBezTo>
                <a:cubicBezTo>
                  <a:pt x="3378530" y="1128338"/>
                  <a:pt x="3384198" y="1127852"/>
                  <a:pt x="3389868" y="1127893"/>
                </a:cubicBezTo>
                <a:cubicBezTo>
                  <a:pt x="3408551" y="1127893"/>
                  <a:pt x="3428449" y="1132057"/>
                  <a:pt x="3433309" y="1136974"/>
                </a:cubicBezTo>
                <a:cubicBezTo>
                  <a:pt x="3435506" y="1140358"/>
                  <a:pt x="3440018" y="1141330"/>
                  <a:pt x="3443374" y="1139149"/>
                </a:cubicBezTo>
                <a:cubicBezTo>
                  <a:pt x="3444414" y="1138501"/>
                  <a:pt x="3445224" y="1137616"/>
                  <a:pt x="3445803" y="1136569"/>
                </a:cubicBezTo>
                <a:cubicBezTo>
                  <a:pt x="3448001" y="1134493"/>
                  <a:pt x="3451009" y="1133498"/>
                  <a:pt x="3454017" y="1133851"/>
                </a:cubicBezTo>
                <a:cubicBezTo>
                  <a:pt x="3457893" y="1133978"/>
                  <a:pt x="3461768" y="1134342"/>
                  <a:pt x="3465586" y="1134950"/>
                </a:cubicBezTo>
                <a:lnTo>
                  <a:pt x="3472238" y="1135817"/>
                </a:lnTo>
                <a:cubicBezTo>
                  <a:pt x="3473394" y="1135817"/>
                  <a:pt x="3474551" y="1135817"/>
                  <a:pt x="3475650" y="1135817"/>
                </a:cubicBezTo>
                <a:cubicBezTo>
                  <a:pt x="3479468" y="1135754"/>
                  <a:pt x="3483228" y="1134886"/>
                  <a:pt x="3486699" y="1133272"/>
                </a:cubicBezTo>
                <a:cubicBezTo>
                  <a:pt x="3489128" y="1132121"/>
                  <a:pt x="3491789" y="1131450"/>
                  <a:pt x="3494508" y="1131305"/>
                </a:cubicBezTo>
                <a:cubicBezTo>
                  <a:pt x="3495896" y="1131317"/>
                  <a:pt x="3497342" y="1131554"/>
                  <a:pt x="3498672" y="1132000"/>
                </a:cubicBezTo>
                <a:cubicBezTo>
                  <a:pt x="3501912" y="1133128"/>
                  <a:pt x="3505325" y="1133810"/>
                  <a:pt x="3508795" y="1134024"/>
                </a:cubicBezTo>
                <a:cubicBezTo>
                  <a:pt x="3513828" y="1133966"/>
                  <a:pt x="3518224" y="1130808"/>
                  <a:pt x="3519959" y="1126099"/>
                </a:cubicBezTo>
                <a:cubicBezTo>
                  <a:pt x="3523950" y="1118290"/>
                  <a:pt x="3536676" y="1117481"/>
                  <a:pt x="3541940" y="1117481"/>
                </a:cubicBezTo>
                <a:cubicBezTo>
                  <a:pt x="3548187" y="1117145"/>
                  <a:pt x="3554434" y="1118464"/>
                  <a:pt x="3559987" y="1121298"/>
                </a:cubicBezTo>
                <a:lnTo>
                  <a:pt x="3562417" y="1123149"/>
                </a:lnTo>
                <a:cubicBezTo>
                  <a:pt x="3565020" y="1125764"/>
                  <a:pt x="3568375" y="1127436"/>
                  <a:pt x="3572019" y="1127893"/>
                </a:cubicBezTo>
                <a:cubicBezTo>
                  <a:pt x="3574680" y="1127760"/>
                  <a:pt x="3577225" y="1126834"/>
                  <a:pt x="3579308" y="1125232"/>
                </a:cubicBezTo>
                <a:cubicBezTo>
                  <a:pt x="3580754" y="1124179"/>
                  <a:pt x="3582489" y="1123554"/>
                  <a:pt x="3584282" y="1123439"/>
                </a:cubicBezTo>
                <a:cubicBezTo>
                  <a:pt x="3587521" y="1123439"/>
                  <a:pt x="3589488" y="1126157"/>
                  <a:pt x="3591455" y="1128760"/>
                </a:cubicBezTo>
                <a:cubicBezTo>
                  <a:pt x="3593075" y="1131658"/>
                  <a:pt x="3595793" y="1133752"/>
                  <a:pt x="3599032" y="1134545"/>
                </a:cubicBezTo>
                <a:cubicBezTo>
                  <a:pt x="3604354" y="1135239"/>
                  <a:pt x="3604817" y="1137957"/>
                  <a:pt x="3604817" y="1139114"/>
                </a:cubicBezTo>
                <a:cubicBezTo>
                  <a:pt x="3604817" y="1142701"/>
                  <a:pt x="3599437" y="1145824"/>
                  <a:pt x="3594058" y="1145246"/>
                </a:cubicBezTo>
                <a:lnTo>
                  <a:pt x="3592323" y="1145246"/>
                </a:lnTo>
                <a:cubicBezTo>
                  <a:pt x="3587232" y="1145246"/>
                  <a:pt x="3583183" y="1147155"/>
                  <a:pt x="3582720" y="1148890"/>
                </a:cubicBezTo>
                <a:cubicBezTo>
                  <a:pt x="3582258" y="1150625"/>
                  <a:pt x="3583588" y="1151262"/>
                  <a:pt x="3585844" y="1152534"/>
                </a:cubicBezTo>
                <a:cubicBezTo>
                  <a:pt x="3587463" y="1153466"/>
                  <a:pt x="3589315" y="1153946"/>
                  <a:pt x="3591223" y="1153923"/>
                </a:cubicBezTo>
                <a:cubicBezTo>
                  <a:pt x="3595099" y="1153604"/>
                  <a:pt x="3598916" y="1152586"/>
                  <a:pt x="3602445" y="1150915"/>
                </a:cubicBezTo>
                <a:cubicBezTo>
                  <a:pt x="3605684" y="1149289"/>
                  <a:pt x="3609213" y="1148404"/>
                  <a:pt x="3612857" y="1148312"/>
                </a:cubicBezTo>
                <a:cubicBezTo>
                  <a:pt x="3615633" y="1148676"/>
                  <a:pt x="3618410" y="1148867"/>
                  <a:pt x="3621187" y="1148890"/>
                </a:cubicBezTo>
                <a:cubicBezTo>
                  <a:pt x="3628128" y="1149127"/>
                  <a:pt x="3634954" y="1147294"/>
                  <a:pt x="3640796" y="1143626"/>
                </a:cubicBezTo>
                <a:cubicBezTo>
                  <a:pt x="3642705" y="1142302"/>
                  <a:pt x="3645019" y="1141561"/>
                  <a:pt x="3647333" y="1141486"/>
                </a:cubicBezTo>
                <a:cubicBezTo>
                  <a:pt x="3649530" y="1141573"/>
                  <a:pt x="3651671" y="1142232"/>
                  <a:pt x="3653522" y="1143395"/>
                </a:cubicBezTo>
                <a:cubicBezTo>
                  <a:pt x="3656009" y="1144667"/>
                  <a:pt x="3657744" y="1145362"/>
                  <a:pt x="3660058" y="1143395"/>
                </a:cubicBezTo>
                <a:cubicBezTo>
                  <a:pt x="3666537" y="1137610"/>
                  <a:pt x="3679956" y="1136222"/>
                  <a:pt x="3686840" y="1136222"/>
                </a:cubicBezTo>
                <a:lnTo>
                  <a:pt x="3689559" y="1136222"/>
                </a:lnTo>
                <a:cubicBezTo>
                  <a:pt x="3690021" y="1136280"/>
                  <a:pt x="3690542" y="1136182"/>
                  <a:pt x="3690947" y="1135933"/>
                </a:cubicBezTo>
                <a:cubicBezTo>
                  <a:pt x="3690947" y="1134255"/>
                  <a:pt x="3686493" y="1130148"/>
                  <a:pt x="3678163" y="1130148"/>
                </a:cubicBezTo>
                <a:cubicBezTo>
                  <a:pt x="3673073" y="1130148"/>
                  <a:pt x="3670007" y="1128992"/>
                  <a:pt x="3668619" y="1126562"/>
                </a:cubicBezTo>
                <a:cubicBezTo>
                  <a:pt x="3666537" y="1122918"/>
                  <a:pt x="3668619" y="1117018"/>
                  <a:pt x="3675213" y="1105449"/>
                </a:cubicBezTo>
                <a:cubicBezTo>
                  <a:pt x="3682560" y="1094580"/>
                  <a:pt x="3692162" y="1085429"/>
                  <a:pt x="3703383" y="1078609"/>
                </a:cubicBezTo>
                <a:cubicBezTo>
                  <a:pt x="3707548" y="1075827"/>
                  <a:pt x="3711540" y="1072813"/>
                  <a:pt x="3715357" y="1069585"/>
                </a:cubicBezTo>
                <a:cubicBezTo>
                  <a:pt x="3719695" y="1065791"/>
                  <a:pt x="3725017" y="1063217"/>
                  <a:pt x="3730686" y="1062124"/>
                </a:cubicBezTo>
                <a:cubicBezTo>
                  <a:pt x="3734272" y="1061256"/>
                  <a:pt x="3735256" y="1060909"/>
                  <a:pt x="3735256" y="1058769"/>
                </a:cubicBezTo>
                <a:cubicBezTo>
                  <a:pt x="3735256" y="1052406"/>
                  <a:pt x="3741040" y="1033028"/>
                  <a:pt x="3750815" y="1032623"/>
                </a:cubicBezTo>
                <a:cubicBezTo>
                  <a:pt x="3753014" y="1032623"/>
                  <a:pt x="3756079" y="1032623"/>
                  <a:pt x="3759724" y="1032623"/>
                </a:cubicBezTo>
                <a:cubicBezTo>
                  <a:pt x="3763368" y="1032623"/>
                  <a:pt x="3767302" y="1033086"/>
                  <a:pt x="3771293" y="1033086"/>
                </a:cubicBezTo>
                <a:cubicBezTo>
                  <a:pt x="3779449" y="1033572"/>
                  <a:pt x="3787605" y="1031975"/>
                  <a:pt x="3794951" y="1028458"/>
                </a:cubicBezTo>
                <a:cubicBezTo>
                  <a:pt x="3797265" y="1027000"/>
                  <a:pt x="3799925" y="1026145"/>
                  <a:pt x="3802644" y="1025971"/>
                </a:cubicBezTo>
                <a:cubicBezTo>
                  <a:pt x="3806983" y="1025971"/>
                  <a:pt x="3808949" y="1029326"/>
                  <a:pt x="3810511" y="1031755"/>
                </a:cubicBezTo>
                <a:cubicBezTo>
                  <a:pt x="3812073" y="1034185"/>
                  <a:pt x="3812593" y="1035284"/>
                  <a:pt x="3814040" y="1035804"/>
                </a:cubicBezTo>
                <a:cubicBezTo>
                  <a:pt x="3815486" y="1036325"/>
                  <a:pt x="3818898" y="1034300"/>
                  <a:pt x="3821675" y="1032102"/>
                </a:cubicBezTo>
                <a:cubicBezTo>
                  <a:pt x="3824220" y="1029615"/>
                  <a:pt x="3827459" y="1027955"/>
                  <a:pt x="3830930" y="1027359"/>
                </a:cubicBezTo>
                <a:cubicBezTo>
                  <a:pt x="3832029" y="1027359"/>
                  <a:pt x="3833128" y="1027683"/>
                  <a:pt x="3834053" y="1028285"/>
                </a:cubicBezTo>
                <a:cubicBezTo>
                  <a:pt x="3835153" y="1028846"/>
                  <a:pt x="3835847" y="1029870"/>
                  <a:pt x="3836078" y="1031061"/>
                </a:cubicBezTo>
                <a:cubicBezTo>
                  <a:pt x="3836541" y="1033896"/>
                  <a:pt x="3833707" y="1037135"/>
                  <a:pt x="3830293" y="1041300"/>
                </a:cubicBezTo>
                <a:cubicBezTo>
                  <a:pt x="3826476" y="1045239"/>
                  <a:pt x="3823468" y="1049872"/>
                  <a:pt x="3821386" y="1054951"/>
                </a:cubicBezTo>
                <a:cubicBezTo>
                  <a:pt x="3820576" y="1056675"/>
                  <a:pt x="3820576" y="1058664"/>
                  <a:pt x="3821386" y="1060388"/>
                </a:cubicBezTo>
                <a:cubicBezTo>
                  <a:pt x="3822427" y="1061950"/>
                  <a:pt x="3825319" y="1062239"/>
                  <a:pt x="3828443" y="1062528"/>
                </a:cubicBezTo>
                <a:cubicBezTo>
                  <a:pt x="3831103" y="1062621"/>
                  <a:pt x="3833707" y="1063165"/>
                  <a:pt x="3836194" y="1064148"/>
                </a:cubicBezTo>
                <a:cubicBezTo>
                  <a:pt x="3837698" y="1064842"/>
                  <a:pt x="3838508" y="1065768"/>
                  <a:pt x="3838565" y="1066867"/>
                </a:cubicBezTo>
                <a:cubicBezTo>
                  <a:pt x="3838565" y="1069007"/>
                  <a:pt x="3836136" y="1070742"/>
                  <a:pt x="3833359" y="1072651"/>
                </a:cubicBezTo>
                <a:cubicBezTo>
                  <a:pt x="3832029" y="1073577"/>
                  <a:pt x="3829484" y="1075254"/>
                  <a:pt x="3829484" y="1075948"/>
                </a:cubicBezTo>
                <a:cubicBezTo>
                  <a:pt x="3829484" y="1076643"/>
                  <a:pt x="3830583" y="1076990"/>
                  <a:pt x="3832955" y="1076990"/>
                </a:cubicBezTo>
                <a:cubicBezTo>
                  <a:pt x="3838739" y="1076990"/>
                  <a:pt x="3849093" y="1072825"/>
                  <a:pt x="3860777" y="1061140"/>
                </a:cubicBezTo>
                <a:cubicBezTo>
                  <a:pt x="3874950" y="1047026"/>
                  <a:pt x="3890105" y="1039217"/>
                  <a:pt x="3903467" y="1039217"/>
                </a:cubicBezTo>
                <a:cubicBezTo>
                  <a:pt x="3904624" y="1039159"/>
                  <a:pt x="3905780" y="1039159"/>
                  <a:pt x="3906937" y="1039217"/>
                </a:cubicBezTo>
                <a:cubicBezTo>
                  <a:pt x="3908499" y="1039663"/>
                  <a:pt x="3910177" y="1039339"/>
                  <a:pt x="3911449" y="1038350"/>
                </a:cubicBezTo>
                <a:cubicBezTo>
                  <a:pt x="3912895" y="1036730"/>
                  <a:pt x="3912491" y="1032854"/>
                  <a:pt x="3911970" y="1027938"/>
                </a:cubicBezTo>
                <a:cubicBezTo>
                  <a:pt x="3911391" y="1023200"/>
                  <a:pt x="3911218" y="1018422"/>
                  <a:pt x="3911333" y="1013650"/>
                </a:cubicBezTo>
                <a:cubicBezTo>
                  <a:pt x="3911970" y="1000230"/>
                  <a:pt x="3932967" y="994214"/>
                  <a:pt x="3947660" y="994214"/>
                </a:cubicBezTo>
                <a:cubicBezTo>
                  <a:pt x="3951766" y="994076"/>
                  <a:pt x="3955874" y="994723"/>
                  <a:pt x="3959749" y="996123"/>
                </a:cubicBezTo>
                <a:cubicBezTo>
                  <a:pt x="3963278" y="997627"/>
                  <a:pt x="3969120" y="1000577"/>
                  <a:pt x="3968541" y="1003585"/>
                </a:cubicBezTo>
                <a:cubicBezTo>
                  <a:pt x="3968541" y="1004511"/>
                  <a:pt x="3967501" y="1005610"/>
                  <a:pt x="3964550" y="1005610"/>
                </a:cubicBezTo>
                <a:cubicBezTo>
                  <a:pt x="3962584" y="1005540"/>
                  <a:pt x="3960675" y="1005228"/>
                  <a:pt x="3958766" y="1004684"/>
                </a:cubicBezTo>
                <a:cubicBezTo>
                  <a:pt x="3953792" y="1003446"/>
                  <a:pt x="3948585" y="1004997"/>
                  <a:pt x="3945115" y="1008733"/>
                </a:cubicBezTo>
                <a:cubicBezTo>
                  <a:pt x="3941181" y="1012892"/>
                  <a:pt x="3939099" y="1018463"/>
                  <a:pt x="3939330" y="1024178"/>
                </a:cubicBezTo>
                <a:cubicBezTo>
                  <a:pt x="3939446" y="1029546"/>
                  <a:pt x="3938000" y="1034833"/>
                  <a:pt x="3935281" y="1039449"/>
                </a:cubicBezTo>
                <a:cubicBezTo>
                  <a:pt x="3933314" y="1043208"/>
                  <a:pt x="3932620" y="1044828"/>
                  <a:pt x="3934645" y="1046853"/>
                </a:cubicBezTo>
                <a:cubicBezTo>
                  <a:pt x="3935686" y="1047697"/>
                  <a:pt x="3936265" y="1048993"/>
                  <a:pt x="3936149" y="1050323"/>
                </a:cubicBezTo>
                <a:cubicBezTo>
                  <a:pt x="3936149" y="1052348"/>
                  <a:pt x="3933835" y="1053678"/>
                  <a:pt x="3931579" y="1055067"/>
                </a:cubicBezTo>
                <a:cubicBezTo>
                  <a:pt x="3929323" y="1056455"/>
                  <a:pt x="3926952" y="1057901"/>
                  <a:pt x="3926836" y="1059868"/>
                </a:cubicBezTo>
                <a:lnTo>
                  <a:pt x="3926836" y="1061082"/>
                </a:lnTo>
                <a:cubicBezTo>
                  <a:pt x="3927646" y="1066861"/>
                  <a:pt x="3923770" y="1072258"/>
                  <a:pt x="3918043" y="1073345"/>
                </a:cubicBezTo>
                <a:cubicBezTo>
                  <a:pt x="3916251" y="1073866"/>
                  <a:pt x="3913647" y="1074444"/>
                  <a:pt x="3910581" y="1075023"/>
                </a:cubicBezTo>
                <a:cubicBezTo>
                  <a:pt x="3900459" y="1077163"/>
                  <a:pt x="3883453" y="1080807"/>
                  <a:pt x="3882874" y="1088096"/>
                </a:cubicBezTo>
                <a:cubicBezTo>
                  <a:pt x="3882411" y="1093880"/>
                  <a:pt x="3877784" y="1097409"/>
                  <a:pt x="3872867" y="1100821"/>
                </a:cubicBezTo>
                <a:cubicBezTo>
                  <a:pt x="3867835" y="1103853"/>
                  <a:pt x="3863554" y="1108081"/>
                  <a:pt x="3860547" y="1113142"/>
                </a:cubicBezTo>
                <a:cubicBezTo>
                  <a:pt x="3855803" y="1119829"/>
                  <a:pt x="3849672" y="1125376"/>
                  <a:pt x="3842557" y="1129396"/>
                </a:cubicBezTo>
                <a:cubicBezTo>
                  <a:pt x="3829831" y="1137298"/>
                  <a:pt x="3818840" y="1147589"/>
                  <a:pt x="3810048" y="1159707"/>
                </a:cubicBezTo>
                <a:cubicBezTo>
                  <a:pt x="3800909" y="1172658"/>
                  <a:pt x="3787605" y="1182104"/>
                  <a:pt x="3772334" y="1186489"/>
                </a:cubicBezTo>
                <a:cubicBezTo>
                  <a:pt x="3769384" y="1187530"/>
                  <a:pt x="3765392" y="1188918"/>
                  <a:pt x="3765392" y="1189728"/>
                </a:cubicBezTo>
                <a:cubicBezTo>
                  <a:pt x="3765392" y="1194240"/>
                  <a:pt x="3756485" y="1195050"/>
                  <a:pt x="3744858" y="1195513"/>
                </a:cubicBezTo>
                <a:cubicBezTo>
                  <a:pt x="3742428" y="1195513"/>
                  <a:pt x="3740346" y="1195802"/>
                  <a:pt x="3739074" y="1195975"/>
                </a:cubicBezTo>
                <a:cubicBezTo>
                  <a:pt x="3737800" y="1196149"/>
                  <a:pt x="3737800" y="1196959"/>
                  <a:pt x="3738322" y="1201355"/>
                </a:cubicBezTo>
                <a:cubicBezTo>
                  <a:pt x="3740346" y="1211212"/>
                  <a:pt x="3737396" y="1221433"/>
                  <a:pt x="3730455" y="1228715"/>
                </a:cubicBezTo>
                <a:cubicBezTo>
                  <a:pt x="3714721" y="1245496"/>
                  <a:pt x="3705928" y="1267563"/>
                  <a:pt x="3705697" y="1290551"/>
                </a:cubicBezTo>
                <a:cubicBezTo>
                  <a:pt x="3706160" y="1314267"/>
                  <a:pt x="3713969" y="1379804"/>
                  <a:pt x="3720505" y="1390968"/>
                </a:cubicBezTo>
                <a:cubicBezTo>
                  <a:pt x="3724207" y="1397273"/>
                  <a:pt x="3724843" y="1408322"/>
                  <a:pt x="3725422" y="1417924"/>
                </a:cubicBezTo>
                <a:cubicBezTo>
                  <a:pt x="3725943" y="1426485"/>
                  <a:pt x="3726405" y="1434583"/>
                  <a:pt x="3728835" y="1437186"/>
                </a:cubicBezTo>
                <a:cubicBezTo>
                  <a:pt x="3731669" y="1440801"/>
                  <a:pt x="3733347" y="1445163"/>
                  <a:pt x="3733752" y="1449738"/>
                </a:cubicBezTo>
                <a:cubicBezTo>
                  <a:pt x="3733867" y="1452312"/>
                  <a:pt x="3734677" y="1454805"/>
                  <a:pt x="3736066" y="1456969"/>
                </a:cubicBezTo>
                <a:cubicBezTo>
                  <a:pt x="3736066" y="1456969"/>
                  <a:pt x="3736066" y="1456969"/>
                  <a:pt x="3736412" y="1456969"/>
                </a:cubicBezTo>
                <a:cubicBezTo>
                  <a:pt x="3739016" y="1456969"/>
                  <a:pt x="3745610" y="1449912"/>
                  <a:pt x="3751510" y="1443722"/>
                </a:cubicBezTo>
                <a:cubicBezTo>
                  <a:pt x="3755154" y="1439668"/>
                  <a:pt x="3759030" y="1435804"/>
                  <a:pt x="3763078" y="1432153"/>
                </a:cubicBezTo>
                <a:cubicBezTo>
                  <a:pt x="3766434" y="1429626"/>
                  <a:pt x="3769152" y="1426410"/>
                  <a:pt x="3771119" y="1422725"/>
                </a:cubicBezTo>
                <a:cubicBezTo>
                  <a:pt x="3772392" y="1420082"/>
                  <a:pt x="3774416" y="1417854"/>
                  <a:pt x="3776903" y="1416304"/>
                </a:cubicBezTo>
                <a:cubicBezTo>
                  <a:pt x="3780895" y="1413701"/>
                  <a:pt x="3781242" y="1405025"/>
                  <a:pt x="3781473" y="1398083"/>
                </a:cubicBezTo>
                <a:cubicBezTo>
                  <a:pt x="3781415" y="1395006"/>
                  <a:pt x="3781763" y="1391929"/>
                  <a:pt x="3782515" y="1388944"/>
                </a:cubicBezTo>
                <a:cubicBezTo>
                  <a:pt x="3783729" y="1386052"/>
                  <a:pt x="3787778" y="1384085"/>
                  <a:pt x="3792058" y="1382060"/>
                </a:cubicBezTo>
                <a:cubicBezTo>
                  <a:pt x="3795472" y="1380782"/>
                  <a:pt x="3798595" y="1378810"/>
                  <a:pt x="3801256" y="1376276"/>
                </a:cubicBezTo>
                <a:cubicBezTo>
                  <a:pt x="3804090" y="1372574"/>
                  <a:pt x="3809297" y="1372574"/>
                  <a:pt x="3814329" y="1372516"/>
                </a:cubicBezTo>
                <a:cubicBezTo>
                  <a:pt x="3816874" y="1372672"/>
                  <a:pt x="3819477" y="1372435"/>
                  <a:pt x="3821964" y="1371822"/>
                </a:cubicBezTo>
                <a:cubicBezTo>
                  <a:pt x="3825319" y="1370607"/>
                  <a:pt x="3822542" y="1362046"/>
                  <a:pt x="3820518" y="1355799"/>
                </a:cubicBezTo>
                <a:cubicBezTo>
                  <a:pt x="3819882" y="1353775"/>
                  <a:pt x="3819246" y="1351808"/>
                  <a:pt x="3818782" y="1350015"/>
                </a:cubicBezTo>
                <a:cubicBezTo>
                  <a:pt x="3816932" y="1342958"/>
                  <a:pt x="3829079" y="1334859"/>
                  <a:pt x="3839780" y="1327687"/>
                </a:cubicBezTo>
                <a:lnTo>
                  <a:pt x="3845564" y="1323811"/>
                </a:lnTo>
                <a:cubicBezTo>
                  <a:pt x="3848110" y="1322001"/>
                  <a:pt x="3851234" y="1321087"/>
                  <a:pt x="3854357" y="1321208"/>
                </a:cubicBezTo>
                <a:cubicBezTo>
                  <a:pt x="3856555" y="1321254"/>
                  <a:pt x="3858695" y="1321451"/>
                  <a:pt x="3860835" y="1321787"/>
                </a:cubicBezTo>
                <a:cubicBezTo>
                  <a:pt x="3862976" y="1322128"/>
                  <a:pt x="3865116" y="1322319"/>
                  <a:pt x="3867314" y="1322365"/>
                </a:cubicBezTo>
                <a:cubicBezTo>
                  <a:pt x="3871363" y="1322510"/>
                  <a:pt x="3875239" y="1321029"/>
                  <a:pt x="3878189" y="1318258"/>
                </a:cubicBezTo>
                <a:cubicBezTo>
                  <a:pt x="3887213" y="1309871"/>
                  <a:pt x="3879346" y="1300269"/>
                  <a:pt x="3874602" y="1294484"/>
                </a:cubicBezTo>
                <a:lnTo>
                  <a:pt x="3873214" y="1292691"/>
                </a:lnTo>
                <a:cubicBezTo>
                  <a:pt x="3871942" y="1291071"/>
                  <a:pt x="3872000" y="1288121"/>
                  <a:pt x="3873214" y="1283956"/>
                </a:cubicBezTo>
                <a:cubicBezTo>
                  <a:pt x="3876164" y="1275049"/>
                  <a:pt x="3885997" y="1259778"/>
                  <a:pt x="3892997" y="1257811"/>
                </a:cubicBezTo>
                <a:cubicBezTo>
                  <a:pt x="3894096" y="1257470"/>
                  <a:pt x="3895311" y="1257296"/>
                  <a:pt x="3896468" y="1257290"/>
                </a:cubicBezTo>
                <a:cubicBezTo>
                  <a:pt x="3898608" y="1257377"/>
                  <a:pt x="3900690" y="1257788"/>
                  <a:pt x="3902715" y="1258505"/>
                </a:cubicBezTo>
                <a:cubicBezTo>
                  <a:pt x="3904219" y="1259112"/>
                  <a:pt x="3905896" y="1259465"/>
                  <a:pt x="3907516" y="1259546"/>
                </a:cubicBezTo>
                <a:cubicBezTo>
                  <a:pt x="3909714" y="1259390"/>
                  <a:pt x="3911797" y="1258424"/>
                  <a:pt x="3913301" y="1256827"/>
                </a:cubicBezTo>
                <a:cubicBezTo>
                  <a:pt x="3915209" y="1255353"/>
                  <a:pt x="3915845" y="1252761"/>
                  <a:pt x="3914805" y="1250580"/>
                </a:cubicBezTo>
                <a:cubicBezTo>
                  <a:pt x="3912201" y="1245264"/>
                  <a:pt x="3907169" y="1241557"/>
                  <a:pt x="3901326" y="1240631"/>
                </a:cubicBezTo>
                <a:lnTo>
                  <a:pt x="3900864" y="1240631"/>
                </a:lnTo>
                <a:cubicBezTo>
                  <a:pt x="3899764" y="1240631"/>
                  <a:pt x="3897798" y="1240111"/>
                  <a:pt x="3896583" y="1236466"/>
                </a:cubicBezTo>
                <a:cubicBezTo>
                  <a:pt x="3893922" y="1225898"/>
                  <a:pt x="3897682" y="1214746"/>
                  <a:pt x="3906128" y="1207891"/>
                </a:cubicBezTo>
                <a:cubicBezTo>
                  <a:pt x="3912837" y="1202859"/>
                  <a:pt x="3913937" y="1200429"/>
                  <a:pt x="3913705" y="1199272"/>
                </a:cubicBezTo>
                <a:cubicBezTo>
                  <a:pt x="3913474" y="1198116"/>
                  <a:pt x="3909714" y="1196496"/>
                  <a:pt x="3905665" y="1195397"/>
                </a:cubicBezTo>
                <a:cubicBezTo>
                  <a:pt x="3903814" y="1194836"/>
                  <a:pt x="3901847" y="1194541"/>
                  <a:pt x="3899880" y="1194529"/>
                </a:cubicBezTo>
                <a:cubicBezTo>
                  <a:pt x="3898087" y="1194558"/>
                  <a:pt x="3896294" y="1194870"/>
                  <a:pt x="3894617" y="1195455"/>
                </a:cubicBezTo>
                <a:cubicBezTo>
                  <a:pt x="3892592" y="1196056"/>
                  <a:pt x="3890510" y="1196450"/>
                  <a:pt x="3888427" y="1196612"/>
                </a:cubicBezTo>
                <a:lnTo>
                  <a:pt x="3888080" y="1196612"/>
                </a:lnTo>
                <a:cubicBezTo>
                  <a:pt x="3884667" y="1196282"/>
                  <a:pt x="3881717" y="1194043"/>
                  <a:pt x="3880503" y="1190827"/>
                </a:cubicBezTo>
                <a:cubicBezTo>
                  <a:pt x="3876974" y="1182688"/>
                  <a:pt x="3878420" y="1173254"/>
                  <a:pt x="3884205" y="1166533"/>
                </a:cubicBezTo>
                <a:cubicBezTo>
                  <a:pt x="3887965" y="1161541"/>
                  <a:pt x="3892592" y="1157306"/>
                  <a:pt x="3897914" y="1154038"/>
                </a:cubicBezTo>
                <a:cubicBezTo>
                  <a:pt x="3902542" y="1151771"/>
                  <a:pt x="3905896" y="1147508"/>
                  <a:pt x="3906995" y="1142469"/>
                </a:cubicBezTo>
                <a:cubicBezTo>
                  <a:pt x="3908846" y="1133619"/>
                  <a:pt x="3917060" y="1122571"/>
                  <a:pt x="3923018" y="1114473"/>
                </a:cubicBezTo>
                <a:cubicBezTo>
                  <a:pt x="3925042" y="1111754"/>
                  <a:pt x="3926836" y="1109382"/>
                  <a:pt x="3927762" y="1107821"/>
                </a:cubicBezTo>
                <a:cubicBezTo>
                  <a:pt x="3929554" y="1105362"/>
                  <a:pt x="3932562" y="1104090"/>
                  <a:pt x="3935570" y="1104523"/>
                </a:cubicBezTo>
                <a:cubicBezTo>
                  <a:pt x="3938405" y="1104610"/>
                  <a:pt x="3941297" y="1104917"/>
                  <a:pt x="3944073" y="1105449"/>
                </a:cubicBezTo>
                <a:cubicBezTo>
                  <a:pt x="3946792" y="1106033"/>
                  <a:pt x="3949511" y="1106247"/>
                  <a:pt x="3952288" y="1106085"/>
                </a:cubicBezTo>
                <a:cubicBezTo>
                  <a:pt x="3952634" y="1106027"/>
                  <a:pt x="3952982" y="1106027"/>
                  <a:pt x="3953328" y="1106085"/>
                </a:cubicBezTo>
                <a:cubicBezTo>
                  <a:pt x="3955990" y="1106085"/>
                  <a:pt x="3957088" y="1108399"/>
                  <a:pt x="3958014" y="1110308"/>
                </a:cubicBezTo>
                <a:cubicBezTo>
                  <a:pt x="3958940" y="1112217"/>
                  <a:pt x="3959229" y="1112680"/>
                  <a:pt x="3959865" y="1112680"/>
                </a:cubicBezTo>
                <a:cubicBezTo>
                  <a:pt x="3960501" y="1112680"/>
                  <a:pt x="3960906" y="1112680"/>
                  <a:pt x="3962294" y="1111291"/>
                </a:cubicBezTo>
                <a:cubicBezTo>
                  <a:pt x="3965071" y="1108469"/>
                  <a:pt x="3967616" y="1105455"/>
                  <a:pt x="3969987" y="1102267"/>
                </a:cubicBezTo>
                <a:cubicBezTo>
                  <a:pt x="3976408" y="1094054"/>
                  <a:pt x="3983639" y="1084914"/>
                  <a:pt x="3990522" y="1084914"/>
                </a:cubicBezTo>
                <a:cubicBezTo>
                  <a:pt x="3992200" y="1084804"/>
                  <a:pt x="3993877" y="1085441"/>
                  <a:pt x="3995035" y="1086650"/>
                </a:cubicBezTo>
                <a:cubicBezTo>
                  <a:pt x="3997117" y="1090392"/>
                  <a:pt x="3997753" y="1094783"/>
                  <a:pt x="3996827" y="1098970"/>
                </a:cubicBezTo>
                <a:cubicBezTo>
                  <a:pt x="3997348" y="1102458"/>
                  <a:pt x="3998331" y="1105848"/>
                  <a:pt x="3999835" y="1109035"/>
                </a:cubicBezTo>
                <a:cubicBezTo>
                  <a:pt x="3999835" y="1110134"/>
                  <a:pt x="4000587" y="1111407"/>
                  <a:pt x="4001224" y="1111407"/>
                </a:cubicBezTo>
                <a:cubicBezTo>
                  <a:pt x="4001860" y="1111407"/>
                  <a:pt x="4005157" y="1108977"/>
                  <a:pt x="4008280" y="1106143"/>
                </a:cubicBezTo>
                <a:cubicBezTo>
                  <a:pt x="4013082" y="1101706"/>
                  <a:pt x="4018172" y="1097611"/>
                  <a:pt x="4023493" y="1093880"/>
                </a:cubicBezTo>
                <a:cubicBezTo>
                  <a:pt x="4036220" y="1085261"/>
                  <a:pt x="4056928" y="1084278"/>
                  <a:pt x="4065258" y="1084278"/>
                </a:cubicBezTo>
                <a:cubicBezTo>
                  <a:pt x="4074686" y="1083885"/>
                  <a:pt x="4084057" y="1085337"/>
                  <a:pt x="4092907" y="1088558"/>
                </a:cubicBezTo>
                <a:cubicBezTo>
                  <a:pt x="4097997" y="1091266"/>
                  <a:pt x="4102335" y="1095251"/>
                  <a:pt x="4105401" y="1100127"/>
                </a:cubicBezTo>
                <a:cubicBezTo>
                  <a:pt x="4107946" y="1103656"/>
                  <a:pt x="4109797" y="1106317"/>
                  <a:pt x="4112342" y="1105912"/>
                </a:cubicBezTo>
                <a:cubicBezTo>
                  <a:pt x="4116508" y="1104871"/>
                  <a:pt x="4116796" y="1102210"/>
                  <a:pt x="4117202" y="1098913"/>
                </a:cubicBezTo>
                <a:cubicBezTo>
                  <a:pt x="4116854" y="1094742"/>
                  <a:pt x="4119515" y="1090919"/>
                  <a:pt x="4123564" y="1089773"/>
                </a:cubicBezTo>
                <a:cubicBezTo>
                  <a:pt x="4137620" y="1084220"/>
                  <a:pt x="4150809" y="1076781"/>
                  <a:pt x="4162841" y="1067677"/>
                </a:cubicBezTo>
                <a:cubicBezTo>
                  <a:pt x="4165964" y="1065143"/>
                  <a:pt x="4169492" y="1063188"/>
                  <a:pt x="4173252" y="1061892"/>
                </a:cubicBezTo>
                <a:cubicBezTo>
                  <a:pt x="4174814" y="1061372"/>
                  <a:pt x="4175393" y="1061198"/>
                  <a:pt x="4179037" y="1056975"/>
                </a:cubicBezTo>
                <a:cubicBezTo>
                  <a:pt x="4181755" y="1053592"/>
                  <a:pt x="4185573" y="1051191"/>
                  <a:pt x="4189796" y="1050150"/>
                </a:cubicBezTo>
                <a:cubicBezTo>
                  <a:pt x="4192515" y="1049340"/>
                  <a:pt x="4193903" y="1048877"/>
                  <a:pt x="4194597" y="1046853"/>
                </a:cubicBezTo>
                <a:cubicBezTo>
                  <a:pt x="4196969" y="1040085"/>
                  <a:pt x="4217156" y="1030946"/>
                  <a:pt x="4241509" y="1025508"/>
                </a:cubicBezTo>
                <a:cubicBezTo>
                  <a:pt x="4265861" y="1020071"/>
                  <a:pt x="4294031" y="1005552"/>
                  <a:pt x="4297386" y="999825"/>
                </a:cubicBezTo>
                <a:cubicBezTo>
                  <a:pt x="4297444" y="999577"/>
                  <a:pt x="4297444" y="999322"/>
                  <a:pt x="4297386" y="999073"/>
                </a:cubicBezTo>
                <a:cubicBezTo>
                  <a:pt x="4296924" y="997737"/>
                  <a:pt x="4297155" y="996262"/>
                  <a:pt x="4298023" y="995140"/>
                </a:cubicBezTo>
                <a:cubicBezTo>
                  <a:pt x="4299700" y="993225"/>
                  <a:pt x="4302130" y="992161"/>
                  <a:pt x="4304675" y="992248"/>
                </a:cubicBezTo>
                <a:cubicBezTo>
                  <a:pt x="4307278" y="991941"/>
                  <a:pt x="4309707" y="993555"/>
                  <a:pt x="4310459" y="996065"/>
                </a:cubicBezTo>
                <a:cubicBezTo>
                  <a:pt x="4311038" y="998553"/>
                  <a:pt x="4314451" y="998958"/>
                  <a:pt x="4320987" y="999536"/>
                </a:cubicBezTo>
                <a:cubicBezTo>
                  <a:pt x="4325325" y="999854"/>
                  <a:pt x="4329606" y="1000433"/>
                  <a:pt x="4333828" y="1001271"/>
                </a:cubicBezTo>
                <a:cubicBezTo>
                  <a:pt x="4336663" y="1001850"/>
                  <a:pt x="4339150" y="1002602"/>
                  <a:pt x="4341406" y="1003238"/>
                </a:cubicBezTo>
                <a:cubicBezTo>
                  <a:pt x="4344471" y="1004262"/>
                  <a:pt x="4347711" y="1004887"/>
                  <a:pt x="4350950" y="1005089"/>
                </a:cubicBezTo>
                <a:cubicBezTo>
                  <a:pt x="4355462" y="1004864"/>
                  <a:pt x="4359627" y="1002770"/>
                  <a:pt x="4362519" y="999305"/>
                </a:cubicBezTo>
                <a:cubicBezTo>
                  <a:pt x="4368651" y="993173"/>
                  <a:pt x="4366684" y="989992"/>
                  <a:pt x="4364197" y="986001"/>
                </a:cubicBezTo>
                <a:cubicBezTo>
                  <a:pt x="4362461" y="983629"/>
                  <a:pt x="4361478" y="980783"/>
                  <a:pt x="4361362" y="977844"/>
                </a:cubicBezTo>
                <a:cubicBezTo>
                  <a:pt x="4361362" y="974547"/>
                  <a:pt x="4357660" y="970730"/>
                  <a:pt x="4353900" y="967085"/>
                </a:cubicBezTo>
                <a:cubicBezTo>
                  <a:pt x="4349099" y="962458"/>
                  <a:pt x="4344183" y="957657"/>
                  <a:pt x="4345687" y="952509"/>
                </a:cubicBezTo>
                <a:cubicBezTo>
                  <a:pt x="4346727" y="948922"/>
                  <a:pt x="4343604" y="940940"/>
                  <a:pt x="4338398" y="934056"/>
                </a:cubicBezTo>
                <a:cubicBezTo>
                  <a:pt x="4335043" y="929602"/>
                  <a:pt x="4331630" y="926710"/>
                  <a:pt x="4329722" y="926710"/>
                </a:cubicBezTo>
                <a:cubicBezTo>
                  <a:pt x="4329432" y="926716"/>
                  <a:pt x="4329200" y="926820"/>
                  <a:pt x="4328970" y="926999"/>
                </a:cubicBezTo>
                <a:cubicBezTo>
                  <a:pt x="4325962" y="929776"/>
                  <a:pt x="4320119" y="928561"/>
                  <a:pt x="4315549" y="924570"/>
                </a:cubicBezTo>
                <a:cubicBezTo>
                  <a:pt x="4312889" y="922499"/>
                  <a:pt x="4311211" y="919428"/>
                  <a:pt x="4310864" y="916067"/>
                </a:cubicBezTo>
                <a:cubicBezTo>
                  <a:pt x="4310864" y="909473"/>
                  <a:pt x="4309881" y="906407"/>
                  <a:pt x="4307683" y="906407"/>
                </a:cubicBezTo>
                <a:cubicBezTo>
                  <a:pt x="4306410" y="906534"/>
                  <a:pt x="4305196" y="906991"/>
                  <a:pt x="4304154" y="907737"/>
                </a:cubicBezTo>
                <a:cubicBezTo>
                  <a:pt x="4301146" y="909554"/>
                  <a:pt x="4297676" y="910496"/>
                  <a:pt x="4294147" y="910456"/>
                </a:cubicBezTo>
                <a:cubicBezTo>
                  <a:pt x="4288015" y="911000"/>
                  <a:pt x="4282231" y="907766"/>
                  <a:pt x="4279455" y="902300"/>
                </a:cubicBezTo>
                <a:cubicBezTo>
                  <a:pt x="4278876" y="900582"/>
                  <a:pt x="4279224" y="898685"/>
                  <a:pt x="4280322" y="897267"/>
                </a:cubicBezTo>
                <a:cubicBezTo>
                  <a:pt x="4284834" y="893033"/>
                  <a:pt x="4290965" y="890928"/>
                  <a:pt x="4297155" y="891483"/>
                </a:cubicBezTo>
                <a:cubicBezTo>
                  <a:pt x="4300857" y="891431"/>
                  <a:pt x="4304559" y="892079"/>
                  <a:pt x="4308030" y="893392"/>
                </a:cubicBezTo>
                <a:cubicBezTo>
                  <a:pt x="4312773" y="894722"/>
                  <a:pt x="4316707" y="898002"/>
                  <a:pt x="4318905" y="902415"/>
                </a:cubicBezTo>
                <a:cubicBezTo>
                  <a:pt x="4319715" y="904238"/>
                  <a:pt x="4321045" y="905770"/>
                  <a:pt x="4322722" y="906812"/>
                </a:cubicBezTo>
                <a:cubicBezTo>
                  <a:pt x="4325904" y="908252"/>
                  <a:pt x="4329374" y="908883"/>
                  <a:pt x="4332845" y="908663"/>
                </a:cubicBezTo>
                <a:cubicBezTo>
                  <a:pt x="4339671" y="908686"/>
                  <a:pt x="4346439" y="907373"/>
                  <a:pt x="4352743" y="904787"/>
                </a:cubicBezTo>
                <a:cubicBezTo>
                  <a:pt x="4355000" y="903688"/>
                  <a:pt x="4358528" y="902358"/>
                  <a:pt x="4361998" y="900854"/>
                </a:cubicBezTo>
                <a:cubicBezTo>
                  <a:pt x="4372063" y="896862"/>
                  <a:pt x="4385830" y="891367"/>
                  <a:pt x="4388607" y="886624"/>
                </a:cubicBezTo>
                <a:cubicBezTo>
                  <a:pt x="4389706" y="884721"/>
                  <a:pt x="4390400" y="882581"/>
                  <a:pt x="4390574" y="880377"/>
                </a:cubicBezTo>
                <a:cubicBezTo>
                  <a:pt x="4390689" y="876571"/>
                  <a:pt x="4393177" y="873239"/>
                  <a:pt x="4396763" y="872047"/>
                </a:cubicBezTo>
                <a:cubicBezTo>
                  <a:pt x="4398556" y="871394"/>
                  <a:pt x="4399829" y="869745"/>
                  <a:pt x="4400003" y="867825"/>
                </a:cubicBezTo>
                <a:cubicBezTo>
                  <a:pt x="4399077" y="863400"/>
                  <a:pt x="4396069" y="859703"/>
                  <a:pt x="4391904" y="857875"/>
                </a:cubicBezTo>
                <a:cubicBezTo>
                  <a:pt x="4388202" y="856088"/>
                  <a:pt x="4386236" y="851987"/>
                  <a:pt x="4387161" y="847984"/>
                </a:cubicBezTo>
                <a:cubicBezTo>
                  <a:pt x="4387855" y="844548"/>
                  <a:pt x="4390921" y="842107"/>
                  <a:pt x="4394391" y="842200"/>
                </a:cubicBezTo>
                <a:cubicBezTo>
                  <a:pt x="4397747" y="842200"/>
                  <a:pt x="4398614" y="840175"/>
                  <a:pt x="4399655" y="837861"/>
                </a:cubicBezTo>
                <a:cubicBezTo>
                  <a:pt x="4400697" y="835548"/>
                  <a:pt x="4401622" y="833581"/>
                  <a:pt x="4404398" y="833349"/>
                </a:cubicBezTo>
                <a:cubicBezTo>
                  <a:pt x="4405902" y="833228"/>
                  <a:pt x="4407464" y="833448"/>
                  <a:pt x="4408910" y="833986"/>
                </a:cubicBezTo>
                <a:cubicBezTo>
                  <a:pt x="4412150" y="834969"/>
                  <a:pt x="4415736" y="834460"/>
                  <a:pt x="4418570" y="832597"/>
                </a:cubicBezTo>
                <a:cubicBezTo>
                  <a:pt x="4419611" y="831978"/>
                  <a:pt x="4420826" y="831602"/>
                  <a:pt x="4422041" y="831498"/>
                </a:cubicBezTo>
                <a:cubicBezTo>
                  <a:pt x="4422735" y="831452"/>
                  <a:pt x="4423429" y="831811"/>
                  <a:pt x="4423834" y="832424"/>
                </a:cubicBezTo>
                <a:cubicBezTo>
                  <a:pt x="4424817" y="834159"/>
                  <a:pt x="4423024" y="837341"/>
                  <a:pt x="4419554" y="843299"/>
                </a:cubicBezTo>
                <a:cubicBezTo>
                  <a:pt x="4418455" y="845150"/>
                  <a:pt x="4417356" y="847001"/>
                  <a:pt x="4416430" y="848736"/>
                </a:cubicBezTo>
                <a:cubicBezTo>
                  <a:pt x="4414174" y="852959"/>
                  <a:pt x="4418223" y="857066"/>
                  <a:pt x="4421751" y="860652"/>
                </a:cubicBezTo>
                <a:cubicBezTo>
                  <a:pt x="4423661" y="862214"/>
                  <a:pt x="4425165" y="864192"/>
                  <a:pt x="4426205" y="866436"/>
                </a:cubicBezTo>
                <a:cubicBezTo>
                  <a:pt x="4426611" y="867998"/>
                  <a:pt x="4431354" y="869676"/>
                  <a:pt x="4438180" y="869676"/>
                </a:cubicBezTo>
                <a:cubicBezTo>
                  <a:pt x="4443270" y="869797"/>
                  <a:pt x="4448302" y="868710"/>
                  <a:pt x="4452872" y="866494"/>
                </a:cubicBezTo>
                <a:cubicBezTo>
                  <a:pt x="4455128" y="865441"/>
                  <a:pt x="4457615" y="864944"/>
                  <a:pt x="4460102" y="865048"/>
                </a:cubicBezTo>
                <a:cubicBezTo>
                  <a:pt x="4472770" y="865048"/>
                  <a:pt x="4495330" y="873956"/>
                  <a:pt x="4497296" y="881360"/>
                </a:cubicBezTo>
                <a:cubicBezTo>
                  <a:pt x="4499726" y="891437"/>
                  <a:pt x="4506667" y="899824"/>
                  <a:pt x="4516096" y="904093"/>
                </a:cubicBezTo>
                <a:cubicBezTo>
                  <a:pt x="4521186" y="906430"/>
                  <a:pt x="4526566" y="908009"/>
                  <a:pt x="4532119" y="908778"/>
                </a:cubicBezTo>
                <a:cubicBezTo>
                  <a:pt x="4537903" y="909704"/>
                  <a:pt x="4542184" y="910514"/>
                  <a:pt x="4543688" y="914563"/>
                </a:cubicBezTo>
                <a:cubicBezTo>
                  <a:pt x="4545076" y="918918"/>
                  <a:pt x="4549067" y="921892"/>
                  <a:pt x="4553637" y="921909"/>
                </a:cubicBezTo>
                <a:cubicBezTo>
                  <a:pt x="4554736" y="921903"/>
                  <a:pt x="4555835" y="921788"/>
                  <a:pt x="4556934" y="921562"/>
                </a:cubicBezTo>
                <a:cubicBezTo>
                  <a:pt x="4557685" y="921475"/>
                  <a:pt x="4558437" y="921475"/>
                  <a:pt x="4559189" y="921562"/>
                </a:cubicBezTo>
                <a:cubicBezTo>
                  <a:pt x="4561561" y="921689"/>
                  <a:pt x="4563933" y="922360"/>
                  <a:pt x="4566015" y="923529"/>
                </a:cubicBezTo>
                <a:cubicBezTo>
                  <a:pt x="4568734" y="924859"/>
                  <a:pt x="4570816" y="925669"/>
                  <a:pt x="4572956" y="923529"/>
                </a:cubicBezTo>
                <a:cubicBezTo>
                  <a:pt x="4574172" y="922302"/>
                  <a:pt x="4575849" y="921597"/>
                  <a:pt x="4577584" y="921562"/>
                </a:cubicBezTo>
                <a:cubicBezTo>
                  <a:pt x="4578568" y="921591"/>
                  <a:pt x="4579551" y="921747"/>
                  <a:pt x="4580476" y="922025"/>
                </a:cubicBezTo>
                <a:cubicBezTo>
                  <a:pt x="4581344" y="922291"/>
                  <a:pt x="4582269" y="922447"/>
                  <a:pt x="4583195" y="922487"/>
                </a:cubicBezTo>
                <a:cubicBezTo>
                  <a:pt x="4584988" y="922406"/>
                  <a:pt x="4586723" y="921620"/>
                  <a:pt x="4587939" y="920289"/>
                </a:cubicBezTo>
                <a:cubicBezTo>
                  <a:pt x="4588633" y="919711"/>
                  <a:pt x="4588921" y="919190"/>
                  <a:pt x="4588864" y="918670"/>
                </a:cubicBezTo>
                <a:cubicBezTo>
                  <a:pt x="4588864" y="917050"/>
                  <a:pt x="4585104" y="915083"/>
                  <a:pt x="4582269" y="913464"/>
                </a:cubicBezTo>
                <a:cubicBezTo>
                  <a:pt x="4579435" y="911844"/>
                  <a:pt x="4575906" y="909993"/>
                  <a:pt x="4575270" y="907679"/>
                </a:cubicBezTo>
                <a:cubicBezTo>
                  <a:pt x="4575097" y="906927"/>
                  <a:pt x="4575212" y="906141"/>
                  <a:pt x="4575618" y="905481"/>
                </a:cubicBezTo>
                <a:cubicBezTo>
                  <a:pt x="4576138" y="904243"/>
                  <a:pt x="4577353" y="903428"/>
                  <a:pt x="4578683" y="903399"/>
                </a:cubicBezTo>
                <a:cubicBezTo>
                  <a:pt x="4580419" y="903648"/>
                  <a:pt x="4581980" y="904394"/>
                  <a:pt x="4583311" y="905539"/>
                </a:cubicBezTo>
                <a:cubicBezTo>
                  <a:pt x="4585046" y="906968"/>
                  <a:pt x="4587187" y="907870"/>
                  <a:pt x="4589443" y="908142"/>
                </a:cubicBezTo>
                <a:lnTo>
                  <a:pt x="4589789" y="908142"/>
                </a:lnTo>
                <a:cubicBezTo>
                  <a:pt x="4590195" y="908171"/>
                  <a:pt x="4590599" y="908021"/>
                  <a:pt x="4590889" y="907737"/>
                </a:cubicBezTo>
                <a:cubicBezTo>
                  <a:pt x="4591525" y="906869"/>
                  <a:pt x="4590889" y="904440"/>
                  <a:pt x="4590889" y="902473"/>
                </a:cubicBezTo>
                <a:cubicBezTo>
                  <a:pt x="4590310" y="899465"/>
                  <a:pt x="4589558" y="895706"/>
                  <a:pt x="4592624" y="894838"/>
                </a:cubicBezTo>
                <a:cubicBezTo>
                  <a:pt x="4592624" y="894838"/>
                  <a:pt x="4593723" y="893797"/>
                  <a:pt x="4593838" y="890210"/>
                </a:cubicBezTo>
                <a:cubicBezTo>
                  <a:pt x="4593838" y="882344"/>
                  <a:pt x="4591062" y="870833"/>
                  <a:pt x="4588575" y="869965"/>
                </a:cubicBezTo>
                <a:cubicBezTo>
                  <a:pt x="4586665" y="869479"/>
                  <a:pt x="4585451" y="867616"/>
                  <a:pt x="4585798" y="865684"/>
                </a:cubicBezTo>
                <a:cubicBezTo>
                  <a:pt x="4586261" y="863307"/>
                  <a:pt x="4588459" y="861670"/>
                  <a:pt x="4590889" y="861867"/>
                </a:cubicBezTo>
                <a:cubicBezTo>
                  <a:pt x="4593549" y="862034"/>
                  <a:pt x="4596036" y="863052"/>
                  <a:pt x="4598061" y="864759"/>
                </a:cubicBezTo>
                <a:cubicBezTo>
                  <a:pt x="4606506" y="871006"/>
                  <a:pt x="4619926" y="871006"/>
                  <a:pt x="4625652" y="871006"/>
                </a:cubicBezTo>
                <a:lnTo>
                  <a:pt x="4628082" y="871006"/>
                </a:lnTo>
                <a:cubicBezTo>
                  <a:pt x="4629586" y="871006"/>
                  <a:pt x="4629934" y="871006"/>
                  <a:pt x="4629934" y="871006"/>
                </a:cubicBezTo>
                <a:cubicBezTo>
                  <a:pt x="4627966" y="868172"/>
                  <a:pt x="4624843" y="866321"/>
                  <a:pt x="4621430" y="865916"/>
                </a:cubicBezTo>
                <a:cubicBezTo>
                  <a:pt x="4618133" y="865337"/>
                  <a:pt x="4617786" y="863776"/>
                  <a:pt x="4617844" y="862908"/>
                </a:cubicBezTo>
                <a:cubicBezTo>
                  <a:pt x="4617844" y="861115"/>
                  <a:pt x="4620505" y="859553"/>
                  <a:pt x="4623628" y="859553"/>
                </a:cubicBezTo>
                <a:cubicBezTo>
                  <a:pt x="4625537" y="859530"/>
                  <a:pt x="4627330" y="860235"/>
                  <a:pt x="4628718" y="861520"/>
                </a:cubicBezTo>
                <a:cubicBezTo>
                  <a:pt x="4631437" y="863990"/>
                  <a:pt x="4634908" y="865459"/>
                  <a:pt x="4638610" y="865684"/>
                </a:cubicBezTo>
                <a:cubicBezTo>
                  <a:pt x="4640519" y="865684"/>
                  <a:pt x="4641560" y="865048"/>
                  <a:pt x="4641791" y="863776"/>
                </a:cubicBezTo>
                <a:cubicBezTo>
                  <a:pt x="4642659" y="858801"/>
                  <a:pt x="4647576" y="847926"/>
                  <a:pt x="4656542" y="847926"/>
                </a:cubicBezTo>
                <a:lnTo>
                  <a:pt x="4658046" y="847926"/>
                </a:lnTo>
                <a:cubicBezTo>
                  <a:pt x="4661863" y="847926"/>
                  <a:pt x="4663830" y="846769"/>
                  <a:pt x="4663830" y="845902"/>
                </a:cubicBezTo>
                <a:cubicBezTo>
                  <a:pt x="4663830" y="845034"/>
                  <a:pt x="4662731" y="843877"/>
                  <a:pt x="4659781" y="842836"/>
                </a:cubicBezTo>
                <a:cubicBezTo>
                  <a:pt x="4651336" y="839886"/>
                  <a:pt x="4625074" y="823169"/>
                  <a:pt x="4618827" y="813914"/>
                </a:cubicBezTo>
                <a:cubicBezTo>
                  <a:pt x="4614547" y="807667"/>
                  <a:pt x="4597598" y="803560"/>
                  <a:pt x="4588285" y="803560"/>
                </a:cubicBezTo>
                <a:cubicBezTo>
                  <a:pt x="4584641" y="803560"/>
                  <a:pt x="4583484" y="804196"/>
                  <a:pt x="4583369" y="804427"/>
                </a:cubicBezTo>
                <a:cubicBezTo>
                  <a:pt x="4583484" y="805891"/>
                  <a:pt x="4582443" y="807186"/>
                  <a:pt x="4580939" y="807314"/>
                </a:cubicBezTo>
                <a:cubicBezTo>
                  <a:pt x="4580823" y="807325"/>
                  <a:pt x="4580650" y="807331"/>
                  <a:pt x="4580534" y="807319"/>
                </a:cubicBezTo>
                <a:cubicBezTo>
                  <a:pt x="4575560" y="806197"/>
                  <a:pt x="4571337" y="802935"/>
                  <a:pt x="4568965" y="798411"/>
                </a:cubicBezTo>
                <a:cubicBezTo>
                  <a:pt x="4568156" y="796676"/>
                  <a:pt x="4560289" y="794767"/>
                  <a:pt x="4549934" y="794767"/>
                </a:cubicBezTo>
                <a:cubicBezTo>
                  <a:pt x="4539581" y="794767"/>
                  <a:pt x="4535647" y="796618"/>
                  <a:pt x="4535589" y="797602"/>
                </a:cubicBezTo>
                <a:cubicBezTo>
                  <a:pt x="4535589" y="799973"/>
                  <a:pt x="4537093" y="801130"/>
                  <a:pt x="4540332" y="803386"/>
                </a:cubicBezTo>
                <a:cubicBezTo>
                  <a:pt x="4543224" y="804931"/>
                  <a:pt x="4545828" y="807053"/>
                  <a:pt x="4547852" y="809633"/>
                </a:cubicBezTo>
                <a:cubicBezTo>
                  <a:pt x="4550918" y="813682"/>
                  <a:pt x="4548546" y="816922"/>
                  <a:pt x="4546464" y="819756"/>
                </a:cubicBezTo>
                <a:cubicBezTo>
                  <a:pt x="4544382" y="822590"/>
                  <a:pt x="4543051" y="824384"/>
                  <a:pt x="4543976" y="827276"/>
                </a:cubicBezTo>
                <a:cubicBezTo>
                  <a:pt x="4544497" y="828236"/>
                  <a:pt x="4544497" y="829387"/>
                  <a:pt x="4543976" y="830342"/>
                </a:cubicBezTo>
                <a:cubicBezTo>
                  <a:pt x="4543572" y="830937"/>
                  <a:pt x="4542878" y="831261"/>
                  <a:pt x="4542126" y="831209"/>
                </a:cubicBezTo>
                <a:cubicBezTo>
                  <a:pt x="4541200" y="831209"/>
                  <a:pt x="4538366" y="831209"/>
                  <a:pt x="4524772" y="820855"/>
                </a:cubicBezTo>
                <a:cubicBezTo>
                  <a:pt x="4520492" y="817616"/>
                  <a:pt x="4519972" y="807840"/>
                  <a:pt x="4523095" y="791933"/>
                </a:cubicBezTo>
                <a:cubicBezTo>
                  <a:pt x="4523789" y="788636"/>
                  <a:pt x="4522112" y="787421"/>
                  <a:pt x="4519046" y="785628"/>
                </a:cubicBezTo>
                <a:cubicBezTo>
                  <a:pt x="4515748" y="784228"/>
                  <a:pt x="4513377" y="781313"/>
                  <a:pt x="4512625" y="777819"/>
                </a:cubicBezTo>
                <a:cubicBezTo>
                  <a:pt x="4511699" y="771745"/>
                  <a:pt x="4485727" y="758267"/>
                  <a:pt x="4460565" y="747566"/>
                </a:cubicBezTo>
                <a:cubicBezTo>
                  <a:pt x="4456921" y="746062"/>
                  <a:pt x="4452987" y="744558"/>
                  <a:pt x="4448996" y="743055"/>
                </a:cubicBezTo>
                <a:cubicBezTo>
                  <a:pt x="4435924" y="738080"/>
                  <a:pt x="4423661" y="733394"/>
                  <a:pt x="4419438" y="726916"/>
                </a:cubicBezTo>
                <a:cubicBezTo>
                  <a:pt x="4417182" y="723445"/>
                  <a:pt x="4409604" y="721132"/>
                  <a:pt x="4401680" y="718933"/>
                </a:cubicBezTo>
                <a:cubicBezTo>
                  <a:pt x="4392482" y="716273"/>
                  <a:pt x="4382070" y="713149"/>
                  <a:pt x="4376402" y="707365"/>
                </a:cubicBezTo>
                <a:cubicBezTo>
                  <a:pt x="4365701" y="696259"/>
                  <a:pt x="4319773" y="677343"/>
                  <a:pt x="4300799" y="676187"/>
                </a:cubicBezTo>
                <a:cubicBezTo>
                  <a:pt x="4293916" y="676528"/>
                  <a:pt x="4287263" y="673688"/>
                  <a:pt x="4282752" y="668493"/>
                </a:cubicBezTo>
                <a:cubicBezTo>
                  <a:pt x="4281306" y="666214"/>
                  <a:pt x="4278587" y="665075"/>
                  <a:pt x="4275984" y="665659"/>
                </a:cubicBezTo>
                <a:cubicBezTo>
                  <a:pt x="4271761" y="666150"/>
                  <a:pt x="4267481" y="666341"/>
                  <a:pt x="4263259" y="666237"/>
                </a:cubicBezTo>
                <a:cubicBezTo>
                  <a:pt x="4245847" y="666197"/>
                  <a:pt x="4228494" y="665190"/>
                  <a:pt x="4211199" y="663229"/>
                </a:cubicBezTo>
                <a:cubicBezTo>
                  <a:pt x="4210099" y="663148"/>
                  <a:pt x="4209058" y="663148"/>
                  <a:pt x="4207959" y="663229"/>
                </a:cubicBezTo>
                <a:cubicBezTo>
                  <a:pt x="4204431" y="663299"/>
                  <a:pt x="4201018" y="664253"/>
                  <a:pt x="4197952" y="666006"/>
                </a:cubicBezTo>
                <a:cubicBezTo>
                  <a:pt x="4195638" y="667377"/>
                  <a:pt x="4193035" y="668169"/>
                  <a:pt x="4190374" y="668320"/>
                </a:cubicBezTo>
                <a:cubicBezTo>
                  <a:pt x="4188813" y="668297"/>
                  <a:pt x="4187309" y="668002"/>
                  <a:pt x="4185863" y="667452"/>
                </a:cubicBezTo>
                <a:cubicBezTo>
                  <a:pt x="4175335" y="663287"/>
                  <a:pt x="4142074" y="651545"/>
                  <a:pt x="4128655" y="651545"/>
                </a:cubicBezTo>
                <a:cubicBezTo>
                  <a:pt x="4125531" y="651545"/>
                  <a:pt x="4124490" y="652239"/>
                  <a:pt x="4124143" y="652586"/>
                </a:cubicBezTo>
                <a:cubicBezTo>
                  <a:pt x="4122060" y="655328"/>
                  <a:pt x="4120672" y="658550"/>
                  <a:pt x="4120152" y="661957"/>
                </a:cubicBezTo>
                <a:cubicBezTo>
                  <a:pt x="4119226" y="665717"/>
                  <a:pt x="4118416" y="669245"/>
                  <a:pt x="4114772" y="670286"/>
                </a:cubicBezTo>
                <a:cubicBezTo>
                  <a:pt x="4113615" y="670633"/>
                  <a:pt x="4113499" y="671154"/>
                  <a:pt x="4113442" y="671327"/>
                </a:cubicBezTo>
                <a:cubicBezTo>
                  <a:pt x="4113442" y="672600"/>
                  <a:pt x="4114020" y="677112"/>
                  <a:pt x="4128539" y="690185"/>
                </a:cubicBezTo>
                <a:cubicBezTo>
                  <a:pt x="4133282" y="693540"/>
                  <a:pt x="4135943" y="699087"/>
                  <a:pt x="4135654" y="704877"/>
                </a:cubicBezTo>
                <a:cubicBezTo>
                  <a:pt x="4134497" y="711703"/>
                  <a:pt x="4127209" y="716157"/>
                  <a:pt x="4121308" y="718702"/>
                </a:cubicBezTo>
                <a:cubicBezTo>
                  <a:pt x="4118821" y="719778"/>
                  <a:pt x="4116102" y="720310"/>
                  <a:pt x="4113384" y="720264"/>
                </a:cubicBezTo>
                <a:cubicBezTo>
                  <a:pt x="4101237" y="719604"/>
                  <a:pt x="4089899" y="713751"/>
                  <a:pt x="4082379" y="704183"/>
                </a:cubicBezTo>
                <a:cubicBezTo>
                  <a:pt x="4079371" y="700585"/>
                  <a:pt x="4075091" y="698202"/>
                  <a:pt x="4070463" y="697473"/>
                </a:cubicBezTo>
                <a:cubicBezTo>
                  <a:pt x="4064332" y="695622"/>
                  <a:pt x="4058027" y="693713"/>
                  <a:pt x="4055597" y="686541"/>
                </a:cubicBezTo>
                <a:cubicBezTo>
                  <a:pt x="4053920" y="683313"/>
                  <a:pt x="4053920" y="679466"/>
                  <a:pt x="4055597" y="676244"/>
                </a:cubicBezTo>
                <a:cubicBezTo>
                  <a:pt x="4056754" y="674648"/>
                  <a:pt x="4058663" y="673751"/>
                  <a:pt x="4060630" y="673873"/>
                </a:cubicBezTo>
                <a:cubicBezTo>
                  <a:pt x="4064158" y="674116"/>
                  <a:pt x="4067513" y="675585"/>
                  <a:pt x="4070116" y="678037"/>
                </a:cubicBezTo>
                <a:cubicBezTo>
                  <a:pt x="4072083" y="679807"/>
                  <a:pt x="4074686" y="680797"/>
                  <a:pt x="4077347" y="680814"/>
                </a:cubicBezTo>
                <a:cubicBezTo>
                  <a:pt x="4082900" y="680693"/>
                  <a:pt x="4087643" y="676603"/>
                  <a:pt x="4088510" y="671096"/>
                </a:cubicBezTo>
                <a:cubicBezTo>
                  <a:pt x="4088626" y="669673"/>
                  <a:pt x="4088106" y="668279"/>
                  <a:pt x="4087064" y="667278"/>
                </a:cubicBezTo>
                <a:cubicBezTo>
                  <a:pt x="4082032" y="661494"/>
                  <a:pt x="4065373" y="657618"/>
                  <a:pt x="4055366" y="658255"/>
                </a:cubicBezTo>
                <a:cubicBezTo>
                  <a:pt x="4048598" y="658660"/>
                  <a:pt x="4043392" y="664444"/>
                  <a:pt x="4038012" y="670633"/>
                </a:cubicBezTo>
                <a:cubicBezTo>
                  <a:pt x="4033964" y="675701"/>
                  <a:pt x="4029105" y="680056"/>
                  <a:pt x="4023609" y="683533"/>
                </a:cubicBezTo>
                <a:cubicBezTo>
                  <a:pt x="4018577" y="685679"/>
                  <a:pt x="4013140" y="686610"/>
                  <a:pt x="4007702" y="686251"/>
                </a:cubicBezTo>
                <a:cubicBezTo>
                  <a:pt x="3988498" y="686251"/>
                  <a:pt x="3958477" y="679773"/>
                  <a:pt x="3954022" y="675724"/>
                </a:cubicBezTo>
                <a:cubicBezTo>
                  <a:pt x="3954022" y="675435"/>
                  <a:pt x="3951478" y="673988"/>
                  <a:pt x="3936669" y="673988"/>
                </a:cubicBezTo>
                <a:cubicBezTo>
                  <a:pt x="3912549" y="673988"/>
                  <a:pt x="3877437" y="677690"/>
                  <a:pt x="3873040" y="680641"/>
                </a:cubicBezTo>
                <a:cubicBezTo>
                  <a:pt x="3868644" y="683591"/>
                  <a:pt x="3869338" y="690532"/>
                  <a:pt x="3869338" y="696432"/>
                </a:cubicBezTo>
                <a:cubicBezTo>
                  <a:pt x="3869338" y="702332"/>
                  <a:pt x="3869338" y="705224"/>
                  <a:pt x="3867256" y="706208"/>
                </a:cubicBezTo>
                <a:cubicBezTo>
                  <a:pt x="3866967" y="706260"/>
                  <a:pt x="3866678" y="706260"/>
                  <a:pt x="3866389" y="706208"/>
                </a:cubicBezTo>
                <a:cubicBezTo>
                  <a:pt x="3864827" y="706208"/>
                  <a:pt x="3862860" y="704704"/>
                  <a:pt x="3860604" y="693771"/>
                </a:cubicBezTo>
                <a:cubicBezTo>
                  <a:pt x="3859505" y="688820"/>
                  <a:pt x="3858753" y="683793"/>
                  <a:pt x="3858406" y="678732"/>
                </a:cubicBezTo>
                <a:cubicBezTo>
                  <a:pt x="3858406" y="675550"/>
                  <a:pt x="3851465" y="672253"/>
                  <a:pt x="3838565" y="672253"/>
                </a:cubicBezTo>
                <a:cubicBezTo>
                  <a:pt x="3826997" y="672253"/>
                  <a:pt x="3822427" y="671790"/>
                  <a:pt x="3821212" y="669187"/>
                </a:cubicBezTo>
                <a:cubicBezTo>
                  <a:pt x="3819998" y="666584"/>
                  <a:pt x="3822427" y="665254"/>
                  <a:pt x="3823121" y="664618"/>
                </a:cubicBezTo>
                <a:cubicBezTo>
                  <a:pt x="3824856" y="662882"/>
                  <a:pt x="3824509" y="661378"/>
                  <a:pt x="3823873" y="658833"/>
                </a:cubicBezTo>
                <a:cubicBezTo>
                  <a:pt x="3822080" y="654466"/>
                  <a:pt x="3823873" y="649434"/>
                  <a:pt x="3828096" y="647264"/>
                </a:cubicBezTo>
                <a:cubicBezTo>
                  <a:pt x="3829195" y="646547"/>
                  <a:pt x="3829773" y="645257"/>
                  <a:pt x="3829542" y="643967"/>
                </a:cubicBezTo>
                <a:cubicBezTo>
                  <a:pt x="3828559" y="635580"/>
                  <a:pt x="3806404" y="619268"/>
                  <a:pt x="3783903" y="610475"/>
                </a:cubicBezTo>
                <a:cubicBezTo>
                  <a:pt x="3769846" y="606045"/>
                  <a:pt x="3755154" y="604083"/>
                  <a:pt x="3740404" y="604691"/>
                </a:cubicBezTo>
                <a:cubicBezTo>
                  <a:pt x="3720505" y="604483"/>
                  <a:pt x="3700665" y="606536"/>
                  <a:pt x="3681229" y="610822"/>
                </a:cubicBezTo>
                <a:cubicBezTo>
                  <a:pt x="3666710" y="613836"/>
                  <a:pt x="3651902" y="615062"/>
                  <a:pt x="3637094" y="614467"/>
                </a:cubicBezTo>
                <a:lnTo>
                  <a:pt x="3617195" y="614467"/>
                </a:lnTo>
                <a:cubicBezTo>
                  <a:pt x="3612221" y="614467"/>
                  <a:pt x="3609734" y="614062"/>
                  <a:pt x="3608634" y="612558"/>
                </a:cubicBezTo>
                <a:cubicBezTo>
                  <a:pt x="3607536" y="611054"/>
                  <a:pt x="3608230" y="609492"/>
                  <a:pt x="3608634" y="607699"/>
                </a:cubicBezTo>
                <a:cubicBezTo>
                  <a:pt x="3609734" y="605478"/>
                  <a:pt x="3609734" y="602863"/>
                  <a:pt x="3608634" y="600642"/>
                </a:cubicBezTo>
                <a:cubicBezTo>
                  <a:pt x="3605511" y="595552"/>
                  <a:pt x="3590009" y="589073"/>
                  <a:pt x="3580927" y="589073"/>
                </a:cubicBezTo>
                <a:cubicBezTo>
                  <a:pt x="3578440" y="589073"/>
                  <a:pt x="3576762" y="589594"/>
                  <a:pt x="3576184" y="590519"/>
                </a:cubicBezTo>
                <a:cubicBezTo>
                  <a:pt x="3575258" y="592353"/>
                  <a:pt x="3573407" y="593544"/>
                  <a:pt x="3571325" y="593643"/>
                </a:cubicBezTo>
                <a:cubicBezTo>
                  <a:pt x="3569243" y="593515"/>
                  <a:pt x="3567334" y="592532"/>
                  <a:pt x="3566003" y="590924"/>
                </a:cubicBezTo>
                <a:cubicBezTo>
                  <a:pt x="3564557" y="589466"/>
                  <a:pt x="3563747" y="587529"/>
                  <a:pt x="3563631" y="585487"/>
                </a:cubicBezTo>
                <a:cubicBezTo>
                  <a:pt x="3563631" y="583057"/>
                  <a:pt x="3545410" y="575017"/>
                  <a:pt x="3533668" y="575017"/>
                </a:cubicBezTo>
                <a:cubicBezTo>
                  <a:pt x="3532685" y="574913"/>
                  <a:pt x="3531644" y="574913"/>
                  <a:pt x="3530660" y="575017"/>
                </a:cubicBezTo>
                <a:cubicBezTo>
                  <a:pt x="3526843" y="576122"/>
                  <a:pt x="3522794" y="574710"/>
                  <a:pt x="3520480" y="571488"/>
                </a:cubicBezTo>
                <a:cubicBezTo>
                  <a:pt x="3519670" y="570048"/>
                  <a:pt x="3519670" y="568301"/>
                  <a:pt x="3520480" y="566861"/>
                </a:cubicBezTo>
                <a:cubicBezTo>
                  <a:pt x="3521174" y="565762"/>
                  <a:pt x="3522967" y="563911"/>
                  <a:pt x="3527768" y="563911"/>
                </a:cubicBezTo>
                <a:lnTo>
                  <a:pt x="3532627" y="563911"/>
                </a:lnTo>
                <a:lnTo>
                  <a:pt x="3538411" y="563911"/>
                </a:lnTo>
                <a:cubicBezTo>
                  <a:pt x="3543097" y="563911"/>
                  <a:pt x="3549518" y="563622"/>
                  <a:pt x="3550906" y="561018"/>
                </a:cubicBezTo>
                <a:cubicBezTo>
                  <a:pt x="3551600" y="559688"/>
                  <a:pt x="3550906" y="557663"/>
                  <a:pt x="3549286" y="555234"/>
                </a:cubicBezTo>
                <a:cubicBezTo>
                  <a:pt x="3542981" y="545574"/>
                  <a:pt x="3495433" y="540542"/>
                  <a:pt x="3471775" y="540542"/>
                </a:cubicBezTo>
                <a:cubicBezTo>
                  <a:pt x="3468709" y="540368"/>
                  <a:pt x="3465644" y="540565"/>
                  <a:pt x="3462636" y="541120"/>
                </a:cubicBezTo>
                <a:cubicBezTo>
                  <a:pt x="3460379" y="541930"/>
                  <a:pt x="3459917" y="543434"/>
                  <a:pt x="3459107" y="546905"/>
                </a:cubicBezTo>
                <a:cubicBezTo>
                  <a:pt x="3457371" y="554927"/>
                  <a:pt x="3453091" y="562164"/>
                  <a:pt x="3446844" y="567497"/>
                </a:cubicBezTo>
                <a:cubicBezTo>
                  <a:pt x="3442332" y="572333"/>
                  <a:pt x="3436085" y="575214"/>
                  <a:pt x="3429491" y="575537"/>
                </a:cubicBezTo>
                <a:cubicBezTo>
                  <a:pt x="3424921" y="575705"/>
                  <a:pt x="3420525" y="573791"/>
                  <a:pt x="3417575" y="570331"/>
                </a:cubicBezTo>
                <a:cubicBezTo>
                  <a:pt x="3416128" y="568561"/>
                  <a:pt x="3415550" y="566207"/>
                  <a:pt x="3416071" y="563969"/>
                </a:cubicBezTo>
                <a:cubicBezTo>
                  <a:pt x="3417228" y="559804"/>
                  <a:pt x="3422665" y="558184"/>
                  <a:pt x="3427987" y="556622"/>
                </a:cubicBezTo>
                <a:cubicBezTo>
                  <a:pt x="3433309" y="555061"/>
                  <a:pt x="3437473" y="553846"/>
                  <a:pt x="3437473" y="550838"/>
                </a:cubicBezTo>
                <a:cubicBezTo>
                  <a:pt x="3437473" y="547830"/>
                  <a:pt x="3429665" y="547309"/>
                  <a:pt x="3423359" y="546731"/>
                </a:cubicBezTo>
                <a:cubicBezTo>
                  <a:pt x="3416071" y="546095"/>
                  <a:pt x="3409130" y="545458"/>
                  <a:pt x="3406931" y="542161"/>
                </a:cubicBezTo>
                <a:cubicBezTo>
                  <a:pt x="3405543" y="540536"/>
                  <a:pt x="3405312" y="538239"/>
                  <a:pt x="3406353" y="536377"/>
                </a:cubicBezTo>
                <a:cubicBezTo>
                  <a:pt x="3408840" y="533161"/>
                  <a:pt x="3412832" y="531495"/>
                  <a:pt x="3416880" y="531981"/>
                </a:cubicBezTo>
                <a:cubicBezTo>
                  <a:pt x="3419136" y="531992"/>
                  <a:pt x="3421393" y="532322"/>
                  <a:pt x="3423533" y="532964"/>
                </a:cubicBezTo>
                <a:cubicBezTo>
                  <a:pt x="3429549" y="534653"/>
                  <a:pt x="3435796" y="535567"/>
                  <a:pt x="3442043" y="535683"/>
                </a:cubicBezTo>
                <a:cubicBezTo>
                  <a:pt x="3447827" y="535683"/>
                  <a:pt x="3449447" y="534526"/>
                  <a:pt x="3449563" y="533890"/>
                </a:cubicBezTo>
                <a:cubicBezTo>
                  <a:pt x="3449678" y="533595"/>
                  <a:pt x="3449678" y="533259"/>
                  <a:pt x="3449563" y="532964"/>
                </a:cubicBezTo>
                <a:cubicBezTo>
                  <a:pt x="3448174" y="530997"/>
                  <a:pt x="3441118" y="529840"/>
                  <a:pt x="3432209" y="528394"/>
                </a:cubicBezTo>
                <a:lnTo>
                  <a:pt x="3424401" y="527064"/>
                </a:lnTo>
                <a:lnTo>
                  <a:pt x="3412138" y="524692"/>
                </a:lnTo>
                <a:cubicBezTo>
                  <a:pt x="3393396" y="520429"/>
                  <a:pt x="3374365" y="517757"/>
                  <a:pt x="3355161" y="516710"/>
                </a:cubicBezTo>
                <a:cubicBezTo>
                  <a:pt x="3352847" y="516710"/>
                  <a:pt x="3350707" y="516710"/>
                  <a:pt x="3348798" y="516999"/>
                </a:cubicBezTo>
                <a:cubicBezTo>
                  <a:pt x="3346889" y="517288"/>
                  <a:pt x="3345038" y="516999"/>
                  <a:pt x="3343013" y="516999"/>
                </a:cubicBezTo>
                <a:cubicBezTo>
                  <a:pt x="3334858" y="516831"/>
                  <a:pt x="3326875" y="515044"/>
                  <a:pt x="3319413" y="511735"/>
                </a:cubicBezTo>
                <a:cubicBezTo>
                  <a:pt x="3315595" y="509936"/>
                  <a:pt x="3311488" y="508745"/>
                  <a:pt x="3307266" y="508207"/>
                </a:cubicBezTo>
                <a:lnTo>
                  <a:pt x="3305646" y="508207"/>
                </a:lnTo>
                <a:cubicBezTo>
                  <a:pt x="3303274" y="508207"/>
                  <a:pt x="3300324" y="508612"/>
                  <a:pt x="3299341" y="510636"/>
                </a:cubicBezTo>
                <a:cubicBezTo>
                  <a:pt x="3298358" y="512661"/>
                  <a:pt x="3299341" y="515726"/>
                  <a:pt x="3302176" y="518966"/>
                </a:cubicBezTo>
                <a:cubicBezTo>
                  <a:pt x="3303448" y="520256"/>
                  <a:pt x="3303795" y="522182"/>
                  <a:pt x="3303043" y="523825"/>
                </a:cubicBezTo>
                <a:cubicBezTo>
                  <a:pt x="3301018" y="527932"/>
                  <a:pt x="3292169" y="529609"/>
                  <a:pt x="3284244" y="529609"/>
                </a:cubicBezTo>
                <a:cubicBezTo>
                  <a:pt x="3281814" y="529615"/>
                  <a:pt x="3279327" y="529441"/>
                  <a:pt x="3276898" y="529088"/>
                </a:cubicBezTo>
                <a:cubicBezTo>
                  <a:pt x="3275683" y="528996"/>
                  <a:pt x="3274410" y="528996"/>
                  <a:pt x="3273195" y="529088"/>
                </a:cubicBezTo>
                <a:cubicBezTo>
                  <a:pt x="3264114" y="529088"/>
                  <a:pt x="3254396" y="533311"/>
                  <a:pt x="3251966" y="538344"/>
                </a:cubicBezTo>
                <a:cubicBezTo>
                  <a:pt x="3250983" y="540380"/>
                  <a:pt x="3251330" y="542826"/>
                  <a:pt x="3252892" y="544475"/>
                </a:cubicBezTo>
                <a:cubicBezTo>
                  <a:pt x="3254164" y="546459"/>
                  <a:pt x="3256305" y="547703"/>
                  <a:pt x="3258677" y="547830"/>
                </a:cubicBezTo>
                <a:cubicBezTo>
                  <a:pt x="3260875" y="547622"/>
                  <a:pt x="3263015" y="546951"/>
                  <a:pt x="3264923" y="545863"/>
                </a:cubicBezTo>
                <a:cubicBezTo>
                  <a:pt x="3266949" y="544787"/>
                  <a:pt x="3269147" y="544122"/>
                  <a:pt x="3271402" y="543897"/>
                </a:cubicBezTo>
                <a:cubicBezTo>
                  <a:pt x="3272386" y="543885"/>
                  <a:pt x="3273427" y="544128"/>
                  <a:pt x="3274294" y="544591"/>
                </a:cubicBezTo>
                <a:cubicBezTo>
                  <a:pt x="3275278" y="544938"/>
                  <a:pt x="3275914" y="545782"/>
                  <a:pt x="3276088" y="546789"/>
                </a:cubicBezTo>
                <a:cubicBezTo>
                  <a:pt x="3276088" y="548813"/>
                  <a:pt x="3273774" y="550491"/>
                  <a:pt x="3270650" y="552573"/>
                </a:cubicBezTo>
                <a:cubicBezTo>
                  <a:pt x="3268510" y="554019"/>
                  <a:pt x="3264866" y="556333"/>
                  <a:pt x="3265271" y="557606"/>
                </a:cubicBezTo>
                <a:cubicBezTo>
                  <a:pt x="3265271" y="558011"/>
                  <a:pt x="3265965" y="558589"/>
                  <a:pt x="3267006" y="559052"/>
                </a:cubicBezTo>
                <a:cubicBezTo>
                  <a:pt x="3273369" y="562152"/>
                  <a:pt x="3277013" y="568984"/>
                  <a:pt x="3276088" y="576000"/>
                </a:cubicBezTo>
                <a:cubicBezTo>
                  <a:pt x="3276088" y="576926"/>
                  <a:pt x="3276088" y="577793"/>
                  <a:pt x="3276088" y="578545"/>
                </a:cubicBezTo>
                <a:cubicBezTo>
                  <a:pt x="3276203" y="579552"/>
                  <a:pt x="3275798" y="580552"/>
                  <a:pt x="3275104" y="581264"/>
                </a:cubicBezTo>
                <a:cubicBezTo>
                  <a:pt x="3272154" y="583503"/>
                  <a:pt x="3268510" y="584590"/>
                  <a:pt x="3264866" y="584330"/>
                </a:cubicBezTo>
                <a:cubicBezTo>
                  <a:pt x="3260007" y="584642"/>
                  <a:pt x="3255322" y="582826"/>
                  <a:pt x="3251908" y="579355"/>
                </a:cubicBezTo>
                <a:cubicBezTo>
                  <a:pt x="3250231" y="577273"/>
                  <a:pt x="3247686" y="576127"/>
                  <a:pt x="3245025" y="576289"/>
                </a:cubicBezTo>
                <a:cubicBezTo>
                  <a:pt x="3242827" y="576382"/>
                  <a:pt x="3240629" y="576654"/>
                  <a:pt x="3238489" y="577099"/>
                </a:cubicBezTo>
                <a:cubicBezTo>
                  <a:pt x="3234671" y="577961"/>
                  <a:pt x="3230796" y="578314"/>
                  <a:pt x="3226920" y="578140"/>
                </a:cubicBezTo>
                <a:lnTo>
                  <a:pt x="3224664" y="578140"/>
                </a:lnTo>
                <a:cubicBezTo>
                  <a:pt x="3221136" y="577770"/>
                  <a:pt x="3217549" y="578626"/>
                  <a:pt x="3214541" y="580570"/>
                </a:cubicBezTo>
                <a:lnTo>
                  <a:pt x="3214541" y="580570"/>
                </a:lnTo>
                <a:cubicBezTo>
                  <a:pt x="3216045" y="581461"/>
                  <a:pt x="3217781" y="581958"/>
                  <a:pt x="3219516" y="582016"/>
                </a:cubicBezTo>
                <a:cubicBezTo>
                  <a:pt x="3226515" y="582942"/>
                  <a:pt x="3231085" y="585834"/>
                  <a:pt x="3231085" y="589131"/>
                </a:cubicBezTo>
                <a:cubicBezTo>
                  <a:pt x="3231085" y="590924"/>
                  <a:pt x="3229465" y="594163"/>
                  <a:pt x="3219516" y="594915"/>
                </a:cubicBezTo>
                <a:cubicBezTo>
                  <a:pt x="3213095" y="596084"/>
                  <a:pt x="3206732" y="592544"/>
                  <a:pt x="3204361" y="586470"/>
                </a:cubicBezTo>
                <a:cubicBezTo>
                  <a:pt x="3202336" y="582999"/>
                  <a:pt x="3201064" y="581322"/>
                  <a:pt x="3197882" y="581958"/>
                </a:cubicBezTo>
                <a:cubicBezTo>
                  <a:pt x="3190131" y="582247"/>
                  <a:pt x="3182437" y="581073"/>
                  <a:pt x="3175150" y="578487"/>
                </a:cubicBezTo>
                <a:cubicBezTo>
                  <a:pt x="3169018" y="576509"/>
                  <a:pt x="3162713" y="575248"/>
                  <a:pt x="3156292" y="574728"/>
                </a:cubicBezTo>
                <a:lnTo>
                  <a:pt x="3155656" y="574728"/>
                </a:lnTo>
                <a:cubicBezTo>
                  <a:pt x="3150913" y="575161"/>
                  <a:pt x="3146343" y="576706"/>
                  <a:pt x="3142352" y="579239"/>
                </a:cubicBezTo>
                <a:cubicBezTo>
                  <a:pt x="3136799" y="582450"/>
                  <a:pt x="3130609" y="584428"/>
                  <a:pt x="3124189" y="585024"/>
                </a:cubicBezTo>
                <a:lnTo>
                  <a:pt x="3121238" y="585024"/>
                </a:lnTo>
                <a:cubicBezTo>
                  <a:pt x="3106025" y="585024"/>
                  <a:pt x="3087631" y="576232"/>
                  <a:pt x="3082020" y="568712"/>
                </a:cubicBezTo>
                <a:cubicBezTo>
                  <a:pt x="3078897" y="564547"/>
                  <a:pt x="3076872" y="561944"/>
                  <a:pt x="3075021" y="561944"/>
                </a:cubicBezTo>
                <a:cubicBezTo>
                  <a:pt x="3073170" y="561944"/>
                  <a:pt x="3071492" y="563679"/>
                  <a:pt x="3068484" y="567728"/>
                </a:cubicBezTo>
                <a:cubicBezTo>
                  <a:pt x="3065476" y="572240"/>
                  <a:pt x="3063220" y="577226"/>
                  <a:pt x="3061832" y="582479"/>
                </a:cubicBezTo>
                <a:cubicBezTo>
                  <a:pt x="3059518" y="589536"/>
                  <a:pt x="3057552" y="595609"/>
                  <a:pt x="3052809" y="596419"/>
                </a:cubicBezTo>
                <a:cubicBezTo>
                  <a:pt x="3049453" y="596998"/>
                  <a:pt x="3047024" y="601452"/>
                  <a:pt x="3044421" y="606253"/>
                </a:cubicBezTo>
                <a:cubicBezTo>
                  <a:pt x="3042570" y="610620"/>
                  <a:pt x="3039562" y="614426"/>
                  <a:pt x="3035802" y="617301"/>
                </a:cubicBezTo>
                <a:cubicBezTo>
                  <a:pt x="3034704" y="617984"/>
                  <a:pt x="3033431" y="618365"/>
                  <a:pt x="3032100" y="618400"/>
                </a:cubicBezTo>
                <a:cubicBezTo>
                  <a:pt x="3029845" y="618255"/>
                  <a:pt x="3027762" y="617214"/>
                  <a:pt x="3026316" y="615508"/>
                </a:cubicBezTo>
                <a:cubicBezTo>
                  <a:pt x="3024233" y="613234"/>
                  <a:pt x="3021225" y="612026"/>
                  <a:pt x="3018160" y="612211"/>
                </a:cubicBezTo>
                <a:lnTo>
                  <a:pt x="3017639" y="612211"/>
                </a:lnTo>
                <a:cubicBezTo>
                  <a:pt x="3007516" y="612211"/>
                  <a:pt x="2977958" y="583751"/>
                  <a:pt x="2976107" y="574554"/>
                </a:cubicBezTo>
                <a:cubicBezTo>
                  <a:pt x="2974661" y="566629"/>
                  <a:pt x="2956382" y="550549"/>
                  <a:pt x="2951639" y="547425"/>
                </a:cubicBezTo>
                <a:cubicBezTo>
                  <a:pt x="2949788" y="546153"/>
                  <a:pt x="2949672" y="544996"/>
                  <a:pt x="2949904" y="544301"/>
                </a:cubicBezTo>
                <a:cubicBezTo>
                  <a:pt x="2950135" y="543607"/>
                  <a:pt x="2951812" y="542335"/>
                  <a:pt x="2954184" y="542335"/>
                </a:cubicBezTo>
                <a:cubicBezTo>
                  <a:pt x="2957770" y="542410"/>
                  <a:pt x="2961183" y="543717"/>
                  <a:pt x="2963902" y="546037"/>
                </a:cubicBezTo>
                <a:cubicBezTo>
                  <a:pt x="2969108" y="550421"/>
                  <a:pt x="2976454" y="551162"/>
                  <a:pt x="2982412" y="547888"/>
                </a:cubicBezTo>
                <a:cubicBezTo>
                  <a:pt x="2985246" y="545568"/>
                  <a:pt x="2986404" y="541739"/>
                  <a:pt x="2985304" y="538228"/>
                </a:cubicBezTo>
                <a:cubicBezTo>
                  <a:pt x="2984726" y="534427"/>
                  <a:pt x="2981486" y="531576"/>
                  <a:pt x="2977669" y="531402"/>
                </a:cubicBezTo>
                <a:cubicBezTo>
                  <a:pt x="2971537" y="531402"/>
                  <a:pt x="2970265" y="528279"/>
                  <a:pt x="2970033" y="526601"/>
                </a:cubicBezTo>
                <a:cubicBezTo>
                  <a:pt x="2970033" y="522812"/>
                  <a:pt x="2972521" y="519463"/>
                  <a:pt x="2976107" y="518329"/>
                </a:cubicBezTo>
                <a:cubicBezTo>
                  <a:pt x="2976686" y="517172"/>
                  <a:pt x="2974256" y="513528"/>
                  <a:pt x="2972637" y="511099"/>
                </a:cubicBezTo>
                <a:cubicBezTo>
                  <a:pt x="2969860" y="506934"/>
                  <a:pt x="2967489" y="503406"/>
                  <a:pt x="2968414" y="501034"/>
                </a:cubicBezTo>
                <a:cubicBezTo>
                  <a:pt x="2968761" y="500155"/>
                  <a:pt x="2969571" y="499507"/>
                  <a:pt x="2970497" y="499299"/>
                </a:cubicBezTo>
                <a:cubicBezTo>
                  <a:pt x="2971537" y="499299"/>
                  <a:pt x="2973273" y="498431"/>
                  <a:pt x="2973215" y="496927"/>
                </a:cubicBezTo>
                <a:cubicBezTo>
                  <a:pt x="2973157" y="495423"/>
                  <a:pt x="2970612" y="492531"/>
                  <a:pt x="2965406" y="491837"/>
                </a:cubicBezTo>
                <a:cubicBezTo>
                  <a:pt x="2955920" y="490564"/>
                  <a:pt x="2946317" y="482871"/>
                  <a:pt x="2945855" y="477896"/>
                </a:cubicBezTo>
                <a:cubicBezTo>
                  <a:pt x="2939723" y="475461"/>
                  <a:pt x="2933071" y="474472"/>
                  <a:pt x="2926476" y="475004"/>
                </a:cubicBezTo>
                <a:cubicBezTo>
                  <a:pt x="2921444" y="474379"/>
                  <a:pt x="2916354" y="475241"/>
                  <a:pt x="2911842" y="477491"/>
                </a:cubicBezTo>
                <a:cubicBezTo>
                  <a:pt x="2911785" y="477636"/>
                  <a:pt x="2911785" y="477809"/>
                  <a:pt x="2911842" y="477954"/>
                </a:cubicBezTo>
                <a:cubicBezTo>
                  <a:pt x="2912189" y="479175"/>
                  <a:pt x="2912015" y="480499"/>
                  <a:pt x="2911264" y="481540"/>
                </a:cubicBezTo>
                <a:cubicBezTo>
                  <a:pt x="2910049" y="482842"/>
                  <a:pt x="2908314" y="483525"/>
                  <a:pt x="2906578" y="483391"/>
                </a:cubicBezTo>
                <a:cubicBezTo>
                  <a:pt x="2904091" y="483490"/>
                  <a:pt x="2901662" y="482449"/>
                  <a:pt x="2899984" y="480557"/>
                </a:cubicBezTo>
                <a:cubicBezTo>
                  <a:pt x="2899290" y="479499"/>
                  <a:pt x="2899116" y="478162"/>
                  <a:pt x="2899579" y="476971"/>
                </a:cubicBezTo>
                <a:cubicBezTo>
                  <a:pt x="2899579" y="476508"/>
                  <a:pt x="2899579" y="476334"/>
                  <a:pt x="2899579" y="476277"/>
                </a:cubicBezTo>
                <a:cubicBezTo>
                  <a:pt x="2898827" y="475004"/>
                  <a:pt x="2893795" y="474310"/>
                  <a:pt x="2888589" y="473616"/>
                </a:cubicBezTo>
                <a:cubicBezTo>
                  <a:pt x="2882052" y="472852"/>
                  <a:pt x="2875574" y="471655"/>
                  <a:pt x="2869153" y="470029"/>
                </a:cubicBezTo>
                <a:cubicBezTo>
                  <a:pt x="2861287" y="468068"/>
                  <a:pt x="2854519" y="463186"/>
                  <a:pt x="2850122" y="456378"/>
                </a:cubicBezTo>
                <a:cubicBezTo>
                  <a:pt x="2848272" y="453891"/>
                  <a:pt x="2846941" y="452098"/>
                  <a:pt x="2845148" y="451866"/>
                </a:cubicBezTo>
                <a:lnTo>
                  <a:pt x="2845148" y="451866"/>
                </a:lnTo>
                <a:cubicBezTo>
                  <a:pt x="2843354" y="451866"/>
                  <a:pt x="2842429" y="454759"/>
                  <a:pt x="2841446" y="457651"/>
                </a:cubicBezTo>
                <a:cubicBezTo>
                  <a:pt x="2840173" y="461526"/>
                  <a:pt x="2838727" y="465865"/>
                  <a:pt x="2834793" y="465865"/>
                </a:cubicBezTo>
                <a:cubicBezTo>
                  <a:pt x="2833811" y="465841"/>
                  <a:pt x="2832827" y="465604"/>
                  <a:pt x="2831959" y="465171"/>
                </a:cubicBezTo>
                <a:cubicBezTo>
                  <a:pt x="2827563" y="462741"/>
                  <a:pt x="2821952" y="464361"/>
                  <a:pt x="2819522" y="468780"/>
                </a:cubicBezTo>
                <a:cubicBezTo>
                  <a:pt x="2818018" y="471614"/>
                  <a:pt x="2818076" y="475056"/>
                  <a:pt x="2819696" y="477838"/>
                </a:cubicBezTo>
                <a:cubicBezTo>
                  <a:pt x="2822357" y="482333"/>
                  <a:pt x="2822762" y="487793"/>
                  <a:pt x="2820853" y="492647"/>
                </a:cubicBezTo>
                <a:cubicBezTo>
                  <a:pt x="2820159" y="494712"/>
                  <a:pt x="2819638" y="496840"/>
                  <a:pt x="2819349" y="499009"/>
                </a:cubicBezTo>
                <a:cubicBezTo>
                  <a:pt x="2819349" y="501670"/>
                  <a:pt x="2818366" y="505257"/>
                  <a:pt x="2814548" y="505257"/>
                </a:cubicBezTo>
                <a:cubicBezTo>
                  <a:pt x="2811772" y="504921"/>
                  <a:pt x="2809053" y="504140"/>
                  <a:pt x="2806507" y="502943"/>
                </a:cubicBezTo>
                <a:cubicBezTo>
                  <a:pt x="2805061" y="502422"/>
                  <a:pt x="2803500" y="501786"/>
                  <a:pt x="2801707" y="501207"/>
                </a:cubicBezTo>
                <a:cubicBezTo>
                  <a:pt x="2798583" y="500143"/>
                  <a:pt x="2795170" y="500641"/>
                  <a:pt x="2792510" y="502538"/>
                </a:cubicBezTo>
                <a:cubicBezTo>
                  <a:pt x="2788576" y="504788"/>
                  <a:pt x="2784180" y="505962"/>
                  <a:pt x="2779668" y="505951"/>
                </a:cubicBezTo>
                <a:cubicBezTo>
                  <a:pt x="2775966" y="505876"/>
                  <a:pt x="2772322" y="505372"/>
                  <a:pt x="2768736" y="504447"/>
                </a:cubicBezTo>
                <a:cubicBezTo>
                  <a:pt x="2760984" y="502515"/>
                  <a:pt x="2753002" y="501583"/>
                  <a:pt x="2745019" y="501670"/>
                </a:cubicBezTo>
                <a:cubicBezTo>
                  <a:pt x="2738252" y="501670"/>
                  <a:pt x="2733450" y="501670"/>
                  <a:pt x="2731252" y="497043"/>
                </a:cubicBezTo>
                <a:cubicBezTo>
                  <a:pt x="2729055" y="492415"/>
                  <a:pt x="2726220" y="491258"/>
                  <a:pt x="2724485" y="491258"/>
                </a:cubicBezTo>
                <a:cubicBezTo>
                  <a:pt x="2722749" y="491258"/>
                  <a:pt x="2721881" y="492357"/>
                  <a:pt x="2721650" y="494324"/>
                </a:cubicBezTo>
                <a:cubicBezTo>
                  <a:pt x="2721129" y="498084"/>
                  <a:pt x="2713436" y="498662"/>
                  <a:pt x="2708866" y="498662"/>
                </a:cubicBezTo>
                <a:cubicBezTo>
                  <a:pt x="2698571" y="498662"/>
                  <a:pt x="2683184" y="495770"/>
                  <a:pt x="2681101" y="489292"/>
                </a:cubicBezTo>
                <a:cubicBezTo>
                  <a:pt x="2678383" y="480788"/>
                  <a:pt x="2685324" y="478070"/>
                  <a:pt x="2690414" y="476045"/>
                </a:cubicBezTo>
                <a:lnTo>
                  <a:pt x="2693017" y="475004"/>
                </a:lnTo>
                <a:lnTo>
                  <a:pt x="2693538" y="475004"/>
                </a:lnTo>
                <a:cubicBezTo>
                  <a:pt x="2688100" y="472644"/>
                  <a:pt x="2682084" y="471730"/>
                  <a:pt x="2676185" y="472343"/>
                </a:cubicBezTo>
                <a:cubicBezTo>
                  <a:pt x="2673813" y="472343"/>
                  <a:pt x="2671383" y="472343"/>
                  <a:pt x="2668954" y="472343"/>
                </a:cubicBezTo>
                <a:cubicBezTo>
                  <a:pt x="2660509" y="472592"/>
                  <a:pt x="2652121" y="471238"/>
                  <a:pt x="2644197" y="468352"/>
                </a:cubicBezTo>
                <a:cubicBezTo>
                  <a:pt x="2637429" y="466027"/>
                  <a:pt x="2630314" y="464702"/>
                  <a:pt x="2623141" y="464419"/>
                </a:cubicBezTo>
                <a:cubicBezTo>
                  <a:pt x="2621579" y="464332"/>
                  <a:pt x="2620018" y="464332"/>
                  <a:pt x="2618456" y="464419"/>
                </a:cubicBezTo>
                <a:lnTo>
                  <a:pt x="2609259" y="465344"/>
                </a:lnTo>
                <a:cubicBezTo>
                  <a:pt x="2589013" y="467426"/>
                  <a:pt x="2555232" y="470839"/>
                  <a:pt x="2550142" y="473211"/>
                </a:cubicBezTo>
                <a:cubicBezTo>
                  <a:pt x="2548464" y="474021"/>
                  <a:pt x="2548812" y="475698"/>
                  <a:pt x="2550142" y="478995"/>
                </a:cubicBezTo>
                <a:cubicBezTo>
                  <a:pt x="2550952" y="481425"/>
                  <a:pt x="2551762" y="483912"/>
                  <a:pt x="2550547" y="485763"/>
                </a:cubicBezTo>
                <a:cubicBezTo>
                  <a:pt x="2548291" y="488216"/>
                  <a:pt x="2544473" y="488424"/>
                  <a:pt x="2541986" y="486226"/>
                </a:cubicBezTo>
                <a:cubicBezTo>
                  <a:pt x="2539383" y="483391"/>
                  <a:pt x="2539961" y="477433"/>
                  <a:pt x="2540540" y="471128"/>
                </a:cubicBezTo>
                <a:cubicBezTo>
                  <a:pt x="2541003" y="467496"/>
                  <a:pt x="2541003" y="463828"/>
                  <a:pt x="2540540" y="460196"/>
                </a:cubicBezTo>
                <a:cubicBezTo>
                  <a:pt x="2539672" y="456222"/>
                  <a:pt x="2536085" y="453411"/>
                  <a:pt x="2532037" y="453428"/>
                </a:cubicBezTo>
                <a:cubicBezTo>
                  <a:pt x="2530995" y="453347"/>
                  <a:pt x="2529954" y="453706"/>
                  <a:pt x="2529202" y="454411"/>
                </a:cubicBezTo>
                <a:cubicBezTo>
                  <a:pt x="2528855" y="455048"/>
                  <a:pt x="2528855" y="455800"/>
                  <a:pt x="2529202" y="456436"/>
                </a:cubicBezTo>
                <a:cubicBezTo>
                  <a:pt x="2529549" y="457639"/>
                  <a:pt x="2529318" y="458935"/>
                  <a:pt x="2528508" y="459907"/>
                </a:cubicBezTo>
                <a:cubicBezTo>
                  <a:pt x="2526021" y="463262"/>
                  <a:pt x="2518328" y="464708"/>
                  <a:pt x="2511791" y="464708"/>
                </a:cubicBezTo>
                <a:cubicBezTo>
                  <a:pt x="2507337" y="464980"/>
                  <a:pt x="2502883" y="463886"/>
                  <a:pt x="2499066" y="461584"/>
                </a:cubicBezTo>
                <a:cubicBezTo>
                  <a:pt x="2490100" y="453897"/>
                  <a:pt x="2479456" y="448459"/>
                  <a:pt x="2468003" y="445735"/>
                </a:cubicBezTo>
                <a:cubicBezTo>
                  <a:pt x="2466441" y="445330"/>
                  <a:pt x="2464880" y="445139"/>
                  <a:pt x="2463260" y="445156"/>
                </a:cubicBezTo>
                <a:cubicBezTo>
                  <a:pt x="2453311" y="445555"/>
                  <a:pt x="2444114" y="450692"/>
                  <a:pt x="2438560" y="458981"/>
                </a:cubicBezTo>
                <a:cubicBezTo>
                  <a:pt x="2438098" y="459803"/>
                  <a:pt x="2438098" y="460821"/>
                  <a:pt x="2438560" y="461642"/>
                </a:cubicBezTo>
                <a:cubicBezTo>
                  <a:pt x="2441510" y="463649"/>
                  <a:pt x="2445039" y="464528"/>
                  <a:pt x="2448567" y="464129"/>
                </a:cubicBezTo>
                <a:cubicBezTo>
                  <a:pt x="2452038" y="464129"/>
                  <a:pt x="2455103" y="464129"/>
                  <a:pt x="2455393" y="466674"/>
                </a:cubicBezTo>
                <a:cubicBezTo>
                  <a:pt x="2455509" y="467484"/>
                  <a:pt x="2455277" y="468300"/>
                  <a:pt x="2454757" y="468930"/>
                </a:cubicBezTo>
                <a:cubicBezTo>
                  <a:pt x="2452559" y="471649"/>
                  <a:pt x="2444923" y="472459"/>
                  <a:pt x="2436825" y="473327"/>
                </a:cubicBezTo>
                <a:cubicBezTo>
                  <a:pt x="2431619" y="473847"/>
                  <a:pt x="2421901" y="474830"/>
                  <a:pt x="2421901" y="476508"/>
                </a:cubicBezTo>
                <a:cubicBezTo>
                  <a:pt x="2421901" y="484028"/>
                  <a:pt x="2385632" y="491374"/>
                  <a:pt x="2379328" y="492184"/>
                </a:cubicBezTo>
                <a:lnTo>
                  <a:pt x="2373196" y="492936"/>
                </a:lnTo>
                <a:cubicBezTo>
                  <a:pt x="2352025" y="495539"/>
                  <a:pt x="2346299" y="496233"/>
                  <a:pt x="2335077" y="505662"/>
                </a:cubicBezTo>
                <a:cubicBezTo>
                  <a:pt x="2331606" y="508554"/>
                  <a:pt x="2330160" y="508901"/>
                  <a:pt x="2329292" y="508901"/>
                </a:cubicBezTo>
                <a:cubicBezTo>
                  <a:pt x="2328483" y="508953"/>
                  <a:pt x="2327731" y="508455"/>
                  <a:pt x="2327441" y="507686"/>
                </a:cubicBezTo>
                <a:cubicBezTo>
                  <a:pt x="2325995" y="504273"/>
                  <a:pt x="2333746" y="491605"/>
                  <a:pt x="2340341" y="485011"/>
                </a:cubicBezTo>
                <a:cubicBezTo>
                  <a:pt x="2344563" y="480968"/>
                  <a:pt x="2349885" y="478238"/>
                  <a:pt x="2355612" y="477144"/>
                </a:cubicBezTo>
                <a:cubicBezTo>
                  <a:pt x="2359545" y="476653"/>
                  <a:pt x="2363132" y="474767"/>
                  <a:pt x="2365734" y="471823"/>
                </a:cubicBezTo>
                <a:cubicBezTo>
                  <a:pt x="2370420" y="465402"/>
                  <a:pt x="2377303" y="464592"/>
                  <a:pt x="2387310" y="463319"/>
                </a:cubicBezTo>
                <a:lnTo>
                  <a:pt x="2396334" y="462047"/>
                </a:lnTo>
                <a:cubicBezTo>
                  <a:pt x="2402407" y="461532"/>
                  <a:pt x="2407961" y="458304"/>
                  <a:pt x="2411374" y="453255"/>
                </a:cubicBezTo>
                <a:cubicBezTo>
                  <a:pt x="2412993" y="450808"/>
                  <a:pt x="2415249" y="448818"/>
                  <a:pt x="2417852" y="447470"/>
                </a:cubicBezTo>
                <a:lnTo>
                  <a:pt x="2420860" y="446140"/>
                </a:lnTo>
                <a:cubicBezTo>
                  <a:pt x="2428553" y="442843"/>
                  <a:pt x="2442841" y="436653"/>
                  <a:pt x="2445502" y="430637"/>
                </a:cubicBezTo>
                <a:cubicBezTo>
                  <a:pt x="2449030" y="422771"/>
                  <a:pt x="2485357" y="410970"/>
                  <a:pt x="2493050" y="410970"/>
                </a:cubicBezTo>
                <a:lnTo>
                  <a:pt x="2493454" y="410970"/>
                </a:lnTo>
                <a:cubicBezTo>
                  <a:pt x="2496983" y="410970"/>
                  <a:pt x="2499239" y="406632"/>
                  <a:pt x="2500859" y="402756"/>
                </a:cubicBezTo>
                <a:cubicBezTo>
                  <a:pt x="2502478" y="398881"/>
                  <a:pt x="2503924" y="396394"/>
                  <a:pt x="2506296" y="396394"/>
                </a:cubicBezTo>
                <a:cubicBezTo>
                  <a:pt x="2517576" y="393166"/>
                  <a:pt x="2528508" y="388891"/>
                  <a:pt x="2538978" y="383610"/>
                </a:cubicBezTo>
                <a:cubicBezTo>
                  <a:pt x="2545225" y="380701"/>
                  <a:pt x="2549564" y="374823"/>
                  <a:pt x="2550547" y="367992"/>
                </a:cubicBezTo>
                <a:cubicBezTo>
                  <a:pt x="2550547" y="366199"/>
                  <a:pt x="2548696" y="365331"/>
                  <a:pt x="2545399" y="364174"/>
                </a:cubicBezTo>
                <a:cubicBezTo>
                  <a:pt x="2542102" y="363017"/>
                  <a:pt x="2539209" y="361918"/>
                  <a:pt x="2538457" y="359084"/>
                </a:cubicBezTo>
                <a:cubicBezTo>
                  <a:pt x="2538053" y="358083"/>
                  <a:pt x="2538226" y="356961"/>
                  <a:pt x="2538805" y="356076"/>
                </a:cubicBezTo>
                <a:cubicBezTo>
                  <a:pt x="2539730" y="354804"/>
                  <a:pt x="2541465" y="354688"/>
                  <a:pt x="2543953" y="354514"/>
                </a:cubicBezTo>
                <a:cubicBezTo>
                  <a:pt x="2547018" y="354462"/>
                  <a:pt x="2550026" y="353895"/>
                  <a:pt x="2552860" y="352837"/>
                </a:cubicBezTo>
                <a:cubicBezTo>
                  <a:pt x="2554770" y="352461"/>
                  <a:pt x="2556042" y="350604"/>
                  <a:pt x="2555637" y="348695"/>
                </a:cubicBezTo>
                <a:cubicBezTo>
                  <a:pt x="2555637" y="348684"/>
                  <a:pt x="2555637" y="348678"/>
                  <a:pt x="2555637" y="348672"/>
                </a:cubicBezTo>
                <a:cubicBezTo>
                  <a:pt x="2554712" y="345178"/>
                  <a:pt x="2551704" y="342633"/>
                  <a:pt x="2548118" y="342309"/>
                </a:cubicBezTo>
                <a:cubicBezTo>
                  <a:pt x="2547654" y="342251"/>
                  <a:pt x="2547192" y="342251"/>
                  <a:pt x="2546729" y="342309"/>
                </a:cubicBezTo>
                <a:cubicBezTo>
                  <a:pt x="2544358" y="343003"/>
                  <a:pt x="2543490" y="342309"/>
                  <a:pt x="2543143" y="341904"/>
                </a:cubicBezTo>
                <a:cubicBezTo>
                  <a:pt x="2542796" y="341499"/>
                  <a:pt x="2543143" y="339880"/>
                  <a:pt x="2543606" y="338376"/>
                </a:cubicBezTo>
                <a:cubicBezTo>
                  <a:pt x="2545399" y="335339"/>
                  <a:pt x="2545225" y="331510"/>
                  <a:pt x="2543143" y="328658"/>
                </a:cubicBezTo>
                <a:cubicBezTo>
                  <a:pt x="2541986" y="327235"/>
                  <a:pt x="2540251" y="326437"/>
                  <a:pt x="2538399" y="326518"/>
                </a:cubicBezTo>
                <a:cubicBezTo>
                  <a:pt x="2536433" y="326657"/>
                  <a:pt x="2534466" y="327044"/>
                  <a:pt x="2532615" y="327675"/>
                </a:cubicBezTo>
                <a:cubicBezTo>
                  <a:pt x="2529665" y="328542"/>
                  <a:pt x="2527294" y="328947"/>
                  <a:pt x="2526021" y="327675"/>
                </a:cubicBezTo>
                <a:cubicBezTo>
                  <a:pt x="2525327" y="326807"/>
                  <a:pt x="2525038" y="325696"/>
                  <a:pt x="2525211" y="324609"/>
                </a:cubicBezTo>
                <a:cubicBezTo>
                  <a:pt x="2525616" y="317263"/>
                  <a:pt x="2524459" y="307834"/>
                  <a:pt x="2519889" y="303264"/>
                </a:cubicBezTo>
                <a:cubicBezTo>
                  <a:pt x="2518385" y="301760"/>
                  <a:pt x="2515898" y="302859"/>
                  <a:pt x="2512890" y="304190"/>
                </a:cubicBezTo>
                <a:cubicBezTo>
                  <a:pt x="2510056" y="305746"/>
                  <a:pt x="2506932" y="306654"/>
                  <a:pt x="2503693" y="306851"/>
                </a:cubicBezTo>
                <a:cubicBezTo>
                  <a:pt x="2500974" y="306839"/>
                  <a:pt x="2498314" y="305902"/>
                  <a:pt x="2496173" y="304190"/>
                </a:cubicBezTo>
                <a:cubicBezTo>
                  <a:pt x="2488364" y="298405"/>
                  <a:pt x="2468640" y="294067"/>
                  <a:pt x="2460888" y="294067"/>
                </a:cubicBezTo>
                <a:cubicBezTo>
                  <a:pt x="2460021" y="294003"/>
                  <a:pt x="2459211" y="294102"/>
                  <a:pt x="2458401" y="294356"/>
                </a:cubicBezTo>
                <a:cubicBezTo>
                  <a:pt x="2458401" y="295166"/>
                  <a:pt x="2457591" y="295860"/>
                  <a:pt x="2456145" y="295918"/>
                </a:cubicBezTo>
                <a:cubicBezTo>
                  <a:pt x="2454178" y="295669"/>
                  <a:pt x="2452211" y="295183"/>
                  <a:pt x="2450361" y="294472"/>
                </a:cubicBezTo>
                <a:cubicBezTo>
                  <a:pt x="2447931" y="293587"/>
                  <a:pt x="2445386" y="293003"/>
                  <a:pt x="2442783" y="292737"/>
                </a:cubicBezTo>
                <a:cubicBezTo>
                  <a:pt x="2442262" y="292673"/>
                  <a:pt x="2441742" y="292795"/>
                  <a:pt x="2441279" y="293084"/>
                </a:cubicBezTo>
                <a:cubicBezTo>
                  <a:pt x="2439312" y="295397"/>
                  <a:pt x="2431099" y="295860"/>
                  <a:pt x="2424504" y="295860"/>
                </a:cubicBezTo>
                <a:cubicBezTo>
                  <a:pt x="2418488" y="295993"/>
                  <a:pt x="2412472" y="295450"/>
                  <a:pt x="2406573" y="294241"/>
                </a:cubicBezTo>
                <a:cubicBezTo>
                  <a:pt x="2400325" y="292563"/>
                  <a:pt x="2390608" y="296670"/>
                  <a:pt x="2390260" y="303322"/>
                </a:cubicBezTo>
                <a:cubicBezTo>
                  <a:pt x="2390260" y="307313"/>
                  <a:pt x="2384476" y="309107"/>
                  <a:pt x="2373254" y="309107"/>
                </a:cubicBezTo>
                <a:cubicBezTo>
                  <a:pt x="2367007" y="309107"/>
                  <a:pt x="2360760" y="308563"/>
                  <a:pt x="2354570" y="307487"/>
                </a:cubicBezTo>
                <a:cubicBezTo>
                  <a:pt x="2353818" y="307394"/>
                  <a:pt x="2353240" y="306868"/>
                  <a:pt x="2353067" y="306157"/>
                </a:cubicBezTo>
                <a:cubicBezTo>
                  <a:pt x="2352372" y="303843"/>
                  <a:pt x="2355959" y="299852"/>
                  <a:pt x="2364636" y="291291"/>
                </a:cubicBezTo>
                <a:cubicBezTo>
                  <a:pt x="2367932" y="288219"/>
                  <a:pt x="2370940" y="284852"/>
                  <a:pt x="2373601" y="281226"/>
                </a:cubicBezTo>
                <a:cubicBezTo>
                  <a:pt x="2370015" y="280537"/>
                  <a:pt x="2366371" y="280306"/>
                  <a:pt x="2362726" y="280532"/>
                </a:cubicBezTo>
                <a:lnTo>
                  <a:pt x="2354223" y="280532"/>
                </a:lnTo>
                <a:lnTo>
                  <a:pt x="2345199" y="280532"/>
                </a:lnTo>
                <a:cubicBezTo>
                  <a:pt x="2332878" y="280532"/>
                  <a:pt x="2329986" y="279606"/>
                  <a:pt x="2329061" y="278160"/>
                </a:cubicBezTo>
                <a:cubicBezTo>
                  <a:pt x="2327673" y="275730"/>
                  <a:pt x="2315063" y="273764"/>
                  <a:pt x="2301527" y="273764"/>
                </a:cubicBezTo>
                <a:lnTo>
                  <a:pt x="2296090" y="273764"/>
                </a:lnTo>
                <a:cubicBezTo>
                  <a:pt x="2294701" y="273764"/>
                  <a:pt x="2292735" y="273764"/>
                  <a:pt x="2292619" y="272260"/>
                </a:cubicBezTo>
                <a:cubicBezTo>
                  <a:pt x="2292619" y="269599"/>
                  <a:pt x="2303494" y="268442"/>
                  <a:pt x="2305692" y="268211"/>
                </a:cubicBezTo>
                <a:cubicBezTo>
                  <a:pt x="2310088" y="267459"/>
                  <a:pt x="2314253" y="265891"/>
                  <a:pt x="2318071" y="263583"/>
                </a:cubicBezTo>
                <a:cubicBezTo>
                  <a:pt x="2322120" y="261275"/>
                  <a:pt x="2326458" y="259580"/>
                  <a:pt x="2331028" y="258551"/>
                </a:cubicBezTo>
                <a:cubicBezTo>
                  <a:pt x="2335192" y="257799"/>
                  <a:pt x="2336350" y="256873"/>
                  <a:pt x="2336812" y="256179"/>
                </a:cubicBezTo>
                <a:cubicBezTo>
                  <a:pt x="2337275" y="255485"/>
                  <a:pt x="2335482" y="252303"/>
                  <a:pt x="2333746" y="249816"/>
                </a:cubicBezTo>
                <a:cubicBezTo>
                  <a:pt x="2332011" y="247329"/>
                  <a:pt x="2327210" y="246519"/>
                  <a:pt x="2322177" y="246172"/>
                </a:cubicBezTo>
                <a:cubicBezTo>
                  <a:pt x="2318475" y="246085"/>
                  <a:pt x="2314773" y="245559"/>
                  <a:pt x="2311187" y="244610"/>
                </a:cubicBezTo>
                <a:lnTo>
                  <a:pt x="2306270" y="243048"/>
                </a:lnTo>
                <a:cubicBezTo>
                  <a:pt x="2298809" y="240266"/>
                  <a:pt x="2291057" y="238323"/>
                  <a:pt x="2283133" y="237264"/>
                </a:cubicBezTo>
                <a:cubicBezTo>
                  <a:pt x="2277753" y="237432"/>
                  <a:pt x="2272374" y="238404"/>
                  <a:pt x="2267283" y="240156"/>
                </a:cubicBezTo>
                <a:cubicBezTo>
                  <a:pt x="2262135" y="241602"/>
                  <a:pt x="2255714" y="243338"/>
                  <a:pt x="2247443" y="244899"/>
                </a:cubicBezTo>
                <a:cubicBezTo>
                  <a:pt x="2238997" y="246519"/>
                  <a:pt x="2231536" y="251534"/>
                  <a:pt x="2226850" y="258782"/>
                </a:cubicBezTo>
                <a:cubicBezTo>
                  <a:pt x="2224420" y="262363"/>
                  <a:pt x="2221182" y="265336"/>
                  <a:pt x="2217422" y="267459"/>
                </a:cubicBezTo>
                <a:cubicBezTo>
                  <a:pt x="2209265" y="271219"/>
                  <a:pt x="2196887" y="283944"/>
                  <a:pt x="2197408" y="288109"/>
                </a:cubicBezTo>
                <a:cubicBezTo>
                  <a:pt x="2197408" y="288398"/>
                  <a:pt x="2197408" y="288919"/>
                  <a:pt x="2198564" y="289092"/>
                </a:cubicBezTo>
                <a:cubicBezTo>
                  <a:pt x="2205159" y="290423"/>
                  <a:pt x="2204869" y="294125"/>
                  <a:pt x="2204638" y="297364"/>
                </a:cubicBezTo>
                <a:cubicBezTo>
                  <a:pt x="2204407" y="298799"/>
                  <a:pt x="2204407" y="300268"/>
                  <a:pt x="2204638" y="301702"/>
                </a:cubicBezTo>
                <a:cubicBezTo>
                  <a:pt x="2204985" y="303143"/>
                  <a:pt x="2204696" y="304670"/>
                  <a:pt x="2203828" y="305867"/>
                </a:cubicBezTo>
                <a:cubicBezTo>
                  <a:pt x="2201456" y="308002"/>
                  <a:pt x="2198275" y="308991"/>
                  <a:pt x="2195094" y="308586"/>
                </a:cubicBezTo>
                <a:cubicBezTo>
                  <a:pt x="2192722" y="308563"/>
                  <a:pt x="2190351" y="308332"/>
                  <a:pt x="2187979" y="307892"/>
                </a:cubicBezTo>
                <a:cubicBezTo>
                  <a:pt x="2183641" y="307331"/>
                  <a:pt x="2179302" y="307082"/>
                  <a:pt x="2174964" y="307140"/>
                </a:cubicBezTo>
                <a:cubicBezTo>
                  <a:pt x="2161313" y="307140"/>
                  <a:pt x="2150554" y="308875"/>
                  <a:pt x="2148124" y="311420"/>
                </a:cubicBezTo>
                <a:cubicBezTo>
                  <a:pt x="2147720" y="311883"/>
                  <a:pt x="2147662" y="312172"/>
                  <a:pt x="2147720" y="312346"/>
                </a:cubicBezTo>
                <a:cubicBezTo>
                  <a:pt x="2147720" y="315527"/>
                  <a:pt x="2153504" y="318130"/>
                  <a:pt x="2158073" y="320213"/>
                </a:cubicBezTo>
                <a:cubicBezTo>
                  <a:pt x="2162643" y="322295"/>
                  <a:pt x="2166287" y="323973"/>
                  <a:pt x="2165420" y="326518"/>
                </a:cubicBezTo>
                <a:cubicBezTo>
                  <a:pt x="2164957" y="327964"/>
                  <a:pt x="2163453" y="328716"/>
                  <a:pt x="2161023" y="328716"/>
                </a:cubicBezTo>
                <a:cubicBezTo>
                  <a:pt x="2154719" y="328027"/>
                  <a:pt x="2148645" y="326061"/>
                  <a:pt x="2143150" y="322931"/>
                </a:cubicBezTo>
                <a:cubicBezTo>
                  <a:pt x="2140778" y="321722"/>
                  <a:pt x="2138059" y="321144"/>
                  <a:pt x="2135399" y="321254"/>
                </a:cubicBezTo>
                <a:cubicBezTo>
                  <a:pt x="2129614" y="321254"/>
                  <a:pt x="2122673" y="323452"/>
                  <a:pt x="2120995" y="327559"/>
                </a:cubicBezTo>
                <a:cubicBezTo>
                  <a:pt x="2118855" y="331591"/>
                  <a:pt x="2114459" y="333893"/>
                  <a:pt x="2109947" y="333343"/>
                </a:cubicBezTo>
                <a:cubicBezTo>
                  <a:pt x="2107113" y="333361"/>
                  <a:pt x="2104336" y="332852"/>
                  <a:pt x="2101675" y="331839"/>
                </a:cubicBezTo>
                <a:cubicBezTo>
                  <a:pt x="2099477" y="331504"/>
                  <a:pt x="2097279" y="331718"/>
                  <a:pt x="2095196" y="332476"/>
                </a:cubicBezTo>
                <a:cubicBezTo>
                  <a:pt x="2091610" y="333609"/>
                  <a:pt x="2087734" y="333806"/>
                  <a:pt x="2084033" y="333054"/>
                </a:cubicBezTo>
                <a:cubicBezTo>
                  <a:pt x="2083107" y="332852"/>
                  <a:pt x="2082297" y="332140"/>
                  <a:pt x="2082066" y="331203"/>
                </a:cubicBezTo>
                <a:cubicBezTo>
                  <a:pt x="2081603" y="329294"/>
                  <a:pt x="2083801" y="327270"/>
                  <a:pt x="2086520" y="324725"/>
                </a:cubicBezTo>
                <a:cubicBezTo>
                  <a:pt x="2089238" y="322179"/>
                  <a:pt x="2091610" y="319981"/>
                  <a:pt x="2091610" y="318304"/>
                </a:cubicBezTo>
                <a:cubicBezTo>
                  <a:pt x="2091610" y="317968"/>
                  <a:pt x="2091494" y="317644"/>
                  <a:pt x="2091206" y="317436"/>
                </a:cubicBezTo>
                <a:cubicBezTo>
                  <a:pt x="2089528" y="316262"/>
                  <a:pt x="2087446" y="315730"/>
                  <a:pt x="2085421" y="315932"/>
                </a:cubicBezTo>
                <a:cubicBezTo>
                  <a:pt x="2078248" y="315932"/>
                  <a:pt x="2068588" y="319461"/>
                  <a:pt x="2067374" y="323799"/>
                </a:cubicBezTo>
                <a:cubicBezTo>
                  <a:pt x="2067084" y="325667"/>
                  <a:pt x="2065464" y="327033"/>
                  <a:pt x="2063556" y="326980"/>
                </a:cubicBezTo>
                <a:cubicBezTo>
                  <a:pt x="2060895" y="326581"/>
                  <a:pt x="2058292" y="325592"/>
                  <a:pt x="2056036" y="324088"/>
                </a:cubicBezTo>
                <a:cubicBezTo>
                  <a:pt x="2053144" y="322584"/>
                  <a:pt x="2050251" y="320965"/>
                  <a:pt x="2048689" y="321717"/>
                </a:cubicBezTo>
                <a:lnTo>
                  <a:pt x="2046723" y="322758"/>
                </a:lnTo>
                <a:cubicBezTo>
                  <a:pt x="2041575" y="325667"/>
                  <a:pt x="2036253" y="328294"/>
                  <a:pt x="2030816" y="330625"/>
                </a:cubicBezTo>
                <a:cubicBezTo>
                  <a:pt x="2028791" y="331429"/>
                  <a:pt x="2026593" y="331805"/>
                  <a:pt x="2024395" y="331724"/>
                </a:cubicBezTo>
                <a:cubicBezTo>
                  <a:pt x="2021792" y="331666"/>
                  <a:pt x="2019189" y="331435"/>
                  <a:pt x="2016586" y="331030"/>
                </a:cubicBezTo>
                <a:cubicBezTo>
                  <a:pt x="2014446" y="330711"/>
                  <a:pt x="2012306" y="330521"/>
                  <a:pt x="2010166" y="330451"/>
                </a:cubicBezTo>
                <a:cubicBezTo>
                  <a:pt x="2007389" y="330451"/>
                  <a:pt x="2005827" y="331087"/>
                  <a:pt x="2005133" y="332476"/>
                </a:cubicBezTo>
                <a:cubicBezTo>
                  <a:pt x="2004902" y="332950"/>
                  <a:pt x="2004902" y="333505"/>
                  <a:pt x="2005133" y="333980"/>
                </a:cubicBezTo>
                <a:cubicBezTo>
                  <a:pt x="2006001" y="336120"/>
                  <a:pt x="2010918" y="337855"/>
                  <a:pt x="2014966" y="339128"/>
                </a:cubicBezTo>
                <a:cubicBezTo>
                  <a:pt x="2019016" y="340400"/>
                  <a:pt x="2021677" y="341499"/>
                  <a:pt x="2021908" y="343119"/>
                </a:cubicBezTo>
                <a:cubicBezTo>
                  <a:pt x="2022023" y="343495"/>
                  <a:pt x="2022023" y="343900"/>
                  <a:pt x="2021908" y="344276"/>
                </a:cubicBezTo>
                <a:cubicBezTo>
                  <a:pt x="2020751" y="345606"/>
                  <a:pt x="2015718" y="346127"/>
                  <a:pt x="2002588" y="347052"/>
                </a:cubicBezTo>
                <a:cubicBezTo>
                  <a:pt x="1993449" y="347689"/>
                  <a:pt x="1978235" y="348730"/>
                  <a:pt x="1976905" y="350581"/>
                </a:cubicBezTo>
                <a:cubicBezTo>
                  <a:pt x="1975633" y="355266"/>
                  <a:pt x="1965336" y="355671"/>
                  <a:pt x="1944859" y="356076"/>
                </a:cubicBezTo>
                <a:lnTo>
                  <a:pt x="1941562" y="356076"/>
                </a:lnTo>
                <a:cubicBezTo>
                  <a:pt x="1932134" y="356076"/>
                  <a:pt x="1929994" y="358737"/>
                  <a:pt x="1927680" y="361861"/>
                </a:cubicBezTo>
                <a:cubicBezTo>
                  <a:pt x="1924903" y="365534"/>
                  <a:pt x="1920681" y="367899"/>
                  <a:pt x="1916111" y="368397"/>
                </a:cubicBezTo>
                <a:lnTo>
                  <a:pt x="1911541" y="369265"/>
                </a:lnTo>
                <a:cubicBezTo>
                  <a:pt x="1899972" y="371405"/>
                  <a:pt x="1895055" y="372388"/>
                  <a:pt x="1891007" y="378462"/>
                </a:cubicBezTo>
                <a:cubicBezTo>
                  <a:pt x="1887941" y="382818"/>
                  <a:pt x="1882966" y="385392"/>
                  <a:pt x="1877644" y="385345"/>
                </a:cubicBezTo>
                <a:cubicBezTo>
                  <a:pt x="1874058" y="385478"/>
                  <a:pt x="1870587" y="384015"/>
                  <a:pt x="1868216" y="381354"/>
                </a:cubicBezTo>
                <a:cubicBezTo>
                  <a:pt x="1867232" y="380313"/>
                  <a:pt x="1865786" y="379763"/>
                  <a:pt x="1864340" y="379850"/>
                </a:cubicBezTo>
                <a:cubicBezTo>
                  <a:pt x="1861621" y="379810"/>
                  <a:pt x="1859018" y="380949"/>
                  <a:pt x="1857167" y="382974"/>
                </a:cubicBezTo>
                <a:lnTo>
                  <a:pt x="1857167" y="382974"/>
                </a:lnTo>
                <a:lnTo>
                  <a:pt x="1858266" y="382974"/>
                </a:lnTo>
                <a:cubicBezTo>
                  <a:pt x="1862200" y="383436"/>
                  <a:pt x="1862489" y="385577"/>
                  <a:pt x="1862431" y="386502"/>
                </a:cubicBezTo>
                <a:cubicBezTo>
                  <a:pt x="1861621" y="389690"/>
                  <a:pt x="1858787" y="391934"/>
                  <a:pt x="1855490" y="391940"/>
                </a:cubicBezTo>
                <a:cubicBezTo>
                  <a:pt x="1854911" y="391940"/>
                  <a:pt x="1854333" y="391841"/>
                  <a:pt x="1853754" y="391650"/>
                </a:cubicBezTo>
                <a:cubicBezTo>
                  <a:pt x="1853465" y="391581"/>
                  <a:pt x="1853176" y="391581"/>
                  <a:pt x="1852887" y="391650"/>
                </a:cubicBezTo>
                <a:cubicBezTo>
                  <a:pt x="1849242" y="392246"/>
                  <a:pt x="1845888" y="393941"/>
                  <a:pt x="1843285" y="396509"/>
                </a:cubicBezTo>
                <a:lnTo>
                  <a:pt x="1843921" y="396509"/>
                </a:lnTo>
                <a:cubicBezTo>
                  <a:pt x="1847623" y="395804"/>
                  <a:pt x="1851383" y="397551"/>
                  <a:pt x="1853234" y="400848"/>
                </a:cubicBezTo>
                <a:cubicBezTo>
                  <a:pt x="1854333" y="403266"/>
                  <a:pt x="1853870" y="406100"/>
                  <a:pt x="1852135" y="408078"/>
                </a:cubicBezTo>
                <a:cubicBezTo>
                  <a:pt x="1851094" y="409252"/>
                  <a:pt x="1849532" y="409854"/>
                  <a:pt x="1847970" y="409698"/>
                </a:cubicBezTo>
                <a:cubicBezTo>
                  <a:pt x="1845020" y="409449"/>
                  <a:pt x="1842070" y="408871"/>
                  <a:pt x="1839235" y="407963"/>
                </a:cubicBezTo>
                <a:cubicBezTo>
                  <a:pt x="1834781" y="406690"/>
                  <a:pt x="1830038" y="405591"/>
                  <a:pt x="1828650" y="406979"/>
                </a:cubicBezTo>
                <a:cubicBezTo>
                  <a:pt x="1828187" y="407292"/>
                  <a:pt x="1828014" y="407864"/>
                  <a:pt x="1828245" y="408367"/>
                </a:cubicBezTo>
                <a:cubicBezTo>
                  <a:pt x="1832005" y="412237"/>
                  <a:pt x="1837327" y="414140"/>
                  <a:pt x="1842706" y="413516"/>
                </a:cubicBezTo>
                <a:cubicBezTo>
                  <a:pt x="1849012" y="412492"/>
                  <a:pt x="1854969" y="416772"/>
                  <a:pt x="1855953" y="423083"/>
                </a:cubicBezTo>
                <a:cubicBezTo>
                  <a:pt x="1856010" y="423303"/>
                  <a:pt x="1856068" y="423528"/>
                  <a:pt x="1856068" y="423754"/>
                </a:cubicBezTo>
                <a:cubicBezTo>
                  <a:pt x="1856184" y="424471"/>
                  <a:pt x="1856010" y="425206"/>
                  <a:pt x="1855548" y="425779"/>
                </a:cubicBezTo>
                <a:cubicBezTo>
                  <a:pt x="1854738" y="426542"/>
                  <a:pt x="1853581" y="426924"/>
                  <a:pt x="1852482" y="426820"/>
                </a:cubicBezTo>
                <a:cubicBezTo>
                  <a:pt x="1850342" y="426681"/>
                  <a:pt x="1848202" y="426392"/>
                  <a:pt x="1846119" y="425952"/>
                </a:cubicBezTo>
                <a:cubicBezTo>
                  <a:pt x="1843632" y="425379"/>
                  <a:pt x="1841087" y="425032"/>
                  <a:pt x="1838541" y="424911"/>
                </a:cubicBezTo>
                <a:cubicBezTo>
                  <a:pt x="1837327" y="424743"/>
                  <a:pt x="1836112" y="425079"/>
                  <a:pt x="1835187" y="425836"/>
                </a:cubicBezTo>
                <a:cubicBezTo>
                  <a:pt x="1834550" y="426646"/>
                  <a:pt x="1834261" y="427340"/>
                  <a:pt x="1834493" y="427861"/>
                </a:cubicBezTo>
                <a:cubicBezTo>
                  <a:pt x="1834723" y="428382"/>
                  <a:pt x="1836170" y="430348"/>
                  <a:pt x="1844962" y="431274"/>
                </a:cubicBezTo>
                <a:cubicBezTo>
                  <a:pt x="1849416" y="431737"/>
                  <a:pt x="1850168" y="432951"/>
                  <a:pt x="1850746" y="435381"/>
                </a:cubicBezTo>
                <a:cubicBezTo>
                  <a:pt x="1851268" y="437694"/>
                  <a:pt x="1852540" y="439748"/>
                  <a:pt x="1854449" y="441165"/>
                </a:cubicBezTo>
                <a:cubicBezTo>
                  <a:pt x="1854969" y="441605"/>
                  <a:pt x="1855490" y="442108"/>
                  <a:pt x="1855895" y="442669"/>
                </a:cubicBezTo>
                <a:cubicBezTo>
                  <a:pt x="1858903" y="446198"/>
                  <a:pt x="1856705" y="448454"/>
                  <a:pt x="1855143" y="450652"/>
                </a:cubicBezTo>
                <a:cubicBezTo>
                  <a:pt x="1853581" y="452850"/>
                  <a:pt x="1853002" y="453197"/>
                  <a:pt x="1853234" y="454759"/>
                </a:cubicBezTo>
                <a:cubicBezTo>
                  <a:pt x="1853465" y="456315"/>
                  <a:pt x="1853060" y="457899"/>
                  <a:pt x="1852019" y="459097"/>
                </a:cubicBezTo>
                <a:cubicBezTo>
                  <a:pt x="1850168" y="461295"/>
                  <a:pt x="1846986" y="461816"/>
                  <a:pt x="1844557" y="460312"/>
                </a:cubicBezTo>
                <a:cubicBezTo>
                  <a:pt x="1843690" y="459577"/>
                  <a:pt x="1843227" y="458489"/>
                  <a:pt x="1843285" y="457361"/>
                </a:cubicBezTo>
                <a:cubicBezTo>
                  <a:pt x="1843285" y="456031"/>
                  <a:pt x="1838310" y="454007"/>
                  <a:pt x="1830733" y="454007"/>
                </a:cubicBezTo>
                <a:cubicBezTo>
                  <a:pt x="1826626" y="453474"/>
                  <a:pt x="1822518" y="454510"/>
                  <a:pt x="1819164" y="456899"/>
                </a:cubicBezTo>
                <a:lnTo>
                  <a:pt x="1819164" y="456899"/>
                </a:lnTo>
                <a:cubicBezTo>
                  <a:pt x="1816098" y="460601"/>
                  <a:pt x="1813379" y="463724"/>
                  <a:pt x="1810025" y="463724"/>
                </a:cubicBezTo>
                <a:cubicBezTo>
                  <a:pt x="1807999" y="463597"/>
                  <a:pt x="1806149" y="462706"/>
                  <a:pt x="1804761" y="461237"/>
                </a:cubicBezTo>
                <a:cubicBezTo>
                  <a:pt x="1803083" y="460034"/>
                  <a:pt x="1801058" y="459479"/>
                  <a:pt x="1798976" y="459675"/>
                </a:cubicBezTo>
                <a:cubicBezTo>
                  <a:pt x="1794696" y="459872"/>
                  <a:pt x="1790473" y="460375"/>
                  <a:pt x="1786250" y="461179"/>
                </a:cubicBezTo>
                <a:cubicBezTo>
                  <a:pt x="1779367" y="462406"/>
                  <a:pt x="1772368" y="463198"/>
                  <a:pt x="1765368" y="463551"/>
                </a:cubicBezTo>
                <a:lnTo>
                  <a:pt x="1764443" y="463551"/>
                </a:lnTo>
                <a:cubicBezTo>
                  <a:pt x="1745065" y="464361"/>
                  <a:pt x="1704748" y="465980"/>
                  <a:pt x="1695030" y="469335"/>
                </a:cubicBezTo>
                <a:cubicBezTo>
                  <a:pt x="1689014" y="471707"/>
                  <a:pt x="1684502" y="476797"/>
                  <a:pt x="1682824" y="483044"/>
                </a:cubicBezTo>
                <a:cubicBezTo>
                  <a:pt x="1681784" y="487221"/>
                  <a:pt x="1683056" y="491640"/>
                  <a:pt x="1686180" y="494613"/>
                </a:cubicBezTo>
                <a:cubicBezTo>
                  <a:pt x="1691096" y="498136"/>
                  <a:pt x="1692196" y="504967"/>
                  <a:pt x="1688667" y="509873"/>
                </a:cubicBezTo>
                <a:cubicBezTo>
                  <a:pt x="1688667" y="509878"/>
                  <a:pt x="1688667" y="509878"/>
                  <a:pt x="1688667" y="509884"/>
                </a:cubicBezTo>
                <a:cubicBezTo>
                  <a:pt x="1687684" y="511353"/>
                  <a:pt x="1687105" y="513042"/>
                  <a:pt x="1686932" y="514801"/>
                </a:cubicBezTo>
                <a:cubicBezTo>
                  <a:pt x="1686932" y="519660"/>
                  <a:pt x="1709606" y="532154"/>
                  <a:pt x="1723027" y="533485"/>
                </a:cubicBezTo>
                <a:cubicBezTo>
                  <a:pt x="1730951" y="534584"/>
                  <a:pt x="1737719" y="539680"/>
                  <a:pt x="1740958" y="546962"/>
                </a:cubicBezTo>
                <a:cubicBezTo>
                  <a:pt x="1743388" y="551810"/>
                  <a:pt x="1742867" y="557623"/>
                  <a:pt x="1739570" y="561944"/>
                </a:cubicBezTo>
                <a:cubicBezTo>
                  <a:pt x="1737256" y="564645"/>
                  <a:pt x="1733843" y="566086"/>
                  <a:pt x="1730315" y="565820"/>
                </a:cubicBezTo>
                <a:cubicBezTo>
                  <a:pt x="1719093" y="565820"/>
                  <a:pt x="1702434" y="555813"/>
                  <a:pt x="1691559" y="547252"/>
                </a:cubicBezTo>
                <a:cubicBezTo>
                  <a:pt x="1677387" y="536030"/>
                  <a:pt x="1645283" y="531229"/>
                  <a:pt x="1632442" y="531229"/>
                </a:cubicBezTo>
                <a:lnTo>
                  <a:pt x="1628220" y="531229"/>
                </a:lnTo>
                <a:cubicBezTo>
                  <a:pt x="1624286" y="532067"/>
                  <a:pt x="1620295" y="529979"/>
                  <a:pt x="1618733" y="526254"/>
                </a:cubicBezTo>
                <a:cubicBezTo>
                  <a:pt x="1617055" y="522575"/>
                  <a:pt x="1613122" y="520487"/>
                  <a:pt x="1609131" y="521164"/>
                </a:cubicBezTo>
                <a:lnTo>
                  <a:pt x="1608379" y="521164"/>
                </a:lnTo>
                <a:cubicBezTo>
                  <a:pt x="1597447" y="521164"/>
                  <a:pt x="1588423" y="528915"/>
                  <a:pt x="1588481" y="531691"/>
                </a:cubicBezTo>
                <a:cubicBezTo>
                  <a:pt x="1588481" y="532559"/>
                  <a:pt x="1590216" y="532617"/>
                  <a:pt x="1590968" y="532617"/>
                </a:cubicBezTo>
                <a:lnTo>
                  <a:pt x="1597736" y="532617"/>
                </a:lnTo>
                <a:cubicBezTo>
                  <a:pt x="1602306" y="532617"/>
                  <a:pt x="1604504" y="532617"/>
                  <a:pt x="1605140" y="534526"/>
                </a:cubicBezTo>
                <a:cubicBezTo>
                  <a:pt x="1605776" y="536435"/>
                  <a:pt x="1604388" y="537418"/>
                  <a:pt x="1603058" y="538691"/>
                </a:cubicBezTo>
                <a:cubicBezTo>
                  <a:pt x="1601727" y="539963"/>
                  <a:pt x="1601785" y="540195"/>
                  <a:pt x="1601785" y="540252"/>
                </a:cubicBezTo>
                <a:cubicBezTo>
                  <a:pt x="1603288" y="541062"/>
                  <a:pt x="1604908" y="541629"/>
                  <a:pt x="1606586" y="541930"/>
                </a:cubicBezTo>
                <a:cubicBezTo>
                  <a:pt x="1610346" y="542913"/>
                  <a:pt x="1614106" y="544168"/>
                  <a:pt x="1617692" y="545690"/>
                </a:cubicBezTo>
                <a:cubicBezTo>
                  <a:pt x="1621567" y="547367"/>
                  <a:pt x="1622088" y="549276"/>
                  <a:pt x="1621799" y="550607"/>
                </a:cubicBezTo>
                <a:cubicBezTo>
                  <a:pt x="1621105" y="554019"/>
                  <a:pt x="1614626" y="555755"/>
                  <a:pt x="1608668" y="555755"/>
                </a:cubicBezTo>
                <a:cubicBezTo>
                  <a:pt x="1603462" y="555899"/>
                  <a:pt x="1598372" y="554488"/>
                  <a:pt x="1593976" y="551706"/>
                </a:cubicBezTo>
                <a:cubicBezTo>
                  <a:pt x="1590795" y="549450"/>
                  <a:pt x="1586977" y="548235"/>
                  <a:pt x="1583101" y="548235"/>
                </a:cubicBezTo>
                <a:cubicBezTo>
                  <a:pt x="1576276" y="548339"/>
                  <a:pt x="1569971" y="551746"/>
                  <a:pt x="1566095" y="557374"/>
                </a:cubicBezTo>
                <a:cubicBezTo>
                  <a:pt x="1565632" y="558971"/>
                  <a:pt x="1565863" y="560700"/>
                  <a:pt x="1566731" y="562118"/>
                </a:cubicBezTo>
                <a:cubicBezTo>
                  <a:pt x="1574714" y="573935"/>
                  <a:pt x="1587324" y="581866"/>
                  <a:pt x="1601438" y="583983"/>
                </a:cubicBezTo>
                <a:cubicBezTo>
                  <a:pt x="1615378" y="586065"/>
                  <a:pt x="1617981" y="589767"/>
                  <a:pt x="1620295" y="592949"/>
                </a:cubicBezTo>
                <a:cubicBezTo>
                  <a:pt x="1621567" y="595193"/>
                  <a:pt x="1623650" y="596899"/>
                  <a:pt x="1626079" y="597750"/>
                </a:cubicBezTo>
                <a:cubicBezTo>
                  <a:pt x="1630186" y="599196"/>
                  <a:pt x="1631864" y="600989"/>
                  <a:pt x="1631864" y="603071"/>
                </a:cubicBezTo>
                <a:cubicBezTo>
                  <a:pt x="1631401" y="606311"/>
                  <a:pt x="1625617" y="607815"/>
                  <a:pt x="1621799" y="608046"/>
                </a:cubicBezTo>
                <a:lnTo>
                  <a:pt x="1621337" y="608046"/>
                </a:lnTo>
                <a:cubicBezTo>
                  <a:pt x="1616361" y="608046"/>
                  <a:pt x="1608900" y="603360"/>
                  <a:pt x="1600975" y="598386"/>
                </a:cubicBezTo>
                <a:cubicBezTo>
                  <a:pt x="1597157" y="596014"/>
                  <a:pt x="1593281" y="593585"/>
                  <a:pt x="1589753" y="591734"/>
                </a:cubicBezTo>
                <a:cubicBezTo>
                  <a:pt x="1585646" y="590091"/>
                  <a:pt x="1581192" y="589397"/>
                  <a:pt x="1576738" y="589709"/>
                </a:cubicBezTo>
                <a:cubicBezTo>
                  <a:pt x="1573268" y="589709"/>
                  <a:pt x="1569508" y="589709"/>
                  <a:pt x="1565921" y="590114"/>
                </a:cubicBezTo>
                <a:cubicBezTo>
                  <a:pt x="1562335" y="590519"/>
                  <a:pt x="1558864" y="590519"/>
                  <a:pt x="1555741" y="590519"/>
                </a:cubicBezTo>
                <a:cubicBezTo>
                  <a:pt x="1548857" y="590519"/>
                  <a:pt x="1544924" y="589536"/>
                  <a:pt x="1542957" y="587453"/>
                </a:cubicBezTo>
                <a:cubicBezTo>
                  <a:pt x="1540355" y="584422"/>
                  <a:pt x="1539891" y="580072"/>
                  <a:pt x="1541858" y="576579"/>
                </a:cubicBezTo>
                <a:cubicBezTo>
                  <a:pt x="1542957" y="573455"/>
                  <a:pt x="1543478" y="571604"/>
                  <a:pt x="1541395" y="569811"/>
                </a:cubicBezTo>
                <a:cubicBezTo>
                  <a:pt x="1534454" y="564026"/>
                  <a:pt x="1541395" y="550664"/>
                  <a:pt x="1547700" y="541294"/>
                </a:cubicBezTo>
                <a:cubicBezTo>
                  <a:pt x="1550824" y="535521"/>
                  <a:pt x="1551113" y="528631"/>
                  <a:pt x="1548510" y="522610"/>
                </a:cubicBezTo>
                <a:cubicBezTo>
                  <a:pt x="1546659" y="516571"/>
                  <a:pt x="1542321" y="511619"/>
                  <a:pt x="1536595" y="509016"/>
                </a:cubicBezTo>
                <a:cubicBezTo>
                  <a:pt x="1533181" y="507975"/>
                  <a:pt x="1530810" y="508438"/>
                  <a:pt x="1529826" y="510463"/>
                </a:cubicBezTo>
                <a:cubicBezTo>
                  <a:pt x="1528843" y="513025"/>
                  <a:pt x="1529132" y="515883"/>
                  <a:pt x="1530578" y="518214"/>
                </a:cubicBezTo>
                <a:cubicBezTo>
                  <a:pt x="1533355" y="521974"/>
                  <a:pt x="1531967" y="537881"/>
                  <a:pt x="1523637" y="548235"/>
                </a:cubicBezTo>
                <a:cubicBezTo>
                  <a:pt x="1519299" y="553672"/>
                  <a:pt x="1510680" y="556217"/>
                  <a:pt x="1503102" y="558473"/>
                </a:cubicBezTo>
                <a:cubicBezTo>
                  <a:pt x="1497318" y="560209"/>
                  <a:pt x="1491187" y="562002"/>
                  <a:pt x="1491187" y="564258"/>
                </a:cubicBezTo>
                <a:cubicBezTo>
                  <a:pt x="1491187" y="567960"/>
                  <a:pt x="1487369" y="571026"/>
                  <a:pt x="1484014" y="573744"/>
                </a:cubicBezTo>
                <a:cubicBezTo>
                  <a:pt x="1481700" y="575595"/>
                  <a:pt x="1479097" y="577620"/>
                  <a:pt x="1479097" y="579066"/>
                </a:cubicBezTo>
                <a:cubicBezTo>
                  <a:pt x="1479097" y="579066"/>
                  <a:pt x="1479097" y="579702"/>
                  <a:pt x="1479907" y="580396"/>
                </a:cubicBezTo>
                <a:cubicBezTo>
                  <a:pt x="1485691" y="585255"/>
                  <a:pt x="1507961" y="610417"/>
                  <a:pt x="1511317" y="618342"/>
                </a:cubicBezTo>
                <a:cubicBezTo>
                  <a:pt x="1512994" y="622276"/>
                  <a:pt x="1509291" y="628870"/>
                  <a:pt x="1504606" y="637199"/>
                </a:cubicBezTo>
                <a:cubicBezTo>
                  <a:pt x="1499285" y="646570"/>
                  <a:pt x="1493038" y="657156"/>
                  <a:pt x="1495178" y="664560"/>
                </a:cubicBezTo>
                <a:cubicBezTo>
                  <a:pt x="1496566" y="670263"/>
                  <a:pt x="1496566" y="676210"/>
                  <a:pt x="1495178" y="681913"/>
                </a:cubicBezTo>
                <a:cubicBezTo>
                  <a:pt x="1494079" y="685222"/>
                  <a:pt x="1494368" y="688826"/>
                  <a:pt x="1495988" y="691920"/>
                </a:cubicBezTo>
                <a:cubicBezTo>
                  <a:pt x="1497492" y="694020"/>
                  <a:pt x="1499979" y="695131"/>
                  <a:pt x="1502524" y="694812"/>
                </a:cubicBezTo>
                <a:cubicBezTo>
                  <a:pt x="1503970" y="694801"/>
                  <a:pt x="1505358" y="694702"/>
                  <a:pt x="1506805" y="694523"/>
                </a:cubicBezTo>
                <a:cubicBezTo>
                  <a:pt x="1508309" y="694523"/>
                  <a:pt x="1509870" y="694234"/>
                  <a:pt x="1511374" y="694234"/>
                </a:cubicBezTo>
                <a:cubicBezTo>
                  <a:pt x="1513109" y="694170"/>
                  <a:pt x="1514845" y="694483"/>
                  <a:pt x="1516465" y="695159"/>
                </a:cubicBezTo>
                <a:cubicBezTo>
                  <a:pt x="1521728" y="695883"/>
                  <a:pt x="1527050" y="695015"/>
                  <a:pt x="1531793" y="692672"/>
                </a:cubicBezTo>
                <a:cubicBezTo>
                  <a:pt x="1536999" y="690798"/>
                  <a:pt x="1542321" y="689294"/>
                  <a:pt x="1547700" y="688160"/>
                </a:cubicBezTo>
                <a:cubicBezTo>
                  <a:pt x="1549031" y="687929"/>
                  <a:pt x="1550419" y="687807"/>
                  <a:pt x="1551750" y="687813"/>
                </a:cubicBezTo>
                <a:cubicBezTo>
                  <a:pt x="1565111" y="687813"/>
                  <a:pt x="1584258" y="697589"/>
                  <a:pt x="1595653" y="703431"/>
                </a:cubicBezTo>
                <a:cubicBezTo>
                  <a:pt x="1597736" y="704472"/>
                  <a:pt x="1599471" y="705398"/>
                  <a:pt x="1600917" y="706034"/>
                </a:cubicBezTo>
                <a:cubicBezTo>
                  <a:pt x="1605776" y="708238"/>
                  <a:pt x="1608842" y="713132"/>
                  <a:pt x="1608726" y="718471"/>
                </a:cubicBezTo>
                <a:cubicBezTo>
                  <a:pt x="1608958" y="721623"/>
                  <a:pt x="1609883" y="724689"/>
                  <a:pt x="1611445" y="727437"/>
                </a:cubicBezTo>
                <a:cubicBezTo>
                  <a:pt x="1614684" y="732411"/>
                  <a:pt x="1610635" y="735130"/>
                  <a:pt x="1607106" y="737559"/>
                </a:cubicBezTo>
                <a:cubicBezTo>
                  <a:pt x="1602190" y="739937"/>
                  <a:pt x="1599182" y="744958"/>
                  <a:pt x="1599298" y="750401"/>
                </a:cubicBezTo>
                <a:cubicBezTo>
                  <a:pt x="1599298" y="757573"/>
                  <a:pt x="1612312" y="762548"/>
                  <a:pt x="1621105" y="765845"/>
                </a:cubicBezTo>
                <a:cubicBezTo>
                  <a:pt x="1627410" y="768217"/>
                  <a:pt x="1630186" y="769316"/>
                  <a:pt x="1630707" y="770993"/>
                </a:cubicBezTo>
                <a:cubicBezTo>
                  <a:pt x="1630996" y="771508"/>
                  <a:pt x="1630996" y="772156"/>
                  <a:pt x="1630707" y="772671"/>
                </a:cubicBezTo>
                <a:cubicBezTo>
                  <a:pt x="1630244" y="773365"/>
                  <a:pt x="1629087" y="774175"/>
                  <a:pt x="1624460" y="774175"/>
                </a:cubicBezTo>
                <a:cubicBezTo>
                  <a:pt x="1615783" y="773955"/>
                  <a:pt x="1607164" y="772538"/>
                  <a:pt x="1598835" y="769952"/>
                </a:cubicBezTo>
                <a:cubicBezTo>
                  <a:pt x="1593513" y="767367"/>
                  <a:pt x="1589579" y="762531"/>
                  <a:pt x="1588191" y="756764"/>
                </a:cubicBezTo>
                <a:cubicBezTo>
                  <a:pt x="1587729" y="755202"/>
                  <a:pt x="1586977" y="753732"/>
                  <a:pt x="1585993" y="752425"/>
                </a:cubicBezTo>
                <a:cubicBezTo>
                  <a:pt x="1583795" y="750574"/>
                  <a:pt x="1585993" y="746988"/>
                  <a:pt x="1588076" y="742476"/>
                </a:cubicBezTo>
                <a:cubicBezTo>
                  <a:pt x="1590158" y="739150"/>
                  <a:pt x="1591662" y="735465"/>
                  <a:pt x="1592414" y="731601"/>
                </a:cubicBezTo>
                <a:cubicBezTo>
                  <a:pt x="1592935" y="727205"/>
                  <a:pt x="1588712" y="723850"/>
                  <a:pt x="1584721" y="720553"/>
                </a:cubicBezTo>
                <a:cubicBezTo>
                  <a:pt x="1582580" y="718974"/>
                  <a:pt x="1580614" y="717129"/>
                  <a:pt x="1578936" y="715058"/>
                </a:cubicBezTo>
                <a:cubicBezTo>
                  <a:pt x="1573152" y="706728"/>
                  <a:pt x="1567367" y="703084"/>
                  <a:pt x="1562740" y="704183"/>
                </a:cubicBezTo>
                <a:cubicBezTo>
                  <a:pt x="1561063" y="704530"/>
                  <a:pt x="1558575" y="704935"/>
                  <a:pt x="1555336" y="705456"/>
                </a:cubicBezTo>
                <a:cubicBezTo>
                  <a:pt x="1544866" y="707075"/>
                  <a:pt x="1527282" y="709794"/>
                  <a:pt x="1521266" y="715231"/>
                </a:cubicBezTo>
                <a:cubicBezTo>
                  <a:pt x="1513861" y="721884"/>
                  <a:pt x="1522712" y="741840"/>
                  <a:pt x="1527050" y="751442"/>
                </a:cubicBezTo>
                <a:lnTo>
                  <a:pt x="1527050" y="751905"/>
                </a:lnTo>
                <a:cubicBezTo>
                  <a:pt x="1529884" y="758325"/>
                  <a:pt x="1522076" y="765324"/>
                  <a:pt x="1514613" y="772150"/>
                </a:cubicBezTo>
                <a:cubicBezTo>
                  <a:pt x="1509523" y="776778"/>
                  <a:pt x="1504202" y="781521"/>
                  <a:pt x="1504491" y="784529"/>
                </a:cubicBezTo>
                <a:cubicBezTo>
                  <a:pt x="1505358" y="792396"/>
                  <a:pt x="1497896" y="796098"/>
                  <a:pt x="1487600" y="801593"/>
                </a:cubicBezTo>
                <a:lnTo>
                  <a:pt x="1483319" y="803849"/>
                </a:lnTo>
                <a:lnTo>
                  <a:pt x="1477535" y="806625"/>
                </a:lnTo>
                <a:cubicBezTo>
                  <a:pt x="1467644" y="811658"/>
                  <a:pt x="1458273" y="816343"/>
                  <a:pt x="1458563" y="824615"/>
                </a:cubicBezTo>
                <a:cubicBezTo>
                  <a:pt x="1458794" y="826449"/>
                  <a:pt x="1458215" y="828288"/>
                  <a:pt x="1456943" y="829647"/>
                </a:cubicBezTo>
                <a:cubicBezTo>
                  <a:pt x="1455381" y="831111"/>
                  <a:pt x="1453299" y="831863"/>
                  <a:pt x="1451158" y="831730"/>
                </a:cubicBezTo>
                <a:cubicBezTo>
                  <a:pt x="1444564" y="831140"/>
                  <a:pt x="1438143" y="829046"/>
                  <a:pt x="1432475" y="825598"/>
                </a:cubicBezTo>
                <a:cubicBezTo>
                  <a:pt x="1427153" y="823776"/>
                  <a:pt x="1421311" y="823903"/>
                  <a:pt x="1416047" y="825945"/>
                </a:cubicBezTo>
                <a:cubicBezTo>
                  <a:pt x="1411651" y="827264"/>
                  <a:pt x="1407081" y="828022"/>
                  <a:pt x="1402453" y="828201"/>
                </a:cubicBezTo>
                <a:lnTo>
                  <a:pt x="1401470" y="828201"/>
                </a:lnTo>
                <a:cubicBezTo>
                  <a:pt x="1397016" y="828045"/>
                  <a:pt x="1392736" y="826327"/>
                  <a:pt x="1389438" y="823342"/>
                </a:cubicBezTo>
                <a:cubicBezTo>
                  <a:pt x="1387876" y="821757"/>
                  <a:pt x="1385852" y="820757"/>
                  <a:pt x="1383654" y="820508"/>
                </a:cubicBezTo>
                <a:cubicBezTo>
                  <a:pt x="1382497" y="820566"/>
                  <a:pt x="1381340" y="820820"/>
                  <a:pt x="1380241" y="821260"/>
                </a:cubicBezTo>
                <a:cubicBezTo>
                  <a:pt x="1375440" y="823354"/>
                  <a:pt x="1369771" y="821931"/>
                  <a:pt x="1366532" y="817789"/>
                </a:cubicBezTo>
                <a:cubicBezTo>
                  <a:pt x="1364624" y="814920"/>
                  <a:pt x="1364218" y="811282"/>
                  <a:pt x="1365491" y="808071"/>
                </a:cubicBezTo>
                <a:cubicBezTo>
                  <a:pt x="1366301" y="805578"/>
                  <a:pt x="1368672" y="803901"/>
                  <a:pt x="1371275" y="803907"/>
                </a:cubicBezTo>
                <a:cubicBezTo>
                  <a:pt x="1376192" y="804040"/>
                  <a:pt x="1380473" y="807267"/>
                  <a:pt x="1381977" y="811947"/>
                </a:cubicBezTo>
                <a:cubicBezTo>
                  <a:pt x="1381977" y="813393"/>
                  <a:pt x="1382902" y="813972"/>
                  <a:pt x="1384464" y="813972"/>
                </a:cubicBezTo>
                <a:cubicBezTo>
                  <a:pt x="1388570" y="813341"/>
                  <a:pt x="1392562" y="811820"/>
                  <a:pt x="1396033" y="809518"/>
                </a:cubicBezTo>
                <a:cubicBezTo>
                  <a:pt x="1397190" y="808777"/>
                  <a:pt x="1398520" y="808343"/>
                  <a:pt x="1399908" y="808245"/>
                </a:cubicBezTo>
                <a:cubicBezTo>
                  <a:pt x="1401991" y="808245"/>
                  <a:pt x="1403032" y="809691"/>
                  <a:pt x="1404073" y="811137"/>
                </a:cubicBezTo>
                <a:cubicBezTo>
                  <a:pt x="1405809" y="814105"/>
                  <a:pt x="1409048" y="815898"/>
                  <a:pt x="1412460" y="815823"/>
                </a:cubicBezTo>
                <a:cubicBezTo>
                  <a:pt x="1417898" y="816170"/>
                  <a:pt x="1418824" y="814955"/>
                  <a:pt x="1419691" y="813451"/>
                </a:cubicBezTo>
                <a:cubicBezTo>
                  <a:pt x="1420559" y="811947"/>
                  <a:pt x="1421600" y="810154"/>
                  <a:pt x="1426575" y="810617"/>
                </a:cubicBezTo>
                <a:lnTo>
                  <a:pt x="1429235" y="810617"/>
                </a:lnTo>
                <a:cubicBezTo>
                  <a:pt x="1432359" y="810617"/>
                  <a:pt x="1433111" y="809923"/>
                  <a:pt x="1433285" y="809575"/>
                </a:cubicBezTo>
                <a:cubicBezTo>
                  <a:pt x="1433458" y="809228"/>
                  <a:pt x="1433574" y="808245"/>
                  <a:pt x="1432012" y="805758"/>
                </a:cubicBezTo>
                <a:cubicBezTo>
                  <a:pt x="1431318" y="804774"/>
                  <a:pt x="1431145" y="803542"/>
                  <a:pt x="1431491" y="802403"/>
                </a:cubicBezTo>
                <a:cubicBezTo>
                  <a:pt x="1432533" y="799106"/>
                  <a:pt x="1437912" y="796618"/>
                  <a:pt x="1442713" y="794825"/>
                </a:cubicBezTo>
                <a:lnTo>
                  <a:pt x="1444622" y="794015"/>
                </a:lnTo>
                <a:cubicBezTo>
                  <a:pt x="1447456" y="792800"/>
                  <a:pt x="1448092" y="790024"/>
                  <a:pt x="1448729" y="787074"/>
                </a:cubicBezTo>
                <a:cubicBezTo>
                  <a:pt x="1448960" y="784049"/>
                  <a:pt x="1450522" y="781284"/>
                  <a:pt x="1453009" y="779554"/>
                </a:cubicBezTo>
                <a:cubicBezTo>
                  <a:pt x="1454629" y="778623"/>
                  <a:pt x="1455670" y="776992"/>
                  <a:pt x="1455843" y="775158"/>
                </a:cubicBezTo>
                <a:cubicBezTo>
                  <a:pt x="1456307" y="773249"/>
                  <a:pt x="1456943" y="770762"/>
                  <a:pt x="1460761" y="770531"/>
                </a:cubicBezTo>
                <a:cubicBezTo>
                  <a:pt x="1463132" y="770531"/>
                  <a:pt x="1464925" y="768332"/>
                  <a:pt x="1466834" y="766250"/>
                </a:cubicBezTo>
                <a:cubicBezTo>
                  <a:pt x="1468512" y="763745"/>
                  <a:pt x="1471172" y="762068"/>
                  <a:pt x="1474122" y="761623"/>
                </a:cubicBezTo>
                <a:cubicBezTo>
                  <a:pt x="1475974" y="761478"/>
                  <a:pt x="1477593" y="760286"/>
                  <a:pt x="1478229" y="758557"/>
                </a:cubicBezTo>
                <a:cubicBezTo>
                  <a:pt x="1479675" y="756046"/>
                  <a:pt x="1479675" y="752969"/>
                  <a:pt x="1478229" y="750459"/>
                </a:cubicBezTo>
                <a:cubicBezTo>
                  <a:pt x="1476726" y="747387"/>
                  <a:pt x="1476726" y="743812"/>
                  <a:pt x="1478229" y="740741"/>
                </a:cubicBezTo>
                <a:cubicBezTo>
                  <a:pt x="1479386" y="736356"/>
                  <a:pt x="1482337" y="732660"/>
                  <a:pt x="1486327" y="730560"/>
                </a:cubicBezTo>
                <a:cubicBezTo>
                  <a:pt x="1487947" y="730265"/>
                  <a:pt x="1489220" y="729073"/>
                  <a:pt x="1489683" y="727494"/>
                </a:cubicBezTo>
                <a:cubicBezTo>
                  <a:pt x="1489683" y="725418"/>
                  <a:pt x="1488583" y="723497"/>
                  <a:pt x="1486791" y="722462"/>
                </a:cubicBezTo>
                <a:lnTo>
                  <a:pt x="1485113" y="721247"/>
                </a:lnTo>
                <a:cubicBezTo>
                  <a:pt x="1474585" y="713496"/>
                  <a:pt x="1463884" y="704704"/>
                  <a:pt x="1464983" y="698109"/>
                </a:cubicBezTo>
                <a:cubicBezTo>
                  <a:pt x="1465214" y="693875"/>
                  <a:pt x="1464983" y="689624"/>
                  <a:pt x="1464289" y="685442"/>
                </a:cubicBezTo>
                <a:cubicBezTo>
                  <a:pt x="1463132" y="680374"/>
                  <a:pt x="1463132" y="675122"/>
                  <a:pt x="1464289" y="670055"/>
                </a:cubicBezTo>
                <a:cubicBezTo>
                  <a:pt x="1465735" y="662697"/>
                  <a:pt x="1465735" y="655143"/>
                  <a:pt x="1464289" y="647785"/>
                </a:cubicBezTo>
                <a:cubicBezTo>
                  <a:pt x="1464289" y="646686"/>
                  <a:pt x="1464289" y="645645"/>
                  <a:pt x="1463884" y="644661"/>
                </a:cubicBezTo>
                <a:cubicBezTo>
                  <a:pt x="1463826" y="639791"/>
                  <a:pt x="1464810" y="634961"/>
                  <a:pt x="1466718" y="630489"/>
                </a:cubicBezTo>
                <a:cubicBezTo>
                  <a:pt x="1468454" y="625665"/>
                  <a:pt x="1469842" y="620714"/>
                  <a:pt x="1470826" y="615681"/>
                </a:cubicBezTo>
                <a:cubicBezTo>
                  <a:pt x="1473197" y="602609"/>
                  <a:pt x="1456307" y="589015"/>
                  <a:pt x="1449250" y="585834"/>
                </a:cubicBezTo>
                <a:cubicBezTo>
                  <a:pt x="1446936" y="585105"/>
                  <a:pt x="1445200" y="583173"/>
                  <a:pt x="1444738" y="580801"/>
                </a:cubicBezTo>
                <a:cubicBezTo>
                  <a:pt x="1444217" y="576694"/>
                  <a:pt x="1448266" y="571315"/>
                  <a:pt x="1457869" y="563448"/>
                </a:cubicBezTo>
                <a:cubicBezTo>
                  <a:pt x="1469437" y="554135"/>
                  <a:pt x="1469958" y="524692"/>
                  <a:pt x="1469437" y="517982"/>
                </a:cubicBezTo>
                <a:cubicBezTo>
                  <a:pt x="1468800" y="513297"/>
                  <a:pt x="1449944" y="507628"/>
                  <a:pt x="1438490" y="507628"/>
                </a:cubicBezTo>
                <a:lnTo>
                  <a:pt x="1436697" y="507628"/>
                </a:lnTo>
                <a:cubicBezTo>
                  <a:pt x="1435020" y="507628"/>
                  <a:pt x="1432475" y="507628"/>
                  <a:pt x="1429119" y="507628"/>
                </a:cubicBezTo>
                <a:cubicBezTo>
                  <a:pt x="1414138" y="507634"/>
                  <a:pt x="1399156" y="506743"/>
                  <a:pt x="1384290" y="504967"/>
                </a:cubicBezTo>
                <a:cubicBezTo>
                  <a:pt x="1377754" y="503695"/>
                  <a:pt x="1375035" y="509595"/>
                  <a:pt x="1371738" y="516536"/>
                </a:cubicBezTo>
                <a:lnTo>
                  <a:pt x="1370176" y="519776"/>
                </a:lnTo>
                <a:cubicBezTo>
                  <a:pt x="1369135" y="521858"/>
                  <a:pt x="1367805" y="524229"/>
                  <a:pt x="1366243" y="526948"/>
                </a:cubicBezTo>
                <a:cubicBezTo>
                  <a:pt x="1360227" y="536788"/>
                  <a:pt x="1355484" y="547338"/>
                  <a:pt x="1352071" y="558358"/>
                </a:cubicBezTo>
                <a:cubicBezTo>
                  <a:pt x="1347327" y="574728"/>
                  <a:pt x="1329801" y="581495"/>
                  <a:pt x="1319331" y="585313"/>
                </a:cubicBezTo>
                <a:lnTo>
                  <a:pt x="1315051" y="586933"/>
                </a:lnTo>
                <a:cubicBezTo>
                  <a:pt x="1309498" y="589489"/>
                  <a:pt x="1305275" y="594308"/>
                  <a:pt x="1303482" y="600179"/>
                </a:cubicBezTo>
                <a:cubicBezTo>
                  <a:pt x="1302325" y="603089"/>
                  <a:pt x="1302556" y="606351"/>
                  <a:pt x="1304060" y="609087"/>
                </a:cubicBezTo>
                <a:cubicBezTo>
                  <a:pt x="1305275" y="611060"/>
                  <a:pt x="1307531" y="612182"/>
                  <a:pt x="1309845" y="611979"/>
                </a:cubicBezTo>
                <a:cubicBezTo>
                  <a:pt x="1310828" y="611979"/>
                  <a:pt x="1311754" y="611979"/>
                  <a:pt x="1312679" y="611979"/>
                </a:cubicBezTo>
                <a:cubicBezTo>
                  <a:pt x="1314877" y="611493"/>
                  <a:pt x="1317191" y="611696"/>
                  <a:pt x="1319273" y="612558"/>
                </a:cubicBezTo>
                <a:cubicBezTo>
                  <a:pt x="1320777" y="613547"/>
                  <a:pt x="1321645" y="615230"/>
                  <a:pt x="1321587" y="617012"/>
                </a:cubicBezTo>
                <a:cubicBezTo>
                  <a:pt x="1321819" y="623820"/>
                  <a:pt x="1319967" y="630530"/>
                  <a:pt x="1316208" y="636216"/>
                </a:cubicBezTo>
                <a:cubicBezTo>
                  <a:pt x="1315745" y="636621"/>
                  <a:pt x="1316208" y="637662"/>
                  <a:pt x="1316728" y="639224"/>
                </a:cubicBezTo>
                <a:cubicBezTo>
                  <a:pt x="1318869" y="642504"/>
                  <a:pt x="1318001" y="646917"/>
                  <a:pt x="1314704" y="649081"/>
                </a:cubicBezTo>
                <a:cubicBezTo>
                  <a:pt x="1314646" y="649133"/>
                  <a:pt x="1314530" y="649185"/>
                  <a:pt x="1314472" y="649231"/>
                </a:cubicBezTo>
                <a:cubicBezTo>
                  <a:pt x="1309672" y="652141"/>
                  <a:pt x="1306142" y="656774"/>
                  <a:pt x="1304581" y="662188"/>
                </a:cubicBezTo>
                <a:cubicBezTo>
                  <a:pt x="1304292" y="663565"/>
                  <a:pt x="1304581" y="665005"/>
                  <a:pt x="1305448" y="666122"/>
                </a:cubicBezTo>
                <a:cubicBezTo>
                  <a:pt x="1310250" y="669274"/>
                  <a:pt x="1315687" y="671403"/>
                  <a:pt x="1321355" y="672369"/>
                </a:cubicBezTo>
                <a:cubicBezTo>
                  <a:pt x="1326909" y="673711"/>
                  <a:pt x="1332288" y="675654"/>
                  <a:pt x="1337436" y="678153"/>
                </a:cubicBezTo>
                <a:cubicBezTo>
                  <a:pt x="1341659" y="680791"/>
                  <a:pt x="1344435" y="685193"/>
                  <a:pt x="1345014" y="690127"/>
                </a:cubicBezTo>
                <a:cubicBezTo>
                  <a:pt x="1345766" y="693921"/>
                  <a:pt x="1347270" y="697514"/>
                  <a:pt x="1349526" y="700655"/>
                </a:cubicBezTo>
                <a:cubicBezTo>
                  <a:pt x="1351782" y="703807"/>
                  <a:pt x="1355368" y="705716"/>
                  <a:pt x="1359244" y="705803"/>
                </a:cubicBezTo>
                <a:cubicBezTo>
                  <a:pt x="1361962" y="705710"/>
                  <a:pt x="1364566" y="707017"/>
                  <a:pt x="1366127" y="709273"/>
                </a:cubicBezTo>
                <a:cubicBezTo>
                  <a:pt x="1367284" y="711124"/>
                  <a:pt x="1366822" y="714306"/>
                  <a:pt x="1364739" y="718760"/>
                </a:cubicBezTo>
                <a:cubicBezTo>
                  <a:pt x="1361037" y="726742"/>
                  <a:pt x="1352592" y="737386"/>
                  <a:pt x="1348369" y="738022"/>
                </a:cubicBezTo>
                <a:lnTo>
                  <a:pt x="1347906" y="738022"/>
                </a:lnTo>
                <a:cubicBezTo>
                  <a:pt x="1343857" y="738022"/>
                  <a:pt x="1334892" y="730097"/>
                  <a:pt x="1323611" y="719685"/>
                </a:cubicBezTo>
                <a:cubicBezTo>
                  <a:pt x="1319678" y="716099"/>
                  <a:pt x="1316381" y="713033"/>
                  <a:pt x="1314414" y="711587"/>
                </a:cubicBezTo>
                <a:cubicBezTo>
                  <a:pt x="1307473" y="707631"/>
                  <a:pt x="1300127" y="704374"/>
                  <a:pt x="1292491" y="701869"/>
                </a:cubicBezTo>
                <a:cubicBezTo>
                  <a:pt x="1284509" y="698804"/>
                  <a:pt x="1276295" y="695622"/>
                  <a:pt x="1270569" y="692672"/>
                </a:cubicBezTo>
                <a:cubicBezTo>
                  <a:pt x="1265825" y="690347"/>
                  <a:pt x="1260908" y="688507"/>
                  <a:pt x="1255818" y="687177"/>
                </a:cubicBezTo>
                <a:cubicBezTo>
                  <a:pt x="1248125" y="685251"/>
                  <a:pt x="1240779" y="682023"/>
                  <a:pt x="1234127" y="677633"/>
                </a:cubicBezTo>
                <a:cubicBezTo>
                  <a:pt x="1220880" y="668725"/>
                  <a:pt x="1209196" y="664097"/>
                  <a:pt x="1184265" y="664502"/>
                </a:cubicBezTo>
                <a:lnTo>
                  <a:pt x="1181777" y="664502"/>
                </a:lnTo>
                <a:cubicBezTo>
                  <a:pt x="1171018" y="664392"/>
                  <a:pt x="1160259" y="663345"/>
                  <a:pt x="1149674" y="661378"/>
                </a:cubicBezTo>
                <a:cubicBezTo>
                  <a:pt x="1144757" y="660297"/>
                  <a:pt x="1139783" y="659834"/>
                  <a:pt x="1134750" y="659990"/>
                </a:cubicBezTo>
                <a:cubicBezTo>
                  <a:pt x="1129891" y="660684"/>
                  <a:pt x="1128214" y="658197"/>
                  <a:pt x="1126189" y="655189"/>
                </a:cubicBezTo>
                <a:cubicBezTo>
                  <a:pt x="1123297" y="650573"/>
                  <a:pt x="1119016" y="647004"/>
                  <a:pt x="1113926" y="645008"/>
                </a:cubicBezTo>
                <a:cubicBezTo>
                  <a:pt x="1109530" y="643100"/>
                  <a:pt x="1105539" y="640959"/>
                  <a:pt x="1102010" y="639224"/>
                </a:cubicBezTo>
                <a:cubicBezTo>
                  <a:pt x="1097267" y="636060"/>
                  <a:pt x="1091888" y="633989"/>
                  <a:pt x="1086219" y="633150"/>
                </a:cubicBezTo>
                <a:cubicBezTo>
                  <a:pt x="1084657" y="633121"/>
                  <a:pt x="1083153" y="633503"/>
                  <a:pt x="1081823" y="634249"/>
                </a:cubicBezTo>
                <a:cubicBezTo>
                  <a:pt x="1078583" y="636199"/>
                  <a:pt x="1076963" y="640051"/>
                  <a:pt x="1077889" y="643736"/>
                </a:cubicBezTo>
                <a:cubicBezTo>
                  <a:pt x="1078757" y="649480"/>
                  <a:pt x="1083327" y="653951"/>
                  <a:pt x="1089111" y="654726"/>
                </a:cubicBezTo>
                <a:cubicBezTo>
                  <a:pt x="1093044" y="655021"/>
                  <a:pt x="1096688" y="656849"/>
                  <a:pt x="1099234" y="659817"/>
                </a:cubicBezTo>
                <a:cubicBezTo>
                  <a:pt x="1100969" y="661725"/>
                  <a:pt x="1102299" y="663229"/>
                  <a:pt x="1109067" y="662767"/>
                </a:cubicBezTo>
                <a:cubicBezTo>
                  <a:pt x="1114620" y="661731"/>
                  <a:pt x="1120347" y="663143"/>
                  <a:pt x="1124743" y="666642"/>
                </a:cubicBezTo>
                <a:cubicBezTo>
                  <a:pt x="1126999" y="669378"/>
                  <a:pt x="1128098" y="672941"/>
                  <a:pt x="1127635" y="676476"/>
                </a:cubicBezTo>
                <a:cubicBezTo>
                  <a:pt x="1127230" y="685152"/>
                  <a:pt x="1135097" y="693829"/>
                  <a:pt x="1139783" y="698225"/>
                </a:cubicBezTo>
                <a:cubicBezTo>
                  <a:pt x="1142732" y="700712"/>
                  <a:pt x="1143832" y="704779"/>
                  <a:pt x="1142501" y="708406"/>
                </a:cubicBezTo>
                <a:cubicBezTo>
                  <a:pt x="1140245" y="712889"/>
                  <a:pt x="1135502" y="715550"/>
                  <a:pt x="1130527" y="715116"/>
                </a:cubicBezTo>
                <a:cubicBezTo>
                  <a:pt x="1120347" y="715116"/>
                  <a:pt x="1113695" y="716562"/>
                  <a:pt x="1112307" y="719107"/>
                </a:cubicBezTo>
                <a:cubicBezTo>
                  <a:pt x="1112307" y="719454"/>
                  <a:pt x="1111555" y="720495"/>
                  <a:pt x="1112943" y="722636"/>
                </a:cubicBezTo>
                <a:cubicBezTo>
                  <a:pt x="1115025" y="725990"/>
                  <a:pt x="1114678" y="728131"/>
                  <a:pt x="1113984" y="729345"/>
                </a:cubicBezTo>
                <a:cubicBezTo>
                  <a:pt x="1113290" y="730560"/>
                  <a:pt x="1111670" y="732064"/>
                  <a:pt x="1107505" y="732064"/>
                </a:cubicBezTo>
                <a:cubicBezTo>
                  <a:pt x="1104035" y="731966"/>
                  <a:pt x="1100622" y="731260"/>
                  <a:pt x="1097440" y="729982"/>
                </a:cubicBezTo>
                <a:cubicBezTo>
                  <a:pt x="1094375" y="729311"/>
                  <a:pt x="1091888" y="727130"/>
                  <a:pt x="1090846" y="724197"/>
                </a:cubicBezTo>
                <a:cubicBezTo>
                  <a:pt x="1089920" y="719917"/>
                  <a:pt x="1093970" y="715289"/>
                  <a:pt x="1097036" y="712223"/>
                </a:cubicBezTo>
                <a:cubicBezTo>
                  <a:pt x="1097614" y="711645"/>
                  <a:pt x="1097614" y="711240"/>
                  <a:pt x="1097556" y="710951"/>
                </a:cubicBezTo>
                <a:cubicBezTo>
                  <a:pt x="1097094" y="709100"/>
                  <a:pt x="1092524" y="705629"/>
                  <a:pt x="1080897" y="701522"/>
                </a:cubicBezTo>
                <a:lnTo>
                  <a:pt x="1079913" y="701522"/>
                </a:lnTo>
                <a:cubicBezTo>
                  <a:pt x="1074592" y="701522"/>
                  <a:pt x="1061693" y="709563"/>
                  <a:pt x="1052207" y="715405"/>
                </a:cubicBezTo>
                <a:cubicBezTo>
                  <a:pt x="1048157" y="718054"/>
                  <a:pt x="1043992" y="720472"/>
                  <a:pt x="1039712" y="722636"/>
                </a:cubicBezTo>
                <a:cubicBezTo>
                  <a:pt x="1034448" y="723786"/>
                  <a:pt x="1029011" y="723786"/>
                  <a:pt x="1023747" y="722636"/>
                </a:cubicBezTo>
                <a:cubicBezTo>
                  <a:pt x="1018252" y="721814"/>
                  <a:pt x="1012698" y="721351"/>
                  <a:pt x="1007146" y="721247"/>
                </a:cubicBezTo>
                <a:cubicBezTo>
                  <a:pt x="1002576" y="721207"/>
                  <a:pt x="997949" y="721733"/>
                  <a:pt x="993494" y="722809"/>
                </a:cubicBezTo>
                <a:cubicBezTo>
                  <a:pt x="985916" y="724527"/>
                  <a:pt x="979438" y="729328"/>
                  <a:pt x="975563" y="736055"/>
                </a:cubicBezTo>
                <a:cubicBezTo>
                  <a:pt x="973481" y="739121"/>
                  <a:pt x="971803" y="741840"/>
                  <a:pt x="968795" y="741840"/>
                </a:cubicBezTo>
                <a:lnTo>
                  <a:pt x="967522" y="741840"/>
                </a:lnTo>
                <a:cubicBezTo>
                  <a:pt x="965613" y="741545"/>
                  <a:pt x="963647" y="741406"/>
                  <a:pt x="961738" y="741435"/>
                </a:cubicBezTo>
                <a:lnTo>
                  <a:pt x="955432" y="741435"/>
                </a:lnTo>
                <a:lnTo>
                  <a:pt x="947739" y="741435"/>
                </a:lnTo>
                <a:cubicBezTo>
                  <a:pt x="941839" y="741886"/>
                  <a:pt x="935882" y="740914"/>
                  <a:pt x="930386" y="738600"/>
                </a:cubicBezTo>
                <a:cubicBezTo>
                  <a:pt x="927147" y="736634"/>
                  <a:pt x="925759" y="734707"/>
                  <a:pt x="926221" y="732816"/>
                </a:cubicBezTo>
                <a:cubicBezTo>
                  <a:pt x="927205" y="729403"/>
                  <a:pt x="934146" y="729172"/>
                  <a:pt x="936228" y="729172"/>
                </a:cubicBezTo>
                <a:lnTo>
                  <a:pt x="939352" y="729172"/>
                </a:lnTo>
                <a:cubicBezTo>
                  <a:pt x="944095" y="729172"/>
                  <a:pt x="945137" y="727957"/>
                  <a:pt x="945137" y="727437"/>
                </a:cubicBezTo>
                <a:cubicBezTo>
                  <a:pt x="945137" y="726916"/>
                  <a:pt x="945137" y="724891"/>
                  <a:pt x="943169" y="722925"/>
                </a:cubicBezTo>
                <a:cubicBezTo>
                  <a:pt x="939525" y="718760"/>
                  <a:pt x="943169" y="713438"/>
                  <a:pt x="946120" y="709158"/>
                </a:cubicBezTo>
                <a:cubicBezTo>
                  <a:pt x="947335" y="707596"/>
                  <a:pt x="948318" y="705837"/>
                  <a:pt x="948954" y="703952"/>
                </a:cubicBezTo>
                <a:cubicBezTo>
                  <a:pt x="948607" y="703900"/>
                  <a:pt x="948202" y="703900"/>
                  <a:pt x="947855" y="703952"/>
                </a:cubicBezTo>
                <a:cubicBezTo>
                  <a:pt x="935882" y="705780"/>
                  <a:pt x="924255" y="709696"/>
                  <a:pt x="913611" y="715521"/>
                </a:cubicBezTo>
                <a:cubicBezTo>
                  <a:pt x="911818" y="717499"/>
                  <a:pt x="911066" y="720195"/>
                  <a:pt x="911587" y="722809"/>
                </a:cubicBezTo>
                <a:cubicBezTo>
                  <a:pt x="911587" y="725875"/>
                  <a:pt x="911587" y="729288"/>
                  <a:pt x="908174" y="731023"/>
                </a:cubicBezTo>
                <a:cubicBezTo>
                  <a:pt x="907364" y="731491"/>
                  <a:pt x="906381" y="731752"/>
                  <a:pt x="905456" y="731775"/>
                </a:cubicBezTo>
                <a:cubicBezTo>
                  <a:pt x="903142" y="731775"/>
                  <a:pt x="901811" y="730097"/>
                  <a:pt x="900423" y="728304"/>
                </a:cubicBezTo>
                <a:cubicBezTo>
                  <a:pt x="899150" y="726332"/>
                  <a:pt x="897299" y="724782"/>
                  <a:pt x="895159" y="723850"/>
                </a:cubicBezTo>
                <a:cubicBezTo>
                  <a:pt x="894349" y="723607"/>
                  <a:pt x="893481" y="723509"/>
                  <a:pt x="892614" y="723561"/>
                </a:cubicBezTo>
                <a:cubicBezTo>
                  <a:pt x="880293" y="723561"/>
                  <a:pt x="841422" y="733452"/>
                  <a:pt x="833844" y="742071"/>
                </a:cubicBezTo>
                <a:cubicBezTo>
                  <a:pt x="828985" y="746861"/>
                  <a:pt x="823027" y="750407"/>
                  <a:pt x="816491" y="752425"/>
                </a:cubicBezTo>
                <a:cubicBezTo>
                  <a:pt x="811979" y="754103"/>
                  <a:pt x="808103" y="755549"/>
                  <a:pt x="808103" y="757458"/>
                </a:cubicBezTo>
                <a:cubicBezTo>
                  <a:pt x="808103" y="761796"/>
                  <a:pt x="800526" y="763242"/>
                  <a:pt x="791734" y="764457"/>
                </a:cubicBezTo>
                <a:cubicBezTo>
                  <a:pt x="786933" y="765012"/>
                  <a:pt x="782189" y="766134"/>
                  <a:pt x="777619" y="767812"/>
                </a:cubicBezTo>
                <a:cubicBezTo>
                  <a:pt x="773050" y="770010"/>
                  <a:pt x="773166" y="776836"/>
                  <a:pt x="773281" y="783488"/>
                </a:cubicBezTo>
                <a:cubicBezTo>
                  <a:pt x="773686" y="787652"/>
                  <a:pt x="773281" y="791846"/>
                  <a:pt x="772124" y="795866"/>
                </a:cubicBezTo>
                <a:cubicBezTo>
                  <a:pt x="770216" y="800667"/>
                  <a:pt x="760555" y="802692"/>
                  <a:pt x="740541" y="802692"/>
                </a:cubicBezTo>
                <a:lnTo>
                  <a:pt x="724287" y="802692"/>
                </a:lnTo>
                <a:cubicBezTo>
                  <a:pt x="718502" y="802692"/>
                  <a:pt x="714685" y="796908"/>
                  <a:pt x="711156" y="791123"/>
                </a:cubicBezTo>
                <a:cubicBezTo>
                  <a:pt x="708438" y="786669"/>
                  <a:pt x="705835" y="782504"/>
                  <a:pt x="702653" y="782042"/>
                </a:cubicBezTo>
                <a:cubicBezTo>
                  <a:pt x="700629" y="781879"/>
                  <a:pt x="698893" y="780700"/>
                  <a:pt x="697968" y="778918"/>
                </a:cubicBezTo>
                <a:cubicBezTo>
                  <a:pt x="695770" y="774637"/>
                  <a:pt x="698893" y="767349"/>
                  <a:pt x="700975" y="763069"/>
                </a:cubicBezTo>
                <a:cubicBezTo>
                  <a:pt x="702422" y="760176"/>
                  <a:pt x="705083" y="759829"/>
                  <a:pt x="708148" y="759424"/>
                </a:cubicBezTo>
                <a:cubicBezTo>
                  <a:pt x="712486" y="759112"/>
                  <a:pt x="716710" y="757718"/>
                  <a:pt x="720354" y="755375"/>
                </a:cubicBezTo>
                <a:cubicBezTo>
                  <a:pt x="722899" y="753709"/>
                  <a:pt x="725907" y="752848"/>
                  <a:pt x="728973" y="752888"/>
                </a:cubicBezTo>
                <a:cubicBezTo>
                  <a:pt x="731749" y="752981"/>
                  <a:pt x="734525" y="753426"/>
                  <a:pt x="737186" y="754218"/>
                </a:cubicBezTo>
                <a:cubicBezTo>
                  <a:pt x="740599" y="755086"/>
                  <a:pt x="742971" y="755607"/>
                  <a:pt x="744359" y="754218"/>
                </a:cubicBezTo>
                <a:cubicBezTo>
                  <a:pt x="745747" y="752830"/>
                  <a:pt x="741698" y="748434"/>
                  <a:pt x="738112" y="744848"/>
                </a:cubicBezTo>
                <a:cubicBezTo>
                  <a:pt x="733137" y="740637"/>
                  <a:pt x="729493" y="735101"/>
                  <a:pt x="727527" y="728883"/>
                </a:cubicBezTo>
                <a:cubicBezTo>
                  <a:pt x="726717" y="722346"/>
                  <a:pt x="715437" y="718933"/>
                  <a:pt x="704736" y="718933"/>
                </a:cubicBezTo>
                <a:cubicBezTo>
                  <a:pt x="701207" y="718887"/>
                  <a:pt x="697679" y="719292"/>
                  <a:pt x="694208" y="720148"/>
                </a:cubicBezTo>
                <a:cubicBezTo>
                  <a:pt x="690448" y="721149"/>
                  <a:pt x="686514" y="721641"/>
                  <a:pt x="682639" y="721594"/>
                </a:cubicBezTo>
                <a:cubicBezTo>
                  <a:pt x="674657" y="721548"/>
                  <a:pt x="666732" y="719795"/>
                  <a:pt x="659502" y="716446"/>
                </a:cubicBezTo>
                <a:cubicBezTo>
                  <a:pt x="658692" y="715983"/>
                  <a:pt x="657766" y="715723"/>
                  <a:pt x="656840" y="715694"/>
                </a:cubicBezTo>
                <a:cubicBezTo>
                  <a:pt x="655799" y="715694"/>
                  <a:pt x="655568" y="716273"/>
                  <a:pt x="655510" y="716678"/>
                </a:cubicBezTo>
                <a:cubicBezTo>
                  <a:pt x="655510" y="718528"/>
                  <a:pt x="657940" y="722983"/>
                  <a:pt x="665112" y="724833"/>
                </a:cubicBezTo>
                <a:cubicBezTo>
                  <a:pt x="674715" y="727263"/>
                  <a:pt x="674194" y="733626"/>
                  <a:pt x="673789" y="738716"/>
                </a:cubicBezTo>
                <a:cubicBezTo>
                  <a:pt x="673442" y="740631"/>
                  <a:pt x="673442" y="742586"/>
                  <a:pt x="673789" y="744501"/>
                </a:cubicBezTo>
                <a:cubicBezTo>
                  <a:pt x="676161" y="751500"/>
                  <a:pt x="670087" y="765845"/>
                  <a:pt x="663146" y="775794"/>
                </a:cubicBezTo>
                <a:cubicBezTo>
                  <a:pt x="659848" y="780538"/>
                  <a:pt x="659848" y="782215"/>
                  <a:pt x="660138" y="782736"/>
                </a:cubicBezTo>
                <a:cubicBezTo>
                  <a:pt x="660427" y="783256"/>
                  <a:pt x="664245" y="783835"/>
                  <a:pt x="665460" y="783835"/>
                </a:cubicBezTo>
                <a:lnTo>
                  <a:pt x="670607" y="783835"/>
                </a:lnTo>
                <a:lnTo>
                  <a:pt x="671533" y="783835"/>
                </a:lnTo>
                <a:cubicBezTo>
                  <a:pt x="674021" y="783742"/>
                  <a:pt x="676392" y="784662"/>
                  <a:pt x="678185" y="786380"/>
                </a:cubicBezTo>
                <a:cubicBezTo>
                  <a:pt x="682466" y="790718"/>
                  <a:pt x="682408" y="799453"/>
                  <a:pt x="682350" y="807204"/>
                </a:cubicBezTo>
                <a:lnTo>
                  <a:pt x="682350" y="809228"/>
                </a:lnTo>
                <a:cubicBezTo>
                  <a:pt x="682234" y="813977"/>
                  <a:pt x="680499" y="818547"/>
                  <a:pt x="677375" y="822128"/>
                </a:cubicBezTo>
                <a:cubicBezTo>
                  <a:pt x="675351" y="824389"/>
                  <a:pt x="674078" y="827253"/>
                  <a:pt x="673847" y="830284"/>
                </a:cubicBezTo>
                <a:cubicBezTo>
                  <a:pt x="673847" y="833581"/>
                  <a:pt x="672169" y="834101"/>
                  <a:pt x="671186" y="834101"/>
                </a:cubicBezTo>
                <a:cubicBezTo>
                  <a:pt x="669509" y="833847"/>
                  <a:pt x="667889" y="833193"/>
                  <a:pt x="666501" y="832193"/>
                </a:cubicBezTo>
                <a:cubicBezTo>
                  <a:pt x="664592" y="831094"/>
                  <a:pt x="662336" y="829995"/>
                  <a:pt x="661873" y="830573"/>
                </a:cubicBezTo>
                <a:cubicBezTo>
                  <a:pt x="661179" y="831417"/>
                  <a:pt x="660196" y="831926"/>
                  <a:pt x="659096" y="831961"/>
                </a:cubicBezTo>
                <a:cubicBezTo>
                  <a:pt x="655799" y="831961"/>
                  <a:pt x="653312" y="826986"/>
                  <a:pt x="651866" y="822012"/>
                </a:cubicBezTo>
                <a:cubicBezTo>
                  <a:pt x="651114" y="818830"/>
                  <a:pt x="644289" y="818715"/>
                  <a:pt x="637752" y="818657"/>
                </a:cubicBezTo>
                <a:cubicBezTo>
                  <a:pt x="633530" y="818779"/>
                  <a:pt x="629307" y="818426"/>
                  <a:pt x="625200" y="817616"/>
                </a:cubicBezTo>
                <a:cubicBezTo>
                  <a:pt x="623696" y="817182"/>
                  <a:pt x="622134" y="816951"/>
                  <a:pt x="620573" y="816922"/>
                </a:cubicBezTo>
                <a:cubicBezTo>
                  <a:pt x="615540" y="816922"/>
                  <a:pt x="612879" y="819756"/>
                  <a:pt x="609004" y="825598"/>
                </a:cubicBezTo>
                <a:cubicBezTo>
                  <a:pt x="603566" y="833870"/>
                  <a:pt x="587196" y="836242"/>
                  <a:pt x="583899" y="836589"/>
                </a:cubicBezTo>
                <a:cubicBezTo>
                  <a:pt x="579272" y="837167"/>
                  <a:pt x="572735" y="843009"/>
                  <a:pt x="566951" y="848158"/>
                </a:cubicBezTo>
                <a:cubicBezTo>
                  <a:pt x="564174" y="850755"/>
                  <a:pt x="561224" y="853173"/>
                  <a:pt x="558158" y="855388"/>
                </a:cubicBezTo>
                <a:cubicBezTo>
                  <a:pt x="555266" y="857147"/>
                  <a:pt x="553357" y="860166"/>
                  <a:pt x="553010" y="863544"/>
                </a:cubicBezTo>
                <a:cubicBezTo>
                  <a:pt x="553126" y="868999"/>
                  <a:pt x="555671" y="874118"/>
                  <a:pt x="559951" y="877485"/>
                </a:cubicBezTo>
                <a:cubicBezTo>
                  <a:pt x="569033" y="886219"/>
                  <a:pt x="572619" y="893103"/>
                  <a:pt x="571520" y="899870"/>
                </a:cubicBezTo>
                <a:cubicBezTo>
                  <a:pt x="571000" y="903283"/>
                  <a:pt x="564405" y="904035"/>
                  <a:pt x="559026" y="904035"/>
                </a:cubicBezTo>
                <a:cubicBezTo>
                  <a:pt x="550349" y="904035"/>
                  <a:pt x="539648" y="902068"/>
                  <a:pt x="536813" y="898251"/>
                </a:cubicBezTo>
                <a:cubicBezTo>
                  <a:pt x="532822" y="893160"/>
                  <a:pt x="515238" y="891078"/>
                  <a:pt x="509627" y="892466"/>
                </a:cubicBezTo>
                <a:cubicBezTo>
                  <a:pt x="506272" y="893103"/>
                  <a:pt x="500719" y="888822"/>
                  <a:pt x="494298" y="883732"/>
                </a:cubicBezTo>
                <a:cubicBezTo>
                  <a:pt x="487877" y="878642"/>
                  <a:pt x="482209" y="874072"/>
                  <a:pt x="478275" y="873898"/>
                </a:cubicBezTo>
                <a:lnTo>
                  <a:pt x="477870" y="873898"/>
                </a:lnTo>
                <a:cubicBezTo>
                  <a:pt x="470582" y="873898"/>
                  <a:pt x="465665" y="883211"/>
                  <a:pt x="463005" y="888186"/>
                </a:cubicBezTo>
                <a:lnTo>
                  <a:pt x="463005" y="888649"/>
                </a:lnTo>
                <a:cubicBezTo>
                  <a:pt x="461732" y="890905"/>
                  <a:pt x="463005" y="892177"/>
                  <a:pt x="465260" y="895011"/>
                </a:cubicBezTo>
                <a:cubicBezTo>
                  <a:pt x="467632" y="897458"/>
                  <a:pt x="469598" y="900293"/>
                  <a:pt x="471044" y="903399"/>
                </a:cubicBezTo>
                <a:cubicBezTo>
                  <a:pt x="474574" y="911150"/>
                  <a:pt x="487357" y="912018"/>
                  <a:pt x="496670" y="912018"/>
                </a:cubicBezTo>
                <a:cubicBezTo>
                  <a:pt x="498694" y="911885"/>
                  <a:pt x="500604" y="912862"/>
                  <a:pt x="501644" y="914563"/>
                </a:cubicBezTo>
                <a:cubicBezTo>
                  <a:pt x="504190" y="918612"/>
                  <a:pt x="502050" y="926132"/>
                  <a:pt x="500140" y="930239"/>
                </a:cubicBezTo>
                <a:cubicBezTo>
                  <a:pt x="496496" y="934542"/>
                  <a:pt x="491059" y="936914"/>
                  <a:pt x="485448" y="936659"/>
                </a:cubicBezTo>
                <a:cubicBezTo>
                  <a:pt x="482498" y="936943"/>
                  <a:pt x="479606" y="935803"/>
                  <a:pt x="477639" y="933594"/>
                </a:cubicBezTo>
                <a:cubicBezTo>
                  <a:pt x="476020" y="931569"/>
                  <a:pt x="471334" y="931453"/>
                  <a:pt x="467227" y="931280"/>
                </a:cubicBezTo>
                <a:cubicBezTo>
                  <a:pt x="461847" y="931280"/>
                  <a:pt x="456237" y="931280"/>
                  <a:pt x="456005" y="926537"/>
                </a:cubicBezTo>
                <a:cubicBezTo>
                  <a:pt x="455774" y="921793"/>
                  <a:pt x="446172" y="913175"/>
                  <a:pt x="435471" y="913175"/>
                </a:cubicBezTo>
                <a:cubicBezTo>
                  <a:pt x="434371" y="913180"/>
                  <a:pt x="433331" y="913279"/>
                  <a:pt x="432231" y="913464"/>
                </a:cubicBezTo>
                <a:cubicBezTo>
                  <a:pt x="427893" y="914713"/>
                  <a:pt x="423208" y="913597"/>
                  <a:pt x="419910" y="910514"/>
                </a:cubicBezTo>
                <a:cubicBezTo>
                  <a:pt x="416960" y="906465"/>
                  <a:pt x="415804" y="901374"/>
                  <a:pt x="416786" y="896458"/>
                </a:cubicBezTo>
                <a:cubicBezTo>
                  <a:pt x="416902" y="891847"/>
                  <a:pt x="415514" y="887318"/>
                  <a:pt x="412853" y="883558"/>
                </a:cubicBezTo>
                <a:cubicBezTo>
                  <a:pt x="411349" y="881557"/>
                  <a:pt x="410482" y="879168"/>
                  <a:pt x="410308" y="876675"/>
                </a:cubicBezTo>
                <a:cubicBezTo>
                  <a:pt x="410250" y="875038"/>
                  <a:pt x="409961" y="873418"/>
                  <a:pt x="409383" y="871874"/>
                </a:cubicBezTo>
                <a:cubicBezTo>
                  <a:pt x="408168" y="867535"/>
                  <a:pt x="406491" y="861577"/>
                  <a:pt x="411581" y="858107"/>
                </a:cubicBezTo>
                <a:cubicBezTo>
                  <a:pt x="415398" y="855504"/>
                  <a:pt x="414704" y="851975"/>
                  <a:pt x="413837" y="847868"/>
                </a:cubicBezTo>
                <a:cubicBezTo>
                  <a:pt x="413374" y="845821"/>
                  <a:pt x="413142" y="843727"/>
                  <a:pt x="413142" y="841621"/>
                </a:cubicBezTo>
                <a:cubicBezTo>
                  <a:pt x="412969" y="839169"/>
                  <a:pt x="411812" y="836889"/>
                  <a:pt x="409961" y="835258"/>
                </a:cubicBezTo>
                <a:cubicBezTo>
                  <a:pt x="405565" y="830637"/>
                  <a:pt x="399607" y="827848"/>
                  <a:pt x="393244" y="827449"/>
                </a:cubicBezTo>
                <a:cubicBezTo>
                  <a:pt x="388848" y="827525"/>
                  <a:pt x="384799" y="824950"/>
                  <a:pt x="383006" y="820913"/>
                </a:cubicBezTo>
                <a:cubicBezTo>
                  <a:pt x="381733" y="818148"/>
                  <a:pt x="379361" y="816048"/>
                  <a:pt x="376469" y="815128"/>
                </a:cubicBezTo>
                <a:cubicBezTo>
                  <a:pt x="367504" y="812988"/>
                  <a:pt x="350266" y="798527"/>
                  <a:pt x="348993" y="791991"/>
                </a:cubicBezTo>
                <a:cubicBezTo>
                  <a:pt x="348415" y="789272"/>
                  <a:pt x="344655" y="787652"/>
                  <a:pt x="341936" y="786206"/>
                </a:cubicBezTo>
                <a:cubicBezTo>
                  <a:pt x="339218" y="784760"/>
                  <a:pt x="338350" y="784702"/>
                  <a:pt x="338292" y="783430"/>
                </a:cubicBezTo>
                <a:cubicBezTo>
                  <a:pt x="338234" y="782157"/>
                  <a:pt x="339507" y="781752"/>
                  <a:pt x="339912" y="781579"/>
                </a:cubicBezTo>
                <a:cubicBezTo>
                  <a:pt x="341126" y="781041"/>
                  <a:pt x="342515" y="780786"/>
                  <a:pt x="343845" y="780827"/>
                </a:cubicBezTo>
                <a:cubicBezTo>
                  <a:pt x="351133" y="781371"/>
                  <a:pt x="357959" y="784581"/>
                  <a:pt x="362992" y="789851"/>
                </a:cubicBezTo>
                <a:cubicBezTo>
                  <a:pt x="373288" y="799117"/>
                  <a:pt x="386418" y="804693"/>
                  <a:pt x="400243" y="805700"/>
                </a:cubicBezTo>
                <a:cubicBezTo>
                  <a:pt x="408515" y="806903"/>
                  <a:pt x="416498" y="809338"/>
                  <a:pt x="424017" y="812930"/>
                </a:cubicBezTo>
                <a:cubicBezTo>
                  <a:pt x="431653" y="816540"/>
                  <a:pt x="439693" y="819126"/>
                  <a:pt x="447965" y="820624"/>
                </a:cubicBezTo>
                <a:lnTo>
                  <a:pt x="459071" y="822590"/>
                </a:lnTo>
                <a:cubicBezTo>
                  <a:pt x="474110" y="825193"/>
                  <a:pt x="487183" y="827507"/>
                  <a:pt x="511767" y="831151"/>
                </a:cubicBezTo>
                <a:cubicBezTo>
                  <a:pt x="513676" y="831423"/>
                  <a:pt x="515643" y="831556"/>
                  <a:pt x="517551" y="831556"/>
                </a:cubicBezTo>
                <a:cubicBezTo>
                  <a:pt x="545664" y="831556"/>
                  <a:pt x="580776" y="805642"/>
                  <a:pt x="589683" y="796850"/>
                </a:cubicBezTo>
                <a:cubicBezTo>
                  <a:pt x="595063" y="791470"/>
                  <a:pt x="591823" y="781810"/>
                  <a:pt x="589221" y="774117"/>
                </a:cubicBezTo>
                <a:cubicBezTo>
                  <a:pt x="588064" y="771306"/>
                  <a:pt x="587312" y="768344"/>
                  <a:pt x="586965" y="765324"/>
                </a:cubicBezTo>
                <a:cubicBezTo>
                  <a:pt x="586965" y="762432"/>
                  <a:pt x="582974" y="760755"/>
                  <a:pt x="579156" y="759135"/>
                </a:cubicBezTo>
                <a:cubicBezTo>
                  <a:pt x="575338" y="757516"/>
                  <a:pt x="572330" y="756185"/>
                  <a:pt x="571289" y="753640"/>
                </a:cubicBezTo>
                <a:cubicBezTo>
                  <a:pt x="566893" y="745814"/>
                  <a:pt x="558679" y="740874"/>
                  <a:pt x="549713" y="740625"/>
                </a:cubicBezTo>
                <a:cubicBezTo>
                  <a:pt x="544333" y="740399"/>
                  <a:pt x="539417" y="737710"/>
                  <a:pt x="536293" y="733337"/>
                </a:cubicBezTo>
                <a:cubicBezTo>
                  <a:pt x="533517" y="730329"/>
                  <a:pt x="531261" y="727552"/>
                  <a:pt x="527154" y="728131"/>
                </a:cubicBezTo>
                <a:cubicBezTo>
                  <a:pt x="518303" y="728941"/>
                  <a:pt x="511593" y="724486"/>
                  <a:pt x="491348" y="710777"/>
                </a:cubicBezTo>
                <a:lnTo>
                  <a:pt x="486489" y="707538"/>
                </a:lnTo>
                <a:cubicBezTo>
                  <a:pt x="465434" y="693540"/>
                  <a:pt x="436165" y="682260"/>
                  <a:pt x="425926" y="682260"/>
                </a:cubicBezTo>
                <a:cubicBezTo>
                  <a:pt x="425174" y="682220"/>
                  <a:pt x="424480" y="682318"/>
                  <a:pt x="423786" y="682549"/>
                </a:cubicBezTo>
                <a:cubicBezTo>
                  <a:pt x="421241" y="684013"/>
                  <a:pt x="418406" y="684921"/>
                  <a:pt x="415456" y="685210"/>
                </a:cubicBezTo>
                <a:cubicBezTo>
                  <a:pt x="412391" y="685089"/>
                  <a:pt x="409614" y="683319"/>
                  <a:pt x="408226" y="680583"/>
                </a:cubicBezTo>
                <a:cubicBezTo>
                  <a:pt x="406433" y="678049"/>
                  <a:pt x="403483" y="676609"/>
                  <a:pt x="400359" y="676765"/>
                </a:cubicBezTo>
                <a:cubicBezTo>
                  <a:pt x="396599" y="676858"/>
                  <a:pt x="393013" y="678153"/>
                  <a:pt x="390062" y="680467"/>
                </a:cubicBezTo>
                <a:cubicBezTo>
                  <a:pt x="388616" y="681531"/>
                  <a:pt x="386939" y="682098"/>
                  <a:pt x="385146" y="682087"/>
                </a:cubicBezTo>
                <a:cubicBezTo>
                  <a:pt x="382890" y="681936"/>
                  <a:pt x="380634" y="681404"/>
                  <a:pt x="378552" y="680525"/>
                </a:cubicBezTo>
                <a:cubicBezTo>
                  <a:pt x="375486" y="679316"/>
                  <a:pt x="372247" y="678633"/>
                  <a:pt x="368950" y="678500"/>
                </a:cubicBezTo>
                <a:cubicBezTo>
                  <a:pt x="367446" y="678506"/>
                  <a:pt x="366000" y="678680"/>
                  <a:pt x="364554" y="679021"/>
                </a:cubicBezTo>
                <a:cubicBezTo>
                  <a:pt x="362876" y="679426"/>
                  <a:pt x="361140" y="679640"/>
                  <a:pt x="359405" y="679657"/>
                </a:cubicBezTo>
                <a:cubicBezTo>
                  <a:pt x="354604" y="680056"/>
                  <a:pt x="350035" y="677702"/>
                  <a:pt x="347547" y="673583"/>
                </a:cubicBezTo>
                <a:cubicBezTo>
                  <a:pt x="346621" y="671860"/>
                  <a:pt x="346853" y="669748"/>
                  <a:pt x="348125" y="668262"/>
                </a:cubicBezTo>
                <a:cubicBezTo>
                  <a:pt x="349803" y="666411"/>
                  <a:pt x="353910" y="666122"/>
                  <a:pt x="358364" y="665774"/>
                </a:cubicBezTo>
                <a:cubicBezTo>
                  <a:pt x="362066" y="665485"/>
                  <a:pt x="366636" y="665138"/>
                  <a:pt x="367793" y="663750"/>
                </a:cubicBezTo>
                <a:cubicBezTo>
                  <a:pt x="368024" y="663461"/>
                  <a:pt x="368140" y="663079"/>
                  <a:pt x="368082" y="662709"/>
                </a:cubicBezTo>
                <a:cubicBezTo>
                  <a:pt x="367793" y="660800"/>
                  <a:pt x="367156" y="660684"/>
                  <a:pt x="364090" y="660569"/>
                </a:cubicBezTo>
                <a:cubicBezTo>
                  <a:pt x="359174" y="660516"/>
                  <a:pt x="354431" y="659024"/>
                  <a:pt x="350381" y="656288"/>
                </a:cubicBezTo>
                <a:cubicBezTo>
                  <a:pt x="347721" y="654258"/>
                  <a:pt x="344481" y="653054"/>
                  <a:pt x="341126" y="652817"/>
                </a:cubicBezTo>
                <a:cubicBezTo>
                  <a:pt x="337193" y="653008"/>
                  <a:pt x="333780" y="655640"/>
                  <a:pt x="332623" y="659412"/>
                </a:cubicBezTo>
                <a:cubicBezTo>
                  <a:pt x="331524" y="662333"/>
                  <a:pt x="328632" y="664184"/>
                  <a:pt x="325509" y="663981"/>
                </a:cubicBezTo>
                <a:cubicBezTo>
                  <a:pt x="321286" y="663715"/>
                  <a:pt x="317295" y="661951"/>
                  <a:pt x="314287" y="659007"/>
                </a:cubicBezTo>
                <a:lnTo>
                  <a:pt x="313940" y="658717"/>
                </a:lnTo>
                <a:cubicBezTo>
                  <a:pt x="313361" y="664184"/>
                  <a:pt x="308676" y="668297"/>
                  <a:pt x="303181" y="668204"/>
                </a:cubicBezTo>
                <a:cubicBezTo>
                  <a:pt x="301792" y="668210"/>
                  <a:pt x="300404" y="668054"/>
                  <a:pt x="299074" y="667741"/>
                </a:cubicBezTo>
                <a:cubicBezTo>
                  <a:pt x="295835" y="667047"/>
                  <a:pt x="292306" y="669650"/>
                  <a:pt x="288546" y="672484"/>
                </a:cubicBezTo>
                <a:cubicBezTo>
                  <a:pt x="285307" y="675631"/>
                  <a:pt x="281142" y="677656"/>
                  <a:pt x="276688" y="678269"/>
                </a:cubicBezTo>
                <a:cubicBezTo>
                  <a:pt x="268416" y="679553"/>
                  <a:pt x="261648" y="685540"/>
                  <a:pt x="259335" y="693598"/>
                </a:cubicBezTo>
                <a:cubicBezTo>
                  <a:pt x="258467" y="696953"/>
                  <a:pt x="255459" y="699313"/>
                  <a:pt x="251988" y="699382"/>
                </a:cubicBezTo>
                <a:cubicBezTo>
                  <a:pt x="249501" y="699903"/>
                  <a:pt x="248865" y="700134"/>
                  <a:pt x="248865" y="701291"/>
                </a:cubicBezTo>
                <a:cubicBezTo>
                  <a:pt x="249443" y="706751"/>
                  <a:pt x="247881" y="712235"/>
                  <a:pt x="244527" y="716562"/>
                </a:cubicBezTo>
                <a:cubicBezTo>
                  <a:pt x="242097" y="719512"/>
                  <a:pt x="243081" y="721074"/>
                  <a:pt x="245683" y="725238"/>
                </a:cubicBezTo>
                <a:cubicBezTo>
                  <a:pt x="246609" y="726800"/>
                  <a:pt x="247650" y="728478"/>
                  <a:pt x="248749" y="730618"/>
                </a:cubicBezTo>
                <a:cubicBezTo>
                  <a:pt x="251178" y="734817"/>
                  <a:pt x="255459" y="737606"/>
                  <a:pt x="260318" y="738138"/>
                </a:cubicBezTo>
                <a:cubicBezTo>
                  <a:pt x="262111" y="738467"/>
                  <a:pt x="263789" y="739069"/>
                  <a:pt x="265408" y="739931"/>
                </a:cubicBezTo>
                <a:cubicBezTo>
                  <a:pt x="268532" y="741782"/>
                  <a:pt x="285307" y="755144"/>
                  <a:pt x="285307" y="761102"/>
                </a:cubicBezTo>
                <a:cubicBezTo>
                  <a:pt x="285307" y="767060"/>
                  <a:pt x="272349" y="779149"/>
                  <a:pt x="267953" y="782215"/>
                </a:cubicBezTo>
                <a:cubicBezTo>
                  <a:pt x="264020" y="784806"/>
                  <a:pt x="261128" y="788636"/>
                  <a:pt x="259624" y="793090"/>
                </a:cubicBezTo>
                <a:cubicBezTo>
                  <a:pt x="259277" y="794345"/>
                  <a:pt x="259508" y="795675"/>
                  <a:pt x="260144" y="796792"/>
                </a:cubicBezTo>
                <a:lnTo>
                  <a:pt x="261301" y="798469"/>
                </a:lnTo>
                <a:cubicBezTo>
                  <a:pt x="265871" y="805295"/>
                  <a:pt x="277960" y="823342"/>
                  <a:pt x="286059" y="838093"/>
                </a:cubicBezTo>
                <a:cubicBezTo>
                  <a:pt x="289009" y="843472"/>
                  <a:pt x="289934" y="846711"/>
                  <a:pt x="289009" y="848794"/>
                </a:cubicBezTo>
                <a:cubicBezTo>
                  <a:pt x="288083" y="850876"/>
                  <a:pt x="286059" y="851339"/>
                  <a:pt x="283803" y="851860"/>
                </a:cubicBezTo>
                <a:cubicBezTo>
                  <a:pt x="281200" y="852264"/>
                  <a:pt x="278886" y="853526"/>
                  <a:pt x="277093" y="855446"/>
                </a:cubicBezTo>
                <a:cubicBezTo>
                  <a:pt x="273275" y="860305"/>
                  <a:pt x="276514" y="866205"/>
                  <a:pt x="279118" y="871006"/>
                </a:cubicBezTo>
                <a:cubicBezTo>
                  <a:pt x="279985" y="872400"/>
                  <a:pt x="280679" y="873869"/>
                  <a:pt x="281258" y="875402"/>
                </a:cubicBezTo>
                <a:cubicBezTo>
                  <a:pt x="282472" y="878931"/>
                  <a:pt x="279406" y="880377"/>
                  <a:pt x="277440" y="881187"/>
                </a:cubicBezTo>
                <a:cubicBezTo>
                  <a:pt x="275473" y="881996"/>
                  <a:pt x="274721" y="882633"/>
                  <a:pt x="274837" y="883500"/>
                </a:cubicBezTo>
                <a:cubicBezTo>
                  <a:pt x="274953" y="884368"/>
                  <a:pt x="278770" y="886508"/>
                  <a:pt x="281604" y="887665"/>
                </a:cubicBezTo>
                <a:cubicBezTo>
                  <a:pt x="284439" y="888822"/>
                  <a:pt x="288083" y="890268"/>
                  <a:pt x="288546" y="892351"/>
                </a:cubicBezTo>
                <a:cubicBezTo>
                  <a:pt x="289009" y="894433"/>
                  <a:pt x="287736" y="895706"/>
                  <a:pt x="286348" y="897441"/>
                </a:cubicBezTo>
                <a:cubicBezTo>
                  <a:pt x="284960" y="899176"/>
                  <a:pt x="282299" y="902415"/>
                  <a:pt x="284382" y="905770"/>
                </a:cubicBezTo>
                <a:cubicBezTo>
                  <a:pt x="286116" y="908107"/>
                  <a:pt x="288430" y="909976"/>
                  <a:pt x="291091" y="911208"/>
                </a:cubicBezTo>
                <a:cubicBezTo>
                  <a:pt x="294735" y="913348"/>
                  <a:pt x="298553" y="915546"/>
                  <a:pt x="299074" y="920752"/>
                </a:cubicBezTo>
                <a:cubicBezTo>
                  <a:pt x="299595" y="925958"/>
                  <a:pt x="294099" y="928330"/>
                  <a:pt x="289240" y="930528"/>
                </a:cubicBezTo>
                <a:cubicBezTo>
                  <a:pt x="285480" y="932205"/>
                  <a:pt x="281836" y="933825"/>
                  <a:pt x="282126" y="936312"/>
                </a:cubicBezTo>
                <a:cubicBezTo>
                  <a:pt x="282414" y="938800"/>
                  <a:pt x="288777" y="942791"/>
                  <a:pt x="295429" y="946724"/>
                </a:cubicBezTo>
                <a:cubicBezTo>
                  <a:pt x="303238" y="950860"/>
                  <a:pt x="310354" y="956124"/>
                  <a:pt x="316600" y="962342"/>
                </a:cubicBezTo>
                <a:cubicBezTo>
                  <a:pt x="327359" y="974779"/>
                  <a:pt x="326665" y="978365"/>
                  <a:pt x="324121" y="985480"/>
                </a:cubicBezTo>
                <a:cubicBezTo>
                  <a:pt x="321575" y="992595"/>
                  <a:pt x="313188" y="998206"/>
                  <a:pt x="304395" y="1004569"/>
                </a:cubicBezTo>
                <a:cubicBezTo>
                  <a:pt x="295603" y="1010931"/>
                  <a:pt x="287042" y="1017179"/>
                  <a:pt x="283687" y="1024293"/>
                </a:cubicBezTo>
                <a:cubicBezTo>
                  <a:pt x="279638" y="1033433"/>
                  <a:pt x="268937" y="1039969"/>
                  <a:pt x="258640" y="1046274"/>
                </a:cubicBezTo>
                <a:cubicBezTo>
                  <a:pt x="252451" y="1049728"/>
                  <a:pt x="246609" y="1053835"/>
                  <a:pt x="241287" y="1058537"/>
                </a:cubicBezTo>
                <a:cubicBezTo>
                  <a:pt x="237180" y="1062841"/>
                  <a:pt x="233420" y="1067486"/>
                  <a:pt x="230124" y="1072420"/>
                </a:cubicBezTo>
                <a:cubicBezTo>
                  <a:pt x="232958" y="1071599"/>
                  <a:pt x="235734" y="1070534"/>
                  <a:pt x="238395" y="1069238"/>
                </a:cubicBezTo>
                <a:cubicBezTo>
                  <a:pt x="239089" y="1068857"/>
                  <a:pt x="239841" y="1068660"/>
                  <a:pt x="240651" y="1068660"/>
                </a:cubicBezTo>
                <a:cubicBezTo>
                  <a:pt x="244469" y="1068660"/>
                  <a:pt x="247419" y="1073403"/>
                  <a:pt x="250484" y="1078436"/>
                </a:cubicBezTo>
                <a:cubicBezTo>
                  <a:pt x="252162" y="1081652"/>
                  <a:pt x="254360" y="1084579"/>
                  <a:pt x="256963" y="1087112"/>
                </a:cubicBezTo>
                <a:cubicBezTo>
                  <a:pt x="260665" y="1089235"/>
                  <a:pt x="264945" y="1090126"/>
                  <a:pt x="269226" y="1089657"/>
                </a:cubicBezTo>
                <a:cubicBezTo>
                  <a:pt x="273275" y="1089068"/>
                  <a:pt x="277440" y="1090086"/>
                  <a:pt x="280795" y="1092492"/>
                </a:cubicBezTo>
                <a:cubicBezTo>
                  <a:pt x="282241" y="1094054"/>
                  <a:pt x="282704" y="1095442"/>
                  <a:pt x="282183" y="1096599"/>
                </a:cubicBezTo>
                <a:cubicBezTo>
                  <a:pt x="281662" y="1097756"/>
                  <a:pt x="279291" y="1098855"/>
                  <a:pt x="275531" y="1098855"/>
                </a:cubicBezTo>
                <a:cubicBezTo>
                  <a:pt x="272639" y="1098803"/>
                  <a:pt x="269747" y="1098531"/>
                  <a:pt x="266912" y="1098045"/>
                </a:cubicBezTo>
                <a:cubicBezTo>
                  <a:pt x="262400" y="1097351"/>
                  <a:pt x="257831" y="1098450"/>
                  <a:pt x="254128" y="1101111"/>
                </a:cubicBezTo>
                <a:cubicBezTo>
                  <a:pt x="249964" y="1103448"/>
                  <a:pt x="245625" y="1105385"/>
                  <a:pt x="241113" y="1106895"/>
                </a:cubicBezTo>
                <a:cubicBezTo>
                  <a:pt x="236833" y="1107774"/>
                  <a:pt x="233131" y="1110343"/>
                  <a:pt x="230818" y="1114010"/>
                </a:cubicBezTo>
                <a:cubicBezTo>
                  <a:pt x="230239" y="1114912"/>
                  <a:pt x="229602" y="1115763"/>
                  <a:pt x="228850" y="1116555"/>
                </a:cubicBezTo>
                <a:cubicBezTo>
                  <a:pt x="231916" y="1120315"/>
                  <a:pt x="231338" y="1125856"/>
                  <a:pt x="227578" y="1128928"/>
                </a:cubicBezTo>
                <a:cubicBezTo>
                  <a:pt x="227346" y="1129113"/>
                  <a:pt x="227116" y="1129292"/>
                  <a:pt x="226884" y="1129454"/>
                </a:cubicBezTo>
                <a:cubicBezTo>
                  <a:pt x="225264" y="1130987"/>
                  <a:pt x="223934" y="1132786"/>
                  <a:pt x="222893" y="1134776"/>
                </a:cubicBezTo>
                <a:cubicBezTo>
                  <a:pt x="221447" y="1137848"/>
                  <a:pt x="219480" y="1140659"/>
                  <a:pt x="217109" y="1143106"/>
                </a:cubicBezTo>
                <a:cubicBezTo>
                  <a:pt x="215489" y="1144442"/>
                  <a:pt x="214331" y="1146299"/>
                  <a:pt x="213927" y="1148369"/>
                </a:cubicBezTo>
                <a:cubicBezTo>
                  <a:pt x="213695" y="1150990"/>
                  <a:pt x="213927" y="1153628"/>
                  <a:pt x="214563" y="1156178"/>
                </a:cubicBezTo>
                <a:cubicBezTo>
                  <a:pt x="215141" y="1158712"/>
                  <a:pt x="215489" y="1161286"/>
                  <a:pt x="215720" y="1163872"/>
                </a:cubicBezTo>
                <a:cubicBezTo>
                  <a:pt x="215778" y="1168557"/>
                  <a:pt x="217571" y="1173057"/>
                  <a:pt x="220695" y="1176540"/>
                </a:cubicBezTo>
                <a:lnTo>
                  <a:pt x="221620" y="1177870"/>
                </a:lnTo>
                <a:cubicBezTo>
                  <a:pt x="222719" y="1179154"/>
                  <a:pt x="223182" y="1180843"/>
                  <a:pt x="222893" y="1182498"/>
                </a:cubicBezTo>
                <a:cubicBezTo>
                  <a:pt x="222314" y="1184522"/>
                  <a:pt x="220059" y="1185505"/>
                  <a:pt x="217861" y="1186489"/>
                </a:cubicBezTo>
                <a:cubicBezTo>
                  <a:pt x="216530" y="1186969"/>
                  <a:pt x="215257" y="1187628"/>
                  <a:pt x="214101" y="1188456"/>
                </a:cubicBezTo>
                <a:cubicBezTo>
                  <a:pt x="213233" y="1189202"/>
                  <a:pt x="212770" y="1190278"/>
                  <a:pt x="212770" y="1191406"/>
                </a:cubicBezTo>
                <a:cubicBezTo>
                  <a:pt x="213117" y="1195223"/>
                  <a:pt x="214910" y="1198763"/>
                  <a:pt x="217803" y="1201297"/>
                </a:cubicBezTo>
                <a:cubicBezTo>
                  <a:pt x="222256" y="1205537"/>
                  <a:pt x="223529" y="1212096"/>
                  <a:pt x="221100" y="1217725"/>
                </a:cubicBezTo>
                <a:cubicBezTo>
                  <a:pt x="219711" y="1220964"/>
                  <a:pt x="224454" y="1227327"/>
                  <a:pt x="229372" y="1232244"/>
                </a:cubicBezTo>
                <a:cubicBezTo>
                  <a:pt x="231685" y="1235385"/>
                  <a:pt x="233131" y="1239069"/>
                  <a:pt x="233594" y="1242945"/>
                </a:cubicBezTo>
                <a:cubicBezTo>
                  <a:pt x="233883" y="1245820"/>
                  <a:pt x="234866" y="1248567"/>
                  <a:pt x="236544" y="1250927"/>
                </a:cubicBezTo>
                <a:cubicBezTo>
                  <a:pt x="239147" y="1253611"/>
                  <a:pt x="242675" y="1255219"/>
                  <a:pt x="246435" y="1255439"/>
                </a:cubicBezTo>
                <a:cubicBezTo>
                  <a:pt x="247650" y="1255422"/>
                  <a:pt x="248865" y="1255266"/>
                  <a:pt x="250080" y="1254977"/>
                </a:cubicBezTo>
                <a:cubicBezTo>
                  <a:pt x="256211" y="1252998"/>
                  <a:pt x="262863" y="1256139"/>
                  <a:pt x="265235" y="1262149"/>
                </a:cubicBezTo>
                <a:cubicBezTo>
                  <a:pt x="265929" y="1263757"/>
                  <a:pt x="267491" y="1264804"/>
                  <a:pt x="269226" y="1264810"/>
                </a:cubicBezTo>
                <a:cubicBezTo>
                  <a:pt x="272234" y="1264394"/>
                  <a:pt x="275184" y="1263410"/>
                  <a:pt x="277845" y="1261918"/>
                </a:cubicBezTo>
                <a:lnTo>
                  <a:pt x="278366" y="1261918"/>
                </a:lnTo>
                <a:cubicBezTo>
                  <a:pt x="279580" y="1261380"/>
                  <a:pt x="280968" y="1261125"/>
                  <a:pt x="282299" y="1261166"/>
                </a:cubicBezTo>
                <a:cubicBezTo>
                  <a:pt x="289819" y="1262213"/>
                  <a:pt x="296991" y="1264729"/>
                  <a:pt x="303528" y="1268570"/>
                </a:cubicBezTo>
                <a:lnTo>
                  <a:pt x="304800" y="1269206"/>
                </a:lnTo>
                <a:cubicBezTo>
                  <a:pt x="307924" y="1270768"/>
                  <a:pt x="307866" y="1276321"/>
                  <a:pt x="307692" y="1282221"/>
                </a:cubicBezTo>
                <a:cubicBezTo>
                  <a:pt x="307692" y="1284535"/>
                  <a:pt x="307692" y="1286907"/>
                  <a:pt x="307692" y="1288873"/>
                </a:cubicBezTo>
                <a:cubicBezTo>
                  <a:pt x="307750" y="1291135"/>
                  <a:pt x="307634" y="1293402"/>
                  <a:pt x="307346" y="1295641"/>
                </a:cubicBezTo>
                <a:cubicBezTo>
                  <a:pt x="306709" y="1300616"/>
                  <a:pt x="306188" y="1304896"/>
                  <a:pt x="310180" y="1307210"/>
                </a:cubicBezTo>
                <a:cubicBezTo>
                  <a:pt x="313130" y="1309356"/>
                  <a:pt x="315270" y="1312433"/>
                  <a:pt x="316253" y="1315944"/>
                </a:cubicBezTo>
                <a:cubicBezTo>
                  <a:pt x="317121" y="1319473"/>
                  <a:pt x="319493" y="1322440"/>
                  <a:pt x="322732" y="1324043"/>
                </a:cubicBezTo>
                <a:cubicBezTo>
                  <a:pt x="326955" y="1326177"/>
                  <a:pt x="330483" y="1329491"/>
                  <a:pt x="332855" y="1333587"/>
                </a:cubicBezTo>
                <a:cubicBezTo>
                  <a:pt x="334764" y="1336190"/>
                  <a:pt x="336556" y="1338735"/>
                  <a:pt x="338640" y="1339371"/>
                </a:cubicBezTo>
                <a:cubicBezTo>
                  <a:pt x="345754" y="1341853"/>
                  <a:pt x="351539" y="1347198"/>
                  <a:pt x="354604" y="1354122"/>
                </a:cubicBezTo>
                <a:cubicBezTo>
                  <a:pt x="355645" y="1358749"/>
                  <a:pt x="350845" y="1363319"/>
                  <a:pt x="340028" y="1368120"/>
                </a:cubicBezTo>
                <a:cubicBezTo>
                  <a:pt x="339218" y="1368426"/>
                  <a:pt x="338408" y="1368583"/>
                  <a:pt x="337540" y="1368583"/>
                </a:cubicBezTo>
                <a:cubicBezTo>
                  <a:pt x="334648" y="1368311"/>
                  <a:pt x="331871" y="1367484"/>
                  <a:pt x="329326" y="1366153"/>
                </a:cubicBezTo>
                <a:cubicBezTo>
                  <a:pt x="325855" y="1364649"/>
                  <a:pt x="322385" y="1363261"/>
                  <a:pt x="321055" y="1364823"/>
                </a:cubicBezTo>
                <a:cubicBezTo>
                  <a:pt x="319724" y="1366385"/>
                  <a:pt x="320361" y="1371417"/>
                  <a:pt x="322327" y="1377780"/>
                </a:cubicBezTo>
                <a:cubicBezTo>
                  <a:pt x="323369" y="1381077"/>
                  <a:pt x="324525" y="1384837"/>
                  <a:pt x="325509" y="1389349"/>
                </a:cubicBezTo>
                <a:cubicBezTo>
                  <a:pt x="328517" y="1402479"/>
                  <a:pt x="330772" y="1403000"/>
                  <a:pt x="335920" y="1403000"/>
                </a:cubicBezTo>
                <a:cubicBezTo>
                  <a:pt x="339102" y="1402861"/>
                  <a:pt x="342110" y="1401519"/>
                  <a:pt x="344366" y="1399240"/>
                </a:cubicBezTo>
                <a:cubicBezTo>
                  <a:pt x="345523" y="1398228"/>
                  <a:pt x="346795" y="1397320"/>
                  <a:pt x="348125" y="1396522"/>
                </a:cubicBezTo>
                <a:cubicBezTo>
                  <a:pt x="349687" y="1395741"/>
                  <a:pt x="351365" y="1395382"/>
                  <a:pt x="353101" y="1395480"/>
                </a:cubicBezTo>
                <a:cubicBezTo>
                  <a:pt x="354778" y="1395480"/>
                  <a:pt x="356687" y="1395480"/>
                  <a:pt x="358480" y="1395885"/>
                </a:cubicBezTo>
                <a:cubicBezTo>
                  <a:pt x="361082" y="1396400"/>
                  <a:pt x="363802" y="1396400"/>
                  <a:pt x="366404" y="1395885"/>
                </a:cubicBezTo>
                <a:cubicBezTo>
                  <a:pt x="369644" y="1394850"/>
                  <a:pt x="373057" y="1394375"/>
                  <a:pt x="376469" y="1394497"/>
                </a:cubicBezTo>
                <a:cubicBezTo>
                  <a:pt x="380577" y="1394497"/>
                  <a:pt x="388038" y="1395018"/>
                  <a:pt x="390236" y="1398777"/>
                </a:cubicBezTo>
                <a:cubicBezTo>
                  <a:pt x="393186" y="1403463"/>
                  <a:pt x="396657" y="1415610"/>
                  <a:pt x="393880" y="1420527"/>
                </a:cubicBezTo>
                <a:cubicBezTo>
                  <a:pt x="392608" y="1422783"/>
                  <a:pt x="393880" y="1425328"/>
                  <a:pt x="396773" y="1429319"/>
                </a:cubicBezTo>
                <a:cubicBezTo>
                  <a:pt x="397930" y="1431003"/>
                  <a:pt x="399029" y="1432761"/>
                  <a:pt x="399954" y="1434583"/>
                </a:cubicBezTo>
                <a:cubicBezTo>
                  <a:pt x="401573" y="1437938"/>
                  <a:pt x="407185" y="1437996"/>
                  <a:pt x="412101" y="1438112"/>
                </a:cubicBezTo>
                <a:cubicBezTo>
                  <a:pt x="414531" y="1437990"/>
                  <a:pt x="417018" y="1438268"/>
                  <a:pt x="419390" y="1438921"/>
                </a:cubicBezTo>
                <a:cubicBezTo>
                  <a:pt x="424133" y="1440946"/>
                  <a:pt x="434140" y="1454771"/>
                  <a:pt x="432115" y="1461481"/>
                </a:cubicBezTo>
                <a:cubicBezTo>
                  <a:pt x="431653" y="1462423"/>
                  <a:pt x="431653" y="1463546"/>
                  <a:pt x="432115" y="1464489"/>
                </a:cubicBezTo>
                <a:cubicBezTo>
                  <a:pt x="433388" y="1465761"/>
                  <a:pt x="435181" y="1466397"/>
                  <a:pt x="436975" y="1466224"/>
                </a:cubicBezTo>
                <a:cubicBezTo>
                  <a:pt x="438189" y="1466235"/>
                  <a:pt x="439462" y="1466021"/>
                  <a:pt x="440618" y="1465588"/>
                </a:cubicBezTo>
                <a:cubicBezTo>
                  <a:pt x="441370" y="1465246"/>
                  <a:pt x="442180" y="1465073"/>
                  <a:pt x="442990" y="1465067"/>
                </a:cubicBezTo>
                <a:cubicBezTo>
                  <a:pt x="446172" y="1465553"/>
                  <a:pt x="449180" y="1467028"/>
                  <a:pt x="451493" y="1469290"/>
                </a:cubicBezTo>
                <a:lnTo>
                  <a:pt x="454964" y="1471719"/>
                </a:lnTo>
                <a:cubicBezTo>
                  <a:pt x="458955" y="1474148"/>
                  <a:pt x="462310" y="1473917"/>
                  <a:pt x="467748" y="1470504"/>
                </a:cubicBezTo>
                <a:cubicBezTo>
                  <a:pt x="470987" y="1468364"/>
                  <a:pt x="474804" y="1467109"/>
                  <a:pt x="478680" y="1466860"/>
                </a:cubicBezTo>
                <a:cubicBezTo>
                  <a:pt x="480994" y="1466542"/>
                  <a:pt x="483307" y="1467664"/>
                  <a:pt x="484465" y="1469695"/>
                </a:cubicBezTo>
                <a:cubicBezTo>
                  <a:pt x="486315" y="1472240"/>
                  <a:pt x="488398" y="1474600"/>
                  <a:pt x="490654" y="1476752"/>
                </a:cubicBezTo>
                <a:cubicBezTo>
                  <a:pt x="494298" y="1480511"/>
                  <a:pt x="496438" y="1482825"/>
                  <a:pt x="496438" y="1484445"/>
                </a:cubicBezTo>
                <a:cubicBezTo>
                  <a:pt x="498520" y="1484861"/>
                  <a:pt x="500604" y="1485035"/>
                  <a:pt x="502686" y="1484965"/>
                </a:cubicBezTo>
                <a:cubicBezTo>
                  <a:pt x="508007" y="1484763"/>
                  <a:pt x="513271" y="1485590"/>
                  <a:pt x="518246" y="1487395"/>
                </a:cubicBezTo>
                <a:cubicBezTo>
                  <a:pt x="521543" y="1488812"/>
                  <a:pt x="525014" y="1489691"/>
                  <a:pt x="528600" y="1489998"/>
                </a:cubicBezTo>
                <a:cubicBezTo>
                  <a:pt x="532996" y="1490356"/>
                  <a:pt x="537334" y="1491537"/>
                  <a:pt x="541325" y="1493468"/>
                </a:cubicBezTo>
                <a:cubicBezTo>
                  <a:pt x="543639" y="1494701"/>
                  <a:pt x="546069" y="1495782"/>
                  <a:pt x="548556" y="1496708"/>
                </a:cubicBezTo>
                <a:cubicBezTo>
                  <a:pt x="553357" y="1498617"/>
                  <a:pt x="557117" y="1500121"/>
                  <a:pt x="557638" y="1504054"/>
                </a:cubicBezTo>
                <a:cubicBezTo>
                  <a:pt x="558158" y="1507987"/>
                  <a:pt x="554919" y="1510417"/>
                  <a:pt x="552374" y="1512788"/>
                </a:cubicBezTo>
                <a:cubicBezTo>
                  <a:pt x="551332" y="1513714"/>
                  <a:pt x="549828" y="1515160"/>
                  <a:pt x="549771" y="1515681"/>
                </a:cubicBezTo>
                <a:cubicBezTo>
                  <a:pt x="549713" y="1516201"/>
                  <a:pt x="551217" y="1517185"/>
                  <a:pt x="552142" y="1517879"/>
                </a:cubicBezTo>
                <a:cubicBezTo>
                  <a:pt x="554052" y="1519267"/>
                  <a:pt x="556423" y="1520944"/>
                  <a:pt x="556423" y="1523663"/>
                </a:cubicBezTo>
                <a:cubicBezTo>
                  <a:pt x="556423" y="1526382"/>
                  <a:pt x="553415" y="1527539"/>
                  <a:pt x="550638" y="1528522"/>
                </a:cubicBezTo>
                <a:cubicBezTo>
                  <a:pt x="548961" y="1529158"/>
                  <a:pt x="546994" y="1529853"/>
                  <a:pt x="546647" y="1530720"/>
                </a:cubicBezTo>
                <a:cubicBezTo>
                  <a:pt x="546300" y="1531588"/>
                  <a:pt x="548093" y="1534249"/>
                  <a:pt x="549655" y="1536042"/>
                </a:cubicBezTo>
                <a:cubicBezTo>
                  <a:pt x="550870" y="1537274"/>
                  <a:pt x="551853" y="1538680"/>
                  <a:pt x="552663" y="1540207"/>
                </a:cubicBezTo>
                <a:cubicBezTo>
                  <a:pt x="553473" y="1542231"/>
                  <a:pt x="552142" y="1545991"/>
                  <a:pt x="550002" y="1550908"/>
                </a:cubicBezTo>
                <a:cubicBezTo>
                  <a:pt x="549076" y="1552840"/>
                  <a:pt x="548382" y="1554882"/>
                  <a:pt x="547920" y="1556982"/>
                </a:cubicBezTo>
                <a:cubicBezTo>
                  <a:pt x="547920" y="1559295"/>
                  <a:pt x="544391" y="1559295"/>
                  <a:pt x="542887" y="1559295"/>
                </a:cubicBezTo>
                <a:cubicBezTo>
                  <a:pt x="538896" y="1559157"/>
                  <a:pt x="534905" y="1558786"/>
                  <a:pt x="530914" y="1558196"/>
                </a:cubicBezTo>
                <a:cubicBezTo>
                  <a:pt x="528022" y="1557849"/>
                  <a:pt x="525534" y="1557502"/>
                  <a:pt x="524377" y="1557502"/>
                </a:cubicBezTo>
                <a:cubicBezTo>
                  <a:pt x="523220" y="1557502"/>
                  <a:pt x="517783" y="1561551"/>
                  <a:pt x="513907" y="1564733"/>
                </a:cubicBezTo>
                <a:cubicBezTo>
                  <a:pt x="510899" y="1567874"/>
                  <a:pt x="507313" y="1570361"/>
                  <a:pt x="503322" y="1572021"/>
                </a:cubicBezTo>
                <a:cubicBezTo>
                  <a:pt x="503033" y="1572050"/>
                  <a:pt x="502744" y="1572218"/>
                  <a:pt x="502570" y="1572484"/>
                </a:cubicBezTo>
                <a:cubicBezTo>
                  <a:pt x="501471" y="1574046"/>
                  <a:pt x="502570" y="1578847"/>
                  <a:pt x="503380" y="1582549"/>
                </a:cubicBezTo>
                <a:cubicBezTo>
                  <a:pt x="509858" y="1581270"/>
                  <a:pt x="516395" y="1580536"/>
                  <a:pt x="522989" y="1580351"/>
                </a:cubicBezTo>
                <a:cubicBezTo>
                  <a:pt x="527964" y="1580351"/>
                  <a:pt x="530624" y="1581103"/>
                  <a:pt x="531434" y="1582780"/>
                </a:cubicBezTo>
                <a:cubicBezTo>
                  <a:pt x="531781" y="1583474"/>
                  <a:pt x="531781" y="1584284"/>
                  <a:pt x="531434" y="1584978"/>
                </a:cubicBezTo>
                <a:cubicBezTo>
                  <a:pt x="528716" y="1591804"/>
                  <a:pt x="497190" y="1603951"/>
                  <a:pt x="496728" y="1604067"/>
                </a:cubicBezTo>
                <a:lnTo>
                  <a:pt x="496265" y="1604067"/>
                </a:lnTo>
                <a:cubicBezTo>
                  <a:pt x="496265" y="1604877"/>
                  <a:pt x="499272" y="1607595"/>
                  <a:pt x="501124" y="1609215"/>
                </a:cubicBezTo>
                <a:cubicBezTo>
                  <a:pt x="504710" y="1612396"/>
                  <a:pt x="508181" y="1615404"/>
                  <a:pt x="507949" y="1618239"/>
                </a:cubicBezTo>
                <a:cubicBezTo>
                  <a:pt x="507718" y="1621073"/>
                  <a:pt x="504594" y="1622288"/>
                  <a:pt x="500950" y="1624023"/>
                </a:cubicBezTo>
                <a:cubicBezTo>
                  <a:pt x="496265" y="1626221"/>
                  <a:pt x="490943" y="1628766"/>
                  <a:pt x="491753" y="1633683"/>
                </a:cubicBezTo>
                <a:cubicBezTo>
                  <a:pt x="492563" y="1636755"/>
                  <a:pt x="491869" y="1640017"/>
                  <a:pt x="489960" y="1642533"/>
                </a:cubicBezTo>
                <a:cubicBezTo>
                  <a:pt x="485969" y="1645802"/>
                  <a:pt x="480821" y="1647328"/>
                  <a:pt x="475730" y="1646756"/>
                </a:cubicBezTo>
                <a:cubicBezTo>
                  <a:pt x="469946" y="1646756"/>
                  <a:pt x="467516" y="1648896"/>
                  <a:pt x="467458" y="1650053"/>
                </a:cubicBezTo>
                <a:cubicBezTo>
                  <a:pt x="467400" y="1651210"/>
                  <a:pt x="468268" y="1650863"/>
                  <a:pt x="468673" y="1650921"/>
                </a:cubicBezTo>
                <a:cubicBezTo>
                  <a:pt x="470698" y="1651326"/>
                  <a:pt x="471796" y="1653177"/>
                  <a:pt x="473185" y="1655490"/>
                </a:cubicBezTo>
                <a:cubicBezTo>
                  <a:pt x="476598" y="1662108"/>
                  <a:pt x="482845" y="1666828"/>
                  <a:pt x="490133" y="1668332"/>
                </a:cubicBezTo>
                <a:cubicBezTo>
                  <a:pt x="505057" y="1672150"/>
                  <a:pt x="522352" y="1684644"/>
                  <a:pt x="541557" y="1705410"/>
                </a:cubicBezTo>
                <a:cubicBezTo>
                  <a:pt x="543408" y="1707365"/>
                  <a:pt x="545548" y="1709060"/>
                  <a:pt x="547862" y="1710442"/>
                </a:cubicBezTo>
                <a:cubicBezTo>
                  <a:pt x="550928" y="1707984"/>
                  <a:pt x="554398" y="1706087"/>
                  <a:pt x="558100" y="1704832"/>
                </a:cubicBezTo>
                <a:cubicBezTo>
                  <a:pt x="570017" y="1704641"/>
                  <a:pt x="581759" y="1708094"/>
                  <a:pt x="591650" y="1714723"/>
                </a:cubicBezTo>
                <a:cubicBezTo>
                  <a:pt x="595815" y="1716690"/>
                  <a:pt x="600385" y="1717488"/>
                  <a:pt x="604954" y="1717037"/>
                </a:cubicBezTo>
                <a:cubicBezTo>
                  <a:pt x="608425" y="1717037"/>
                  <a:pt x="612127" y="1717037"/>
                  <a:pt x="615713" y="1716690"/>
                </a:cubicBezTo>
                <a:cubicBezTo>
                  <a:pt x="619299" y="1716342"/>
                  <a:pt x="622192" y="1716342"/>
                  <a:pt x="624911" y="1716342"/>
                </a:cubicBezTo>
                <a:cubicBezTo>
                  <a:pt x="630695" y="1716342"/>
                  <a:pt x="633124" y="1716979"/>
                  <a:pt x="634282" y="1718541"/>
                </a:cubicBezTo>
                <a:cubicBezTo>
                  <a:pt x="638041" y="1724042"/>
                  <a:pt x="643825" y="1727831"/>
                  <a:pt x="650362" y="1729068"/>
                </a:cubicBezTo>
                <a:cubicBezTo>
                  <a:pt x="653833" y="1729687"/>
                  <a:pt x="656956" y="1731509"/>
                  <a:pt x="659212" y="1734216"/>
                </a:cubicBezTo>
                <a:cubicBezTo>
                  <a:pt x="661989" y="1736704"/>
                  <a:pt x="664997" y="1739191"/>
                  <a:pt x="666616" y="1737745"/>
                </a:cubicBezTo>
                <a:cubicBezTo>
                  <a:pt x="670087" y="1735142"/>
                  <a:pt x="679400" y="1733869"/>
                  <a:pt x="695191" y="1733869"/>
                </a:cubicBezTo>
                <a:cubicBezTo>
                  <a:pt x="697331" y="1733783"/>
                  <a:pt x="699356" y="1734506"/>
                  <a:pt x="700975" y="1735894"/>
                </a:cubicBezTo>
                <a:cubicBezTo>
                  <a:pt x="702133" y="1736953"/>
                  <a:pt x="703637" y="1737531"/>
                  <a:pt x="705199" y="1737514"/>
                </a:cubicBezTo>
                <a:cubicBezTo>
                  <a:pt x="708611" y="1737514"/>
                  <a:pt x="709884" y="1742835"/>
                  <a:pt x="710983" y="1747983"/>
                </a:cubicBezTo>
                <a:cubicBezTo>
                  <a:pt x="711561" y="1750297"/>
                  <a:pt x="712486" y="1754173"/>
                  <a:pt x="713296" y="1754578"/>
                </a:cubicBezTo>
                <a:cubicBezTo>
                  <a:pt x="713586" y="1754502"/>
                  <a:pt x="713817" y="1754502"/>
                  <a:pt x="714106" y="1754578"/>
                </a:cubicBezTo>
                <a:cubicBezTo>
                  <a:pt x="717866" y="1755492"/>
                  <a:pt x="721395" y="1757209"/>
                  <a:pt x="724403" y="1759610"/>
                </a:cubicBezTo>
                <a:cubicBezTo>
                  <a:pt x="728857" y="1762849"/>
                  <a:pt x="733831" y="1765273"/>
                  <a:pt x="739153" y="1766783"/>
                </a:cubicBezTo>
                <a:cubicBezTo>
                  <a:pt x="744590" y="1768541"/>
                  <a:pt x="749449" y="1771885"/>
                  <a:pt x="752977" y="1776385"/>
                </a:cubicBezTo>
                <a:cubicBezTo>
                  <a:pt x="755349" y="1778699"/>
                  <a:pt x="757953" y="1781417"/>
                  <a:pt x="759167" y="1781417"/>
                </a:cubicBezTo>
                <a:cubicBezTo>
                  <a:pt x="759572" y="1781088"/>
                  <a:pt x="760035" y="1780850"/>
                  <a:pt x="760555" y="1780723"/>
                </a:cubicBezTo>
                <a:close/>
                <a:moveTo>
                  <a:pt x="3369911" y="1631138"/>
                </a:moveTo>
                <a:cubicBezTo>
                  <a:pt x="3369217" y="1631115"/>
                  <a:pt x="3368581" y="1630935"/>
                  <a:pt x="3367944" y="1630617"/>
                </a:cubicBezTo>
                <a:cubicBezTo>
                  <a:pt x="3364242" y="1628298"/>
                  <a:pt x="3361350" y="1624879"/>
                  <a:pt x="3359672" y="1620842"/>
                </a:cubicBezTo>
                <a:cubicBezTo>
                  <a:pt x="3356665" y="1615462"/>
                  <a:pt x="3353888" y="1610314"/>
                  <a:pt x="3347467" y="1610314"/>
                </a:cubicBezTo>
                <a:cubicBezTo>
                  <a:pt x="3346715" y="1610233"/>
                  <a:pt x="3345905" y="1610233"/>
                  <a:pt x="3345153" y="1610314"/>
                </a:cubicBezTo>
                <a:cubicBezTo>
                  <a:pt x="3338444" y="1611413"/>
                  <a:pt x="3336708" y="1618354"/>
                  <a:pt x="3335262" y="1623907"/>
                </a:cubicBezTo>
                <a:cubicBezTo>
                  <a:pt x="3334279" y="1627783"/>
                  <a:pt x="3333527" y="1630849"/>
                  <a:pt x="3331040" y="1630849"/>
                </a:cubicBezTo>
                <a:cubicBezTo>
                  <a:pt x="3329709" y="1630849"/>
                  <a:pt x="3328263" y="1629865"/>
                  <a:pt x="3326354" y="1627667"/>
                </a:cubicBezTo>
                <a:cubicBezTo>
                  <a:pt x="3323520" y="1624370"/>
                  <a:pt x="3325255" y="1612628"/>
                  <a:pt x="3328321" y="1593770"/>
                </a:cubicBezTo>
                <a:cubicBezTo>
                  <a:pt x="3331156" y="1576417"/>
                  <a:pt x="3334106" y="1557271"/>
                  <a:pt x="3331098" y="1550792"/>
                </a:cubicBezTo>
                <a:cubicBezTo>
                  <a:pt x="3328090" y="1544314"/>
                  <a:pt x="3329825" y="1521870"/>
                  <a:pt x="3332138" y="1498732"/>
                </a:cubicBezTo>
                <a:cubicBezTo>
                  <a:pt x="3334337" y="1476231"/>
                  <a:pt x="3336593" y="1452920"/>
                  <a:pt x="3333469" y="1445920"/>
                </a:cubicBezTo>
                <a:cubicBezTo>
                  <a:pt x="3329940" y="1437938"/>
                  <a:pt x="3318777" y="1410346"/>
                  <a:pt x="3324503" y="1391026"/>
                </a:cubicBezTo>
                <a:cubicBezTo>
                  <a:pt x="3325892" y="1385230"/>
                  <a:pt x="3325892" y="1379180"/>
                  <a:pt x="3324503" y="1373384"/>
                </a:cubicBezTo>
                <a:cubicBezTo>
                  <a:pt x="3323751" y="1369045"/>
                  <a:pt x="3323173" y="1365575"/>
                  <a:pt x="3324966" y="1363145"/>
                </a:cubicBezTo>
                <a:cubicBezTo>
                  <a:pt x="3326470" y="1361485"/>
                  <a:pt x="3328552" y="1360484"/>
                  <a:pt x="3330750" y="1360369"/>
                </a:cubicBezTo>
                <a:cubicBezTo>
                  <a:pt x="3337114" y="1359559"/>
                  <a:pt x="3337634" y="1353023"/>
                  <a:pt x="3338212" y="1346081"/>
                </a:cubicBezTo>
                <a:cubicBezTo>
                  <a:pt x="3338675" y="1340297"/>
                  <a:pt x="3339196" y="1334512"/>
                  <a:pt x="3343187" y="1332199"/>
                </a:cubicBezTo>
                <a:cubicBezTo>
                  <a:pt x="3343881" y="1331736"/>
                  <a:pt x="3344691" y="1331481"/>
                  <a:pt x="3345559" y="1331447"/>
                </a:cubicBezTo>
                <a:cubicBezTo>
                  <a:pt x="3348625" y="1331447"/>
                  <a:pt x="3349319" y="1335264"/>
                  <a:pt x="3350302" y="1340528"/>
                </a:cubicBezTo>
                <a:cubicBezTo>
                  <a:pt x="3351054" y="1349777"/>
                  <a:pt x="3355334" y="1358391"/>
                  <a:pt x="3362218" y="1364591"/>
                </a:cubicBezTo>
                <a:cubicBezTo>
                  <a:pt x="3371473" y="1371533"/>
                  <a:pt x="3369043" y="1381945"/>
                  <a:pt x="3366498" y="1392762"/>
                </a:cubicBezTo>
                <a:cubicBezTo>
                  <a:pt x="3363144" y="1402612"/>
                  <a:pt x="3362912" y="1413262"/>
                  <a:pt x="3365862" y="1423246"/>
                </a:cubicBezTo>
                <a:cubicBezTo>
                  <a:pt x="3370316" y="1434814"/>
                  <a:pt x="3376563" y="1457952"/>
                  <a:pt x="3382000" y="1477561"/>
                </a:cubicBezTo>
                <a:cubicBezTo>
                  <a:pt x="3385529" y="1491930"/>
                  <a:pt x="3389810" y="1506102"/>
                  <a:pt x="3394842" y="1520019"/>
                </a:cubicBezTo>
                <a:cubicBezTo>
                  <a:pt x="3396867" y="1523721"/>
                  <a:pt x="3398486" y="1528580"/>
                  <a:pt x="3396924" y="1531183"/>
                </a:cubicBezTo>
                <a:cubicBezTo>
                  <a:pt x="3396404" y="1532160"/>
                  <a:pt x="3395305" y="1532745"/>
                  <a:pt x="3394206" y="1532687"/>
                </a:cubicBezTo>
                <a:cubicBezTo>
                  <a:pt x="3391834" y="1532687"/>
                  <a:pt x="3388422" y="1530489"/>
                  <a:pt x="3384198" y="1526208"/>
                </a:cubicBezTo>
                <a:cubicBezTo>
                  <a:pt x="3379166" y="1521043"/>
                  <a:pt x="3372399" y="1517948"/>
                  <a:pt x="3365168" y="1517532"/>
                </a:cubicBezTo>
                <a:cubicBezTo>
                  <a:pt x="3359499" y="1516843"/>
                  <a:pt x="3354351" y="1520887"/>
                  <a:pt x="3353657" y="1526561"/>
                </a:cubicBezTo>
                <a:cubicBezTo>
                  <a:pt x="3353541" y="1527249"/>
                  <a:pt x="3353541" y="1527944"/>
                  <a:pt x="3353599" y="1528638"/>
                </a:cubicBezTo>
                <a:cubicBezTo>
                  <a:pt x="3353194" y="1536013"/>
                  <a:pt x="3351517" y="1543261"/>
                  <a:pt x="3348740" y="1550098"/>
                </a:cubicBezTo>
                <a:cubicBezTo>
                  <a:pt x="3345963" y="1558254"/>
                  <a:pt x="3343303" y="1565947"/>
                  <a:pt x="3345443" y="1572715"/>
                </a:cubicBezTo>
                <a:lnTo>
                  <a:pt x="3345443" y="1573583"/>
                </a:lnTo>
                <a:cubicBezTo>
                  <a:pt x="3349203" y="1585499"/>
                  <a:pt x="3355681" y="1605629"/>
                  <a:pt x="3362796" y="1604298"/>
                </a:cubicBezTo>
                <a:lnTo>
                  <a:pt x="3363664" y="1604298"/>
                </a:lnTo>
                <a:cubicBezTo>
                  <a:pt x="3369737" y="1604298"/>
                  <a:pt x="3373497" y="1617024"/>
                  <a:pt x="3373497" y="1623965"/>
                </a:cubicBezTo>
                <a:cubicBezTo>
                  <a:pt x="3373497" y="1630907"/>
                  <a:pt x="3371183" y="1630849"/>
                  <a:pt x="3369911" y="1630849"/>
                </a:cubicBezTo>
                <a:close/>
                <a:moveTo>
                  <a:pt x="3347467" y="1608000"/>
                </a:moveTo>
                <a:cubicBezTo>
                  <a:pt x="3355161" y="1608000"/>
                  <a:pt x="3358632" y="1614189"/>
                  <a:pt x="3361640" y="1619569"/>
                </a:cubicBezTo>
                <a:cubicBezTo>
                  <a:pt x="3363086" y="1623184"/>
                  <a:pt x="3365631" y="1626273"/>
                  <a:pt x="3368870" y="1628419"/>
                </a:cubicBezTo>
                <a:cubicBezTo>
                  <a:pt x="3369217" y="1628581"/>
                  <a:pt x="3369564" y="1628679"/>
                  <a:pt x="3369911" y="1628708"/>
                </a:cubicBezTo>
                <a:cubicBezTo>
                  <a:pt x="3371299" y="1628708"/>
                  <a:pt x="3371820" y="1626106"/>
                  <a:pt x="3371820" y="1623676"/>
                </a:cubicBezTo>
                <a:cubicBezTo>
                  <a:pt x="3371820" y="1616098"/>
                  <a:pt x="3367655" y="1605571"/>
                  <a:pt x="3363780" y="1606323"/>
                </a:cubicBezTo>
                <a:lnTo>
                  <a:pt x="3362680" y="1606323"/>
                </a:lnTo>
                <a:cubicBezTo>
                  <a:pt x="3354409" y="1606323"/>
                  <a:pt x="3348509" y="1587639"/>
                  <a:pt x="3344171" y="1573988"/>
                </a:cubicBezTo>
                <a:lnTo>
                  <a:pt x="3343881" y="1573120"/>
                </a:lnTo>
                <a:cubicBezTo>
                  <a:pt x="3341567" y="1565600"/>
                  <a:pt x="3344344" y="1557560"/>
                  <a:pt x="3347236" y="1549057"/>
                </a:cubicBezTo>
                <a:cubicBezTo>
                  <a:pt x="3349955" y="1542463"/>
                  <a:pt x="3351575" y="1535463"/>
                  <a:pt x="3351979" y="1528349"/>
                </a:cubicBezTo>
                <a:cubicBezTo>
                  <a:pt x="3351459" y="1521465"/>
                  <a:pt x="3356665" y="1515478"/>
                  <a:pt x="3363548" y="1514969"/>
                </a:cubicBezTo>
                <a:cubicBezTo>
                  <a:pt x="3364184" y="1514917"/>
                  <a:pt x="3364879" y="1514923"/>
                  <a:pt x="3365573" y="1514987"/>
                </a:cubicBezTo>
                <a:cubicBezTo>
                  <a:pt x="3373381" y="1515368"/>
                  <a:pt x="3380728" y="1518694"/>
                  <a:pt x="3386166" y="1524300"/>
                </a:cubicBezTo>
                <a:cubicBezTo>
                  <a:pt x="3391429" y="1529563"/>
                  <a:pt x="3393859" y="1530084"/>
                  <a:pt x="3394611" y="1530084"/>
                </a:cubicBezTo>
                <a:cubicBezTo>
                  <a:pt x="3394958" y="1530113"/>
                  <a:pt x="3395247" y="1529957"/>
                  <a:pt x="3395420" y="1529679"/>
                </a:cubicBezTo>
                <a:cubicBezTo>
                  <a:pt x="3395883" y="1526544"/>
                  <a:pt x="3395131" y="1523339"/>
                  <a:pt x="3393280" y="1520771"/>
                </a:cubicBezTo>
                <a:cubicBezTo>
                  <a:pt x="3388074" y="1506715"/>
                  <a:pt x="3383736" y="1492364"/>
                  <a:pt x="3380265" y="1477793"/>
                </a:cubicBezTo>
                <a:cubicBezTo>
                  <a:pt x="3374481" y="1457952"/>
                  <a:pt x="3368696" y="1435393"/>
                  <a:pt x="3364127" y="1423708"/>
                </a:cubicBezTo>
                <a:cubicBezTo>
                  <a:pt x="3361061" y="1413296"/>
                  <a:pt x="3361234" y="1402190"/>
                  <a:pt x="3364705" y="1391894"/>
                </a:cubicBezTo>
                <a:cubicBezTo>
                  <a:pt x="3367308" y="1380846"/>
                  <a:pt x="3369333" y="1372053"/>
                  <a:pt x="3361292" y="1366037"/>
                </a:cubicBezTo>
                <a:cubicBezTo>
                  <a:pt x="3353946" y="1359501"/>
                  <a:pt x="3349377" y="1350391"/>
                  <a:pt x="3348509" y="1340586"/>
                </a:cubicBezTo>
                <a:cubicBezTo>
                  <a:pt x="3347815" y="1337000"/>
                  <a:pt x="3347121" y="1333355"/>
                  <a:pt x="3345963" y="1333355"/>
                </a:cubicBezTo>
                <a:cubicBezTo>
                  <a:pt x="3345559" y="1333390"/>
                  <a:pt x="3345153" y="1333552"/>
                  <a:pt x="3344807" y="1333818"/>
                </a:cubicBezTo>
                <a:cubicBezTo>
                  <a:pt x="3341741" y="1335612"/>
                  <a:pt x="3341336" y="1340586"/>
                  <a:pt x="3340873" y="1345908"/>
                </a:cubicBezTo>
                <a:cubicBezTo>
                  <a:pt x="3340295" y="1353080"/>
                  <a:pt x="3339601" y="1361236"/>
                  <a:pt x="3331444" y="1362220"/>
                </a:cubicBezTo>
                <a:cubicBezTo>
                  <a:pt x="3329767" y="1362243"/>
                  <a:pt x="3328148" y="1362925"/>
                  <a:pt x="3326933" y="1364129"/>
                </a:cubicBezTo>
                <a:cubicBezTo>
                  <a:pt x="3325718" y="1365806"/>
                  <a:pt x="3326239" y="1368814"/>
                  <a:pt x="3326933" y="1372632"/>
                </a:cubicBezTo>
                <a:cubicBezTo>
                  <a:pt x="3328437" y="1378786"/>
                  <a:pt x="3328437" y="1385219"/>
                  <a:pt x="3326933" y="1391373"/>
                </a:cubicBezTo>
                <a:cubicBezTo>
                  <a:pt x="3321149" y="1409884"/>
                  <a:pt x="3332312" y="1436839"/>
                  <a:pt x="3335783" y="1444648"/>
                </a:cubicBezTo>
                <a:cubicBezTo>
                  <a:pt x="3339254" y="1452457"/>
                  <a:pt x="3336940" y="1474727"/>
                  <a:pt x="3334626" y="1498559"/>
                </a:cubicBezTo>
                <a:cubicBezTo>
                  <a:pt x="3332486" y="1520655"/>
                  <a:pt x="3330230" y="1543446"/>
                  <a:pt x="3333354" y="1549635"/>
                </a:cubicBezTo>
                <a:cubicBezTo>
                  <a:pt x="3336940" y="1556808"/>
                  <a:pt x="3333816" y="1575723"/>
                  <a:pt x="3330808" y="1594060"/>
                </a:cubicBezTo>
                <a:cubicBezTo>
                  <a:pt x="3328552" y="1607827"/>
                  <a:pt x="3326007" y="1623387"/>
                  <a:pt x="3328321" y="1626106"/>
                </a:cubicBezTo>
                <a:cubicBezTo>
                  <a:pt x="3330635" y="1628824"/>
                  <a:pt x="3331040" y="1628535"/>
                  <a:pt x="3331271" y="1628535"/>
                </a:cubicBezTo>
                <a:cubicBezTo>
                  <a:pt x="3331502" y="1628535"/>
                  <a:pt x="3332775" y="1625469"/>
                  <a:pt x="3333354" y="1623271"/>
                </a:cubicBezTo>
                <a:cubicBezTo>
                  <a:pt x="3334742" y="1617487"/>
                  <a:pt x="3336882" y="1609331"/>
                  <a:pt x="3344923" y="1607942"/>
                </a:cubicBezTo>
                <a:cubicBezTo>
                  <a:pt x="3345790" y="1607838"/>
                  <a:pt x="3346600" y="1607780"/>
                  <a:pt x="3347467" y="1607769"/>
                </a:cubicBezTo>
                <a:close/>
                <a:moveTo>
                  <a:pt x="2288917" y="1435798"/>
                </a:moveTo>
                <a:cubicBezTo>
                  <a:pt x="2282265" y="1435798"/>
                  <a:pt x="2278216" y="1434757"/>
                  <a:pt x="2276828" y="1432674"/>
                </a:cubicBezTo>
                <a:cubicBezTo>
                  <a:pt x="2276423" y="1431992"/>
                  <a:pt x="2276423" y="1431159"/>
                  <a:pt x="2276828" y="1430476"/>
                </a:cubicBezTo>
                <a:cubicBezTo>
                  <a:pt x="2277580" y="1428220"/>
                  <a:pt x="2281571" y="1426832"/>
                  <a:pt x="2289727" y="1424171"/>
                </a:cubicBezTo>
                <a:cubicBezTo>
                  <a:pt x="2302858" y="1419891"/>
                  <a:pt x="2322583" y="1413470"/>
                  <a:pt x="2329177" y="1398893"/>
                </a:cubicBezTo>
                <a:cubicBezTo>
                  <a:pt x="2334614" y="1386746"/>
                  <a:pt x="2347687" y="1377433"/>
                  <a:pt x="2361512" y="1367541"/>
                </a:cubicBezTo>
                <a:cubicBezTo>
                  <a:pt x="2375337" y="1357650"/>
                  <a:pt x="2391648" y="1346023"/>
                  <a:pt x="2402003" y="1329654"/>
                </a:cubicBezTo>
                <a:cubicBezTo>
                  <a:pt x="2407209" y="1321440"/>
                  <a:pt x="2412010" y="1311837"/>
                  <a:pt x="2416638" y="1302582"/>
                </a:cubicBezTo>
                <a:cubicBezTo>
                  <a:pt x="2425314" y="1285229"/>
                  <a:pt x="2432139" y="1271693"/>
                  <a:pt x="2438387" y="1273660"/>
                </a:cubicBezTo>
                <a:cubicBezTo>
                  <a:pt x="2439660" y="1274007"/>
                  <a:pt x="2440585" y="1275280"/>
                  <a:pt x="2441048" y="1277420"/>
                </a:cubicBezTo>
                <a:cubicBezTo>
                  <a:pt x="2444576" y="1292864"/>
                  <a:pt x="2429074" y="1354122"/>
                  <a:pt x="2408539" y="1372516"/>
                </a:cubicBezTo>
                <a:cubicBezTo>
                  <a:pt x="2396797" y="1381580"/>
                  <a:pt x="2383608" y="1388655"/>
                  <a:pt x="2369552" y="1393456"/>
                </a:cubicBezTo>
                <a:cubicBezTo>
                  <a:pt x="2353587" y="1399934"/>
                  <a:pt x="2339878" y="1405487"/>
                  <a:pt x="2339878" y="1414048"/>
                </a:cubicBezTo>
                <a:cubicBezTo>
                  <a:pt x="2339357" y="1427873"/>
                  <a:pt x="2305924" y="1435566"/>
                  <a:pt x="2288743" y="1435566"/>
                </a:cubicBezTo>
                <a:close/>
                <a:moveTo>
                  <a:pt x="2436883" y="1275569"/>
                </a:moveTo>
                <a:cubicBezTo>
                  <a:pt x="2432313" y="1275569"/>
                  <a:pt x="2425314" y="1289799"/>
                  <a:pt x="2418315" y="1303566"/>
                </a:cubicBezTo>
                <a:cubicBezTo>
                  <a:pt x="2413860" y="1312474"/>
                  <a:pt x="2408828" y="1322597"/>
                  <a:pt x="2403565" y="1330868"/>
                </a:cubicBezTo>
                <a:cubicBezTo>
                  <a:pt x="2393037" y="1347585"/>
                  <a:pt x="2376783" y="1359154"/>
                  <a:pt x="2362495" y="1369393"/>
                </a:cubicBezTo>
                <a:cubicBezTo>
                  <a:pt x="2348207" y="1379631"/>
                  <a:pt x="2336176" y="1388192"/>
                  <a:pt x="2330912" y="1399819"/>
                </a:cubicBezTo>
                <a:cubicBezTo>
                  <a:pt x="2323971" y="1415321"/>
                  <a:pt x="2303610" y="1421915"/>
                  <a:pt x="2290421" y="1426311"/>
                </a:cubicBezTo>
                <a:cubicBezTo>
                  <a:pt x="2285273" y="1427989"/>
                  <a:pt x="2279373" y="1429898"/>
                  <a:pt x="2278852" y="1431228"/>
                </a:cubicBezTo>
                <a:cubicBezTo>
                  <a:pt x="2279662" y="1432443"/>
                  <a:pt x="2282670" y="1433542"/>
                  <a:pt x="2289149" y="1433542"/>
                </a:cubicBezTo>
                <a:cubicBezTo>
                  <a:pt x="2299734" y="1433334"/>
                  <a:pt x="2310146" y="1431477"/>
                  <a:pt x="2320153" y="1428047"/>
                </a:cubicBezTo>
                <a:cubicBezTo>
                  <a:pt x="2331317" y="1424055"/>
                  <a:pt x="2337506" y="1419023"/>
                  <a:pt x="2337506" y="1413875"/>
                </a:cubicBezTo>
                <a:cubicBezTo>
                  <a:pt x="2337506" y="1403810"/>
                  <a:pt x="2351909" y="1397968"/>
                  <a:pt x="2368569" y="1391200"/>
                </a:cubicBezTo>
                <a:cubicBezTo>
                  <a:pt x="2382394" y="1386509"/>
                  <a:pt x="2395351" y="1379573"/>
                  <a:pt x="2406919" y="1370665"/>
                </a:cubicBezTo>
                <a:cubicBezTo>
                  <a:pt x="2427570" y="1352155"/>
                  <a:pt x="2441626" y="1290724"/>
                  <a:pt x="2438734" y="1277767"/>
                </a:cubicBezTo>
                <a:cubicBezTo>
                  <a:pt x="2438734" y="1276379"/>
                  <a:pt x="2437982" y="1275743"/>
                  <a:pt x="2437635" y="1275685"/>
                </a:cubicBezTo>
                <a:close/>
                <a:moveTo>
                  <a:pt x="67176" y="1321845"/>
                </a:moveTo>
                <a:cubicBezTo>
                  <a:pt x="49476" y="1321723"/>
                  <a:pt x="31833" y="1320196"/>
                  <a:pt x="14364" y="1317275"/>
                </a:cubicBezTo>
                <a:cubicBezTo>
                  <a:pt x="11993" y="1316234"/>
                  <a:pt x="5398" y="1313920"/>
                  <a:pt x="655" y="1312184"/>
                </a:cubicBezTo>
                <a:cubicBezTo>
                  <a:pt x="53" y="1311971"/>
                  <a:pt x="-259" y="1311305"/>
                  <a:pt x="-39" y="1310704"/>
                </a:cubicBezTo>
                <a:cubicBezTo>
                  <a:pt x="-22" y="1310657"/>
                  <a:pt x="-4" y="1310611"/>
                  <a:pt x="19" y="1310565"/>
                </a:cubicBezTo>
                <a:cubicBezTo>
                  <a:pt x="1181" y="1308870"/>
                  <a:pt x="1713" y="1306822"/>
                  <a:pt x="1523" y="1304780"/>
                </a:cubicBezTo>
                <a:cubicBezTo>
                  <a:pt x="1395" y="1303699"/>
                  <a:pt x="1754" y="1302617"/>
                  <a:pt x="2506" y="1301830"/>
                </a:cubicBezTo>
                <a:cubicBezTo>
                  <a:pt x="5687" y="1299042"/>
                  <a:pt x="9852" y="1297573"/>
                  <a:pt x="14075" y="1297723"/>
                </a:cubicBezTo>
                <a:cubicBezTo>
                  <a:pt x="19165" y="1297723"/>
                  <a:pt x="22231" y="1299864"/>
                  <a:pt x="22231" y="1303508"/>
                </a:cubicBezTo>
                <a:cubicBezTo>
                  <a:pt x="22289" y="1304995"/>
                  <a:pt x="23099" y="1306348"/>
                  <a:pt x="24429" y="1307036"/>
                </a:cubicBezTo>
                <a:cubicBezTo>
                  <a:pt x="25991" y="1307892"/>
                  <a:pt x="27726" y="1308326"/>
                  <a:pt x="29519" y="1308309"/>
                </a:cubicBezTo>
                <a:cubicBezTo>
                  <a:pt x="31139" y="1308506"/>
                  <a:pt x="32701" y="1307950"/>
                  <a:pt x="33858" y="1306805"/>
                </a:cubicBezTo>
                <a:cubicBezTo>
                  <a:pt x="34263" y="1305995"/>
                  <a:pt x="33858" y="1304954"/>
                  <a:pt x="33106" y="1304202"/>
                </a:cubicBezTo>
                <a:cubicBezTo>
                  <a:pt x="32122" y="1303022"/>
                  <a:pt x="31659" y="1301460"/>
                  <a:pt x="31891" y="1299921"/>
                </a:cubicBezTo>
                <a:cubicBezTo>
                  <a:pt x="32411" y="1297376"/>
                  <a:pt x="35130" y="1295815"/>
                  <a:pt x="37676" y="1294137"/>
                </a:cubicBezTo>
                <a:cubicBezTo>
                  <a:pt x="41609" y="1291881"/>
                  <a:pt x="42765" y="1290782"/>
                  <a:pt x="41782" y="1289047"/>
                </a:cubicBezTo>
                <a:cubicBezTo>
                  <a:pt x="40857" y="1287450"/>
                  <a:pt x="39526" y="1286143"/>
                  <a:pt x="37907" y="1285287"/>
                </a:cubicBezTo>
                <a:cubicBezTo>
                  <a:pt x="37502" y="1285044"/>
                  <a:pt x="37271" y="1284547"/>
                  <a:pt x="37386" y="1284072"/>
                </a:cubicBezTo>
                <a:cubicBezTo>
                  <a:pt x="37502" y="1283586"/>
                  <a:pt x="37907" y="1283239"/>
                  <a:pt x="38427" y="1283204"/>
                </a:cubicBezTo>
                <a:lnTo>
                  <a:pt x="40915" y="1283204"/>
                </a:lnTo>
                <a:cubicBezTo>
                  <a:pt x="43344" y="1283204"/>
                  <a:pt x="45889" y="1282684"/>
                  <a:pt x="48145" y="1282684"/>
                </a:cubicBezTo>
                <a:cubicBezTo>
                  <a:pt x="51095" y="1282337"/>
                  <a:pt x="53987" y="1283361"/>
                  <a:pt x="56070" y="1285460"/>
                </a:cubicBezTo>
                <a:cubicBezTo>
                  <a:pt x="59483" y="1288943"/>
                  <a:pt x="64110" y="1291008"/>
                  <a:pt x="68969" y="1291245"/>
                </a:cubicBezTo>
                <a:cubicBezTo>
                  <a:pt x="69663" y="1291280"/>
                  <a:pt x="70357" y="1291158"/>
                  <a:pt x="70994" y="1290898"/>
                </a:cubicBezTo>
                <a:cubicBezTo>
                  <a:pt x="71688" y="1290585"/>
                  <a:pt x="72382" y="1290423"/>
                  <a:pt x="73134" y="1290435"/>
                </a:cubicBezTo>
                <a:cubicBezTo>
                  <a:pt x="78282" y="1290435"/>
                  <a:pt x="87769" y="1295872"/>
                  <a:pt x="87769" y="1300963"/>
                </a:cubicBezTo>
                <a:cubicBezTo>
                  <a:pt x="87769" y="1302525"/>
                  <a:pt x="87769" y="1304954"/>
                  <a:pt x="87190" y="1307499"/>
                </a:cubicBezTo>
                <a:cubicBezTo>
                  <a:pt x="86554" y="1311224"/>
                  <a:pt x="86380" y="1315013"/>
                  <a:pt x="86669" y="1318779"/>
                </a:cubicBezTo>
                <a:cubicBezTo>
                  <a:pt x="86843" y="1319068"/>
                  <a:pt x="86843" y="1319415"/>
                  <a:pt x="86669" y="1319704"/>
                </a:cubicBezTo>
                <a:cubicBezTo>
                  <a:pt x="86496" y="1319982"/>
                  <a:pt x="86207" y="1320179"/>
                  <a:pt x="85917" y="1320225"/>
                </a:cubicBezTo>
                <a:cubicBezTo>
                  <a:pt x="79670" y="1321168"/>
                  <a:pt x="73307" y="1321578"/>
                  <a:pt x="67002" y="1321440"/>
                </a:cubicBezTo>
                <a:close/>
                <a:moveTo>
                  <a:pt x="2506" y="1310854"/>
                </a:moveTo>
                <a:cubicBezTo>
                  <a:pt x="7191" y="1312532"/>
                  <a:pt x="12860" y="1314556"/>
                  <a:pt x="15116" y="1315482"/>
                </a:cubicBezTo>
                <a:cubicBezTo>
                  <a:pt x="32354" y="1318212"/>
                  <a:pt x="49765" y="1319583"/>
                  <a:pt x="67176" y="1319589"/>
                </a:cubicBezTo>
                <a:cubicBezTo>
                  <a:pt x="72960" y="1319675"/>
                  <a:pt x="78803" y="1319346"/>
                  <a:pt x="84529" y="1318605"/>
                </a:cubicBezTo>
                <a:cubicBezTo>
                  <a:pt x="84413" y="1314932"/>
                  <a:pt x="84645" y="1311253"/>
                  <a:pt x="85165" y="1307615"/>
                </a:cubicBezTo>
                <a:cubicBezTo>
                  <a:pt x="85165" y="1305127"/>
                  <a:pt x="85744" y="1302814"/>
                  <a:pt x="85744" y="1301368"/>
                </a:cubicBezTo>
                <a:cubicBezTo>
                  <a:pt x="85744" y="1298070"/>
                  <a:pt x="77646" y="1293096"/>
                  <a:pt x="73365" y="1293096"/>
                </a:cubicBezTo>
                <a:cubicBezTo>
                  <a:pt x="72960" y="1293027"/>
                  <a:pt x="72613" y="1293027"/>
                  <a:pt x="72208" y="1293096"/>
                </a:cubicBezTo>
                <a:cubicBezTo>
                  <a:pt x="71283" y="1293524"/>
                  <a:pt x="70242" y="1293726"/>
                  <a:pt x="69200" y="1293674"/>
                </a:cubicBezTo>
                <a:cubicBezTo>
                  <a:pt x="63532" y="1293374"/>
                  <a:pt x="58268" y="1290863"/>
                  <a:pt x="54450" y="1286675"/>
                </a:cubicBezTo>
                <a:cubicBezTo>
                  <a:pt x="53583" y="1285460"/>
                  <a:pt x="51616" y="1284882"/>
                  <a:pt x="48666" y="1284882"/>
                </a:cubicBezTo>
                <a:cubicBezTo>
                  <a:pt x="46641" y="1284882"/>
                  <a:pt x="44327" y="1284882"/>
                  <a:pt x="42071" y="1285345"/>
                </a:cubicBezTo>
                <a:cubicBezTo>
                  <a:pt x="42939" y="1286126"/>
                  <a:pt x="43691" y="1287069"/>
                  <a:pt x="44270" y="1288121"/>
                </a:cubicBezTo>
                <a:cubicBezTo>
                  <a:pt x="46526" y="1292112"/>
                  <a:pt x="42534" y="1294426"/>
                  <a:pt x="39295" y="1296277"/>
                </a:cubicBezTo>
                <a:cubicBezTo>
                  <a:pt x="37097" y="1297550"/>
                  <a:pt x="34841" y="1298880"/>
                  <a:pt x="34494" y="1300384"/>
                </a:cubicBezTo>
                <a:cubicBezTo>
                  <a:pt x="34436" y="1301316"/>
                  <a:pt x="34725" y="1302241"/>
                  <a:pt x="35362" y="1302929"/>
                </a:cubicBezTo>
                <a:cubicBezTo>
                  <a:pt x="36634" y="1304237"/>
                  <a:pt x="36981" y="1306169"/>
                  <a:pt x="36287" y="1307846"/>
                </a:cubicBezTo>
                <a:cubicBezTo>
                  <a:pt x="34841" y="1309859"/>
                  <a:pt x="32411" y="1310924"/>
                  <a:pt x="29924" y="1310623"/>
                </a:cubicBezTo>
                <a:cubicBezTo>
                  <a:pt x="27726" y="1310646"/>
                  <a:pt x="25586" y="1310085"/>
                  <a:pt x="23677" y="1309003"/>
                </a:cubicBezTo>
                <a:cubicBezTo>
                  <a:pt x="21653" y="1307939"/>
                  <a:pt x="20380" y="1305845"/>
                  <a:pt x="20380" y="1303566"/>
                </a:cubicBezTo>
                <a:cubicBezTo>
                  <a:pt x="20380" y="1300500"/>
                  <a:pt x="16273" y="1300153"/>
                  <a:pt x="14595" y="1300153"/>
                </a:cubicBezTo>
                <a:cubicBezTo>
                  <a:pt x="11009" y="1300014"/>
                  <a:pt x="7481" y="1301182"/>
                  <a:pt x="4646" y="1303450"/>
                </a:cubicBezTo>
                <a:cubicBezTo>
                  <a:pt x="4299" y="1303733"/>
                  <a:pt x="4126" y="1304167"/>
                  <a:pt x="4183" y="1304607"/>
                </a:cubicBezTo>
                <a:cubicBezTo>
                  <a:pt x="4183" y="1306701"/>
                  <a:pt x="3547" y="1308743"/>
                  <a:pt x="2332" y="1310449"/>
                </a:cubicBezTo>
                <a:close/>
                <a:moveTo>
                  <a:pt x="806541" y="712339"/>
                </a:moveTo>
                <a:lnTo>
                  <a:pt x="806541" y="712339"/>
                </a:lnTo>
                <a:cubicBezTo>
                  <a:pt x="800179" y="712114"/>
                  <a:pt x="794220" y="709464"/>
                  <a:pt x="789767" y="704935"/>
                </a:cubicBezTo>
                <a:cubicBezTo>
                  <a:pt x="784850" y="701164"/>
                  <a:pt x="782941" y="694633"/>
                  <a:pt x="785023" y="688797"/>
                </a:cubicBezTo>
                <a:cubicBezTo>
                  <a:pt x="790172" y="679368"/>
                  <a:pt x="800179" y="673624"/>
                  <a:pt x="810880" y="673931"/>
                </a:cubicBezTo>
                <a:cubicBezTo>
                  <a:pt x="813136" y="673913"/>
                  <a:pt x="815334" y="674208"/>
                  <a:pt x="817474" y="674798"/>
                </a:cubicBezTo>
                <a:cubicBezTo>
                  <a:pt x="830836" y="678384"/>
                  <a:pt x="846049" y="686367"/>
                  <a:pt x="845760" y="691573"/>
                </a:cubicBezTo>
                <a:cubicBezTo>
                  <a:pt x="845760" y="692730"/>
                  <a:pt x="844950" y="694234"/>
                  <a:pt x="841595" y="694755"/>
                </a:cubicBezTo>
                <a:cubicBezTo>
                  <a:pt x="837662" y="696102"/>
                  <a:pt x="834017" y="698248"/>
                  <a:pt x="830952" y="701060"/>
                </a:cubicBezTo>
                <a:cubicBezTo>
                  <a:pt x="824184" y="705687"/>
                  <a:pt x="815623" y="711934"/>
                  <a:pt x="806253" y="711934"/>
                </a:cubicBezTo>
                <a:close/>
                <a:moveTo>
                  <a:pt x="810880" y="676187"/>
                </a:moveTo>
                <a:cubicBezTo>
                  <a:pt x="801046" y="675943"/>
                  <a:pt x="791907" y="681126"/>
                  <a:pt x="787106" y="689664"/>
                </a:cubicBezTo>
                <a:cubicBezTo>
                  <a:pt x="785371" y="694650"/>
                  <a:pt x="787106" y="700174"/>
                  <a:pt x="791328" y="703315"/>
                </a:cubicBezTo>
                <a:cubicBezTo>
                  <a:pt x="795320" y="707475"/>
                  <a:pt x="800757" y="709904"/>
                  <a:pt x="806541" y="710083"/>
                </a:cubicBezTo>
                <a:lnTo>
                  <a:pt x="806541" y="710083"/>
                </a:lnTo>
                <a:cubicBezTo>
                  <a:pt x="815160" y="710083"/>
                  <a:pt x="823143" y="704299"/>
                  <a:pt x="829679" y="699266"/>
                </a:cubicBezTo>
                <a:cubicBezTo>
                  <a:pt x="833034" y="696212"/>
                  <a:pt x="836967" y="693904"/>
                  <a:pt x="841248" y="692499"/>
                </a:cubicBezTo>
                <a:cubicBezTo>
                  <a:pt x="842579" y="692499"/>
                  <a:pt x="843504" y="691862"/>
                  <a:pt x="843504" y="691457"/>
                </a:cubicBezTo>
                <a:cubicBezTo>
                  <a:pt x="843504" y="688681"/>
                  <a:pt x="831588" y="680930"/>
                  <a:pt x="816896" y="676938"/>
                </a:cubicBezTo>
                <a:cubicBezTo>
                  <a:pt x="814871" y="676250"/>
                  <a:pt x="812731" y="675863"/>
                  <a:pt x="810591" y="675782"/>
                </a:cubicBezTo>
                <a:close/>
                <a:moveTo>
                  <a:pt x="1026061" y="623028"/>
                </a:moveTo>
                <a:cubicBezTo>
                  <a:pt x="1013335" y="622571"/>
                  <a:pt x="1000667" y="621315"/>
                  <a:pt x="988115" y="619268"/>
                </a:cubicBezTo>
                <a:cubicBezTo>
                  <a:pt x="981174" y="618284"/>
                  <a:pt x="975100" y="617417"/>
                  <a:pt x="971398" y="617185"/>
                </a:cubicBezTo>
                <a:cubicBezTo>
                  <a:pt x="959192" y="616549"/>
                  <a:pt x="935997" y="611401"/>
                  <a:pt x="933220" y="603129"/>
                </a:cubicBezTo>
                <a:cubicBezTo>
                  <a:pt x="932584" y="601452"/>
                  <a:pt x="932642" y="598791"/>
                  <a:pt x="935997" y="595841"/>
                </a:cubicBezTo>
                <a:cubicBezTo>
                  <a:pt x="937732" y="594603"/>
                  <a:pt x="938369" y="592318"/>
                  <a:pt x="937559" y="590345"/>
                </a:cubicBezTo>
                <a:cubicBezTo>
                  <a:pt x="935187" y="584041"/>
                  <a:pt x="922924" y="577620"/>
                  <a:pt x="917371" y="577620"/>
                </a:cubicBezTo>
                <a:cubicBezTo>
                  <a:pt x="916445" y="577620"/>
                  <a:pt x="915751" y="577620"/>
                  <a:pt x="915520" y="578198"/>
                </a:cubicBezTo>
                <a:cubicBezTo>
                  <a:pt x="915289" y="578777"/>
                  <a:pt x="915520" y="579644"/>
                  <a:pt x="915983" y="580859"/>
                </a:cubicBezTo>
                <a:cubicBezTo>
                  <a:pt x="918644" y="586644"/>
                  <a:pt x="919223" y="590866"/>
                  <a:pt x="917661" y="593296"/>
                </a:cubicBezTo>
                <a:cubicBezTo>
                  <a:pt x="915578" y="596593"/>
                  <a:pt x="909967" y="595783"/>
                  <a:pt x="903778" y="591097"/>
                </a:cubicBezTo>
                <a:cubicBezTo>
                  <a:pt x="897588" y="586412"/>
                  <a:pt x="900480" y="581495"/>
                  <a:pt x="902100" y="577446"/>
                </a:cubicBezTo>
                <a:cubicBezTo>
                  <a:pt x="902968" y="575306"/>
                  <a:pt x="903778" y="573339"/>
                  <a:pt x="903200" y="572356"/>
                </a:cubicBezTo>
                <a:cubicBezTo>
                  <a:pt x="902621" y="571373"/>
                  <a:pt x="901522" y="571315"/>
                  <a:pt x="899555" y="571199"/>
                </a:cubicBezTo>
                <a:lnTo>
                  <a:pt x="893771" y="571199"/>
                </a:lnTo>
                <a:cubicBezTo>
                  <a:pt x="885325" y="571199"/>
                  <a:pt x="876418" y="570736"/>
                  <a:pt x="872484" y="565415"/>
                </a:cubicBezTo>
                <a:cubicBezTo>
                  <a:pt x="870228" y="562008"/>
                  <a:pt x="869650" y="557739"/>
                  <a:pt x="870922" y="553846"/>
                </a:cubicBezTo>
                <a:cubicBezTo>
                  <a:pt x="873236" y="543607"/>
                  <a:pt x="883417" y="543029"/>
                  <a:pt x="891573" y="542277"/>
                </a:cubicBezTo>
                <a:cubicBezTo>
                  <a:pt x="899729" y="541525"/>
                  <a:pt x="904530" y="541236"/>
                  <a:pt x="904819" y="536088"/>
                </a:cubicBezTo>
                <a:cubicBezTo>
                  <a:pt x="905282" y="527758"/>
                  <a:pt x="911355" y="526081"/>
                  <a:pt x="915751" y="524808"/>
                </a:cubicBezTo>
                <a:cubicBezTo>
                  <a:pt x="920148" y="523535"/>
                  <a:pt x="921536" y="522957"/>
                  <a:pt x="920957" y="520180"/>
                </a:cubicBezTo>
                <a:cubicBezTo>
                  <a:pt x="920379" y="517404"/>
                  <a:pt x="915925" y="512892"/>
                  <a:pt x="912339" y="509768"/>
                </a:cubicBezTo>
                <a:cubicBezTo>
                  <a:pt x="908752" y="506645"/>
                  <a:pt x="906150" y="504389"/>
                  <a:pt x="906902" y="502307"/>
                </a:cubicBezTo>
                <a:cubicBezTo>
                  <a:pt x="907654" y="500224"/>
                  <a:pt x="909331" y="500282"/>
                  <a:pt x="913264" y="500282"/>
                </a:cubicBezTo>
                <a:cubicBezTo>
                  <a:pt x="918991" y="500959"/>
                  <a:pt x="924775" y="499316"/>
                  <a:pt x="929287" y="495712"/>
                </a:cubicBezTo>
                <a:cubicBezTo>
                  <a:pt x="931138" y="493532"/>
                  <a:pt x="931948" y="490622"/>
                  <a:pt x="931486" y="487788"/>
                </a:cubicBezTo>
                <a:cubicBezTo>
                  <a:pt x="931370" y="486752"/>
                  <a:pt x="931659" y="485711"/>
                  <a:pt x="932295" y="484895"/>
                </a:cubicBezTo>
                <a:cubicBezTo>
                  <a:pt x="934088" y="482755"/>
                  <a:pt x="938079" y="482466"/>
                  <a:pt x="942996" y="482119"/>
                </a:cubicBezTo>
                <a:cubicBezTo>
                  <a:pt x="947913" y="481772"/>
                  <a:pt x="953003" y="481425"/>
                  <a:pt x="954970" y="479053"/>
                </a:cubicBezTo>
                <a:cubicBezTo>
                  <a:pt x="955664" y="478087"/>
                  <a:pt x="955954" y="476872"/>
                  <a:pt x="955722" y="475698"/>
                </a:cubicBezTo>
                <a:cubicBezTo>
                  <a:pt x="954738" y="468352"/>
                  <a:pt x="962085" y="464129"/>
                  <a:pt x="966018" y="462105"/>
                </a:cubicBezTo>
                <a:lnTo>
                  <a:pt x="967001" y="461584"/>
                </a:lnTo>
                <a:cubicBezTo>
                  <a:pt x="966018" y="461526"/>
                  <a:pt x="965035" y="461526"/>
                  <a:pt x="964052" y="461584"/>
                </a:cubicBezTo>
                <a:cubicBezTo>
                  <a:pt x="955432" y="461121"/>
                  <a:pt x="954160" y="456205"/>
                  <a:pt x="953986" y="454122"/>
                </a:cubicBezTo>
                <a:cubicBezTo>
                  <a:pt x="954507" y="446915"/>
                  <a:pt x="959944" y="441038"/>
                  <a:pt x="967117" y="439950"/>
                </a:cubicBezTo>
                <a:lnTo>
                  <a:pt x="969605" y="439430"/>
                </a:lnTo>
                <a:cubicBezTo>
                  <a:pt x="977992" y="437810"/>
                  <a:pt x="988346" y="435786"/>
                  <a:pt x="990024" y="432141"/>
                </a:cubicBezTo>
                <a:cubicBezTo>
                  <a:pt x="990429" y="431268"/>
                  <a:pt x="990313" y="430256"/>
                  <a:pt x="989734" y="429481"/>
                </a:cubicBezTo>
                <a:cubicBezTo>
                  <a:pt x="987305" y="425084"/>
                  <a:pt x="991296" y="421672"/>
                  <a:pt x="994535" y="419011"/>
                </a:cubicBezTo>
                <a:cubicBezTo>
                  <a:pt x="996560" y="417275"/>
                  <a:pt x="998701" y="415482"/>
                  <a:pt x="998816" y="413863"/>
                </a:cubicBezTo>
                <a:cubicBezTo>
                  <a:pt x="998816" y="413111"/>
                  <a:pt x="998527" y="412393"/>
                  <a:pt x="997949" y="411896"/>
                </a:cubicBezTo>
                <a:cubicBezTo>
                  <a:pt x="997197" y="411138"/>
                  <a:pt x="996849" y="410051"/>
                  <a:pt x="997081" y="409004"/>
                </a:cubicBezTo>
                <a:cubicBezTo>
                  <a:pt x="997717" y="406690"/>
                  <a:pt x="1001245" y="405360"/>
                  <a:pt x="1005815" y="403624"/>
                </a:cubicBezTo>
                <a:cubicBezTo>
                  <a:pt x="1010385" y="401889"/>
                  <a:pt x="1014954" y="400211"/>
                  <a:pt x="1015418" y="397840"/>
                </a:cubicBezTo>
                <a:cubicBezTo>
                  <a:pt x="1015418" y="396856"/>
                  <a:pt x="1014954" y="395584"/>
                  <a:pt x="1013393" y="394138"/>
                </a:cubicBezTo>
                <a:cubicBezTo>
                  <a:pt x="1008534" y="390164"/>
                  <a:pt x="1006683" y="383575"/>
                  <a:pt x="1008765" y="377652"/>
                </a:cubicBezTo>
                <a:cubicBezTo>
                  <a:pt x="1009864" y="374395"/>
                  <a:pt x="1012814" y="372111"/>
                  <a:pt x="1016227" y="371868"/>
                </a:cubicBezTo>
                <a:cubicBezTo>
                  <a:pt x="1018136" y="371926"/>
                  <a:pt x="1019987" y="372683"/>
                  <a:pt x="1021375" y="374008"/>
                </a:cubicBezTo>
                <a:cubicBezTo>
                  <a:pt x="1023457" y="375842"/>
                  <a:pt x="1026177" y="376813"/>
                  <a:pt x="1028953" y="376727"/>
                </a:cubicBezTo>
                <a:cubicBezTo>
                  <a:pt x="1035894" y="376727"/>
                  <a:pt x="1042951" y="371694"/>
                  <a:pt x="1042951" y="366835"/>
                </a:cubicBezTo>
                <a:cubicBezTo>
                  <a:pt x="1042951" y="361976"/>
                  <a:pt x="1049199" y="359836"/>
                  <a:pt x="1054520" y="358332"/>
                </a:cubicBezTo>
                <a:cubicBezTo>
                  <a:pt x="1058743" y="357175"/>
                  <a:pt x="1063139" y="355960"/>
                  <a:pt x="1063718" y="353589"/>
                </a:cubicBezTo>
                <a:cubicBezTo>
                  <a:pt x="1065568" y="346300"/>
                  <a:pt x="1089400" y="336583"/>
                  <a:pt x="1100448" y="337392"/>
                </a:cubicBezTo>
                <a:cubicBezTo>
                  <a:pt x="1106407" y="337138"/>
                  <a:pt x="1112249" y="335472"/>
                  <a:pt x="1117454" y="332534"/>
                </a:cubicBezTo>
                <a:cubicBezTo>
                  <a:pt x="1122603" y="329572"/>
                  <a:pt x="1128445" y="327923"/>
                  <a:pt x="1134403" y="327732"/>
                </a:cubicBezTo>
                <a:cubicBezTo>
                  <a:pt x="1139320" y="327125"/>
                  <a:pt x="1144005" y="325315"/>
                  <a:pt x="1148054" y="322469"/>
                </a:cubicBezTo>
                <a:cubicBezTo>
                  <a:pt x="1153665" y="318720"/>
                  <a:pt x="1160086" y="316378"/>
                  <a:pt x="1166796" y="315643"/>
                </a:cubicBezTo>
                <a:cubicBezTo>
                  <a:pt x="1169804" y="315643"/>
                  <a:pt x="1172754" y="316528"/>
                  <a:pt x="1175299" y="318188"/>
                </a:cubicBezTo>
                <a:cubicBezTo>
                  <a:pt x="1180563" y="321161"/>
                  <a:pt x="1186579" y="322584"/>
                  <a:pt x="1192652" y="322295"/>
                </a:cubicBezTo>
                <a:cubicBezTo>
                  <a:pt x="1205031" y="322081"/>
                  <a:pt x="1217121" y="319010"/>
                  <a:pt x="1228111" y="313329"/>
                </a:cubicBezTo>
                <a:cubicBezTo>
                  <a:pt x="1234474" y="310414"/>
                  <a:pt x="1241473" y="309008"/>
                  <a:pt x="1248472" y="309222"/>
                </a:cubicBezTo>
                <a:cubicBezTo>
                  <a:pt x="1256918" y="309772"/>
                  <a:pt x="1265305" y="307556"/>
                  <a:pt x="1272419" y="302917"/>
                </a:cubicBezTo>
                <a:cubicBezTo>
                  <a:pt x="1292029" y="290134"/>
                  <a:pt x="1314646" y="282718"/>
                  <a:pt x="1338015" y="281399"/>
                </a:cubicBezTo>
                <a:cubicBezTo>
                  <a:pt x="1345014" y="280954"/>
                  <a:pt x="1351955" y="282845"/>
                  <a:pt x="1357798" y="286779"/>
                </a:cubicBezTo>
                <a:cubicBezTo>
                  <a:pt x="1361731" y="289197"/>
                  <a:pt x="1363756" y="293807"/>
                  <a:pt x="1362888" y="298348"/>
                </a:cubicBezTo>
                <a:cubicBezTo>
                  <a:pt x="1359880" y="311825"/>
                  <a:pt x="1329454" y="327270"/>
                  <a:pt x="1287112" y="337219"/>
                </a:cubicBezTo>
                <a:cubicBezTo>
                  <a:pt x="1234531" y="349308"/>
                  <a:pt x="1142154" y="380834"/>
                  <a:pt x="1135965" y="393906"/>
                </a:cubicBezTo>
                <a:cubicBezTo>
                  <a:pt x="1132147" y="402062"/>
                  <a:pt x="1123702" y="403566"/>
                  <a:pt x="1115546" y="404955"/>
                </a:cubicBezTo>
                <a:cubicBezTo>
                  <a:pt x="1109646" y="405279"/>
                  <a:pt x="1104035" y="407448"/>
                  <a:pt x="1099465" y="411144"/>
                </a:cubicBezTo>
                <a:cubicBezTo>
                  <a:pt x="1094028" y="415725"/>
                  <a:pt x="1087028" y="417935"/>
                  <a:pt x="1079971" y="417275"/>
                </a:cubicBezTo>
                <a:cubicBezTo>
                  <a:pt x="1077369" y="417275"/>
                  <a:pt x="1074187" y="417275"/>
                  <a:pt x="1073724" y="418143"/>
                </a:cubicBezTo>
                <a:cubicBezTo>
                  <a:pt x="1073667" y="418386"/>
                  <a:pt x="1073667" y="418652"/>
                  <a:pt x="1073724" y="418895"/>
                </a:cubicBezTo>
                <a:cubicBezTo>
                  <a:pt x="1075286" y="425009"/>
                  <a:pt x="1074303" y="431511"/>
                  <a:pt x="1071006" y="436885"/>
                </a:cubicBezTo>
                <a:cubicBezTo>
                  <a:pt x="1067824" y="442449"/>
                  <a:pt x="1062213" y="446209"/>
                  <a:pt x="1055851" y="447065"/>
                </a:cubicBezTo>
                <a:cubicBezTo>
                  <a:pt x="1048851" y="448106"/>
                  <a:pt x="1049141" y="451346"/>
                  <a:pt x="1049545" y="455453"/>
                </a:cubicBezTo>
                <a:cubicBezTo>
                  <a:pt x="1049951" y="459560"/>
                  <a:pt x="1050471" y="464708"/>
                  <a:pt x="1041274" y="465633"/>
                </a:cubicBezTo>
                <a:cubicBezTo>
                  <a:pt x="1033870" y="466385"/>
                  <a:pt x="1032886" y="469451"/>
                  <a:pt x="1031325" y="474599"/>
                </a:cubicBezTo>
                <a:cubicBezTo>
                  <a:pt x="1029300" y="482472"/>
                  <a:pt x="1024383" y="489297"/>
                  <a:pt x="1017558" y="493746"/>
                </a:cubicBezTo>
                <a:cubicBezTo>
                  <a:pt x="1008302" y="500282"/>
                  <a:pt x="1007724" y="504852"/>
                  <a:pt x="1007146" y="509248"/>
                </a:cubicBezTo>
                <a:cubicBezTo>
                  <a:pt x="1006567" y="513644"/>
                  <a:pt x="1005931" y="518908"/>
                  <a:pt x="995577" y="525271"/>
                </a:cubicBezTo>
                <a:cubicBezTo>
                  <a:pt x="990371" y="528348"/>
                  <a:pt x="986958" y="533687"/>
                  <a:pt x="986322" y="539674"/>
                </a:cubicBezTo>
                <a:cubicBezTo>
                  <a:pt x="984586" y="553557"/>
                  <a:pt x="994709" y="571199"/>
                  <a:pt x="1005468" y="582479"/>
                </a:cubicBezTo>
                <a:cubicBezTo>
                  <a:pt x="1012525" y="589495"/>
                  <a:pt x="1020276" y="595754"/>
                  <a:pt x="1028606" y="601163"/>
                </a:cubicBezTo>
                <a:cubicBezTo>
                  <a:pt x="1037224" y="606947"/>
                  <a:pt x="1043414" y="611401"/>
                  <a:pt x="1042894" y="616491"/>
                </a:cubicBezTo>
                <a:cubicBezTo>
                  <a:pt x="1042373" y="621582"/>
                  <a:pt x="1037166" y="622623"/>
                  <a:pt x="1025771" y="622623"/>
                </a:cubicBezTo>
                <a:close/>
                <a:moveTo>
                  <a:pt x="917371" y="575364"/>
                </a:moveTo>
                <a:cubicBezTo>
                  <a:pt x="923792" y="575364"/>
                  <a:pt x="936923" y="582247"/>
                  <a:pt x="939641" y="589594"/>
                </a:cubicBezTo>
                <a:cubicBezTo>
                  <a:pt x="940856" y="592428"/>
                  <a:pt x="939988" y="595725"/>
                  <a:pt x="937501" y="597576"/>
                </a:cubicBezTo>
                <a:cubicBezTo>
                  <a:pt x="934551" y="600121"/>
                  <a:pt x="935130" y="601857"/>
                  <a:pt x="935361" y="602435"/>
                </a:cubicBezTo>
                <a:cubicBezTo>
                  <a:pt x="937559" y="608914"/>
                  <a:pt x="958498" y="614004"/>
                  <a:pt x="971513" y="614929"/>
                </a:cubicBezTo>
                <a:cubicBezTo>
                  <a:pt x="975331" y="614929"/>
                  <a:pt x="981405" y="616028"/>
                  <a:pt x="988462" y="617012"/>
                </a:cubicBezTo>
                <a:cubicBezTo>
                  <a:pt x="1000899" y="619054"/>
                  <a:pt x="1013450" y="620309"/>
                  <a:pt x="1026061" y="620772"/>
                </a:cubicBezTo>
                <a:cubicBezTo>
                  <a:pt x="1035778" y="620772"/>
                  <a:pt x="1041100" y="619094"/>
                  <a:pt x="1041390" y="615971"/>
                </a:cubicBezTo>
                <a:cubicBezTo>
                  <a:pt x="1041678" y="612847"/>
                  <a:pt x="1035605" y="608046"/>
                  <a:pt x="1028027" y="602724"/>
                </a:cubicBezTo>
                <a:cubicBezTo>
                  <a:pt x="1019698" y="597223"/>
                  <a:pt x="1011946" y="590866"/>
                  <a:pt x="1004890" y="583751"/>
                </a:cubicBezTo>
                <a:cubicBezTo>
                  <a:pt x="993726" y="572182"/>
                  <a:pt x="983314" y="553730"/>
                  <a:pt x="985164" y="539096"/>
                </a:cubicBezTo>
                <a:cubicBezTo>
                  <a:pt x="985859" y="532432"/>
                  <a:pt x="989619" y="526485"/>
                  <a:pt x="995403" y="523073"/>
                </a:cubicBezTo>
                <a:cubicBezTo>
                  <a:pt x="1004658" y="517288"/>
                  <a:pt x="1005179" y="513297"/>
                  <a:pt x="1005815" y="508669"/>
                </a:cubicBezTo>
                <a:cubicBezTo>
                  <a:pt x="1006451" y="504042"/>
                  <a:pt x="1007088" y="498720"/>
                  <a:pt x="1017384" y="491605"/>
                </a:cubicBezTo>
                <a:cubicBezTo>
                  <a:pt x="1023805" y="487469"/>
                  <a:pt x="1028375" y="481031"/>
                  <a:pt x="1030225" y="473616"/>
                </a:cubicBezTo>
                <a:cubicBezTo>
                  <a:pt x="1031903" y="468236"/>
                  <a:pt x="1033291" y="464014"/>
                  <a:pt x="1042142" y="463088"/>
                </a:cubicBezTo>
                <a:cubicBezTo>
                  <a:pt x="1049083" y="462394"/>
                  <a:pt x="1048793" y="459444"/>
                  <a:pt x="1048389" y="455337"/>
                </a:cubicBezTo>
                <a:cubicBezTo>
                  <a:pt x="1047983" y="451230"/>
                  <a:pt x="1047463" y="445908"/>
                  <a:pt x="1056660" y="444520"/>
                </a:cubicBezTo>
                <a:cubicBezTo>
                  <a:pt x="1062329" y="443768"/>
                  <a:pt x="1067304" y="440407"/>
                  <a:pt x="1070138" y="435439"/>
                </a:cubicBezTo>
                <a:cubicBezTo>
                  <a:pt x="1073088" y="430649"/>
                  <a:pt x="1074013" y="424882"/>
                  <a:pt x="1072683" y="419416"/>
                </a:cubicBezTo>
                <a:cubicBezTo>
                  <a:pt x="1072220" y="418531"/>
                  <a:pt x="1072220" y="417466"/>
                  <a:pt x="1072683" y="416581"/>
                </a:cubicBezTo>
                <a:cubicBezTo>
                  <a:pt x="1073782" y="414904"/>
                  <a:pt x="1076675" y="414846"/>
                  <a:pt x="1080723" y="414730"/>
                </a:cubicBezTo>
                <a:cubicBezTo>
                  <a:pt x="1086508" y="414730"/>
                  <a:pt x="1094086" y="414325"/>
                  <a:pt x="1098597" y="409351"/>
                </a:cubicBezTo>
                <a:cubicBezTo>
                  <a:pt x="1103456" y="405203"/>
                  <a:pt x="1109588" y="402780"/>
                  <a:pt x="1115950" y="402467"/>
                </a:cubicBezTo>
                <a:cubicBezTo>
                  <a:pt x="1123933" y="401079"/>
                  <a:pt x="1131395" y="399749"/>
                  <a:pt x="1134750" y="392692"/>
                </a:cubicBezTo>
                <a:cubicBezTo>
                  <a:pt x="1141807" y="377652"/>
                  <a:pt x="1238002" y="346069"/>
                  <a:pt x="1287401" y="334847"/>
                </a:cubicBezTo>
                <a:cubicBezTo>
                  <a:pt x="1328297" y="325361"/>
                  <a:pt x="1358723" y="310148"/>
                  <a:pt x="1361500" y="297711"/>
                </a:cubicBezTo>
                <a:cubicBezTo>
                  <a:pt x="1362310" y="293575"/>
                  <a:pt x="1360169" y="289428"/>
                  <a:pt x="1356352" y="287646"/>
                </a:cubicBezTo>
                <a:cubicBezTo>
                  <a:pt x="1350915" y="284083"/>
                  <a:pt x="1344435" y="282400"/>
                  <a:pt x="1337957" y="282845"/>
                </a:cubicBezTo>
                <a:cubicBezTo>
                  <a:pt x="1315109" y="284228"/>
                  <a:pt x="1293012" y="291441"/>
                  <a:pt x="1273750" y="303785"/>
                </a:cubicBezTo>
                <a:cubicBezTo>
                  <a:pt x="1266345" y="308783"/>
                  <a:pt x="1257438" y="311183"/>
                  <a:pt x="1248530" y="310611"/>
                </a:cubicBezTo>
                <a:cubicBezTo>
                  <a:pt x="1241877" y="310356"/>
                  <a:pt x="1235226" y="311663"/>
                  <a:pt x="1229152" y="314428"/>
                </a:cubicBezTo>
                <a:cubicBezTo>
                  <a:pt x="1217815" y="320282"/>
                  <a:pt x="1205320" y="323452"/>
                  <a:pt x="1192594" y="323683"/>
                </a:cubicBezTo>
                <a:cubicBezTo>
                  <a:pt x="1186058" y="324007"/>
                  <a:pt x="1179522" y="322440"/>
                  <a:pt x="1173853" y="319171"/>
                </a:cubicBezTo>
                <a:cubicBezTo>
                  <a:pt x="1171712" y="317789"/>
                  <a:pt x="1169168" y="317066"/>
                  <a:pt x="1166622" y="317089"/>
                </a:cubicBezTo>
                <a:cubicBezTo>
                  <a:pt x="1160375" y="317847"/>
                  <a:pt x="1154417" y="320085"/>
                  <a:pt x="1149269" y="323626"/>
                </a:cubicBezTo>
                <a:cubicBezTo>
                  <a:pt x="1144988" y="326529"/>
                  <a:pt x="1140130" y="328409"/>
                  <a:pt x="1135039" y="329121"/>
                </a:cubicBezTo>
                <a:lnTo>
                  <a:pt x="1134345" y="329121"/>
                </a:lnTo>
                <a:cubicBezTo>
                  <a:pt x="1128792" y="329416"/>
                  <a:pt x="1123355" y="330978"/>
                  <a:pt x="1118496" y="333690"/>
                </a:cubicBezTo>
                <a:cubicBezTo>
                  <a:pt x="1113290" y="336571"/>
                  <a:pt x="1107563" y="338324"/>
                  <a:pt x="1101663" y="338839"/>
                </a:cubicBezTo>
                <a:lnTo>
                  <a:pt x="1100391" y="338839"/>
                </a:lnTo>
                <a:cubicBezTo>
                  <a:pt x="1089574" y="338144"/>
                  <a:pt x="1067478" y="347573"/>
                  <a:pt x="1066031" y="353357"/>
                </a:cubicBezTo>
                <a:cubicBezTo>
                  <a:pt x="1065106" y="357002"/>
                  <a:pt x="1060247" y="358274"/>
                  <a:pt x="1055272" y="359720"/>
                </a:cubicBezTo>
                <a:cubicBezTo>
                  <a:pt x="1050297" y="361166"/>
                  <a:pt x="1045034" y="362497"/>
                  <a:pt x="1045034" y="366025"/>
                </a:cubicBezTo>
                <a:cubicBezTo>
                  <a:pt x="1045034" y="372157"/>
                  <a:pt x="1036993" y="378173"/>
                  <a:pt x="1028837" y="378173"/>
                </a:cubicBezTo>
                <a:cubicBezTo>
                  <a:pt x="1025482" y="378254"/>
                  <a:pt x="1022243" y="377079"/>
                  <a:pt x="1019756" y="374876"/>
                </a:cubicBezTo>
                <a:cubicBezTo>
                  <a:pt x="1018772" y="373921"/>
                  <a:pt x="1017500" y="373348"/>
                  <a:pt x="1016112" y="373256"/>
                </a:cubicBezTo>
                <a:cubicBezTo>
                  <a:pt x="1013566" y="373551"/>
                  <a:pt x="1011484" y="375333"/>
                  <a:pt x="1010790" y="377768"/>
                </a:cubicBezTo>
                <a:cubicBezTo>
                  <a:pt x="1008996" y="382835"/>
                  <a:pt x="1010674" y="388469"/>
                  <a:pt x="1014839" y="391824"/>
                </a:cubicBezTo>
                <a:cubicBezTo>
                  <a:pt x="1016748" y="393114"/>
                  <a:pt x="1017731" y="395335"/>
                  <a:pt x="1017500" y="397608"/>
                </a:cubicBezTo>
                <a:cubicBezTo>
                  <a:pt x="1016806" y="401137"/>
                  <a:pt x="1011716" y="403104"/>
                  <a:pt x="1006451" y="405012"/>
                </a:cubicBezTo>
                <a:cubicBezTo>
                  <a:pt x="1003501" y="406111"/>
                  <a:pt x="999453" y="407615"/>
                  <a:pt x="999163" y="408830"/>
                </a:cubicBezTo>
                <a:cubicBezTo>
                  <a:pt x="999163" y="408830"/>
                  <a:pt x="999163" y="409293"/>
                  <a:pt x="999568" y="409640"/>
                </a:cubicBezTo>
                <a:cubicBezTo>
                  <a:pt x="1000493" y="410652"/>
                  <a:pt x="1001014" y="411977"/>
                  <a:pt x="1000957" y="413342"/>
                </a:cubicBezTo>
                <a:cubicBezTo>
                  <a:pt x="1000957" y="415829"/>
                  <a:pt x="998353" y="417854"/>
                  <a:pt x="995866" y="419936"/>
                </a:cubicBezTo>
                <a:cubicBezTo>
                  <a:pt x="992280" y="423002"/>
                  <a:pt x="990082" y="425027"/>
                  <a:pt x="991643" y="427630"/>
                </a:cubicBezTo>
                <a:cubicBezTo>
                  <a:pt x="992511" y="429058"/>
                  <a:pt x="992627" y="430828"/>
                  <a:pt x="991990" y="432373"/>
                </a:cubicBezTo>
                <a:cubicBezTo>
                  <a:pt x="989850" y="437000"/>
                  <a:pt x="979727" y="438967"/>
                  <a:pt x="969951" y="440934"/>
                </a:cubicBezTo>
                <a:lnTo>
                  <a:pt x="967407" y="441396"/>
                </a:lnTo>
                <a:cubicBezTo>
                  <a:pt x="961391" y="442183"/>
                  <a:pt x="956648" y="446932"/>
                  <a:pt x="955838" y="452965"/>
                </a:cubicBezTo>
                <a:cubicBezTo>
                  <a:pt x="955838" y="456147"/>
                  <a:pt x="958904" y="458056"/>
                  <a:pt x="963762" y="458345"/>
                </a:cubicBezTo>
                <a:cubicBezTo>
                  <a:pt x="968621" y="458634"/>
                  <a:pt x="969547" y="458865"/>
                  <a:pt x="969894" y="460138"/>
                </a:cubicBezTo>
                <a:cubicBezTo>
                  <a:pt x="970241" y="461411"/>
                  <a:pt x="968969" y="462105"/>
                  <a:pt x="966712" y="463377"/>
                </a:cubicBezTo>
                <a:cubicBezTo>
                  <a:pt x="963010" y="465402"/>
                  <a:pt x="956763" y="468873"/>
                  <a:pt x="957573" y="474657"/>
                </a:cubicBezTo>
                <a:cubicBezTo>
                  <a:pt x="957920" y="476439"/>
                  <a:pt x="957458" y="478278"/>
                  <a:pt x="956300" y="479689"/>
                </a:cubicBezTo>
                <a:cubicBezTo>
                  <a:pt x="953755" y="482871"/>
                  <a:pt x="948145" y="483218"/>
                  <a:pt x="942765" y="483623"/>
                </a:cubicBezTo>
                <a:cubicBezTo>
                  <a:pt x="938831" y="483912"/>
                  <a:pt x="934782" y="484201"/>
                  <a:pt x="933626" y="485590"/>
                </a:cubicBezTo>
                <a:cubicBezTo>
                  <a:pt x="933452" y="485977"/>
                  <a:pt x="933452" y="486417"/>
                  <a:pt x="933626" y="486804"/>
                </a:cubicBezTo>
                <a:cubicBezTo>
                  <a:pt x="934146" y="490275"/>
                  <a:pt x="933163" y="493809"/>
                  <a:pt x="930849" y="496464"/>
                </a:cubicBezTo>
                <a:cubicBezTo>
                  <a:pt x="925932" y="500617"/>
                  <a:pt x="919511" y="502549"/>
                  <a:pt x="913149" y="501786"/>
                </a:cubicBezTo>
                <a:cubicBezTo>
                  <a:pt x="909447" y="501786"/>
                  <a:pt x="908926" y="502364"/>
                  <a:pt x="908926" y="502422"/>
                </a:cubicBezTo>
                <a:cubicBezTo>
                  <a:pt x="908926" y="502480"/>
                  <a:pt x="911818" y="505662"/>
                  <a:pt x="913727" y="507339"/>
                </a:cubicBezTo>
                <a:cubicBezTo>
                  <a:pt x="917776" y="510867"/>
                  <a:pt x="922346" y="514801"/>
                  <a:pt x="923098" y="518908"/>
                </a:cubicBezTo>
                <a:cubicBezTo>
                  <a:pt x="923850" y="523015"/>
                  <a:pt x="919859" y="525097"/>
                  <a:pt x="916215" y="526138"/>
                </a:cubicBezTo>
                <a:cubicBezTo>
                  <a:pt x="912570" y="527180"/>
                  <a:pt x="907364" y="528626"/>
                  <a:pt x="906960" y="535336"/>
                </a:cubicBezTo>
                <a:cubicBezTo>
                  <a:pt x="906554" y="542046"/>
                  <a:pt x="898919" y="543202"/>
                  <a:pt x="891573" y="543665"/>
                </a:cubicBezTo>
                <a:cubicBezTo>
                  <a:pt x="884226" y="544128"/>
                  <a:pt x="874914" y="544649"/>
                  <a:pt x="873004" y="553267"/>
                </a:cubicBezTo>
                <a:cubicBezTo>
                  <a:pt x="871906" y="556530"/>
                  <a:pt x="872310" y="560110"/>
                  <a:pt x="874104" y="563043"/>
                </a:cubicBezTo>
                <a:cubicBezTo>
                  <a:pt x="877516" y="567439"/>
                  <a:pt x="885673" y="567671"/>
                  <a:pt x="893713" y="567844"/>
                </a:cubicBezTo>
                <a:lnTo>
                  <a:pt x="899497" y="567844"/>
                </a:lnTo>
                <a:cubicBezTo>
                  <a:pt x="902332" y="567844"/>
                  <a:pt x="904067" y="568712"/>
                  <a:pt x="904934" y="570100"/>
                </a:cubicBezTo>
                <a:cubicBezTo>
                  <a:pt x="905802" y="571488"/>
                  <a:pt x="904934" y="574496"/>
                  <a:pt x="904067" y="577157"/>
                </a:cubicBezTo>
                <a:cubicBezTo>
                  <a:pt x="902448" y="581090"/>
                  <a:pt x="900828" y="585140"/>
                  <a:pt x="904934" y="588205"/>
                </a:cubicBezTo>
                <a:cubicBezTo>
                  <a:pt x="909042" y="591271"/>
                  <a:pt x="914305" y="593006"/>
                  <a:pt x="915578" y="590982"/>
                </a:cubicBezTo>
                <a:cubicBezTo>
                  <a:pt x="916099" y="590172"/>
                  <a:pt x="916967" y="587569"/>
                  <a:pt x="913727" y="580743"/>
                </a:cubicBezTo>
                <a:cubicBezTo>
                  <a:pt x="912917" y="579228"/>
                  <a:pt x="912917" y="577400"/>
                  <a:pt x="913727" y="575884"/>
                </a:cubicBezTo>
                <a:cubicBezTo>
                  <a:pt x="914653" y="575086"/>
                  <a:pt x="915867" y="574745"/>
                  <a:pt x="917082" y="574959"/>
                </a:cubicBezTo>
                <a:close/>
                <a:moveTo>
                  <a:pt x="4400639" y="616260"/>
                </a:moveTo>
                <a:lnTo>
                  <a:pt x="4400639" y="616260"/>
                </a:lnTo>
                <a:cubicBezTo>
                  <a:pt x="4396011" y="616520"/>
                  <a:pt x="4391383" y="615369"/>
                  <a:pt x="4387392" y="612963"/>
                </a:cubicBezTo>
                <a:cubicBezTo>
                  <a:pt x="4385310" y="611453"/>
                  <a:pt x="4382822" y="610620"/>
                  <a:pt x="4380220" y="610591"/>
                </a:cubicBezTo>
                <a:cubicBezTo>
                  <a:pt x="4376807" y="610863"/>
                  <a:pt x="4373509" y="611725"/>
                  <a:pt x="4370386" y="613136"/>
                </a:cubicBezTo>
                <a:cubicBezTo>
                  <a:pt x="4366510" y="614918"/>
                  <a:pt x="4362346" y="615942"/>
                  <a:pt x="4358065" y="616144"/>
                </a:cubicBezTo>
                <a:cubicBezTo>
                  <a:pt x="4354826" y="616133"/>
                  <a:pt x="4351644" y="615340"/>
                  <a:pt x="4348752" y="613830"/>
                </a:cubicBezTo>
                <a:cubicBezTo>
                  <a:pt x="4345687" y="612812"/>
                  <a:pt x="4343893" y="609637"/>
                  <a:pt x="4344587" y="606484"/>
                </a:cubicBezTo>
                <a:cubicBezTo>
                  <a:pt x="4347133" y="595609"/>
                  <a:pt x="4378773" y="580454"/>
                  <a:pt x="4406365" y="580454"/>
                </a:cubicBezTo>
                <a:cubicBezTo>
                  <a:pt x="4409488" y="580466"/>
                  <a:pt x="4412612" y="580657"/>
                  <a:pt x="4415678" y="581033"/>
                </a:cubicBezTo>
                <a:cubicBezTo>
                  <a:pt x="4440782" y="584388"/>
                  <a:pt x="4452409" y="593238"/>
                  <a:pt x="4452641" y="600063"/>
                </a:cubicBezTo>
                <a:cubicBezTo>
                  <a:pt x="4452641" y="603360"/>
                  <a:pt x="4450095" y="605848"/>
                  <a:pt x="4445584" y="606658"/>
                </a:cubicBezTo>
                <a:cubicBezTo>
                  <a:pt x="4442576" y="607236"/>
                  <a:pt x="4438468" y="608451"/>
                  <a:pt x="4434015" y="609781"/>
                </a:cubicBezTo>
                <a:cubicBezTo>
                  <a:pt x="4423082" y="613252"/>
                  <a:pt x="4411802" y="615294"/>
                  <a:pt x="4400349" y="615855"/>
                </a:cubicBezTo>
                <a:close/>
                <a:moveTo>
                  <a:pt x="4380220" y="608335"/>
                </a:moveTo>
                <a:cubicBezTo>
                  <a:pt x="4383285" y="608352"/>
                  <a:pt x="4386236" y="609324"/>
                  <a:pt x="4388665" y="611112"/>
                </a:cubicBezTo>
                <a:cubicBezTo>
                  <a:pt x="4392309" y="613240"/>
                  <a:pt x="4396473" y="614247"/>
                  <a:pt x="4400639" y="614004"/>
                </a:cubicBezTo>
                <a:lnTo>
                  <a:pt x="4400639" y="614004"/>
                </a:lnTo>
                <a:cubicBezTo>
                  <a:pt x="4411686" y="613263"/>
                  <a:pt x="4422619" y="611106"/>
                  <a:pt x="4433089" y="607583"/>
                </a:cubicBezTo>
                <a:cubicBezTo>
                  <a:pt x="4437890" y="606253"/>
                  <a:pt x="4441997" y="605038"/>
                  <a:pt x="4445179" y="604459"/>
                </a:cubicBezTo>
                <a:cubicBezTo>
                  <a:pt x="4448360" y="603881"/>
                  <a:pt x="4450385" y="602262"/>
                  <a:pt x="4450327" y="600063"/>
                </a:cubicBezTo>
                <a:cubicBezTo>
                  <a:pt x="4450327" y="595378"/>
                  <a:pt x="4440609" y="586644"/>
                  <a:pt x="4415620" y="583289"/>
                </a:cubicBezTo>
                <a:cubicBezTo>
                  <a:pt x="4412612" y="582918"/>
                  <a:pt x="4409604" y="582722"/>
                  <a:pt x="4406596" y="582710"/>
                </a:cubicBezTo>
                <a:cubicBezTo>
                  <a:pt x="4378831" y="582710"/>
                  <a:pt x="4349157" y="597865"/>
                  <a:pt x="4347017" y="607005"/>
                </a:cubicBezTo>
                <a:cubicBezTo>
                  <a:pt x="4346554" y="609029"/>
                  <a:pt x="4347537" y="610591"/>
                  <a:pt x="4350025" y="611806"/>
                </a:cubicBezTo>
                <a:cubicBezTo>
                  <a:pt x="4352570" y="613159"/>
                  <a:pt x="4355404" y="613871"/>
                  <a:pt x="4358296" y="613888"/>
                </a:cubicBezTo>
                <a:cubicBezTo>
                  <a:pt x="4362288" y="613651"/>
                  <a:pt x="4366221" y="612691"/>
                  <a:pt x="4369865" y="611054"/>
                </a:cubicBezTo>
                <a:cubicBezTo>
                  <a:pt x="4372989" y="609417"/>
                  <a:pt x="4376402" y="608358"/>
                  <a:pt x="4379930" y="607930"/>
                </a:cubicBezTo>
                <a:close/>
                <a:moveTo>
                  <a:pt x="1644185" y="514049"/>
                </a:moveTo>
                <a:cubicBezTo>
                  <a:pt x="1639731" y="513829"/>
                  <a:pt x="1635392" y="512603"/>
                  <a:pt x="1631516" y="510463"/>
                </a:cubicBezTo>
                <a:cubicBezTo>
                  <a:pt x="1629492" y="509728"/>
                  <a:pt x="1628393" y="507622"/>
                  <a:pt x="1628856" y="505546"/>
                </a:cubicBezTo>
                <a:cubicBezTo>
                  <a:pt x="1630013" y="500687"/>
                  <a:pt x="1640020" y="494671"/>
                  <a:pt x="1647019" y="494671"/>
                </a:cubicBezTo>
                <a:cubicBezTo>
                  <a:pt x="1650490" y="494243"/>
                  <a:pt x="1653671" y="496725"/>
                  <a:pt x="1654134" y="500213"/>
                </a:cubicBezTo>
                <a:cubicBezTo>
                  <a:pt x="1654134" y="500294"/>
                  <a:pt x="1654134" y="500375"/>
                  <a:pt x="1654134" y="500455"/>
                </a:cubicBezTo>
                <a:cubicBezTo>
                  <a:pt x="1654944" y="504129"/>
                  <a:pt x="1654134" y="507964"/>
                  <a:pt x="1651878" y="510983"/>
                </a:cubicBezTo>
                <a:cubicBezTo>
                  <a:pt x="1649795" y="513002"/>
                  <a:pt x="1646903" y="513980"/>
                  <a:pt x="1644011" y="513644"/>
                </a:cubicBezTo>
                <a:close/>
                <a:moveTo>
                  <a:pt x="1647019" y="496696"/>
                </a:moveTo>
                <a:cubicBezTo>
                  <a:pt x="1640541" y="496979"/>
                  <a:pt x="1634582" y="500386"/>
                  <a:pt x="1631054" y="505835"/>
                </a:cubicBezTo>
                <a:cubicBezTo>
                  <a:pt x="1631054" y="506529"/>
                  <a:pt x="1631054" y="507397"/>
                  <a:pt x="1632558" y="508207"/>
                </a:cubicBezTo>
                <a:cubicBezTo>
                  <a:pt x="1640483" y="512198"/>
                  <a:pt x="1647251" y="512661"/>
                  <a:pt x="1649911" y="509306"/>
                </a:cubicBezTo>
                <a:cubicBezTo>
                  <a:pt x="1651647" y="506726"/>
                  <a:pt x="1652283" y="503556"/>
                  <a:pt x="1651647" y="500513"/>
                </a:cubicBezTo>
                <a:cubicBezTo>
                  <a:pt x="1651357" y="497737"/>
                  <a:pt x="1649795" y="496522"/>
                  <a:pt x="1646845" y="496522"/>
                </a:cubicBezTo>
                <a:close/>
                <a:moveTo>
                  <a:pt x="1400603" y="498547"/>
                </a:moveTo>
                <a:lnTo>
                  <a:pt x="1400603" y="498547"/>
                </a:lnTo>
                <a:cubicBezTo>
                  <a:pt x="1399099" y="498552"/>
                  <a:pt x="1397537" y="498460"/>
                  <a:pt x="1396033" y="498257"/>
                </a:cubicBezTo>
                <a:cubicBezTo>
                  <a:pt x="1391926" y="497176"/>
                  <a:pt x="1389380" y="493092"/>
                  <a:pt x="1390248" y="488945"/>
                </a:cubicBezTo>
                <a:cubicBezTo>
                  <a:pt x="1391406" y="479932"/>
                  <a:pt x="1399445" y="473436"/>
                  <a:pt x="1408527" y="474194"/>
                </a:cubicBezTo>
                <a:cubicBezTo>
                  <a:pt x="1423046" y="474194"/>
                  <a:pt x="1436292" y="478185"/>
                  <a:pt x="1439358" y="483449"/>
                </a:cubicBezTo>
                <a:cubicBezTo>
                  <a:pt x="1440226" y="484826"/>
                  <a:pt x="1440226" y="486584"/>
                  <a:pt x="1439358" y="487961"/>
                </a:cubicBezTo>
                <a:cubicBezTo>
                  <a:pt x="1435772" y="493399"/>
                  <a:pt x="1412692" y="498373"/>
                  <a:pt x="1400429" y="498373"/>
                </a:cubicBezTo>
                <a:close/>
                <a:moveTo>
                  <a:pt x="1408296" y="476450"/>
                </a:moveTo>
                <a:cubicBezTo>
                  <a:pt x="1400429" y="475692"/>
                  <a:pt x="1393372" y="481280"/>
                  <a:pt x="1392273" y="489118"/>
                </a:cubicBezTo>
                <a:cubicBezTo>
                  <a:pt x="1392273" y="492010"/>
                  <a:pt x="1393025" y="495481"/>
                  <a:pt x="1396380" y="496002"/>
                </a:cubicBezTo>
                <a:cubicBezTo>
                  <a:pt x="1397768" y="496106"/>
                  <a:pt x="1399214" y="496106"/>
                  <a:pt x="1400603" y="496002"/>
                </a:cubicBezTo>
                <a:cubicBezTo>
                  <a:pt x="1412923" y="496002"/>
                  <a:pt x="1434731" y="490911"/>
                  <a:pt x="1437218" y="486573"/>
                </a:cubicBezTo>
                <a:cubicBezTo>
                  <a:pt x="1437681" y="485890"/>
                  <a:pt x="1437681" y="484999"/>
                  <a:pt x="1437218" y="484317"/>
                </a:cubicBezTo>
                <a:cubicBezTo>
                  <a:pt x="1434731" y="480499"/>
                  <a:pt x="1423046" y="476277"/>
                  <a:pt x="1408411" y="476277"/>
                </a:cubicBezTo>
                <a:close/>
                <a:moveTo>
                  <a:pt x="3359442" y="492704"/>
                </a:moveTo>
                <a:cubicBezTo>
                  <a:pt x="3338733" y="492704"/>
                  <a:pt x="3296680" y="487788"/>
                  <a:pt x="3290028" y="478359"/>
                </a:cubicBezTo>
                <a:cubicBezTo>
                  <a:pt x="3289218" y="477081"/>
                  <a:pt x="3289218" y="475473"/>
                  <a:pt x="3290028" y="474194"/>
                </a:cubicBezTo>
                <a:cubicBezTo>
                  <a:pt x="3293557" y="467542"/>
                  <a:pt x="3310100" y="455106"/>
                  <a:pt x="3329362" y="455106"/>
                </a:cubicBezTo>
                <a:cubicBezTo>
                  <a:pt x="3331618" y="455106"/>
                  <a:pt x="3333874" y="455279"/>
                  <a:pt x="3336130" y="455626"/>
                </a:cubicBezTo>
                <a:cubicBezTo>
                  <a:pt x="3355450" y="458750"/>
                  <a:pt x="3376621" y="476103"/>
                  <a:pt x="3376621" y="485937"/>
                </a:cubicBezTo>
                <a:cubicBezTo>
                  <a:pt x="3376621" y="488916"/>
                  <a:pt x="3374365" y="491420"/>
                  <a:pt x="3371415" y="491721"/>
                </a:cubicBezTo>
                <a:cubicBezTo>
                  <a:pt x="3367424" y="492363"/>
                  <a:pt x="3363317" y="492629"/>
                  <a:pt x="3359268" y="492531"/>
                </a:cubicBezTo>
                <a:close/>
                <a:moveTo>
                  <a:pt x="3329709" y="457361"/>
                </a:moveTo>
                <a:cubicBezTo>
                  <a:pt x="3311604" y="457361"/>
                  <a:pt x="3295581" y="468930"/>
                  <a:pt x="3292399" y="475235"/>
                </a:cubicBezTo>
                <a:cubicBezTo>
                  <a:pt x="3291821" y="476334"/>
                  <a:pt x="3291821" y="476913"/>
                  <a:pt x="3291937" y="477086"/>
                </a:cubicBezTo>
                <a:cubicBezTo>
                  <a:pt x="3297375" y="484838"/>
                  <a:pt x="3336014" y="490448"/>
                  <a:pt x="3359442" y="490448"/>
                </a:cubicBezTo>
                <a:cubicBezTo>
                  <a:pt x="3363490" y="490524"/>
                  <a:pt x="3367597" y="490234"/>
                  <a:pt x="3371589" y="489581"/>
                </a:cubicBezTo>
                <a:cubicBezTo>
                  <a:pt x="3374712" y="488887"/>
                  <a:pt x="3375001" y="487209"/>
                  <a:pt x="3375001" y="485994"/>
                </a:cubicBezTo>
                <a:cubicBezTo>
                  <a:pt x="3375001" y="477896"/>
                  <a:pt x="3355450" y="461006"/>
                  <a:pt x="3336072" y="457824"/>
                </a:cubicBezTo>
                <a:cubicBezTo>
                  <a:pt x="3333932" y="457460"/>
                  <a:pt x="3331734" y="457246"/>
                  <a:pt x="3329536" y="457188"/>
                </a:cubicBezTo>
                <a:close/>
                <a:moveTo>
                  <a:pt x="3290722" y="450420"/>
                </a:moveTo>
                <a:cubicBezTo>
                  <a:pt x="3287425" y="450432"/>
                  <a:pt x="3284128" y="449923"/>
                  <a:pt x="3281004" y="448916"/>
                </a:cubicBezTo>
                <a:cubicBezTo>
                  <a:pt x="3276319" y="447354"/>
                  <a:pt x="3275625" y="445041"/>
                  <a:pt x="3275914" y="443421"/>
                </a:cubicBezTo>
                <a:cubicBezTo>
                  <a:pt x="3276840" y="437637"/>
                  <a:pt x="3291821" y="431852"/>
                  <a:pt x="3300324" y="431852"/>
                </a:cubicBezTo>
                <a:cubicBezTo>
                  <a:pt x="3307555" y="431852"/>
                  <a:pt x="3308307" y="435670"/>
                  <a:pt x="3308307" y="437290"/>
                </a:cubicBezTo>
                <a:cubicBezTo>
                  <a:pt x="3308365" y="441477"/>
                  <a:pt x="3306166" y="445376"/>
                  <a:pt x="3302522" y="447470"/>
                </a:cubicBezTo>
                <a:cubicBezTo>
                  <a:pt x="3298878" y="449489"/>
                  <a:pt x="3294713" y="450449"/>
                  <a:pt x="3290549" y="450247"/>
                </a:cubicBezTo>
                <a:close/>
                <a:moveTo>
                  <a:pt x="3300324" y="434166"/>
                </a:moveTo>
                <a:cubicBezTo>
                  <a:pt x="3291821" y="434166"/>
                  <a:pt x="3278748" y="439950"/>
                  <a:pt x="3278112" y="443768"/>
                </a:cubicBezTo>
                <a:cubicBezTo>
                  <a:pt x="3278112" y="445214"/>
                  <a:pt x="3279964" y="446198"/>
                  <a:pt x="3281756" y="446776"/>
                </a:cubicBezTo>
                <a:cubicBezTo>
                  <a:pt x="3284649" y="447725"/>
                  <a:pt x="3287657" y="448193"/>
                  <a:pt x="3290722" y="448164"/>
                </a:cubicBezTo>
                <a:cubicBezTo>
                  <a:pt x="3294482" y="448297"/>
                  <a:pt x="3298184" y="447418"/>
                  <a:pt x="3301481" y="445619"/>
                </a:cubicBezTo>
                <a:cubicBezTo>
                  <a:pt x="3304432" y="443930"/>
                  <a:pt x="3306224" y="440749"/>
                  <a:pt x="3306109" y="437347"/>
                </a:cubicBezTo>
                <a:cubicBezTo>
                  <a:pt x="3305704" y="435034"/>
                  <a:pt x="3303968" y="433992"/>
                  <a:pt x="3299920" y="433992"/>
                </a:cubicBezTo>
                <a:close/>
                <a:moveTo>
                  <a:pt x="2511849" y="442322"/>
                </a:moveTo>
                <a:cubicBezTo>
                  <a:pt x="2502767" y="442322"/>
                  <a:pt x="2495884" y="440182"/>
                  <a:pt x="2492992" y="436538"/>
                </a:cubicBezTo>
                <a:cubicBezTo>
                  <a:pt x="2492124" y="435618"/>
                  <a:pt x="2491777" y="434345"/>
                  <a:pt x="2492066" y="433125"/>
                </a:cubicBezTo>
                <a:cubicBezTo>
                  <a:pt x="2492760" y="430753"/>
                  <a:pt x="2496058" y="429481"/>
                  <a:pt x="2499875" y="427977"/>
                </a:cubicBezTo>
                <a:cubicBezTo>
                  <a:pt x="2503693" y="426473"/>
                  <a:pt x="2507742" y="424969"/>
                  <a:pt x="2509015" y="422192"/>
                </a:cubicBezTo>
                <a:cubicBezTo>
                  <a:pt x="2510923" y="418432"/>
                  <a:pt x="2519137" y="416697"/>
                  <a:pt x="2526021" y="416697"/>
                </a:cubicBezTo>
                <a:cubicBezTo>
                  <a:pt x="2531805" y="416182"/>
                  <a:pt x="2537589" y="417923"/>
                  <a:pt x="2542102" y="421556"/>
                </a:cubicBezTo>
                <a:cubicBezTo>
                  <a:pt x="2543663" y="423175"/>
                  <a:pt x="2544415" y="425391"/>
                  <a:pt x="2544242" y="427630"/>
                </a:cubicBezTo>
                <a:cubicBezTo>
                  <a:pt x="2543548" y="436595"/>
                  <a:pt x="2526831" y="442149"/>
                  <a:pt x="2511675" y="442149"/>
                </a:cubicBezTo>
                <a:close/>
                <a:moveTo>
                  <a:pt x="2526021" y="419184"/>
                </a:moveTo>
                <a:cubicBezTo>
                  <a:pt x="2518906" y="419184"/>
                  <a:pt x="2512196" y="421093"/>
                  <a:pt x="2511039" y="423407"/>
                </a:cubicBezTo>
                <a:cubicBezTo>
                  <a:pt x="2508436" y="426733"/>
                  <a:pt x="2504792" y="429093"/>
                  <a:pt x="2500685" y="430117"/>
                </a:cubicBezTo>
                <a:cubicBezTo>
                  <a:pt x="2497850" y="431216"/>
                  <a:pt x="2494900" y="432488"/>
                  <a:pt x="2494264" y="433761"/>
                </a:cubicBezTo>
                <a:cubicBezTo>
                  <a:pt x="2494264" y="434108"/>
                  <a:pt x="2494438" y="434571"/>
                  <a:pt x="2494785" y="435149"/>
                </a:cubicBezTo>
                <a:cubicBezTo>
                  <a:pt x="2499586" y="439175"/>
                  <a:pt x="2505891" y="441003"/>
                  <a:pt x="2512139" y="440182"/>
                </a:cubicBezTo>
                <a:cubicBezTo>
                  <a:pt x="2526021" y="440182"/>
                  <a:pt x="2541812" y="435091"/>
                  <a:pt x="2542275" y="427687"/>
                </a:cubicBezTo>
                <a:cubicBezTo>
                  <a:pt x="2542391" y="426085"/>
                  <a:pt x="2541812" y="424518"/>
                  <a:pt x="2540713" y="423349"/>
                </a:cubicBezTo>
                <a:cubicBezTo>
                  <a:pt x="2536549" y="420000"/>
                  <a:pt x="2531169" y="418403"/>
                  <a:pt x="2525848" y="418895"/>
                </a:cubicBezTo>
                <a:close/>
                <a:moveTo>
                  <a:pt x="3528173" y="410797"/>
                </a:moveTo>
                <a:cubicBezTo>
                  <a:pt x="3523488" y="410797"/>
                  <a:pt x="3518744" y="410797"/>
                  <a:pt x="3513885" y="410334"/>
                </a:cubicBezTo>
                <a:cubicBezTo>
                  <a:pt x="3497920" y="409362"/>
                  <a:pt x="3482476" y="404428"/>
                  <a:pt x="3468940" y="395989"/>
                </a:cubicBezTo>
                <a:cubicBezTo>
                  <a:pt x="3462578" y="391662"/>
                  <a:pt x="3455289" y="388833"/>
                  <a:pt x="3447654" y="387717"/>
                </a:cubicBezTo>
                <a:cubicBezTo>
                  <a:pt x="3445629" y="387636"/>
                  <a:pt x="3444068" y="385941"/>
                  <a:pt x="3444183" y="383934"/>
                </a:cubicBezTo>
                <a:cubicBezTo>
                  <a:pt x="3444183" y="383824"/>
                  <a:pt x="3444183" y="383714"/>
                  <a:pt x="3444183" y="383610"/>
                </a:cubicBezTo>
                <a:cubicBezTo>
                  <a:pt x="3444183" y="377421"/>
                  <a:pt x="3454595" y="364290"/>
                  <a:pt x="3462173" y="364290"/>
                </a:cubicBezTo>
                <a:cubicBezTo>
                  <a:pt x="3464313" y="364284"/>
                  <a:pt x="3466338" y="365493"/>
                  <a:pt x="3467321" y="367414"/>
                </a:cubicBezTo>
                <a:cubicBezTo>
                  <a:pt x="3472122" y="375917"/>
                  <a:pt x="3482997" y="377189"/>
                  <a:pt x="3489012" y="377189"/>
                </a:cubicBezTo>
                <a:cubicBezTo>
                  <a:pt x="3493814" y="377172"/>
                  <a:pt x="3498557" y="376449"/>
                  <a:pt x="3503127" y="375049"/>
                </a:cubicBezTo>
                <a:cubicBezTo>
                  <a:pt x="3504573" y="374592"/>
                  <a:pt x="3506019" y="374361"/>
                  <a:pt x="3507523" y="374355"/>
                </a:cubicBezTo>
                <a:cubicBezTo>
                  <a:pt x="3512208" y="374702"/>
                  <a:pt x="3516662" y="376345"/>
                  <a:pt x="3520422" y="379098"/>
                </a:cubicBezTo>
                <a:cubicBezTo>
                  <a:pt x="3523256" y="381175"/>
                  <a:pt x="3526554" y="382488"/>
                  <a:pt x="3530024" y="382916"/>
                </a:cubicBezTo>
                <a:cubicBezTo>
                  <a:pt x="3531586" y="382893"/>
                  <a:pt x="3533090" y="382436"/>
                  <a:pt x="3534363" y="381586"/>
                </a:cubicBezTo>
                <a:cubicBezTo>
                  <a:pt x="3537197" y="380110"/>
                  <a:pt x="3540436" y="379434"/>
                  <a:pt x="3543618" y="379619"/>
                </a:cubicBezTo>
                <a:cubicBezTo>
                  <a:pt x="3555476" y="379619"/>
                  <a:pt x="3573176" y="385866"/>
                  <a:pt x="3578729" y="391997"/>
                </a:cubicBezTo>
                <a:cubicBezTo>
                  <a:pt x="3579944" y="393137"/>
                  <a:pt x="3580580" y="394739"/>
                  <a:pt x="3580522" y="396394"/>
                </a:cubicBezTo>
                <a:cubicBezTo>
                  <a:pt x="3579539" y="404318"/>
                  <a:pt x="3557037" y="410508"/>
                  <a:pt x="3528000" y="410508"/>
                </a:cubicBezTo>
                <a:close/>
                <a:moveTo>
                  <a:pt x="3461884" y="366257"/>
                </a:moveTo>
                <a:cubicBezTo>
                  <a:pt x="3455752" y="366257"/>
                  <a:pt x="3446324" y="378288"/>
                  <a:pt x="3446150" y="383610"/>
                </a:cubicBezTo>
                <a:cubicBezTo>
                  <a:pt x="3446150" y="384941"/>
                  <a:pt x="3446670" y="385230"/>
                  <a:pt x="3447538" y="385345"/>
                </a:cubicBezTo>
                <a:cubicBezTo>
                  <a:pt x="3455521" y="386479"/>
                  <a:pt x="3463098" y="389406"/>
                  <a:pt x="3469750" y="393906"/>
                </a:cubicBezTo>
                <a:cubicBezTo>
                  <a:pt x="3482997" y="402224"/>
                  <a:pt x="3498152" y="407060"/>
                  <a:pt x="3513770" y="407963"/>
                </a:cubicBezTo>
                <a:cubicBezTo>
                  <a:pt x="3518513" y="407963"/>
                  <a:pt x="3523256" y="408425"/>
                  <a:pt x="3527884" y="408425"/>
                </a:cubicBezTo>
                <a:cubicBezTo>
                  <a:pt x="3556806" y="408425"/>
                  <a:pt x="3577398" y="402005"/>
                  <a:pt x="3577977" y="396047"/>
                </a:cubicBezTo>
                <a:cubicBezTo>
                  <a:pt x="3577919" y="395040"/>
                  <a:pt x="3577456" y="394091"/>
                  <a:pt x="3576762" y="393386"/>
                </a:cubicBezTo>
                <a:cubicBezTo>
                  <a:pt x="3571672" y="387601"/>
                  <a:pt x="3554434" y="381817"/>
                  <a:pt x="3543328" y="381817"/>
                </a:cubicBezTo>
                <a:cubicBezTo>
                  <a:pt x="3540552" y="381661"/>
                  <a:pt x="3537775" y="382216"/>
                  <a:pt x="3535288" y="383436"/>
                </a:cubicBezTo>
                <a:cubicBezTo>
                  <a:pt x="3533553" y="384570"/>
                  <a:pt x="3531586" y="385160"/>
                  <a:pt x="3529503" y="385114"/>
                </a:cubicBezTo>
                <a:cubicBezTo>
                  <a:pt x="3525628" y="384709"/>
                  <a:pt x="3521868" y="383275"/>
                  <a:pt x="3518744" y="380949"/>
                </a:cubicBezTo>
                <a:cubicBezTo>
                  <a:pt x="3515332" y="378497"/>
                  <a:pt x="3511341" y="376981"/>
                  <a:pt x="3507175" y="376553"/>
                </a:cubicBezTo>
                <a:cubicBezTo>
                  <a:pt x="3505903" y="376553"/>
                  <a:pt x="3504688" y="376744"/>
                  <a:pt x="3503473" y="377131"/>
                </a:cubicBezTo>
                <a:cubicBezTo>
                  <a:pt x="3498672" y="378601"/>
                  <a:pt x="3493698" y="379358"/>
                  <a:pt x="3488665" y="379387"/>
                </a:cubicBezTo>
                <a:cubicBezTo>
                  <a:pt x="3477097" y="379387"/>
                  <a:pt x="3468998" y="375512"/>
                  <a:pt x="3465007" y="368513"/>
                </a:cubicBezTo>
                <a:cubicBezTo>
                  <a:pt x="3464486" y="367211"/>
                  <a:pt x="3463272" y="366326"/>
                  <a:pt x="3461884" y="366257"/>
                </a:cubicBezTo>
                <a:close/>
                <a:moveTo>
                  <a:pt x="3231837" y="408194"/>
                </a:moveTo>
                <a:cubicBezTo>
                  <a:pt x="3228944" y="408419"/>
                  <a:pt x="3226052" y="407529"/>
                  <a:pt x="3223738" y="405707"/>
                </a:cubicBezTo>
                <a:cubicBezTo>
                  <a:pt x="3222524" y="404492"/>
                  <a:pt x="3221425" y="403335"/>
                  <a:pt x="3220384" y="402178"/>
                </a:cubicBezTo>
                <a:cubicBezTo>
                  <a:pt x="3215351" y="396324"/>
                  <a:pt x="3209162" y="391546"/>
                  <a:pt x="3202220" y="388122"/>
                </a:cubicBezTo>
                <a:cubicBezTo>
                  <a:pt x="3195626" y="384981"/>
                  <a:pt x="3192503" y="377328"/>
                  <a:pt x="3195048" y="370479"/>
                </a:cubicBezTo>
                <a:cubicBezTo>
                  <a:pt x="3199676" y="350928"/>
                  <a:pt x="3230102" y="321774"/>
                  <a:pt x="3245951" y="321774"/>
                </a:cubicBezTo>
                <a:cubicBezTo>
                  <a:pt x="3246992" y="321740"/>
                  <a:pt x="3248091" y="321896"/>
                  <a:pt x="3249074" y="322237"/>
                </a:cubicBezTo>
                <a:cubicBezTo>
                  <a:pt x="3258330" y="326379"/>
                  <a:pt x="3267006" y="331793"/>
                  <a:pt x="3274815" y="338318"/>
                </a:cubicBezTo>
                <a:cubicBezTo>
                  <a:pt x="3283781" y="345028"/>
                  <a:pt x="3293036" y="351969"/>
                  <a:pt x="3297548" y="351969"/>
                </a:cubicBezTo>
                <a:cubicBezTo>
                  <a:pt x="3298300" y="351969"/>
                  <a:pt x="3299977" y="351969"/>
                  <a:pt x="3300151" y="348267"/>
                </a:cubicBezTo>
                <a:cubicBezTo>
                  <a:pt x="3300614" y="338202"/>
                  <a:pt x="3307440" y="332476"/>
                  <a:pt x="3318951" y="332476"/>
                </a:cubicBezTo>
                <a:cubicBezTo>
                  <a:pt x="3326412" y="332690"/>
                  <a:pt x="3333700" y="334442"/>
                  <a:pt x="3340468" y="337624"/>
                </a:cubicBezTo>
                <a:cubicBezTo>
                  <a:pt x="3348335" y="340400"/>
                  <a:pt x="3356665" y="341713"/>
                  <a:pt x="3365052" y="341499"/>
                </a:cubicBezTo>
                <a:cubicBezTo>
                  <a:pt x="3376621" y="342020"/>
                  <a:pt x="3388942" y="342541"/>
                  <a:pt x="3399759" y="348961"/>
                </a:cubicBezTo>
                <a:cubicBezTo>
                  <a:pt x="3411328" y="356018"/>
                  <a:pt x="3416244" y="361166"/>
                  <a:pt x="3415955" y="365736"/>
                </a:cubicBezTo>
                <a:cubicBezTo>
                  <a:pt x="3415955" y="369033"/>
                  <a:pt x="3412890" y="371810"/>
                  <a:pt x="3406874" y="374413"/>
                </a:cubicBezTo>
                <a:cubicBezTo>
                  <a:pt x="3402246" y="376437"/>
                  <a:pt x="3402419" y="380197"/>
                  <a:pt x="3402651" y="384015"/>
                </a:cubicBezTo>
                <a:cubicBezTo>
                  <a:pt x="3402651" y="390089"/>
                  <a:pt x="3403287" y="396914"/>
                  <a:pt x="3387091" y="397955"/>
                </a:cubicBezTo>
                <a:cubicBezTo>
                  <a:pt x="3368754" y="399054"/>
                  <a:pt x="3354582" y="390089"/>
                  <a:pt x="3350302" y="381181"/>
                </a:cubicBezTo>
                <a:cubicBezTo>
                  <a:pt x="3348335" y="378051"/>
                  <a:pt x="3348509" y="374048"/>
                  <a:pt x="3350649" y="371058"/>
                </a:cubicBezTo>
                <a:cubicBezTo>
                  <a:pt x="3351632" y="370046"/>
                  <a:pt x="3351921" y="368536"/>
                  <a:pt x="3351343" y="367240"/>
                </a:cubicBezTo>
                <a:cubicBezTo>
                  <a:pt x="3349492" y="364591"/>
                  <a:pt x="3346427" y="363064"/>
                  <a:pt x="3343187" y="363191"/>
                </a:cubicBezTo>
                <a:cubicBezTo>
                  <a:pt x="3341394" y="363191"/>
                  <a:pt x="3338386" y="363654"/>
                  <a:pt x="3338097" y="367009"/>
                </a:cubicBezTo>
                <a:cubicBezTo>
                  <a:pt x="3338733" y="371636"/>
                  <a:pt x="3340295" y="376073"/>
                  <a:pt x="3342782" y="380024"/>
                </a:cubicBezTo>
                <a:cubicBezTo>
                  <a:pt x="3346079" y="386618"/>
                  <a:pt x="3349203" y="392807"/>
                  <a:pt x="3346889" y="396567"/>
                </a:cubicBezTo>
                <a:cubicBezTo>
                  <a:pt x="3345675" y="398592"/>
                  <a:pt x="3343245" y="399517"/>
                  <a:pt x="3339427" y="399517"/>
                </a:cubicBezTo>
                <a:cubicBezTo>
                  <a:pt x="3335610" y="399517"/>
                  <a:pt x="3330346" y="399228"/>
                  <a:pt x="3326065" y="398881"/>
                </a:cubicBezTo>
                <a:cubicBezTo>
                  <a:pt x="3321785" y="398534"/>
                  <a:pt x="3318141" y="398303"/>
                  <a:pt x="3314496" y="398303"/>
                </a:cubicBezTo>
                <a:cubicBezTo>
                  <a:pt x="3306514" y="397973"/>
                  <a:pt x="3298589" y="399986"/>
                  <a:pt x="3291705" y="404087"/>
                </a:cubicBezTo>
                <a:cubicBezTo>
                  <a:pt x="3289103" y="405944"/>
                  <a:pt x="3286037" y="407025"/>
                  <a:pt x="3282856" y="407211"/>
                </a:cubicBezTo>
                <a:cubicBezTo>
                  <a:pt x="3279269" y="406939"/>
                  <a:pt x="3275972" y="405250"/>
                  <a:pt x="3273658" y="402525"/>
                </a:cubicBezTo>
                <a:cubicBezTo>
                  <a:pt x="3271113" y="400153"/>
                  <a:pt x="3268915" y="398303"/>
                  <a:pt x="3265618" y="399344"/>
                </a:cubicBezTo>
                <a:lnTo>
                  <a:pt x="3261627" y="400732"/>
                </a:lnTo>
                <a:cubicBezTo>
                  <a:pt x="3252140" y="404642"/>
                  <a:pt x="3242133" y="407158"/>
                  <a:pt x="3231952" y="408194"/>
                </a:cubicBezTo>
                <a:close/>
                <a:moveTo>
                  <a:pt x="3245951" y="324030"/>
                </a:moveTo>
                <a:cubicBezTo>
                  <a:pt x="3232357" y="324030"/>
                  <a:pt x="3201932" y="351159"/>
                  <a:pt x="3197246" y="371000"/>
                </a:cubicBezTo>
                <a:cubicBezTo>
                  <a:pt x="3194990" y="376773"/>
                  <a:pt x="3197478" y="383321"/>
                  <a:pt x="3203030" y="386097"/>
                </a:cubicBezTo>
                <a:cubicBezTo>
                  <a:pt x="3210203" y="389661"/>
                  <a:pt x="3216566" y="394618"/>
                  <a:pt x="3221772" y="400674"/>
                </a:cubicBezTo>
                <a:lnTo>
                  <a:pt x="3225069" y="404087"/>
                </a:lnTo>
                <a:cubicBezTo>
                  <a:pt x="3226920" y="405516"/>
                  <a:pt x="3229292" y="406175"/>
                  <a:pt x="3231605" y="405938"/>
                </a:cubicBezTo>
                <a:cubicBezTo>
                  <a:pt x="3241555" y="404926"/>
                  <a:pt x="3251272" y="402490"/>
                  <a:pt x="3260527" y="398707"/>
                </a:cubicBezTo>
                <a:lnTo>
                  <a:pt x="3264577" y="397319"/>
                </a:lnTo>
                <a:cubicBezTo>
                  <a:pt x="3265387" y="397030"/>
                  <a:pt x="3266312" y="396874"/>
                  <a:pt x="3267179" y="396856"/>
                </a:cubicBezTo>
                <a:cubicBezTo>
                  <a:pt x="3270187" y="397169"/>
                  <a:pt x="3272964" y="398644"/>
                  <a:pt x="3274873" y="400963"/>
                </a:cubicBezTo>
                <a:cubicBezTo>
                  <a:pt x="3276782" y="403271"/>
                  <a:pt x="3279500" y="404741"/>
                  <a:pt x="3282508" y="405070"/>
                </a:cubicBezTo>
                <a:cubicBezTo>
                  <a:pt x="3285285" y="404868"/>
                  <a:pt x="3287888" y="403908"/>
                  <a:pt x="3290144" y="402294"/>
                </a:cubicBezTo>
                <a:cubicBezTo>
                  <a:pt x="3297375" y="397927"/>
                  <a:pt x="3305704" y="395757"/>
                  <a:pt x="3314149" y="396047"/>
                </a:cubicBezTo>
                <a:cubicBezTo>
                  <a:pt x="3318025" y="396047"/>
                  <a:pt x="3321959" y="396047"/>
                  <a:pt x="3326065" y="396625"/>
                </a:cubicBezTo>
                <a:cubicBezTo>
                  <a:pt x="3330172" y="397203"/>
                  <a:pt x="3334684" y="397261"/>
                  <a:pt x="3339254" y="397261"/>
                </a:cubicBezTo>
                <a:cubicBezTo>
                  <a:pt x="3342146" y="397261"/>
                  <a:pt x="3344055" y="396625"/>
                  <a:pt x="3345038" y="395410"/>
                </a:cubicBezTo>
                <a:cubicBezTo>
                  <a:pt x="3346715" y="392692"/>
                  <a:pt x="3343592" y="386502"/>
                  <a:pt x="3340873" y="381065"/>
                </a:cubicBezTo>
                <a:cubicBezTo>
                  <a:pt x="3338097" y="376767"/>
                  <a:pt x="3336420" y="371868"/>
                  <a:pt x="3335956" y="366777"/>
                </a:cubicBezTo>
                <a:cubicBezTo>
                  <a:pt x="3336304" y="363214"/>
                  <a:pt x="3339485" y="360617"/>
                  <a:pt x="3343071" y="360970"/>
                </a:cubicBezTo>
                <a:cubicBezTo>
                  <a:pt x="3343129" y="360976"/>
                  <a:pt x="3343187" y="360981"/>
                  <a:pt x="3343245" y="360993"/>
                </a:cubicBezTo>
                <a:cubicBezTo>
                  <a:pt x="3347352" y="360837"/>
                  <a:pt x="3351227" y="362861"/>
                  <a:pt x="3353425" y="366315"/>
                </a:cubicBezTo>
                <a:cubicBezTo>
                  <a:pt x="3354351" y="368391"/>
                  <a:pt x="3353946" y="370815"/>
                  <a:pt x="3352442" y="372504"/>
                </a:cubicBezTo>
                <a:cubicBezTo>
                  <a:pt x="3350938" y="374858"/>
                  <a:pt x="3350938" y="377901"/>
                  <a:pt x="3352442" y="380255"/>
                </a:cubicBezTo>
                <a:cubicBezTo>
                  <a:pt x="3356376" y="388469"/>
                  <a:pt x="3369795" y="396799"/>
                  <a:pt x="3387148" y="395757"/>
                </a:cubicBezTo>
                <a:cubicBezTo>
                  <a:pt x="3401089" y="394890"/>
                  <a:pt x="3400858" y="389973"/>
                  <a:pt x="3400569" y="384188"/>
                </a:cubicBezTo>
                <a:cubicBezTo>
                  <a:pt x="3400569" y="379908"/>
                  <a:pt x="3400048" y="375049"/>
                  <a:pt x="3406353" y="372620"/>
                </a:cubicBezTo>
                <a:cubicBezTo>
                  <a:pt x="3411386" y="370422"/>
                  <a:pt x="3413930" y="368223"/>
                  <a:pt x="3414046" y="365852"/>
                </a:cubicBezTo>
                <a:cubicBezTo>
                  <a:pt x="3414046" y="362381"/>
                  <a:pt x="3409361" y="357580"/>
                  <a:pt x="3398949" y="351217"/>
                </a:cubicBezTo>
                <a:cubicBezTo>
                  <a:pt x="3388595" y="345994"/>
                  <a:pt x="3377026" y="343524"/>
                  <a:pt x="3365457" y="344045"/>
                </a:cubicBezTo>
                <a:cubicBezTo>
                  <a:pt x="3356838" y="344247"/>
                  <a:pt x="3348219" y="342859"/>
                  <a:pt x="3340063" y="339938"/>
                </a:cubicBezTo>
                <a:cubicBezTo>
                  <a:pt x="3333585" y="336895"/>
                  <a:pt x="3326586" y="335200"/>
                  <a:pt x="3319471" y="334963"/>
                </a:cubicBezTo>
                <a:cubicBezTo>
                  <a:pt x="3312182" y="334963"/>
                  <a:pt x="3303448" y="337392"/>
                  <a:pt x="3302870" y="348672"/>
                </a:cubicBezTo>
                <a:cubicBezTo>
                  <a:pt x="3302870" y="353531"/>
                  <a:pt x="3300151" y="354457"/>
                  <a:pt x="3298069" y="354457"/>
                </a:cubicBezTo>
                <a:cubicBezTo>
                  <a:pt x="3292805" y="354457"/>
                  <a:pt x="3284070" y="347920"/>
                  <a:pt x="3273947" y="340400"/>
                </a:cubicBezTo>
                <a:cubicBezTo>
                  <a:pt x="3266370" y="333997"/>
                  <a:pt x="3257925" y="328681"/>
                  <a:pt x="3248901" y="324609"/>
                </a:cubicBezTo>
                <a:cubicBezTo>
                  <a:pt x="3247975" y="324239"/>
                  <a:pt x="3247050" y="324042"/>
                  <a:pt x="3246066" y="324030"/>
                </a:cubicBezTo>
                <a:close/>
                <a:moveTo>
                  <a:pt x="2169295" y="223497"/>
                </a:moveTo>
                <a:lnTo>
                  <a:pt x="2169295" y="223497"/>
                </a:lnTo>
                <a:cubicBezTo>
                  <a:pt x="2166172" y="223676"/>
                  <a:pt x="2163106" y="223057"/>
                  <a:pt x="2160271" y="221704"/>
                </a:cubicBezTo>
                <a:cubicBezTo>
                  <a:pt x="2158594" y="220946"/>
                  <a:pt x="2157321" y="219413"/>
                  <a:pt x="2156975" y="217597"/>
                </a:cubicBezTo>
                <a:cubicBezTo>
                  <a:pt x="2156511" y="214126"/>
                  <a:pt x="2160156" y="210424"/>
                  <a:pt x="2164841" y="205681"/>
                </a:cubicBezTo>
                <a:cubicBezTo>
                  <a:pt x="2171030" y="199434"/>
                  <a:pt x="2178724" y="191625"/>
                  <a:pt x="2179071" y="181907"/>
                </a:cubicBezTo>
                <a:cubicBezTo>
                  <a:pt x="2179534" y="170338"/>
                  <a:pt x="2186070" y="168892"/>
                  <a:pt x="2192375" y="168892"/>
                </a:cubicBezTo>
                <a:lnTo>
                  <a:pt x="2195325" y="168892"/>
                </a:lnTo>
                <a:cubicBezTo>
                  <a:pt x="2196829" y="168892"/>
                  <a:pt x="2198391" y="168892"/>
                  <a:pt x="2198970" y="168198"/>
                </a:cubicBezTo>
                <a:cubicBezTo>
                  <a:pt x="2199548" y="167504"/>
                  <a:pt x="2199374" y="167793"/>
                  <a:pt x="2198970" y="166694"/>
                </a:cubicBezTo>
                <a:cubicBezTo>
                  <a:pt x="2198970" y="162194"/>
                  <a:pt x="2200762" y="157878"/>
                  <a:pt x="2203944" y="154720"/>
                </a:cubicBezTo>
                <a:cubicBezTo>
                  <a:pt x="2206663" y="152059"/>
                  <a:pt x="2208340" y="148537"/>
                  <a:pt x="2208687" y="144771"/>
                </a:cubicBezTo>
                <a:cubicBezTo>
                  <a:pt x="2208687" y="139391"/>
                  <a:pt x="2216207" y="138987"/>
                  <a:pt x="2223495" y="138987"/>
                </a:cubicBezTo>
                <a:cubicBezTo>
                  <a:pt x="2230784" y="138987"/>
                  <a:pt x="2237378" y="138408"/>
                  <a:pt x="2237725" y="134417"/>
                </a:cubicBezTo>
                <a:cubicBezTo>
                  <a:pt x="2237725" y="131582"/>
                  <a:pt x="2240270" y="129905"/>
                  <a:pt x="2243857" y="129905"/>
                </a:cubicBezTo>
                <a:cubicBezTo>
                  <a:pt x="2250508" y="130107"/>
                  <a:pt x="2256582" y="133890"/>
                  <a:pt x="2259648" y="139796"/>
                </a:cubicBezTo>
                <a:cubicBezTo>
                  <a:pt x="2261441" y="144586"/>
                  <a:pt x="2259879" y="150000"/>
                  <a:pt x="2255830" y="153101"/>
                </a:cubicBezTo>
                <a:cubicBezTo>
                  <a:pt x="2247674" y="161199"/>
                  <a:pt x="2245997" y="167388"/>
                  <a:pt x="2246806" y="169355"/>
                </a:cubicBezTo>
                <a:cubicBezTo>
                  <a:pt x="2246806" y="169760"/>
                  <a:pt x="2247154" y="169760"/>
                  <a:pt x="2247269" y="169760"/>
                </a:cubicBezTo>
                <a:cubicBezTo>
                  <a:pt x="2247385" y="169760"/>
                  <a:pt x="2249236" y="169008"/>
                  <a:pt x="2250798" y="166289"/>
                </a:cubicBezTo>
                <a:cubicBezTo>
                  <a:pt x="2257392" y="157763"/>
                  <a:pt x="2267515" y="152696"/>
                  <a:pt x="2278332" y="152522"/>
                </a:cubicBezTo>
                <a:cubicBezTo>
                  <a:pt x="2283596" y="152378"/>
                  <a:pt x="2288628" y="154483"/>
                  <a:pt x="2292214" y="158307"/>
                </a:cubicBezTo>
                <a:cubicBezTo>
                  <a:pt x="2297594" y="162882"/>
                  <a:pt x="2303956" y="166150"/>
                  <a:pt x="2310840" y="167851"/>
                </a:cubicBezTo>
                <a:cubicBezTo>
                  <a:pt x="2320500" y="171206"/>
                  <a:pt x="2329582" y="174329"/>
                  <a:pt x="2328193" y="182717"/>
                </a:cubicBezTo>
                <a:cubicBezTo>
                  <a:pt x="2325533" y="196773"/>
                  <a:pt x="2257681" y="215110"/>
                  <a:pt x="2234139" y="215110"/>
                </a:cubicBezTo>
                <a:lnTo>
                  <a:pt x="2230552" y="215110"/>
                </a:lnTo>
                <a:cubicBezTo>
                  <a:pt x="2218983" y="215630"/>
                  <a:pt x="2207530" y="217256"/>
                  <a:pt x="2196308" y="219969"/>
                </a:cubicBezTo>
                <a:cubicBezTo>
                  <a:pt x="2187459" y="221929"/>
                  <a:pt x="2178435" y="223115"/>
                  <a:pt x="2169411" y="223497"/>
                </a:cubicBezTo>
                <a:close/>
                <a:moveTo>
                  <a:pt x="2192433" y="171437"/>
                </a:moveTo>
                <a:cubicBezTo>
                  <a:pt x="2187053" y="171437"/>
                  <a:pt x="2181789" y="172247"/>
                  <a:pt x="2181385" y="182312"/>
                </a:cubicBezTo>
                <a:cubicBezTo>
                  <a:pt x="2180980" y="192377"/>
                  <a:pt x="2172940" y="201053"/>
                  <a:pt x="2166461" y="207590"/>
                </a:cubicBezTo>
                <a:cubicBezTo>
                  <a:pt x="2162412" y="211697"/>
                  <a:pt x="2158941" y="215225"/>
                  <a:pt x="2159288" y="217597"/>
                </a:cubicBezTo>
                <a:cubicBezTo>
                  <a:pt x="2159288" y="218465"/>
                  <a:pt x="2160098" y="219274"/>
                  <a:pt x="2161429" y="220026"/>
                </a:cubicBezTo>
                <a:cubicBezTo>
                  <a:pt x="2163916" y="221195"/>
                  <a:pt x="2166634" y="221715"/>
                  <a:pt x="2169353" y="221530"/>
                </a:cubicBezTo>
                <a:lnTo>
                  <a:pt x="2169353" y="221530"/>
                </a:lnTo>
                <a:cubicBezTo>
                  <a:pt x="2178319" y="220969"/>
                  <a:pt x="2187285" y="219633"/>
                  <a:pt x="2196019" y="217539"/>
                </a:cubicBezTo>
                <a:cubicBezTo>
                  <a:pt x="2208051" y="214537"/>
                  <a:pt x="2220430" y="212888"/>
                  <a:pt x="2232808" y="212622"/>
                </a:cubicBezTo>
                <a:lnTo>
                  <a:pt x="2234312" y="212622"/>
                </a:lnTo>
                <a:cubicBezTo>
                  <a:pt x="2260978" y="212622"/>
                  <a:pt x="2324029" y="193129"/>
                  <a:pt x="2326111" y="182023"/>
                </a:cubicBezTo>
                <a:cubicBezTo>
                  <a:pt x="2327326" y="175602"/>
                  <a:pt x="2319517" y="172883"/>
                  <a:pt x="2310435" y="169760"/>
                </a:cubicBezTo>
                <a:cubicBezTo>
                  <a:pt x="2303204" y="167943"/>
                  <a:pt x="2296495" y="164455"/>
                  <a:pt x="2290884" y="159579"/>
                </a:cubicBezTo>
                <a:cubicBezTo>
                  <a:pt x="2287645" y="156351"/>
                  <a:pt x="2283248" y="154628"/>
                  <a:pt x="2278678" y="154836"/>
                </a:cubicBezTo>
                <a:cubicBezTo>
                  <a:pt x="2268671" y="154957"/>
                  <a:pt x="2259301" y="159591"/>
                  <a:pt x="2253112" y="167446"/>
                </a:cubicBezTo>
                <a:cubicBezTo>
                  <a:pt x="2251376" y="170396"/>
                  <a:pt x="2249410" y="172073"/>
                  <a:pt x="2247327" y="172073"/>
                </a:cubicBezTo>
                <a:cubicBezTo>
                  <a:pt x="2246170" y="172085"/>
                  <a:pt x="2245129" y="171362"/>
                  <a:pt x="2244782" y="170280"/>
                </a:cubicBezTo>
                <a:cubicBezTo>
                  <a:pt x="2243394" y="167041"/>
                  <a:pt x="2245823" y="159984"/>
                  <a:pt x="2254268" y="151539"/>
                </a:cubicBezTo>
                <a:cubicBezTo>
                  <a:pt x="2257624" y="149046"/>
                  <a:pt x="2258954" y="144673"/>
                  <a:pt x="2257624" y="140722"/>
                </a:cubicBezTo>
                <a:cubicBezTo>
                  <a:pt x="2254847" y="135695"/>
                  <a:pt x="2249641" y="132473"/>
                  <a:pt x="2243914" y="132219"/>
                </a:cubicBezTo>
                <a:cubicBezTo>
                  <a:pt x="2242237" y="132219"/>
                  <a:pt x="2240213" y="132682"/>
                  <a:pt x="2240039" y="134648"/>
                </a:cubicBezTo>
                <a:cubicBezTo>
                  <a:pt x="2239518" y="140433"/>
                  <a:pt x="2231478" y="140953"/>
                  <a:pt x="2223668" y="141300"/>
                </a:cubicBezTo>
                <a:cubicBezTo>
                  <a:pt x="2217422" y="141300"/>
                  <a:pt x="2210943" y="141821"/>
                  <a:pt x="2210943" y="145060"/>
                </a:cubicBezTo>
                <a:cubicBezTo>
                  <a:pt x="2210653" y="149410"/>
                  <a:pt x="2208861" y="153517"/>
                  <a:pt x="2205795" y="156629"/>
                </a:cubicBezTo>
                <a:cubicBezTo>
                  <a:pt x="2202960" y="159365"/>
                  <a:pt x="2201341" y="163108"/>
                  <a:pt x="2201283" y="167041"/>
                </a:cubicBezTo>
                <a:cubicBezTo>
                  <a:pt x="2201456" y="168192"/>
                  <a:pt x="2201168" y="169366"/>
                  <a:pt x="2200416" y="170280"/>
                </a:cubicBezTo>
                <a:cubicBezTo>
                  <a:pt x="2198912" y="171466"/>
                  <a:pt x="2197002" y="171987"/>
                  <a:pt x="2195094" y="171726"/>
                </a:cubicBezTo>
                <a:close/>
                <a:moveTo>
                  <a:pt x="2141472" y="172825"/>
                </a:moveTo>
                <a:cubicBezTo>
                  <a:pt x="2127242" y="171634"/>
                  <a:pt x="2113302" y="168580"/>
                  <a:pt x="2099882" y="163744"/>
                </a:cubicBezTo>
                <a:cubicBezTo>
                  <a:pt x="2089528" y="159990"/>
                  <a:pt x="2078711" y="157503"/>
                  <a:pt x="2067720" y="156340"/>
                </a:cubicBezTo>
                <a:cubicBezTo>
                  <a:pt x="2066564" y="156322"/>
                  <a:pt x="2065349" y="156438"/>
                  <a:pt x="2064192" y="156687"/>
                </a:cubicBezTo>
                <a:cubicBezTo>
                  <a:pt x="2063093" y="156924"/>
                  <a:pt x="2061994" y="157063"/>
                  <a:pt x="2060895" y="157092"/>
                </a:cubicBezTo>
                <a:cubicBezTo>
                  <a:pt x="2053317" y="157092"/>
                  <a:pt x="2048805" y="150960"/>
                  <a:pt x="2044872" y="145523"/>
                </a:cubicBezTo>
                <a:cubicBezTo>
                  <a:pt x="2042269" y="141994"/>
                  <a:pt x="2039782" y="138639"/>
                  <a:pt x="2037063" y="138119"/>
                </a:cubicBezTo>
                <a:cubicBezTo>
                  <a:pt x="2034344" y="137598"/>
                  <a:pt x="2032667" y="137483"/>
                  <a:pt x="2030642" y="137251"/>
                </a:cubicBezTo>
                <a:cubicBezTo>
                  <a:pt x="2025437" y="137378"/>
                  <a:pt x="2020346" y="135585"/>
                  <a:pt x="2016355" y="132219"/>
                </a:cubicBezTo>
                <a:cubicBezTo>
                  <a:pt x="2015256" y="131368"/>
                  <a:pt x="2014620" y="130038"/>
                  <a:pt x="2014620" y="128632"/>
                </a:cubicBezTo>
                <a:cubicBezTo>
                  <a:pt x="2014620" y="125220"/>
                  <a:pt x="2019131" y="122038"/>
                  <a:pt x="2024164" y="118336"/>
                </a:cubicBezTo>
                <a:cubicBezTo>
                  <a:pt x="2029196" y="114634"/>
                  <a:pt x="2034576" y="110643"/>
                  <a:pt x="2034576" y="107114"/>
                </a:cubicBezTo>
                <a:cubicBezTo>
                  <a:pt x="2034576" y="98264"/>
                  <a:pt x="2083107" y="87274"/>
                  <a:pt x="2101501" y="87274"/>
                </a:cubicBezTo>
                <a:cubicBezTo>
                  <a:pt x="2107807" y="87274"/>
                  <a:pt x="2111393" y="88315"/>
                  <a:pt x="2112608" y="90455"/>
                </a:cubicBezTo>
                <a:cubicBezTo>
                  <a:pt x="2116252" y="97165"/>
                  <a:pt x="2124986" y="107461"/>
                  <a:pt x="2128920" y="107461"/>
                </a:cubicBezTo>
                <a:cubicBezTo>
                  <a:pt x="2130366" y="107461"/>
                  <a:pt x="2130655" y="105090"/>
                  <a:pt x="2130655" y="103065"/>
                </a:cubicBezTo>
                <a:cubicBezTo>
                  <a:pt x="2130655" y="98496"/>
                  <a:pt x="2134993" y="95835"/>
                  <a:pt x="2142513" y="95835"/>
                </a:cubicBezTo>
                <a:cubicBezTo>
                  <a:pt x="2154082" y="95835"/>
                  <a:pt x="2169700" y="101619"/>
                  <a:pt x="2174096" y="110238"/>
                </a:cubicBezTo>
                <a:cubicBezTo>
                  <a:pt x="2176005" y="113870"/>
                  <a:pt x="2175600" y="118296"/>
                  <a:pt x="2173055" y="121518"/>
                </a:cubicBezTo>
                <a:cubicBezTo>
                  <a:pt x="2167270" y="129847"/>
                  <a:pt x="2156511" y="145407"/>
                  <a:pt x="2158305" y="149456"/>
                </a:cubicBezTo>
                <a:cubicBezTo>
                  <a:pt x="2158305" y="149803"/>
                  <a:pt x="2158883" y="150266"/>
                  <a:pt x="2160156" y="150382"/>
                </a:cubicBezTo>
                <a:cubicBezTo>
                  <a:pt x="2163279" y="150955"/>
                  <a:pt x="2165362" y="153962"/>
                  <a:pt x="2164841" y="157103"/>
                </a:cubicBezTo>
                <a:cubicBezTo>
                  <a:pt x="2164783" y="157161"/>
                  <a:pt x="2164783" y="157213"/>
                  <a:pt x="2164783" y="157265"/>
                </a:cubicBezTo>
                <a:cubicBezTo>
                  <a:pt x="2164494" y="163223"/>
                  <a:pt x="2158015" y="172536"/>
                  <a:pt x="2141530" y="172536"/>
                </a:cubicBezTo>
                <a:close/>
                <a:moveTo>
                  <a:pt x="2067836" y="153795"/>
                </a:moveTo>
                <a:cubicBezTo>
                  <a:pt x="2079058" y="154940"/>
                  <a:pt x="2090048" y="157468"/>
                  <a:pt x="2100634" y="161314"/>
                </a:cubicBezTo>
                <a:cubicBezTo>
                  <a:pt x="2113822" y="166058"/>
                  <a:pt x="2127589" y="169071"/>
                  <a:pt x="2141588" y="170280"/>
                </a:cubicBezTo>
                <a:cubicBezTo>
                  <a:pt x="2156511" y="170280"/>
                  <a:pt x="2162354" y="162240"/>
                  <a:pt x="2162643" y="156860"/>
                </a:cubicBezTo>
                <a:cubicBezTo>
                  <a:pt x="2162643" y="154894"/>
                  <a:pt x="2162123" y="152580"/>
                  <a:pt x="2160040" y="152349"/>
                </a:cubicBezTo>
                <a:cubicBezTo>
                  <a:pt x="2158479" y="152354"/>
                  <a:pt x="2157090" y="151481"/>
                  <a:pt x="2156396" y="150093"/>
                </a:cubicBezTo>
                <a:cubicBezTo>
                  <a:pt x="2154603" y="146217"/>
                  <a:pt x="2158421" y="138524"/>
                  <a:pt x="2171320" y="119898"/>
                </a:cubicBezTo>
                <a:cubicBezTo>
                  <a:pt x="2173402" y="117393"/>
                  <a:pt x="2173750" y="113853"/>
                  <a:pt x="2172188" y="110990"/>
                </a:cubicBezTo>
                <a:cubicBezTo>
                  <a:pt x="2168254" y="103470"/>
                  <a:pt x="2153330" y="97801"/>
                  <a:pt x="2142629" y="97801"/>
                </a:cubicBezTo>
                <a:cubicBezTo>
                  <a:pt x="2139737" y="97801"/>
                  <a:pt x="2133027" y="98322"/>
                  <a:pt x="2133027" y="102776"/>
                </a:cubicBezTo>
                <a:cubicBezTo>
                  <a:pt x="2133027" y="108560"/>
                  <a:pt x="2130829" y="109428"/>
                  <a:pt x="2129035" y="109428"/>
                </a:cubicBezTo>
                <a:cubicBezTo>
                  <a:pt x="2123251" y="109428"/>
                  <a:pt x="2114170" y="97570"/>
                  <a:pt x="2110699" y="91207"/>
                </a:cubicBezTo>
                <a:cubicBezTo>
                  <a:pt x="2110699" y="90744"/>
                  <a:pt x="2109021" y="89240"/>
                  <a:pt x="2101617" y="89240"/>
                </a:cubicBezTo>
                <a:cubicBezTo>
                  <a:pt x="2078479" y="89240"/>
                  <a:pt x="2036948" y="101561"/>
                  <a:pt x="2036948" y="106594"/>
                </a:cubicBezTo>
                <a:cubicBezTo>
                  <a:pt x="2036948" y="111626"/>
                  <a:pt x="2031163" y="115502"/>
                  <a:pt x="2025379" y="119609"/>
                </a:cubicBezTo>
                <a:cubicBezTo>
                  <a:pt x="2021213" y="122732"/>
                  <a:pt x="2016875" y="125914"/>
                  <a:pt x="2016760" y="128227"/>
                </a:cubicBezTo>
                <a:cubicBezTo>
                  <a:pt x="2016760" y="128922"/>
                  <a:pt x="2017107" y="129569"/>
                  <a:pt x="2017685" y="129963"/>
                </a:cubicBezTo>
                <a:cubicBezTo>
                  <a:pt x="2021329" y="132988"/>
                  <a:pt x="2025957" y="134608"/>
                  <a:pt x="2030700" y="134533"/>
                </a:cubicBezTo>
                <a:cubicBezTo>
                  <a:pt x="2032956" y="134683"/>
                  <a:pt x="2035212" y="134949"/>
                  <a:pt x="2037410" y="135342"/>
                </a:cubicBezTo>
                <a:cubicBezTo>
                  <a:pt x="2040996" y="136094"/>
                  <a:pt x="2043657" y="139796"/>
                  <a:pt x="2046549" y="143672"/>
                </a:cubicBezTo>
                <a:cubicBezTo>
                  <a:pt x="2050888" y="149456"/>
                  <a:pt x="2055631" y="155704"/>
                  <a:pt x="2063556" y="153968"/>
                </a:cubicBezTo>
                <a:cubicBezTo>
                  <a:pt x="2064944" y="153731"/>
                  <a:pt x="2066390" y="153673"/>
                  <a:pt x="2067836" y="153795"/>
                </a:cubicBezTo>
                <a:close/>
                <a:moveTo>
                  <a:pt x="1997613" y="122443"/>
                </a:moveTo>
                <a:cubicBezTo>
                  <a:pt x="1995415" y="122437"/>
                  <a:pt x="1993275" y="122165"/>
                  <a:pt x="1991135" y="121633"/>
                </a:cubicBezTo>
                <a:cubicBezTo>
                  <a:pt x="1984020" y="120361"/>
                  <a:pt x="1977657" y="116508"/>
                  <a:pt x="1973203" y="110816"/>
                </a:cubicBezTo>
                <a:cubicBezTo>
                  <a:pt x="1971525" y="108514"/>
                  <a:pt x="1969327" y="106680"/>
                  <a:pt x="1966725" y="105495"/>
                </a:cubicBezTo>
                <a:cubicBezTo>
                  <a:pt x="1963427" y="104164"/>
                  <a:pt x="1961923" y="102545"/>
                  <a:pt x="1962328" y="100694"/>
                </a:cubicBezTo>
                <a:cubicBezTo>
                  <a:pt x="1963138" y="96240"/>
                  <a:pt x="1975285" y="93579"/>
                  <a:pt x="1986507" y="93579"/>
                </a:cubicBezTo>
                <a:cubicBezTo>
                  <a:pt x="1997729" y="93579"/>
                  <a:pt x="2000679" y="91612"/>
                  <a:pt x="2000853" y="90860"/>
                </a:cubicBezTo>
                <a:cubicBezTo>
                  <a:pt x="2001026" y="90108"/>
                  <a:pt x="2000853" y="88893"/>
                  <a:pt x="1992523" y="85076"/>
                </a:cubicBezTo>
                <a:cubicBezTo>
                  <a:pt x="1982921" y="81027"/>
                  <a:pt x="1980491" y="74895"/>
                  <a:pt x="1981301" y="70846"/>
                </a:cubicBezTo>
                <a:cubicBezTo>
                  <a:pt x="1982632" y="66132"/>
                  <a:pt x="1987433" y="63286"/>
                  <a:pt x="1992234" y="64367"/>
                </a:cubicBezTo>
                <a:cubicBezTo>
                  <a:pt x="1998943" y="64795"/>
                  <a:pt x="2005133" y="60908"/>
                  <a:pt x="2007678" y="54707"/>
                </a:cubicBezTo>
                <a:cubicBezTo>
                  <a:pt x="2008372" y="51769"/>
                  <a:pt x="2006695" y="48796"/>
                  <a:pt x="2003803" y="47882"/>
                </a:cubicBezTo>
                <a:cubicBezTo>
                  <a:pt x="2000447" y="46262"/>
                  <a:pt x="1998943" y="44295"/>
                  <a:pt x="1999233" y="42097"/>
                </a:cubicBezTo>
                <a:cubicBezTo>
                  <a:pt x="2000101" y="35445"/>
                  <a:pt x="2019016" y="30528"/>
                  <a:pt x="2034749" y="27174"/>
                </a:cubicBezTo>
                <a:cubicBezTo>
                  <a:pt x="2044699" y="25299"/>
                  <a:pt x="2054185" y="21360"/>
                  <a:pt x="2062514" y="15605"/>
                </a:cubicBezTo>
                <a:cubicBezTo>
                  <a:pt x="2064944" y="13621"/>
                  <a:pt x="2067836" y="12319"/>
                  <a:pt x="2070902" y="11845"/>
                </a:cubicBezTo>
                <a:cubicBezTo>
                  <a:pt x="2072579" y="11914"/>
                  <a:pt x="2074141" y="12591"/>
                  <a:pt x="2075298" y="13754"/>
                </a:cubicBezTo>
                <a:cubicBezTo>
                  <a:pt x="2077901" y="16744"/>
                  <a:pt x="2079347" y="20556"/>
                  <a:pt x="2079405" y="24513"/>
                </a:cubicBezTo>
                <a:cubicBezTo>
                  <a:pt x="2080504" y="32032"/>
                  <a:pt x="2081603" y="39726"/>
                  <a:pt x="2094908" y="41866"/>
                </a:cubicBezTo>
                <a:cubicBezTo>
                  <a:pt x="2108211" y="44006"/>
                  <a:pt x="2117293" y="47650"/>
                  <a:pt x="2117178" y="51931"/>
                </a:cubicBezTo>
                <a:cubicBezTo>
                  <a:pt x="2117178" y="54707"/>
                  <a:pt x="2113360" y="56443"/>
                  <a:pt x="2106129" y="57079"/>
                </a:cubicBezTo>
                <a:cubicBezTo>
                  <a:pt x="2103353" y="57079"/>
                  <a:pt x="2101617" y="57947"/>
                  <a:pt x="2101039" y="58988"/>
                </a:cubicBezTo>
                <a:cubicBezTo>
                  <a:pt x="2100461" y="60029"/>
                  <a:pt x="2101559" y="63268"/>
                  <a:pt x="2102890" y="65929"/>
                </a:cubicBezTo>
                <a:cubicBezTo>
                  <a:pt x="2104221" y="68590"/>
                  <a:pt x="2106245" y="72813"/>
                  <a:pt x="2104857" y="75763"/>
                </a:cubicBezTo>
                <a:cubicBezTo>
                  <a:pt x="2103642" y="77897"/>
                  <a:pt x="2101501" y="79332"/>
                  <a:pt x="2099072" y="79638"/>
                </a:cubicBezTo>
                <a:cubicBezTo>
                  <a:pt x="2095370" y="80622"/>
                  <a:pt x="2089238" y="81779"/>
                  <a:pt x="2082124" y="83167"/>
                </a:cubicBezTo>
                <a:cubicBezTo>
                  <a:pt x="2063208" y="86869"/>
                  <a:pt x="2023701" y="94736"/>
                  <a:pt x="2024800" y="100983"/>
                </a:cubicBezTo>
                <a:cubicBezTo>
                  <a:pt x="2025089" y="105003"/>
                  <a:pt x="2023701" y="108965"/>
                  <a:pt x="2020867" y="111858"/>
                </a:cubicBezTo>
                <a:cubicBezTo>
                  <a:pt x="2014966" y="118527"/>
                  <a:pt x="2006464" y="122368"/>
                  <a:pt x="1997555" y="122443"/>
                </a:cubicBezTo>
                <a:close/>
                <a:moveTo>
                  <a:pt x="1991077" y="66739"/>
                </a:moveTo>
                <a:cubicBezTo>
                  <a:pt x="1986970" y="66739"/>
                  <a:pt x="1984078" y="68532"/>
                  <a:pt x="1983500" y="71482"/>
                </a:cubicBezTo>
                <a:cubicBezTo>
                  <a:pt x="1982921" y="74432"/>
                  <a:pt x="1985640" y="79870"/>
                  <a:pt x="1993449" y="83051"/>
                </a:cubicBezTo>
                <a:cubicBezTo>
                  <a:pt x="2001257" y="86232"/>
                  <a:pt x="2003571" y="88836"/>
                  <a:pt x="2003051" y="91207"/>
                </a:cubicBezTo>
                <a:cubicBezTo>
                  <a:pt x="2002530" y="93579"/>
                  <a:pt x="1996861" y="95719"/>
                  <a:pt x="1986507" y="95719"/>
                </a:cubicBezTo>
                <a:cubicBezTo>
                  <a:pt x="1974360" y="95719"/>
                  <a:pt x="1964931" y="98900"/>
                  <a:pt x="1964526" y="100983"/>
                </a:cubicBezTo>
                <a:cubicBezTo>
                  <a:pt x="1964526" y="101503"/>
                  <a:pt x="1965336" y="102371"/>
                  <a:pt x="1967534" y="103239"/>
                </a:cubicBezTo>
                <a:cubicBezTo>
                  <a:pt x="1970427" y="104523"/>
                  <a:pt x="1972971" y="106513"/>
                  <a:pt x="1974881" y="109023"/>
                </a:cubicBezTo>
                <a:cubicBezTo>
                  <a:pt x="1978987" y="114380"/>
                  <a:pt x="1985004" y="117989"/>
                  <a:pt x="1991655" y="119146"/>
                </a:cubicBezTo>
                <a:cubicBezTo>
                  <a:pt x="2001778" y="121263"/>
                  <a:pt x="2012248" y="117821"/>
                  <a:pt x="2019131" y="110122"/>
                </a:cubicBezTo>
                <a:cubicBezTo>
                  <a:pt x="2021503" y="107756"/>
                  <a:pt x="2022775" y="104459"/>
                  <a:pt x="2022544" y="101099"/>
                </a:cubicBezTo>
                <a:cubicBezTo>
                  <a:pt x="2021213" y="93174"/>
                  <a:pt x="2048574" y="87158"/>
                  <a:pt x="2081719" y="80679"/>
                </a:cubicBezTo>
                <a:cubicBezTo>
                  <a:pt x="2088776" y="79291"/>
                  <a:pt x="2094850" y="78077"/>
                  <a:pt x="2098552" y="77151"/>
                </a:cubicBezTo>
                <a:cubicBezTo>
                  <a:pt x="2100865" y="76573"/>
                  <a:pt x="2102311" y="75705"/>
                  <a:pt x="2102832" y="74548"/>
                </a:cubicBezTo>
                <a:cubicBezTo>
                  <a:pt x="2103353" y="73391"/>
                  <a:pt x="2102253" y="69573"/>
                  <a:pt x="2100865" y="66623"/>
                </a:cubicBezTo>
                <a:cubicBezTo>
                  <a:pt x="2099477" y="63673"/>
                  <a:pt x="2097626" y="60145"/>
                  <a:pt x="2099072" y="57600"/>
                </a:cubicBezTo>
                <a:cubicBezTo>
                  <a:pt x="2100518" y="55054"/>
                  <a:pt x="2102311" y="54881"/>
                  <a:pt x="2105955" y="54534"/>
                </a:cubicBezTo>
                <a:cubicBezTo>
                  <a:pt x="2113013" y="53898"/>
                  <a:pt x="2114864" y="52336"/>
                  <a:pt x="2114922" y="51584"/>
                </a:cubicBezTo>
                <a:cubicBezTo>
                  <a:pt x="2114922" y="49906"/>
                  <a:pt x="2109137" y="45799"/>
                  <a:pt x="2094618" y="43833"/>
                </a:cubicBezTo>
                <a:cubicBezTo>
                  <a:pt x="2080099" y="41866"/>
                  <a:pt x="2078248" y="32264"/>
                  <a:pt x="2077265" y="24744"/>
                </a:cubicBezTo>
                <a:cubicBezTo>
                  <a:pt x="2077033" y="21441"/>
                  <a:pt x="2075761" y="18294"/>
                  <a:pt x="2073621" y="15778"/>
                </a:cubicBezTo>
                <a:cubicBezTo>
                  <a:pt x="2072869" y="14974"/>
                  <a:pt x="2071770" y="14500"/>
                  <a:pt x="2070671" y="14448"/>
                </a:cubicBezTo>
                <a:cubicBezTo>
                  <a:pt x="2068068" y="14986"/>
                  <a:pt x="2065638" y="16160"/>
                  <a:pt x="2063556" y="17861"/>
                </a:cubicBezTo>
                <a:cubicBezTo>
                  <a:pt x="2054995" y="23795"/>
                  <a:pt x="2045219" y="27856"/>
                  <a:pt x="2034980" y="29776"/>
                </a:cubicBezTo>
                <a:cubicBezTo>
                  <a:pt x="2010686" y="34635"/>
                  <a:pt x="2001663" y="39841"/>
                  <a:pt x="2001257" y="42791"/>
                </a:cubicBezTo>
                <a:cubicBezTo>
                  <a:pt x="2001257" y="44180"/>
                  <a:pt x="2002935" y="45394"/>
                  <a:pt x="2004555" y="46204"/>
                </a:cubicBezTo>
                <a:cubicBezTo>
                  <a:pt x="2008314" y="47650"/>
                  <a:pt x="2010454" y="51624"/>
                  <a:pt x="2009645" y="55575"/>
                </a:cubicBezTo>
                <a:cubicBezTo>
                  <a:pt x="2007042" y="63043"/>
                  <a:pt x="1999695" y="67798"/>
                  <a:pt x="1991829" y="67144"/>
                </a:cubicBezTo>
                <a:close/>
                <a:moveTo>
                  <a:pt x="1029127" y="96355"/>
                </a:moveTo>
                <a:cubicBezTo>
                  <a:pt x="1021086" y="97090"/>
                  <a:pt x="1013046" y="95418"/>
                  <a:pt x="1005989" y="91554"/>
                </a:cubicBezTo>
                <a:cubicBezTo>
                  <a:pt x="1002923" y="89582"/>
                  <a:pt x="1001593" y="85816"/>
                  <a:pt x="1002691" y="82357"/>
                </a:cubicBezTo>
                <a:cubicBezTo>
                  <a:pt x="1004600" y="76977"/>
                  <a:pt x="1012756" y="73391"/>
                  <a:pt x="1022879" y="73391"/>
                </a:cubicBezTo>
                <a:cubicBezTo>
                  <a:pt x="1032076" y="73391"/>
                  <a:pt x="1040232" y="73391"/>
                  <a:pt x="1042084" y="70788"/>
                </a:cubicBezTo>
                <a:cubicBezTo>
                  <a:pt x="1042084" y="70788"/>
                  <a:pt x="1042778" y="69747"/>
                  <a:pt x="1042084" y="67665"/>
                </a:cubicBezTo>
                <a:cubicBezTo>
                  <a:pt x="1041736" y="67034"/>
                  <a:pt x="1041736" y="66270"/>
                  <a:pt x="1042084" y="65640"/>
                </a:cubicBezTo>
                <a:cubicBezTo>
                  <a:pt x="1043298" y="63905"/>
                  <a:pt x="1047868" y="62979"/>
                  <a:pt x="1056140" y="62979"/>
                </a:cubicBezTo>
                <a:cubicBezTo>
                  <a:pt x="1070254" y="62979"/>
                  <a:pt x="1091888" y="65929"/>
                  <a:pt x="1095879" y="71540"/>
                </a:cubicBezTo>
                <a:cubicBezTo>
                  <a:pt x="1096631" y="72466"/>
                  <a:pt x="1096862" y="73709"/>
                  <a:pt x="1096457" y="74837"/>
                </a:cubicBezTo>
                <a:cubicBezTo>
                  <a:pt x="1094606" y="80622"/>
                  <a:pt x="1088359" y="80622"/>
                  <a:pt x="1082285" y="81316"/>
                </a:cubicBezTo>
                <a:cubicBezTo>
                  <a:pt x="1076732" y="80760"/>
                  <a:pt x="1071237" y="82664"/>
                  <a:pt x="1067246" y="86522"/>
                </a:cubicBezTo>
                <a:cubicBezTo>
                  <a:pt x="1062560" y="92885"/>
                  <a:pt x="1043992" y="96355"/>
                  <a:pt x="1029069" y="96355"/>
                </a:cubicBezTo>
                <a:close/>
                <a:moveTo>
                  <a:pt x="1056371" y="65235"/>
                </a:moveTo>
                <a:cubicBezTo>
                  <a:pt x="1047174" y="65235"/>
                  <a:pt x="1044455" y="66450"/>
                  <a:pt x="1044166" y="66970"/>
                </a:cubicBezTo>
                <a:cubicBezTo>
                  <a:pt x="1045034" y="68550"/>
                  <a:pt x="1045034" y="70482"/>
                  <a:pt x="1044166" y="72061"/>
                </a:cubicBezTo>
                <a:cubicBezTo>
                  <a:pt x="1042084" y="75126"/>
                  <a:pt x="1035952" y="75647"/>
                  <a:pt x="1023111" y="75647"/>
                </a:cubicBezTo>
                <a:cubicBezTo>
                  <a:pt x="1012525" y="75647"/>
                  <a:pt x="1006336" y="79523"/>
                  <a:pt x="1005005" y="83167"/>
                </a:cubicBezTo>
                <a:cubicBezTo>
                  <a:pt x="1004369" y="85723"/>
                  <a:pt x="1005468" y="88402"/>
                  <a:pt x="1007666" y="89819"/>
                </a:cubicBezTo>
                <a:cubicBezTo>
                  <a:pt x="1014318" y="93266"/>
                  <a:pt x="1021838" y="94747"/>
                  <a:pt x="1029300" y="94099"/>
                </a:cubicBezTo>
                <a:cubicBezTo>
                  <a:pt x="1043934" y="94099"/>
                  <a:pt x="1061577" y="90744"/>
                  <a:pt x="1065800" y="85134"/>
                </a:cubicBezTo>
                <a:cubicBezTo>
                  <a:pt x="1070254" y="80749"/>
                  <a:pt x="1076385" y="78528"/>
                  <a:pt x="1082575" y="79060"/>
                </a:cubicBezTo>
                <a:cubicBezTo>
                  <a:pt x="1088359" y="78655"/>
                  <a:pt x="1093334" y="78308"/>
                  <a:pt x="1094722" y="74143"/>
                </a:cubicBezTo>
                <a:cubicBezTo>
                  <a:pt x="1094954" y="73732"/>
                  <a:pt x="1094954" y="73223"/>
                  <a:pt x="1094722" y="72813"/>
                </a:cubicBezTo>
                <a:cubicBezTo>
                  <a:pt x="1091078" y="68474"/>
                  <a:pt x="1071642" y="65235"/>
                  <a:pt x="1056313" y="65235"/>
                </a:cubicBezTo>
                <a:close/>
                <a:moveTo>
                  <a:pt x="789420" y="88373"/>
                </a:moveTo>
                <a:lnTo>
                  <a:pt x="789420" y="88373"/>
                </a:lnTo>
                <a:cubicBezTo>
                  <a:pt x="777851" y="88373"/>
                  <a:pt x="764026" y="85712"/>
                  <a:pt x="761076" y="79812"/>
                </a:cubicBezTo>
                <a:cubicBezTo>
                  <a:pt x="760382" y="78435"/>
                  <a:pt x="760382" y="76792"/>
                  <a:pt x="761076" y="75416"/>
                </a:cubicBezTo>
                <a:cubicBezTo>
                  <a:pt x="762522" y="72350"/>
                  <a:pt x="767496" y="71251"/>
                  <a:pt x="773223" y="69978"/>
                </a:cubicBezTo>
                <a:cubicBezTo>
                  <a:pt x="778429" y="69544"/>
                  <a:pt x="783346" y="67526"/>
                  <a:pt x="787337" y="64194"/>
                </a:cubicBezTo>
                <a:cubicBezTo>
                  <a:pt x="790230" y="60029"/>
                  <a:pt x="800757" y="58409"/>
                  <a:pt x="810880" y="57137"/>
                </a:cubicBezTo>
                <a:cubicBezTo>
                  <a:pt x="816664" y="56327"/>
                  <a:pt x="825804" y="55054"/>
                  <a:pt x="826151" y="53550"/>
                </a:cubicBezTo>
                <a:cubicBezTo>
                  <a:pt x="826151" y="53550"/>
                  <a:pt x="826151" y="53030"/>
                  <a:pt x="824762" y="52047"/>
                </a:cubicBezTo>
                <a:cubicBezTo>
                  <a:pt x="822218" y="50716"/>
                  <a:pt x="821060" y="47749"/>
                  <a:pt x="821986" y="45047"/>
                </a:cubicBezTo>
                <a:cubicBezTo>
                  <a:pt x="824010" y="38685"/>
                  <a:pt x="836447" y="33131"/>
                  <a:pt x="848536" y="33131"/>
                </a:cubicBezTo>
                <a:cubicBezTo>
                  <a:pt x="853800" y="33079"/>
                  <a:pt x="859064" y="34184"/>
                  <a:pt x="863865" y="36371"/>
                </a:cubicBezTo>
                <a:cubicBezTo>
                  <a:pt x="875434" y="41635"/>
                  <a:pt x="880756" y="46493"/>
                  <a:pt x="879946" y="50658"/>
                </a:cubicBezTo>
                <a:cubicBezTo>
                  <a:pt x="879136" y="54823"/>
                  <a:pt x="873178" y="57079"/>
                  <a:pt x="861841" y="57889"/>
                </a:cubicBezTo>
                <a:cubicBezTo>
                  <a:pt x="839918" y="59451"/>
                  <a:pt x="831299" y="67144"/>
                  <a:pt x="830547" y="73854"/>
                </a:cubicBezTo>
                <a:cubicBezTo>
                  <a:pt x="830026" y="78366"/>
                  <a:pt x="824300" y="78424"/>
                  <a:pt x="818978" y="78539"/>
                </a:cubicBezTo>
                <a:cubicBezTo>
                  <a:pt x="813657" y="78655"/>
                  <a:pt x="809029" y="78944"/>
                  <a:pt x="809029" y="81779"/>
                </a:cubicBezTo>
                <a:cubicBezTo>
                  <a:pt x="809029" y="84613"/>
                  <a:pt x="806947" y="85885"/>
                  <a:pt x="802840" y="86984"/>
                </a:cubicBezTo>
                <a:cubicBezTo>
                  <a:pt x="798502" y="88072"/>
                  <a:pt x="793990" y="88564"/>
                  <a:pt x="789478" y="88431"/>
                </a:cubicBezTo>
                <a:close/>
                <a:moveTo>
                  <a:pt x="848190" y="35330"/>
                </a:moveTo>
                <a:cubicBezTo>
                  <a:pt x="836100" y="35330"/>
                  <a:pt x="825052" y="41114"/>
                  <a:pt x="823780" y="45684"/>
                </a:cubicBezTo>
                <a:cubicBezTo>
                  <a:pt x="823316" y="47431"/>
                  <a:pt x="824068" y="49282"/>
                  <a:pt x="825688" y="50138"/>
                </a:cubicBezTo>
                <a:cubicBezTo>
                  <a:pt x="826382" y="50600"/>
                  <a:pt x="828465" y="52104"/>
                  <a:pt x="828002" y="54013"/>
                </a:cubicBezTo>
                <a:cubicBezTo>
                  <a:pt x="827308" y="56905"/>
                  <a:pt x="821350" y="57889"/>
                  <a:pt x="810649" y="59335"/>
                </a:cubicBezTo>
                <a:cubicBezTo>
                  <a:pt x="801856" y="60550"/>
                  <a:pt x="790924" y="62054"/>
                  <a:pt x="788610" y="65409"/>
                </a:cubicBezTo>
                <a:cubicBezTo>
                  <a:pt x="786296" y="68764"/>
                  <a:pt x="779355" y="70846"/>
                  <a:pt x="773166" y="72176"/>
                </a:cubicBezTo>
                <a:cubicBezTo>
                  <a:pt x="768422" y="73275"/>
                  <a:pt x="763506" y="74317"/>
                  <a:pt x="762522" y="76399"/>
                </a:cubicBezTo>
                <a:cubicBezTo>
                  <a:pt x="762233" y="77209"/>
                  <a:pt x="762349" y="78100"/>
                  <a:pt x="762811" y="78828"/>
                </a:cubicBezTo>
                <a:cubicBezTo>
                  <a:pt x="764894" y="82993"/>
                  <a:pt x="776231" y="86117"/>
                  <a:pt x="789130" y="86117"/>
                </a:cubicBezTo>
                <a:lnTo>
                  <a:pt x="789130" y="86117"/>
                </a:lnTo>
                <a:cubicBezTo>
                  <a:pt x="793238" y="86204"/>
                  <a:pt x="797344" y="85758"/>
                  <a:pt x="801336" y="84786"/>
                </a:cubicBezTo>
                <a:cubicBezTo>
                  <a:pt x="804228" y="83977"/>
                  <a:pt x="805847" y="82878"/>
                  <a:pt x="805847" y="81721"/>
                </a:cubicBezTo>
                <a:cubicBezTo>
                  <a:pt x="805847" y="76457"/>
                  <a:pt x="812326" y="76341"/>
                  <a:pt x="817995" y="76225"/>
                </a:cubicBezTo>
                <a:cubicBezTo>
                  <a:pt x="822622" y="76225"/>
                  <a:pt x="827424" y="76225"/>
                  <a:pt x="827655" y="73507"/>
                </a:cubicBezTo>
                <a:cubicBezTo>
                  <a:pt x="828118" y="69863"/>
                  <a:pt x="831704" y="57657"/>
                  <a:pt x="861031" y="55575"/>
                </a:cubicBezTo>
                <a:cubicBezTo>
                  <a:pt x="875260" y="54534"/>
                  <a:pt x="876938" y="51237"/>
                  <a:pt x="877112" y="50196"/>
                </a:cubicBezTo>
                <a:cubicBezTo>
                  <a:pt x="877285" y="49154"/>
                  <a:pt x="877112" y="45047"/>
                  <a:pt x="862245" y="38337"/>
                </a:cubicBezTo>
                <a:cubicBezTo>
                  <a:pt x="857792" y="36365"/>
                  <a:pt x="852990" y="35358"/>
                  <a:pt x="848132" y="35387"/>
                </a:cubicBezTo>
                <a:close/>
                <a:moveTo>
                  <a:pt x="926395" y="86637"/>
                </a:moveTo>
                <a:lnTo>
                  <a:pt x="926395" y="86637"/>
                </a:lnTo>
                <a:cubicBezTo>
                  <a:pt x="919049" y="86377"/>
                  <a:pt x="911703" y="85093"/>
                  <a:pt x="904704" y="82820"/>
                </a:cubicBezTo>
                <a:cubicBezTo>
                  <a:pt x="902852" y="82183"/>
                  <a:pt x="902852" y="80969"/>
                  <a:pt x="902910" y="80506"/>
                </a:cubicBezTo>
                <a:cubicBezTo>
                  <a:pt x="903604" y="76457"/>
                  <a:pt x="920263" y="71251"/>
                  <a:pt x="929924" y="71251"/>
                </a:cubicBezTo>
                <a:cubicBezTo>
                  <a:pt x="939583" y="71251"/>
                  <a:pt x="940104" y="75300"/>
                  <a:pt x="940104" y="77672"/>
                </a:cubicBezTo>
                <a:cubicBezTo>
                  <a:pt x="940162" y="80708"/>
                  <a:pt x="938484" y="83508"/>
                  <a:pt x="935766" y="84844"/>
                </a:cubicBezTo>
                <a:cubicBezTo>
                  <a:pt x="932816" y="86198"/>
                  <a:pt x="929576" y="86834"/>
                  <a:pt x="926337" y="86695"/>
                </a:cubicBezTo>
                <a:close/>
                <a:moveTo>
                  <a:pt x="905224" y="80853"/>
                </a:moveTo>
                <a:lnTo>
                  <a:pt x="905224" y="80853"/>
                </a:lnTo>
                <a:cubicBezTo>
                  <a:pt x="911992" y="83051"/>
                  <a:pt x="919049" y="84295"/>
                  <a:pt x="926164" y="84555"/>
                </a:cubicBezTo>
                <a:cubicBezTo>
                  <a:pt x="928998" y="84717"/>
                  <a:pt x="931890" y="84179"/>
                  <a:pt x="934493" y="82993"/>
                </a:cubicBezTo>
                <a:cubicBezTo>
                  <a:pt x="936460" y="82062"/>
                  <a:pt x="937732" y="80032"/>
                  <a:pt x="937617" y="77845"/>
                </a:cubicBezTo>
                <a:cubicBezTo>
                  <a:pt x="937617" y="75069"/>
                  <a:pt x="934956" y="73680"/>
                  <a:pt x="929692" y="73680"/>
                </a:cubicBezTo>
                <a:cubicBezTo>
                  <a:pt x="921015" y="73813"/>
                  <a:pt x="912570" y="76231"/>
                  <a:pt x="905166" y="80679"/>
                </a:cubicBezTo>
                <a:close/>
                <a:moveTo>
                  <a:pt x="1126536" y="68937"/>
                </a:moveTo>
                <a:lnTo>
                  <a:pt x="1126536" y="68937"/>
                </a:lnTo>
                <a:cubicBezTo>
                  <a:pt x="1118206" y="69510"/>
                  <a:pt x="1109935" y="67312"/>
                  <a:pt x="1102993" y="62690"/>
                </a:cubicBezTo>
                <a:cubicBezTo>
                  <a:pt x="1101489" y="61712"/>
                  <a:pt x="1100564" y="60029"/>
                  <a:pt x="1100622" y="58236"/>
                </a:cubicBezTo>
                <a:cubicBezTo>
                  <a:pt x="1100622" y="54245"/>
                  <a:pt x="1106407" y="50716"/>
                  <a:pt x="1112769" y="46956"/>
                </a:cubicBezTo>
                <a:cubicBezTo>
                  <a:pt x="1119132" y="43196"/>
                  <a:pt x="1124338" y="39841"/>
                  <a:pt x="1123586" y="37065"/>
                </a:cubicBezTo>
                <a:cubicBezTo>
                  <a:pt x="1123297" y="36093"/>
                  <a:pt x="1123470" y="35035"/>
                  <a:pt x="1124107" y="34231"/>
                </a:cubicBezTo>
                <a:cubicBezTo>
                  <a:pt x="1126825" y="30586"/>
                  <a:pt x="1138105" y="30239"/>
                  <a:pt x="1142790" y="30239"/>
                </a:cubicBezTo>
                <a:cubicBezTo>
                  <a:pt x="1153202" y="30239"/>
                  <a:pt x="1169110" y="32090"/>
                  <a:pt x="1170208" y="37296"/>
                </a:cubicBezTo>
                <a:cubicBezTo>
                  <a:pt x="1170845" y="40015"/>
                  <a:pt x="1174084" y="41635"/>
                  <a:pt x="1177208" y="43081"/>
                </a:cubicBezTo>
                <a:cubicBezTo>
                  <a:pt x="1180331" y="44527"/>
                  <a:pt x="1182992" y="45915"/>
                  <a:pt x="1183513" y="48345"/>
                </a:cubicBezTo>
                <a:cubicBezTo>
                  <a:pt x="1183744" y="49918"/>
                  <a:pt x="1183223" y="51497"/>
                  <a:pt x="1182182" y="52683"/>
                </a:cubicBezTo>
                <a:cubicBezTo>
                  <a:pt x="1177960" y="57947"/>
                  <a:pt x="1149558" y="68764"/>
                  <a:pt x="1126478" y="68764"/>
                </a:cubicBezTo>
                <a:close/>
                <a:moveTo>
                  <a:pt x="1142790" y="32495"/>
                </a:moveTo>
                <a:cubicBezTo>
                  <a:pt x="1132725" y="32495"/>
                  <a:pt x="1127057" y="34057"/>
                  <a:pt x="1125900" y="35619"/>
                </a:cubicBezTo>
                <a:cubicBezTo>
                  <a:pt x="1125784" y="35868"/>
                  <a:pt x="1125784" y="36180"/>
                  <a:pt x="1125900" y="36429"/>
                </a:cubicBezTo>
                <a:cubicBezTo>
                  <a:pt x="1127230" y="40883"/>
                  <a:pt x="1120810" y="44758"/>
                  <a:pt x="1114331" y="48923"/>
                </a:cubicBezTo>
                <a:cubicBezTo>
                  <a:pt x="1109183" y="52047"/>
                  <a:pt x="1103399" y="55517"/>
                  <a:pt x="1103225" y="58352"/>
                </a:cubicBezTo>
                <a:cubicBezTo>
                  <a:pt x="1103225" y="59219"/>
                  <a:pt x="1103687" y="60029"/>
                  <a:pt x="1104787" y="60897"/>
                </a:cubicBezTo>
                <a:cubicBezTo>
                  <a:pt x="1111323" y="65235"/>
                  <a:pt x="1119074" y="67271"/>
                  <a:pt x="1126883" y="66681"/>
                </a:cubicBezTo>
                <a:cubicBezTo>
                  <a:pt x="1148922" y="66681"/>
                  <a:pt x="1176918" y="56269"/>
                  <a:pt x="1180736" y="51352"/>
                </a:cubicBezTo>
                <a:cubicBezTo>
                  <a:pt x="1181373" y="50705"/>
                  <a:pt x="1181720" y="49825"/>
                  <a:pt x="1181662" y="48923"/>
                </a:cubicBezTo>
                <a:cubicBezTo>
                  <a:pt x="1181315" y="47535"/>
                  <a:pt x="1178885" y="46320"/>
                  <a:pt x="1176572" y="45163"/>
                </a:cubicBezTo>
                <a:cubicBezTo>
                  <a:pt x="1173101" y="43428"/>
                  <a:pt x="1169168" y="41461"/>
                  <a:pt x="1168358" y="37701"/>
                </a:cubicBezTo>
                <a:cubicBezTo>
                  <a:pt x="1167432" y="35098"/>
                  <a:pt x="1156499" y="32322"/>
                  <a:pt x="1142732" y="32322"/>
                </a:cubicBezTo>
                <a:close/>
                <a:moveTo>
                  <a:pt x="727873" y="67838"/>
                </a:moveTo>
                <a:cubicBezTo>
                  <a:pt x="716304" y="67838"/>
                  <a:pt x="705430" y="61360"/>
                  <a:pt x="703637" y="57079"/>
                </a:cubicBezTo>
                <a:cubicBezTo>
                  <a:pt x="703059" y="55939"/>
                  <a:pt x="703059" y="54574"/>
                  <a:pt x="703637" y="53435"/>
                </a:cubicBezTo>
                <a:cubicBezTo>
                  <a:pt x="705545" y="50369"/>
                  <a:pt x="712544" y="49964"/>
                  <a:pt x="721453" y="49444"/>
                </a:cubicBezTo>
                <a:cubicBezTo>
                  <a:pt x="729840" y="49553"/>
                  <a:pt x="738228" y="48102"/>
                  <a:pt x="746094" y="45163"/>
                </a:cubicBezTo>
                <a:cubicBezTo>
                  <a:pt x="754019" y="41843"/>
                  <a:pt x="762580" y="40321"/>
                  <a:pt x="771199" y="40709"/>
                </a:cubicBezTo>
                <a:cubicBezTo>
                  <a:pt x="780743" y="40709"/>
                  <a:pt x="792890" y="42155"/>
                  <a:pt x="795724" y="46493"/>
                </a:cubicBezTo>
                <a:cubicBezTo>
                  <a:pt x="796419" y="47500"/>
                  <a:pt x="796534" y="48784"/>
                  <a:pt x="796072" y="49906"/>
                </a:cubicBezTo>
                <a:cubicBezTo>
                  <a:pt x="794915" y="52232"/>
                  <a:pt x="792370" y="53504"/>
                  <a:pt x="789825" y="53030"/>
                </a:cubicBezTo>
                <a:cubicBezTo>
                  <a:pt x="787453" y="52966"/>
                  <a:pt x="785081" y="52735"/>
                  <a:pt x="782709" y="52336"/>
                </a:cubicBezTo>
                <a:cubicBezTo>
                  <a:pt x="778892" y="51740"/>
                  <a:pt x="775016" y="51410"/>
                  <a:pt x="771141" y="51352"/>
                </a:cubicBezTo>
                <a:cubicBezTo>
                  <a:pt x="763158" y="51075"/>
                  <a:pt x="755407" y="53898"/>
                  <a:pt x="749507" y="59219"/>
                </a:cubicBezTo>
                <a:cubicBezTo>
                  <a:pt x="743665" y="64738"/>
                  <a:pt x="735914" y="67821"/>
                  <a:pt x="727873" y="67838"/>
                </a:cubicBezTo>
                <a:close/>
                <a:moveTo>
                  <a:pt x="771256" y="42965"/>
                </a:moveTo>
                <a:cubicBezTo>
                  <a:pt x="763043" y="42606"/>
                  <a:pt x="754829" y="44029"/>
                  <a:pt x="747193" y="47130"/>
                </a:cubicBezTo>
                <a:cubicBezTo>
                  <a:pt x="739037" y="50259"/>
                  <a:pt x="730361" y="51815"/>
                  <a:pt x="721626" y="51700"/>
                </a:cubicBezTo>
                <a:cubicBezTo>
                  <a:pt x="714396" y="52104"/>
                  <a:pt x="706934" y="52567"/>
                  <a:pt x="705603" y="54650"/>
                </a:cubicBezTo>
                <a:cubicBezTo>
                  <a:pt x="705603" y="54650"/>
                  <a:pt x="705603" y="55286"/>
                  <a:pt x="705603" y="56211"/>
                </a:cubicBezTo>
                <a:cubicBezTo>
                  <a:pt x="706934" y="59393"/>
                  <a:pt x="716652" y="65582"/>
                  <a:pt x="727757" y="65582"/>
                </a:cubicBezTo>
                <a:cubicBezTo>
                  <a:pt x="735335" y="65582"/>
                  <a:pt x="742682" y="62667"/>
                  <a:pt x="748177" y="57426"/>
                </a:cubicBezTo>
                <a:cubicBezTo>
                  <a:pt x="754481" y="51711"/>
                  <a:pt x="762811" y="48686"/>
                  <a:pt x="771314" y="48981"/>
                </a:cubicBezTo>
                <a:cubicBezTo>
                  <a:pt x="775190" y="49056"/>
                  <a:pt x="779065" y="49380"/>
                  <a:pt x="782883" y="49964"/>
                </a:cubicBezTo>
                <a:cubicBezTo>
                  <a:pt x="785139" y="50357"/>
                  <a:pt x="787395" y="50589"/>
                  <a:pt x="789651" y="50658"/>
                </a:cubicBezTo>
                <a:cubicBezTo>
                  <a:pt x="792717" y="50658"/>
                  <a:pt x="793468" y="49791"/>
                  <a:pt x="793816" y="48923"/>
                </a:cubicBezTo>
                <a:cubicBezTo>
                  <a:pt x="794047" y="48530"/>
                  <a:pt x="794047" y="48044"/>
                  <a:pt x="793816" y="47650"/>
                </a:cubicBezTo>
                <a:cubicBezTo>
                  <a:pt x="792080" y="45047"/>
                  <a:pt x="782536" y="43081"/>
                  <a:pt x="771256" y="43081"/>
                </a:cubicBezTo>
                <a:close/>
                <a:moveTo>
                  <a:pt x="994420" y="57310"/>
                </a:moveTo>
                <a:lnTo>
                  <a:pt x="994420" y="57310"/>
                </a:lnTo>
                <a:cubicBezTo>
                  <a:pt x="975967" y="57310"/>
                  <a:pt x="962200" y="54129"/>
                  <a:pt x="956648" y="48576"/>
                </a:cubicBezTo>
                <a:cubicBezTo>
                  <a:pt x="955780" y="47836"/>
                  <a:pt x="955432" y="46673"/>
                  <a:pt x="955664" y="45568"/>
                </a:cubicBezTo>
                <a:cubicBezTo>
                  <a:pt x="956474" y="42444"/>
                  <a:pt x="962606" y="40420"/>
                  <a:pt x="972613" y="37412"/>
                </a:cubicBezTo>
                <a:cubicBezTo>
                  <a:pt x="977587" y="35908"/>
                  <a:pt x="985859" y="33479"/>
                  <a:pt x="986090" y="31975"/>
                </a:cubicBezTo>
                <a:lnTo>
                  <a:pt x="986090" y="31975"/>
                </a:lnTo>
                <a:lnTo>
                  <a:pt x="986090" y="31975"/>
                </a:lnTo>
                <a:cubicBezTo>
                  <a:pt x="981116" y="27578"/>
                  <a:pt x="979091" y="24397"/>
                  <a:pt x="979901" y="22199"/>
                </a:cubicBezTo>
                <a:cubicBezTo>
                  <a:pt x="980711" y="20001"/>
                  <a:pt x="982157" y="19943"/>
                  <a:pt x="984876" y="19943"/>
                </a:cubicBezTo>
                <a:cubicBezTo>
                  <a:pt x="992395" y="20695"/>
                  <a:pt x="999799" y="22748"/>
                  <a:pt x="1006625" y="26017"/>
                </a:cubicBezTo>
                <a:cubicBezTo>
                  <a:pt x="1012988" y="28411"/>
                  <a:pt x="1019813" y="29516"/>
                  <a:pt x="1026639" y="29256"/>
                </a:cubicBezTo>
                <a:cubicBezTo>
                  <a:pt x="1029300" y="29256"/>
                  <a:pt x="1031845" y="29256"/>
                  <a:pt x="1034274" y="29256"/>
                </a:cubicBezTo>
                <a:lnTo>
                  <a:pt x="1040580" y="29256"/>
                </a:lnTo>
                <a:cubicBezTo>
                  <a:pt x="1044860" y="28666"/>
                  <a:pt x="1049256" y="29834"/>
                  <a:pt x="1052669" y="32495"/>
                </a:cubicBezTo>
                <a:cubicBezTo>
                  <a:pt x="1054231" y="34543"/>
                  <a:pt x="1054751" y="37175"/>
                  <a:pt x="1054173" y="39668"/>
                </a:cubicBezTo>
                <a:cubicBezTo>
                  <a:pt x="1052264" y="50485"/>
                  <a:pt x="1021780" y="57426"/>
                  <a:pt x="994420" y="57426"/>
                </a:cubicBezTo>
                <a:close/>
                <a:moveTo>
                  <a:pt x="984586" y="21910"/>
                </a:moveTo>
                <a:cubicBezTo>
                  <a:pt x="982735" y="21910"/>
                  <a:pt x="981868" y="22315"/>
                  <a:pt x="981752" y="22662"/>
                </a:cubicBezTo>
                <a:cubicBezTo>
                  <a:pt x="981636" y="23009"/>
                  <a:pt x="981231" y="24686"/>
                  <a:pt x="987536" y="29950"/>
                </a:cubicBezTo>
                <a:cubicBezTo>
                  <a:pt x="988346" y="30528"/>
                  <a:pt x="988751" y="31518"/>
                  <a:pt x="988578" y="32495"/>
                </a:cubicBezTo>
                <a:cubicBezTo>
                  <a:pt x="987999" y="35156"/>
                  <a:pt x="982793" y="36834"/>
                  <a:pt x="973538" y="39552"/>
                </a:cubicBezTo>
                <a:cubicBezTo>
                  <a:pt x="967753" y="41345"/>
                  <a:pt x="958672" y="44006"/>
                  <a:pt x="958152" y="46146"/>
                </a:cubicBezTo>
                <a:cubicBezTo>
                  <a:pt x="958152" y="46146"/>
                  <a:pt x="958152" y="46146"/>
                  <a:pt x="958556" y="46956"/>
                </a:cubicBezTo>
                <a:cubicBezTo>
                  <a:pt x="963589" y="51989"/>
                  <a:pt x="977124" y="55054"/>
                  <a:pt x="994709" y="55054"/>
                </a:cubicBezTo>
                <a:cubicBezTo>
                  <a:pt x="1020681" y="55054"/>
                  <a:pt x="1050529" y="48345"/>
                  <a:pt x="1051917" y="38742"/>
                </a:cubicBezTo>
                <a:cubicBezTo>
                  <a:pt x="1052380" y="36891"/>
                  <a:pt x="1052033" y="34919"/>
                  <a:pt x="1050933" y="33363"/>
                </a:cubicBezTo>
                <a:cubicBezTo>
                  <a:pt x="1049083" y="31165"/>
                  <a:pt x="1044629" y="30876"/>
                  <a:pt x="1040580" y="30876"/>
                </a:cubicBezTo>
                <a:lnTo>
                  <a:pt x="1034390" y="30876"/>
                </a:lnTo>
                <a:cubicBezTo>
                  <a:pt x="1031903" y="30876"/>
                  <a:pt x="1029300" y="30876"/>
                  <a:pt x="1026639" y="30876"/>
                </a:cubicBezTo>
                <a:cubicBezTo>
                  <a:pt x="1019524" y="31124"/>
                  <a:pt x="1012410" y="29962"/>
                  <a:pt x="1005757" y="27463"/>
                </a:cubicBezTo>
                <a:cubicBezTo>
                  <a:pt x="999047" y="24443"/>
                  <a:pt x="991933" y="22604"/>
                  <a:pt x="984586" y="22025"/>
                </a:cubicBezTo>
                <a:close/>
                <a:moveTo>
                  <a:pt x="1212493" y="51352"/>
                </a:moveTo>
                <a:cubicBezTo>
                  <a:pt x="1203296" y="51352"/>
                  <a:pt x="1197280" y="49617"/>
                  <a:pt x="1194098" y="46089"/>
                </a:cubicBezTo>
                <a:cubicBezTo>
                  <a:pt x="1192941" y="45053"/>
                  <a:pt x="1192594" y="43376"/>
                  <a:pt x="1193289" y="41982"/>
                </a:cubicBezTo>
                <a:cubicBezTo>
                  <a:pt x="1196007" y="35850"/>
                  <a:pt x="1217236" y="32032"/>
                  <a:pt x="1225508" y="32032"/>
                </a:cubicBezTo>
                <a:lnTo>
                  <a:pt x="1227359" y="32032"/>
                </a:lnTo>
                <a:cubicBezTo>
                  <a:pt x="1230136" y="32032"/>
                  <a:pt x="1232160" y="30644"/>
                  <a:pt x="1234763" y="28562"/>
                </a:cubicBezTo>
                <a:cubicBezTo>
                  <a:pt x="1238581" y="24912"/>
                  <a:pt x="1243671" y="22841"/>
                  <a:pt x="1248935" y="22777"/>
                </a:cubicBezTo>
                <a:cubicBezTo>
                  <a:pt x="1250670" y="22806"/>
                  <a:pt x="1252406" y="23003"/>
                  <a:pt x="1254083" y="23356"/>
                </a:cubicBezTo>
                <a:cubicBezTo>
                  <a:pt x="1261487" y="24802"/>
                  <a:pt x="1266230" y="29140"/>
                  <a:pt x="1265999" y="34404"/>
                </a:cubicBezTo>
                <a:cubicBezTo>
                  <a:pt x="1265767" y="39668"/>
                  <a:pt x="1258826" y="47072"/>
                  <a:pt x="1240258" y="48981"/>
                </a:cubicBezTo>
                <a:lnTo>
                  <a:pt x="1233664" y="49733"/>
                </a:lnTo>
                <a:cubicBezTo>
                  <a:pt x="1226664" y="50710"/>
                  <a:pt x="1219550" y="51295"/>
                  <a:pt x="1212493" y="51468"/>
                </a:cubicBezTo>
                <a:close/>
                <a:moveTo>
                  <a:pt x="1225508" y="33999"/>
                </a:moveTo>
                <a:cubicBezTo>
                  <a:pt x="1216079" y="33999"/>
                  <a:pt x="1197222" y="38395"/>
                  <a:pt x="1195313" y="42676"/>
                </a:cubicBezTo>
                <a:cubicBezTo>
                  <a:pt x="1195313" y="43081"/>
                  <a:pt x="1195313" y="43543"/>
                  <a:pt x="1195776" y="44353"/>
                </a:cubicBezTo>
                <a:cubicBezTo>
                  <a:pt x="1198494" y="47361"/>
                  <a:pt x="1203932" y="48865"/>
                  <a:pt x="1212493" y="48865"/>
                </a:cubicBezTo>
                <a:cubicBezTo>
                  <a:pt x="1219492" y="48686"/>
                  <a:pt x="1226491" y="48107"/>
                  <a:pt x="1233432" y="47130"/>
                </a:cubicBezTo>
                <a:lnTo>
                  <a:pt x="1240027" y="46378"/>
                </a:lnTo>
                <a:cubicBezTo>
                  <a:pt x="1257380" y="44585"/>
                  <a:pt x="1263569" y="38569"/>
                  <a:pt x="1263743" y="33941"/>
                </a:cubicBezTo>
                <a:cubicBezTo>
                  <a:pt x="1263916" y="29314"/>
                  <a:pt x="1259925" y="26479"/>
                  <a:pt x="1253678" y="25207"/>
                </a:cubicBezTo>
                <a:cubicBezTo>
                  <a:pt x="1252116" y="24871"/>
                  <a:pt x="1250554" y="24698"/>
                  <a:pt x="1248935" y="24686"/>
                </a:cubicBezTo>
                <a:cubicBezTo>
                  <a:pt x="1244133" y="24808"/>
                  <a:pt x="1239621" y="26751"/>
                  <a:pt x="1236209" y="30124"/>
                </a:cubicBezTo>
                <a:cubicBezTo>
                  <a:pt x="1233837" y="32651"/>
                  <a:pt x="1230598" y="34098"/>
                  <a:pt x="1227128" y="34115"/>
                </a:cubicBezTo>
                <a:close/>
                <a:moveTo>
                  <a:pt x="1953131" y="36139"/>
                </a:moveTo>
                <a:cubicBezTo>
                  <a:pt x="1946826" y="36469"/>
                  <a:pt x="1940463" y="35116"/>
                  <a:pt x="1934852" y="32206"/>
                </a:cubicBezTo>
                <a:cubicBezTo>
                  <a:pt x="1931844" y="29719"/>
                  <a:pt x="1931844" y="27578"/>
                  <a:pt x="1932307" y="26422"/>
                </a:cubicBezTo>
                <a:cubicBezTo>
                  <a:pt x="1934158" y="21447"/>
                  <a:pt x="1946190" y="18728"/>
                  <a:pt x="1956602" y="18728"/>
                </a:cubicBezTo>
                <a:cubicBezTo>
                  <a:pt x="1960304" y="18728"/>
                  <a:pt x="1969269" y="19133"/>
                  <a:pt x="1972219" y="23009"/>
                </a:cubicBezTo>
                <a:cubicBezTo>
                  <a:pt x="1973145" y="24142"/>
                  <a:pt x="1973435" y="25658"/>
                  <a:pt x="1973029" y="27058"/>
                </a:cubicBezTo>
                <a:cubicBezTo>
                  <a:pt x="1971467" y="33131"/>
                  <a:pt x="1964179" y="36486"/>
                  <a:pt x="1953131" y="36486"/>
                </a:cubicBezTo>
                <a:close/>
                <a:moveTo>
                  <a:pt x="1956602" y="20753"/>
                </a:moveTo>
                <a:cubicBezTo>
                  <a:pt x="1946016" y="20753"/>
                  <a:pt x="1935662" y="23645"/>
                  <a:pt x="1934447" y="26942"/>
                </a:cubicBezTo>
                <a:cubicBezTo>
                  <a:pt x="1934100" y="27983"/>
                  <a:pt x="1934447" y="29198"/>
                  <a:pt x="1936298" y="30471"/>
                </a:cubicBezTo>
                <a:cubicBezTo>
                  <a:pt x="1941505" y="33022"/>
                  <a:pt x="1947347" y="34196"/>
                  <a:pt x="1953131" y="33883"/>
                </a:cubicBezTo>
                <a:cubicBezTo>
                  <a:pt x="1957874" y="33883"/>
                  <a:pt x="1968981" y="33131"/>
                  <a:pt x="1970831" y="26248"/>
                </a:cubicBezTo>
                <a:cubicBezTo>
                  <a:pt x="1971063" y="25513"/>
                  <a:pt x="1970947" y="24698"/>
                  <a:pt x="1970427" y="24108"/>
                </a:cubicBezTo>
                <a:cubicBezTo>
                  <a:pt x="1966319" y="21447"/>
                  <a:pt x="1961403" y="20377"/>
                  <a:pt x="1956602" y="21100"/>
                </a:cubicBezTo>
                <a:close/>
                <a:moveTo>
                  <a:pt x="1039076" y="24397"/>
                </a:moveTo>
                <a:cubicBezTo>
                  <a:pt x="1020507" y="24397"/>
                  <a:pt x="1004369" y="19827"/>
                  <a:pt x="1002403" y="13985"/>
                </a:cubicBezTo>
                <a:cubicBezTo>
                  <a:pt x="1002229" y="13597"/>
                  <a:pt x="1002229" y="13158"/>
                  <a:pt x="1002403" y="12770"/>
                </a:cubicBezTo>
                <a:cubicBezTo>
                  <a:pt x="1003212" y="11671"/>
                  <a:pt x="1005699" y="11440"/>
                  <a:pt x="1016169" y="11035"/>
                </a:cubicBezTo>
                <a:cubicBezTo>
                  <a:pt x="1023515" y="10746"/>
                  <a:pt x="1038902" y="10225"/>
                  <a:pt x="1039712" y="8085"/>
                </a:cubicBezTo>
                <a:lnTo>
                  <a:pt x="1039712" y="8085"/>
                </a:lnTo>
                <a:lnTo>
                  <a:pt x="1039712" y="8085"/>
                </a:lnTo>
                <a:cubicBezTo>
                  <a:pt x="1039192" y="7258"/>
                  <a:pt x="1039192" y="6193"/>
                  <a:pt x="1039712" y="5366"/>
                </a:cubicBezTo>
                <a:cubicBezTo>
                  <a:pt x="1041736" y="1317"/>
                  <a:pt x="1057065" y="-129"/>
                  <a:pt x="1066668" y="-129"/>
                </a:cubicBezTo>
                <a:cubicBezTo>
                  <a:pt x="1072452" y="-129"/>
                  <a:pt x="1086508" y="334"/>
                  <a:pt x="1090268" y="5077"/>
                </a:cubicBezTo>
                <a:cubicBezTo>
                  <a:pt x="1091888" y="6529"/>
                  <a:pt x="1092408" y="8848"/>
                  <a:pt x="1091598" y="10861"/>
                </a:cubicBezTo>
                <a:cubicBezTo>
                  <a:pt x="1090210" y="13696"/>
                  <a:pt x="1085178" y="15142"/>
                  <a:pt x="1076559" y="15142"/>
                </a:cubicBezTo>
                <a:cubicBezTo>
                  <a:pt x="1072972" y="15136"/>
                  <a:pt x="1069386" y="14905"/>
                  <a:pt x="1065800" y="14448"/>
                </a:cubicBezTo>
                <a:cubicBezTo>
                  <a:pt x="1062213" y="13551"/>
                  <a:pt x="1058511" y="15015"/>
                  <a:pt x="1056487" y="18092"/>
                </a:cubicBezTo>
                <a:cubicBezTo>
                  <a:pt x="1052207" y="23148"/>
                  <a:pt x="1045612" y="25658"/>
                  <a:pt x="1039076" y="24744"/>
                </a:cubicBezTo>
                <a:close/>
                <a:moveTo>
                  <a:pt x="1004947" y="14043"/>
                </a:moveTo>
                <a:cubicBezTo>
                  <a:pt x="1007608" y="17687"/>
                  <a:pt x="1019929" y="22141"/>
                  <a:pt x="1039076" y="22141"/>
                </a:cubicBezTo>
                <a:cubicBezTo>
                  <a:pt x="1044860" y="22939"/>
                  <a:pt x="1050703" y="20764"/>
                  <a:pt x="1054520" y="16357"/>
                </a:cubicBezTo>
                <a:cubicBezTo>
                  <a:pt x="1057123" y="12637"/>
                  <a:pt x="1061693" y="10890"/>
                  <a:pt x="1066089" y="11960"/>
                </a:cubicBezTo>
                <a:cubicBezTo>
                  <a:pt x="1069560" y="12412"/>
                  <a:pt x="1073030" y="12643"/>
                  <a:pt x="1076559" y="12655"/>
                </a:cubicBezTo>
                <a:cubicBezTo>
                  <a:pt x="1085062" y="12655"/>
                  <a:pt x="1088822" y="11093"/>
                  <a:pt x="1089516" y="9647"/>
                </a:cubicBezTo>
                <a:cubicBezTo>
                  <a:pt x="1090210" y="8201"/>
                  <a:pt x="1089516" y="7854"/>
                  <a:pt x="1088532" y="6523"/>
                </a:cubicBezTo>
                <a:cubicBezTo>
                  <a:pt x="1086392" y="3804"/>
                  <a:pt x="1078005" y="2127"/>
                  <a:pt x="1066668" y="2127"/>
                </a:cubicBezTo>
                <a:cubicBezTo>
                  <a:pt x="1053653" y="2127"/>
                  <a:pt x="1042720" y="4441"/>
                  <a:pt x="1041736" y="6465"/>
                </a:cubicBezTo>
                <a:cubicBezTo>
                  <a:pt x="1041736" y="6465"/>
                  <a:pt x="1041736" y="6465"/>
                  <a:pt x="1041736" y="6465"/>
                </a:cubicBezTo>
                <a:cubicBezTo>
                  <a:pt x="1042373" y="7183"/>
                  <a:pt x="1042488" y="8212"/>
                  <a:pt x="1042084" y="9068"/>
                </a:cubicBezTo>
                <a:cubicBezTo>
                  <a:pt x="1040638" y="12192"/>
                  <a:pt x="1031035" y="12770"/>
                  <a:pt x="1016574" y="13291"/>
                </a:cubicBezTo>
                <a:cubicBezTo>
                  <a:pt x="1011946" y="13811"/>
                  <a:pt x="1006914" y="14043"/>
                  <a:pt x="1004947" y="1439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1" name="Forma libre: forma 430">
            <a:extLst>
              <a:ext uri="{FF2B5EF4-FFF2-40B4-BE49-F238E27FC236}">
                <a16:creationId xmlns:a16="http://schemas.microsoft.com/office/drawing/2014/main" id="{7FEB3258-FAB7-1637-289E-5B5BE1D1656A}"/>
              </a:ext>
            </a:extLst>
          </p:cNvPr>
          <p:cNvSpPr/>
          <p:nvPr/>
        </p:nvSpPr>
        <p:spPr>
          <a:xfrm>
            <a:off x="6517277" y="4332835"/>
            <a:ext cx="502652" cy="518286"/>
          </a:xfrm>
          <a:custGeom>
            <a:avLst/>
            <a:gdLst>
              <a:gd name="connsiteX0" fmla="*/ 448864 w 502652"/>
              <a:gd name="connsiteY0" fmla="*/ 518109 h 518286"/>
              <a:gd name="connsiteX1" fmla="*/ 440419 w 502652"/>
              <a:gd name="connsiteY1" fmla="*/ 515738 h 518286"/>
              <a:gd name="connsiteX2" fmla="*/ 428850 w 502652"/>
              <a:gd name="connsiteY2" fmla="*/ 491848 h 518286"/>
              <a:gd name="connsiteX3" fmla="*/ 409414 w 502652"/>
              <a:gd name="connsiteY3" fmla="*/ 488088 h 518286"/>
              <a:gd name="connsiteX4" fmla="*/ 393855 w 502652"/>
              <a:gd name="connsiteY4" fmla="*/ 471660 h 518286"/>
              <a:gd name="connsiteX5" fmla="*/ 386277 w 502652"/>
              <a:gd name="connsiteY5" fmla="*/ 476057 h 518286"/>
              <a:gd name="connsiteX6" fmla="*/ 373088 w 502652"/>
              <a:gd name="connsiteY6" fmla="*/ 480800 h 518286"/>
              <a:gd name="connsiteX7" fmla="*/ 362213 w 502652"/>
              <a:gd name="connsiteY7" fmla="*/ 476924 h 518286"/>
              <a:gd name="connsiteX8" fmla="*/ 350644 w 502652"/>
              <a:gd name="connsiteY8" fmla="*/ 473453 h 518286"/>
              <a:gd name="connsiteX9" fmla="*/ 343993 w 502652"/>
              <a:gd name="connsiteY9" fmla="*/ 471024 h 518286"/>
              <a:gd name="connsiteX10" fmla="*/ 340579 w 502652"/>
              <a:gd name="connsiteY10" fmla="*/ 458819 h 518286"/>
              <a:gd name="connsiteX11" fmla="*/ 340579 w 502652"/>
              <a:gd name="connsiteY11" fmla="*/ 458298 h 518286"/>
              <a:gd name="connsiteX12" fmla="*/ 338382 w 502652"/>
              <a:gd name="connsiteY12" fmla="*/ 457835 h 518286"/>
              <a:gd name="connsiteX13" fmla="*/ 325193 w 502652"/>
              <a:gd name="connsiteY13" fmla="*/ 461306 h 518286"/>
              <a:gd name="connsiteX14" fmla="*/ 322995 w 502652"/>
              <a:gd name="connsiteY14" fmla="*/ 461885 h 518286"/>
              <a:gd name="connsiteX15" fmla="*/ 316401 w 502652"/>
              <a:gd name="connsiteY15" fmla="*/ 454539 h 518286"/>
              <a:gd name="connsiteX16" fmla="*/ 316401 w 502652"/>
              <a:gd name="connsiteY16" fmla="*/ 454539 h 518286"/>
              <a:gd name="connsiteX17" fmla="*/ 309807 w 502652"/>
              <a:gd name="connsiteY17" fmla="*/ 448291 h 518286"/>
              <a:gd name="connsiteX18" fmla="*/ 303328 w 502652"/>
              <a:gd name="connsiteY18" fmla="*/ 448291 h 518286"/>
              <a:gd name="connsiteX19" fmla="*/ 288462 w 502652"/>
              <a:gd name="connsiteY19" fmla="*/ 450952 h 518286"/>
              <a:gd name="connsiteX20" fmla="*/ 283719 w 502652"/>
              <a:gd name="connsiteY20" fmla="*/ 450952 h 518286"/>
              <a:gd name="connsiteX21" fmla="*/ 278686 w 502652"/>
              <a:gd name="connsiteY21" fmla="*/ 450952 h 518286"/>
              <a:gd name="connsiteX22" fmla="*/ 270357 w 502652"/>
              <a:gd name="connsiteY22" fmla="*/ 455175 h 518286"/>
              <a:gd name="connsiteX23" fmla="*/ 265035 w 502652"/>
              <a:gd name="connsiteY23" fmla="*/ 458356 h 518286"/>
              <a:gd name="connsiteX24" fmla="*/ 263878 w 502652"/>
              <a:gd name="connsiteY24" fmla="*/ 458356 h 518286"/>
              <a:gd name="connsiteX25" fmla="*/ 262605 w 502652"/>
              <a:gd name="connsiteY25" fmla="*/ 437243 h 518286"/>
              <a:gd name="connsiteX26" fmla="*/ 263068 w 502652"/>
              <a:gd name="connsiteY26" fmla="*/ 435218 h 518286"/>
              <a:gd name="connsiteX27" fmla="*/ 250111 w 502652"/>
              <a:gd name="connsiteY27" fmla="*/ 414510 h 518286"/>
              <a:gd name="connsiteX28" fmla="*/ 251384 w 502652"/>
              <a:gd name="connsiteY28" fmla="*/ 390505 h 518286"/>
              <a:gd name="connsiteX29" fmla="*/ 253640 w 502652"/>
              <a:gd name="connsiteY29" fmla="*/ 375639 h 518286"/>
              <a:gd name="connsiteX30" fmla="*/ 248491 w 502652"/>
              <a:gd name="connsiteY30" fmla="*/ 353079 h 518286"/>
              <a:gd name="connsiteX31" fmla="*/ 245657 w 502652"/>
              <a:gd name="connsiteY31" fmla="*/ 349146 h 518286"/>
              <a:gd name="connsiteX32" fmla="*/ 241261 w 502652"/>
              <a:gd name="connsiteY32" fmla="*/ 349667 h 518286"/>
              <a:gd name="connsiteX33" fmla="*/ 231427 w 502652"/>
              <a:gd name="connsiteY33" fmla="*/ 350534 h 518286"/>
              <a:gd name="connsiteX34" fmla="*/ 217256 w 502652"/>
              <a:gd name="connsiteY34" fmla="*/ 344345 h 518286"/>
              <a:gd name="connsiteX35" fmla="*/ 205166 w 502652"/>
              <a:gd name="connsiteY35" fmla="*/ 342899 h 518286"/>
              <a:gd name="connsiteX36" fmla="*/ 196779 w 502652"/>
              <a:gd name="connsiteY36" fmla="*/ 344403 h 518286"/>
              <a:gd name="connsiteX37" fmla="*/ 190994 w 502652"/>
              <a:gd name="connsiteY37" fmla="*/ 358575 h 518286"/>
              <a:gd name="connsiteX38" fmla="*/ 185962 w 502652"/>
              <a:gd name="connsiteY38" fmla="*/ 368813 h 518286"/>
              <a:gd name="connsiteX39" fmla="*/ 185268 w 502652"/>
              <a:gd name="connsiteY39" fmla="*/ 368813 h 518286"/>
              <a:gd name="connsiteX40" fmla="*/ 154379 w 502652"/>
              <a:gd name="connsiteY40" fmla="*/ 373672 h 518286"/>
              <a:gd name="connsiteX41" fmla="*/ 130026 w 502652"/>
              <a:gd name="connsiteY41" fmla="*/ 356319 h 518286"/>
              <a:gd name="connsiteX42" fmla="*/ 122217 w 502652"/>
              <a:gd name="connsiteY42" fmla="*/ 345502 h 518286"/>
              <a:gd name="connsiteX43" fmla="*/ 119036 w 502652"/>
              <a:gd name="connsiteY43" fmla="*/ 334974 h 518286"/>
              <a:gd name="connsiteX44" fmla="*/ 114640 w 502652"/>
              <a:gd name="connsiteY44" fmla="*/ 313340 h 518286"/>
              <a:gd name="connsiteX45" fmla="*/ 53556 w 502652"/>
              <a:gd name="connsiteY45" fmla="*/ 312820 h 518286"/>
              <a:gd name="connsiteX46" fmla="*/ 27006 w 502652"/>
              <a:gd name="connsiteY46" fmla="*/ 313340 h 518286"/>
              <a:gd name="connsiteX47" fmla="*/ 12082 w 502652"/>
              <a:gd name="connsiteY47" fmla="*/ 321554 h 518286"/>
              <a:gd name="connsiteX48" fmla="*/ 11041 w 502652"/>
              <a:gd name="connsiteY48" fmla="*/ 321554 h 518286"/>
              <a:gd name="connsiteX49" fmla="*/ 10347 w 502652"/>
              <a:gd name="connsiteY49" fmla="*/ 320802 h 518286"/>
              <a:gd name="connsiteX50" fmla="*/ 9595 w 502652"/>
              <a:gd name="connsiteY50" fmla="*/ 317968 h 518286"/>
              <a:gd name="connsiteX51" fmla="*/ -7 w 502652"/>
              <a:gd name="connsiteY51" fmla="*/ 288063 h 518286"/>
              <a:gd name="connsiteX52" fmla="*/ 397 w 502652"/>
              <a:gd name="connsiteY52" fmla="*/ 286674 h 518286"/>
              <a:gd name="connsiteX53" fmla="*/ 25965 w 502652"/>
              <a:gd name="connsiteY53" fmla="*/ 272849 h 518286"/>
              <a:gd name="connsiteX54" fmla="*/ 26948 w 502652"/>
              <a:gd name="connsiteY54" fmla="*/ 272849 h 518286"/>
              <a:gd name="connsiteX55" fmla="*/ 31113 w 502652"/>
              <a:gd name="connsiteY55" fmla="*/ 275395 h 518286"/>
              <a:gd name="connsiteX56" fmla="*/ 36897 w 502652"/>
              <a:gd name="connsiteY56" fmla="*/ 278171 h 518286"/>
              <a:gd name="connsiteX57" fmla="*/ 44127 w 502652"/>
              <a:gd name="connsiteY57" fmla="*/ 274758 h 518286"/>
              <a:gd name="connsiteX58" fmla="*/ 58357 w 502652"/>
              <a:gd name="connsiteY58" fmla="*/ 268974 h 518286"/>
              <a:gd name="connsiteX59" fmla="*/ 67890 w 502652"/>
              <a:gd name="connsiteY59" fmla="*/ 276309 h 518286"/>
              <a:gd name="connsiteX60" fmla="*/ 67960 w 502652"/>
              <a:gd name="connsiteY60" fmla="*/ 277419 h 518286"/>
              <a:gd name="connsiteX61" fmla="*/ 68422 w 502652"/>
              <a:gd name="connsiteY61" fmla="*/ 281179 h 518286"/>
              <a:gd name="connsiteX62" fmla="*/ 69001 w 502652"/>
              <a:gd name="connsiteY62" fmla="*/ 281815 h 518286"/>
              <a:gd name="connsiteX63" fmla="*/ 69001 w 502652"/>
              <a:gd name="connsiteY63" fmla="*/ 281815 h 518286"/>
              <a:gd name="connsiteX64" fmla="*/ 77793 w 502652"/>
              <a:gd name="connsiteY64" fmla="*/ 274874 h 518286"/>
              <a:gd name="connsiteX65" fmla="*/ 88031 w 502652"/>
              <a:gd name="connsiteY65" fmla="*/ 270420 h 518286"/>
              <a:gd name="connsiteX66" fmla="*/ 94337 w 502652"/>
              <a:gd name="connsiteY66" fmla="*/ 260471 h 518286"/>
              <a:gd name="connsiteX67" fmla="*/ 100121 w 502652"/>
              <a:gd name="connsiteY67" fmla="*/ 249943 h 518286"/>
              <a:gd name="connsiteX68" fmla="*/ 104459 w 502652"/>
              <a:gd name="connsiteY68" fmla="*/ 240225 h 518286"/>
              <a:gd name="connsiteX69" fmla="*/ 105558 w 502652"/>
              <a:gd name="connsiteY69" fmla="*/ 209047 h 518286"/>
              <a:gd name="connsiteX70" fmla="*/ 106195 w 502652"/>
              <a:gd name="connsiteY70" fmla="*/ 194644 h 518286"/>
              <a:gd name="connsiteX71" fmla="*/ 116375 w 502652"/>
              <a:gd name="connsiteY71" fmla="*/ 182150 h 518286"/>
              <a:gd name="connsiteX72" fmla="*/ 129795 w 502652"/>
              <a:gd name="connsiteY72" fmla="*/ 164276 h 518286"/>
              <a:gd name="connsiteX73" fmla="*/ 139224 w 502652"/>
              <a:gd name="connsiteY73" fmla="*/ 138072 h 518286"/>
              <a:gd name="connsiteX74" fmla="*/ 150098 w 502652"/>
              <a:gd name="connsiteY74" fmla="*/ 106778 h 518286"/>
              <a:gd name="connsiteX75" fmla="*/ 157503 w 502652"/>
              <a:gd name="connsiteY75" fmla="*/ 81963 h 518286"/>
              <a:gd name="connsiteX76" fmla="*/ 160395 w 502652"/>
              <a:gd name="connsiteY76" fmla="*/ 77509 h 518286"/>
              <a:gd name="connsiteX77" fmla="*/ 164270 w 502652"/>
              <a:gd name="connsiteY77" fmla="*/ 50033 h 518286"/>
              <a:gd name="connsiteX78" fmla="*/ 164270 w 502652"/>
              <a:gd name="connsiteY78" fmla="*/ 31465 h 518286"/>
              <a:gd name="connsiteX79" fmla="*/ 164270 w 502652"/>
              <a:gd name="connsiteY79" fmla="*/ 30771 h 518286"/>
              <a:gd name="connsiteX80" fmla="*/ 193771 w 502652"/>
              <a:gd name="connsiteY80" fmla="*/ 8443 h 518286"/>
              <a:gd name="connsiteX81" fmla="*/ 216388 w 502652"/>
              <a:gd name="connsiteY81" fmla="*/ 23714 h 518286"/>
              <a:gd name="connsiteX82" fmla="*/ 267060 w 502652"/>
              <a:gd name="connsiteY82" fmla="*/ 33548 h 518286"/>
              <a:gd name="connsiteX83" fmla="*/ 275736 w 502652"/>
              <a:gd name="connsiteY83" fmla="*/ 15384 h 518286"/>
              <a:gd name="connsiteX84" fmla="*/ 286669 w 502652"/>
              <a:gd name="connsiteY84" fmla="*/ 15384 h 518286"/>
              <a:gd name="connsiteX85" fmla="*/ 297717 w 502652"/>
              <a:gd name="connsiteY85" fmla="*/ 15384 h 518286"/>
              <a:gd name="connsiteX86" fmla="*/ 298122 w 502652"/>
              <a:gd name="connsiteY86" fmla="*/ 15384 h 518286"/>
              <a:gd name="connsiteX87" fmla="*/ 327044 w 502652"/>
              <a:gd name="connsiteY87" fmla="*/ 7055 h 518286"/>
              <a:gd name="connsiteX88" fmla="*/ 337051 w 502652"/>
              <a:gd name="connsiteY88" fmla="*/ 8443 h 518286"/>
              <a:gd name="connsiteX89" fmla="*/ 341968 w 502652"/>
              <a:gd name="connsiteY89" fmla="*/ 9253 h 518286"/>
              <a:gd name="connsiteX90" fmla="*/ 347752 w 502652"/>
              <a:gd name="connsiteY90" fmla="*/ 4336 h 518286"/>
              <a:gd name="connsiteX91" fmla="*/ 356545 w 502652"/>
              <a:gd name="connsiteY91" fmla="*/ -60 h 518286"/>
              <a:gd name="connsiteX92" fmla="*/ 379278 w 502652"/>
              <a:gd name="connsiteY92" fmla="*/ 6997 h 518286"/>
              <a:gd name="connsiteX93" fmla="*/ 397788 w 502652"/>
              <a:gd name="connsiteY93" fmla="*/ 3931 h 518286"/>
              <a:gd name="connsiteX94" fmla="*/ 398135 w 502652"/>
              <a:gd name="connsiteY94" fmla="*/ 2832 h 518286"/>
              <a:gd name="connsiteX95" fmla="*/ 399407 w 502652"/>
              <a:gd name="connsiteY95" fmla="*/ 2832 h 518286"/>
              <a:gd name="connsiteX96" fmla="*/ 407042 w 502652"/>
              <a:gd name="connsiteY96" fmla="*/ 10584 h 518286"/>
              <a:gd name="connsiteX97" fmla="*/ 418611 w 502652"/>
              <a:gd name="connsiteY97" fmla="*/ 23541 h 518286"/>
              <a:gd name="connsiteX98" fmla="*/ 427520 w 502652"/>
              <a:gd name="connsiteY98" fmla="*/ 26375 h 518286"/>
              <a:gd name="connsiteX99" fmla="*/ 434114 w 502652"/>
              <a:gd name="connsiteY99" fmla="*/ 23714 h 518286"/>
              <a:gd name="connsiteX100" fmla="*/ 440882 w 502652"/>
              <a:gd name="connsiteY100" fmla="*/ 20764 h 518286"/>
              <a:gd name="connsiteX101" fmla="*/ 450137 w 502652"/>
              <a:gd name="connsiteY101" fmla="*/ 24755 h 518286"/>
              <a:gd name="connsiteX102" fmla="*/ 460260 w 502652"/>
              <a:gd name="connsiteY102" fmla="*/ 20764 h 518286"/>
              <a:gd name="connsiteX103" fmla="*/ 464193 w 502652"/>
              <a:gd name="connsiteY103" fmla="*/ 21921 h 518286"/>
              <a:gd name="connsiteX104" fmla="*/ 495891 w 502652"/>
              <a:gd name="connsiteY104" fmla="*/ 48645 h 518286"/>
              <a:gd name="connsiteX105" fmla="*/ 496297 w 502652"/>
              <a:gd name="connsiteY105" fmla="*/ 49629 h 518286"/>
              <a:gd name="connsiteX106" fmla="*/ 495834 w 502652"/>
              <a:gd name="connsiteY106" fmla="*/ 50380 h 518286"/>
              <a:gd name="connsiteX107" fmla="*/ 493462 w 502652"/>
              <a:gd name="connsiteY107" fmla="*/ 73229 h 518286"/>
              <a:gd name="connsiteX108" fmla="*/ 497974 w 502652"/>
              <a:gd name="connsiteY108" fmla="*/ 79765 h 518286"/>
              <a:gd name="connsiteX109" fmla="*/ 502543 w 502652"/>
              <a:gd name="connsiteY109" fmla="*/ 86533 h 518286"/>
              <a:gd name="connsiteX110" fmla="*/ 497685 w 502652"/>
              <a:gd name="connsiteY110" fmla="*/ 96019 h 518286"/>
              <a:gd name="connsiteX111" fmla="*/ 494677 w 502652"/>
              <a:gd name="connsiteY111" fmla="*/ 100705 h 518286"/>
              <a:gd name="connsiteX112" fmla="*/ 482414 w 502652"/>
              <a:gd name="connsiteY112" fmla="*/ 109439 h 518286"/>
              <a:gd name="connsiteX113" fmla="*/ 477092 w 502652"/>
              <a:gd name="connsiteY113" fmla="*/ 116670 h 518286"/>
              <a:gd name="connsiteX114" fmla="*/ 472407 w 502652"/>
              <a:gd name="connsiteY114" fmla="*/ 124421 h 518286"/>
              <a:gd name="connsiteX115" fmla="*/ 468473 w 502652"/>
              <a:gd name="connsiteY115" fmla="*/ 134428 h 518286"/>
              <a:gd name="connsiteX116" fmla="*/ 466102 w 502652"/>
              <a:gd name="connsiteY116" fmla="*/ 143336 h 518286"/>
              <a:gd name="connsiteX117" fmla="*/ 461358 w 502652"/>
              <a:gd name="connsiteY117" fmla="*/ 166474 h 518286"/>
              <a:gd name="connsiteX118" fmla="*/ 456558 w 502652"/>
              <a:gd name="connsiteY118" fmla="*/ 187066 h 518286"/>
              <a:gd name="connsiteX119" fmla="*/ 452740 w 502652"/>
              <a:gd name="connsiteY119" fmla="*/ 190016 h 518286"/>
              <a:gd name="connsiteX120" fmla="*/ 448055 w 502652"/>
              <a:gd name="connsiteY120" fmla="*/ 206444 h 518286"/>
              <a:gd name="connsiteX121" fmla="*/ 447013 w 502652"/>
              <a:gd name="connsiteY121" fmla="*/ 207659 h 518286"/>
              <a:gd name="connsiteX122" fmla="*/ 441923 w 502652"/>
              <a:gd name="connsiteY122" fmla="*/ 214074 h 518286"/>
              <a:gd name="connsiteX123" fmla="*/ 441981 w 502652"/>
              <a:gd name="connsiteY123" fmla="*/ 214369 h 518286"/>
              <a:gd name="connsiteX124" fmla="*/ 446724 w 502652"/>
              <a:gd name="connsiteY124" fmla="*/ 221252 h 518286"/>
              <a:gd name="connsiteX125" fmla="*/ 448285 w 502652"/>
              <a:gd name="connsiteY125" fmla="*/ 221715 h 518286"/>
              <a:gd name="connsiteX126" fmla="*/ 449211 w 502652"/>
              <a:gd name="connsiteY126" fmla="*/ 222756 h 518286"/>
              <a:gd name="connsiteX127" fmla="*/ 450541 w 502652"/>
              <a:gd name="connsiteY127" fmla="*/ 243175 h 518286"/>
              <a:gd name="connsiteX128" fmla="*/ 450541 w 502652"/>
              <a:gd name="connsiteY128" fmla="*/ 243580 h 518286"/>
              <a:gd name="connsiteX129" fmla="*/ 449443 w 502652"/>
              <a:gd name="connsiteY129" fmla="*/ 244679 h 518286"/>
              <a:gd name="connsiteX130" fmla="*/ 449385 w 502652"/>
              <a:gd name="connsiteY130" fmla="*/ 244679 h 518286"/>
              <a:gd name="connsiteX131" fmla="*/ 449385 w 502652"/>
              <a:gd name="connsiteY131" fmla="*/ 244679 h 518286"/>
              <a:gd name="connsiteX132" fmla="*/ 448343 w 502652"/>
              <a:gd name="connsiteY132" fmla="*/ 244043 h 518286"/>
              <a:gd name="connsiteX133" fmla="*/ 447071 w 502652"/>
              <a:gd name="connsiteY133" fmla="*/ 242076 h 518286"/>
              <a:gd name="connsiteX134" fmla="*/ 445393 w 502652"/>
              <a:gd name="connsiteY134" fmla="*/ 273139 h 518286"/>
              <a:gd name="connsiteX135" fmla="*/ 459508 w 502652"/>
              <a:gd name="connsiteY135" fmla="*/ 341164 h 518286"/>
              <a:gd name="connsiteX136" fmla="*/ 475704 w 502652"/>
              <a:gd name="connsiteY136" fmla="*/ 362392 h 518286"/>
              <a:gd name="connsiteX137" fmla="*/ 479869 w 502652"/>
              <a:gd name="connsiteY137" fmla="*/ 369507 h 518286"/>
              <a:gd name="connsiteX138" fmla="*/ 479869 w 502652"/>
              <a:gd name="connsiteY138" fmla="*/ 370491 h 518286"/>
              <a:gd name="connsiteX139" fmla="*/ 478075 w 502652"/>
              <a:gd name="connsiteY139" fmla="*/ 374829 h 518286"/>
              <a:gd name="connsiteX140" fmla="*/ 477150 w 502652"/>
              <a:gd name="connsiteY140" fmla="*/ 375928 h 518286"/>
              <a:gd name="connsiteX141" fmla="*/ 476861 w 502652"/>
              <a:gd name="connsiteY141" fmla="*/ 375928 h 518286"/>
              <a:gd name="connsiteX142" fmla="*/ 451409 w 502652"/>
              <a:gd name="connsiteY142" fmla="*/ 381250 h 518286"/>
              <a:gd name="connsiteX143" fmla="*/ 443427 w 502652"/>
              <a:gd name="connsiteY143" fmla="*/ 381250 h 518286"/>
              <a:gd name="connsiteX144" fmla="*/ 440535 w 502652"/>
              <a:gd name="connsiteY144" fmla="*/ 382175 h 518286"/>
              <a:gd name="connsiteX145" fmla="*/ 439667 w 502652"/>
              <a:gd name="connsiteY145" fmla="*/ 388596 h 518286"/>
              <a:gd name="connsiteX146" fmla="*/ 436890 w 502652"/>
              <a:gd name="connsiteY146" fmla="*/ 399182 h 518286"/>
              <a:gd name="connsiteX147" fmla="*/ 431106 w 502652"/>
              <a:gd name="connsiteY147" fmla="*/ 409073 h 518286"/>
              <a:gd name="connsiteX148" fmla="*/ 433015 w 502652"/>
              <a:gd name="connsiteY148" fmla="*/ 411792 h 518286"/>
              <a:gd name="connsiteX149" fmla="*/ 433767 w 502652"/>
              <a:gd name="connsiteY149" fmla="*/ 433020 h 518286"/>
              <a:gd name="connsiteX150" fmla="*/ 432436 w 502652"/>
              <a:gd name="connsiteY150" fmla="*/ 443143 h 518286"/>
              <a:gd name="connsiteX151" fmla="*/ 428734 w 502652"/>
              <a:gd name="connsiteY151" fmla="*/ 456216 h 518286"/>
              <a:gd name="connsiteX152" fmla="*/ 425900 w 502652"/>
              <a:gd name="connsiteY152" fmla="*/ 467785 h 518286"/>
              <a:gd name="connsiteX153" fmla="*/ 431106 w 502652"/>
              <a:gd name="connsiteY153" fmla="*/ 475073 h 518286"/>
              <a:gd name="connsiteX154" fmla="*/ 443774 w 502652"/>
              <a:gd name="connsiteY154" fmla="*/ 489419 h 518286"/>
              <a:gd name="connsiteX155" fmla="*/ 446551 w 502652"/>
              <a:gd name="connsiteY155" fmla="*/ 489823 h 518286"/>
              <a:gd name="connsiteX156" fmla="*/ 456268 w 502652"/>
              <a:gd name="connsiteY156" fmla="*/ 485890 h 518286"/>
              <a:gd name="connsiteX157" fmla="*/ 461590 w 502652"/>
              <a:gd name="connsiteY157" fmla="*/ 483345 h 518286"/>
              <a:gd name="connsiteX158" fmla="*/ 466391 w 502652"/>
              <a:gd name="connsiteY158" fmla="*/ 503880 h 518286"/>
              <a:gd name="connsiteX159" fmla="*/ 461070 w 502652"/>
              <a:gd name="connsiteY159" fmla="*/ 516895 h 518286"/>
              <a:gd name="connsiteX160" fmla="*/ 461070 w 502652"/>
              <a:gd name="connsiteY160" fmla="*/ 516895 h 518286"/>
              <a:gd name="connsiteX161" fmla="*/ 448864 w 502652"/>
              <a:gd name="connsiteY161" fmla="*/ 518109 h 518286"/>
              <a:gd name="connsiteX162" fmla="*/ 392408 w 502652"/>
              <a:gd name="connsiteY162" fmla="*/ 468248 h 518286"/>
              <a:gd name="connsiteX163" fmla="*/ 396110 w 502652"/>
              <a:gd name="connsiteY163" fmla="*/ 470677 h 518286"/>
              <a:gd name="connsiteX164" fmla="*/ 409646 w 502652"/>
              <a:gd name="connsiteY164" fmla="*/ 485832 h 518286"/>
              <a:gd name="connsiteX165" fmla="*/ 431338 w 502652"/>
              <a:gd name="connsiteY165" fmla="*/ 491617 h 518286"/>
              <a:gd name="connsiteX166" fmla="*/ 441807 w 502652"/>
              <a:gd name="connsiteY166" fmla="*/ 513713 h 518286"/>
              <a:gd name="connsiteX167" fmla="*/ 448864 w 502652"/>
              <a:gd name="connsiteY167" fmla="*/ 515622 h 518286"/>
              <a:gd name="connsiteX168" fmla="*/ 459970 w 502652"/>
              <a:gd name="connsiteY168" fmla="*/ 513597 h 518286"/>
              <a:gd name="connsiteX169" fmla="*/ 464251 w 502652"/>
              <a:gd name="connsiteY169" fmla="*/ 502491 h 518286"/>
              <a:gd name="connsiteX170" fmla="*/ 461706 w 502652"/>
              <a:gd name="connsiteY170" fmla="*/ 484212 h 518286"/>
              <a:gd name="connsiteX171" fmla="*/ 457598 w 502652"/>
              <a:gd name="connsiteY171" fmla="*/ 486353 h 518286"/>
              <a:gd name="connsiteX172" fmla="*/ 446666 w 502652"/>
              <a:gd name="connsiteY172" fmla="*/ 490691 h 518286"/>
              <a:gd name="connsiteX173" fmla="*/ 443253 w 502652"/>
              <a:gd name="connsiteY173" fmla="*/ 490228 h 518286"/>
              <a:gd name="connsiteX174" fmla="*/ 429313 w 502652"/>
              <a:gd name="connsiteY174" fmla="*/ 474784 h 518286"/>
              <a:gd name="connsiteX175" fmla="*/ 424743 w 502652"/>
              <a:gd name="connsiteY175" fmla="*/ 468248 h 518286"/>
              <a:gd name="connsiteX176" fmla="*/ 426710 w 502652"/>
              <a:gd name="connsiteY176" fmla="*/ 454134 h 518286"/>
              <a:gd name="connsiteX177" fmla="*/ 430296 w 502652"/>
              <a:gd name="connsiteY177" fmla="*/ 441928 h 518286"/>
              <a:gd name="connsiteX178" fmla="*/ 431684 w 502652"/>
              <a:gd name="connsiteY178" fmla="*/ 431458 h 518286"/>
              <a:gd name="connsiteX179" fmla="*/ 432147 w 502652"/>
              <a:gd name="connsiteY179" fmla="*/ 412601 h 518286"/>
              <a:gd name="connsiteX180" fmla="*/ 429024 w 502652"/>
              <a:gd name="connsiteY180" fmla="*/ 408089 h 518286"/>
              <a:gd name="connsiteX181" fmla="*/ 435618 w 502652"/>
              <a:gd name="connsiteY181" fmla="*/ 396174 h 518286"/>
              <a:gd name="connsiteX182" fmla="*/ 437527 w 502652"/>
              <a:gd name="connsiteY182" fmla="*/ 387497 h 518286"/>
              <a:gd name="connsiteX183" fmla="*/ 438973 w 502652"/>
              <a:gd name="connsiteY183" fmla="*/ 379399 h 518286"/>
              <a:gd name="connsiteX184" fmla="*/ 443543 w 502652"/>
              <a:gd name="connsiteY184" fmla="*/ 377779 h 518286"/>
              <a:gd name="connsiteX185" fmla="*/ 451814 w 502652"/>
              <a:gd name="connsiteY185" fmla="*/ 377779 h 518286"/>
              <a:gd name="connsiteX186" fmla="*/ 475589 w 502652"/>
              <a:gd name="connsiteY186" fmla="*/ 373209 h 518286"/>
              <a:gd name="connsiteX187" fmla="*/ 475993 w 502652"/>
              <a:gd name="connsiteY187" fmla="*/ 372805 h 518286"/>
              <a:gd name="connsiteX188" fmla="*/ 476456 w 502652"/>
              <a:gd name="connsiteY188" fmla="*/ 372284 h 518286"/>
              <a:gd name="connsiteX189" fmla="*/ 478018 w 502652"/>
              <a:gd name="connsiteY189" fmla="*/ 368698 h 518286"/>
              <a:gd name="connsiteX190" fmla="*/ 474085 w 502652"/>
              <a:gd name="connsiteY190" fmla="*/ 361988 h 518286"/>
              <a:gd name="connsiteX191" fmla="*/ 458814 w 502652"/>
              <a:gd name="connsiteY191" fmla="*/ 341684 h 518286"/>
              <a:gd name="connsiteX192" fmla="*/ 443543 w 502652"/>
              <a:gd name="connsiteY192" fmla="*/ 249133 h 518286"/>
              <a:gd name="connsiteX193" fmla="*/ 446839 w 502652"/>
              <a:gd name="connsiteY193" fmla="*/ 238432 h 518286"/>
              <a:gd name="connsiteX194" fmla="*/ 448343 w 502652"/>
              <a:gd name="connsiteY194" fmla="*/ 238432 h 518286"/>
              <a:gd name="connsiteX195" fmla="*/ 447303 w 502652"/>
              <a:gd name="connsiteY195" fmla="*/ 222178 h 518286"/>
              <a:gd name="connsiteX196" fmla="*/ 446203 w 502652"/>
              <a:gd name="connsiteY196" fmla="*/ 221773 h 518286"/>
              <a:gd name="connsiteX197" fmla="*/ 440014 w 502652"/>
              <a:gd name="connsiteY197" fmla="*/ 212807 h 518286"/>
              <a:gd name="connsiteX198" fmla="*/ 445799 w 502652"/>
              <a:gd name="connsiteY198" fmla="*/ 204015 h 518286"/>
              <a:gd name="connsiteX199" fmla="*/ 452046 w 502652"/>
              <a:gd name="connsiteY199" fmla="*/ 186314 h 518286"/>
              <a:gd name="connsiteX200" fmla="*/ 454880 w 502652"/>
              <a:gd name="connsiteY200" fmla="*/ 184059 h 518286"/>
              <a:gd name="connsiteX201" fmla="*/ 459160 w 502652"/>
              <a:gd name="connsiteY201" fmla="*/ 164912 h 518286"/>
              <a:gd name="connsiteX202" fmla="*/ 464135 w 502652"/>
              <a:gd name="connsiteY202" fmla="*/ 140849 h 518286"/>
              <a:gd name="connsiteX203" fmla="*/ 466275 w 502652"/>
              <a:gd name="connsiteY203" fmla="*/ 132461 h 518286"/>
              <a:gd name="connsiteX204" fmla="*/ 471134 w 502652"/>
              <a:gd name="connsiteY204" fmla="*/ 120892 h 518286"/>
              <a:gd name="connsiteX205" fmla="*/ 475067 w 502652"/>
              <a:gd name="connsiteY205" fmla="*/ 114183 h 518286"/>
              <a:gd name="connsiteX206" fmla="*/ 481778 w 502652"/>
              <a:gd name="connsiteY206" fmla="*/ 105622 h 518286"/>
              <a:gd name="connsiteX207" fmla="*/ 492479 w 502652"/>
              <a:gd name="connsiteY207" fmla="*/ 98623 h 518286"/>
              <a:gd name="connsiteX208" fmla="*/ 496007 w 502652"/>
              <a:gd name="connsiteY208" fmla="*/ 92838 h 518286"/>
              <a:gd name="connsiteX209" fmla="*/ 500345 w 502652"/>
              <a:gd name="connsiteY209" fmla="*/ 84798 h 518286"/>
              <a:gd name="connsiteX210" fmla="*/ 496585 w 502652"/>
              <a:gd name="connsiteY210" fmla="*/ 79765 h 518286"/>
              <a:gd name="connsiteX211" fmla="*/ 491264 w 502652"/>
              <a:gd name="connsiteY211" fmla="*/ 71494 h 518286"/>
              <a:gd name="connsiteX212" fmla="*/ 493693 w 502652"/>
              <a:gd name="connsiteY212" fmla="*/ 47893 h 518286"/>
              <a:gd name="connsiteX213" fmla="*/ 463036 w 502652"/>
              <a:gd name="connsiteY213" fmla="*/ 22037 h 518286"/>
              <a:gd name="connsiteX214" fmla="*/ 460318 w 502652"/>
              <a:gd name="connsiteY214" fmla="*/ 21285 h 518286"/>
              <a:gd name="connsiteX215" fmla="*/ 450831 w 502652"/>
              <a:gd name="connsiteY215" fmla="*/ 25392 h 518286"/>
              <a:gd name="connsiteX216" fmla="*/ 449327 w 502652"/>
              <a:gd name="connsiteY216" fmla="*/ 25392 h 518286"/>
              <a:gd name="connsiteX217" fmla="*/ 440939 w 502652"/>
              <a:gd name="connsiteY217" fmla="*/ 21401 h 518286"/>
              <a:gd name="connsiteX218" fmla="*/ 435734 w 502652"/>
              <a:gd name="connsiteY218" fmla="*/ 23714 h 518286"/>
              <a:gd name="connsiteX219" fmla="*/ 427577 w 502652"/>
              <a:gd name="connsiteY219" fmla="*/ 27011 h 518286"/>
              <a:gd name="connsiteX220" fmla="*/ 417455 w 502652"/>
              <a:gd name="connsiteY220" fmla="*/ 23830 h 518286"/>
              <a:gd name="connsiteX221" fmla="*/ 405192 w 502652"/>
              <a:gd name="connsiteY221" fmla="*/ 9774 h 518286"/>
              <a:gd name="connsiteX222" fmla="*/ 400333 w 502652"/>
              <a:gd name="connsiteY222" fmla="*/ 3989 h 518286"/>
              <a:gd name="connsiteX223" fmla="*/ 399812 w 502652"/>
              <a:gd name="connsiteY223" fmla="*/ 3989 h 518286"/>
              <a:gd name="connsiteX224" fmla="*/ 379566 w 502652"/>
              <a:gd name="connsiteY224" fmla="*/ 7286 h 518286"/>
              <a:gd name="connsiteX225" fmla="*/ 378872 w 502652"/>
              <a:gd name="connsiteY225" fmla="*/ 7286 h 518286"/>
              <a:gd name="connsiteX226" fmla="*/ 356834 w 502652"/>
              <a:gd name="connsiteY226" fmla="*/ 345 h 518286"/>
              <a:gd name="connsiteX227" fmla="*/ 350066 w 502652"/>
              <a:gd name="connsiteY227" fmla="*/ 3469 h 518286"/>
              <a:gd name="connsiteX228" fmla="*/ 342083 w 502652"/>
              <a:gd name="connsiteY228" fmla="*/ 9658 h 518286"/>
              <a:gd name="connsiteX229" fmla="*/ 336646 w 502652"/>
              <a:gd name="connsiteY229" fmla="*/ 8790 h 518286"/>
              <a:gd name="connsiteX230" fmla="*/ 327160 w 502652"/>
              <a:gd name="connsiteY230" fmla="*/ 7460 h 518286"/>
              <a:gd name="connsiteX231" fmla="*/ 299394 w 502652"/>
              <a:gd name="connsiteY231" fmla="*/ 15558 h 518286"/>
              <a:gd name="connsiteX232" fmla="*/ 299047 w 502652"/>
              <a:gd name="connsiteY232" fmla="*/ 15558 h 518286"/>
              <a:gd name="connsiteX233" fmla="*/ 286495 w 502652"/>
              <a:gd name="connsiteY233" fmla="*/ 15558 h 518286"/>
              <a:gd name="connsiteX234" fmla="*/ 277298 w 502652"/>
              <a:gd name="connsiteY234" fmla="*/ 15558 h 518286"/>
              <a:gd name="connsiteX235" fmla="*/ 269316 w 502652"/>
              <a:gd name="connsiteY235" fmla="*/ 33432 h 518286"/>
              <a:gd name="connsiteX236" fmla="*/ 267985 w 502652"/>
              <a:gd name="connsiteY236" fmla="*/ 34300 h 518286"/>
              <a:gd name="connsiteX237" fmla="*/ 215925 w 502652"/>
              <a:gd name="connsiteY237" fmla="*/ 24177 h 518286"/>
              <a:gd name="connsiteX238" fmla="*/ 215173 w 502652"/>
              <a:gd name="connsiteY238" fmla="*/ 23714 h 518286"/>
              <a:gd name="connsiteX239" fmla="*/ 194176 w 502652"/>
              <a:gd name="connsiteY239" fmla="*/ 9022 h 518286"/>
              <a:gd name="connsiteX240" fmla="*/ 166700 w 502652"/>
              <a:gd name="connsiteY240" fmla="*/ 30193 h 518286"/>
              <a:gd name="connsiteX241" fmla="*/ 166700 w 502652"/>
              <a:gd name="connsiteY241" fmla="*/ 48125 h 518286"/>
              <a:gd name="connsiteX242" fmla="*/ 162477 w 502652"/>
              <a:gd name="connsiteY242" fmla="*/ 77047 h 518286"/>
              <a:gd name="connsiteX243" fmla="*/ 159527 w 502652"/>
              <a:gd name="connsiteY243" fmla="*/ 81558 h 518286"/>
              <a:gd name="connsiteX244" fmla="*/ 152528 w 502652"/>
              <a:gd name="connsiteY244" fmla="*/ 105159 h 518286"/>
              <a:gd name="connsiteX245" fmla="*/ 141422 w 502652"/>
              <a:gd name="connsiteY245" fmla="*/ 137436 h 518286"/>
              <a:gd name="connsiteX246" fmla="*/ 132225 w 502652"/>
              <a:gd name="connsiteY246" fmla="*/ 162656 h 518286"/>
              <a:gd name="connsiteX247" fmla="*/ 117937 w 502652"/>
              <a:gd name="connsiteY247" fmla="*/ 182265 h 518286"/>
              <a:gd name="connsiteX248" fmla="*/ 108624 w 502652"/>
              <a:gd name="connsiteY248" fmla="*/ 193024 h 518286"/>
              <a:gd name="connsiteX249" fmla="*/ 107988 w 502652"/>
              <a:gd name="connsiteY249" fmla="*/ 207543 h 518286"/>
              <a:gd name="connsiteX250" fmla="*/ 106947 w 502652"/>
              <a:gd name="connsiteY250" fmla="*/ 238606 h 518286"/>
              <a:gd name="connsiteX251" fmla="*/ 100815 w 502652"/>
              <a:gd name="connsiteY251" fmla="*/ 250175 h 518286"/>
              <a:gd name="connsiteX252" fmla="*/ 96766 w 502652"/>
              <a:gd name="connsiteY252" fmla="*/ 258562 h 518286"/>
              <a:gd name="connsiteX253" fmla="*/ 88494 w 502652"/>
              <a:gd name="connsiteY253" fmla="*/ 270767 h 518286"/>
              <a:gd name="connsiteX254" fmla="*/ 79586 w 502652"/>
              <a:gd name="connsiteY254" fmla="*/ 274585 h 518286"/>
              <a:gd name="connsiteX255" fmla="*/ 69174 w 502652"/>
              <a:gd name="connsiteY255" fmla="*/ 282162 h 518286"/>
              <a:gd name="connsiteX256" fmla="*/ 66398 w 502652"/>
              <a:gd name="connsiteY256" fmla="*/ 280080 h 518286"/>
              <a:gd name="connsiteX257" fmla="*/ 65819 w 502652"/>
              <a:gd name="connsiteY257" fmla="*/ 275510 h 518286"/>
              <a:gd name="connsiteX258" fmla="*/ 58473 w 502652"/>
              <a:gd name="connsiteY258" fmla="*/ 269321 h 518286"/>
              <a:gd name="connsiteX259" fmla="*/ 45689 w 502652"/>
              <a:gd name="connsiteY259" fmla="*/ 274643 h 518286"/>
              <a:gd name="connsiteX260" fmla="*/ 37013 w 502652"/>
              <a:gd name="connsiteY260" fmla="*/ 278576 h 518286"/>
              <a:gd name="connsiteX261" fmla="*/ 29609 w 502652"/>
              <a:gd name="connsiteY261" fmla="*/ 275337 h 518286"/>
              <a:gd name="connsiteX262" fmla="*/ 26080 w 502652"/>
              <a:gd name="connsiteY262" fmla="*/ 273139 h 518286"/>
              <a:gd name="connsiteX263" fmla="*/ 26080 w 502652"/>
              <a:gd name="connsiteY263" fmla="*/ 273139 h 518286"/>
              <a:gd name="connsiteX264" fmla="*/ 2364 w 502652"/>
              <a:gd name="connsiteY264" fmla="*/ 286038 h 518286"/>
              <a:gd name="connsiteX265" fmla="*/ 11735 w 502652"/>
              <a:gd name="connsiteY265" fmla="*/ 315539 h 518286"/>
              <a:gd name="connsiteX266" fmla="*/ 11735 w 502652"/>
              <a:gd name="connsiteY266" fmla="*/ 316696 h 518286"/>
              <a:gd name="connsiteX267" fmla="*/ 26312 w 502652"/>
              <a:gd name="connsiteY267" fmla="*/ 309002 h 518286"/>
              <a:gd name="connsiteX268" fmla="*/ 53209 w 502652"/>
              <a:gd name="connsiteY268" fmla="*/ 308482 h 518286"/>
              <a:gd name="connsiteX269" fmla="*/ 114987 w 502652"/>
              <a:gd name="connsiteY269" fmla="*/ 309002 h 518286"/>
              <a:gd name="connsiteX270" fmla="*/ 115912 w 502652"/>
              <a:gd name="connsiteY270" fmla="*/ 309580 h 518286"/>
              <a:gd name="connsiteX271" fmla="*/ 120887 w 502652"/>
              <a:gd name="connsiteY271" fmla="*/ 333413 h 518286"/>
              <a:gd name="connsiteX272" fmla="*/ 123374 w 502652"/>
              <a:gd name="connsiteY272" fmla="*/ 341684 h 518286"/>
              <a:gd name="connsiteX273" fmla="*/ 131762 w 502652"/>
              <a:gd name="connsiteY273" fmla="*/ 353253 h 518286"/>
              <a:gd name="connsiteX274" fmla="*/ 153395 w 502652"/>
              <a:gd name="connsiteY274" fmla="*/ 369565 h 518286"/>
              <a:gd name="connsiteX275" fmla="*/ 181739 w 502652"/>
              <a:gd name="connsiteY275" fmla="*/ 364301 h 518286"/>
              <a:gd name="connsiteX276" fmla="*/ 185499 w 502652"/>
              <a:gd name="connsiteY276" fmla="*/ 364648 h 518286"/>
              <a:gd name="connsiteX277" fmla="*/ 185499 w 502652"/>
              <a:gd name="connsiteY277" fmla="*/ 364648 h 518286"/>
              <a:gd name="connsiteX278" fmla="*/ 188449 w 502652"/>
              <a:gd name="connsiteY278" fmla="*/ 356261 h 518286"/>
              <a:gd name="connsiteX279" fmla="*/ 195622 w 502652"/>
              <a:gd name="connsiteY279" fmla="*/ 340527 h 518286"/>
              <a:gd name="connsiteX280" fmla="*/ 204993 w 502652"/>
              <a:gd name="connsiteY280" fmla="*/ 338792 h 518286"/>
              <a:gd name="connsiteX281" fmla="*/ 218239 w 502652"/>
              <a:gd name="connsiteY281" fmla="*/ 340412 h 518286"/>
              <a:gd name="connsiteX282" fmla="*/ 219106 w 502652"/>
              <a:gd name="connsiteY282" fmla="*/ 341279 h 518286"/>
              <a:gd name="connsiteX283" fmla="*/ 231254 w 502652"/>
              <a:gd name="connsiteY283" fmla="*/ 346428 h 518286"/>
              <a:gd name="connsiteX284" fmla="*/ 240798 w 502652"/>
              <a:gd name="connsiteY284" fmla="*/ 345560 h 518286"/>
              <a:gd name="connsiteX285" fmla="*/ 245484 w 502652"/>
              <a:gd name="connsiteY285" fmla="*/ 345039 h 518286"/>
              <a:gd name="connsiteX286" fmla="*/ 250574 w 502652"/>
              <a:gd name="connsiteY286" fmla="*/ 351228 h 518286"/>
              <a:gd name="connsiteX287" fmla="*/ 255086 w 502652"/>
              <a:gd name="connsiteY287" fmla="*/ 372226 h 518286"/>
              <a:gd name="connsiteX288" fmla="*/ 253408 w 502652"/>
              <a:gd name="connsiteY288" fmla="*/ 389232 h 518286"/>
              <a:gd name="connsiteX289" fmla="*/ 251326 w 502652"/>
              <a:gd name="connsiteY289" fmla="*/ 410866 h 518286"/>
              <a:gd name="connsiteX290" fmla="*/ 265093 w 502652"/>
              <a:gd name="connsiteY290" fmla="*/ 434004 h 518286"/>
              <a:gd name="connsiteX291" fmla="*/ 264630 w 502652"/>
              <a:gd name="connsiteY291" fmla="*/ 436028 h 518286"/>
              <a:gd name="connsiteX292" fmla="*/ 264225 w 502652"/>
              <a:gd name="connsiteY292" fmla="*/ 454481 h 518286"/>
              <a:gd name="connsiteX293" fmla="*/ 268564 w 502652"/>
              <a:gd name="connsiteY293" fmla="*/ 452109 h 518286"/>
              <a:gd name="connsiteX294" fmla="*/ 278513 w 502652"/>
              <a:gd name="connsiteY294" fmla="*/ 447192 h 518286"/>
              <a:gd name="connsiteX295" fmla="*/ 283603 w 502652"/>
              <a:gd name="connsiteY295" fmla="*/ 447192 h 518286"/>
              <a:gd name="connsiteX296" fmla="*/ 288288 w 502652"/>
              <a:gd name="connsiteY296" fmla="*/ 447192 h 518286"/>
              <a:gd name="connsiteX297" fmla="*/ 302287 w 502652"/>
              <a:gd name="connsiteY297" fmla="*/ 444705 h 518286"/>
              <a:gd name="connsiteX298" fmla="*/ 310616 w 502652"/>
              <a:gd name="connsiteY298" fmla="*/ 444994 h 518286"/>
              <a:gd name="connsiteX299" fmla="*/ 318252 w 502652"/>
              <a:gd name="connsiteY299" fmla="*/ 452398 h 518286"/>
              <a:gd name="connsiteX300" fmla="*/ 322822 w 502652"/>
              <a:gd name="connsiteY300" fmla="*/ 458182 h 518286"/>
              <a:gd name="connsiteX301" fmla="*/ 324036 w 502652"/>
              <a:gd name="connsiteY301" fmla="*/ 457835 h 518286"/>
              <a:gd name="connsiteX302" fmla="*/ 338208 w 502652"/>
              <a:gd name="connsiteY302" fmla="*/ 454134 h 518286"/>
              <a:gd name="connsiteX303" fmla="*/ 342141 w 502652"/>
              <a:gd name="connsiteY303" fmla="*/ 455464 h 518286"/>
              <a:gd name="connsiteX304" fmla="*/ 342604 w 502652"/>
              <a:gd name="connsiteY304" fmla="*/ 457893 h 518286"/>
              <a:gd name="connsiteX305" fmla="*/ 345554 w 502652"/>
              <a:gd name="connsiteY305" fmla="*/ 468190 h 518286"/>
              <a:gd name="connsiteX306" fmla="*/ 349488 w 502652"/>
              <a:gd name="connsiteY306" fmla="*/ 469983 h 518286"/>
              <a:gd name="connsiteX307" fmla="*/ 351860 w 502652"/>
              <a:gd name="connsiteY307" fmla="*/ 469462 h 518286"/>
              <a:gd name="connsiteX308" fmla="*/ 363428 w 502652"/>
              <a:gd name="connsiteY308" fmla="*/ 473453 h 518286"/>
              <a:gd name="connsiteX309" fmla="*/ 373320 w 502652"/>
              <a:gd name="connsiteY309" fmla="*/ 477098 h 518286"/>
              <a:gd name="connsiteX310" fmla="*/ 384252 w 502652"/>
              <a:gd name="connsiteY310" fmla="*/ 474610 h 518286"/>
              <a:gd name="connsiteX311" fmla="*/ 392408 w 502652"/>
              <a:gd name="connsiteY311" fmla="*/ 468248 h 51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502652" h="518286">
                <a:moveTo>
                  <a:pt x="448864" y="518109"/>
                </a:moveTo>
                <a:cubicBezTo>
                  <a:pt x="445856" y="518271"/>
                  <a:pt x="442906" y="517438"/>
                  <a:pt x="440419" y="515738"/>
                </a:cubicBezTo>
                <a:cubicBezTo>
                  <a:pt x="434056" y="509247"/>
                  <a:pt x="430007" y="500860"/>
                  <a:pt x="428850" y="491848"/>
                </a:cubicBezTo>
                <a:cubicBezTo>
                  <a:pt x="428850" y="490171"/>
                  <a:pt x="425495" y="488088"/>
                  <a:pt x="409414" y="488088"/>
                </a:cubicBezTo>
                <a:cubicBezTo>
                  <a:pt x="402936" y="488088"/>
                  <a:pt x="396920" y="477792"/>
                  <a:pt x="393855" y="471660"/>
                </a:cubicBezTo>
                <a:cubicBezTo>
                  <a:pt x="392177" y="468363"/>
                  <a:pt x="386277" y="473396"/>
                  <a:pt x="386277" y="476057"/>
                </a:cubicBezTo>
                <a:cubicBezTo>
                  <a:pt x="386277" y="480800"/>
                  <a:pt x="379566" y="480800"/>
                  <a:pt x="373088" y="480800"/>
                </a:cubicBezTo>
                <a:cubicBezTo>
                  <a:pt x="369271" y="480227"/>
                  <a:pt x="365569" y="478914"/>
                  <a:pt x="362213" y="476924"/>
                </a:cubicBezTo>
                <a:cubicBezTo>
                  <a:pt x="357586" y="474668"/>
                  <a:pt x="352612" y="472412"/>
                  <a:pt x="350644" y="473453"/>
                </a:cubicBezTo>
                <a:cubicBezTo>
                  <a:pt x="348678" y="474495"/>
                  <a:pt x="346017" y="473453"/>
                  <a:pt x="343993" y="471024"/>
                </a:cubicBezTo>
                <a:cubicBezTo>
                  <a:pt x="341274" y="467559"/>
                  <a:pt x="340059" y="463175"/>
                  <a:pt x="340579" y="458819"/>
                </a:cubicBezTo>
                <a:cubicBezTo>
                  <a:pt x="340637" y="458651"/>
                  <a:pt x="340637" y="458466"/>
                  <a:pt x="340579" y="458298"/>
                </a:cubicBezTo>
                <a:cubicBezTo>
                  <a:pt x="340579" y="458298"/>
                  <a:pt x="339712" y="457835"/>
                  <a:pt x="338382" y="457835"/>
                </a:cubicBezTo>
                <a:cubicBezTo>
                  <a:pt x="333812" y="458194"/>
                  <a:pt x="329358" y="459368"/>
                  <a:pt x="325193" y="461306"/>
                </a:cubicBezTo>
                <a:cubicBezTo>
                  <a:pt x="324499" y="461688"/>
                  <a:pt x="323747" y="461891"/>
                  <a:pt x="322995" y="461885"/>
                </a:cubicBezTo>
                <a:cubicBezTo>
                  <a:pt x="318599" y="461885"/>
                  <a:pt x="316574" y="455348"/>
                  <a:pt x="316401" y="454539"/>
                </a:cubicBezTo>
                <a:lnTo>
                  <a:pt x="316401" y="454539"/>
                </a:lnTo>
                <a:cubicBezTo>
                  <a:pt x="314723" y="451964"/>
                  <a:pt x="312467" y="449824"/>
                  <a:pt x="309807" y="448291"/>
                </a:cubicBezTo>
                <a:cubicBezTo>
                  <a:pt x="307782" y="447279"/>
                  <a:pt x="305352" y="447279"/>
                  <a:pt x="303328" y="448291"/>
                </a:cubicBezTo>
                <a:cubicBezTo>
                  <a:pt x="298642" y="450218"/>
                  <a:pt x="293552" y="451120"/>
                  <a:pt x="288462" y="450952"/>
                </a:cubicBezTo>
                <a:lnTo>
                  <a:pt x="283719" y="450952"/>
                </a:lnTo>
                <a:lnTo>
                  <a:pt x="278686" y="450952"/>
                </a:lnTo>
                <a:cubicBezTo>
                  <a:pt x="275447" y="451062"/>
                  <a:pt x="272381" y="452606"/>
                  <a:pt x="270357" y="455175"/>
                </a:cubicBezTo>
                <a:cubicBezTo>
                  <a:pt x="269084" y="456939"/>
                  <a:pt x="267175" y="458096"/>
                  <a:pt x="265035" y="458356"/>
                </a:cubicBezTo>
                <a:lnTo>
                  <a:pt x="263878" y="458356"/>
                </a:lnTo>
                <a:cubicBezTo>
                  <a:pt x="258846" y="457141"/>
                  <a:pt x="260523" y="447250"/>
                  <a:pt x="262605" y="437243"/>
                </a:cubicBezTo>
                <a:lnTo>
                  <a:pt x="263068" y="435218"/>
                </a:lnTo>
                <a:cubicBezTo>
                  <a:pt x="264109" y="429781"/>
                  <a:pt x="256127" y="419311"/>
                  <a:pt x="250111" y="414510"/>
                </a:cubicBezTo>
                <a:cubicBezTo>
                  <a:pt x="246178" y="411329"/>
                  <a:pt x="248839" y="400743"/>
                  <a:pt x="251384" y="390505"/>
                </a:cubicBezTo>
                <a:cubicBezTo>
                  <a:pt x="252830" y="384721"/>
                  <a:pt x="254797" y="376796"/>
                  <a:pt x="253640" y="375639"/>
                </a:cubicBezTo>
                <a:cubicBezTo>
                  <a:pt x="248954" y="370954"/>
                  <a:pt x="248491" y="358286"/>
                  <a:pt x="248491" y="353079"/>
                </a:cubicBezTo>
                <a:cubicBezTo>
                  <a:pt x="248491" y="349435"/>
                  <a:pt x="247392" y="349146"/>
                  <a:pt x="245657" y="349146"/>
                </a:cubicBezTo>
                <a:cubicBezTo>
                  <a:pt x="244153" y="349210"/>
                  <a:pt x="242707" y="349383"/>
                  <a:pt x="241261" y="349667"/>
                </a:cubicBezTo>
                <a:cubicBezTo>
                  <a:pt x="238022" y="350216"/>
                  <a:pt x="234724" y="350505"/>
                  <a:pt x="231427" y="350534"/>
                </a:cubicBezTo>
                <a:cubicBezTo>
                  <a:pt x="220958" y="350534"/>
                  <a:pt x="218008" y="346138"/>
                  <a:pt x="217256" y="344345"/>
                </a:cubicBezTo>
                <a:cubicBezTo>
                  <a:pt x="213264" y="343443"/>
                  <a:pt x="209215" y="342957"/>
                  <a:pt x="205166" y="342899"/>
                </a:cubicBezTo>
                <a:cubicBezTo>
                  <a:pt x="202274" y="342743"/>
                  <a:pt x="199422" y="343258"/>
                  <a:pt x="196779" y="344403"/>
                </a:cubicBezTo>
                <a:cubicBezTo>
                  <a:pt x="193424" y="346081"/>
                  <a:pt x="191978" y="352964"/>
                  <a:pt x="190994" y="358575"/>
                </a:cubicBezTo>
                <a:cubicBezTo>
                  <a:pt x="190011" y="364185"/>
                  <a:pt x="188854" y="368813"/>
                  <a:pt x="185962" y="368813"/>
                </a:cubicBezTo>
                <a:lnTo>
                  <a:pt x="185268" y="368813"/>
                </a:lnTo>
                <a:cubicBezTo>
                  <a:pt x="174769" y="368611"/>
                  <a:pt x="164311" y="370259"/>
                  <a:pt x="154379" y="373672"/>
                </a:cubicBezTo>
                <a:cubicBezTo>
                  <a:pt x="141422" y="377490"/>
                  <a:pt x="136274" y="370954"/>
                  <a:pt x="130026" y="356319"/>
                </a:cubicBezTo>
                <a:cubicBezTo>
                  <a:pt x="128424" y="352085"/>
                  <a:pt x="125734" y="348354"/>
                  <a:pt x="122217" y="345502"/>
                </a:cubicBezTo>
                <a:cubicBezTo>
                  <a:pt x="118747" y="343229"/>
                  <a:pt x="117405" y="338792"/>
                  <a:pt x="119036" y="334974"/>
                </a:cubicBezTo>
                <a:cubicBezTo>
                  <a:pt x="119967" y="327478"/>
                  <a:pt x="118423" y="319883"/>
                  <a:pt x="114640" y="313340"/>
                </a:cubicBezTo>
                <a:cubicBezTo>
                  <a:pt x="109723" y="313340"/>
                  <a:pt x="77504" y="312820"/>
                  <a:pt x="53556" y="312820"/>
                </a:cubicBezTo>
                <a:cubicBezTo>
                  <a:pt x="38401" y="312820"/>
                  <a:pt x="29435" y="312820"/>
                  <a:pt x="27006" y="313340"/>
                </a:cubicBezTo>
                <a:cubicBezTo>
                  <a:pt x="21528" y="315036"/>
                  <a:pt x="16449" y="317835"/>
                  <a:pt x="12082" y="321554"/>
                </a:cubicBezTo>
                <a:cubicBezTo>
                  <a:pt x="11758" y="321728"/>
                  <a:pt x="11365" y="321728"/>
                  <a:pt x="11041" y="321554"/>
                </a:cubicBezTo>
                <a:cubicBezTo>
                  <a:pt x="10705" y="321427"/>
                  <a:pt x="10451" y="321149"/>
                  <a:pt x="10347" y="320802"/>
                </a:cubicBezTo>
                <a:cubicBezTo>
                  <a:pt x="10347" y="319761"/>
                  <a:pt x="9768" y="318836"/>
                  <a:pt x="9595" y="317968"/>
                </a:cubicBezTo>
                <a:cubicBezTo>
                  <a:pt x="7599" y="307655"/>
                  <a:pt x="4371" y="297613"/>
                  <a:pt x="-7" y="288063"/>
                </a:cubicBezTo>
                <a:cubicBezTo>
                  <a:pt x="-239" y="287565"/>
                  <a:pt x="-65" y="286969"/>
                  <a:pt x="397" y="286674"/>
                </a:cubicBezTo>
                <a:cubicBezTo>
                  <a:pt x="7917" y="281526"/>
                  <a:pt x="21279" y="272849"/>
                  <a:pt x="25965" y="272849"/>
                </a:cubicBezTo>
                <a:lnTo>
                  <a:pt x="26948" y="272849"/>
                </a:lnTo>
                <a:cubicBezTo>
                  <a:pt x="28464" y="273474"/>
                  <a:pt x="29869" y="274330"/>
                  <a:pt x="31113" y="275395"/>
                </a:cubicBezTo>
                <a:cubicBezTo>
                  <a:pt x="32686" y="276922"/>
                  <a:pt x="34716" y="277899"/>
                  <a:pt x="36897" y="278171"/>
                </a:cubicBezTo>
                <a:cubicBezTo>
                  <a:pt x="39639" y="277928"/>
                  <a:pt x="42202" y="276719"/>
                  <a:pt x="44127" y="274758"/>
                </a:cubicBezTo>
                <a:cubicBezTo>
                  <a:pt x="48073" y="271265"/>
                  <a:pt x="53094" y="269223"/>
                  <a:pt x="58357" y="268974"/>
                </a:cubicBezTo>
                <a:cubicBezTo>
                  <a:pt x="63014" y="268366"/>
                  <a:pt x="67283" y="271652"/>
                  <a:pt x="67890" y="276309"/>
                </a:cubicBezTo>
                <a:cubicBezTo>
                  <a:pt x="67936" y="276673"/>
                  <a:pt x="67960" y="277049"/>
                  <a:pt x="67960" y="277419"/>
                </a:cubicBezTo>
                <a:cubicBezTo>
                  <a:pt x="67873" y="278692"/>
                  <a:pt x="68029" y="279964"/>
                  <a:pt x="68422" y="281179"/>
                </a:cubicBezTo>
                <a:cubicBezTo>
                  <a:pt x="68422" y="281815"/>
                  <a:pt x="68885" y="281815"/>
                  <a:pt x="69001" y="281815"/>
                </a:cubicBezTo>
                <a:lnTo>
                  <a:pt x="69001" y="281815"/>
                </a:lnTo>
                <a:cubicBezTo>
                  <a:pt x="70909" y="281815"/>
                  <a:pt x="75884" y="276783"/>
                  <a:pt x="77793" y="274874"/>
                </a:cubicBezTo>
                <a:cubicBezTo>
                  <a:pt x="80529" y="272161"/>
                  <a:pt x="84179" y="270571"/>
                  <a:pt x="88031" y="270420"/>
                </a:cubicBezTo>
                <a:cubicBezTo>
                  <a:pt x="92081" y="269899"/>
                  <a:pt x="94337" y="269610"/>
                  <a:pt x="94337" y="260471"/>
                </a:cubicBezTo>
                <a:cubicBezTo>
                  <a:pt x="94337" y="251332"/>
                  <a:pt x="96824" y="250753"/>
                  <a:pt x="100121" y="249943"/>
                </a:cubicBezTo>
                <a:cubicBezTo>
                  <a:pt x="102435" y="249365"/>
                  <a:pt x="104459" y="248844"/>
                  <a:pt x="104459" y="240225"/>
                </a:cubicBezTo>
                <a:cubicBezTo>
                  <a:pt x="104459" y="229061"/>
                  <a:pt x="105096" y="217955"/>
                  <a:pt x="105558" y="209047"/>
                </a:cubicBezTo>
                <a:cubicBezTo>
                  <a:pt x="105906" y="203263"/>
                  <a:pt x="106195" y="197999"/>
                  <a:pt x="106195" y="194644"/>
                </a:cubicBezTo>
                <a:cubicBezTo>
                  <a:pt x="106195" y="190363"/>
                  <a:pt x="110880" y="186546"/>
                  <a:pt x="116375" y="182150"/>
                </a:cubicBezTo>
                <a:cubicBezTo>
                  <a:pt x="121870" y="177753"/>
                  <a:pt x="129795" y="171275"/>
                  <a:pt x="129795" y="164276"/>
                </a:cubicBezTo>
                <a:cubicBezTo>
                  <a:pt x="129795" y="157277"/>
                  <a:pt x="134365" y="148137"/>
                  <a:pt x="139224" y="138072"/>
                </a:cubicBezTo>
                <a:cubicBezTo>
                  <a:pt x="144545" y="126966"/>
                  <a:pt x="150098" y="115455"/>
                  <a:pt x="150098" y="106778"/>
                </a:cubicBezTo>
                <a:cubicBezTo>
                  <a:pt x="149433" y="97876"/>
                  <a:pt x="152071" y="89043"/>
                  <a:pt x="157503" y="81963"/>
                </a:cubicBezTo>
                <a:cubicBezTo>
                  <a:pt x="158428" y="80575"/>
                  <a:pt x="159411" y="79129"/>
                  <a:pt x="160395" y="77509"/>
                </a:cubicBezTo>
                <a:cubicBezTo>
                  <a:pt x="164658" y="69024"/>
                  <a:pt x="166023" y="59369"/>
                  <a:pt x="164270" y="50033"/>
                </a:cubicBezTo>
                <a:lnTo>
                  <a:pt x="164270" y="31465"/>
                </a:lnTo>
                <a:cubicBezTo>
                  <a:pt x="164195" y="31240"/>
                  <a:pt x="164195" y="30997"/>
                  <a:pt x="164270" y="30771"/>
                </a:cubicBezTo>
                <a:cubicBezTo>
                  <a:pt x="164964" y="29903"/>
                  <a:pt x="181623" y="8443"/>
                  <a:pt x="193771" y="8443"/>
                </a:cubicBezTo>
                <a:cubicBezTo>
                  <a:pt x="205918" y="8443"/>
                  <a:pt x="214653" y="21227"/>
                  <a:pt x="216388" y="23714"/>
                </a:cubicBezTo>
                <a:lnTo>
                  <a:pt x="267060" y="33548"/>
                </a:lnTo>
                <a:cubicBezTo>
                  <a:pt x="267927" y="29903"/>
                  <a:pt x="271109" y="18450"/>
                  <a:pt x="275736" y="15384"/>
                </a:cubicBezTo>
                <a:cubicBezTo>
                  <a:pt x="279265" y="14043"/>
                  <a:pt x="283140" y="14043"/>
                  <a:pt x="286669" y="15384"/>
                </a:cubicBezTo>
                <a:cubicBezTo>
                  <a:pt x="290255" y="16478"/>
                  <a:pt x="294131" y="16478"/>
                  <a:pt x="297717" y="15384"/>
                </a:cubicBezTo>
                <a:lnTo>
                  <a:pt x="298122" y="15384"/>
                </a:lnTo>
                <a:cubicBezTo>
                  <a:pt x="306972" y="10404"/>
                  <a:pt x="316863" y="7552"/>
                  <a:pt x="327044" y="7055"/>
                </a:cubicBezTo>
                <a:cubicBezTo>
                  <a:pt x="330399" y="7107"/>
                  <a:pt x="333812" y="7570"/>
                  <a:pt x="337051" y="8443"/>
                </a:cubicBezTo>
                <a:cubicBezTo>
                  <a:pt x="338671" y="8871"/>
                  <a:pt x="340291" y="9138"/>
                  <a:pt x="341968" y="9253"/>
                </a:cubicBezTo>
                <a:cubicBezTo>
                  <a:pt x="344108" y="9253"/>
                  <a:pt x="345901" y="8386"/>
                  <a:pt x="347752" y="4336"/>
                </a:cubicBezTo>
                <a:cubicBezTo>
                  <a:pt x="349546" y="1230"/>
                  <a:pt x="353016" y="-505"/>
                  <a:pt x="356545" y="-60"/>
                </a:cubicBezTo>
                <a:cubicBezTo>
                  <a:pt x="364527" y="773"/>
                  <a:pt x="372220" y="3174"/>
                  <a:pt x="379278" y="6997"/>
                </a:cubicBezTo>
                <a:lnTo>
                  <a:pt x="397788" y="3931"/>
                </a:lnTo>
                <a:cubicBezTo>
                  <a:pt x="397672" y="3526"/>
                  <a:pt x="397845" y="3110"/>
                  <a:pt x="398135" y="2832"/>
                </a:cubicBezTo>
                <a:cubicBezTo>
                  <a:pt x="398540" y="2578"/>
                  <a:pt x="399002" y="2578"/>
                  <a:pt x="399407" y="2832"/>
                </a:cubicBezTo>
                <a:cubicBezTo>
                  <a:pt x="402820" y="4423"/>
                  <a:pt x="405481" y="7176"/>
                  <a:pt x="407042" y="10584"/>
                </a:cubicBezTo>
                <a:cubicBezTo>
                  <a:pt x="409530" y="15957"/>
                  <a:pt x="413521" y="20475"/>
                  <a:pt x="418611" y="23541"/>
                </a:cubicBezTo>
                <a:cubicBezTo>
                  <a:pt x="421273" y="25235"/>
                  <a:pt x="424338" y="26213"/>
                  <a:pt x="427520" y="26375"/>
                </a:cubicBezTo>
                <a:cubicBezTo>
                  <a:pt x="430007" y="26433"/>
                  <a:pt x="432378" y="25473"/>
                  <a:pt x="434114" y="23714"/>
                </a:cubicBezTo>
                <a:cubicBezTo>
                  <a:pt x="435849" y="21840"/>
                  <a:pt x="438336" y="20776"/>
                  <a:pt x="440882" y="20764"/>
                </a:cubicBezTo>
                <a:cubicBezTo>
                  <a:pt x="444352" y="21025"/>
                  <a:pt x="447591" y="22430"/>
                  <a:pt x="450137" y="24755"/>
                </a:cubicBezTo>
                <a:cubicBezTo>
                  <a:pt x="453087" y="22517"/>
                  <a:pt x="456558" y="21134"/>
                  <a:pt x="460260" y="20764"/>
                </a:cubicBezTo>
                <a:cubicBezTo>
                  <a:pt x="461648" y="20741"/>
                  <a:pt x="463036" y="21146"/>
                  <a:pt x="464193" y="21921"/>
                </a:cubicBezTo>
                <a:cubicBezTo>
                  <a:pt x="475183" y="30279"/>
                  <a:pt x="485768" y="39199"/>
                  <a:pt x="495891" y="48645"/>
                </a:cubicBezTo>
                <a:cubicBezTo>
                  <a:pt x="496181" y="48877"/>
                  <a:pt x="496354" y="49253"/>
                  <a:pt x="496297" y="49629"/>
                </a:cubicBezTo>
                <a:cubicBezTo>
                  <a:pt x="496239" y="49923"/>
                  <a:pt x="496065" y="50195"/>
                  <a:pt x="495834" y="50380"/>
                </a:cubicBezTo>
                <a:cubicBezTo>
                  <a:pt x="495371" y="53446"/>
                  <a:pt x="493462" y="67386"/>
                  <a:pt x="493462" y="73229"/>
                </a:cubicBezTo>
                <a:cubicBezTo>
                  <a:pt x="493462" y="76179"/>
                  <a:pt x="495660" y="77914"/>
                  <a:pt x="497974" y="79765"/>
                </a:cubicBezTo>
                <a:cubicBezTo>
                  <a:pt x="500287" y="81616"/>
                  <a:pt x="502543" y="83409"/>
                  <a:pt x="502543" y="86533"/>
                </a:cubicBezTo>
                <a:cubicBezTo>
                  <a:pt x="502081" y="90154"/>
                  <a:pt x="500345" y="93503"/>
                  <a:pt x="497685" y="96019"/>
                </a:cubicBezTo>
                <a:cubicBezTo>
                  <a:pt x="496354" y="97332"/>
                  <a:pt x="495313" y="98935"/>
                  <a:pt x="494677" y="100705"/>
                </a:cubicBezTo>
                <a:cubicBezTo>
                  <a:pt x="494098" y="104291"/>
                  <a:pt x="490165" y="107068"/>
                  <a:pt x="482414" y="109439"/>
                </a:cubicBezTo>
                <a:cubicBezTo>
                  <a:pt x="479522" y="110307"/>
                  <a:pt x="478365" y="113373"/>
                  <a:pt x="477092" y="116670"/>
                </a:cubicBezTo>
                <a:cubicBezTo>
                  <a:pt x="476283" y="119637"/>
                  <a:pt x="474663" y="122321"/>
                  <a:pt x="472407" y="124421"/>
                </a:cubicBezTo>
                <a:cubicBezTo>
                  <a:pt x="469919" y="127180"/>
                  <a:pt x="468531" y="130732"/>
                  <a:pt x="468473" y="134428"/>
                </a:cubicBezTo>
                <a:cubicBezTo>
                  <a:pt x="468068" y="137488"/>
                  <a:pt x="467259" y="140479"/>
                  <a:pt x="466102" y="143336"/>
                </a:cubicBezTo>
                <a:cubicBezTo>
                  <a:pt x="462978" y="150653"/>
                  <a:pt x="461358" y="158520"/>
                  <a:pt x="461358" y="166474"/>
                </a:cubicBezTo>
                <a:cubicBezTo>
                  <a:pt x="461879" y="173664"/>
                  <a:pt x="460202" y="180842"/>
                  <a:pt x="456558" y="187066"/>
                </a:cubicBezTo>
                <a:cubicBezTo>
                  <a:pt x="455632" y="188414"/>
                  <a:pt x="454302" y="189438"/>
                  <a:pt x="452740" y="190016"/>
                </a:cubicBezTo>
                <a:cubicBezTo>
                  <a:pt x="447939" y="191752"/>
                  <a:pt x="447707" y="202453"/>
                  <a:pt x="448055" y="206444"/>
                </a:cubicBezTo>
                <a:cubicBezTo>
                  <a:pt x="448112" y="207063"/>
                  <a:pt x="447649" y="207595"/>
                  <a:pt x="447013" y="207659"/>
                </a:cubicBezTo>
                <a:cubicBezTo>
                  <a:pt x="443831" y="208029"/>
                  <a:pt x="441576" y="210904"/>
                  <a:pt x="441923" y="214074"/>
                </a:cubicBezTo>
                <a:cubicBezTo>
                  <a:pt x="441923" y="214172"/>
                  <a:pt x="441981" y="214270"/>
                  <a:pt x="441981" y="214369"/>
                </a:cubicBezTo>
                <a:cubicBezTo>
                  <a:pt x="441865" y="217452"/>
                  <a:pt x="443831" y="220240"/>
                  <a:pt x="446724" y="221252"/>
                </a:cubicBezTo>
                <a:cubicBezTo>
                  <a:pt x="447245" y="221455"/>
                  <a:pt x="447765" y="221611"/>
                  <a:pt x="448285" y="221715"/>
                </a:cubicBezTo>
                <a:cubicBezTo>
                  <a:pt x="448807" y="221796"/>
                  <a:pt x="449211" y="222236"/>
                  <a:pt x="449211" y="222756"/>
                </a:cubicBezTo>
                <a:lnTo>
                  <a:pt x="450541" y="243175"/>
                </a:lnTo>
                <a:cubicBezTo>
                  <a:pt x="450599" y="243308"/>
                  <a:pt x="450599" y="243447"/>
                  <a:pt x="450541" y="243580"/>
                </a:cubicBezTo>
                <a:cubicBezTo>
                  <a:pt x="450541" y="244188"/>
                  <a:pt x="450079" y="244679"/>
                  <a:pt x="449443" y="244679"/>
                </a:cubicBezTo>
                <a:cubicBezTo>
                  <a:pt x="449443" y="244679"/>
                  <a:pt x="449385" y="244679"/>
                  <a:pt x="449385" y="244679"/>
                </a:cubicBezTo>
                <a:lnTo>
                  <a:pt x="449385" y="244679"/>
                </a:lnTo>
                <a:cubicBezTo>
                  <a:pt x="448922" y="244697"/>
                  <a:pt x="448517" y="244448"/>
                  <a:pt x="448343" y="244043"/>
                </a:cubicBezTo>
                <a:cubicBezTo>
                  <a:pt x="447591" y="242250"/>
                  <a:pt x="447129" y="242076"/>
                  <a:pt x="447071" y="242076"/>
                </a:cubicBezTo>
                <a:cubicBezTo>
                  <a:pt x="446087" y="242828"/>
                  <a:pt x="444468" y="252026"/>
                  <a:pt x="445393" y="273139"/>
                </a:cubicBezTo>
                <a:cubicBezTo>
                  <a:pt x="446724" y="303565"/>
                  <a:pt x="452393" y="337288"/>
                  <a:pt x="459508" y="341164"/>
                </a:cubicBezTo>
                <a:cubicBezTo>
                  <a:pt x="465639" y="344519"/>
                  <a:pt x="471077" y="353600"/>
                  <a:pt x="475704" y="362392"/>
                </a:cubicBezTo>
                <a:cubicBezTo>
                  <a:pt x="477092" y="364822"/>
                  <a:pt x="478481" y="367251"/>
                  <a:pt x="479869" y="369507"/>
                </a:cubicBezTo>
                <a:cubicBezTo>
                  <a:pt x="480042" y="369814"/>
                  <a:pt x="480042" y="370184"/>
                  <a:pt x="479869" y="370491"/>
                </a:cubicBezTo>
                <a:cubicBezTo>
                  <a:pt x="479348" y="371966"/>
                  <a:pt x="478770" y="373417"/>
                  <a:pt x="478075" y="374829"/>
                </a:cubicBezTo>
                <a:cubicBezTo>
                  <a:pt x="477844" y="375246"/>
                  <a:pt x="477497" y="375616"/>
                  <a:pt x="477150" y="375928"/>
                </a:cubicBezTo>
                <a:lnTo>
                  <a:pt x="476861" y="375928"/>
                </a:lnTo>
                <a:cubicBezTo>
                  <a:pt x="472696" y="380613"/>
                  <a:pt x="461648" y="381250"/>
                  <a:pt x="451409" y="381250"/>
                </a:cubicBezTo>
                <a:lnTo>
                  <a:pt x="443427" y="381250"/>
                </a:lnTo>
                <a:cubicBezTo>
                  <a:pt x="442385" y="381128"/>
                  <a:pt x="441344" y="381470"/>
                  <a:pt x="440535" y="382175"/>
                </a:cubicBezTo>
                <a:cubicBezTo>
                  <a:pt x="439378" y="383332"/>
                  <a:pt x="439493" y="385877"/>
                  <a:pt x="439667" y="388596"/>
                </a:cubicBezTo>
                <a:cubicBezTo>
                  <a:pt x="440535" y="392367"/>
                  <a:pt x="439493" y="396312"/>
                  <a:pt x="436890" y="399182"/>
                </a:cubicBezTo>
                <a:cubicBezTo>
                  <a:pt x="433536" y="401432"/>
                  <a:pt x="431453" y="405070"/>
                  <a:pt x="431106" y="409073"/>
                </a:cubicBezTo>
                <a:cubicBezTo>
                  <a:pt x="431222" y="410247"/>
                  <a:pt x="431974" y="411271"/>
                  <a:pt x="433015" y="411792"/>
                </a:cubicBezTo>
                <a:cubicBezTo>
                  <a:pt x="437064" y="413816"/>
                  <a:pt x="435386" y="423360"/>
                  <a:pt x="433767" y="433020"/>
                </a:cubicBezTo>
                <a:cubicBezTo>
                  <a:pt x="433072" y="436358"/>
                  <a:pt x="432668" y="439742"/>
                  <a:pt x="432436" y="443143"/>
                </a:cubicBezTo>
                <a:cubicBezTo>
                  <a:pt x="431858" y="447661"/>
                  <a:pt x="430643" y="452069"/>
                  <a:pt x="428734" y="456216"/>
                </a:cubicBezTo>
                <a:cubicBezTo>
                  <a:pt x="427172" y="460149"/>
                  <a:pt x="424627" y="466744"/>
                  <a:pt x="425900" y="467785"/>
                </a:cubicBezTo>
                <a:cubicBezTo>
                  <a:pt x="428040" y="469884"/>
                  <a:pt x="429833" y="472354"/>
                  <a:pt x="431106" y="475073"/>
                </a:cubicBezTo>
                <a:cubicBezTo>
                  <a:pt x="434346" y="480511"/>
                  <a:pt x="438741" y="488030"/>
                  <a:pt x="443774" y="489419"/>
                </a:cubicBezTo>
                <a:cubicBezTo>
                  <a:pt x="444699" y="489696"/>
                  <a:pt x="445625" y="489829"/>
                  <a:pt x="446551" y="489823"/>
                </a:cubicBezTo>
                <a:cubicBezTo>
                  <a:pt x="450079" y="489476"/>
                  <a:pt x="453492" y="488111"/>
                  <a:pt x="456268" y="485890"/>
                </a:cubicBezTo>
                <a:cubicBezTo>
                  <a:pt x="457772" y="484554"/>
                  <a:pt x="459623" y="483669"/>
                  <a:pt x="461590" y="483345"/>
                </a:cubicBezTo>
                <a:cubicBezTo>
                  <a:pt x="466044" y="483345"/>
                  <a:pt x="466391" y="491848"/>
                  <a:pt x="466391" y="503880"/>
                </a:cubicBezTo>
                <a:cubicBezTo>
                  <a:pt x="466680" y="508802"/>
                  <a:pt x="464714" y="513586"/>
                  <a:pt x="461070" y="516895"/>
                </a:cubicBezTo>
                <a:lnTo>
                  <a:pt x="461070" y="516895"/>
                </a:lnTo>
                <a:cubicBezTo>
                  <a:pt x="457078" y="517901"/>
                  <a:pt x="452971" y="518306"/>
                  <a:pt x="448864" y="518109"/>
                </a:cubicBezTo>
                <a:close/>
                <a:moveTo>
                  <a:pt x="392408" y="468248"/>
                </a:moveTo>
                <a:cubicBezTo>
                  <a:pt x="394028" y="468236"/>
                  <a:pt x="395474" y="469196"/>
                  <a:pt x="396110" y="470677"/>
                </a:cubicBezTo>
                <a:cubicBezTo>
                  <a:pt x="400796" y="480164"/>
                  <a:pt x="405828" y="485832"/>
                  <a:pt x="409646" y="485832"/>
                </a:cubicBezTo>
                <a:cubicBezTo>
                  <a:pt x="420925" y="485832"/>
                  <a:pt x="431338" y="486584"/>
                  <a:pt x="431338" y="491617"/>
                </a:cubicBezTo>
                <a:cubicBezTo>
                  <a:pt x="432378" y="499912"/>
                  <a:pt x="436023" y="507657"/>
                  <a:pt x="441807" y="513713"/>
                </a:cubicBezTo>
                <a:cubicBezTo>
                  <a:pt x="443889" y="515096"/>
                  <a:pt x="446377" y="515767"/>
                  <a:pt x="448864" y="515622"/>
                </a:cubicBezTo>
                <a:cubicBezTo>
                  <a:pt x="452624" y="515495"/>
                  <a:pt x="456384" y="514812"/>
                  <a:pt x="459970" y="513597"/>
                </a:cubicBezTo>
                <a:cubicBezTo>
                  <a:pt x="462920" y="510682"/>
                  <a:pt x="464482" y="506639"/>
                  <a:pt x="464251" y="502491"/>
                </a:cubicBezTo>
                <a:cubicBezTo>
                  <a:pt x="464251" y="496707"/>
                  <a:pt x="464251" y="484212"/>
                  <a:pt x="461706" y="484212"/>
                </a:cubicBezTo>
                <a:cubicBezTo>
                  <a:pt x="460202" y="484629"/>
                  <a:pt x="458814" y="485358"/>
                  <a:pt x="457598" y="486353"/>
                </a:cubicBezTo>
                <a:cubicBezTo>
                  <a:pt x="454475" y="488880"/>
                  <a:pt x="450657" y="490396"/>
                  <a:pt x="446666" y="490691"/>
                </a:cubicBezTo>
                <a:cubicBezTo>
                  <a:pt x="445509" y="490709"/>
                  <a:pt x="444352" y="490552"/>
                  <a:pt x="443253" y="490228"/>
                </a:cubicBezTo>
                <a:cubicBezTo>
                  <a:pt x="437469" y="488551"/>
                  <a:pt x="432899" y="480916"/>
                  <a:pt x="429313" y="474784"/>
                </a:cubicBezTo>
                <a:cubicBezTo>
                  <a:pt x="428098" y="472407"/>
                  <a:pt x="426536" y="470209"/>
                  <a:pt x="424743" y="468248"/>
                </a:cubicBezTo>
                <a:cubicBezTo>
                  <a:pt x="421967" y="466455"/>
                  <a:pt x="424049" y="461017"/>
                  <a:pt x="426710" y="454134"/>
                </a:cubicBezTo>
                <a:cubicBezTo>
                  <a:pt x="428503" y="450269"/>
                  <a:pt x="429718" y="446157"/>
                  <a:pt x="430296" y="441928"/>
                </a:cubicBezTo>
                <a:cubicBezTo>
                  <a:pt x="430528" y="438411"/>
                  <a:pt x="430990" y="434912"/>
                  <a:pt x="431684" y="431458"/>
                </a:cubicBezTo>
                <a:cubicBezTo>
                  <a:pt x="432842" y="424460"/>
                  <a:pt x="434692" y="414105"/>
                  <a:pt x="432147" y="412601"/>
                </a:cubicBezTo>
                <a:cubicBezTo>
                  <a:pt x="430354" y="411780"/>
                  <a:pt x="429139" y="410050"/>
                  <a:pt x="429024" y="408089"/>
                </a:cubicBezTo>
                <a:cubicBezTo>
                  <a:pt x="429197" y="403300"/>
                  <a:pt x="431684" y="398881"/>
                  <a:pt x="435618" y="396174"/>
                </a:cubicBezTo>
                <a:cubicBezTo>
                  <a:pt x="437874" y="394380"/>
                  <a:pt x="437700" y="390910"/>
                  <a:pt x="437527" y="387497"/>
                </a:cubicBezTo>
                <a:cubicBezTo>
                  <a:pt x="436890" y="384714"/>
                  <a:pt x="437411" y="381799"/>
                  <a:pt x="438973" y="379399"/>
                </a:cubicBezTo>
                <a:cubicBezTo>
                  <a:pt x="440187" y="378213"/>
                  <a:pt x="441865" y="377623"/>
                  <a:pt x="443543" y="377779"/>
                </a:cubicBezTo>
                <a:lnTo>
                  <a:pt x="451814" y="377779"/>
                </a:lnTo>
                <a:cubicBezTo>
                  <a:pt x="460260" y="377779"/>
                  <a:pt x="471944" y="377316"/>
                  <a:pt x="475589" y="373209"/>
                </a:cubicBezTo>
                <a:lnTo>
                  <a:pt x="475993" y="372805"/>
                </a:lnTo>
                <a:cubicBezTo>
                  <a:pt x="476167" y="372677"/>
                  <a:pt x="476340" y="372498"/>
                  <a:pt x="476456" y="372284"/>
                </a:cubicBezTo>
                <a:cubicBezTo>
                  <a:pt x="477035" y="371115"/>
                  <a:pt x="477555" y="369918"/>
                  <a:pt x="478018" y="368698"/>
                </a:cubicBezTo>
                <a:cubicBezTo>
                  <a:pt x="476687" y="366557"/>
                  <a:pt x="475415" y="364301"/>
                  <a:pt x="474085" y="361988"/>
                </a:cubicBezTo>
                <a:cubicBezTo>
                  <a:pt x="469283" y="353484"/>
                  <a:pt x="464308" y="344634"/>
                  <a:pt x="458814" y="341684"/>
                </a:cubicBezTo>
                <a:cubicBezTo>
                  <a:pt x="446897" y="335206"/>
                  <a:pt x="441865" y="271924"/>
                  <a:pt x="443543" y="249133"/>
                </a:cubicBezTo>
                <a:cubicBezTo>
                  <a:pt x="444237" y="240515"/>
                  <a:pt x="445567" y="238895"/>
                  <a:pt x="446839" y="238432"/>
                </a:cubicBezTo>
                <a:cubicBezTo>
                  <a:pt x="447303" y="238224"/>
                  <a:pt x="447881" y="238224"/>
                  <a:pt x="448343" y="238432"/>
                </a:cubicBezTo>
                <a:lnTo>
                  <a:pt x="447303" y="222178"/>
                </a:lnTo>
                <a:lnTo>
                  <a:pt x="446203" y="221773"/>
                </a:lnTo>
                <a:cubicBezTo>
                  <a:pt x="442385" y="220443"/>
                  <a:pt x="439898" y="216822"/>
                  <a:pt x="440014" y="212807"/>
                </a:cubicBezTo>
                <a:cubicBezTo>
                  <a:pt x="439609" y="208879"/>
                  <a:pt x="442039" y="205218"/>
                  <a:pt x="445799" y="204015"/>
                </a:cubicBezTo>
                <a:cubicBezTo>
                  <a:pt x="445799" y="200428"/>
                  <a:pt x="445799" y="188628"/>
                  <a:pt x="452046" y="186314"/>
                </a:cubicBezTo>
                <a:cubicBezTo>
                  <a:pt x="453202" y="185863"/>
                  <a:pt x="454186" y="185076"/>
                  <a:pt x="454880" y="184059"/>
                </a:cubicBezTo>
                <a:cubicBezTo>
                  <a:pt x="458119" y="178222"/>
                  <a:pt x="459623" y="171576"/>
                  <a:pt x="459160" y="164912"/>
                </a:cubicBezTo>
                <a:cubicBezTo>
                  <a:pt x="459218" y="156640"/>
                  <a:pt x="460896" y="148455"/>
                  <a:pt x="464135" y="140849"/>
                </a:cubicBezTo>
                <a:cubicBezTo>
                  <a:pt x="465234" y="138159"/>
                  <a:pt x="465928" y="135336"/>
                  <a:pt x="466275" y="132461"/>
                </a:cubicBezTo>
                <a:cubicBezTo>
                  <a:pt x="466391" y="128135"/>
                  <a:pt x="468126" y="124010"/>
                  <a:pt x="471134" y="120892"/>
                </a:cubicBezTo>
                <a:cubicBezTo>
                  <a:pt x="473043" y="119059"/>
                  <a:pt x="474373" y="116739"/>
                  <a:pt x="475067" y="114183"/>
                </a:cubicBezTo>
                <a:cubicBezTo>
                  <a:pt x="476456" y="110538"/>
                  <a:pt x="477902" y="106778"/>
                  <a:pt x="481778" y="105622"/>
                </a:cubicBezTo>
                <a:cubicBezTo>
                  <a:pt x="488488" y="103597"/>
                  <a:pt x="492074" y="101226"/>
                  <a:pt x="492479" y="98623"/>
                </a:cubicBezTo>
                <a:cubicBezTo>
                  <a:pt x="493173" y="96430"/>
                  <a:pt x="494388" y="94440"/>
                  <a:pt x="496007" y="92838"/>
                </a:cubicBezTo>
                <a:cubicBezTo>
                  <a:pt x="498263" y="90681"/>
                  <a:pt x="499767" y="87869"/>
                  <a:pt x="500345" y="84798"/>
                </a:cubicBezTo>
                <a:cubicBezTo>
                  <a:pt x="500345" y="82773"/>
                  <a:pt x="498610" y="81385"/>
                  <a:pt x="496585" y="79765"/>
                </a:cubicBezTo>
                <a:cubicBezTo>
                  <a:pt x="493578" y="78047"/>
                  <a:pt x="491553" y="74958"/>
                  <a:pt x="491264" y="71494"/>
                </a:cubicBezTo>
                <a:cubicBezTo>
                  <a:pt x="491264" y="65073"/>
                  <a:pt x="493404" y="49802"/>
                  <a:pt x="493693" y="47893"/>
                </a:cubicBezTo>
                <a:cubicBezTo>
                  <a:pt x="481026" y="36324"/>
                  <a:pt x="466449" y="24293"/>
                  <a:pt x="463036" y="22037"/>
                </a:cubicBezTo>
                <a:cubicBezTo>
                  <a:pt x="462226" y="21539"/>
                  <a:pt x="461300" y="21279"/>
                  <a:pt x="460318" y="21285"/>
                </a:cubicBezTo>
                <a:cubicBezTo>
                  <a:pt x="456846" y="21771"/>
                  <a:pt x="453550" y="23188"/>
                  <a:pt x="450831" y="25392"/>
                </a:cubicBezTo>
                <a:cubicBezTo>
                  <a:pt x="450426" y="25762"/>
                  <a:pt x="449732" y="25762"/>
                  <a:pt x="449327" y="25392"/>
                </a:cubicBezTo>
                <a:cubicBezTo>
                  <a:pt x="447071" y="23165"/>
                  <a:pt x="444121" y="21759"/>
                  <a:pt x="440939" y="21401"/>
                </a:cubicBezTo>
                <a:cubicBezTo>
                  <a:pt x="438973" y="21447"/>
                  <a:pt x="437064" y="22280"/>
                  <a:pt x="435734" y="23714"/>
                </a:cubicBezTo>
                <a:cubicBezTo>
                  <a:pt x="433594" y="25889"/>
                  <a:pt x="430643" y="27081"/>
                  <a:pt x="427577" y="27011"/>
                </a:cubicBezTo>
                <a:cubicBezTo>
                  <a:pt x="423991" y="26884"/>
                  <a:pt x="420463" y="25779"/>
                  <a:pt x="417455" y="23830"/>
                </a:cubicBezTo>
                <a:cubicBezTo>
                  <a:pt x="412075" y="20446"/>
                  <a:pt x="407794" y="15558"/>
                  <a:pt x="405192" y="9774"/>
                </a:cubicBezTo>
                <a:cubicBezTo>
                  <a:pt x="404266" y="7356"/>
                  <a:pt x="402531" y="5320"/>
                  <a:pt x="400333" y="3989"/>
                </a:cubicBezTo>
                <a:lnTo>
                  <a:pt x="399812" y="3989"/>
                </a:lnTo>
                <a:lnTo>
                  <a:pt x="379566" y="7286"/>
                </a:lnTo>
                <a:cubicBezTo>
                  <a:pt x="379336" y="7373"/>
                  <a:pt x="379104" y="7373"/>
                  <a:pt x="378872" y="7286"/>
                </a:cubicBezTo>
                <a:cubicBezTo>
                  <a:pt x="372047" y="3625"/>
                  <a:pt x="364527" y="1270"/>
                  <a:pt x="356834" y="345"/>
                </a:cubicBezTo>
                <a:cubicBezTo>
                  <a:pt x="354173" y="-60"/>
                  <a:pt x="351512" y="1166"/>
                  <a:pt x="350066" y="3469"/>
                </a:cubicBezTo>
                <a:cubicBezTo>
                  <a:pt x="347926" y="7807"/>
                  <a:pt x="345554" y="9658"/>
                  <a:pt x="342083" y="9658"/>
                </a:cubicBezTo>
                <a:cubicBezTo>
                  <a:pt x="340233" y="9571"/>
                  <a:pt x="338439" y="9276"/>
                  <a:pt x="336646" y="8790"/>
                </a:cubicBezTo>
                <a:cubicBezTo>
                  <a:pt x="333523" y="7957"/>
                  <a:pt x="330341" y="7512"/>
                  <a:pt x="327160" y="7460"/>
                </a:cubicBezTo>
                <a:cubicBezTo>
                  <a:pt x="317384" y="7992"/>
                  <a:pt x="307898" y="10763"/>
                  <a:pt x="299394" y="15558"/>
                </a:cubicBezTo>
                <a:lnTo>
                  <a:pt x="299047" y="15558"/>
                </a:lnTo>
                <a:cubicBezTo>
                  <a:pt x="294941" y="16866"/>
                  <a:pt x="290602" y="16866"/>
                  <a:pt x="286495" y="15558"/>
                </a:cubicBezTo>
                <a:cubicBezTo>
                  <a:pt x="283487" y="14563"/>
                  <a:pt x="280306" y="14563"/>
                  <a:pt x="277298" y="15558"/>
                </a:cubicBezTo>
                <a:cubicBezTo>
                  <a:pt x="273422" y="18161"/>
                  <a:pt x="270183" y="29325"/>
                  <a:pt x="269316" y="33432"/>
                </a:cubicBezTo>
                <a:cubicBezTo>
                  <a:pt x="269142" y="33999"/>
                  <a:pt x="268564" y="34358"/>
                  <a:pt x="267985" y="34300"/>
                </a:cubicBezTo>
                <a:lnTo>
                  <a:pt x="215925" y="24177"/>
                </a:lnTo>
                <a:cubicBezTo>
                  <a:pt x="215636" y="24131"/>
                  <a:pt x="215347" y="23963"/>
                  <a:pt x="215173" y="23714"/>
                </a:cubicBezTo>
                <a:cubicBezTo>
                  <a:pt x="215173" y="23714"/>
                  <a:pt x="205282" y="9022"/>
                  <a:pt x="194176" y="9022"/>
                </a:cubicBezTo>
                <a:cubicBezTo>
                  <a:pt x="183070" y="9022"/>
                  <a:pt x="168782" y="27590"/>
                  <a:pt x="166700" y="30193"/>
                </a:cubicBezTo>
                <a:lnTo>
                  <a:pt x="166700" y="48125"/>
                </a:lnTo>
                <a:cubicBezTo>
                  <a:pt x="168562" y="57964"/>
                  <a:pt x="167076" y="68150"/>
                  <a:pt x="162477" y="77047"/>
                </a:cubicBezTo>
                <a:cubicBezTo>
                  <a:pt x="161494" y="78724"/>
                  <a:pt x="160511" y="80170"/>
                  <a:pt x="159527" y="81558"/>
                </a:cubicBezTo>
                <a:cubicBezTo>
                  <a:pt x="154390" y="88303"/>
                  <a:pt x="151897" y="96702"/>
                  <a:pt x="152528" y="105159"/>
                </a:cubicBezTo>
                <a:cubicBezTo>
                  <a:pt x="152528" y="114356"/>
                  <a:pt x="146744" y="126099"/>
                  <a:pt x="141422" y="137436"/>
                </a:cubicBezTo>
                <a:cubicBezTo>
                  <a:pt x="136678" y="147269"/>
                  <a:pt x="132225" y="156525"/>
                  <a:pt x="132225" y="162656"/>
                </a:cubicBezTo>
                <a:cubicBezTo>
                  <a:pt x="132225" y="170697"/>
                  <a:pt x="124647" y="176828"/>
                  <a:pt x="117937" y="182265"/>
                </a:cubicBezTo>
                <a:cubicBezTo>
                  <a:pt x="113136" y="186141"/>
                  <a:pt x="108624" y="189843"/>
                  <a:pt x="108624" y="193024"/>
                </a:cubicBezTo>
                <a:cubicBezTo>
                  <a:pt x="108624" y="196206"/>
                  <a:pt x="108624" y="201585"/>
                  <a:pt x="107988" y="207543"/>
                </a:cubicBezTo>
                <a:cubicBezTo>
                  <a:pt x="107525" y="216451"/>
                  <a:pt x="106947" y="227500"/>
                  <a:pt x="106947" y="238606"/>
                </a:cubicBezTo>
                <a:cubicBezTo>
                  <a:pt x="106947" y="248208"/>
                  <a:pt x="104286" y="249654"/>
                  <a:pt x="100815" y="250175"/>
                </a:cubicBezTo>
                <a:cubicBezTo>
                  <a:pt x="98559" y="250753"/>
                  <a:pt x="96766" y="251216"/>
                  <a:pt x="96766" y="258562"/>
                </a:cubicBezTo>
                <a:cubicBezTo>
                  <a:pt x="96766" y="268974"/>
                  <a:pt x="93643" y="270131"/>
                  <a:pt x="88494" y="270767"/>
                </a:cubicBezTo>
                <a:cubicBezTo>
                  <a:pt x="85151" y="270871"/>
                  <a:pt x="81970" y="272231"/>
                  <a:pt x="79586" y="274585"/>
                </a:cubicBezTo>
                <a:cubicBezTo>
                  <a:pt x="73802" y="280369"/>
                  <a:pt x="71199" y="282162"/>
                  <a:pt x="69174" y="282162"/>
                </a:cubicBezTo>
                <a:cubicBezTo>
                  <a:pt x="67896" y="282145"/>
                  <a:pt x="66774" y="281301"/>
                  <a:pt x="66398" y="280080"/>
                </a:cubicBezTo>
                <a:cubicBezTo>
                  <a:pt x="65935" y="278605"/>
                  <a:pt x="65738" y="277055"/>
                  <a:pt x="65819" y="275510"/>
                </a:cubicBezTo>
                <a:cubicBezTo>
                  <a:pt x="65819" y="270941"/>
                  <a:pt x="62002" y="269321"/>
                  <a:pt x="58473" y="269321"/>
                </a:cubicBezTo>
                <a:cubicBezTo>
                  <a:pt x="53735" y="269610"/>
                  <a:pt x="49229" y="271484"/>
                  <a:pt x="45689" y="274643"/>
                </a:cubicBezTo>
                <a:cubicBezTo>
                  <a:pt x="43347" y="276933"/>
                  <a:pt x="40275" y="278327"/>
                  <a:pt x="37013" y="278576"/>
                </a:cubicBezTo>
                <a:cubicBezTo>
                  <a:pt x="34254" y="278362"/>
                  <a:pt x="31645" y="277217"/>
                  <a:pt x="29609" y="275337"/>
                </a:cubicBezTo>
                <a:cubicBezTo>
                  <a:pt x="28550" y="274434"/>
                  <a:pt x="27359" y="273694"/>
                  <a:pt x="26080" y="273139"/>
                </a:cubicBezTo>
                <a:lnTo>
                  <a:pt x="26080" y="273139"/>
                </a:lnTo>
                <a:cubicBezTo>
                  <a:pt x="23015" y="273139"/>
                  <a:pt x="14049" y="278056"/>
                  <a:pt x="2364" y="286038"/>
                </a:cubicBezTo>
                <a:cubicBezTo>
                  <a:pt x="6552" y="295501"/>
                  <a:pt x="9693" y="305393"/>
                  <a:pt x="11735" y="315539"/>
                </a:cubicBezTo>
                <a:cubicBezTo>
                  <a:pt x="11706" y="315926"/>
                  <a:pt x="11706" y="316308"/>
                  <a:pt x="11735" y="316696"/>
                </a:cubicBezTo>
                <a:cubicBezTo>
                  <a:pt x="16044" y="313202"/>
                  <a:pt x="20996" y="310587"/>
                  <a:pt x="26312" y="309002"/>
                </a:cubicBezTo>
                <a:cubicBezTo>
                  <a:pt x="28857" y="308655"/>
                  <a:pt x="37881" y="308482"/>
                  <a:pt x="53209" y="308482"/>
                </a:cubicBezTo>
                <a:cubicBezTo>
                  <a:pt x="79124" y="308482"/>
                  <a:pt x="114640" y="309002"/>
                  <a:pt x="114987" y="309002"/>
                </a:cubicBezTo>
                <a:cubicBezTo>
                  <a:pt x="115380" y="309002"/>
                  <a:pt x="115739" y="309228"/>
                  <a:pt x="115912" y="309580"/>
                </a:cubicBezTo>
                <a:cubicBezTo>
                  <a:pt x="120216" y="316736"/>
                  <a:pt x="121969" y="325135"/>
                  <a:pt x="120887" y="333413"/>
                </a:cubicBezTo>
                <a:cubicBezTo>
                  <a:pt x="119730" y="338618"/>
                  <a:pt x="120887" y="339602"/>
                  <a:pt x="123374" y="341684"/>
                </a:cubicBezTo>
                <a:cubicBezTo>
                  <a:pt x="127157" y="344715"/>
                  <a:pt x="130055" y="348712"/>
                  <a:pt x="131762" y="353253"/>
                </a:cubicBezTo>
                <a:cubicBezTo>
                  <a:pt x="137546" y="367367"/>
                  <a:pt x="141942" y="372920"/>
                  <a:pt x="153395" y="369565"/>
                </a:cubicBezTo>
                <a:cubicBezTo>
                  <a:pt x="162587" y="366638"/>
                  <a:pt x="172108" y="364868"/>
                  <a:pt x="181739" y="364301"/>
                </a:cubicBezTo>
                <a:cubicBezTo>
                  <a:pt x="183000" y="364272"/>
                  <a:pt x="184261" y="364388"/>
                  <a:pt x="185499" y="364648"/>
                </a:cubicBezTo>
                <a:lnTo>
                  <a:pt x="185499" y="364648"/>
                </a:lnTo>
                <a:cubicBezTo>
                  <a:pt x="186714" y="364648"/>
                  <a:pt x="187813" y="359385"/>
                  <a:pt x="188449" y="356261"/>
                </a:cubicBezTo>
                <a:cubicBezTo>
                  <a:pt x="189780" y="349898"/>
                  <a:pt x="191283" y="342668"/>
                  <a:pt x="195622" y="340527"/>
                </a:cubicBezTo>
                <a:cubicBezTo>
                  <a:pt x="198572" y="339243"/>
                  <a:pt x="201753" y="338653"/>
                  <a:pt x="204993" y="338792"/>
                </a:cubicBezTo>
                <a:cubicBezTo>
                  <a:pt x="209447" y="338873"/>
                  <a:pt x="213901" y="339411"/>
                  <a:pt x="218239" y="340412"/>
                </a:cubicBezTo>
                <a:cubicBezTo>
                  <a:pt x="218644" y="340545"/>
                  <a:pt x="218991" y="340869"/>
                  <a:pt x="219106" y="341279"/>
                </a:cubicBezTo>
                <a:cubicBezTo>
                  <a:pt x="219106" y="341279"/>
                  <a:pt x="220379" y="346428"/>
                  <a:pt x="231254" y="346428"/>
                </a:cubicBezTo>
                <a:cubicBezTo>
                  <a:pt x="234435" y="346393"/>
                  <a:pt x="237617" y="346104"/>
                  <a:pt x="240798" y="345560"/>
                </a:cubicBezTo>
                <a:cubicBezTo>
                  <a:pt x="242360" y="345300"/>
                  <a:pt x="243922" y="345126"/>
                  <a:pt x="245484" y="345039"/>
                </a:cubicBezTo>
                <a:cubicBezTo>
                  <a:pt x="248954" y="345039"/>
                  <a:pt x="250574" y="346948"/>
                  <a:pt x="250574" y="351228"/>
                </a:cubicBezTo>
                <a:cubicBezTo>
                  <a:pt x="250574" y="361525"/>
                  <a:pt x="252251" y="369392"/>
                  <a:pt x="255086" y="372226"/>
                </a:cubicBezTo>
                <a:cubicBezTo>
                  <a:pt x="257920" y="375060"/>
                  <a:pt x="255780" y="379688"/>
                  <a:pt x="253408" y="389232"/>
                </a:cubicBezTo>
                <a:cubicBezTo>
                  <a:pt x="251326" y="397388"/>
                  <a:pt x="248549" y="408668"/>
                  <a:pt x="251326" y="410866"/>
                </a:cubicBezTo>
                <a:cubicBezTo>
                  <a:pt x="257804" y="416072"/>
                  <a:pt x="266365" y="427236"/>
                  <a:pt x="265093" y="434004"/>
                </a:cubicBezTo>
                <a:lnTo>
                  <a:pt x="264630" y="436028"/>
                </a:lnTo>
                <a:cubicBezTo>
                  <a:pt x="263647" y="440829"/>
                  <a:pt x="260928" y="453671"/>
                  <a:pt x="264225" y="454481"/>
                </a:cubicBezTo>
                <a:cubicBezTo>
                  <a:pt x="265845" y="454828"/>
                  <a:pt x="267002" y="453729"/>
                  <a:pt x="268564" y="452109"/>
                </a:cubicBezTo>
                <a:cubicBezTo>
                  <a:pt x="270993" y="449072"/>
                  <a:pt x="274637" y="447273"/>
                  <a:pt x="278513" y="447192"/>
                </a:cubicBezTo>
                <a:lnTo>
                  <a:pt x="283603" y="447192"/>
                </a:lnTo>
                <a:lnTo>
                  <a:pt x="288288" y="447192"/>
                </a:lnTo>
                <a:cubicBezTo>
                  <a:pt x="293090" y="447360"/>
                  <a:pt x="297833" y="446515"/>
                  <a:pt x="302287" y="444705"/>
                </a:cubicBezTo>
                <a:cubicBezTo>
                  <a:pt x="304948" y="443496"/>
                  <a:pt x="308013" y="443600"/>
                  <a:pt x="310616" y="444994"/>
                </a:cubicBezTo>
                <a:cubicBezTo>
                  <a:pt x="313798" y="446724"/>
                  <a:pt x="316401" y="449280"/>
                  <a:pt x="318252" y="452398"/>
                </a:cubicBezTo>
                <a:cubicBezTo>
                  <a:pt x="318772" y="454134"/>
                  <a:pt x="320508" y="458182"/>
                  <a:pt x="322822" y="458182"/>
                </a:cubicBezTo>
                <a:cubicBezTo>
                  <a:pt x="323226" y="458177"/>
                  <a:pt x="323689" y="458055"/>
                  <a:pt x="324036" y="457835"/>
                </a:cubicBezTo>
                <a:cubicBezTo>
                  <a:pt x="328490" y="455753"/>
                  <a:pt x="333291" y="454498"/>
                  <a:pt x="338208" y="454134"/>
                </a:cubicBezTo>
                <a:cubicBezTo>
                  <a:pt x="339654" y="453931"/>
                  <a:pt x="341101" y="454423"/>
                  <a:pt x="342141" y="455464"/>
                </a:cubicBezTo>
                <a:cubicBezTo>
                  <a:pt x="342662" y="456158"/>
                  <a:pt x="342835" y="457055"/>
                  <a:pt x="342604" y="457893"/>
                </a:cubicBezTo>
                <a:cubicBezTo>
                  <a:pt x="342257" y="461572"/>
                  <a:pt x="343298" y="465245"/>
                  <a:pt x="345554" y="468190"/>
                </a:cubicBezTo>
                <a:cubicBezTo>
                  <a:pt x="346942" y="469925"/>
                  <a:pt x="348215" y="470619"/>
                  <a:pt x="349488" y="469983"/>
                </a:cubicBezTo>
                <a:cubicBezTo>
                  <a:pt x="350240" y="469624"/>
                  <a:pt x="351050" y="469451"/>
                  <a:pt x="351860" y="469462"/>
                </a:cubicBezTo>
                <a:cubicBezTo>
                  <a:pt x="355966" y="470006"/>
                  <a:pt x="359900" y="471365"/>
                  <a:pt x="363428" y="473453"/>
                </a:cubicBezTo>
                <a:cubicBezTo>
                  <a:pt x="366494" y="475264"/>
                  <a:pt x="369849" y="476502"/>
                  <a:pt x="373320" y="477098"/>
                </a:cubicBezTo>
                <a:cubicBezTo>
                  <a:pt x="378468" y="477098"/>
                  <a:pt x="384252" y="477098"/>
                  <a:pt x="384252" y="474610"/>
                </a:cubicBezTo>
                <a:cubicBezTo>
                  <a:pt x="385467" y="471070"/>
                  <a:pt x="388648" y="468583"/>
                  <a:pt x="392408" y="46824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2" name="Forma libre: forma 431">
            <a:extLst>
              <a:ext uri="{FF2B5EF4-FFF2-40B4-BE49-F238E27FC236}">
                <a16:creationId xmlns:a16="http://schemas.microsoft.com/office/drawing/2014/main" id="{FA20C3E0-E99B-57EE-56FE-17F89C46942A}"/>
              </a:ext>
            </a:extLst>
          </p:cNvPr>
          <p:cNvSpPr/>
          <p:nvPr/>
        </p:nvSpPr>
        <p:spPr>
          <a:xfrm>
            <a:off x="6963218" y="4544957"/>
            <a:ext cx="46252" cy="59873"/>
          </a:xfrm>
          <a:custGeom>
            <a:avLst/>
            <a:gdLst>
              <a:gd name="connsiteX0" fmla="*/ 10617 w 46252"/>
              <a:gd name="connsiteY0" fmla="*/ 59744 h 59873"/>
              <a:gd name="connsiteX1" fmla="*/ 10154 w 46252"/>
              <a:gd name="connsiteY1" fmla="*/ 59744 h 59873"/>
              <a:gd name="connsiteX2" fmla="*/ 9460 w 46252"/>
              <a:gd name="connsiteY2" fmla="*/ 58876 h 59873"/>
              <a:gd name="connsiteX3" fmla="*/ 9460 w 46252"/>
              <a:gd name="connsiteY3" fmla="*/ 57199 h 59873"/>
              <a:gd name="connsiteX4" fmla="*/ 3039 w 46252"/>
              <a:gd name="connsiteY4" fmla="*/ 30764 h 59873"/>
              <a:gd name="connsiteX5" fmla="*/ 3039 w 46252"/>
              <a:gd name="connsiteY5" fmla="*/ 30359 h 59873"/>
              <a:gd name="connsiteX6" fmla="*/ 1709 w 46252"/>
              <a:gd name="connsiteY6" fmla="*/ 10461 h 59873"/>
              <a:gd name="connsiteX7" fmla="*/ 610 w 46252"/>
              <a:gd name="connsiteY7" fmla="*/ 10056 h 59873"/>
              <a:gd name="connsiteX8" fmla="*/ -84 w 46252"/>
              <a:gd name="connsiteY8" fmla="*/ 8783 h 59873"/>
              <a:gd name="connsiteX9" fmla="*/ 1072 w 46252"/>
              <a:gd name="connsiteY9" fmla="*/ 7915 h 59873"/>
              <a:gd name="connsiteX10" fmla="*/ 10270 w 46252"/>
              <a:gd name="connsiteY10" fmla="*/ 8725 h 59873"/>
              <a:gd name="connsiteX11" fmla="*/ 21318 w 46252"/>
              <a:gd name="connsiteY11" fmla="*/ 6816 h 59873"/>
              <a:gd name="connsiteX12" fmla="*/ 22880 w 46252"/>
              <a:gd name="connsiteY12" fmla="*/ 1611 h 59873"/>
              <a:gd name="connsiteX13" fmla="*/ 23227 w 46252"/>
              <a:gd name="connsiteY13" fmla="*/ 685 h 59873"/>
              <a:gd name="connsiteX14" fmla="*/ 24094 w 46252"/>
              <a:gd name="connsiteY14" fmla="*/ 338 h 59873"/>
              <a:gd name="connsiteX15" fmla="*/ 28086 w 46252"/>
              <a:gd name="connsiteY15" fmla="*/ 338 h 59873"/>
              <a:gd name="connsiteX16" fmla="*/ 36763 w 46252"/>
              <a:gd name="connsiteY16" fmla="*/ -125 h 59873"/>
              <a:gd name="connsiteX17" fmla="*/ 37977 w 46252"/>
              <a:gd name="connsiteY17" fmla="*/ 743 h 59873"/>
              <a:gd name="connsiteX18" fmla="*/ 39192 w 46252"/>
              <a:gd name="connsiteY18" fmla="*/ 14741 h 59873"/>
              <a:gd name="connsiteX19" fmla="*/ 45555 w 46252"/>
              <a:gd name="connsiteY19" fmla="*/ 18559 h 59873"/>
              <a:gd name="connsiteX20" fmla="*/ 46018 w 46252"/>
              <a:gd name="connsiteY20" fmla="*/ 20063 h 59873"/>
              <a:gd name="connsiteX21" fmla="*/ 22880 w 46252"/>
              <a:gd name="connsiteY21" fmla="*/ 52745 h 59873"/>
              <a:gd name="connsiteX22" fmla="*/ 11311 w 46252"/>
              <a:gd name="connsiteY22" fmla="*/ 59512 h 59873"/>
              <a:gd name="connsiteX23" fmla="*/ 10617 w 46252"/>
              <a:gd name="connsiteY23" fmla="*/ 59744 h 59873"/>
              <a:gd name="connsiteX24" fmla="*/ 4832 w 46252"/>
              <a:gd name="connsiteY24" fmla="*/ 29954 h 59873"/>
              <a:gd name="connsiteX25" fmla="*/ 11311 w 46252"/>
              <a:gd name="connsiteY25" fmla="*/ 56736 h 59873"/>
              <a:gd name="connsiteX26" fmla="*/ 11311 w 46252"/>
              <a:gd name="connsiteY26" fmla="*/ 56736 h 59873"/>
              <a:gd name="connsiteX27" fmla="*/ 21780 w 46252"/>
              <a:gd name="connsiteY27" fmla="*/ 50605 h 59873"/>
              <a:gd name="connsiteX28" fmla="*/ 43067 w 46252"/>
              <a:gd name="connsiteY28" fmla="*/ 19947 h 59873"/>
              <a:gd name="connsiteX29" fmla="*/ 36994 w 46252"/>
              <a:gd name="connsiteY29" fmla="*/ 16303 h 59873"/>
              <a:gd name="connsiteX30" fmla="*/ 36473 w 46252"/>
              <a:gd name="connsiteY30" fmla="*/ 15204 h 59873"/>
              <a:gd name="connsiteX31" fmla="*/ 35605 w 46252"/>
              <a:gd name="connsiteY31" fmla="*/ 2189 h 59873"/>
              <a:gd name="connsiteX32" fmla="*/ 27681 w 46252"/>
              <a:gd name="connsiteY32" fmla="*/ 2594 h 59873"/>
              <a:gd name="connsiteX33" fmla="*/ 24788 w 46252"/>
              <a:gd name="connsiteY33" fmla="*/ 2594 h 59873"/>
              <a:gd name="connsiteX34" fmla="*/ 22590 w 46252"/>
              <a:gd name="connsiteY34" fmla="*/ 8378 h 59873"/>
              <a:gd name="connsiteX35" fmla="*/ 9460 w 46252"/>
              <a:gd name="connsiteY35" fmla="*/ 11039 h 59873"/>
              <a:gd name="connsiteX36" fmla="*/ 3675 w 46252"/>
              <a:gd name="connsiteY36" fmla="*/ 10403 h 5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252" h="59873">
                <a:moveTo>
                  <a:pt x="10617" y="59744"/>
                </a:moveTo>
                <a:lnTo>
                  <a:pt x="10154" y="59744"/>
                </a:lnTo>
                <a:cubicBezTo>
                  <a:pt x="9807" y="59570"/>
                  <a:pt x="9575" y="59252"/>
                  <a:pt x="9460" y="58876"/>
                </a:cubicBezTo>
                <a:lnTo>
                  <a:pt x="9460" y="57199"/>
                </a:lnTo>
                <a:cubicBezTo>
                  <a:pt x="8013" y="48239"/>
                  <a:pt x="5873" y="39400"/>
                  <a:pt x="3039" y="30764"/>
                </a:cubicBezTo>
                <a:cubicBezTo>
                  <a:pt x="3039" y="30631"/>
                  <a:pt x="3039" y="30492"/>
                  <a:pt x="3039" y="30359"/>
                </a:cubicBezTo>
                <a:lnTo>
                  <a:pt x="1709" y="10461"/>
                </a:lnTo>
                <a:lnTo>
                  <a:pt x="610" y="10056"/>
                </a:lnTo>
                <a:cubicBezTo>
                  <a:pt x="89" y="9865"/>
                  <a:pt x="-200" y="9321"/>
                  <a:pt x="-84" y="8783"/>
                </a:cubicBezTo>
                <a:cubicBezTo>
                  <a:pt x="-84" y="8262"/>
                  <a:pt x="436" y="7742"/>
                  <a:pt x="1072" y="7915"/>
                </a:cubicBezTo>
                <a:cubicBezTo>
                  <a:pt x="4138" y="7962"/>
                  <a:pt x="7204" y="8233"/>
                  <a:pt x="10270" y="8725"/>
                </a:cubicBezTo>
                <a:cubicBezTo>
                  <a:pt x="14030" y="10038"/>
                  <a:pt x="18194" y="9315"/>
                  <a:pt x="21318" y="6816"/>
                </a:cubicBezTo>
                <a:cubicBezTo>
                  <a:pt x="22532" y="5359"/>
                  <a:pt x="23054" y="3485"/>
                  <a:pt x="22880" y="1611"/>
                </a:cubicBezTo>
                <a:cubicBezTo>
                  <a:pt x="22880" y="1269"/>
                  <a:pt x="22996" y="939"/>
                  <a:pt x="23227" y="685"/>
                </a:cubicBezTo>
                <a:cubicBezTo>
                  <a:pt x="23458" y="448"/>
                  <a:pt x="23748" y="320"/>
                  <a:pt x="24094" y="338"/>
                </a:cubicBezTo>
                <a:cubicBezTo>
                  <a:pt x="24094" y="338"/>
                  <a:pt x="25714" y="338"/>
                  <a:pt x="28086" y="338"/>
                </a:cubicBezTo>
                <a:cubicBezTo>
                  <a:pt x="30978" y="332"/>
                  <a:pt x="33870" y="176"/>
                  <a:pt x="36763" y="-125"/>
                </a:cubicBezTo>
                <a:cubicBezTo>
                  <a:pt x="37341" y="-171"/>
                  <a:pt x="37861" y="193"/>
                  <a:pt x="37977" y="743"/>
                </a:cubicBezTo>
                <a:cubicBezTo>
                  <a:pt x="39076" y="5324"/>
                  <a:pt x="39481" y="10038"/>
                  <a:pt x="39192" y="14741"/>
                </a:cubicBezTo>
                <a:lnTo>
                  <a:pt x="45555" y="18559"/>
                </a:lnTo>
                <a:cubicBezTo>
                  <a:pt x="46075" y="18860"/>
                  <a:pt x="46306" y="19519"/>
                  <a:pt x="46018" y="20063"/>
                </a:cubicBezTo>
                <a:cubicBezTo>
                  <a:pt x="44398" y="23071"/>
                  <a:pt x="30168" y="49852"/>
                  <a:pt x="22880" y="52745"/>
                </a:cubicBezTo>
                <a:cubicBezTo>
                  <a:pt x="18830" y="54706"/>
                  <a:pt x="15013" y="56967"/>
                  <a:pt x="11311" y="59512"/>
                </a:cubicBezTo>
                <a:cubicBezTo>
                  <a:pt x="11137" y="59669"/>
                  <a:pt x="10849" y="59750"/>
                  <a:pt x="10617" y="59744"/>
                </a:cubicBezTo>
                <a:close/>
                <a:moveTo>
                  <a:pt x="4832" y="29954"/>
                </a:moveTo>
                <a:cubicBezTo>
                  <a:pt x="7667" y="38700"/>
                  <a:pt x="9865" y="47654"/>
                  <a:pt x="11311" y="56736"/>
                </a:cubicBezTo>
                <a:lnTo>
                  <a:pt x="11311" y="56736"/>
                </a:lnTo>
                <a:cubicBezTo>
                  <a:pt x="14666" y="54474"/>
                  <a:pt x="18136" y="52421"/>
                  <a:pt x="21780" y="50605"/>
                </a:cubicBezTo>
                <a:cubicBezTo>
                  <a:pt x="26987" y="48522"/>
                  <a:pt x="38498" y="28624"/>
                  <a:pt x="43067" y="19947"/>
                </a:cubicBezTo>
                <a:lnTo>
                  <a:pt x="36994" y="16303"/>
                </a:lnTo>
                <a:cubicBezTo>
                  <a:pt x="36647" y="16054"/>
                  <a:pt x="36415" y="15638"/>
                  <a:pt x="36473" y="15204"/>
                </a:cubicBezTo>
                <a:cubicBezTo>
                  <a:pt x="36821" y="10848"/>
                  <a:pt x="36531" y="6464"/>
                  <a:pt x="35605" y="2189"/>
                </a:cubicBezTo>
                <a:cubicBezTo>
                  <a:pt x="32655" y="2189"/>
                  <a:pt x="29821" y="2594"/>
                  <a:pt x="27681" y="2594"/>
                </a:cubicBezTo>
                <a:lnTo>
                  <a:pt x="24788" y="2594"/>
                </a:lnTo>
                <a:cubicBezTo>
                  <a:pt x="24788" y="4722"/>
                  <a:pt x="23979" y="6776"/>
                  <a:pt x="22590" y="8378"/>
                </a:cubicBezTo>
                <a:cubicBezTo>
                  <a:pt x="19004" y="11542"/>
                  <a:pt x="13972" y="12555"/>
                  <a:pt x="9460" y="11039"/>
                </a:cubicBezTo>
                <a:cubicBezTo>
                  <a:pt x="7551" y="10727"/>
                  <a:pt x="5584" y="10513"/>
                  <a:pt x="3675" y="1040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3" name="Forma libre: forma 432">
            <a:extLst>
              <a:ext uri="{FF2B5EF4-FFF2-40B4-BE49-F238E27FC236}">
                <a16:creationId xmlns:a16="http://schemas.microsoft.com/office/drawing/2014/main" id="{B4BC42E4-8A7D-F3C2-340B-B6E86E1F1E6B}"/>
              </a:ext>
            </a:extLst>
          </p:cNvPr>
          <p:cNvSpPr/>
          <p:nvPr/>
        </p:nvSpPr>
        <p:spPr>
          <a:xfrm>
            <a:off x="6990404" y="4770366"/>
            <a:ext cx="291456" cy="470527"/>
          </a:xfrm>
          <a:custGeom>
            <a:avLst/>
            <a:gdLst>
              <a:gd name="connsiteX0" fmla="*/ 52207 w 291456"/>
              <a:gd name="connsiteY0" fmla="*/ 470333 h 470527"/>
              <a:gd name="connsiteX1" fmla="*/ 51513 w 291456"/>
              <a:gd name="connsiteY1" fmla="*/ 470333 h 470527"/>
              <a:gd name="connsiteX2" fmla="*/ 51050 w 291456"/>
              <a:gd name="connsiteY2" fmla="*/ 469581 h 470527"/>
              <a:gd name="connsiteX3" fmla="*/ 48100 w 291456"/>
              <a:gd name="connsiteY3" fmla="*/ 437767 h 470527"/>
              <a:gd name="connsiteX4" fmla="*/ 46191 w 291456"/>
              <a:gd name="connsiteY4" fmla="*/ 389235 h 470527"/>
              <a:gd name="connsiteX5" fmla="*/ 32424 w 291456"/>
              <a:gd name="connsiteY5" fmla="*/ 351174 h 470527"/>
              <a:gd name="connsiteX6" fmla="*/ 28780 w 291456"/>
              <a:gd name="connsiteY6" fmla="*/ 337928 h 470527"/>
              <a:gd name="connsiteX7" fmla="*/ 28202 w 291456"/>
              <a:gd name="connsiteY7" fmla="*/ 337523 h 470527"/>
              <a:gd name="connsiteX8" fmla="*/ 27623 w 291456"/>
              <a:gd name="connsiteY8" fmla="*/ 336655 h 470527"/>
              <a:gd name="connsiteX9" fmla="*/ 27970 w 291456"/>
              <a:gd name="connsiteY9" fmla="*/ 335729 h 470527"/>
              <a:gd name="connsiteX10" fmla="*/ 36300 w 291456"/>
              <a:gd name="connsiteY10" fmla="*/ 327747 h 470527"/>
              <a:gd name="connsiteX11" fmla="*/ 55562 w 291456"/>
              <a:gd name="connsiteY11" fmla="*/ 308253 h 470527"/>
              <a:gd name="connsiteX12" fmla="*/ 59438 w 291456"/>
              <a:gd name="connsiteY12" fmla="*/ 292693 h 470527"/>
              <a:gd name="connsiteX13" fmla="*/ 63140 w 291456"/>
              <a:gd name="connsiteY13" fmla="*/ 281124 h 470527"/>
              <a:gd name="connsiteX14" fmla="*/ 78179 w 291456"/>
              <a:gd name="connsiteY14" fmla="*/ 262788 h 470527"/>
              <a:gd name="connsiteX15" fmla="*/ 73899 w 291456"/>
              <a:gd name="connsiteY15" fmla="*/ 254516 h 470527"/>
              <a:gd name="connsiteX16" fmla="*/ 68982 w 291456"/>
              <a:gd name="connsiteY16" fmla="*/ 241732 h 470527"/>
              <a:gd name="connsiteX17" fmla="*/ 70485 w 291456"/>
              <a:gd name="connsiteY17" fmla="*/ 230164 h 470527"/>
              <a:gd name="connsiteX18" fmla="*/ 75923 w 291456"/>
              <a:gd name="connsiteY18" fmla="*/ 216802 h 470527"/>
              <a:gd name="connsiteX19" fmla="*/ 75923 w 291456"/>
              <a:gd name="connsiteY19" fmla="*/ 196267 h 470527"/>
              <a:gd name="connsiteX20" fmla="*/ 75113 w 291456"/>
              <a:gd name="connsiteY20" fmla="*/ 175212 h 470527"/>
              <a:gd name="connsiteX21" fmla="*/ 67073 w 291456"/>
              <a:gd name="connsiteY21" fmla="*/ 172840 h 470527"/>
              <a:gd name="connsiteX22" fmla="*/ 43935 w 291456"/>
              <a:gd name="connsiteY22" fmla="*/ 164279 h 470527"/>
              <a:gd name="connsiteX23" fmla="*/ 9228 w 291456"/>
              <a:gd name="connsiteY23" fmla="*/ 156007 h 470527"/>
              <a:gd name="connsiteX24" fmla="*/ 8246 w 291456"/>
              <a:gd name="connsiteY24" fmla="*/ 155371 h 470527"/>
              <a:gd name="connsiteX25" fmla="*/ 4254 w 291456"/>
              <a:gd name="connsiteY25" fmla="*/ 146521 h 470527"/>
              <a:gd name="connsiteX26" fmla="*/ 4254 w 291456"/>
              <a:gd name="connsiteY26" fmla="*/ 145422 h 470527"/>
              <a:gd name="connsiteX27" fmla="*/ 5180 w 291456"/>
              <a:gd name="connsiteY27" fmla="*/ 144901 h 470527"/>
              <a:gd name="connsiteX28" fmla="*/ 5180 w 291456"/>
              <a:gd name="connsiteY28" fmla="*/ 144901 h 470527"/>
              <a:gd name="connsiteX29" fmla="*/ -84 w 291456"/>
              <a:gd name="connsiteY29" fmla="*/ 126102 h 470527"/>
              <a:gd name="connsiteX30" fmla="*/ 668 w 291456"/>
              <a:gd name="connsiteY30" fmla="*/ 124714 h 470527"/>
              <a:gd name="connsiteX31" fmla="*/ 76907 w 291456"/>
              <a:gd name="connsiteY31" fmla="*/ 97238 h 470527"/>
              <a:gd name="connsiteX32" fmla="*/ 83732 w 291456"/>
              <a:gd name="connsiteY32" fmla="*/ 102154 h 470527"/>
              <a:gd name="connsiteX33" fmla="*/ 95301 w 291456"/>
              <a:gd name="connsiteY33" fmla="*/ 110137 h 470527"/>
              <a:gd name="connsiteX34" fmla="*/ 99177 w 291456"/>
              <a:gd name="connsiteY34" fmla="*/ 109153 h 470527"/>
              <a:gd name="connsiteX35" fmla="*/ 109473 w 291456"/>
              <a:gd name="connsiteY35" fmla="*/ 107129 h 470527"/>
              <a:gd name="connsiteX36" fmla="*/ 118670 w 291456"/>
              <a:gd name="connsiteY36" fmla="*/ 114301 h 470527"/>
              <a:gd name="connsiteX37" fmla="*/ 115200 w 291456"/>
              <a:gd name="connsiteY37" fmla="*/ 138191 h 470527"/>
              <a:gd name="connsiteX38" fmla="*/ 112944 w 291456"/>
              <a:gd name="connsiteY38" fmla="*/ 149760 h 470527"/>
              <a:gd name="connsiteX39" fmla="*/ 136081 w 291456"/>
              <a:gd name="connsiteY39" fmla="*/ 182211 h 470527"/>
              <a:gd name="connsiteX40" fmla="*/ 135560 w 291456"/>
              <a:gd name="connsiteY40" fmla="*/ 176426 h 470527"/>
              <a:gd name="connsiteX41" fmla="*/ 138684 w 291456"/>
              <a:gd name="connsiteY41" fmla="*/ 157453 h 470527"/>
              <a:gd name="connsiteX42" fmla="*/ 146667 w 291456"/>
              <a:gd name="connsiteY42" fmla="*/ 153983 h 470527"/>
              <a:gd name="connsiteX43" fmla="*/ 153665 w 291456"/>
              <a:gd name="connsiteY43" fmla="*/ 140621 h 470527"/>
              <a:gd name="connsiteX44" fmla="*/ 155343 w 291456"/>
              <a:gd name="connsiteY44" fmla="*/ 123904 h 470527"/>
              <a:gd name="connsiteX45" fmla="*/ 153087 w 291456"/>
              <a:gd name="connsiteY45" fmla="*/ 113781 h 470527"/>
              <a:gd name="connsiteX46" fmla="*/ 136660 w 291456"/>
              <a:gd name="connsiteY46" fmla="*/ 97990 h 470527"/>
              <a:gd name="connsiteX47" fmla="*/ 136312 w 291456"/>
              <a:gd name="connsiteY47" fmla="*/ 97180 h 470527"/>
              <a:gd name="connsiteX48" fmla="*/ 130875 w 291456"/>
              <a:gd name="connsiteY48" fmla="*/ 77050 h 470527"/>
              <a:gd name="connsiteX49" fmla="*/ 124628 w 291456"/>
              <a:gd name="connsiteY49" fmla="*/ 38988 h 470527"/>
              <a:gd name="connsiteX50" fmla="*/ 126016 w 291456"/>
              <a:gd name="connsiteY50" fmla="*/ 29849 h 470527"/>
              <a:gd name="connsiteX51" fmla="*/ 126421 w 291456"/>
              <a:gd name="connsiteY51" fmla="*/ 29039 h 470527"/>
              <a:gd name="connsiteX52" fmla="*/ 127289 w 291456"/>
              <a:gd name="connsiteY52" fmla="*/ 28750 h 470527"/>
              <a:gd name="connsiteX53" fmla="*/ 142618 w 291456"/>
              <a:gd name="connsiteY53" fmla="*/ 30370 h 470527"/>
              <a:gd name="connsiteX54" fmla="*/ 146956 w 291456"/>
              <a:gd name="connsiteY54" fmla="*/ 28866 h 470527"/>
              <a:gd name="connsiteX55" fmla="*/ 155170 w 291456"/>
              <a:gd name="connsiteY55" fmla="*/ 26552 h 470527"/>
              <a:gd name="connsiteX56" fmla="*/ 159161 w 291456"/>
              <a:gd name="connsiteY56" fmla="*/ 27188 h 470527"/>
              <a:gd name="connsiteX57" fmla="*/ 164598 w 291456"/>
              <a:gd name="connsiteY57" fmla="*/ 32972 h 470527"/>
              <a:gd name="connsiteX58" fmla="*/ 167664 w 291456"/>
              <a:gd name="connsiteY58" fmla="*/ 35286 h 470527"/>
              <a:gd name="connsiteX59" fmla="*/ 179233 w 291456"/>
              <a:gd name="connsiteY59" fmla="*/ 33493 h 470527"/>
              <a:gd name="connsiteX60" fmla="*/ 191149 w 291456"/>
              <a:gd name="connsiteY60" fmla="*/ 32047 h 470527"/>
              <a:gd name="connsiteX61" fmla="*/ 191785 w 291456"/>
              <a:gd name="connsiteY61" fmla="*/ 32047 h 470527"/>
              <a:gd name="connsiteX62" fmla="*/ 200982 w 291456"/>
              <a:gd name="connsiteY62" fmla="*/ 33204 h 470527"/>
              <a:gd name="connsiteX63" fmla="*/ 205957 w 291456"/>
              <a:gd name="connsiteY63" fmla="*/ 31237 h 470527"/>
              <a:gd name="connsiteX64" fmla="*/ 214460 w 291456"/>
              <a:gd name="connsiteY64" fmla="*/ 19668 h 470527"/>
              <a:gd name="connsiteX65" fmla="*/ 216311 w 291456"/>
              <a:gd name="connsiteY65" fmla="*/ 19668 h 470527"/>
              <a:gd name="connsiteX66" fmla="*/ 220534 w 291456"/>
              <a:gd name="connsiteY66" fmla="*/ 21346 h 470527"/>
              <a:gd name="connsiteX67" fmla="*/ 226318 w 291456"/>
              <a:gd name="connsiteY67" fmla="*/ 23023 h 470527"/>
              <a:gd name="connsiteX68" fmla="*/ 231640 w 291456"/>
              <a:gd name="connsiteY68" fmla="*/ 20651 h 470527"/>
              <a:gd name="connsiteX69" fmla="*/ 244076 w 291456"/>
              <a:gd name="connsiteY69" fmla="*/ 17644 h 470527"/>
              <a:gd name="connsiteX70" fmla="*/ 246043 w 291456"/>
              <a:gd name="connsiteY70" fmla="*/ 17644 h 470527"/>
              <a:gd name="connsiteX71" fmla="*/ 250728 w 291456"/>
              <a:gd name="connsiteY71" fmla="*/ 16082 h 470527"/>
              <a:gd name="connsiteX72" fmla="*/ 280287 w 291456"/>
              <a:gd name="connsiteY72" fmla="*/ 1 h 470527"/>
              <a:gd name="connsiteX73" fmla="*/ 281386 w 291456"/>
              <a:gd name="connsiteY73" fmla="*/ 1 h 470527"/>
              <a:gd name="connsiteX74" fmla="*/ 281849 w 291456"/>
              <a:gd name="connsiteY74" fmla="*/ 927 h 470527"/>
              <a:gd name="connsiteX75" fmla="*/ 281849 w 291456"/>
              <a:gd name="connsiteY75" fmla="*/ 1332 h 470527"/>
              <a:gd name="connsiteX76" fmla="*/ 281849 w 291456"/>
              <a:gd name="connsiteY76" fmla="*/ 1968 h 470527"/>
              <a:gd name="connsiteX77" fmla="*/ 283237 w 291456"/>
              <a:gd name="connsiteY77" fmla="*/ 28576 h 470527"/>
              <a:gd name="connsiteX78" fmla="*/ 284336 w 291456"/>
              <a:gd name="connsiteY78" fmla="*/ 67505 h 470527"/>
              <a:gd name="connsiteX79" fmla="*/ 291104 w 291456"/>
              <a:gd name="connsiteY79" fmla="*/ 120259 h 470527"/>
              <a:gd name="connsiteX80" fmla="*/ 247374 w 291456"/>
              <a:gd name="connsiteY80" fmla="*/ 178624 h 470527"/>
              <a:gd name="connsiteX81" fmla="*/ 224236 w 291456"/>
              <a:gd name="connsiteY81" fmla="*/ 187995 h 470527"/>
              <a:gd name="connsiteX82" fmla="*/ 194446 w 291456"/>
              <a:gd name="connsiteY82" fmla="*/ 201531 h 470527"/>
              <a:gd name="connsiteX83" fmla="*/ 177093 w 291456"/>
              <a:gd name="connsiteY83" fmla="*/ 220619 h 470527"/>
              <a:gd name="connsiteX84" fmla="*/ 166102 w 291456"/>
              <a:gd name="connsiteY84" fmla="*/ 232998 h 470527"/>
              <a:gd name="connsiteX85" fmla="*/ 154187 w 291456"/>
              <a:gd name="connsiteY85" fmla="*/ 238782 h 470527"/>
              <a:gd name="connsiteX86" fmla="*/ 143370 w 291456"/>
              <a:gd name="connsiteY86" fmla="*/ 247228 h 470527"/>
              <a:gd name="connsiteX87" fmla="*/ 140651 w 291456"/>
              <a:gd name="connsiteY87" fmla="*/ 252665 h 470527"/>
              <a:gd name="connsiteX88" fmla="*/ 129949 w 291456"/>
              <a:gd name="connsiteY88" fmla="*/ 262325 h 470527"/>
              <a:gd name="connsiteX89" fmla="*/ 126189 w 291456"/>
              <a:gd name="connsiteY89" fmla="*/ 264349 h 470527"/>
              <a:gd name="connsiteX90" fmla="*/ 126479 w 291456"/>
              <a:gd name="connsiteY90" fmla="*/ 281703 h 470527"/>
              <a:gd name="connsiteX91" fmla="*/ 131338 w 291456"/>
              <a:gd name="connsiteY91" fmla="*/ 292173 h 470527"/>
              <a:gd name="connsiteX92" fmla="*/ 139841 w 291456"/>
              <a:gd name="connsiteY92" fmla="*/ 316583 h 470527"/>
              <a:gd name="connsiteX93" fmla="*/ 143716 w 291456"/>
              <a:gd name="connsiteY93" fmla="*/ 334862 h 470527"/>
              <a:gd name="connsiteX94" fmla="*/ 144642 w 291456"/>
              <a:gd name="connsiteY94" fmla="*/ 351405 h 470527"/>
              <a:gd name="connsiteX95" fmla="*/ 142964 w 291456"/>
              <a:gd name="connsiteY95" fmla="*/ 372750 h 470527"/>
              <a:gd name="connsiteX96" fmla="*/ 141808 w 291456"/>
              <a:gd name="connsiteY96" fmla="*/ 390971 h 470527"/>
              <a:gd name="connsiteX97" fmla="*/ 107101 w 291456"/>
              <a:gd name="connsiteY97" fmla="*/ 413067 h 470527"/>
              <a:gd name="connsiteX98" fmla="*/ 64990 w 291456"/>
              <a:gd name="connsiteY98" fmla="*/ 443146 h 470527"/>
              <a:gd name="connsiteX99" fmla="*/ 68982 w 291456"/>
              <a:gd name="connsiteY99" fmla="*/ 445865 h 470527"/>
              <a:gd name="connsiteX100" fmla="*/ 70659 w 291456"/>
              <a:gd name="connsiteY100" fmla="*/ 445865 h 470527"/>
              <a:gd name="connsiteX101" fmla="*/ 74535 w 291456"/>
              <a:gd name="connsiteY101" fmla="*/ 447195 h 470527"/>
              <a:gd name="connsiteX102" fmla="*/ 75923 w 291456"/>
              <a:gd name="connsiteY102" fmla="*/ 454137 h 470527"/>
              <a:gd name="connsiteX103" fmla="*/ 74651 w 291456"/>
              <a:gd name="connsiteY103" fmla="*/ 467846 h 470527"/>
              <a:gd name="connsiteX104" fmla="*/ 73551 w 291456"/>
              <a:gd name="connsiteY104" fmla="*/ 468829 h 470527"/>
              <a:gd name="connsiteX105" fmla="*/ 72453 w 291456"/>
              <a:gd name="connsiteY105" fmla="*/ 468829 h 470527"/>
              <a:gd name="connsiteX106" fmla="*/ 53364 w 291456"/>
              <a:gd name="connsiteY106" fmla="*/ 470333 h 470527"/>
              <a:gd name="connsiteX107" fmla="*/ 30458 w 291456"/>
              <a:gd name="connsiteY107" fmla="*/ 336424 h 470527"/>
              <a:gd name="connsiteX108" fmla="*/ 30804 w 291456"/>
              <a:gd name="connsiteY108" fmla="*/ 336886 h 470527"/>
              <a:gd name="connsiteX109" fmla="*/ 34622 w 291456"/>
              <a:gd name="connsiteY109" fmla="*/ 350653 h 470527"/>
              <a:gd name="connsiteX110" fmla="*/ 47348 w 291456"/>
              <a:gd name="connsiteY110" fmla="*/ 387269 h 470527"/>
              <a:gd name="connsiteX111" fmla="*/ 50298 w 291456"/>
              <a:gd name="connsiteY111" fmla="*/ 438172 h 470527"/>
              <a:gd name="connsiteX112" fmla="*/ 53190 w 291456"/>
              <a:gd name="connsiteY112" fmla="*/ 468193 h 470527"/>
              <a:gd name="connsiteX113" fmla="*/ 71469 w 291456"/>
              <a:gd name="connsiteY113" fmla="*/ 466804 h 470527"/>
              <a:gd name="connsiteX114" fmla="*/ 71469 w 291456"/>
              <a:gd name="connsiteY114" fmla="*/ 466804 h 470527"/>
              <a:gd name="connsiteX115" fmla="*/ 72626 w 291456"/>
              <a:gd name="connsiteY115" fmla="*/ 454252 h 470527"/>
              <a:gd name="connsiteX116" fmla="*/ 71758 w 291456"/>
              <a:gd name="connsiteY116" fmla="*/ 448989 h 470527"/>
              <a:gd name="connsiteX117" fmla="*/ 69560 w 291456"/>
              <a:gd name="connsiteY117" fmla="*/ 448410 h 470527"/>
              <a:gd name="connsiteX118" fmla="*/ 67883 w 291456"/>
              <a:gd name="connsiteY118" fmla="*/ 448410 h 470527"/>
              <a:gd name="connsiteX119" fmla="*/ 61752 w 291456"/>
              <a:gd name="connsiteY119" fmla="*/ 444187 h 470527"/>
              <a:gd name="connsiteX120" fmla="*/ 105250 w 291456"/>
              <a:gd name="connsiteY120" fmla="*/ 411274 h 470527"/>
              <a:gd name="connsiteX121" fmla="*/ 138858 w 291456"/>
              <a:gd name="connsiteY121" fmla="*/ 390566 h 470527"/>
              <a:gd name="connsiteX122" fmla="*/ 139899 w 291456"/>
              <a:gd name="connsiteY122" fmla="*/ 373212 h 470527"/>
              <a:gd name="connsiteX123" fmla="*/ 141692 w 291456"/>
              <a:gd name="connsiteY123" fmla="*/ 351116 h 470527"/>
              <a:gd name="connsiteX124" fmla="*/ 140766 w 291456"/>
              <a:gd name="connsiteY124" fmla="*/ 335903 h 470527"/>
              <a:gd name="connsiteX125" fmla="*/ 136833 w 291456"/>
              <a:gd name="connsiteY125" fmla="*/ 317335 h 470527"/>
              <a:gd name="connsiteX126" fmla="*/ 128561 w 291456"/>
              <a:gd name="connsiteY126" fmla="*/ 293792 h 470527"/>
              <a:gd name="connsiteX127" fmla="*/ 123529 w 291456"/>
              <a:gd name="connsiteY127" fmla="*/ 282744 h 470527"/>
              <a:gd name="connsiteX128" fmla="*/ 123529 w 291456"/>
              <a:gd name="connsiteY128" fmla="*/ 263655 h 470527"/>
              <a:gd name="connsiteX129" fmla="*/ 128967 w 291456"/>
              <a:gd name="connsiteY129" fmla="*/ 260763 h 470527"/>
              <a:gd name="connsiteX130" fmla="*/ 137816 w 291456"/>
              <a:gd name="connsiteY130" fmla="*/ 252318 h 470527"/>
              <a:gd name="connsiteX131" fmla="*/ 140593 w 291456"/>
              <a:gd name="connsiteY131" fmla="*/ 246823 h 470527"/>
              <a:gd name="connsiteX132" fmla="*/ 152683 w 291456"/>
              <a:gd name="connsiteY132" fmla="*/ 237278 h 470527"/>
              <a:gd name="connsiteX133" fmla="*/ 163904 w 291456"/>
              <a:gd name="connsiteY133" fmla="*/ 231841 h 470527"/>
              <a:gd name="connsiteX134" fmla="*/ 174432 w 291456"/>
              <a:gd name="connsiteY134" fmla="*/ 219983 h 470527"/>
              <a:gd name="connsiteX135" fmla="*/ 192595 w 291456"/>
              <a:gd name="connsiteY135" fmla="*/ 200374 h 470527"/>
              <a:gd name="connsiteX136" fmla="*/ 223021 w 291456"/>
              <a:gd name="connsiteY136" fmla="*/ 186433 h 470527"/>
              <a:gd name="connsiteX137" fmla="*/ 246158 w 291456"/>
              <a:gd name="connsiteY137" fmla="*/ 177294 h 470527"/>
              <a:gd name="connsiteX138" fmla="*/ 288905 w 291456"/>
              <a:gd name="connsiteY138" fmla="*/ 121706 h 470527"/>
              <a:gd name="connsiteX139" fmla="*/ 281964 w 291456"/>
              <a:gd name="connsiteY139" fmla="*/ 67853 h 470527"/>
              <a:gd name="connsiteX140" fmla="*/ 280865 w 291456"/>
              <a:gd name="connsiteY140" fmla="*/ 29386 h 470527"/>
              <a:gd name="connsiteX141" fmla="*/ 279535 w 291456"/>
              <a:gd name="connsiteY141" fmla="*/ 3298 h 470527"/>
              <a:gd name="connsiteX142" fmla="*/ 252580 w 291456"/>
              <a:gd name="connsiteY142" fmla="*/ 17586 h 470527"/>
              <a:gd name="connsiteX143" fmla="*/ 245870 w 291456"/>
              <a:gd name="connsiteY143" fmla="*/ 20420 h 470527"/>
              <a:gd name="connsiteX144" fmla="*/ 243845 w 291456"/>
              <a:gd name="connsiteY144" fmla="*/ 20420 h 470527"/>
              <a:gd name="connsiteX145" fmla="*/ 232913 w 291456"/>
              <a:gd name="connsiteY145" fmla="*/ 22849 h 470527"/>
              <a:gd name="connsiteX146" fmla="*/ 226145 w 291456"/>
              <a:gd name="connsiteY146" fmla="*/ 25800 h 470527"/>
              <a:gd name="connsiteX147" fmla="*/ 219666 w 291456"/>
              <a:gd name="connsiteY147" fmla="*/ 23891 h 470527"/>
              <a:gd name="connsiteX148" fmla="*/ 215733 w 291456"/>
              <a:gd name="connsiteY148" fmla="*/ 22329 h 470527"/>
              <a:gd name="connsiteX149" fmla="*/ 214518 w 291456"/>
              <a:gd name="connsiteY149" fmla="*/ 22329 h 470527"/>
              <a:gd name="connsiteX150" fmla="*/ 208271 w 291456"/>
              <a:gd name="connsiteY150" fmla="*/ 32047 h 470527"/>
              <a:gd name="connsiteX151" fmla="*/ 201040 w 291456"/>
              <a:gd name="connsiteY151" fmla="*/ 35922 h 470527"/>
              <a:gd name="connsiteX152" fmla="*/ 191380 w 291456"/>
              <a:gd name="connsiteY152" fmla="*/ 34708 h 470527"/>
              <a:gd name="connsiteX153" fmla="*/ 190802 w 291456"/>
              <a:gd name="connsiteY153" fmla="*/ 34708 h 470527"/>
              <a:gd name="connsiteX154" fmla="*/ 179753 w 291456"/>
              <a:gd name="connsiteY154" fmla="*/ 36212 h 470527"/>
              <a:gd name="connsiteX155" fmla="*/ 167548 w 291456"/>
              <a:gd name="connsiteY155" fmla="*/ 38005 h 470527"/>
              <a:gd name="connsiteX156" fmla="*/ 162342 w 291456"/>
              <a:gd name="connsiteY156" fmla="*/ 34158 h 470527"/>
              <a:gd name="connsiteX157" fmla="*/ 162342 w 291456"/>
              <a:gd name="connsiteY157" fmla="*/ 34071 h 470527"/>
              <a:gd name="connsiteX158" fmla="*/ 158351 w 291456"/>
              <a:gd name="connsiteY158" fmla="*/ 29849 h 470527"/>
              <a:gd name="connsiteX159" fmla="*/ 155054 w 291456"/>
              <a:gd name="connsiteY159" fmla="*/ 29328 h 470527"/>
              <a:gd name="connsiteX160" fmla="*/ 147823 w 291456"/>
              <a:gd name="connsiteY160" fmla="*/ 31469 h 470527"/>
              <a:gd name="connsiteX161" fmla="*/ 142502 w 291456"/>
              <a:gd name="connsiteY161" fmla="*/ 33146 h 470527"/>
              <a:gd name="connsiteX162" fmla="*/ 128099 w 291456"/>
              <a:gd name="connsiteY162" fmla="*/ 31700 h 470527"/>
              <a:gd name="connsiteX163" fmla="*/ 126653 w 291456"/>
              <a:gd name="connsiteY163" fmla="*/ 40319 h 470527"/>
              <a:gd name="connsiteX164" fmla="*/ 132900 w 291456"/>
              <a:gd name="connsiteY164" fmla="*/ 76876 h 470527"/>
              <a:gd name="connsiteX165" fmla="*/ 138684 w 291456"/>
              <a:gd name="connsiteY165" fmla="*/ 97122 h 470527"/>
              <a:gd name="connsiteX166" fmla="*/ 154997 w 291456"/>
              <a:gd name="connsiteY166" fmla="*/ 112855 h 470527"/>
              <a:gd name="connsiteX167" fmla="*/ 157715 w 291456"/>
              <a:gd name="connsiteY167" fmla="*/ 124945 h 470527"/>
              <a:gd name="connsiteX168" fmla="*/ 156095 w 291456"/>
              <a:gd name="connsiteY168" fmla="*/ 141025 h 470527"/>
              <a:gd name="connsiteX169" fmla="*/ 147245 w 291456"/>
              <a:gd name="connsiteY169" fmla="*/ 156759 h 470527"/>
              <a:gd name="connsiteX170" fmla="*/ 140362 w 291456"/>
              <a:gd name="connsiteY170" fmla="*/ 159651 h 470527"/>
              <a:gd name="connsiteX171" fmla="*/ 137990 w 291456"/>
              <a:gd name="connsiteY171" fmla="*/ 176658 h 470527"/>
              <a:gd name="connsiteX172" fmla="*/ 137990 w 291456"/>
              <a:gd name="connsiteY172" fmla="*/ 184293 h 470527"/>
              <a:gd name="connsiteX173" fmla="*/ 136486 w 291456"/>
              <a:gd name="connsiteY173" fmla="*/ 185392 h 470527"/>
              <a:gd name="connsiteX174" fmla="*/ 110861 w 291456"/>
              <a:gd name="connsiteY174" fmla="*/ 151091 h 470527"/>
              <a:gd name="connsiteX175" fmla="*/ 113059 w 291456"/>
              <a:gd name="connsiteY175" fmla="*/ 138249 h 470527"/>
              <a:gd name="connsiteX176" fmla="*/ 116472 w 291456"/>
              <a:gd name="connsiteY176" fmla="*/ 115458 h 470527"/>
              <a:gd name="connsiteX177" fmla="*/ 109473 w 291456"/>
              <a:gd name="connsiteY177" fmla="*/ 110079 h 470527"/>
              <a:gd name="connsiteX178" fmla="*/ 99813 w 291456"/>
              <a:gd name="connsiteY178" fmla="*/ 112046 h 470527"/>
              <a:gd name="connsiteX179" fmla="*/ 95937 w 291456"/>
              <a:gd name="connsiteY179" fmla="*/ 113029 h 470527"/>
              <a:gd name="connsiteX180" fmla="*/ 95301 w 291456"/>
              <a:gd name="connsiteY180" fmla="*/ 113029 h 470527"/>
              <a:gd name="connsiteX181" fmla="*/ 82460 w 291456"/>
              <a:gd name="connsiteY181" fmla="*/ 104468 h 470527"/>
              <a:gd name="connsiteX182" fmla="*/ 77080 w 291456"/>
              <a:gd name="connsiteY182" fmla="*/ 100130 h 470527"/>
              <a:gd name="connsiteX183" fmla="*/ 2634 w 291456"/>
              <a:gd name="connsiteY183" fmla="*/ 127143 h 470527"/>
              <a:gd name="connsiteX184" fmla="*/ 8014 w 291456"/>
              <a:gd name="connsiteY184" fmla="*/ 146347 h 470527"/>
              <a:gd name="connsiteX185" fmla="*/ 8014 w 291456"/>
              <a:gd name="connsiteY185" fmla="*/ 147331 h 470527"/>
              <a:gd name="connsiteX186" fmla="*/ 7204 w 291456"/>
              <a:gd name="connsiteY186" fmla="*/ 147793 h 470527"/>
              <a:gd name="connsiteX187" fmla="*/ 10270 w 291456"/>
              <a:gd name="connsiteY187" fmla="*/ 154445 h 470527"/>
              <a:gd name="connsiteX188" fmla="*/ 45265 w 291456"/>
              <a:gd name="connsiteY188" fmla="*/ 163064 h 470527"/>
              <a:gd name="connsiteX189" fmla="*/ 67998 w 291456"/>
              <a:gd name="connsiteY189" fmla="*/ 171278 h 470527"/>
              <a:gd name="connsiteX190" fmla="*/ 76733 w 291456"/>
              <a:gd name="connsiteY190" fmla="*/ 173997 h 470527"/>
              <a:gd name="connsiteX191" fmla="*/ 78584 w 291456"/>
              <a:gd name="connsiteY191" fmla="*/ 197134 h 470527"/>
              <a:gd name="connsiteX192" fmla="*/ 78584 w 291456"/>
              <a:gd name="connsiteY192" fmla="*/ 217380 h 470527"/>
              <a:gd name="connsiteX193" fmla="*/ 72799 w 291456"/>
              <a:gd name="connsiteY193" fmla="*/ 232362 h 470527"/>
              <a:gd name="connsiteX194" fmla="*/ 71179 w 291456"/>
              <a:gd name="connsiteY194" fmla="*/ 240865 h 470527"/>
              <a:gd name="connsiteX195" fmla="*/ 76964 w 291456"/>
              <a:gd name="connsiteY195" fmla="*/ 254921 h 470527"/>
              <a:gd name="connsiteX196" fmla="*/ 79336 w 291456"/>
              <a:gd name="connsiteY196" fmla="*/ 261168 h 470527"/>
              <a:gd name="connsiteX197" fmla="*/ 81187 w 291456"/>
              <a:gd name="connsiteY197" fmla="*/ 263193 h 470527"/>
              <a:gd name="connsiteX198" fmla="*/ 65106 w 291456"/>
              <a:gd name="connsiteY198" fmla="*/ 283843 h 470527"/>
              <a:gd name="connsiteX199" fmla="*/ 62503 w 291456"/>
              <a:gd name="connsiteY199" fmla="*/ 293329 h 470527"/>
              <a:gd name="connsiteX200" fmla="*/ 58165 w 291456"/>
              <a:gd name="connsiteY200" fmla="*/ 310162 h 470527"/>
              <a:gd name="connsiteX201" fmla="*/ 38671 w 291456"/>
              <a:gd name="connsiteY201" fmla="*/ 329945 h 47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291456" h="470527">
                <a:moveTo>
                  <a:pt x="52207" y="470333"/>
                </a:moveTo>
                <a:cubicBezTo>
                  <a:pt x="51975" y="470420"/>
                  <a:pt x="51744" y="470420"/>
                  <a:pt x="51513" y="470333"/>
                </a:cubicBezTo>
                <a:cubicBezTo>
                  <a:pt x="51281" y="470148"/>
                  <a:pt x="51108" y="469882"/>
                  <a:pt x="51050" y="469581"/>
                </a:cubicBezTo>
                <a:cubicBezTo>
                  <a:pt x="50703" y="466747"/>
                  <a:pt x="47463" y="441469"/>
                  <a:pt x="48100" y="437767"/>
                </a:cubicBezTo>
                <a:cubicBezTo>
                  <a:pt x="49315" y="430478"/>
                  <a:pt x="52207" y="392764"/>
                  <a:pt x="46191" y="389235"/>
                </a:cubicBezTo>
                <a:cubicBezTo>
                  <a:pt x="41274" y="386401"/>
                  <a:pt x="37052" y="370320"/>
                  <a:pt x="32424" y="351174"/>
                </a:cubicBezTo>
                <a:cubicBezTo>
                  <a:pt x="31498" y="346679"/>
                  <a:pt x="30284" y="342254"/>
                  <a:pt x="28780" y="337928"/>
                </a:cubicBezTo>
                <a:cubicBezTo>
                  <a:pt x="28606" y="337754"/>
                  <a:pt x="28433" y="337615"/>
                  <a:pt x="28202" y="337523"/>
                </a:cubicBezTo>
                <a:cubicBezTo>
                  <a:pt x="27912" y="337326"/>
                  <a:pt x="27681" y="337013"/>
                  <a:pt x="27623" y="336655"/>
                </a:cubicBezTo>
                <a:cubicBezTo>
                  <a:pt x="27565" y="336308"/>
                  <a:pt x="27681" y="335955"/>
                  <a:pt x="27970" y="335729"/>
                </a:cubicBezTo>
                <a:lnTo>
                  <a:pt x="36300" y="327747"/>
                </a:lnTo>
                <a:cubicBezTo>
                  <a:pt x="43125" y="321650"/>
                  <a:pt x="49546" y="315137"/>
                  <a:pt x="55562" y="308253"/>
                </a:cubicBezTo>
                <a:cubicBezTo>
                  <a:pt x="58454" y="303597"/>
                  <a:pt x="59784" y="298160"/>
                  <a:pt x="59438" y="292693"/>
                </a:cubicBezTo>
                <a:cubicBezTo>
                  <a:pt x="59438" y="287661"/>
                  <a:pt x="59438" y="283380"/>
                  <a:pt x="63140" y="281124"/>
                </a:cubicBezTo>
                <a:cubicBezTo>
                  <a:pt x="68924" y="277769"/>
                  <a:pt x="78584" y="265738"/>
                  <a:pt x="78179" y="262788"/>
                </a:cubicBezTo>
                <a:cubicBezTo>
                  <a:pt x="74997" y="261862"/>
                  <a:pt x="74477" y="258450"/>
                  <a:pt x="73899" y="254516"/>
                </a:cubicBezTo>
                <a:cubicBezTo>
                  <a:pt x="73725" y="249825"/>
                  <a:pt x="71989" y="245324"/>
                  <a:pt x="68982" y="241732"/>
                </a:cubicBezTo>
                <a:cubicBezTo>
                  <a:pt x="64528" y="237278"/>
                  <a:pt x="67536" y="233634"/>
                  <a:pt x="70485" y="230164"/>
                </a:cubicBezTo>
                <a:cubicBezTo>
                  <a:pt x="74130" y="226710"/>
                  <a:pt x="76155" y="221834"/>
                  <a:pt x="75923" y="216802"/>
                </a:cubicBezTo>
                <a:cubicBezTo>
                  <a:pt x="75518" y="209964"/>
                  <a:pt x="75518" y="203104"/>
                  <a:pt x="75923" y="196267"/>
                </a:cubicBezTo>
                <a:cubicBezTo>
                  <a:pt x="75923" y="188342"/>
                  <a:pt x="76733" y="176311"/>
                  <a:pt x="75113" y="175212"/>
                </a:cubicBezTo>
                <a:cubicBezTo>
                  <a:pt x="72510" y="174118"/>
                  <a:pt x="69849" y="173320"/>
                  <a:pt x="67073" y="172840"/>
                </a:cubicBezTo>
                <a:cubicBezTo>
                  <a:pt x="58917" y="171330"/>
                  <a:pt x="51108" y="168432"/>
                  <a:pt x="43935" y="164279"/>
                </a:cubicBezTo>
                <a:cubicBezTo>
                  <a:pt x="33350" y="157337"/>
                  <a:pt x="9576" y="156007"/>
                  <a:pt x="9228" y="156007"/>
                </a:cubicBezTo>
                <a:cubicBezTo>
                  <a:pt x="8824" y="155990"/>
                  <a:pt x="8419" y="155747"/>
                  <a:pt x="8246" y="155371"/>
                </a:cubicBezTo>
                <a:lnTo>
                  <a:pt x="4254" y="146521"/>
                </a:lnTo>
                <a:cubicBezTo>
                  <a:pt x="4080" y="146180"/>
                  <a:pt x="4080" y="145763"/>
                  <a:pt x="4254" y="145422"/>
                </a:cubicBezTo>
                <a:cubicBezTo>
                  <a:pt x="4486" y="145109"/>
                  <a:pt x="4832" y="144913"/>
                  <a:pt x="5180" y="144901"/>
                </a:cubicBezTo>
                <a:lnTo>
                  <a:pt x="5180" y="144901"/>
                </a:lnTo>
                <a:lnTo>
                  <a:pt x="-84" y="126102"/>
                </a:lnTo>
                <a:cubicBezTo>
                  <a:pt x="-200" y="125517"/>
                  <a:pt x="89" y="124928"/>
                  <a:pt x="668" y="124714"/>
                </a:cubicBezTo>
                <a:cubicBezTo>
                  <a:pt x="18021" y="118293"/>
                  <a:pt x="74535" y="97238"/>
                  <a:pt x="76907" y="97238"/>
                </a:cubicBezTo>
                <a:cubicBezTo>
                  <a:pt x="78237" y="97238"/>
                  <a:pt x="80088" y="98857"/>
                  <a:pt x="83732" y="102154"/>
                </a:cubicBezTo>
                <a:cubicBezTo>
                  <a:pt x="87376" y="105451"/>
                  <a:pt x="92466" y="110137"/>
                  <a:pt x="95301" y="110137"/>
                </a:cubicBezTo>
                <a:cubicBezTo>
                  <a:pt x="96631" y="109905"/>
                  <a:pt x="97904" y="109576"/>
                  <a:pt x="99177" y="109153"/>
                </a:cubicBezTo>
                <a:cubicBezTo>
                  <a:pt x="102473" y="108019"/>
                  <a:pt x="105944" y="107337"/>
                  <a:pt x="109473" y="107129"/>
                </a:cubicBezTo>
                <a:cubicBezTo>
                  <a:pt x="113984" y="106649"/>
                  <a:pt x="118034" y="109824"/>
                  <a:pt x="118670" y="114301"/>
                </a:cubicBezTo>
                <a:cubicBezTo>
                  <a:pt x="119248" y="122423"/>
                  <a:pt x="118092" y="130573"/>
                  <a:pt x="115200" y="138191"/>
                </a:cubicBezTo>
                <a:cubicBezTo>
                  <a:pt x="113753" y="141887"/>
                  <a:pt x="113001" y="145804"/>
                  <a:pt x="112944" y="149760"/>
                </a:cubicBezTo>
                <a:cubicBezTo>
                  <a:pt x="119248" y="161514"/>
                  <a:pt x="126999" y="172423"/>
                  <a:pt x="136081" y="182211"/>
                </a:cubicBezTo>
                <a:cubicBezTo>
                  <a:pt x="136139" y="180267"/>
                  <a:pt x="135966" y="178324"/>
                  <a:pt x="135560" y="176426"/>
                </a:cubicBezTo>
                <a:cubicBezTo>
                  <a:pt x="134693" y="170642"/>
                  <a:pt x="133420" y="162139"/>
                  <a:pt x="138684" y="157453"/>
                </a:cubicBezTo>
                <a:cubicBezTo>
                  <a:pt x="140940" y="155568"/>
                  <a:pt x="143716" y="154364"/>
                  <a:pt x="146667" y="153983"/>
                </a:cubicBezTo>
                <a:cubicBezTo>
                  <a:pt x="151179" y="153115"/>
                  <a:pt x="154129" y="152479"/>
                  <a:pt x="153665" y="140621"/>
                </a:cubicBezTo>
                <a:cubicBezTo>
                  <a:pt x="153319" y="134992"/>
                  <a:pt x="153839" y="129347"/>
                  <a:pt x="155343" y="123904"/>
                </a:cubicBezTo>
                <a:cubicBezTo>
                  <a:pt x="156905" y="120398"/>
                  <a:pt x="155979" y="116297"/>
                  <a:pt x="153087" y="113781"/>
                </a:cubicBezTo>
                <a:cubicBezTo>
                  <a:pt x="147997" y="108106"/>
                  <a:pt x="142502" y="102831"/>
                  <a:pt x="136660" y="97990"/>
                </a:cubicBezTo>
                <a:cubicBezTo>
                  <a:pt x="136428" y="97787"/>
                  <a:pt x="136312" y="97492"/>
                  <a:pt x="136312" y="97180"/>
                </a:cubicBezTo>
                <a:cubicBezTo>
                  <a:pt x="135214" y="90302"/>
                  <a:pt x="133362" y="83557"/>
                  <a:pt x="130875" y="77050"/>
                </a:cubicBezTo>
                <a:cubicBezTo>
                  <a:pt x="126363" y="63398"/>
                  <a:pt x="121215" y="48127"/>
                  <a:pt x="124628" y="38988"/>
                </a:cubicBezTo>
                <a:cubicBezTo>
                  <a:pt x="125553" y="36038"/>
                  <a:pt x="126074" y="32949"/>
                  <a:pt x="126016" y="29849"/>
                </a:cubicBezTo>
                <a:cubicBezTo>
                  <a:pt x="126016" y="29531"/>
                  <a:pt x="126189" y="29236"/>
                  <a:pt x="126421" y="29039"/>
                </a:cubicBezTo>
                <a:cubicBezTo>
                  <a:pt x="126653" y="28831"/>
                  <a:pt x="126999" y="28727"/>
                  <a:pt x="127289" y="28750"/>
                </a:cubicBezTo>
                <a:cubicBezTo>
                  <a:pt x="133073" y="29560"/>
                  <a:pt x="140420" y="30370"/>
                  <a:pt x="142618" y="30370"/>
                </a:cubicBezTo>
                <a:cubicBezTo>
                  <a:pt x="144180" y="30184"/>
                  <a:pt x="145626" y="29669"/>
                  <a:pt x="146956" y="28866"/>
                </a:cubicBezTo>
                <a:cubicBezTo>
                  <a:pt x="149501" y="27483"/>
                  <a:pt x="152277" y="26690"/>
                  <a:pt x="155170" y="26552"/>
                </a:cubicBezTo>
                <a:cubicBezTo>
                  <a:pt x="156500" y="26563"/>
                  <a:pt x="157889" y="26777"/>
                  <a:pt x="159161" y="27188"/>
                </a:cubicBezTo>
                <a:cubicBezTo>
                  <a:pt x="161938" y="27871"/>
                  <a:pt x="164078" y="30138"/>
                  <a:pt x="164598" y="32972"/>
                </a:cubicBezTo>
                <a:cubicBezTo>
                  <a:pt x="165119" y="34592"/>
                  <a:pt x="165292" y="35286"/>
                  <a:pt x="167664" y="35286"/>
                </a:cubicBezTo>
                <a:cubicBezTo>
                  <a:pt x="171540" y="35014"/>
                  <a:pt x="175415" y="34413"/>
                  <a:pt x="179233" y="33493"/>
                </a:cubicBezTo>
                <a:cubicBezTo>
                  <a:pt x="183109" y="32481"/>
                  <a:pt x="187158" y="31995"/>
                  <a:pt x="191149" y="32047"/>
                </a:cubicBezTo>
                <a:lnTo>
                  <a:pt x="191785" y="32047"/>
                </a:lnTo>
                <a:cubicBezTo>
                  <a:pt x="194793" y="32718"/>
                  <a:pt x="197859" y="33105"/>
                  <a:pt x="200982" y="33204"/>
                </a:cubicBezTo>
                <a:cubicBezTo>
                  <a:pt x="203123" y="33204"/>
                  <a:pt x="205725" y="32857"/>
                  <a:pt x="205957" y="31237"/>
                </a:cubicBezTo>
                <a:cubicBezTo>
                  <a:pt x="206535" y="27709"/>
                  <a:pt x="208560" y="19668"/>
                  <a:pt x="214460" y="19668"/>
                </a:cubicBezTo>
                <a:cubicBezTo>
                  <a:pt x="215096" y="19558"/>
                  <a:pt x="215675" y="19558"/>
                  <a:pt x="216311" y="19668"/>
                </a:cubicBezTo>
                <a:cubicBezTo>
                  <a:pt x="217757" y="20096"/>
                  <a:pt x="219204" y="20657"/>
                  <a:pt x="220534" y="21346"/>
                </a:cubicBezTo>
                <a:cubicBezTo>
                  <a:pt x="222327" y="22317"/>
                  <a:pt x="224294" y="22890"/>
                  <a:pt x="226318" y="23023"/>
                </a:cubicBezTo>
                <a:cubicBezTo>
                  <a:pt x="228343" y="22907"/>
                  <a:pt x="230194" y="22063"/>
                  <a:pt x="231640" y="20651"/>
                </a:cubicBezTo>
                <a:cubicBezTo>
                  <a:pt x="235226" y="18060"/>
                  <a:pt x="239680" y="16984"/>
                  <a:pt x="244076" y="17644"/>
                </a:cubicBezTo>
                <a:lnTo>
                  <a:pt x="246043" y="17644"/>
                </a:lnTo>
                <a:cubicBezTo>
                  <a:pt x="248878" y="17644"/>
                  <a:pt x="250150" y="17239"/>
                  <a:pt x="250728" y="16082"/>
                </a:cubicBezTo>
                <a:cubicBezTo>
                  <a:pt x="251307" y="14925"/>
                  <a:pt x="252522" y="12553"/>
                  <a:pt x="280287" y="1"/>
                </a:cubicBezTo>
                <a:cubicBezTo>
                  <a:pt x="280634" y="-172"/>
                  <a:pt x="281039" y="-172"/>
                  <a:pt x="281386" y="1"/>
                </a:cubicBezTo>
                <a:cubicBezTo>
                  <a:pt x="281675" y="215"/>
                  <a:pt x="281849" y="562"/>
                  <a:pt x="281849" y="927"/>
                </a:cubicBezTo>
                <a:cubicBezTo>
                  <a:pt x="281849" y="927"/>
                  <a:pt x="281849" y="927"/>
                  <a:pt x="281849" y="1332"/>
                </a:cubicBezTo>
                <a:lnTo>
                  <a:pt x="281849" y="1968"/>
                </a:lnTo>
                <a:cubicBezTo>
                  <a:pt x="281849" y="8735"/>
                  <a:pt x="282543" y="18396"/>
                  <a:pt x="283237" y="28576"/>
                </a:cubicBezTo>
                <a:cubicBezTo>
                  <a:pt x="284509" y="41510"/>
                  <a:pt x="284857" y="54519"/>
                  <a:pt x="284336" y="67505"/>
                </a:cubicBezTo>
                <a:cubicBezTo>
                  <a:pt x="284047" y="85322"/>
                  <a:pt x="286361" y="103085"/>
                  <a:pt x="291104" y="120259"/>
                </a:cubicBezTo>
                <a:cubicBezTo>
                  <a:pt x="294343" y="128589"/>
                  <a:pt x="264495" y="168386"/>
                  <a:pt x="247374" y="178624"/>
                </a:cubicBezTo>
                <a:cubicBezTo>
                  <a:pt x="240027" y="182644"/>
                  <a:pt x="232276" y="185785"/>
                  <a:pt x="224236" y="187995"/>
                </a:cubicBezTo>
                <a:cubicBezTo>
                  <a:pt x="213535" y="190604"/>
                  <a:pt x="203470" y="195191"/>
                  <a:pt x="194446" y="201531"/>
                </a:cubicBezTo>
                <a:cubicBezTo>
                  <a:pt x="187620" y="206864"/>
                  <a:pt x="181778" y="213319"/>
                  <a:pt x="177093" y="220619"/>
                </a:cubicBezTo>
                <a:cubicBezTo>
                  <a:pt x="174200" y="225357"/>
                  <a:pt x="170440" y="229545"/>
                  <a:pt x="166102" y="232998"/>
                </a:cubicBezTo>
                <a:cubicBezTo>
                  <a:pt x="162516" y="235659"/>
                  <a:pt x="158467" y="237620"/>
                  <a:pt x="154187" y="238782"/>
                </a:cubicBezTo>
                <a:cubicBezTo>
                  <a:pt x="149443" y="239685"/>
                  <a:pt x="145394" y="242832"/>
                  <a:pt x="143370" y="247228"/>
                </a:cubicBezTo>
                <a:cubicBezTo>
                  <a:pt x="142270" y="249310"/>
                  <a:pt x="141403" y="251161"/>
                  <a:pt x="140651" y="252665"/>
                </a:cubicBezTo>
                <a:cubicBezTo>
                  <a:pt x="137412" y="259259"/>
                  <a:pt x="136081" y="261978"/>
                  <a:pt x="129949" y="262325"/>
                </a:cubicBezTo>
                <a:cubicBezTo>
                  <a:pt x="128445" y="262337"/>
                  <a:pt x="127057" y="263094"/>
                  <a:pt x="126189" y="264349"/>
                </a:cubicBezTo>
                <a:cubicBezTo>
                  <a:pt x="124107" y="267300"/>
                  <a:pt x="124223" y="273547"/>
                  <a:pt x="126479" y="281703"/>
                </a:cubicBezTo>
                <a:cubicBezTo>
                  <a:pt x="127636" y="285382"/>
                  <a:pt x="129313" y="288899"/>
                  <a:pt x="131338" y="292173"/>
                </a:cubicBezTo>
                <a:cubicBezTo>
                  <a:pt x="135966" y="299577"/>
                  <a:pt x="138858" y="307918"/>
                  <a:pt x="139841" y="316583"/>
                </a:cubicBezTo>
                <a:cubicBezTo>
                  <a:pt x="140766" y="322755"/>
                  <a:pt x="142039" y="328858"/>
                  <a:pt x="143716" y="334862"/>
                </a:cubicBezTo>
                <a:cubicBezTo>
                  <a:pt x="145915" y="340108"/>
                  <a:pt x="146204" y="345945"/>
                  <a:pt x="144642" y="351405"/>
                </a:cubicBezTo>
                <a:cubicBezTo>
                  <a:pt x="143080" y="358404"/>
                  <a:pt x="142502" y="365589"/>
                  <a:pt x="142964" y="372750"/>
                </a:cubicBezTo>
                <a:cubicBezTo>
                  <a:pt x="143312" y="378846"/>
                  <a:pt x="142964" y="384967"/>
                  <a:pt x="141808" y="390971"/>
                </a:cubicBezTo>
                <a:cubicBezTo>
                  <a:pt x="139147" y="399879"/>
                  <a:pt x="128909" y="404969"/>
                  <a:pt x="107101" y="413067"/>
                </a:cubicBezTo>
                <a:cubicBezTo>
                  <a:pt x="83154" y="421918"/>
                  <a:pt x="62677" y="436552"/>
                  <a:pt x="64990" y="443146"/>
                </a:cubicBezTo>
                <a:cubicBezTo>
                  <a:pt x="65395" y="444962"/>
                  <a:pt x="67131" y="446154"/>
                  <a:pt x="68982" y="445865"/>
                </a:cubicBezTo>
                <a:lnTo>
                  <a:pt x="70659" y="445865"/>
                </a:lnTo>
                <a:cubicBezTo>
                  <a:pt x="72105" y="445732"/>
                  <a:pt x="73493" y="446218"/>
                  <a:pt x="74535" y="447195"/>
                </a:cubicBezTo>
                <a:cubicBezTo>
                  <a:pt x="75865" y="449237"/>
                  <a:pt x="76386" y="451730"/>
                  <a:pt x="75923" y="454137"/>
                </a:cubicBezTo>
                <a:cubicBezTo>
                  <a:pt x="75923" y="457607"/>
                  <a:pt x="75287" y="462582"/>
                  <a:pt x="74651" y="467846"/>
                </a:cubicBezTo>
                <a:cubicBezTo>
                  <a:pt x="74593" y="468407"/>
                  <a:pt x="74130" y="468835"/>
                  <a:pt x="73551" y="468829"/>
                </a:cubicBezTo>
                <a:lnTo>
                  <a:pt x="72453" y="468829"/>
                </a:lnTo>
                <a:cubicBezTo>
                  <a:pt x="66090" y="468927"/>
                  <a:pt x="59669" y="469431"/>
                  <a:pt x="53364" y="470333"/>
                </a:cubicBezTo>
                <a:close/>
                <a:moveTo>
                  <a:pt x="30458" y="336424"/>
                </a:moveTo>
                <a:lnTo>
                  <a:pt x="30804" y="336886"/>
                </a:lnTo>
                <a:cubicBezTo>
                  <a:pt x="32424" y="341363"/>
                  <a:pt x="33697" y="345968"/>
                  <a:pt x="34622" y="350653"/>
                </a:cubicBezTo>
                <a:cubicBezTo>
                  <a:pt x="37688" y="363379"/>
                  <a:pt x="42836" y="384666"/>
                  <a:pt x="47348" y="387269"/>
                </a:cubicBezTo>
                <a:cubicBezTo>
                  <a:pt x="55851" y="392243"/>
                  <a:pt x="50414" y="437709"/>
                  <a:pt x="50298" y="438172"/>
                </a:cubicBezTo>
                <a:cubicBezTo>
                  <a:pt x="50761" y="448225"/>
                  <a:pt x="51686" y="458244"/>
                  <a:pt x="53190" y="468193"/>
                </a:cubicBezTo>
                <a:cubicBezTo>
                  <a:pt x="59264" y="467348"/>
                  <a:pt x="65338" y="466880"/>
                  <a:pt x="71469" y="466804"/>
                </a:cubicBezTo>
                <a:lnTo>
                  <a:pt x="71469" y="466804"/>
                </a:lnTo>
                <a:cubicBezTo>
                  <a:pt x="71989" y="462004"/>
                  <a:pt x="72395" y="457434"/>
                  <a:pt x="72626" y="454252"/>
                </a:cubicBezTo>
                <a:cubicBezTo>
                  <a:pt x="72857" y="451071"/>
                  <a:pt x="72626" y="449741"/>
                  <a:pt x="71758" y="448989"/>
                </a:cubicBezTo>
                <a:cubicBezTo>
                  <a:pt x="70891" y="448237"/>
                  <a:pt x="70775" y="448410"/>
                  <a:pt x="69560" y="448410"/>
                </a:cubicBezTo>
                <a:lnTo>
                  <a:pt x="67883" y="448410"/>
                </a:lnTo>
                <a:cubicBezTo>
                  <a:pt x="65106" y="448682"/>
                  <a:pt x="62503" y="446900"/>
                  <a:pt x="61752" y="444187"/>
                </a:cubicBezTo>
                <a:cubicBezTo>
                  <a:pt x="58338" y="434412"/>
                  <a:pt x="84889" y="418794"/>
                  <a:pt x="105250" y="411274"/>
                </a:cubicBezTo>
                <a:cubicBezTo>
                  <a:pt x="129140" y="402482"/>
                  <a:pt x="136718" y="397854"/>
                  <a:pt x="138858" y="390566"/>
                </a:cubicBezTo>
                <a:cubicBezTo>
                  <a:pt x="139899" y="384845"/>
                  <a:pt x="140246" y="379020"/>
                  <a:pt x="139899" y="373212"/>
                </a:cubicBezTo>
                <a:cubicBezTo>
                  <a:pt x="139436" y="365797"/>
                  <a:pt x="140072" y="358358"/>
                  <a:pt x="141692" y="351116"/>
                </a:cubicBezTo>
                <a:cubicBezTo>
                  <a:pt x="143138" y="346083"/>
                  <a:pt x="142791" y="340721"/>
                  <a:pt x="140766" y="335903"/>
                </a:cubicBezTo>
                <a:cubicBezTo>
                  <a:pt x="139031" y="329812"/>
                  <a:pt x="137700" y="323605"/>
                  <a:pt x="136833" y="317335"/>
                </a:cubicBezTo>
                <a:cubicBezTo>
                  <a:pt x="135850" y="308971"/>
                  <a:pt x="133015" y="300924"/>
                  <a:pt x="128561" y="293792"/>
                </a:cubicBezTo>
                <a:cubicBezTo>
                  <a:pt x="126363" y="290356"/>
                  <a:pt x="124685" y="286643"/>
                  <a:pt x="123529" y="282744"/>
                </a:cubicBezTo>
                <a:cubicBezTo>
                  <a:pt x="120984" y="274010"/>
                  <a:pt x="121042" y="267242"/>
                  <a:pt x="123529" y="263655"/>
                </a:cubicBezTo>
                <a:cubicBezTo>
                  <a:pt x="124743" y="261874"/>
                  <a:pt x="126768" y="260798"/>
                  <a:pt x="128967" y="260763"/>
                </a:cubicBezTo>
                <a:cubicBezTo>
                  <a:pt x="133825" y="260474"/>
                  <a:pt x="134751" y="258739"/>
                  <a:pt x="137816" y="252318"/>
                </a:cubicBezTo>
                <a:cubicBezTo>
                  <a:pt x="138568" y="250756"/>
                  <a:pt x="139436" y="248905"/>
                  <a:pt x="140593" y="246823"/>
                </a:cubicBezTo>
                <a:cubicBezTo>
                  <a:pt x="142849" y="241883"/>
                  <a:pt x="147361" y="238331"/>
                  <a:pt x="152683" y="237278"/>
                </a:cubicBezTo>
                <a:cubicBezTo>
                  <a:pt x="156731" y="236145"/>
                  <a:pt x="160491" y="234299"/>
                  <a:pt x="163904" y="231841"/>
                </a:cubicBezTo>
                <a:cubicBezTo>
                  <a:pt x="168069" y="228550"/>
                  <a:pt x="171656" y="224535"/>
                  <a:pt x="174432" y="219983"/>
                </a:cubicBezTo>
                <a:cubicBezTo>
                  <a:pt x="179291" y="212446"/>
                  <a:pt x="185422" y="205805"/>
                  <a:pt x="192595" y="200374"/>
                </a:cubicBezTo>
                <a:cubicBezTo>
                  <a:pt x="201792" y="193889"/>
                  <a:pt x="212089" y="189163"/>
                  <a:pt x="223021" y="186433"/>
                </a:cubicBezTo>
                <a:cubicBezTo>
                  <a:pt x="231061" y="184357"/>
                  <a:pt x="238871" y="181285"/>
                  <a:pt x="246158" y="177294"/>
                </a:cubicBezTo>
                <a:cubicBezTo>
                  <a:pt x="263107" y="167171"/>
                  <a:pt x="291451" y="128358"/>
                  <a:pt x="288905" y="121706"/>
                </a:cubicBezTo>
                <a:cubicBezTo>
                  <a:pt x="283989" y="104190"/>
                  <a:pt x="281675" y="86045"/>
                  <a:pt x="281964" y="67853"/>
                </a:cubicBezTo>
                <a:cubicBezTo>
                  <a:pt x="282485" y="55023"/>
                  <a:pt x="282080" y="42170"/>
                  <a:pt x="280865" y="29386"/>
                </a:cubicBezTo>
                <a:cubicBezTo>
                  <a:pt x="280171" y="19495"/>
                  <a:pt x="279535" y="10124"/>
                  <a:pt x="279535" y="3298"/>
                </a:cubicBezTo>
                <a:cubicBezTo>
                  <a:pt x="255819" y="14057"/>
                  <a:pt x="252926" y="16950"/>
                  <a:pt x="252580" y="17586"/>
                </a:cubicBezTo>
                <a:cubicBezTo>
                  <a:pt x="251365" y="20073"/>
                  <a:pt x="248588" y="20420"/>
                  <a:pt x="245870" y="20420"/>
                </a:cubicBezTo>
                <a:lnTo>
                  <a:pt x="243845" y="20420"/>
                </a:lnTo>
                <a:cubicBezTo>
                  <a:pt x="240027" y="19813"/>
                  <a:pt x="236094" y="20680"/>
                  <a:pt x="232913" y="22849"/>
                </a:cubicBezTo>
                <a:cubicBezTo>
                  <a:pt x="231119" y="24666"/>
                  <a:pt x="228690" y="25719"/>
                  <a:pt x="226145" y="25800"/>
                </a:cubicBezTo>
                <a:cubicBezTo>
                  <a:pt x="223889" y="25638"/>
                  <a:pt x="221690" y="24984"/>
                  <a:pt x="219666" y="23891"/>
                </a:cubicBezTo>
                <a:cubicBezTo>
                  <a:pt x="218394" y="23278"/>
                  <a:pt x="217063" y="22751"/>
                  <a:pt x="215733" y="22329"/>
                </a:cubicBezTo>
                <a:lnTo>
                  <a:pt x="214518" y="22329"/>
                </a:lnTo>
                <a:cubicBezTo>
                  <a:pt x="211105" y="22329"/>
                  <a:pt x="208733" y="27362"/>
                  <a:pt x="208271" y="32047"/>
                </a:cubicBezTo>
                <a:cubicBezTo>
                  <a:pt x="207866" y="34650"/>
                  <a:pt x="205437" y="35922"/>
                  <a:pt x="201040" y="35922"/>
                </a:cubicBezTo>
                <a:cubicBezTo>
                  <a:pt x="197801" y="35813"/>
                  <a:pt x="194562" y="35408"/>
                  <a:pt x="191380" y="34708"/>
                </a:cubicBezTo>
                <a:lnTo>
                  <a:pt x="190802" y="34708"/>
                </a:lnTo>
                <a:cubicBezTo>
                  <a:pt x="187042" y="34679"/>
                  <a:pt x="183340" y="35188"/>
                  <a:pt x="179753" y="36212"/>
                </a:cubicBezTo>
                <a:cubicBezTo>
                  <a:pt x="175762" y="37155"/>
                  <a:pt x="171656" y="37750"/>
                  <a:pt x="167548" y="38005"/>
                </a:cubicBezTo>
                <a:cubicBezTo>
                  <a:pt x="165061" y="38375"/>
                  <a:pt x="162747" y="36657"/>
                  <a:pt x="162342" y="34158"/>
                </a:cubicBezTo>
                <a:cubicBezTo>
                  <a:pt x="162342" y="34129"/>
                  <a:pt x="162342" y="34100"/>
                  <a:pt x="162342" y="34071"/>
                </a:cubicBezTo>
                <a:cubicBezTo>
                  <a:pt x="161995" y="31983"/>
                  <a:pt x="160434" y="30312"/>
                  <a:pt x="158351" y="29849"/>
                </a:cubicBezTo>
                <a:cubicBezTo>
                  <a:pt x="157310" y="29507"/>
                  <a:pt x="156153" y="29328"/>
                  <a:pt x="155054" y="29328"/>
                </a:cubicBezTo>
                <a:cubicBezTo>
                  <a:pt x="152509" y="29473"/>
                  <a:pt x="150021" y="30207"/>
                  <a:pt x="147823" y="31469"/>
                </a:cubicBezTo>
                <a:cubicBezTo>
                  <a:pt x="146204" y="32377"/>
                  <a:pt x="144353" y="32943"/>
                  <a:pt x="142502" y="33146"/>
                </a:cubicBezTo>
                <a:cubicBezTo>
                  <a:pt x="140188" y="33146"/>
                  <a:pt x="133594" y="32394"/>
                  <a:pt x="128099" y="31700"/>
                </a:cubicBezTo>
                <a:cubicBezTo>
                  <a:pt x="128041" y="34627"/>
                  <a:pt x="127578" y="37536"/>
                  <a:pt x="126653" y="40319"/>
                </a:cubicBezTo>
                <a:cubicBezTo>
                  <a:pt x="123471" y="48474"/>
                  <a:pt x="128503" y="63456"/>
                  <a:pt x="132900" y="76876"/>
                </a:cubicBezTo>
                <a:cubicBezTo>
                  <a:pt x="135503" y="83418"/>
                  <a:pt x="137412" y="90204"/>
                  <a:pt x="138684" y="97122"/>
                </a:cubicBezTo>
                <a:cubicBezTo>
                  <a:pt x="144526" y="101957"/>
                  <a:pt x="149964" y="107216"/>
                  <a:pt x="154997" y="112855"/>
                </a:cubicBezTo>
                <a:cubicBezTo>
                  <a:pt x="158409" y="115898"/>
                  <a:pt x="159450" y="120745"/>
                  <a:pt x="157715" y="124945"/>
                </a:cubicBezTo>
                <a:cubicBezTo>
                  <a:pt x="156269" y="130174"/>
                  <a:pt x="155691" y="135611"/>
                  <a:pt x="156095" y="141025"/>
                </a:cubicBezTo>
                <a:cubicBezTo>
                  <a:pt x="156616" y="153867"/>
                  <a:pt x="152913" y="155602"/>
                  <a:pt x="147245" y="156759"/>
                </a:cubicBezTo>
                <a:cubicBezTo>
                  <a:pt x="144700" y="157054"/>
                  <a:pt x="142328" y="158055"/>
                  <a:pt x="140362" y="159651"/>
                </a:cubicBezTo>
                <a:cubicBezTo>
                  <a:pt x="136023" y="163527"/>
                  <a:pt x="137122" y="170815"/>
                  <a:pt x="137990" y="176658"/>
                </a:cubicBezTo>
                <a:cubicBezTo>
                  <a:pt x="138568" y="179174"/>
                  <a:pt x="138568" y="181777"/>
                  <a:pt x="137990" y="184293"/>
                </a:cubicBezTo>
                <a:cubicBezTo>
                  <a:pt x="137758" y="184953"/>
                  <a:pt x="137180" y="185398"/>
                  <a:pt x="136486" y="185392"/>
                </a:cubicBezTo>
                <a:cubicBezTo>
                  <a:pt x="131627" y="185392"/>
                  <a:pt x="111902" y="154330"/>
                  <a:pt x="110861" y="151091"/>
                </a:cubicBezTo>
                <a:cubicBezTo>
                  <a:pt x="110630" y="146700"/>
                  <a:pt x="111382" y="142310"/>
                  <a:pt x="113059" y="138249"/>
                </a:cubicBezTo>
                <a:cubicBezTo>
                  <a:pt x="115778" y="130984"/>
                  <a:pt x="116992" y="123210"/>
                  <a:pt x="116472" y="115458"/>
                </a:cubicBezTo>
                <a:cubicBezTo>
                  <a:pt x="116009" y="112040"/>
                  <a:pt x="112886" y="109634"/>
                  <a:pt x="109473" y="110079"/>
                </a:cubicBezTo>
                <a:cubicBezTo>
                  <a:pt x="106176" y="110293"/>
                  <a:pt x="102937" y="110952"/>
                  <a:pt x="99813" y="112046"/>
                </a:cubicBezTo>
                <a:cubicBezTo>
                  <a:pt x="98540" y="112468"/>
                  <a:pt x="97267" y="112798"/>
                  <a:pt x="95937" y="113029"/>
                </a:cubicBezTo>
                <a:lnTo>
                  <a:pt x="95301" y="113029"/>
                </a:lnTo>
                <a:cubicBezTo>
                  <a:pt x="91830" y="113029"/>
                  <a:pt x="86856" y="108459"/>
                  <a:pt x="82460" y="104468"/>
                </a:cubicBezTo>
                <a:cubicBezTo>
                  <a:pt x="80840" y="102814"/>
                  <a:pt x="79047" y="101356"/>
                  <a:pt x="77080" y="100130"/>
                </a:cubicBezTo>
                <a:cubicBezTo>
                  <a:pt x="74709" y="100477"/>
                  <a:pt x="31614" y="116326"/>
                  <a:pt x="2634" y="127143"/>
                </a:cubicBezTo>
                <a:lnTo>
                  <a:pt x="8014" y="146347"/>
                </a:lnTo>
                <a:cubicBezTo>
                  <a:pt x="8130" y="146665"/>
                  <a:pt x="8130" y="147012"/>
                  <a:pt x="8014" y="147331"/>
                </a:cubicBezTo>
                <a:cubicBezTo>
                  <a:pt x="7840" y="147579"/>
                  <a:pt x="7551" y="147747"/>
                  <a:pt x="7204" y="147793"/>
                </a:cubicBezTo>
                <a:lnTo>
                  <a:pt x="10270" y="154445"/>
                </a:lnTo>
                <a:cubicBezTo>
                  <a:pt x="14377" y="154445"/>
                  <a:pt x="35143" y="156354"/>
                  <a:pt x="45265" y="163064"/>
                </a:cubicBezTo>
                <a:cubicBezTo>
                  <a:pt x="52323" y="167090"/>
                  <a:pt x="60016" y="169867"/>
                  <a:pt x="67998" y="171278"/>
                </a:cubicBezTo>
                <a:cubicBezTo>
                  <a:pt x="71006" y="171747"/>
                  <a:pt x="73957" y="172666"/>
                  <a:pt x="76733" y="173997"/>
                </a:cubicBezTo>
                <a:cubicBezTo>
                  <a:pt x="79336" y="175674"/>
                  <a:pt x="79105" y="183425"/>
                  <a:pt x="78584" y="197134"/>
                </a:cubicBezTo>
                <a:cubicBezTo>
                  <a:pt x="78179" y="203879"/>
                  <a:pt x="78179" y="210635"/>
                  <a:pt x="78584" y="217380"/>
                </a:cubicBezTo>
                <a:cubicBezTo>
                  <a:pt x="78873" y="222962"/>
                  <a:pt x="76733" y="228405"/>
                  <a:pt x="72799" y="232362"/>
                </a:cubicBezTo>
                <a:cubicBezTo>
                  <a:pt x="69618" y="236179"/>
                  <a:pt x="68287" y="238146"/>
                  <a:pt x="71179" y="240865"/>
                </a:cubicBezTo>
                <a:cubicBezTo>
                  <a:pt x="74651" y="244763"/>
                  <a:pt x="76675" y="249715"/>
                  <a:pt x="76964" y="254921"/>
                </a:cubicBezTo>
                <a:cubicBezTo>
                  <a:pt x="77485" y="258565"/>
                  <a:pt x="77890" y="260705"/>
                  <a:pt x="79336" y="261168"/>
                </a:cubicBezTo>
                <a:cubicBezTo>
                  <a:pt x="80319" y="261365"/>
                  <a:pt x="81071" y="262186"/>
                  <a:pt x="81187" y="263193"/>
                </a:cubicBezTo>
                <a:cubicBezTo>
                  <a:pt x="81881" y="267936"/>
                  <a:pt x="70197" y="280546"/>
                  <a:pt x="65106" y="283843"/>
                </a:cubicBezTo>
                <a:cubicBezTo>
                  <a:pt x="62734" y="285231"/>
                  <a:pt x="62619" y="288818"/>
                  <a:pt x="62503" y="293329"/>
                </a:cubicBezTo>
                <a:cubicBezTo>
                  <a:pt x="62850" y="299259"/>
                  <a:pt x="61346" y="305147"/>
                  <a:pt x="58165" y="310162"/>
                </a:cubicBezTo>
                <a:cubicBezTo>
                  <a:pt x="52091" y="317156"/>
                  <a:pt x="45555" y="323767"/>
                  <a:pt x="38671" y="32994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4" name="Forma libre: forma 433">
            <a:extLst>
              <a:ext uri="{FF2B5EF4-FFF2-40B4-BE49-F238E27FC236}">
                <a16:creationId xmlns:a16="http://schemas.microsoft.com/office/drawing/2014/main" id="{B16DDE58-252D-C717-F030-23D9DDAD5DE7}"/>
              </a:ext>
            </a:extLst>
          </p:cNvPr>
          <p:cNvSpPr/>
          <p:nvPr/>
        </p:nvSpPr>
        <p:spPr>
          <a:xfrm>
            <a:off x="6972487" y="4504297"/>
            <a:ext cx="300287" cy="303501"/>
          </a:xfrm>
          <a:custGeom>
            <a:avLst/>
            <a:gdLst>
              <a:gd name="connsiteX0" fmla="*/ 185408 w 300287"/>
              <a:gd name="connsiteY0" fmla="*/ 303322 h 303501"/>
              <a:gd name="connsiteX1" fmla="*/ 180202 w 300287"/>
              <a:gd name="connsiteY1" fmla="*/ 299475 h 303501"/>
              <a:gd name="connsiteX2" fmla="*/ 180202 w 300287"/>
              <a:gd name="connsiteY2" fmla="*/ 299389 h 303501"/>
              <a:gd name="connsiteX3" fmla="*/ 176211 w 300287"/>
              <a:gd name="connsiteY3" fmla="*/ 295166 h 303501"/>
              <a:gd name="connsiteX4" fmla="*/ 172914 w 300287"/>
              <a:gd name="connsiteY4" fmla="*/ 294646 h 303501"/>
              <a:gd name="connsiteX5" fmla="*/ 165683 w 300287"/>
              <a:gd name="connsiteY5" fmla="*/ 296786 h 303501"/>
              <a:gd name="connsiteX6" fmla="*/ 160361 w 300287"/>
              <a:gd name="connsiteY6" fmla="*/ 298463 h 303501"/>
              <a:gd name="connsiteX7" fmla="*/ 144744 w 300287"/>
              <a:gd name="connsiteY7" fmla="*/ 296843 h 303501"/>
              <a:gd name="connsiteX8" fmla="*/ 143760 w 300287"/>
              <a:gd name="connsiteY8" fmla="*/ 295687 h 303501"/>
              <a:gd name="connsiteX9" fmla="*/ 128836 w 300287"/>
              <a:gd name="connsiteY9" fmla="*/ 243627 h 303501"/>
              <a:gd name="connsiteX10" fmla="*/ 125249 w 300287"/>
              <a:gd name="connsiteY10" fmla="*/ 241602 h 303501"/>
              <a:gd name="connsiteX11" fmla="*/ 122011 w 300287"/>
              <a:gd name="connsiteY11" fmla="*/ 242875 h 303501"/>
              <a:gd name="connsiteX12" fmla="*/ 121143 w 300287"/>
              <a:gd name="connsiteY12" fmla="*/ 243164 h 303501"/>
              <a:gd name="connsiteX13" fmla="*/ 102922 w 300287"/>
              <a:gd name="connsiteY13" fmla="*/ 243164 h 303501"/>
              <a:gd name="connsiteX14" fmla="*/ 101881 w 300287"/>
              <a:gd name="connsiteY14" fmla="*/ 242643 h 303501"/>
              <a:gd name="connsiteX15" fmla="*/ 100145 w 300287"/>
              <a:gd name="connsiteY15" fmla="*/ 239925 h 303501"/>
              <a:gd name="connsiteX16" fmla="*/ 65902 w 300287"/>
              <a:gd name="connsiteY16" fmla="*/ 225117 h 303501"/>
              <a:gd name="connsiteX17" fmla="*/ 54795 w 300287"/>
              <a:gd name="connsiteY17" fmla="*/ 220431 h 303501"/>
              <a:gd name="connsiteX18" fmla="*/ 40971 w 300287"/>
              <a:gd name="connsiteY18" fmla="*/ 215283 h 303501"/>
              <a:gd name="connsiteX19" fmla="*/ 20551 w 300287"/>
              <a:gd name="connsiteY19" fmla="*/ 203714 h 303501"/>
              <a:gd name="connsiteX20" fmla="*/ 20089 w 300287"/>
              <a:gd name="connsiteY20" fmla="*/ 202904 h 303501"/>
              <a:gd name="connsiteX21" fmla="*/ 20436 w 300287"/>
              <a:gd name="connsiteY21" fmla="*/ 202037 h 303501"/>
              <a:gd name="connsiteX22" fmla="*/ 20783 w 300287"/>
              <a:gd name="connsiteY22" fmla="*/ 201632 h 303501"/>
              <a:gd name="connsiteX23" fmla="*/ 21246 w 300287"/>
              <a:gd name="connsiteY23" fmla="*/ 201111 h 303501"/>
              <a:gd name="connsiteX24" fmla="*/ 22981 w 300287"/>
              <a:gd name="connsiteY24" fmla="*/ 197062 h 303501"/>
              <a:gd name="connsiteX25" fmla="*/ 23907 w 300287"/>
              <a:gd name="connsiteY25" fmla="*/ 196310 h 303501"/>
              <a:gd name="connsiteX26" fmla="*/ 25006 w 300287"/>
              <a:gd name="connsiteY26" fmla="*/ 196831 h 303501"/>
              <a:gd name="connsiteX27" fmla="*/ 38773 w 300287"/>
              <a:gd name="connsiteY27" fmla="*/ 207879 h 303501"/>
              <a:gd name="connsiteX28" fmla="*/ 40971 w 300287"/>
              <a:gd name="connsiteY28" fmla="*/ 205854 h 303501"/>
              <a:gd name="connsiteX29" fmla="*/ 36574 w 300287"/>
              <a:gd name="connsiteY29" fmla="*/ 196310 h 303501"/>
              <a:gd name="connsiteX30" fmla="*/ 31542 w 300287"/>
              <a:gd name="connsiteY30" fmla="*/ 187460 h 303501"/>
              <a:gd name="connsiteX31" fmla="*/ 29749 w 300287"/>
              <a:gd name="connsiteY31" fmla="*/ 179015 h 303501"/>
              <a:gd name="connsiteX32" fmla="*/ 17255 w 300287"/>
              <a:gd name="connsiteY32" fmla="*/ 152175 h 303501"/>
              <a:gd name="connsiteX33" fmla="*/ -99 w 300287"/>
              <a:gd name="connsiteY33" fmla="*/ 99479 h 303501"/>
              <a:gd name="connsiteX34" fmla="*/ 422 w 300287"/>
              <a:gd name="connsiteY34" fmla="*/ 98322 h 303501"/>
              <a:gd name="connsiteX35" fmla="*/ 11991 w 300287"/>
              <a:gd name="connsiteY35" fmla="*/ 91323 h 303501"/>
              <a:gd name="connsiteX36" fmla="*/ 33278 w 300287"/>
              <a:gd name="connsiteY36" fmla="*/ 60665 h 303501"/>
              <a:gd name="connsiteX37" fmla="*/ 27204 w 300287"/>
              <a:gd name="connsiteY37" fmla="*/ 57021 h 303501"/>
              <a:gd name="connsiteX38" fmla="*/ 26683 w 300287"/>
              <a:gd name="connsiteY38" fmla="*/ 55922 h 303501"/>
              <a:gd name="connsiteX39" fmla="*/ 25584 w 300287"/>
              <a:gd name="connsiteY39" fmla="*/ 41924 h 303501"/>
              <a:gd name="connsiteX40" fmla="*/ 25584 w 300287"/>
              <a:gd name="connsiteY40" fmla="*/ 41056 h 303501"/>
              <a:gd name="connsiteX41" fmla="*/ 26394 w 300287"/>
              <a:gd name="connsiteY41" fmla="*/ 40593 h 303501"/>
              <a:gd name="connsiteX42" fmla="*/ 36343 w 300287"/>
              <a:gd name="connsiteY42" fmla="*/ 36255 h 303501"/>
              <a:gd name="connsiteX43" fmla="*/ 32178 w 300287"/>
              <a:gd name="connsiteY43" fmla="*/ 18902 h 303501"/>
              <a:gd name="connsiteX44" fmla="*/ 28708 w 300287"/>
              <a:gd name="connsiteY44" fmla="*/ 6697 h 303501"/>
              <a:gd name="connsiteX45" fmla="*/ 28708 w 300287"/>
              <a:gd name="connsiteY45" fmla="*/ 5771 h 303501"/>
              <a:gd name="connsiteX46" fmla="*/ 29402 w 300287"/>
              <a:gd name="connsiteY46" fmla="*/ 5193 h 303501"/>
              <a:gd name="connsiteX47" fmla="*/ 42359 w 300287"/>
              <a:gd name="connsiteY47" fmla="*/ 1780 h 303501"/>
              <a:gd name="connsiteX48" fmla="*/ 65497 w 300287"/>
              <a:gd name="connsiteY48" fmla="*/ -129 h 303501"/>
              <a:gd name="connsiteX49" fmla="*/ 66422 w 300287"/>
              <a:gd name="connsiteY49" fmla="*/ 334 h 303501"/>
              <a:gd name="connsiteX50" fmla="*/ 66422 w 300287"/>
              <a:gd name="connsiteY50" fmla="*/ 1375 h 303501"/>
              <a:gd name="connsiteX51" fmla="*/ 61621 w 300287"/>
              <a:gd name="connsiteY51" fmla="*/ 41056 h 303501"/>
              <a:gd name="connsiteX52" fmla="*/ 65092 w 300287"/>
              <a:gd name="connsiteY52" fmla="*/ 41768 h 303501"/>
              <a:gd name="connsiteX53" fmla="*/ 65092 w 300287"/>
              <a:gd name="connsiteY53" fmla="*/ 41750 h 303501"/>
              <a:gd name="connsiteX54" fmla="*/ 76661 w 300287"/>
              <a:gd name="connsiteY54" fmla="*/ 39783 h 303501"/>
              <a:gd name="connsiteX55" fmla="*/ 95460 w 300287"/>
              <a:gd name="connsiteY55" fmla="*/ 42444 h 303501"/>
              <a:gd name="connsiteX56" fmla="*/ 109805 w 300287"/>
              <a:gd name="connsiteY56" fmla="*/ 44180 h 303501"/>
              <a:gd name="connsiteX57" fmla="*/ 111425 w 300287"/>
              <a:gd name="connsiteY57" fmla="*/ 43370 h 303501"/>
              <a:gd name="connsiteX58" fmla="*/ 108648 w 300287"/>
              <a:gd name="connsiteY58" fmla="*/ 38106 h 303501"/>
              <a:gd name="connsiteX59" fmla="*/ 105236 w 300287"/>
              <a:gd name="connsiteY59" fmla="*/ 29950 h 303501"/>
              <a:gd name="connsiteX60" fmla="*/ 107723 w 300287"/>
              <a:gd name="connsiteY60" fmla="*/ 27289 h 303501"/>
              <a:gd name="connsiteX61" fmla="*/ 120275 w 300287"/>
              <a:gd name="connsiteY61" fmla="*/ 2532 h 303501"/>
              <a:gd name="connsiteX62" fmla="*/ 120854 w 300287"/>
              <a:gd name="connsiteY62" fmla="*/ 1606 h 303501"/>
              <a:gd name="connsiteX63" fmla="*/ 121953 w 300287"/>
              <a:gd name="connsiteY63" fmla="*/ 1606 h 303501"/>
              <a:gd name="connsiteX64" fmla="*/ 225147 w 300287"/>
              <a:gd name="connsiteY64" fmla="*/ 56385 h 303501"/>
              <a:gd name="connsiteX65" fmla="*/ 225726 w 300287"/>
              <a:gd name="connsiteY65" fmla="*/ 57426 h 303501"/>
              <a:gd name="connsiteX66" fmla="*/ 224395 w 300287"/>
              <a:gd name="connsiteY66" fmla="*/ 73622 h 303501"/>
              <a:gd name="connsiteX67" fmla="*/ 269687 w 300287"/>
              <a:gd name="connsiteY67" fmla="*/ 105842 h 303501"/>
              <a:gd name="connsiteX68" fmla="*/ 270092 w 300287"/>
              <a:gd name="connsiteY68" fmla="*/ 107172 h 303501"/>
              <a:gd name="connsiteX69" fmla="*/ 258118 w 300287"/>
              <a:gd name="connsiteY69" fmla="*/ 148010 h 303501"/>
              <a:gd name="connsiteX70" fmla="*/ 267315 w 300287"/>
              <a:gd name="connsiteY70" fmla="*/ 158943 h 303501"/>
              <a:gd name="connsiteX71" fmla="*/ 272464 w 300287"/>
              <a:gd name="connsiteY71" fmla="*/ 171900 h 303501"/>
              <a:gd name="connsiteX72" fmla="*/ 266101 w 300287"/>
              <a:gd name="connsiteY72" fmla="*/ 189774 h 303501"/>
              <a:gd name="connsiteX73" fmla="*/ 267026 w 300287"/>
              <a:gd name="connsiteY73" fmla="*/ 190757 h 303501"/>
              <a:gd name="connsiteX74" fmla="*/ 270786 w 300287"/>
              <a:gd name="connsiteY74" fmla="*/ 211523 h 303501"/>
              <a:gd name="connsiteX75" fmla="*/ 270786 w 300287"/>
              <a:gd name="connsiteY75" fmla="*/ 214531 h 303501"/>
              <a:gd name="connsiteX76" fmla="*/ 274662 w 300287"/>
              <a:gd name="connsiteY76" fmla="*/ 225117 h 303501"/>
              <a:gd name="connsiteX77" fmla="*/ 280909 w 300287"/>
              <a:gd name="connsiteY77" fmla="*/ 242470 h 303501"/>
              <a:gd name="connsiteX78" fmla="*/ 290048 w 300287"/>
              <a:gd name="connsiteY78" fmla="*/ 254039 h 303501"/>
              <a:gd name="connsiteX79" fmla="*/ 300171 w 300287"/>
              <a:gd name="connsiteY79" fmla="*/ 267112 h 303501"/>
              <a:gd name="connsiteX80" fmla="*/ 299534 w 300287"/>
              <a:gd name="connsiteY80" fmla="*/ 268211 h 303501"/>
              <a:gd name="connsiteX81" fmla="*/ 271075 w 300287"/>
              <a:gd name="connsiteY81" fmla="*/ 283192 h 303501"/>
              <a:gd name="connsiteX82" fmla="*/ 264365 w 300287"/>
              <a:gd name="connsiteY82" fmla="*/ 286027 h 303501"/>
              <a:gd name="connsiteX83" fmla="*/ 262341 w 300287"/>
              <a:gd name="connsiteY83" fmla="*/ 286027 h 303501"/>
              <a:gd name="connsiteX84" fmla="*/ 251408 w 300287"/>
              <a:gd name="connsiteY84" fmla="*/ 288456 h 303501"/>
              <a:gd name="connsiteX85" fmla="*/ 244640 w 300287"/>
              <a:gd name="connsiteY85" fmla="*/ 291406 h 303501"/>
              <a:gd name="connsiteX86" fmla="*/ 238162 w 300287"/>
              <a:gd name="connsiteY86" fmla="*/ 289497 h 303501"/>
              <a:gd name="connsiteX87" fmla="*/ 234229 w 300287"/>
              <a:gd name="connsiteY87" fmla="*/ 287936 h 303501"/>
              <a:gd name="connsiteX88" fmla="*/ 226766 w 300287"/>
              <a:gd name="connsiteY88" fmla="*/ 297480 h 303501"/>
              <a:gd name="connsiteX89" fmla="*/ 219536 w 300287"/>
              <a:gd name="connsiteY89" fmla="*/ 301355 h 303501"/>
              <a:gd name="connsiteX90" fmla="*/ 209876 w 300287"/>
              <a:gd name="connsiteY90" fmla="*/ 300141 h 303501"/>
              <a:gd name="connsiteX91" fmla="*/ 209297 w 300287"/>
              <a:gd name="connsiteY91" fmla="*/ 300141 h 303501"/>
              <a:gd name="connsiteX92" fmla="*/ 198250 w 300287"/>
              <a:gd name="connsiteY92" fmla="*/ 301645 h 303501"/>
              <a:gd name="connsiteX93" fmla="*/ 185408 w 300287"/>
              <a:gd name="connsiteY93" fmla="*/ 303322 h 303501"/>
              <a:gd name="connsiteX94" fmla="*/ 172914 w 300287"/>
              <a:gd name="connsiteY94" fmla="*/ 292390 h 303501"/>
              <a:gd name="connsiteX95" fmla="*/ 176905 w 300287"/>
              <a:gd name="connsiteY95" fmla="*/ 293026 h 303501"/>
              <a:gd name="connsiteX96" fmla="*/ 182342 w 300287"/>
              <a:gd name="connsiteY96" fmla="*/ 298810 h 303501"/>
              <a:gd name="connsiteX97" fmla="*/ 185408 w 300287"/>
              <a:gd name="connsiteY97" fmla="*/ 301124 h 303501"/>
              <a:gd name="connsiteX98" fmla="*/ 196976 w 300287"/>
              <a:gd name="connsiteY98" fmla="*/ 299331 h 303501"/>
              <a:gd name="connsiteX99" fmla="*/ 208893 w 300287"/>
              <a:gd name="connsiteY99" fmla="*/ 297885 h 303501"/>
              <a:gd name="connsiteX100" fmla="*/ 209529 w 300287"/>
              <a:gd name="connsiteY100" fmla="*/ 297885 h 303501"/>
              <a:gd name="connsiteX101" fmla="*/ 218726 w 300287"/>
              <a:gd name="connsiteY101" fmla="*/ 299042 h 303501"/>
              <a:gd name="connsiteX102" fmla="*/ 223701 w 300287"/>
              <a:gd name="connsiteY102" fmla="*/ 297075 h 303501"/>
              <a:gd name="connsiteX103" fmla="*/ 232204 w 300287"/>
              <a:gd name="connsiteY103" fmla="*/ 285506 h 303501"/>
              <a:gd name="connsiteX104" fmla="*/ 234055 w 300287"/>
              <a:gd name="connsiteY104" fmla="*/ 285506 h 303501"/>
              <a:gd name="connsiteX105" fmla="*/ 238277 w 300287"/>
              <a:gd name="connsiteY105" fmla="*/ 287184 h 303501"/>
              <a:gd name="connsiteX106" fmla="*/ 244062 w 300287"/>
              <a:gd name="connsiteY106" fmla="*/ 288861 h 303501"/>
              <a:gd name="connsiteX107" fmla="*/ 249384 w 300287"/>
              <a:gd name="connsiteY107" fmla="*/ 286489 h 303501"/>
              <a:gd name="connsiteX108" fmla="*/ 261820 w 300287"/>
              <a:gd name="connsiteY108" fmla="*/ 283481 h 303501"/>
              <a:gd name="connsiteX109" fmla="*/ 263787 w 300287"/>
              <a:gd name="connsiteY109" fmla="*/ 283481 h 303501"/>
              <a:gd name="connsiteX110" fmla="*/ 268472 w 300287"/>
              <a:gd name="connsiteY110" fmla="*/ 281920 h 303501"/>
              <a:gd name="connsiteX111" fmla="*/ 297394 w 300287"/>
              <a:gd name="connsiteY111" fmla="*/ 266186 h 303501"/>
              <a:gd name="connsiteX112" fmla="*/ 288602 w 300287"/>
              <a:gd name="connsiteY112" fmla="*/ 255774 h 303501"/>
              <a:gd name="connsiteX113" fmla="*/ 278190 w 300287"/>
              <a:gd name="connsiteY113" fmla="*/ 242123 h 303501"/>
              <a:gd name="connsiteX114" fmla="*/ 272406 w 300287"/>
              <a:gd name="connsiteY114" fmla="*/ 226158 h 303501"/>
              <a:gd name="connsiteX115" fmla="*/ 268067 w 300287"/>
              <a:gd name="connsiteY115" fmla="*/ 214126 h 303501"/>
              <a:gd name="connsiteX116" fmla="*/ 268067 w 300287"/>
              <a:gd name="connsiteY116" fmla="*/ 211176 h 303501"/>
              <a:gd name="connsiteX117" fmla="*/ 265927 w 300287"/>
              <a:gd name="connsiteY117" fmla="*/ 192666 h 303501"/>
              <a:gd name="connsiteX118" fmla="*/ 263497 w 300287"/>
              <a:gd name="connsiteY118" fmla="*/ 190236 h 303501"/>
              <a:gd name="connsiteX119" fmla="*/ 270150 w 300287"/>
              <a:gd name="connsiteY119" fmla="*/ 170338 h 303501"/>
              <a:gd name="connsiteX120" fmla="*/ 265522 w 300287"/>
              <a:gd name="connsiteY120" fmla="*/ 160447 h 303501"/>
              <a:gd name="connsiteX121" fmla="*/ 255457 w 300287"/>
              <a:gd name="connsiteY121" fmla="*/ 148184 h 303501"/>
              <a:gd name="connsiteX122" fmla="*/ 267026 w 300287"/>
              <a:gd name="connsiteY122" fmla="*/ 106883 h 303501"/>
              <a:gd name="connsiteX123" fmla="*/ 221850 w 300287"/>
              <a:gd name="connsiteY123" fmla="*/ 74779 h 303501"/>
              <a:gd name="connsiteX124" fmla="*/ 221387 w 300287"/>
              <a:gd name="connsiteY124" fmla="*/ 73796 h 303501"/>
              <a:gd name="connsiteX125" fmla="*/ 222718 w 300287"/>
              <a:gd name="connsiteY125" fmla="*/ 57715 h 303501"/>
              <a:gd name="connsiteX126" fmla="*/ 121721 w 300287"/>
              <a:gd name="connsiteY126" fmla="*/ 4094 h 303501"/>
              <a:gd name="connsiteX127" fmla="*/ 108012 w 300287"/>
              <a:gd name="connsiteY127" fmla="*/ 29024 h 303501"/>
              <a:gd name="connsiteX128" fmla="*/ 106740 w 300287"/>
              <a:gd name="connsiteY128" fmla="*/ 30239 h 303501"/>
              <a:gd name="connsiteX129" fmla="*/ 109805 w 300287"/>
              <a:gd name="connsiteY129" fmla="*/ 36487 h 303501"/>
              <a:gd name="connsiteX130" fmla="*/ 112813 w 300287"/>
              <a:gd name="connsiteY130" fmla="*/ 43890 h 303501"/>
              <a:gd name="connsiteX131" fmla="*/ 109574 w 300287"/>
              <a:gd name="connsiteY131" fmla="*/ 46089 h 303501"/>
              <a:gd name="connsiteX132" fmla="*/ 94245 w 300287"/>
              <a:gd name="connsiteY132" fmla="*/ 44353 h 303501"/>
              <a:gd name="connsiteX133" fmla="*/ 75967 w 300287"/>
              <a:gd name="connsiteY133" fmla="*/ 41750 h 303501"/>
              <a:gd name="connsiteX134" fmla="*/ 65554 w 300287"/>
              <a:gd name="connsiteY134" fmla="*/ 43543 h 303501"/>
              <a:gd name="connsiteX135" fmla="*/ 59365 w 300287"/>
              <a:gd name="connsiteY135" fmla="*/ 42097 h 303501"/>
              <a:gd name="connsiteX136" fmla="*/ 63356 w 300287"/>
              <a:gd name="connsiteY136" fmla="*/ 2011 h 303501"/>
              <a:gd name="connsiteX137" fmla="*/ 42301 w 300287"/>
              <a:gd name="connsiteY137" fmla="*/ 3689 h 303501"/>
              <a:gd name="connsiteX138" fmla="*/ 42301 w 300287"/>
              <a:gd name="connsiteY138" fmla="*/ 3689 h 303501"/>
              <a:gd name="connsiteX139" fmla="*/ 30732 w 300287"/>
              <a:gd name="connsiteY139" fmla="*/ 6754 h 303501"/>
              <a:gd name="connsiteX140" fmla="*/ 34782 w 300287"/>
              <a:gd name="connsiteY140" fmla="*/ 17513 h 303501"/>
              <a:gd name="connsiteX141" fmla="*/ 39062 w 300287"/>
              <a:gd name="connsiteY141" fmla="*/ 36313 h 303501"/>
              <a:gd name="connsiteX142" fmla="*/ 28418 w 300287"/>
              <a:gd name="connsiteY142" fmla="*/ 42097 h 303501"/>
              <a:gd name="connsiteX143" fmla="*/ 29344 w 300287"/>
              <a:gd name="connsiteY143" fmla="*/ 54881 h 303501"/>
              <a:gd name="connsiteX144" fmla="*/ 35707 w 300287"/>
              <a:gd name="connsiteY144" fmla="*/ 58699 h 303501"/>
              <a:gd name="connsiteX145" fmla="*/ 36170 w 300287"/>
              <a:gd name="connsiteY145" fmla="*/ 60203 h 303501"/>
              <a:gd name="connsiteX146" fmla="*/ 13032 w 300287"/>
              <a:gd name="connsiteY146" fmla="*/ 92885 h 303501"/>
              <a:gd name="connsiteX147" fmla="*/ 2157 w 300287"/>
              <a:gd name="connsiteY147" fmla="*/ 99247 h 303501"/>
              <a:gd name="connsiteX148" fmla="*/ 18353 w 300287"/>
              <a:gd name="connsiteY148" fmla="*/ 149919 h 303501"/>
              <a:gd name="connsiteX149" fmla="*/ 31542 w 300287"/>
              <a:gd name="connsiteY149" fmla="*/ 178089 h 303501"/>
              <a:gd name="connsiteX150" fmla="*/ 33220 w 300287"/>
              <a:gd name="connsiteY150" fmla="*/ 186130 h 303501"/>
              <a:gd name="connsiteX151" fmla="*/ 38078 w 300287"/>
              <a:gd name="connsiteY151" fmla="*/ 194459 h 303501"/>
              <a:gd name="connsiteX152" fmla="*/ 42706 w 300287"/>
              <a:gd name="connsiteY152" fmla="*/ 206028 h 303501"/>
              <a:gd name="connsiteX153" fmla="*/ 39235 w 300287"/>
              <a:gd name="connsiteY153" fmla="*/ 209499 h 303501"/>
              <a:gd name="connsiteX154" fmla="*/ 33451 w 300287"/>
              <a:gd name="connsiteY154" fmla="*/ 209499 h 303501"/>
              <a:gd name="connsiteX155" fmla="*/ 40508 w 300287"/>
              <a:gd name="connsiteY155" fmla="*/ 212391 h 303501"/>
              <a:gd name="connsiteX156" fmla="*/ 55316 w 300287"/>
              <a:gd name="connsiteY156" fmla="*/ 217770 h 303501"/>
              <a:gd name="connsiteX157" fmla="*/ 65902 w 300287"/>
              <a:gd name="connsiteY157" fmla="*/ 222282 h 303501"/>
              <a:gd name="connsiteX158" fmla="*/ 101533 w 300287"/>
              <a:gd name="connsiteY158" fmla="*/ 238016 h 303501"/>
              <a:gd name="connsiteX159" fmla="*/ 102980 w 300287"/>
              <a:gd name="connsiteY159" fmla="*/ 240272 h 303501"/>
              <a:gd name="connsiteX160" fmla="*/ 120333 w 300287"/>
              <a:gd name="connsiteY160" fmla="*/ 240272 h 303501"/>
              <a:gd name="connsiteX161" fmla="*/ 129704 w 300287"/>
              <a:gd name="connsiteY161" fmla="*/ 241197 h 303501"/>
              <a:gd name="connsiteX162" fmla="*/ 129877 w 300287"/>
              <a:gd name="connsiteY162" fmla="*/ 241429 h 303501"/>
              <a:gd name="connsiteX163" fmla="*/ 145438 w 300287"/>
              <a:gd name="connsiteY163" fmla="*/ 294298 h 303501"/>
              <a:gd name="connsiteX164" fmla="*/ 159783 w 300287"/>
              <a:gd name="connsiteY164" fmla="*/ 295744 h 303501"/>
              <a:gd name="connsiteX165" fmla="*/ 164121 w 300287"/>
              <a:gd name="connsiteY165" fmla="*/ 294241 h 303501"/>
              <a:gd name="connsiteX166" fmla="*/ 172914 w 300287"/>
              <a:gd name="connsiteY166" fmla="*/ 292390 h 303501"/>
              <a:gd name="connsiteX167" fmla="*/ 22923 w 300287"/>
              <a:gd name="connsiteY167" fmla="*/ 202615 h 303501"/>
              <a:gd name="connsiteX168" fmla="*/ 31079 w 300287"/>
              <a:gd name="connsiteY168" fmla="*/ 208400 h 303501"/>
              <a:gd name="connsiteX169" fmla="*/ 24254 w 300287"/>
              <a:gd name="connsiteY169" fmla="*/ 200128 h 303501"/>
              <a:gd name="connsiteX170" fmla="*/ 23271 w 300287"/>
              <a:gd name="connsiteY170" fmla="*/ 202326 h 303501"/>
              <a:gd name="connsiteX171" fmla="*/ 22923 w 300287"/>
              <a:gd name="connsiteY171" fmla="*/ 202615 h 30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300287" h="303501">
                <a:moveTo>
                  <a:pt x="185408" y="303322"/>
                </a:moveTo>
                <a:cubicBezTo>
                  <a:pt x="182921" y="303692"/>
                  <a:pt x="180607" y="301974"/>
                  <a:pt x="180202" y="299475"/>
                </a:cubicBezTo>
                <a:cubicBezTo>
                  <a:pt x="180202" y="299446"/>
                  <a:pt x="180202" y="299418"/>
                  <a:pt x="180202" y="299389"/>
                </a:cubicBezTo>
                <a:cubicBezTo>
                  <a:pt x="179855" y="297301"/>
                  <a:pt x="178293" y="295629"/>
                  <a:pt x="176211" y="295166"/>
                </a:cubicBezTo>
                <a:cubicBezTo>
                  <a:pt x="175169" y="294825"/>
                  <a:pt x="174012" y="294646"/>
                  <a:pt x="172914" y="294646"/>
                </a:cubicBezTo>
                <a:cubicBezTo>
                  <a:pt x="170368" y="294790"/>
                  <a:pt x="167881" y="295525"/>
                  <a:pt x="165683" y="296786"/>
                </a:cubicBezTo>
                <a:cubicBezTo>
                  <a:pt x="164063" y="297694"/>
                  <a:pt x="162212" y="298261"/>
                  <a:pt x="160361" y="298463"/>
                </a:cubicBezTo>
                <a:cubicBezTo>
                  <a:pt x="157874" y="298463"/>
                  <a:pt x="150412" y="297595"/>
                  <a:pt x="144744" y="296843"/>
                </a:cubicBezTo>
                <a:cubicBezTo>
                  <a:pt x="144165" y="296757"/>
                  <a:pt x="143760" y="296265"/>
                  <a:pt x="143760" y="295687"/>
                </a:cubicBezTo>
                <a:cubicBezTo>
                  <a:pt x="144165" y="278334"/>
                  <a:pt x="136356" y="251205"/>
                  <a:pt x="128836" y="243627"/>
                </a:cubicBezTo>
                <a:cubicBezTo>
                  <a:pt x="127911" y="242534"/>
                  <a:pt x="126638" y="241816"/>
                  <a:pt x="125249" y="241602"/>
                </a:cubicBezTo>
                <a:cubicBezTo>
                  <a:pt x="124035" y="241597"/>
                  <a:pt x="122878" y="242053"/>
                  <a:pt x="122011" y="242875"/>
                </a:cubicBezTo>
                <a:cubicBezTo>
                  <a:pt x="121721" y="243043"/>
                  <a:pt x="121432" y="243141"/>
                  <a:pt x="121143" y="243164"/>
                </a:cubicBezTo>
                <a:cubicBezTo>
                  <a:pt x="115069" y="242707"/>
                  <a:pt x="108996" y="242707"/>
                  <a:pt x="102922" y="243164"/>
                </a:cubicBezTo>
                <a:cubicBezTo>
                  <a:pt x="102517" y="243205"/>
                  <a:pt x="102112" y="243002"/>
                  <a:pt x="101881" y="242643"/>
                </a:cubicBezTo>
                <a:cubicBezTo>
                  <a:pt x="101245" y="241602"/>
                  <a:pt x="100666" y="240677"/>
                  <a:pt x="100145" y="239925"/>
                </a:cubicBezTo>
                <a:cubicBezTo>
                  <a:pt x="97427" y="236454"/>
                  <a:pt x="72959" y="226447"/>
                  <a:pt x="65902" y="225117"/>
                </a:cubicBezTo>
                <a:cubicBezTo>
                  <a:pt x="62026" y="224023"/>
                  <a:pt x="58266" y="222450"/>
                  <a:pt x="54795" y="220431"/>
                </a:cubicBezTo>
                <a:cubicBezTo>
                  <a:pt x="50573" y="217811"/>
                  <a:pt x="45887" y="216064"/>
                  <a:pt x="40971" y="215283"/>
                </a:cubicBezTo>
                <a:cubicBezTo>
                  <a:pt x="37674" y="215283"/>
                  <a:pt x="31022" y="211581"/>
                  <a:pt x="20551" y="203714"/>
                </a:cubicBezTo>
                <a:cubicBezTo>
                  <a:pt x="20321" y="203494"/>
                  <a:pt x="20147" y="203211"/>
                  <a:pt x="20089" y="202904"/>
                </a:cubicBezTo>
                <a:cubicBezTo>
                  <a:pt x="20089" y="202581"/>
                  <a:pt x="20205" y="202262"/>
                  <a:pt x="20436" y="202037"/>
                </a:cubicBezTo>
                <a:lnTo>
                  <a:pt x="20783" y="201632"/>
                </a:lnTo>
                <a:cubicBezTo>
                  <a:pt x="20957" y="201504"/>
                  <a:pt x="21130" y="201325"/>
                  <a:pt x="21246" y="201111"/>
                </a:cubicBezTo>
                <a:cubicBezTo>
                  <a:pt x="21882" y="199798"/>
                  <a:pt x="22461" y="198445"/>
                  <a:pt x="22981" y="197062"/>
                </a:cubicBezTo>
                <a:cubicBezTo>
                  <a:pt x="23155" y="196657"/>
                  <a:pt x="23502" y="196368"/>
                  <a:pt x="23907" y="196310"/>
                </a:cubicBezTo>
                <a:cubicBezTo>
                  <a:pt x="24311" y="196287"/>
                  <a:pt x="24774" y="196484"/>
                  <a:pt x="25006" y="196831"/>
                </a:cubicBezTo>
                <a:cubicBezTo>
                  <a:pt x="28997" y="203367"/>
                  <a:pt x="33798" y="209962"/>
                  <a:pt x="38773" y="207879"/>
                </a:cubicBezTo>
                <a:cubicBezTo>
                  <a:pt x="39756" y="207572"/>
                  <a:pt x="40566" y="206826"/>
                  <a:pt x="40971" y="205854"/>
                </a:cubicBezTo>
                <a:cubicBezTo>
                  <a:pt x="41607" y="203656"/>
                  <a:pt x="39062" y="200070"/>
                  <a:pt x="36574" y="196310"/>
                </a:cubicBezTo>
                <a:cubicBezTo>
                  <a:pt x="34550" y="193580"/>
                  <a:pt x="32872" y="190607"/>
                  <a:pt x="31542" y="187460"/>
                </a:cubicBezTo>
                <a:cubicBezTo>
                  <a:pt x="30674" y="184713"/>
                  <a:pt x="30038" y="181884"/>
                  <a:pt x="29749" y="179015"/>
                </a:cubicBezTo>
                <a:cubicBezTo>
                  <a:pt x="29112" y="168811"/>
                  <a:pt x="24659" y="159226"/>
                  <a:pt x="17255" y="152175"/>
                </a:cubicBezTo>
                <a:cubicBezTo>
                  <a:pt x="9214" y="144887"/>
                  <a:pt x="4008" y="118625"/>
                  <a:pt x="-99" y="99479"/>
                </a:cubicBezTo>
                <a:cubicBezTo>
                  <a:pt x="-157" y="99028"/>
                  <a:pt x="17" y="98576"/>
                  <a:pt x="422" y="98322"/>
                </a:cubicBezTo>
                <a:cubicBezTo>
                  <a:pt x="4124" y="95759"/>
                  <a:pt x="8000" y="93422"/>
                  <a:pt x="11991" y="91323"/>
                </a:cubicBezTo>
                <a:cubicBezTo>
                  <a:pt x="17197" y="89241"/>
                  <a:pt x="28708" y="69342"/>
                  <a:pt x="33278" y="60665"/>
                </a:cubicBezTo>
                <a:lnTo>
                  <a:pt x="27204" y="57021"/>
                </a:lnTo>
                <a:cubicBezTo>
                  <a:pt x="26857" y="56772"/>
                  <a:pt x="26625" y="56356"/>
                  <a:pt x="26683" y="55922"/>
                </a:cubicBezTo>
                <a:cubicBezTo>
                  <a:pt x="27030" y="51225"/>
                  <a:pt x="26683" y="46505"/>
                  <a:pt x="25584" y="41924"/>
                </a:cubicBezTo>
                <a:cubicBezTo>
                  <a:pt x="25468" y="41646"/>
                  <a:pt x="25468" y="41334"/>
                  <a:pt x="25584" y="41056"/>
                </a:cubicBezTo>
                <a:cubicBezTo>
                  <a:pt x="25758" y="40767"/>
                  <a:pt x="26047" y="40588"/>
                  <a:pt x="26394" y="40593"/>
                </a:cubicBezTo>
                <a:cubicBezTo>
                  <a:pt x="32178" y="39899"/>
                  <a:pt x="35880" y="38337"/>
                  <a:pt x="36343" y="36255"/>
                </a:cubicBezTo>
                <a:cubicBezTo>
                  <a:pt x="36401" y="30216"/>
                  <a:pt x="34955" y="24258"/>
                  <a:pt x="32178" y="18902"/>
                </a:cubicBezTo>
                <a:lnTo>
                  <a:pt x="28708" y="6697"/>
                </a:lnTo>
                <a:cubicBezTo>
                  <a:pt x="28592" y="6401"/>
                  <a:pt x="28592" y="6066"/>
                  <a:pt x="28708" y="5771"/>
                </a:cubicBezTo>
                <a:cubicBezTo>
                  <a:pt x="28881" y="5505"/>
                  <a:pt x="29112" y="5297"/>
                  <a:pt x="29402" y="5193"/>
                </a:cubicBezTo>
                <a:cubicBezTo>
                  <a:pt x="36054" y="3342"/>
                  <a:pt x="42243" y="1780"/>
                  <a:pt x="42359" y="1780"/>
                </a:cubicBezTo>
                <a:lnTo>
                  <a:pt x="65497" y="-129"/>
                </a:lnTo>
                <a:cubicBezTo>
                  <a:pt x="65844" y="-100"/>
                  <a:pt x="66191" y="68"/>
                  <a:pt x="66422" y="334"/>
                </a:cubicBezTo>
                <a:cubicBezTo>
                  <a:pt x="66654" y="640"/>
                  <a:pt x="66654" y="1068"/>
                  <a:pt x="66422" y="1375"/>
                </a:cubicBezTo>
                <a:cubicBezTo>
                  <a:pt x="60638" y="18439"/>
                  <a:pt x="58208" y="36082"/>
                  <a:pt x="61621" y="41056"/>
                </a:cubicBezTo>
                <a:cubicBezTo>
                  <a:pt x="62373" y="42201"/>
                  <a:pt x="63935" y="42520"/>
                  <a:pt x="65092" y="41768"/>
                </a:cubicBezTo>
                <a:cubicBezTo>
                  <a:pt x="65092" y="41762"/>
                  <a:pt x="65092" y="41756"/>
                  <a:pt x="65092" y="41750"/>
                </a:cubicBezTo>
                <a:cubicBezTo>
                  <a:pt x="68794" y="40321"/>
                  <a:pt x="72727" y="39651"/>
                  <a:pt x="76661" y="39783"/>
                </a:cubicBezTo>
                <a:cubicBezTo>
                  <a:pt x="83024" y="40009"/>
                  <a:pt x="89328" y="40900"/>
                  <a:pt x="95460" y="42444"/>
                </a:cubicBezTo>
                <a:cubicBezTo>
                  <a:pt x="100145" y="43792"/>
                  <a:pt x="104947" y="44376"/>
                  <a:pt x="109805" y="44180"/>
                </a:cubicBezTo>
                <a:cubicBezTo>
                  <a:pt x="110673" y="44180"/>
                  <a:pt x="111252" y="43717"/>
                  <a:pt x="111425" y="43370"/>
                </a:cubicBezTo>
                <a:cubicBezTo>
                  <a:pt x="111598" y="43023"/>
                  <a:pt x="109979" y="39957"/>
                  <a:pt x="108648" y="38106"/>
                </a:cubicBezTo>
                <a:cubicBezTo>
                  <a:pt x="106624" y="35330"/>
                  <a:pt x="104541" y="32322"/>
                  <a:pt x="105236" y="29950"/>
                </a:cubicBezTo>
                <a:cubicBezTo>
                  <a:pt x="105641" y="28730"/>
                  <a:pt x="106508" y="27746"/>
                  <a:pt x="107723" y="27289"/>
                </a:cubicBezTo>
                <a:cubicBezTo>
                  <a:pt x="114838" y="23992"/>
                  <a:pt x="119639" y="14563"/>
                  <a:pt x="120275" y="2532"/>
                </a:cubicBezTo>
                <a:cubicBezTo>
                  <a:pt x="120333" y="2156"/>
                  <a:pt x="120564" y="1820"/>
                  <a:pt x="120854" y="1606"/>
                </a:cubicBezTo>
                <a:cubicBezTo>
                  <a:pt x="121201" y="1433"/>
                  <a:pt x="121606" y="1433"/>
                  <a:pt x="121953" y="1606"/>
                </a:cubicBezTo>
                <a:lnTo>
                  <a:pt x="225147" y="56385"/>
                </a:lnTo>
                <a:cubicBezTo>
                  <a:pt x="225552" y="56564"/>
                  <a:pt x="225783" y="56986"/>
                  <a:pt x="225726" y="57426"/>
                </a:cubicBezTo>
                <a:lnTo>
                  <a:pt x="224395" y="73622"/>
                </a:lnTo>
                <a:cubicBezTo>
                  <a:pt x="227923" y="76168"/>
                  <a:pt x="249152" y="91670"/>
                  <a:pt x="269687" y="105842"/>
                </a:cubicBezTo>
                <a:cubicBezTo>
                  <a:pt x="270150" y="106119"/>
                  <a:pt x="270323" y="106692"/>
                  <a:pt x="270092" y="107172"/>
                </a:cubicBezTo>
                <a:cubicBezTo>
                  <a:pt x="258523" y="136962"/>
                  <a:pt x="257540" y="145523"/>
                  <a:pt x="258118" y="148010"/>
                </a:cubicBezTo>
                <a:cubicBezTo>
                  <a:pt x="259737" y="152649"/>
                  <a:pt x="263035" y="156536"/>
                  <a:pt x="267315" y="158943"/>
                </a:cubicBezTo>
                <a:cubicBezTo>
                  <a:pt x="271885" y="162240"/>
                  <a:pt x="276628" y="165710"/>
                  <a:pt x="272464" y="171900"/>
                </a:cubicBezTo>
                <a:cubicBezTo>
                  <a:pt x="267084" y="179998"/>
                  <a:pt x="265175" y="187171"/>
                  <a:pt x="266101" y="189774"/>
                </a:cubicBezTo>
                <a:cubicBezTo>
                  <a:pt x="266101" y="190526"/>
                  <a:pt x="266737" y="190699"/>
                  <a:pt x="267026" y="190757"/>
                </a:cubicBezTo>
                <a:cubicBezTo>
                  <a:pt x="271538" y="192145"/>
                  <a:pt x="271249" y="200706"/>
                  <a:pt x="270786" y="211523"/>
                </a:cubicBezTo>
                <a:lnTo>
                  <a:pt x="270786" y="214531"/>
                </a:lnTo>
                <a:cubicBezTo>
                  <a:pt x="270670" y="218424"/>
                  <a:pt x="272058" y="222213"/>
                  <a:pt x="274662" y="225117"/>
                </a:cubicBezTo>
                <a:cubicBezTo>
                  <a:pt x="278653" y="230033"/>
                  <a:pt x="280851" y="236147"/>
                  <a:pt x="280909" y="242470"/>
                </a:cubicBezTo>
                <a:cubicBezTo>
                  <a:pt x="281256" y="249990"/>
                  <a:pt x="285536" y="252014"/>
                  <a:pt x="290048" y="254039"/>
                </a:cubicBezTo>
                <a:cubicBezTo>
                  <a:pt x="295890" y="255739"/>
                  <a:pt x="299998" y="261020"/>
                  <a:pt x="300171" y="267112"/>
                </a:cubicBezTo>
                <a:cubicBezTo>
                  <a:pt x="300228" y="267574"/>
                  <a:pt x="299940" y="268014"/>
                  <a:pt x="299534" y="268211"/>
                </a:cubicBezTo>
                <a:cubicBezTo>
                  <a:pt x="274430" y="279780"/>
                  <a:pt x="271422" y="282556"/>
                  <a:pt x="271075" y="283192"/>
                </a:cubicBezTo>
                <a:cubicBezTo>
                  <a:pt x="269860" y="285680"/>
                  <a:pt x="267084" y="286027"/>
                  <a:pt x="264365" y="286027"/>
                </a:cubicBezTo>
                <a:lnTo>
                  <a:pt x="262341" y="286027"/>
                </a:lnTo>
                <a:cubicBezTo>
                  <a:pt x="258523" y="285419"/>
                  <a:pt x="254590" y="286287"/>
                  <a:pt x="251408" y="288456"/>
                </a:cubicBezTo>
                <a:cubicBezTo>
                  <a:pt x="249615" y="290272"/>
                  <a:pt x="247186" y="291325"/>
                  <a:pt x="244640" y="291406"/>
                </a:cubicBezTo>
                <a:cubicBezTo>
                  <a:pt x="242384" y="291244"/>
                  <a:pt x="240187" y="290590"/>
                  <a:pt x="238162" y="289497"/>
                </a:cubicBezTo>
                <a:cubicBezTo>
                  <a:pt x="236889" y="288884"/>
                  <a:pt x="235559" y="288358"/>
                  <a:pt x="234229" y="287936"/>
                </a:cubicBezTo>
                <a:cubicBezTo>
                  <a:pt x="230006" y="286663"/>
                  <a:pt x="227634" y="292216"/>
                  <a:pt x="226766" y="297480"/>
                </a:cubicBezTo>
                <a:cubicBezTo>
                  <a:pt x="226362" y="300083"/>
                  <a:pt x="223932" y="301355"/>
                  <a:pt x="219536" y="301355"/>
                </a:cubicBezTo>
                <a:cubicBezTo>
                  <a:pt x="216297" y="301246"/>
                  <a:pt x="213057" y="300841"/>
                  <a:pt x="209876" y="300141"/>
                </a:cubicBezTo>
                <a:lnTo>
                  <a:pt x="209297" y="300141"/>
                </a:lnTo>
                <a:cubicBezTo>
                  <a:pt x="205537" y="300112"/>
                  <a:pt x="201836" y="300621"/>
                  <a:pt x="198250" y="301645"/>
                </a:cubicBezTo>
                <a:cubicBezTo>
                  <a:pt x="194026" y="302582"/>
                  <a:pt x="189746" y="303143"/>
                  <a:pt x="185408" y="303322"/>
                </a:cubicBezTo>
                <a:close/>
                <a:moveTo>
                  <a:pt x="172914" y="292390"/>
                </a:moveTo>
                <a:cubicBezTo>
                  <a:pt x="174244" y="292401"/>
                  <a:pt x="175632" y="292615"/>
                  <a:pt x="176905" y="293026"/>
                </a:cubicBezTo>
                <a:cubicBezTo>
                  <a:pt x="179681" y="293708"/>
                  <a:pt x="181821" y="295976"/>
                  <a:pt x="182342" y="298810"/>
                </a:cubicBezTo>
                <a:cubicBezTo>
                  <a:pt x="182863" y="300430"/>
                  <a:pt x="183037" y="301124"/>
                  <a:pt x="185408" y="301124"/>
                </a:cubicBezTo>
                <a:cubicBezTo>
                  <a:pt x="189283" y="300852"/>
                  <a:pt x="193159" y="300251"/>
                  <a:pt x="196976" y="299331"/>
                </a:cubicBezTo>
                <a:cubicBezTo>
                  <a:pt x="200852" y="298318"/>
                  <a:pt x="204901" y="297833"/>
                  <a:pt x="208893" y="297885"/>
                </a:cubicBezTo>
                <a:lnTo>
                  <a:pt x="209529" y="297885"/>
                </a:lnTo>
                <a:cubicBezTo>
                  <a:pt x="212537" y="298556"/>
                  <a:pt x="215603" y="298943"/>
                  <a:pt x="218726" y="299042"/>
                </a:cubicBezTo>
                <a:cubicBezTo>
                  <a:pt x="220866" y="299042"/>
                  <a:pt x="223470" y="298694"/>
                  <a:pt x="223701" y="297075"/>
                </a:cubicBezTo>
                <a:cubicBezTo>
                  <a:pt x="224280" y="293547"/>
                  <a:pt x="226304" y="285506"/>
                  <a:pt x="232204" y="285506"/>
                </a:cubicBezTo>
                <a:cubicBezTo>
                  <a:pt x="232840" y="285402"/>
                  <a:pt x="233419" y="285402"/>
                  <a:pt x="234055" y="285506"/>
                </a:cubicBezTo>
                <a:cubicBezTo>
                  <a:pt x="235501" y="285934"/>
                  <a:pt x="236947" y="286495"/>
                  <a:pt x="238277" y="287184"/>
                </a:cubicBezTo>
                <a:cubicBezTo>
                  <a:pt x="240071" y="288155"/>
                  <a:pt x="242037" y="288728"/>
                  <a:pt x="244062" y="288861"/>
                </a:cubicBezTo>
                <a:cubicBezTo>
                  <a:pt x="246086" y="288745"/>
                  <a:pt x="247938" y="287901"/>
                  <a:pt x="249384" y="286489"/>
                </a:cubicBezTo>
                <a:cubicBezTo>
                  <a:pt x="252970" y="283898"/>
                  <a:pt x="257424" y="282822"/>
                  <a:pt x="261820" y="283481"/>
                </a:cubicBezTo>
                <a:lnTo>
                  <a:pt x="263787" y="283481"/>
                </a:lnTo>
                <a:cubicBezTo>
                  <a:pt x="266621" y="283481"/>
                  <a:pt x="267894" y="283077"/>
                  <a:pt x="268472" y="281920"/>
                </a:cubicBezTo>
                <a:cubicBezTo>
                  <a:pt x="269051" y="280763"/>
                  <a:pt x="270208" y="278449"/>
                  <a:pt x="297394" y="266186"/>
                </a:cubicBezTo>
                <a:cubicBezTo>
                  <a:pt x="296816" y="259765"/>
                  <a:pt x="292998" y="257914"/>
                  <a:pt x="288602" y="255774"/>
                </a:cubicBezTo>
                <a:cubicBezTo>
                  <a:pt x="282528" y="253981"/>
                  <a:pt x="278306" y="248457"/>
                  <a:pt x="278190" y="242123"/>
                </a:cubicBezTo>
                <a:cubicBezTo>
                  <a:pt x="278074" y="236310"/>
                  <a:pt x="276050" y="230704"/>
                  <a:pt x="272406" y="226158"/>
                </a:cubicBezTo>
                <a:cubicBezTo>
                  <a:pt x="269456" y="222843"/>
                  <a:pt x="267952" y="218546"/>
                  <a:pt x="268067" y="214126"/>
                </a:cubicBezTo>
                <a:lnTo>
                  <a:pt x="268067" y="211176"/>
                </a:lnTo>
                <a:cubicBezTo>
                  <a:pt x="268414" y="202499"/>
                  <a:pt x="268761" y="193823"/>
                  <a:pt x="265927" y="192666"/>
                </a:cubicBezTo>
                <a:cubicBezTo>
                  <a:pt x="264771" y="192313"/>
                  <a:pt x="263845" y="191399"/>
                  <a:pt x="263497" y="190236"/>
                </a:cubicBezTo>
                <a:cubicBezTo>
                  <a:pt x="262109" y="186361"/>
                  <a:pt x="264771" y="178668"/>
                  <a:pt x="270150" y="170338"/>
                </a:cubicBezTo>
                <a:cubicBezTo>
                  <a:pt x="272926" y="166173"/>
                  <a:pt x="270612" y="164206"/>
                  <a:pt x="265522" y="160447"/>
                </a:cubicBezTo>
                <a:cubicBezTo>
                  <a:pt x="260779" y="157757"/>
                  <a:pt x="257193" y="153384"/>
                  <a:pt x="255457" y="148184"/>
                </a:cubicBezTo>
                <a:cubicBezTo>
                  <a:pt x="254358" y="143441"/>
                  <a:pt x="258349" y="129558"/>
                  <a:pt x="267026" y="106883"/>
                </a:cubicBezTo>
                <a:cubicBezTo>
                  <a:pt x="244814" y="91554"/>
                  <a:pt x="222081" y="74953"/>
                  <a:pt x="221850" y="74779"/>
                </a:cubicBezTo>
                <a:cubicBezTo>
                  <a:pt x="221560" y="74531"/>
                  <a:pt x="221387" y="74172"/>
                  <a:pt x="221387" y="73796"/>
                </a:cubicBezTo>
                <a:lnTo>
                  <a:pt x="222718" y="57715"/>
                </a:lnTo>
                <a:lnTo>
                  <a:pt x="121721" y="4094"/>
                </a:lnTo>
                <a:cubicBezTo>
                  <a:pt x="120680" y="16125"/>
                  <a:pt x="115474" y="25612"/>
                  <a:pt x="108012" y="29024"/>
                </a:cubicBezTo>
                <a:cubicBezTo>
                  <a:pt x="106913" y="29545"/>
                  <a:pt x="106740" y="30066"/>
                  <a:pt x="106740" y="30239"/>
                </a:cubicBezTo>
                <a:cubicBezTo>
                  <a:pt x="106335" y="31685"/>
                  <a:pt x="108244" y="34346"/>
                  <a:pt x="109805" y="36487"/>
                </a:cubicBezTo>
                <a:cubicBezTo>
                  <a:pt x="111367" y="38627"/>
                  <a:pt x="113623" y="41808"/>
                  <a:pt x="112813" y="43890"/>
                </a:cubicBezTo>
                <a:cubicBezTo>
                  <a:pt x="112177" y="45146"/>
                  <a:pt x="110962" y="45984"/>
                  <a:pt x="109574" y="46089"/>
                </a:cubicBezTo>
                <a:cubicBezTo>
                  <a:pt x="104426" y="46418"/>
                  <a:pt x="99220" y="45834"/>
                  <a:pt x="94245" y="44353"/>
                </a:cubicBezTo>
                <a:cubicBezTo>
                  <a:pt x="88230" y="42867"/>
                  <a:pt x="82156" y="41993"/>
                  <a:pt x="75967" y="41750"/>
                </a:cubicBezTo>
                <a:cubicBezTo>
                  <a:pt x="72438" y="41658"/>
                  <a:pt x="68851" y="42265"/>
                  <a:pt x="65554" y="43543"/>
                </a:cubicBezTo>
                <a:cubicBezTo>
                  <a:pt x="63414" y="44689"/>
                  <a:pt x="60754" y="44070"/>
                  <a:pt x="59365" y="42097"/>
                </a:cubicBezTo>
                <a:cubicBezTo>
                  <a:pt x="55085" y="35966"/>
                  <a:pt x="58150" y="17224"/>
                  <a:pt x="63356" y="2011"/>
                </a:cubicBezTo>
                <a:lnTo>
                  <a:pt x="42301" y="3689"/>
                </a:lnTo>
                <a:lnTo>
                  <a:pt x="42301" y="3689"/>
                </a:lnTo>
                <a:cubicBezTo>
                  <a:pt x="42301" y="3689"/>
                  <a:pt x="36864" y="5077"/>
                  <a:pt x="30732" y="6754"/>
                </a:cubicBezTo>
                <a:lnTo>
                  <a:pt x="34782" y="17513"/>
                </a:lnTo>
                <a:cubicBezTo>
                  <a:pt x="37789" y="23304"/>
                  <a:pt x="39293" y="29782"/>
                  <a:pt x="39062" y="36313"/>
                </a:cubicBezTo>
                <a:cubicBezTo>
                  <a:pt x="38426" y="39379"/>
                  <a:pt x="34840" y="41403"/>
                  <a:pt x="28418" y="42097"/>
                </a:cubicBezTo>
                <a:cubicBezTo>
                  <a:pt x="29286" y="46302"/>
                  <a:pt x="29575" y="50601"/>
                  <a:pt x="29344" y="54881"/>
                </a:cubicBezTo>
                <a:lnTo>
                  <a:pt x="35707" y="58699"/>
                </a:lnTo>
                <a:cubicBezTo>
                  <a:pt x="36228" y="58999"/>
                  <a:pt x="36459" y="59659"/>
                  <a:pt x="36170" y="60203"/>
                </a:cubicBezTo>
                <a:cubicBezTo>
                  <a:pt x="34550" y="63211"/>
                  <a:pt x="20321" y="89993"/>
                  <a:pt x="13032" y="92885"/>
                </a:cubicBezTo>
                <a:cubicBezTo>
                  <a:pt x="9272" y="94730"/>
                  <a:pt x="5628" y="96858"/>
                  <a:pt x="2157" y="99247"/>
                </a:cubicBezTo>
                <a:cubicBezTo>
                  <a:pt x="5917" y="117989"/>
                  <a:pt x="11007" y="143209"/>
                  <a:pt x="18353" y="149919"/>
                </a:cubicBezTo>
                <a:cubicBezTo>
                  <a:pt x="26163" y="157277"/>
                  <a:pt x="30906" y="167359"/>
                  <a:pt x="31542" y="178089"/>
                </a:cubicBezTo>
                <a:cubicBezTo>
                  <a:pt x="31831" y="180814"/>
                  <a:pt x="32410" y="183509"/>
                  <a:pt x="33220" y="186130"/>
                </a:cubicBezTo>
                <a:cubicBezTo>
                  <a:pt x="34492" y="189091"/>
                  <a:pt x="36112" y="191885"/>
                  <a:pt x="38078" y="194459"/>
                </a:cubicBezTo>
                <a:cubicBezTo>
                  <a:pt x="40913" y="198682"/>
                  <a:pt x="43863" y="202673"/>
                  <a:pt x="42706" y="206028"/>
                </a:cubicBezTo>
                <a:cubicBezTo>
                  <a:pt x="42185" y="207671"/>
                  <a:pt x="40855" y="208961"/>
                  <a:pt x="39235" y="209499"/>
                </a:cubicBezTo>
                <a:cubicBezTo>
                  <a:pt x="37384" y="210297"/>
                  <a:pt x="35302" y="210297"/>
                  <a:pt x="33451" y="209499"/>
                </a:cubicBezTo>
                <a:cubicBezTo>
                  <a:pt x="35534" y="211003"/>
                  <a:pt x="37963" y="211992"/>
                  <a:pt x="40508" y="212391"/>
                </a:cubicBezTo>
                <a:cubicBezTo>
                  <a:pt x="45771" y="213143"/>
                  <a:pt x="50804" y="214971"/>
                  <a:pt x="55316" y="217770"/>
                </a:cubicBezTo>
                <a:cubicBezTo>
                  <a:pt x="58671" y="219673"/>
                  <a:pt x="62200" y="221189"/>
                  <a:pt x="65902" y="222282"/>
                </a:cubicBezTo>
                <a:cubicBezTo>
                  <a:pt x="72901" y="223613"/>
                  <a:pt x="98237" y="233851"/>
                  <a:pt x="101533" y="238016"/>
                </a:cubicBezTo>
                <a:cubicBezTo>
                  <a:pt x="101997" y="238652"/>
                  <a:pt x="102459" y="239404"/>
                  <a:pt x="102980" y="240272"/>
                </a:cubicBezTo>
                <a:cubicBezTo>
                  <a:pt x="108764" y="239855"/>
                  <a:pt x="114548" y="239855"/>
                  <a:pt x="120333" y="240272"/>
                </a:cubicBezTo>
                <a:cubicBezTo>
                  <a:pt x="123167" y="237941"/>
                  <a:pt x="127390" y="238357"/>
                  <a:pt x="129704" y="241197"/>
                </a:cubicBezTo>
                <a:cubicBezTo>
                  <a:pt x="129761" y="241272"/>
                  <a:pt x="129819" y="241348"/>
                  <a:pt x="129877" y="241429"/>
                </a:cubicBezTo>
                <a:cubicBezTo>
                  <a:pt x="137686" y="249469"/>
                  <a:pt x="145553" y="276135"/>
                  <a:pt x="145438" y="294298"/>
                </a:cubicBezTo>
                <a:cubicBezTo>
                  <a:pt x="151222" y="294993"/>
                  <a:pt x="157701" y="295744"/>
                  <a:pt x="159783" y="295744"/>
                </a:cubicBezTo>
                <a:cubicBezTo>
                  <a:pt x="161345" y="295559"/>
                  <a:pt x="162791" y="295045"/>
                  <a:pt x="164121" y="294241"/>
                </a:cubicBezTo>
                <a:cubicBezTo>
                  <a:pt x="166840" y="292927"/>
                  <a:pt x="169906" y="292291"/>
                  <a:pt x="172914" y="292390"/>
                </a:cubicBezTo>
                <a:close/>
                <a:moveTo>
                  <a:pt x="22923" y="202615"/>
                </a:moveTo>
                <a:cubicBezTo>
                  <a:pt x="26163" y="204987"/>
                  <a:pt x="28708" y="206838"/>
                  <a:pt x="31079" y="208400"/>
                </a:cubicBezTo>
                <a:cubicBezTo>
                  <a:pt x="28418" y="205999"/>
                  <a:pt x="26105" y="203211"/>
                  <a:pt x="24254" y="200128"/>
                </a:cubicBezTo>
                <a:cubicBezTo>
                  <a:pt x="23965" y="200880"/>
                  <a:pt x="23617" y="201615"/>
                  <a:pt x="23271" y="202326"/>
                </a:cubicBezTo>
                <a:cubicBezTo>
                  <a:pt x="23155" y="202447"/>
                  <a:pt x="23039" y="202552"/>
                  <a:pt x="22923" y="20261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5" name="Forma libre: forma 434">
            <a:extLst>
              <a:ext uri="{FF2B5EF4-FFF2-40B4-BE49-F238E27FC236}">
                <a16:creationId xmlns:a16="http://schemas.microsoft.com/office/drawing/2014/main" id="{846D7377-021D-2C60-53F4-7456B84BAACD}"/>
              </a:ext>
            </a:extLst>
          </p:cNvPr>
          <p:cNvSpPr/>
          <p:nvPr/>
        </p:nvSpPr>
        <p:spPr>
          <a:xfrm>
            <a:off x="7060950" y="4744586"/>
            <a:ext cx="87758" cy="210548"/>
          </a:xfrm>
          <a:custGeom>
            <a:avLst/>
            <a:gdLst>
              <a:gd name="connsiteX0" fmla="*/ 65825 w 87758"/>
              <a:gd name="connsiteY0" fmla="*/ 210420 h 210548"/>
              <a:gd name="connsiteX1" fmla="*/ 65825 w 87758"/>
              <a:gd name="connsiteY1" fmla="*/ 210420 h 210548"/>
              <a:gd name="connsiteX2" fmla="*/ 40200 w 87758"/>
              <a:gd name="connsiteY2" fmla="*/ 176118 h 210548"/>
              <a:gd name="connsiteX3" fmla="*/ 42398 w 87758"/>
              <a:gd name="connsiteY3" fmla="*/ 163277 h 210548"/>
              <a:gd name="connsiteX4" fmla="*/ 45811 w 87758"/>
              <a:gd name="connsiteY4" fmla="*/ 140486 h 210548"/>
              <a:gd name="connsiteX5" fmla="*/ 38812 w 87758"/>
              <a:gd name="connsiteY5" fmla="*/ 135107 h 210548"/>
              <a:gd name="connsiteX6" fmla="*/ 29152 w 87758"/>
              <a:gd name="connsiteY6" fmla="*/ 137073 h 210548"/>
              <a:gd name="connsiteX7" fmla="*/ 25276 w 87758"/>
              <a:gd name="connsiteY7" fmla="*/ 138057 h 210548"/>
              <a:gd name="connsiteX8" fmla="*/ 24640 w 87758"/>
              <a:gd name="connsiteY8" fmla="*/ 138057 h 210548"/>
              <a:gd name="connsiteX9" fmla="*/ 11798 w 87758"/>
              <a:gd name="connsiteY9" fmla="*/ 129496 h 210548"/>
              <a:gd name="connsiteX10" fmla="*/ 6534 w 87758"/>
              <a:gd name="connsiteY10" fmla="*/ 125158 h 210548"/>
              <a:gd name="connsiteX11" fmla="*/ 5262 w 87758"/>
              <a:gd name="connsiteY11" fmla="*/ 124579 h 210548"/>
              <a:gd name="connsiteX12" fmla="*/ 2890 w 87758"/>
              <a:gd name="connsiteY12" fmla="*/ 119951 h 210548"/>
              <a:gd name="connsiteX13" fmla="*/ -2 w 87758"/>
              <a:gd name="connsiteY13" fmla="*/ 112143 h 210548"/>
              <a:gd name="connsiteX14" fmla="*/ 982 w 87758"/>
              <a:gd name="connsiteY14" fmla="*/ 111101 h 210548"/>
              <a:gd name="connsiteX15" fmla="*/ 4510 w 87758"/>
              <a:gd name="connsiteY15" fmla="*/ 85534 h 210548"/>
              <a:gd name="connsiteX16" fmla="*/ 12955 w 87758"/>
              <a:gd name="connsiteY16" fmla="*/ 80906 h 210548"/>
              <a:gd name="connsiteX17" fmla="*/ 16831 w 87758"/>
              <a:gd name="connsiteY17" fmla="*/ 80212 h 210548"/>
              <a:gd name="connsiteX18" fmla="*/ 16021 w 87758"/>
              <a:gd name="connsiteY18" fmla="*/ 79287 h 210548"/>
              <a:gd name="connsiteX19" fmla="*/ 14344 w 87758"/>
              <a:gd name="connsiteY19" fmla="*/ 33359 h 210548"/>
              <a:gd name="connsiteX20" fmla="*/ 20128 w 87758"/>
              <a:gd name="connsiteY20" fmla="*/ 29309 h 210548"/>
              <a:gd name="connsiteX21" fmla="*/ 21805 w 87758"/>
              <a:gd name="connsiteY21" fmla="*/ 29309 h 210548"/>
              <a:gd name="connsiteX22" fmla="*/ 22963 w 87758"/>
              <a:gd name="connsiteY22" fmla="*/ 29309 h 210548"/>
              <a:gd name="connsiteX23" fmla="*/ 24004 w 87758"/>
              <a:gd name="connsiteY23" fmla="*/ 28037 h 210548"/>
              <a:gd name="connsiteX24" fmla="*/ 13360 w 87758"/>
              <a:gd name="connsiteY24" fmla="*/ 1949 h 210548"/>
              <a:gd name="connsiteX25" fmla="*/ 13360 w 87758"/>
              <a:gd name="connsiteY25" fmla="*/ 850 h 210548"/>
              <a:gd name="connsiteX26" fmla="*/ 14286 w 87758"/>
              <a:gd name="connsiteY26" fmla="*/ 214 h 210548"/>
              <a:gd name="connsiteX27" fmla="*/ 32854 w 87758"/>
              <a:gd name="connsiteY27" fmla="*/ 214 h 210548"/>
              <a:gd name="connsiteX28" fmla="*/ 33837 w 87758"/>
              <a:gd name="connsiteY28" fmla="*/ 966 h 210548"/>
              <a:gd name="connsiteX29" fmla="*/ 33490 w 87758"/>
              <a:gd name="connsiteY29" fmla="*/ 2180 h 210548"/>
              <a:gd name="connsiteX30" fmla="*/ 40200 w 87758"/>
              <a:gd name="connsiteY30" fmla="*/ 36308 h 210548"/>
              <a:gd name="connsiteX31" fmla="*/ 40200 w 87758"/>
              <a:gd name="connsiteY31" fmla="*/ 63669 h 210548"/>
              <a:gd name="connsiteX32" fmla="*/ 37308 w 87758"/>
              <a:gd name="connsiteY32" fmla="*/ 85071 h 210548"/>
              <a:gd name="connsiteX33" fmla="*/ 62412 w 87758"/>
              <a:gd name="connsiteY33" fmla="*/ 127876 h 210548"/>
              <a:gd name="connsiteX34" fmla="*/ 64900 w 87758"/>
              <a:gd name="connsiteY34" fmla="*/ 126372 h 210548"/>
              <a:gd name="connsiteX35" fmla="*/ 65594 w 87758"/>
              <a:gd name="connsiteY35" fmla="*/ 122497 h 210548"/>
              <a:gd name="connsiteX36" fmla="*/ 66172 w 87758"/>
              <a:gd name="connsiteY36" fmla="*/ 121398 h 210548"/>
              <a:gd name="connsiteX37" fmla="*/ 67445 w 87758"/>
              <a:gd name="connsiteY37" fmla="*/ 121398 h 210548"/>
              <a:gd name="connsiteX38" fmla="*/ 84104 w 87758"/>
              <a:gd name="connsiteY38" fmla="*/ 137478 h 210548"/>
              <a:gd name="connsiteX39" fmla="*/ 86822 w 87758"/>
              <a:gd name="connsiteY39" fmla="*/ 149568 h 210548"/>
              <a:gd name="connsiteX40" fmla="*/ 85203 w 87758"/>
              <a:gd name="connsiteY40" fmla="*/ 165649 h 210548"/>
              <a:gd name="connsiteX41" fmla="*/ 76353 w 87758"/>
              <a:gd name="connsiteY41" fmla="*/ 181382 h 210548"/>
              <a:gd name="connsiteX42" fmla="*/ 69469 w 87758"/>
              <a:gd name="connsiteY42" fmla="*/ 184274 h 210548"/>
              <a:gd name="connsiteX43" fmla="*/ 67098 w 87758"/>
              <a:gd name="connsiteY43" fmla="*/ 201280 h 210548"/>
              <a:gd name="connsiteX44" fmla="*/ 67098 w 87758"/>
              <a:gd name="connsiteY44" fmla="*/ 208916 h 210548"/>
              <a:gd name="connsiteX45" fmla="*/ 65825 w 87758"/>
              <a:gd name="connsiteY45" fmla="*/ 210420 h 210548"/>
              <a:gd name="connsiteX46" fmla="*/ 38580 w 87758"/>
              <a:gd name="connsiteY46" fmla="*/ 132851 h 210548"/>
              <a:gd name="connsiteX47" fmla="*/ 47777 w 87758"/>
              <a:gd name="connsiteY47" fmla="*/ 140024 h 210548"/>
              <a:gd name="connsiteX48" fmla="*/ 44307 w 87758"/>
              <a:gd name="connsiteY48" fmla="*/ 163913 h 210548"/>
              <a:gd name="connsiteX49" fmla="*/ 42051 w 87758"/>
              <a:gd name="connsiteY49" fmla="*/ 175482 h 210548"/>
              <a:gd name="connsiteX50" fmla="*/ 65189 w 87758"/>
              <a:gd name="connsiteY50" fmla="*/ 207933 h 210548"/>
              <a:gd name="connsiteX51" fmla="*/ 64668 w 87758"/>
              <a:gd name="connsiteY51" fmla="*/ 202148 h 210548"/>
              <a:gd name="connsiteX52" fmla="*/ 67792 w 87758"/>
              <a:gd name="connsiteY52" fmla="*/ 183175 h 210548"/>
              <a:gd name="connsiteX53" fmla="*/ 75775 w 87758"/>
              <a:gd name="connsiteY53" fmla="*/ 179705 h 210548"/>
              <a:gd name="connsiteX54" fmla="*/ 82774 w 87758"/>
              <a:gd name="connsiteY54" fmla="*/ 166343 h 210548"/>
              <a:gd name="connsiteX55" fmla="*/ 84451 w 87758"/>
              <a:gd name="connsiteY55" fmla="*/ 149626 h 210548"/>
              <a:gd name="connsiteX56" fmla="*/ 82195 w 87758"/>
              <a:gd name="connsiteY56" fmla="*/ 139503 h 210548"/>
              <a:gd name="connsiteX57" fmla="*/ 67618 w 87758"/>
              <a:gd name="connsiteY57" fmla="*/ 125273 h 210548"/>
              <a:gd name="connsiteX58" fmla="*/ 66577 w 87758"/>
              <a:gd name="connsiteY58" fmla="*/ 128108 h 210548"/>
              <a:gd name="connsiteX59" fmla="*/ 62239 w 87758"/>
              <a:gd name="connsiteY59" fmla="*/ 130595 h 210548"/>
              <a:gd name="connsiteX60" fmla="*/ 34878 w 87758"/>
              <a:gd name="connsiteY60" fmla="*/ 85823 h 210548"/>
              <a:gd name="connsiteX61" fmla="*/ 37886 w 87758"/>
              <a:gd name="connsiteY61" fmla="*/ 63437 h 210548"/>
              <a:gd name="connsiteX62" fmla="*/ 37886 w 87758"/>
              <a:gd name="connsiteY62" fmla="*/ 37697 h 210548"/>
              <a:gd name="connsiteX63" fmla="*/ 30366 w 87758"/>
              <a:gd name="connsiteY63" fmla="*/ 2990 h 210548"/>
              <a:gd name="connsiteX64" fmla="*/ 16021 w 87758"/>
              <a:gd name="connsiteY64" fmla="*/ 2990 h 210548"/>
              <a:gd name="connsiteX65" fmla="*/ 26028 w 87758"/>
              <a:gd name="connsiteY65" fmla="*/ 28615 h 210548"/>
              <a:gd name="connsiteX66" fmla="*/ 22731 w 87758"/>
              <a:gd name="connsiteY66" fmla="*/ 32144 h 210548"/>
              <a:gd name="connsiteX67" fmla="*/ 21343 w 87758"/>
              <a:gd name="connsiteY67" fmla="*/ 32144 h 210548"/>
              <a:gd name="connsiteX68" fmla="*/ 19897 w 87758"/>
              <a:gd name="connsiteY68" fmla="*/ 32144 h 210548"/>
              <a:gd name="connsiteX69" fmla="*/ 16195 w 87758"/>
              <a:gd name="connsiteY69" fmla="*/ 34805 h 210548"/>
              <a:gd name="connsiteX70" fmla="*/ 17293 w 87758"/>
              <a:gd name="connsiteY70" fmla="*/ 78303 h 210548"/>
              <a:gd name="connsiteX71" fmla="*/ 18682 w 87758"/>
              <a:gd name="connsiteY71" fmla="*/ 81601 h 210548"/>
              <a:gd name="connsiteX72" fmla="*/ 12898 w 87758"/>
              <a:gd name="connsiteY72" fmla="*/ 83741 h 210548"/>
              <a:gd name="connsiteX73" fmla="*/ 6477 w 87758"/>
              <a:gd name="connsiteY73" fmla="*/ 86113 h 210548"/>
              <a:gd name="connsiteX74" fmla="*/ 1849 w 87758"/>
              <a:gd name="connsiteY74" fmla="*/ 113589 h 210548"/>
              <a:gd name="connsiteX75" fmla="*/ 4568 w 87758"/>
              <a:gd name="connsiteY75" fmla="*/ 119373 h 210548"/>
              <a:gd name="connsiteX76" fmla="*/ 6708 w 87758"/>
              <a:gd name="connsiteY76" fmla="*/ 123480 h 210548"/>
              <a:gd name="connsiteX77" fmla="*/ 13013 w 87758"/>
              <a:gd name="connsiteY77" fmla="*/ 128281 h 210548"/>
              <a:gd name="connsiteX78" fmla="*/ 24582 w 87758"/>
              <a:gd name="connsiteY78" fmla="*/ 136264 h 210548"/>
              <a:gd name="connsiteX79" fmla="*/ 28458 w 87758"/>
              <a:gd name="connsiteY79" fmla="*/ 135280 h 210548"/>
              <a:gd name="connsiteX80" fmla="*/ 38580 w 87758"/>
              <a:gd name="connsiteY80" fmla="*/ 132851 h 21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7758" h="210548">
                <a:moveTo>
                  <a:pt x="65825" y="210420"/>
                </a:moveTo>
                <a:lnTo>
                  <a:pt x="65825" y="210420"/>
                </a:lnTo>
                <a:cubicBezTo>
                  <a:pt x="60966" y="210420"/>
                  <a:pt x="41241" y="179358"/>
                  <a:pt x="40200" y="176118"/>
                </a:cubicBezTo>
                <a:cubicBezTo>
                  <a:pt x="39969" y="171728"/>
                  <a:pt x="40721" y="167338"/>
                  <a:pt x="42398" y="163277"/>
                </a:cubicBezTo>
                <a:cubicBezTo>
                  <a:pt x="45117" y="156012"/>
                  <a:pt x="46331" y="148237"/>
                  <a:pt x="45811" y="140486"/>
                </a:cubicBezTo>
                <a:cubicBezTo>
                  <a:pt x="45348" y="137067"/>
                  <a:pt x="42225" y="134661"/>
                  <a:pt x="38812" y="135107"/>
                </a:cubicBezTo>
                <a:cubicBezTo>
                  <a:pt x="35514" y="135321"/>
                  <a:pt x="32276" y="135980"/>
                  <a:pt x="29152" y="137073"/>
                </a:cubicBezTo>
                <a:cubicBezTo>
                  <a:pt x="27879" y="137496"/>
                  <a:pt x="26607" y="137825"/>
                  <a:pt x="25276" y="138057"/>
                </a:cubicBezTo>
                <a:lnTo>
                  <a:pt x="24640" y="138057"/>
                </a:lnTo>
                <a:cubicBezTo>
                  <a:pt x="21169" y="138057"/>
                  <a:pt x="16195" y="133487"/>
                  <a:pt x="11798" y="129496"/>
                </a:cubicBezTo>
                <a:cubicBezTo>
                  <a:pt x="10179" y="127888"/>
                  <a:pt x="8444" y="126436"/>
                  <a:pt x="6534" y="125158"/>
                </a:cubicBezTo>
                <a:cubicBezTo>
                  <a:pt x="6014" y="125296"/>
                  <a:pt x="5494" y="125053"/>
                  <a:pt x="5262" y="124579"/>
                </a:cubicBezTo>
                <a:cubicBezTo>
                  <a:pt x="4452" y="122902"/>
                  <a:pt x="3584" y="121398"/>
                  <a:pt x="2890" y="119951"/>
                </a:cubicBezTo>
                <a:cubicBezTo>
                  <a:pt x="577" y="115555"/>
                  <a:pt x="-465" y="113589"/>
                  <a:pt x="-2" y="112143"/>
                </a:cubicBezTo>
                <a:cubicBezTo>
                  <a:pt x="172" y="111668"/>
                  <a:pt x="519" y="111292"/>
                  <a:pt x="982" y="111101"/>
                </a:cubicBezTo>
                <a:cubicBezTo>
                  <a:pt x="2775" y="109771"/>
                  <a:pt x="4510" y="92938"/>
                  <a:pt x="4510" y="85534"/>
                </a:cubicBezTo>
                <a:cubicBezTo>
                  <a:pt x="4510" y="81774"/>
                  <a:pt x="9196" y="81311"/>
                  <a:pt x="12955" y="80906"/>
                </a:cubicBezTo>
                <a:cubicBezTo>
                  <a:pt x="14286" y="80860"/>
                  <a:pt x="15558" y="80629"/>
                  <a:pt x="16831" y="80212"/>
                </a:cubicBezTo>
                <a:cubicBezTo>
                  <a:pt x="16541" y="79917"/>
                  <a:pt x="16253" y="79611"/>
                  <a:pt x="16021" y="79287"/>
                </a:cubicBezTo>
                <a:cubicBezTo>
                  <a:pt x="9890" y="73213"/>
                  <a:pt x="11567" y="40531"/>
                  <a:pt x="14344" y="33359"/>
                </a:cubicBezTo>
                <a:cubicBezTo>
                  <a:pt x="15153" y="30854"/>
                  <a:pt x="17525" y="29188"/>
                  <a:pt x="20128" y="29309"/>
                </a:cubicBezTo>
                <a:lnTo>
                  <a:pt x="21805" y="29309"/>
                </a:lnTo>
                <a:lnTo>
                  <a:pt x="22963" y="29309"/>
                </a:lnTo>
                <a:cubicBezTo>
                  <a:pt x="23715" y="29309"/>
                  <a:pt x="24004" y="29309"/>
                  <a:pt x="24004" y="28037"/>
                </a:cubicBezTo>
                <a:cubicBezTo>
                  <a:pt x="21921" y="18816"/>
                  <a:pt x="18335" y="10001"/>
                  <a:pt x="13360" y="1949"/>
                </a:cubicBezTo>
                <a:cubicBezTo>
                  <a:pt x="13187" y="1602"/>
                  <a:pt x="13187" y="1197"/>
                  <a:pt x="13360" y="850"/>
                </a:cubicBezTo>
                <a:cubicBezTo>
                  <a:pt x="13534" y="497"/>
                  <a:pt x="13881" y="260"/>
                  <a:pt x="14286" y="214"/>
                </a:cubicBezTo>
                <a:cubicBezTo>
                  <a:pt x="20475" y="-243"/>
                  <a:pt x="26664" y="-243"/>
                  <a:pt x="32854" y="214"/>
                </a:cubicBezTo>
                <a:cubicBezTo>
                  <a:pt x="33316" y="266"/>
                  <a:pt x="33664" y="555"/>
                  <a:pt x="33837" y="966"/>
                </a:cubicBezTo>
                <a:cubicBezTo>
                  <a:pt x="33953" y="1405"/>
                  <a:pt x="33837" y="1880"/>
                  <a:pt x="33490" y="2180"/>
                </a:cubicBezTo>
                <a:cubicBezTo>
                  <a:pt x="29614" y="5709"/>
                  <a:pt x="32044" y="18146"/>
                  <a:pt x="40200" y="36308"/>
                </a:cubicBezTo>
                <a:cubicBezTo>
                  <a:pt x="44017" y="45032"/>
                  <a:pt x="44017" y="54946"/>
                  <a:pt x="40200" y="63669"/>
                </a:cubicBezTo>
                <a:cubicBezTo>
                  <a:pt x="37655" y="70500"/>
                  <a:pt x="36672" y="77812"/>
                  <a:pt x="37308" y="85071"/>
                </a:cubicBezTo>
                <a:cubicBezTo>
                  <a:pt x="39332" y="101846"/>
                  <a:pt x="54661" y="127876"/>
                  <a:pt x="62412" y="127876"/>
                </a:cubicBezTo>
                <a:cubicBezTo>
                  <a:pt x="63454" y="127835"/>
                  <a:pt x="64379" y="127269"/>
                  <a:pt x="64900" y="126372"/>
                </a:cubicBezTo>
                <a:cubicBezTo>
                  <a:pt x="65594" y="125204"/>
                  <a:pt x="65825" y="123827"/>
                  <a:pt x="65594" y="122497"/>
                </a:cubicBezTo>
                <a:cubicBezTo>
                  <a:pt x="65536" y="122045"/>
                  <a:pt x="65767" y="121594"/>
                  <a:pt x="66172" y="121398"/>
                </a:cubicBezTo>
                <a:cubicBezTo>
                  <a:pt x="66577" y="121143"/>
                  <a:pt x="67040" y="121143"/>
                  <a:pt x="67445" y="121398"/>
                </a:cubicBezTo>
                <a:cubicBezTo>
                  <a:pt x="73403" y="126314"/>
                  <a:pt x="78956" y="131694"/>
                  <a:pt x="84104" y="137478"/>
                </a:cubicBezTo>
                <a:cubicBezTo>
                  <a:pt x="87516" y="140521"/>
                  <a:pt x="88558" y="145368"/>
                  <a:pt x="86822" y="149568"/>
                </a:cubicBezTo>
                <a:cubicBezTo>
                  <a:pt x="85376" y="154797"/>
                  <a:pt x="84798" y="160234"/>
                  <a:pt x="85203" y="165649"/>
                </a:cubicBezTo>
                <a:cubicBezTo>
                  <a:pt x="85724" y="178490"/>
                  <a:pt x="82022" y="180225"/>
                  <a:pt x="76353" y="181382"/>
                </a:cubicBezTo>
                <a:cubicBezTo>
                  <a:pt x="73807" y="181677"/>
                  <a:pt x="71436" y="182678"/>
                  <a:pt x="69469" y="184274"/>
                </a:cubicBezTo>
                <a:cubicBezTo>
                  <a:pt x="65131" y="188150"/>
                  <a:pt x="66230" y="195438"/>
                  <a:pt x="67098" y="201280"/>
                </a:cubicBezTo>
                <a:cubicBezTo>
                  <a:pt x="67676" y="203797"/>
                  <a:pt x="67676" y="206400"/>
                  <a:pt x="67098" y="208916"/>
                </a:cubicBezTo>
                <a:cubicBezTo>
                  <a:pt x="67098" y="209656"/>
                  <a:pt x="66577" y="210281"/>
                  <a:pt x="65825" y="210420"/>
                </a:cubicBezTo>
                <a:close/>
                <a:moveTo>
                  <a:pt x="38580" y="132851"/>
                </a:moveTo>
                <a:cubicBezTo>
                  <a:pt x="43092" y="132371"/>
                  <a:pt x="47141" y="135540"/>
                  <a:pt x="47777" y="140024"/>
                </a:cubicBezTo>
                <a:cubicBezTo>
                  <a:pt x="48356" y="148145"/>
                  <a:pt x="47199" y="156295"/>
                  <a:pt x="44307" y="163913"/>
                </a:cubicBezTo>
                <a:cubicBezTo>
                  <a:pt x="42861" y="167609"/>
                  <a:pt x="42109" y="171525"/>
                  <a:pt x="42051" y="175482"/>
                </a:cubicBezTo>
                <a:cubicBezTo>
                  <a:pt x="48356" y="187236"/>
                  <a:pt x="56107" y="198145"/>
                  <a:pt x="65189" y="207933"/>
                </a:cubicBezTo>
                <a:cubicBezTo>
                  <a:pt x="65247" y="205989"/>
                  <a:pt x="65073" y="204046"/>
                  <a:pt x="64668" y="202148"/>
                </a:cubicBezTo>
                <a:cubicBezTo>
                  <a:pt x="63800" y="196364"/>
                  <a:pt x="62528" y="187861"/>
                  <a:pt x="67792" y="183175"/>
                </a:cubicBezTo>
                <a:cubicBezTo>
                  <a:pt x="70047" y="181290"/>
                  <a:pt x="72824" y="180086"/>
                  <a:pt x="75775" y="179705"/>
                </a:cubicBezTo>
                <a:cubicBezTo>
                  <a:pt x="80286" y="178837"/>
                  <a:pt x="83236" y="178201"/>
                  <a:pt x="82774" y="166343"/>
                </a:cubicBezTo>
                <a:cubicBezTo>
                  <a:pt x="82426" y="160714"/>
                  <a:pt x="82947" y="155069"/>
                  <a:pt x="84451" y="149626"/>
                </a:cubicBezTo>
                <a:cubicBezTo>
                  <a:pt x="86012" y="146120"/>
                  <a:pt x="85087" y="142019"/>
                  <a:pt x="82195" y="139503"/>
                </a:cubicBezTo>
                <a:cubicBezTo>
                  <a:pt x="77683" y="134407"/>
                  <a:pt x="72824" y="129652"/>
                  <a:pt x="67618" y="125273"/>
                </a:cubicBezTo>
                <a:cubicBezTo>
                  <a:pt x="67503" y="126291"/>
                  <a:pt x="67155" y="127269"/>
                  <a:pt x="66577" y="128108"/>
                </a:cubicBezTo>
                <a:cubicBezTo>
                  <a:pt x="65652" y="129629"/>
                  <a:pt x="64032" y="130572"/>
                  <a:pt x="62239" y="130595"/>
                </a:cubicBezTo>
                <a:cubicBezTo>
                  <a:pt x="52521" y="130595"/>
                  <a:pt x="36961" y="102829"/>
                  <a:pt x="34878" y="85823"/>
                </a:cubicBezTo>
                <a:cubicBezTo>
                  <a:pt x="34242" y="78228"/>
                  <a:pt x="35284" y="70587"/>
                  <a:pt x="37886" y="63437"/>
                </a:cubicBezTo>
                <a:cubicBezTo>
                  <a:pt x="41473" y="55235"/>
                  <a:pt x="41473" y="45899"/>
                  <a:pt x="37886" y="37697"/>
                </a:cubicBezTo>
                <a:cubicBezTo>
                  <a:pt x="29904" y="19939"/>
                  <a:pt x="27416" y="8254"/>
                  <a:pt x="30366" y="2990"/>
                </a:cubicBezTo>
                <a:cubicBezTo>
                  <a:pt x="25565" y="2730"/>
                  <a:pt x="20823" y="2730"/>
                  <a:pt x="16021" y="2990"/>
                </a:cubicBezTo>
                <a:cubicBezTo>
                  <a:pt x="20765" y="10921"/>
                  <a:pt x="24119" y="19580"/>
                  <a:pt x="26028" y="28615"/>
                </a:cubicBezTo>
                <a:cubicBezTo>
                  <a:pt x="26028" y="30929"/>
                  <a:pt x="24929" y="32144"/>
                  <a:pt x="22731" y="32144"/>
                </a:cubicBezTo>
                <a:lnTo>
                  <a:pt x="21343" y="32144"/>
                </a:lnTo>
                <a:lnTo>
                  <a:pt x="19897" y="32144"/>
                </a:lnTo>
                <a:cubicBezTo>
                  <a:pt x="18161" y="31982"/>
                  <a:pt x="16599" y="33115"/>
                  <a:pt x="16195" y="34805"/>
                </a:cubicBezTo>
                <a:cubicBezTo>
                  <a:pt x="13418" y="41688"/>
                  <a:pt x="12319" y="73329"/>
                  <a:pt x="17293" y="78303"/>
                </a:cubicBezTo>
                <a:cubicBezTo>
                  <a:pt x="18103" y="79113"/>
                  <a:pt x="19145" y="80328"/>
                  <a:pt x="18682" y="81601"/>
                </a:cubicBezTo>
                <a:cubicBezTo>
                  <a:pt x="18219" y="82873"/>
                  <a:pt x="15790" y="83452"/>
                  <a:pt x="12898" y="83741"/>
                </a:cubicBezTo>
                <a:cubicBezTo>
                  <a:pt x="10006" y="84030"/>
                  <a:pt x="6477" y="84551"/>
                  <a:pt x="6477" y="86113"/>
                </a:cubicBezTo>
                <a:cubicBezTo>
                  <a:pt x="6477" y="86113"/>
                  <a:pt x="5840" y="110754"/>
                  <a:pt x="1849" y="113589"/>
                </a:cubicBezTo>
                <a:cubicBezTo>
                  <a:pt x="2544" y="115601"/>
                  <a:pt x="3469" y="117539"/>
                  <a:pt x="4568" y="119373"/>
                </a:cubicBezTo>
                <a:cubicBezTo>
                  <a:pt x="5262" y="120645"/>
                  <a:pt x="5956" y="122034"/>
                  <a:pt x="6708" y="123480"/>
                </a:cubicBezTo>
                <a:cubicBezTo>
                  <a:pt x="9080" y="124671"/>
                  <a:pt x="11220" y="126303"/>
                  <a:pt x="13013" y="128281"/>
                </a:cubicBezTo>
                <a:cubicBezTo>
                  <a:pt x="16715" y="131636"/>
                  <a:pt x="21748" y="136264"/>
                  <a:pt x="24582" y="136264"/>
                </a:cubicBezTo>
                <a:cubicBezTo>
                  <a:pt x="25913" y="136032"/>
                  <a:pt x="27185" y="135703"/>
                  <a:pt x="28458" y="135280"/>
                </a:cubicBezTo>
                <a:cubicBezTo>
                  <a:pt x="31697" y="134025"/>
                  <a:pt x="35110" y="133204"/>
                  <a:pt x="38580" y="13285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6" name="Forma libre: forma 435">
            <a:extLst>
              <a:ext uri="{FF2B5EF4-FFF2-40B4-BE49-F238E27FC236}">
                <a16:creationId xmlns:a16="http://schemas.microsoft.com/office/drawing/2014/main" id="{ADAC34F8-4B24-12C5-8AD3-D8A5AAFECD18}"/>
              </a:ext>
            </a:extLst>
          </p:cNvPr>
          <p:cNvSpPr/>
          <p:nvPr/>
        </p:nvSpPr>
        <p:spPr>
          <a:xfrm>
            <a:off x="8031509" y="3289608"/>
            <a:ext cx="210989" cy="140884"/>
          </a:xfrm>
          <a:custGeom>
            <a:avLst/>
            <a:gdLst>
              <a:gd name="connsiteX0" fmla="*/ 118763 w 210989"/>
              <a:gd name="connsiteY0" fmla="*/ 140738 h 140884"/>
              <a:gd name="connsiteX1" fmla="*/ 112631 w 210989"/>
              <a:gd name="connsiteY1" fmla="*/ 138366 h 140884"/>
              <a:gd name="connsiteX2" fmla="*/ 113209 w 210989"/>
              <a:gd name="connsiteY2" fmla="*/ 122285 h 140884"/>
              <a:gd name="connsiteX3" fmla="*/ 111937 w 210989"/>
              <a:gd name="connsiteY3" fmla="*/ 106263 h 140884"/>
              <a:gd name="connsiteX4" fmla="*/ 105054 w 210989"/>
              <a:gd name="connsiteY4" fmla="*/ 91570 h 140884"/>
              <a:gd name="connsiteX5" fmla="*/ 101468 w 210989"/>
              <a:gd name="connsiteY5" fmla="*/ 83703 h 140884"/>
              <a:gd name="connsiteX6" fmla="*/ 85907 w 210989"/>
              <a:gd name="connsiteY6" fmla="*/ 92438 h 140884"/>
              <a:gd name="connsiteX7" fmla="*/ 77925 w 210989"/>
              <a:gd name="connsiteY7" fmla="*/ 106321 h 140884"/>
              <a:gd name="connsiteX8" fmla="*/ 64100 w 210989"/>
              <a:gd name="connsiteY8" fmla="*/ 113840 h 140884"/>
              <a:gd name="connsiteX9" fmla="*/ 52010 w 210989"/>
              <a:gd name="connsiteY9" fmla="*/ 119278 h 140884"/>
              <a:gd name="connsiteX10" fmla="*/ 42582 w 210989"/>
              <a:gd name="connsiteY10" fmla="*/ 123847 h 140884"/>
              <a:gd name="connsiteX11" fmla="*/ 35583 w 210989"/>
              <a:gd name="connsiteY11" fmla="*/ 123847 h 140884"/>
              <a:gd name="connsiteX12" fmla="*/ 24014 w 210989"/>
              <a:gd name="connsiteY12" fmla="*/ 127434 h 140884"/>
              <a:gd name="connsiteX13" fmla="*/ 19097 w 210989"/>
              <a:gd name="connsiteY13" fmla="*/ 130731 h 140884"/>
              <a:gd name="connsiteX14" fmla="*/ 9553 w 210989"/>
              <a:gd name="connsiteY14" fmla="*/ 126508 h 140884"/>
              <a:gd name="connsiteX15" fmla="*/ 9032 w 210989"/>
              <a:gd name="connsiteY15" fmla="*/ 125583 h 140884"/>
              <a:gd name="connsiteX16" fmla="*/ 20601 w 210989"/>
              <a:gd name="connsiteY16" fmla="*/ 96140 h 140884"/>
              <a:gd name="connsiteX17" fmla="*/ 19964 w 210989"/>
              <a:gd name="connsiteY17" fmla="*/ 84918 h 140884"/>
              <a:gd name="connsiteX18" fmla="*/ 16957 w 210989"/>
              <a:gd name="connsiteY18" fmla="*/ 72597 h 140884"/>
              <a:gd name="connsiteX19" fmla="*/ 8338 w 210989"/>
              <a:gd name="connsiteY19" fmla="*/ 62243 h 140884"/>
              <a:gd name="connsiteX20" fmla="*/ 8 w 210989"/>
              <a:gd name="connsiteY20" fmla="*/ 51600 h 140884"/>
              <a:gd name="connsiteX21" fmla="*/ 16668 w 210989"/>
              <a:gd name="connsiteY21" fmla="*/ 43444 h 140884"/>
              <a:gd name="connsiteX22" fmla="*/ 26501 w 210989"/>
              <a:gd name="connsiteY22" fmla="*/ 41072 h 140884"/>
              <a:gd name="connsiteX23" fmla="*/ 30261 w 210989"/>
              <a:gd name="connsiteY23" fmla="*/ 33263 h 140884"/>
              <a:gd name="connsiteX24" fmla="*/ 36045 w 210989"/>
              <a:gd name="connsiteY24" fmla="*/ 25628 h 140884"/>
              <a:gd name="connsiteX25" fmla="*/ 47614 w 210989"/>
              <a:gd name="connsiteY25" fmla="*/ 11861 h 140884"/>
              <a:gd name="connsiteX26" fmla="*/ 54961 w 210989"/>
              <a:gd name="connsiteY26" fmla="*/ 7638 h 140884"/>
              <a:gd name="connsiteX27" fmla="*/ 58778 w 210989"/>
              <a:gd name="connsiteY27" fmla="*/ 7638 h 140884"/>
              <a:gd name="connsiteX28" fmla="*/ 62827 w 210989"/>
              <a:gd name="connsiteY28" fmla="*/ 7638 h 140884"/>
              <a:gd name="connsiteX29" fmla="*/ 69017 w 210989"/>
              <a:gd name="connsiteY29" fmla="*/ 6019 h 140884"/>
              <a:gd name="connsiteX30" fmla="*/ 84114 w 210989"/>
              <a:gd name="connsiteY30" fmla="*/ -113 h 140884"/>
              <a:gd name="connsiteX31" fmla="*/ 89262 w 210989"/>
              <a:gd name="connsiteY31" fmla="*/ 2316 h 140884"/>
              <a:gd name="connsiteX32" fmla="*/ 79544 w 210989"/>
              <a:gd name="connsiteY32" fmla="*/ 25917 h 140884"/>
              <a:gd name="connsiteX33" fmla="*/ 78619 w 210989"/>
              <a:gd name="connsiteY33" fmla="*/ 26438 h 140884"/>
              <a:gd name="connsiteX34" fmla="*/ 70058 w 210989"/>
              <a:gd name="connsiteY34" fmla="*/ 26438 h 140884"/>
              <a:gd name="connsiteX35" fmla="*/ 69190 w 210989"/>
              <a:gd name="connsiteY35" fmla="*/ 26438 h 140884"/>
              <a:gd name="connsiteX36" fmla="*/ 54614 w 210989"/>
              <a:gd name="connsiteY36" fmla="*/ 35288 h 140884"/>
              <a:gd name="connsiteX37" fmla="*/ 51895 w 210989"/>
              <a:gd name="connsiteY37" fmla="*/ 41361 h 140884"/>
              <a:gd name="connsiteX38" fmla="*/ 56465 w 210989"/>
              <a:gd name="connsiteY38" fmla="*/ 42287 h 140884"/>
              <a:gd name="connsiteX39" fmla="*/ 65141 w 210989"/>
              <a:gd name="connsiteY39" fmla="*/ 41766 h 140884"/>
              <a:gd name="connsiteX40" fmla="*/ 77115 w 210989"/>
              <a:gd name="connsiteY40" fmla="*/ 41130 h 140884"/>
              <a:gd name="connsiteX41" fmla="*/ 90245 w 210989"/>
              <a:gd name="connsiteY41" fmla="*/ 43849 h 140884"/>
              <a:gd name="connsiteX42" fmla="*/ 96030 w 210989"/>
              <a:gd name="connsiteY42" fmla="*/ 45526 h 140884"/>
              <a:gd name="connsiteX43" fmla="*/ 103608 w 210989"/>
              <a:gd name="connsiteY43" fmla="*/ 43791 h 140884"/>
              <a:gd name="connsiteX44" fmla="*/ 110086 w 210989"/>
              <a:gd name="connsiteY44" fmla="*/ 42287 h 140884"/>
              <a:gd name="connsiteX45" fmla="*/ 115581 w 210989"/>
              <a:gd name="connsiteY45" fmla="*/ 45179 h 140884"/>
              <a:gd name="connsiteX46" fmla="*/ 124894 w 210989"/>
              <a:gd name="connsiteY46" fmla="*/ 48939 h 140884"/>
              <a:gd name="connsiteX47" fmla="*/ 129464 w 210989"/>
              <a:gd name="connsiteY47" fmla="*/ 48939 h 140884"/>
              <a:gd name="connsiteX48" fmla="*/ 137736 w 210989"/>
              <a:gd name="connsiteY48" fmla="*/ 49344 h 140884"/>
              <a:gd name="connsiteX49" fmla="*/ 143057 w 210989"/>
              <a:gd name="connsiteY49" fmla="*/ 49864 h 140884"/>
              <a:gd name="connsiteX50" fmla="*/ 172847 w 210989"/>
              <a:gd name="connsiteY50" fmla="*/ 47146 h 140884"/>
              <a:gd name="connsiteX51" fmla="*/ 174120 w 210989"/>
              <a:gd name="connsiteY51" fmla="*/ 48071 h 140884"/>
              <a:gd name="connsiteX52" fmla="*/ 178284 w 210989"/>
              <a:gd name="connsiteY52" fmla="*/ 71209 h 140884"/>
              <a:gd name="connsiteX53" fmla="*/ 205414 w 210989"/>
              <a:gd name="connsiteY53" fmla="*/ 89198 h 140884"/>
              <a:gd name="connsiteX54" fmla="*/ 210793 w 210989"/>
              <a:gd name="connsiteY54" fmla="*/ 125814 h 140884"/>
              <a:gd name="connsiteX55" fmla="*/ 210793 w 210989"/>
              <a:gd name="connsiteY55" fmla="*/ 126682 h 140884"/>
              <a:gd name="connsiteX56" fmla="*/ 210041 w 210989"/>
              <a:gd name="connsiteY56" fmla="*/ 127144 h 140884"/>
              <a:gd name="connsiteX57" fmla="*/ 201075 w 210989"/>
              <a:gd name="connsiteY57" fmla="*/ 128764 h 140884"/>
              <a:gd name="connsiteX58" fmla="*/ 200034 w 210989"/>
              <a:gd name="connsiteY58" fmla="*/ 128475 h 140884"/>
              <a:gd name="connsiteX59" fmla="*/ 183548 w 210989"/>
              <a:gd name="connsiteY59" fmla="*/ 122690 h 140884"/>
              <a:gd name="connsiteX60" fmla="*/ 181871 w 210989"/>
              <a:gd name="connsiteY60" fmla="*/ 122690 h 140884"/>
              <a:gd name="connsiteX61" fmla="*/ 175219 w 210989"/>
              <a:gd name="connsiteY61" fmla="*/ 119335 h 140884"/>
              <a:gd name="connsiteX62" fmla="*/ 170649 w 210989"/>
              <a:gd name="connsiteY62" fmla="*/ 114881 h 140884"/>
              <a:gd name="connsiteX63" fmla="*/ 169608 w 210989"/>
              <a:gd name="connsiteY63" fmla="*/ 114881 h 140884"/>
              <a:gd name="connsiteX64" fmla="*/ 143231 w 210989"/>
              <a:gd name="connsiteY64" fmla="*/ 133681 h 140884"/>
              <a:gd name="connsiteX65" fmla="*/ 142189 w 210989"/>
              <a:gd name="connsiteY65" fmla="*/ 134606 h 140884"/>
              <a:gd name="connsiteX66" fmla="*/ 141785 w 210989"/>
              <a:gd name="connsiteY66" fmla="*/ 134606 h 140884"/>
              <a:gd name="connsiteX67" fmla="*/ 136000 w 210989"/>
              <a:gd name="connsiteY67" fmla="*/ 136573 h 140884"/>
              <a:gd name="connsiteX68" fmla="*/ 127266 w 210989"/>
              <a:gd name="connsiteY68" fmla="*/ 139465 h 140884"/>
              <a:gd name="connsiteX69" fmla="*/ 118763 w 210989"/>
              <a:gd name="connsiteY69" fmla="*/ 140738 h 140884"/>
              <a:gd name="connsiteX70" fmla="*/ 100716 w 210989"/>
              <a:gd name="connsiteY70" fmla="*/ 81390 h 140884"/>
              <a:gd name="connsiteX71" fmla="*/ 101698 w 210989"/>
              <a:gd name="connsiteY71" fmla="*/ 81390 h 140884"/>
              <a:gd name="connsiteX72" fmla="*/ 107483 w 210989"/>
              <a:gd name="connsiteY72" fmla="*/ 91512 h 140884"/>
              <a:gd name="connsiteX73" fmla="*/ 113267 w 210989"/>
              <a:gd name="connsiteY73" fmla="*/ 104122 h 140884"/>
              <a:gd name="connsiteX74" fmla="*/ 115755 w 210989"/>
              <a:gd name="connsiteY74" fmla="*/ 122922 h 140884"/>
              <a:gd name="connsiteX75" fmla="*/ 114713 w 210989"/>
              <a:gd name="connsiteY75" fmla="*/ 136804 h 140884"/>
              <a:gd name="connsiteX76" fmla="*/ 126282 w 210989"/>
              <a:gd name="connsiteY76" fmla="*/ 137094 h 140884"/>
              <a:gd name="connsiteX77" fmla="*/ 134959 w 210989"/>
              <a:gd name="connsiteY77" fmla="*/ 134201 h 140884"/>
              <a:gd name="connsiteX78" fmla="*/ 140743 w 210989"/>
              <a:gd name="connsiteY78" fmla="*/ 132293 h 140884"/>
              <a:gd name="connsiteX79" fmla="*/ 141611 w 210989"/>
              <a:gd name="connsiteY79" fmla="*/ 131483 h 140884"/>
              <a:gd name="connsiteX80" fmla="*/ 169492 w 210989"/>
              <a:gd name="connsiteY80" fmla="*/ 112163 h 140884"/>
              <a:gd name="connsiteX81" fmla="*/ 171691 w 210989"/>
              <a:gd name="connsiteY81" fmla="*/ 112683 h 140884"/>
              <a:gd name="connsiteX82" fmla="*/ 176954 w 210989"/>
              <a:gd name="connsiteY82" fmla="*/ 117831 h 140884"/>
              <a:gd name="connsiteX83" fmla="*/ 181466 w 210989"/>
              <a:gd name="connsiteY83" fmla="*/ 120203 h 140884"/>
              <a:gd name="connsiteX84" fmla="*/ 201017 w 210989"/>
              <a:gd name="connsiteY84" fmla="*/ 125988 h 140884"/>
              <a:gd name="connsiteX85" fmla="*/ 208479 w 210989"/>
              <a:gd name="connsiteY85" fmla="*/ 124599 h 140884"/>
              <a:gd name="connsiteX86" fmla="*/ 203273 w 210989"/>
              <a:gd name="connsiteY86" fmla="*/ 89025 h 140884"/>
              <a:gd name="connsiteX87" fmla="*/ 177070 w 210989"/>
              <a:gd name="connsiteY87" fmla="*/ 72713 h 140884"/>
              <a:gd name="connsiteX88" fmla="*/ 176318 w 210989"/>
              <a:gd name="connsiteY88" fmla="*/ 71845 h 140884"/>
              <a:gd name="connsiteX89" fmla="*/ 172211 w 210989"/>
              <a:gd name="connsiteY89" fmla="*/ 49170 h 140884"/>
              <a:gd name="connsiteX90" fmla="*/ 143289 w 210989"/>
              <a:gd name="connsiteY90" fmla="*/ 51773 h 140884"/>
              <a:gd name="connsiteX91" fmla="*/ 137157 w 210989"/>
              <a:gd name="connsiteY91" fmla="*/ 51079 h 140884"/>
              <a:gd name="connsiteX92" fmla="*/ 129869 w 210989"/>
              <a:gd name="connsiteY92" fmla="*/ 51079 h 140884"/>
              <a:gd name="connsiteX93" fmla="*/ 125126 w 210989"/>
              <a:gd name="connsiteY93" fmla="*/ 51079 h 140884"/>
              <a:gd name="connsiteX94" fmla="*/ 113961 w 210989"/>
              <a:gd name="connsiteY94" fmla="*/ 46394 h 140884"/>
              <a:gd name="connsiteX95" fmla="*/ 110317 w 210989"/>
              <a:gd name="connsiteY95" fmla="*/ 44427 h 140884"/>
              <a:gd name="connsiteX96" fmla="*/ 104533 w 210989"/>
              <a:gd name="connsiteY96" fmla="*/ 45815 h 140884"/>
              <a:gd name="connsiteX97" fmla="*/ 96204 w 210989"/>
              <a:gd name="connsiteY97" fmla="*/ 47666 h 140884"/>
              <a:gd name="connsiteX98" fmla="*/ 89378 w 210989"/>
              <a:gd name="connsiteY98" fmla="*/ 45584 h 140884"/>
              <a:gd name="connsiteX99" fmla="*/ 77809 w 210989"/>
              <a:gd name="connsiteY99" fmla="*/ 43270 h 140884"/>
              <a:gd name="connsiteX100" fmla="*/ 66240 w 210989"/>
              <a:gd name="connsiteY100" fmla="*/ 43906 h 140884"/>
              <a:gd name="connsiteX101" fmla="*/ 57390 w 210989"/>
              <a:gd name="connsiteY101" fmla="*/ 44427 h 140884"/>
              <a:gd name="connsiteX102" fmla="*/ 50622 w 210989"/>
              <a:gd name="connsiteY102" fmla="*/ 41650 h 140884"/>
              <a:gd name="connsiteX103" fmla="*/ 53804 w 210989"/>
              <a:gd name="connsiteY103" fmla="*/ 33784 h 140884"/>
              <a:gd name="connsiteX104" fmla="*/ 71157 w 210989"/>
              <a:gd name="connsiteY104" fmla="*/ 24182 h 140884"/>
              <a:gd name="connsiteX105" fmla="*/ 78792 w 210989"/>
              <a:gd name="connsiteY105" fmla="*/ 24182 h 140884"/>
              <a:gd name="connsiteX106" fmla="*/ 88105 w 210989"/>
              <a:gd name="connsiteY106" fmla="*/ 3473 h 140884"/>
              <a:gd name="connsiteX107" fmla="*/ 71157 w 210989"/>
              <a:gd name="connsiteY107" fmla="*/ 7869 h 140884"/>
              <a:gd name="connsiteX108" fmla="*/ 63637 w 210989"/>
              <a:gd name="connsiteY108" fmla="*/ 9836 h 140884"/>
              <a:gd name="connsiteX109" fmla="*/ 59415 w 210989"/>
              <a:gd name="connsiteY109" fmla="*/ 9836 h 140884"/>
              <a:gd name="connsiteX110" fmla="*/ 55770 w 210989"/>
              <a:gd name="connsiteY110" fmla="*/ 9836 h 140884"/>
              <a:gd name="connsiteX111" fmla="*/ 50564 w 210989"/>
              <a:gd name="connsiteY111" fmla="*/ 12497 h 140884"/>
              <a:gd name="connsiteX112" fmla="*/ 36566 w 210989"/>
              <a:gd name="connsiteY112" fmla="*/ 27826 h 140884"/>
              <a:gd name="connsiteX113" fmla="*/ 33211 w 210989"/>
              <a:gd name="connsiteY113" fmla="*/ 33610 h 140884"/>
              <a:gd name="connsiteX114" fmla="*/ 28179 w 210989"/>
              <a:gd name="connsiteY114" fmla="*/ 43270 h 140884"/>
              <a:gd name="connsiteX115" fmla="*/ 17766 w 210989"/>
              <a:gd name="connsiteY115" fmla="*/ 45758 h 140884"/>
              <a:gd name="connsiteX116" fmla="*/ 2959 w 210989"/>
              <a:gd name="connsiteY116" fmla="*/ 52178 h 140884"/>
              <a:gd name="connsiteX117" fmla="*/ 10363 w 210989"/>
              <a:gd name="connsiteY117" fmla="*/ 60508 h 140884"/>
              <a:gd name="connsiteX118" fmla="*/ 19964 w 210989"/>
              <a:gd name="connsiteY118" fmla="*/ 73118 h 140884"/>
              <a:gd name="connsiteX119" fmla="*/ 22799 w 210989"/>
              <a:gd name="connsiteY119" fmla="*/ 84050 h 140884"/>
              <a:gd name="connsiteX120" fmla="*/ 22799 w 210989"/>
              <a:gd name="connsiteY120" fmla="*/ 98049 h 140884"/>
              <a:gd name="connsiteX121" fmla="*/ 11925 w 210989"/>
              <a:gd name="connsiteY121" fmla="*/ 125062 h 140884"/>
              <a:gd name="connsiteX122" fmla="*/ 19734 w 210989"/>
              <a:gd name="connsiteY122" fmla="*/ 128590 h 140884"/>
              <a:gd name="connsiteX123" fmla="*/ 22626 w 210989"/>
              <a:gd name="connsiteY123" fmla="*/ 126508 h 140884"/>
              <a:gd name="connsiteX124" fmla="*/ 39979 w 210989"/>
              <a:gd name="connsiteY124" fmla="*/ 121707 h 140884"/>
              <a:gd name="connsiteX125" fmla="*/ 43334 w 210989"/>
              <a:gd name="connsiteY125" fmla="*/ 121707 h 140884"/>
              <a:gd name="connsiteX126" fmla="*/ 50564 w 210989"/>
              <a:gd name="connsiteY126" fmla="*/ 119451 h 140884"/>
              <a:gd name="connsiteX127" fmla="*/ 64389 w 210989"/>
              <a:gd name="connsiteY127" fmla="*/ 111816 h 140884"/>
              <a:gd name="connsiteX128" fmla="*/ 76421 w 210989"/>
              <a:gd name="connsiteY128" fmla="*/ 106494 h 140884"/>
              <a:gd name="connsiteX129" fmla="*/ 100716 w 210989"/>
              <a:gd name="connsiteY129" fmla="*/ 81390 h 14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10989" h="140884">
                <a:moveTo>
                  <a:pt x="118763" y="140738"/>
                </a:moveTo>
                <a:cubicBezTo>
                  <a:pt x="116449" y="140894"/>
                  <a:pt x="114193" y="140026"/>
                  <a:pt x="112631" y="138366"/>
                </a:cubicBezTo>
                <a:cubicBezTo>
                  <a:pt x="109334" y="134491"/>
                  <a:pt x="111301" y="128301"/>
                  <a:pt x="113209" y="122285"/>
                </a:cubicBezTo>
                <a:cubicBezTo>
                  <a:pt x="115871" y="114187"/>
                  <a:pt x="117201" y="108634"/>
                  <a:pt x="111937" y="106263"/>
                </a:cubicBezTo>
                <a:cubicBezTo>
                  <a:pt x="105054" y="103139"/>
                  <a:pt x="105054" y="96718"/>
                  <a:pt x="105054" y="91570"/>
                </a:cubicBezTo>
                <a:cubicBezTo>
                  <a:pt x="105054" y="86422"/>
                  <a:pt x="105054" y="84108"/>
                  <a:pt x="101468" y="83703"/>
                </a:cubicBezTo>
                <a:cubicBezTo>
                  <a:pt x="95278" y="84334"/>
                  <a:pt x="89667" y="87498"/>
                  <a:pt x="85907" y="92438"/>
                </a:cubicBezTo>
                <a:cubicBezTo>
                  <a:pt x="81916" y="96140"/>
                  <a:pt x="79082" y="100987"/>
                  <a:pt x="77925" y="106321"/>
                </a:cubicBezTo>
                <a:cubicBezTo>
                  <a:pt x="77925" y="111006"/>
                  <a:pt x="71215" y="112105"/>
                  <a:pt x="64100" y="113840"/>
                </a:cubicBezTo>
                <a:cubicBezTo>
                  <a:pt x="58315" y="115055"/>
                  <a:pt x="52010" y="116385"/>
                  <a:pt x="52010" y="119278"/>
                </a:cubicBezTo>
                <a:cubicBezTo>
                  <a:pt x="52010" y="123847"/>
                  <a:pt x="45879" y="123847"/>
                  <a:pt x="42582" y="123847"/>
                </a:cubicBezTo>
                <a:lnTo>
                  <a:pt x="35583" y="123847"/>
                </a:lnTo>
                <a:cubicBezTo>
                  <a:pt x="30666" y="123847"/>
                  <a:pt x="25460" y="124252"/>
                  <a:pt x="24014" y="127434"/>
                </a:cubicBezTo>
                <a:cubicBezTo>
                  <a:pt x="23204" y="129418"/>
                  <a:pt x="21238" y="130713"/>
                  <a:pt x="19097" y="130731"/>
                </a:cubicBezTo>
                <a:cubicBezTo>
                  <a:pt x="15626" y="130164"/>
                  <a:pt x="12329" y="128706"/>
                  <a:pt x="9553" y="126508"/>
                </a:cubicBezTo>
                <a:cubicBezTo>
                  <a:pt x="9263" y="126283"/>
                  <a:pt x="9090" y="125947"/>
                  <a:pt x="9032" y="125583"/>
                </a:cubicBezTo>
                <a:cubicBezTo>
                  <a:pt x="7586" y="114436"/>
                  <a:pt x="11982" y="103336"/>
                  <a:pt x="20601" y="96140"/>
                </a:cubicBezTo>
                <a:cubicBezTo>
                  <a:pt x="23840" y="93653"/>
                  <a:pt x="22452" y="90355"/>
                  <a:pt x="19964" y="84918"/>
                </a:cubicBezTo>
                <a:cubicBezTo>
                  <a:pt x="17766" y="81199"/>
                  <a:pt x="16726" y="76912"/>
                  <a:pt x="16957" y="72597"/>
                </a:cubicBezTo>
                <a:cubicBezTo>
                  <a:pt x="17651" y="68722"/>
                  <a:pt x="12908" y="65425"/>
                  <a:pt x="8338" y="62243"/>
                </a:cubicBezTo>
                <a:cubicBezTo>
                  <a:pt x="3768" y="59062"/>
                  <a:pt x="-917" y="55764"/>
                  <a:pt x="8" y="51600"/>
                </a:cubicBezTo>
                <a:cubicBezTo>
                  <a:pt x="1223" y="46105"/>
                  <a:pt x="9032" y="44774"/>
                  <a:pt x="16668" y="43444"/>
                </a:cubicBezTo>
                <a:cubicBezTo>
                  <a:pt x="20022" y="43033"/>
                  <a:pt x="23320" y="42241"/>
                  <a:pt x="26501" y="41072"/>
                </a:cubicBezTo>
                <a:cubicBezTo>
                  <a:pt x="29509" y="39742"/>
                  <a:pt x="29856" y="36618"/>
                  <a:pt x="30261" y="33263"/>
                </a:cubicBezTo>
                <a:cubicBezTo>
                  <a:pt x="30666" y="29908"/>
                  <a:pt x="31129" y="25628"/>
                  <a:pt x="36045" y="25628"/>
                </a:cubicBezTo>
                <a:cubicBezTo>
                  <a:pt x="41830" y="25628"/>
                  <a:pt x="45127" y="20132"/>
                  <a:pt x="47614" y="11861"/>
                </a:cubicBezTo>
                <a:cubicBezTo>
                  <a:pt x="48714" y="8876"/>
                  <a:pt x="51837" y="7100"/>
                  <a:pt x="54961" y="7638"/>
                </a:cubicBezTo>
                <a:cubicBezTo>
                  <a:pt x="56175" y="7638"/>
                  <a:pt x="57448" y="7638"/>
                  <a:pt x="58778" y="7638"/>
                </a:cubicBezTo>
                <a:cubicBezTo>
                  <a:pt x="60109" y="7638"/>
                  <a:pt x="61497" y="7638"/>
                  <a:pt x="62827" y="7638"/>
                </a:cubicBezTo>
                <a:cubicBezTo>
                  <a:pt x="65025" y="7800"/>
                  <a:pt x="67166" y="7227"/>
                  <a:pt x="69017" y="6019"/>
                </a:cubicBezTo>
                <a:cubicBezTo>
                  <a:pt x="73355" y="2571"/>
                  <a:pt x="78619" y="442"/>
                  <a:pt x="84114" y="-113"/>
                </a:cubicBezTo>
                <a:cubicBezTo>
                  <a:pt x="86139" y="-264"/>
                  <a:pt x="88105" y="662"/>
                  <a:pt x="89262" y="2316"/>
                </a:cubicBezTo>
                <a:cubicBezTo>
                  <a:pt x="89841" y="3300"/>
                  <a:pt x="91691" y="6366"/>
                  <a:pt x="79544" y="25917"/>
                </a:cubicBezTo>
                <a:cubicBezTo>
                  <a:pt x="79371" y="26235"/>
                  <a:pt x="79024" y="26432"/>
                  <a:pt x="78619" y="26438"/>
                </a:cubicBezTo>
                <a:cubicBezTo>
                  <a:pt x="75784" y="26640"/>
                  <a:pt x="72892" y="26640"/>
                  <a:pt x="70058" y="26438"/>
                </a:cubicBezTo>
                <a:lnTo>
                  <a:pt x="69190" y="26438"/>
                </a:lnTo>
                <a:cubicBezTo>
                  <a:pt x="63406" y="27473"/>
                  <a:pt x="58200" y="30625"/>
                  <a:pt x="54614" y="35288"/>
                </a:cubicBezTo>
                <a:cubicBezTo>
                  <a:pt x="52936" y="36890"/>
                  <a:pt x="52010" y="39065"/>
                  <a:pt x="51895" y="41361"/>
                </a:cubicBezTo>
                <a:cubicBezTo>
                  <a:pt x="51895" y="41361"/>
                  <a:pt x="52300" y="42287"/>
                  <a:pt x="56465" y="42287"/>
                </a:cubicBezTo>
                <a:cubicBezTo>
                  <a:pt x="58836" y="42287"/>
                  <a:pt x="61902" y="42287"/>
                  <a:pt x="65141" y="41766"/>
                </a:cubicBezTo>
                <a:cubicBezTo>
                  <a:pt x="68380" y="41246"/>
                  <a:pt x="73182" y="41130"/>
                  <a:pt x="77115" y="41130"/>
                </a:cubicBezTo>
                <a:cubicBezTo>
                  <a:pt x="81685" y="40719"/>
                  <a:pt x="86254" y="41668"/>
                  <a:pt x="90245" y="43849"/>
                </a:cubicBezTo>
                <a:cubicBezTo>
                  <a:pt x="91981" y="44994"/>
                  <a:pt x="93948" y="45578"/>
                  <a:pt x="96030" y="45526"/>
                </a:cubicBezTo>
                <a:cubicBezTo>
                  <a:pt x="98633" y="45382"/>
                  <a:pt x="101178" y="44791"/>
                  <a:pt x="103608" y="43791"/>
                </a:cubicBezTo>
                <a:cubicBezTo>
                  <a:pt x="105690" y="42941"/>
                  <a:pt x="107888" y="42431"/>
                  <a:pt x="110086" y="42287"/>
                </a:cubicBezTo>
                <a:cubicBezTo>
                  <a:pt x="112284" y="42217"/>
                  <a:pt x="114367" y="43317"/>
                  <a:pt x="115581" y="45179"/>
                </a:cubicBezTo>
                <a:cubicBezTo>
                  <a:pt x="117837" y="47973"/>
                  <a:pt x="121366" y="49402"/>
                  <a:pt x="124894" y="48939"/>
                </a:cubicBezTo>
                <a:cubicBezTo>
                  <a:pt x="126398" y="48939"/>
                  <a:pt x="127960" y="48939"/>
                  <a:pt x="129464" y="48939"/>
                </a:cubicBezTo>
                <a:cubicBezTo>
                  <a:pt x="132240" y="48505"/>
                  <a:pt x="135017" y="48644"/>
                  <a:pt x="137736" y="49344"/>
                </a:cubicBezTo>
                <a:cubicBezTo>
                  <a:pt x="139471" y="49801"/>
                  <a:pt x="141264" y="49980"/>
                  <a:pt x="143057" y="49864"/>
                </a:cubicBezTo>
                <a:cubicBezTo>
                  <a:pt x="153006" y="49494"/>
                  <a:pt x="162956" y="48586"/>
                  <a:pt x="172847" y="47146"/>
                </a:cubicBezTo>
                <a:cubicBezTo>
                  <a:pt x="173425" y="47100"/>
                  <a:pt x="174004" y="47493"/>
                  <a:pt x="174120" y="48071"/>
                </a:cubicBezTo>
                <a:lnTo>
                  <a:pt x="178284" y="71209"/>
                </a:lnTo>
                <a:cubicBezTo>
                  <a:pt x="182970" y="72829"/>
                  <a:pt x="204372" y="80638"/>
                  <a:pt x="205414" y="89198"/>
                </a:cubicBezTo>
                <a:cubicBezTo>
                  <a:pt x="206455" y="97760"/>
                  <a:pt x="210735" y="125525"/>
                  <a:pt x="210793" y="125814"/>
                </a:cubicBezTo>
                <a:cubicBezTo>
                  <a:pt x="210908" y="126092"/>
                  <a:pt x="210908" y="126404"/>
                  <a:pt x="210793" y="126682"/>
                </a:cubicBezTo>
                <a:cubicBezTo>
                  <a:pt x="210620" y="126919"/>
                  <a:pt x="210330" y="127087"/>
                  <a:pt x="210041" y="127144"/>
                </a:cubicBezTo>
                <a:cubicBezTo>
                  <a:pt x="207033" y="127515"/>
                  <a:pt x="204025" y="128058"/>
                  <a:pt x="201075" y="128764"/>
                </a:cubicBezTo>
                <a:cubicBezTo>
                  <a:pt x="200728" y="128868"/>
                  <a:pt x="200323" y="128758"/>
                  <a:pt x="200034" y="128475"/>
                </a:cubicBezTo>
                <a:cubicBezTo>
                  <a:pt x="195349" y="124767"/>
                  <a:pt x="189506" y="122737"/>
                  <a:pt x="183548" y="122690"/>
                </a:cubicBezTo>
                <a:lnTo>
                  <a:pt x="181871" y="122690"/>
                </a:lnTo>
                <a:cubicBezTo>
                  <a:pt x="179152" y="123338"/>
                  <a:pt x="176318" y="121921"/>
                  <a:pt x="175219" y="119335"/>
                </a:cubicBezTo>
                <a:cubicBezTo>
                  <a:pt x="174062" y="117519"/>
                  <a:pt x="172500" y="115992"/>
                  <a:pt x="170649" y="114881"/>
                </a:cubicBezTo>
                <a:cubicBezTo>
                  <a:pt x="170302" y="114789"/>
                  <a:pt x="169955" y="114789"/>
                  <a:pt x="169608" y="114881"/>
                </a:cubicBezTo>
                <a:cubicBezTo>
                  <a:pt x="164344" y="114881"/>
                  <a:pt x="152254" y="125698"/>
                  <a:pt x="143231" y="133681"/>
                </a:cubicBezTo>
                <a:lnTo>
                  <a:pt x="142189" y="134606"/>
                </a:lnTo>
                <a:lnTo>
                  <a:pt x="141785" y="134606"/>
                </a:lnTo>
                <a:lnTo>
                  <a:pt x="136000" y="136573"/>
                </a:lnTo>
                <a:cubicBezTo>
                  <a:pt x="132934" y="137672"/>
                  <a:pt x="130216" y="138713"/>
                  <a:pt x="127266" y="139465"/>
                </a:cubicBezTo>
                <a:cubicBezTo>
                  <a:pt x="124489" y="140321"/>
                  <a:pt x="121655" y="140749"/>
                  <a:pt x="118763" y="140738"/>
                </a:cubicBezTo>
                <a:close/>
                <a:moveTo>
                  <a:pt x="100716" y="81390"/>
                </a:moveTo>
                <a:lnTo>
                  <a:pt x="101698" y="81390"/>
                </a:lnTo>
                <a:cubicBezTo>
                  <a:pt x="107483" y="82026"/>
                  <a:pt x="107483" y="87174"/>
                  <a:pt x="107483" y="91512"/>
                </a:cubicBezTo>
                <a:cubicBezTo>
                  <a:pt x="107483" y="95851"/>
                  <a:pt x="107483" y="101635"/>
                  <a:pt x="113267" y="104122"/>
                </a:cubicBezTo>
                <a:cubicBezTo>
                  <a:pt x="120729" y="107535"/>
                  <a:pt x="118127" y="115691"/>
                  <a:pt x="115755" y="122922"/>
                </a:cubicBezTo>
                <a:cubicBezTo>
                  <a:pt x="114019" y="128359"/>
                  <a:pt x="112226" y="133912"/>
                  <a:pt x="114713" y="136804"/>
                </a:cubicBezTo>
                <a:cubicBezTo>
                  <a:pt x="117201" y="139697"/>
                  <a:pt x="120035" y="138945"/>
                  <a:pt x="126282" y="137094"/>
                </a:cubicBezTo>
                <a:cubicBezTo>
                  <a:pt x="128944" y="136284"/>
                  <a:pt x="132067" y="135300"/>
                  <a:pt x="134959" y="134201"/>
                </a:cubicBezTo>
                <a:lnTo>
                  <a:pt x="140743" y="132293"/>
                </a:lnTo>
                <a:lnTo>
                  <a:pt x="141611" y="131483"/>
                </a:lnTo>
                <a:cubicBezTo>
                  <a:pt x="151792" y="122401"/>
                  <a:pt x="163361" y="112163"/>
                  <a:pt x="169492" y="112163"/>
                </a:cubicBezTo>
                <a:cubicBezTo>
                  <a:pt x="170244" y="112151"/>
                  <a:pt x="170996" y="112331"/>
                  <a:pt x="171691" y="112683"/>
                </a:cubicBezTo>
                <a:cubicBezTo>
                  <a:pt x="173831" y="113979"/>
                  <a:pt x="175624" y="115743"/>
                  <a:pt x="176954" y="117831"/>
                </a:cubicBezTo>
                <a:cubicBezTo>
                  <a:pt x="178400" y="119856"/>
                  <a:pt x="179094" y="120608"/>
                  <a:pt x="181466" y="120203"/>
                </a:cubicBezTo>
                <a:cubicBezTo>
                  <a:pt x="188465" y="119694"/>
                  <a:pt x="195407" y="121748"/>
                  <a:pt x="201017" y="125988"/>
                </a:cubicBezTo>
                <a:cubicBezTo>
                  <a:pt x="204257" y="125236"/>
                  <a:pt x="206802" y="124773"/>
                  <a:pt x="208479" y="124599"/>
                </a:cubicBezTo>
                <a:cubicBezTo>
                  <a:pt x="207670" y="119220"/>
                  <a:pt x="204257" y="96603"/>
                  <a:pt x="203273" y="89025"/>
                </a:cubicBezTo>
                <a:cubicBezTo>
                  <a:pt x="202463" y="82489"/>
                  <a:pt x="184069" y="75027"/>
                  <a:pt x="177070" y="72713"/>
                </a:cubicBezTo>
                <a:cubicBezTo>
                  <a:pt x="176665" y="72580"/>
                  <a:pt x="176376" y="72250"/>
                  <a:pt x="176318" y="71845"/>
                </a:cubicBezTo>
                <a:lnTo>
                  <a:pt x="172211" y="49170"/>
                </a:lnTo>
                <a:cubicBezTo>
                  <a:pt x="162609" y="50553"/>
                  <a:pt x="152949" y="51421"/>
                  <a:pt x="143289" y="51773"/>
                </a:cubicBezTo>
                <a:cubicBezTo>
                  <a:pt x="141207" y="51895"/>
                  <a:pt x="139124" y="51663"/>
                  <a:pt x="137157" y="51079"/>
                </a:cubicBezTo>
                <a:cubicBezTo>
                  <a:pt x="134728" y="50640"/>
                  <a:pt x="132298" y="50640"/>
                  <a:pt x="129869" y="51079"/>
                </a:cubicBezTo>
                <a:cubicBezTo>
                  <a:pt x="128307" y="51079"/>
                  <a:pt x="126688" y="51079"/>
                  <a:pt x="125126" y="51079"/>
                </a:cubicBezTo>
                <a:cubicBezTo>
                  <a:pt x="120845" y="51461"/>
                  <a:pt x="116681" y="49702"/>
                  <a:pt x="113961" y="46394"/>
                </a:cubicBezTo>
                <a:cubicBezTo>
                  <a:pt x="113209" y="45127"/>
                  <a:pt x="111821" y="44375"/>
                  <a:pt x="110317" y="44427"/>
                </a:cubicBezTo>
                <a:cubicBezTo>
                  <a:pt x="108351" y="44572"/>
                  <a:pt x="106384" y="45040"/>
                  <a:pt x="104533" y="45815"/>
                </a:cubicBezTo>
                <a:cubicBezTo>
                  <a:pt x="101872" y="46891"/>
                  <a:pt x="99038" y="47516"/>
                  <a:pt x="96204" y="47666"/>
                </a:cubicBezTo>
                <a:cubicBezTo>
                  <a:pt x="93774" y="47678"/>
                  <a:pt x="91403" y="46955"/>
                  <a:pt x="89378" y="45584"/>
                </a:cubicBezTo>
                <a:cubicBezTo>
                  <a:pt x="85791" y="43779"/>
                  <a:pt x="81800" y="42981"/>
                  <a:pt x="77809" y="43270"/>
                </a:cubicBezTo>
                <a:cubicBezTo>
                  <a:pt x="73934" y="43270"/>
                  <a:pt x="69884" y="43559"/>
                  <a:pt x="66240" y="43906"/>
                </a:cubicBezTo>
                <a:cubicBezTo>
                  <a:pt x="62596" y="44254"/>
                  <a:pt x="59877" y="44427"/>
                  <a:pt x="57390" y="44427"/>
                </a:cubicBezTo>
                <a:cubicBezTo>
                  <a:pt x="54903" y="44427"/>
                  <a:pt x="51085" y="44138"/>
                  <a:pt x="50622" y="41650"/>
                </a:cubicBezTo>
                <a:cubicBezTo>
                  <a:pt x="50564" y="38706"/>
                  <a:pt x="51722" y="35872"/>
                  <a:pt x="53804" y="33784"/>
                </a:cubicBezTo>
                <a:cubicBezTo>
                  <a:pt x="57969" y="28693"/>
                  <a:pt x="65777" y="23314"/>
                  <a:pt x="71157" y="24182"/>
                </a:cubicBezTo>
                <a:cubicBezTo>
                  <a:pt x="73702" y="24349"/>
                  <a:pt x="76248" y="24349"/>
                  <a:pt x="78792" y="24182"/>
                </a:cubicBezTo>
                <a:cubicBezTo>
                  <a:pt x="87527" y="10068"/>
                  <a:pt x="88741" y="4515"/>
                  <a:pt x="88105" y="3473"/>
                </a:cubicBezTo>
                <a:cubicBezTo>
                  <a:pt x="86428" y="639"/>
                  <a:pt x="77520" y="3068"/>
                  <a:pt x="71157" y="7869"/>
                </a:cubicBezTo>
                <a:cubicBezTo>
                  <a:pt x="68901" y="9310"/>
                  <a:pt x="66298" y="9998"/>
                  <a:pt x="63637" y="9836"/>
                </a:cubicBezTo>
                <a:lnTo>
                  <a:pt x="59415" y="9836"/>
                </a:lnTo>
                <a:cubicBezTo>
                  <a:pt x="58142" y="9836"/>
                  <a:pt x="56927" y="9836"/>
                  <a:pt x="55770" y="9836"/>
                </a:cubicBezTo>
                <a:cubicBezTo>
                  <a:pt x="52647" y="9836"/>
                  <a:pt x="51200" y="10588"/>
                  <a:pt x="50564" y="12497"/>
                </a:cubicBezTo>
                <a:cubicBezTo>
                  <a:pt x="47904" y="20480"/>
                  <a:pt x="44375" y="27826"/>
                  <a:pt x="36566" y="27826"/>
                </a:cubicBezTo>
                <a:cubicBezTo>
                  <a:pt x="34137" y="27826"/>
                  <a:pt x="33731" y="29388"/>
                  <a:pt x="33211" y="33610"/>
                </a:cubicBezTo>
                <a:cubicBezTo>
                  <a:pt x="32691" y="37833"/>
                  <a:pt x="32343" y="41419"/>
                  <a:pt x="28179" y="43270"/>
                </a:cubicBezTo>
                <a:cubicBezTo>
                  <a:pt x="24824" y="44491"/>
                  <a:pt x="21295" y="45324"/>
                  <a:pt x="17766" y="45758"/>
                </a:cubicBezTo>
                <a:cubicBezTo>
                  <a:pt x="11231" y="46914"/>
                  <a:pt x="3826" y="48187"/>
                  <a:pt x="2959" y="52178"/>
                </a:cubicBezTo>
                <a:cubicBezTo>
                  <a:pt x="2322" y="54897"/>
                  <a:pt x="6255" y="57616"/>
                  <a:pt x="10363" y="60508"/>
                </a:cubicBezTo>
                <a:cubicBezTo>
                  <a:pt x="14470" y="63400"/>
                  <a:pt x="20890" y="67796"/>
                  <a:pt x="19964" y="73118"/>
                </a:cubicBezTo>
                <a:cubicBezTo>
                  <a:pt x="19791" y="76964"/>
                  <a:pt x="20774" y="80776"/>
                  <a:pt x="22799" y="84050"/>
                </a:cubicBezTo>
                <a:cubicBezTo>
                  <a:pt x="25113" y="89083"/>
                  <a:pt x="27542" y="94289"/>
                  <a:pt x="22799" y="98049"/>
                </a:cubicBezTo>
                <a:cubicBezTo>
                  <a:pt x="18056" y="101809"/>
                  <a:pt x="11231" y="108808"/>
                  <a:pt x="11925" y="125062"/>
                </a:cubicBezTo>
                <a:cubicBezTo>
                  <a:pt x="14180" y="126855"/>
                  <a:pt x="16899" y="128070"/>
                  <a:pt x="19734" y="128590"/>
                </a:cubicBezTo>
                <a:cubicBezTo>
                  <a:pt x="20601" y="128590"/>
                  <a:pt x="21700" y="128590"/>
                  <a:pt x="22626" y="126508"/>
                </a:cubicBezTo>
                <a:cubicBezTo>
                  <a:pt x="25171" y="121360"/>
                  <a:pt x="32979" y="121591"/>
                  <a:pt x="39979" y="121707"/>
                </a:cubicBezTo>
                <a:lnTo>
                  <a:pt x="43334" y="121707"/>
                </a:lnTo>
                <a:cubicBezTo>
                  <a:pt x="48424" y="121707"/>
                  <a:pt x="50564" y="121071"/>
                  <a:pt x="50564" y="119451"/>
                </a:cubicBezTo>
                <a:cubicBezTo>
                  <a:pt x="50564" y="114708"/>
                  <a:pt x="57274" y="113320"/>
                  <a:pt x="64389" y="111816"/>
                </a:cubicBezTo>
                <a:cubicBezTo>
                  <a:pt x="70174" y="110659"/>
                  <a:pt x="76421" y="109328"/>
                  <a:pt x="76421" y="106494"/>
                </a:cubicBezTo>
                <a:cubicBezTo>
                  <a:pt x="75669" y="98685"/>
                  <a:pt x="90187" y="81390"/>
                  <a:pt x="100716" y="8139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7" name="Forma libre: forma 436">
            <a:extLst>
              <a:ext uri="{FF2B5EF4-FFF2-40B4-BE49-F238E27FC236}">
                <a16:creationId xmlns:a16="http://schemas.microsoft.com/office/drawing/2014/main" id="{D5E5D6A5-86F6-EE01-F380-367473ED40A7}"/>
              </a:ext>
            </a:extLst>
          </p:cNvPr>
          <p:cNvSpPr/>
          <p:nvPr/>
        </p:nvSpPr>
        <p:spPr>
          <a:xfrm>
            <a:off x="4027355" y="3771467"/>
            <a:ext cx="22997" cy="45178"/>
          </a:xfrm>
          <a:custGeom>
            <a:avLst/>
            <a:gdLst>
              <a:gd name="connsiteX0" fmla="*/ 19733 w 22997"/>
              <a:gd name="connsiteY0" fmla="*/ 45047 h 45178"/>
              <a:gd name="connsiteX1" fmla="*/ 9090 w 22997"/>
              <a:gd name="connsiteY1" fmla="*/ 32148 h 45178"/>
              <a:gd name="connsiteX2" fmla="*/ 5677 w 22997"/>
              <a:gd name="connsiteY2" fmla="*/ 26364 h 45178"/>
              <a:gd name="connsiteX3" fmla="*/ -108 w 22997"/>
              <a:gd name="connsiteY3" fmla="*/ 13580 h 45178"/>
              <a:gd name="connsiteX4" fmla="*/ 5677 w 22997"/>
              <a:gd name="connsiteY4" fmla="*/ -129 h 45178"/>
              <a:gd name="connsiteX5" fmla="*/ 11808 w 22997"/>
              <a:gd name="connsiteY5" fmla="*/ 5077 h 45178"/>
              <a:gd name="connsiteX6" fmla="*/ 14816 w 22997"/>
              <a:gd name="connsiteY6" fmla="*/ 21273 h 45178"/>
              <a:gd name="connsiteX7" fmla="*/ 14816 w 22997"/>
              <a:gd name="connsiteY7" fmla="*/ 25959 h 45178"/>
              <a:gd name="connsiteX8" fmla="*/ 18113 w 22997"/>
              <a:gd name="connsiteY8" fmla="*/ 31107 h 45178"/>
              <a:gd name="connsiteX9" fmla="*/ 22162 w 22997"/>
              <a:gd name="connsiteY9" fmla="*/ 43428 h 45178"/>
              <a:gd name="connsiteX10" fmla="*/ 19733 w 22997"/>
              <a:gd name="connsiteY10" fmla="*/ 45047 h 45178"/>
              <a:gd name="connsiteX11" fmla="*/ 5792 w 22997"/>
              <a:gd name="connsiteY11" fmla="*/ 2242 h 45178"/>
              <a:gd name="connsiteX12" fmla="*/ 2032 w 22997"/>
              <a:gd name="connsiteY12" fmla="*/ 13811 h 45178"/>
              <a:gd name="connsiteX13" fmla="*/ 7296 w 22997"/>
              <a:gd name="connsiteY13" fmla="*/ 25033 h 45178"/>
              <a:gd name="connsiteX14" fmla="*/ 11345 w 22997"/>
              <a:gd name="connsiteY14" fmla="*/ 32206 h 45178"/>
              <a:gd name="connsiteX15" fmla="*/ 19733 w 22997"/>
              <a:gd name="connsiteY15" fmla="*/ 42907 h 45178"/>
              <a:gd name="connsiteX16" fmla="*/ 20138 w 22997"/>
              <a:gd name="connsiteY16" fmla="*/ 42907 h 45178"/>
              <a:gd name="connsiteX17" fmla="*/ 16378 w 22997"/>
              <a:gd name="connsiteY17" fmla="*/ 32958 h 45178"/>
              <a:gd name="connsiteX18" fmla="*/ 12618 w 22997"/>
              <a:gd name="connsiteY18" fmla="*/ 26826 h 45178"/>
              <a:gd name="connsiteX19" fmla="*/ 12618 w 22997"/>
              <a:gd name="connsiteY19" fmla="*/ 21505 h 45178"/>
              <a:gd name="connsiteX20" fmla="*/ 9899 w 22997"/>
              <a:gd name="connsiteY20" fmla="*/ 6697 h 45178"/>
              <a:gd name="connsiteX21" fmla="*/ 5792 w 22997"/>
              <a:gd name="connsiteY21" fmla="*/ 2242 h 4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997" h="45178">
                <a:moveTo>
                  <a:pt x="19733" y="45047"/>
                </a:moveTo>
                <a:cubicBezTo>
                  <a:pt x="15915" y="45047"/>
                  <a:pt x="9321" y="37875"/>
                  <a:pt x="9090" y="32148"/>
                </a:cubicBezTo>
                <a:cubicBezTo>
                  <a:pt x="9090" y="29892"/>
                  <a:pt x="7528" y="28388"/>
                  <a:pt x="5677" y="26364"/>
                </a:cubicBezTo>
                <a:cubicBezTo>
                  <a:pt x="1940" y="23176"/>
                  <a:pt x="-177" y="18491"/>
                  <a:pt x="-108" y="13580"/>
                </a:cubicBezTo>
                <a:cubicBezTo>
                  <a:pt x="-108" y="5250"/>
                  <a:pt x="2264" y="-129"/>
                  <a:pt x="5677" y="-129"/>
                </a:cubicBezTo>
                <a:cubicBezTo>
                  <a:pt x="7701" y="-129"/>
                  <a:pt x="9784" y="1606"/>
                  <a:pt x="11808" y="5077"/>
                </a:cubicBezTo>
                <a:cubicBezTo>
                  <a:pt x="14706" y="9948"/>
                  <a:pt x="15776" y="15691"/>
                  <a:pt x="14816" y="21273"/>
                </a:cubicBezTo>
                <a:cubicBezTo>
                  <a:pt x="14590" y="22829"/>
                  <a:pt x="14590" y="24403"/>
                  <a:pt x="14816" y="25959"/>
                </a:cubicBezTo>
                <a:cubicBezTo>
                  <a:pt x="15551" y="27885"/>
                  <a:pt x="16673" y="29638"/>
                  <a:pt x="18113" y="31107"/>
                </a:cubicBezTo>
                <a:cubicBezTo>
                  <a:pt x="20948" y="34578"/>
                  <a:pt x="24418" y="38858"/>
                  <a:pt x="22162" y="43428"/>
                </a:cubicBezTo>
                <a:cubicBezTo>
                  <a:pt x="21786" y="44434"/>
                  <a:pt x="20809" y="45088"/>
                  <a:pt x="19733" y="45047"/>
                </a:cubicBezTo>
                <a:close/>
                <a:moveTo>
                  <a:pt x="5792" y="2242"/>
                </a:moveTo>
                <a:cubicBezTo>
                  <a:pt x="3941" y="2242"/>
                  <a:pt x="2032" y="6523"/>
                  <a:pt x="2032" y="13811"/>
                </a:cubicBezTo>
                <a:cubicBezTo>
                  <a:pt x="1998" y="18156"/>
                  <a:pt x="3935" y="22286"/>
                  <a:pt x="7296" y="25033"/>
                </a:cubicBezTo>
                <a:cubicBezTo>
                  <a:pt x="9541" y="26797"/>
                  <a:pt x="10992" y="29377"/>
                  <a:pt x="11345" y="32206"/>
                </a:cubicBezTo>
                <a:cubicBezTo>
                  <a:pt x="12092" y="36990"/>
                  <a:pt x="15267" y="41039"/>
                  <a:pt x="19733" y="42907"/>
                </a:cubicBezTo>
                <a:cubicBezTo>
                  <a:pt x="20022" y="42907"/>
                  <a:pt x="20080" y="42907"/>
                  <a:pt x="20138" y="42907"/>
                </a:cubicBezTo>
                <a:cubicBezTo>
                  <a:pt x="21757" y="39610"/>
                  <a:pt x="19039" y="36255"/>
                  <a:pt x="16378" y="32958"/>
                </a:cubicBezTo>
                <a:cubicBezTo>
                  <a:pt x="14666" y="31234"/>
                  <a:pt x="13382" y="29135"/>
                  <a:pt x="12618" y="26826"/>
                </a:cubicBezTo>
                <a:cubicBezTo>
                  <a:pt x="12329" y="25062"/>
                  <a:pt x="12329" y="23269"/>
                  <a:pt x="12618" y="21505"/>
                </a:cubicBezTo>
                <a:cubicBezTo>
                  <a:pt x="13532" y="16403"/>
                  <a:pt x="12566" y="11145"/>
                  <a:pt x="9899" y="6697"/>
                </a:cubicBezTo>
                <a:cubicBezTo>
                  <a:pt x="7817" y="2647"/>
                  <a:pt x="6429" y="2242"/>
                  <a:pt x="5792" y="224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8" name="Forma libre: forma 437">
            <a:extLst>
              <a:ext uri="{FF2B5EF4-FFF2-40B4-BE49-F238E27FC236}">
                <a16:creationId xmlns:a16="http://schemas.microsoft.com/office/drawing/2014/main" id="{88ED68A3-EA96-E3BE-BFCE-5F10C007DB51}"/>
              </a:ext>
            </a:extLst>
          </p:cNvPr>
          <p:cNvSpPr/>
          <p:nvPr/>
        </p:nvSpPr>
        <p:spPr>
          <a:xfrm>
            <a:off x="4482026" y="4184279"/>
            <a:ext cx="28588" cy="23776"/>
          </a:xfrm>
          <a:custGeom>
            <a:avLst/>
            <a:gdLst>
              <a:gd name="connsiteX0" fmla="*/ 7512 w 28588"/>
              <a:gd name="connsiteY0" fmla="*/ 23610 h 23776"/>
              <a:gd name="connsiteX1" fmla="*/ 2132 w 28588"/>
              <a:gd name="connsiteY1" fmla="*/ 22106 h 23776"/>
              <a:gd name="connsiteX2" fmla="*/ 2132 w 28588"/>
              <a:gd name="connsiteY2" fmla="*/ 14817 h 23776"/>
              <a:gd name="connsiteX3" fmla="*/ 1670 w 28588"/>
              <a:gd name="connsiteY3" fmla="*/ 9438 h 23776"/>
              <a:gd name="connsiteX4" fmla="*/ -66 w 28588"/>
              <a:gd name="connsiteY4" fmla="*/ 6546 h 23776"/>
              <a:gd name="connsiteX5" fmla="*/ 15957 w 28588"/>
              <a:gd name="connsiteY5" fmla="*/ -107 h 23776"/>
              <a:gd name="connsiteX6" fmla="*/ 22956 w 28588"/>
              <a:gd name="connsiteY6" fmla="*/ 1918 h 23776"/>
              <a:gd name="connsiteX7" fmla="*/ 28451 w 28588"/>
              <a:gd name="connsiteY7" fmla="*/ 14065 h 23776"/>
              <a:gd name="connsiteX8" fmla="*/ 24056 w 28588"/>
              <a:gd name="connsiteY8" fmla="*/ 19850 h 23776"/>
              <a:gd name="connsiteX9" fmla="*/ 7512 w 28588"/>
              <a:gd name="connsiteY9" fmla="*/ 23610 h 23776"/>
              <a:gd name="connsiteX10" fmla="*/ 2190 w 28588"/>
              <a:gd name="connsiteY10" fmla="*/ 7066 h 23776"/>
              <a:gd name="connsiteX11" fmla="*/ 2711 w 28588"/>
              <a:gd name="connsiteY11" fmla="*/ 7413 h 23776"/>
              <a:gd name="connsiteX12" fmla="*/ 4215 w 28588"/>
              <a:gd name="connsiteY12" fmla="*/ 15685 h 23776"/>
              <a:gd name="connsiteX13" fmla="*/ 3694 w 28588"/>
              <a:gd name="connsiteY13" fmla="*/ 20428 h 23776"/>
              <a:gd name="connsiteX14" fmla="*/ 7512 w 28588"/>
              <a:gd name="connsiteY14" fmla="*/ 21354 h 23776"/>
              <a:gd name="connsiteX15" fmla="*/ 23246 w 28588"/>
              <a:gd name="connsiteY15" fmla="*/ 17652 h 23776"/>
              <a:gd name="connsiteX16" fmla="*/ 26254 w 28588"/>
              <a:gd name="connsiteY16" fmla="*/ 13718 h 23776"/>
              <a:gd name="connsiteX17" fmla="*/ 21568 w 28588"/>
              <a:gd name="connsiteY17" fmla="*/ 3654 h 23776"/>
              <a:gd name="connsiteX18" fmla="*/ 15783 w 28588"/>
              <a:gd name="connsiteY18" fmla="*/ 2150 h 23776"/>
              <a:gd name="connsiteX19" fmla="*/ 1959 w 28588"/>
              <a:gd name="connsiteY19" fmla="*/ 7066 h 23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588" h="23776">
                <a:moveTo>
                  <a:pt x="7512" y="23610"/>
                </a:moveTo>
                <a:cubicBezTo>
                  <a:pt x="5592" y="23801"/>
                  <a:pt x="3671" y="23262"/>
                  <a:pt x="2132" y="22106"/>
                </a:cubicBezTo>
                <a:cubicBezTo>
                  <a:pt x="-124" y="20023"/>
                  <a:pt x="1149" y="17131"/>
                  <a:pt x="2132" y="14817"/>
                </a:cubicBezTo>
                <a:cubicBezTo>
                  <a:pt x="3116" y="12504"/>
                  <a:pt x="3810" y="10421"/>
                  <a:pt x="1670" y="9438"/>
                </a:cubicBezTo>
                <a:cubicBezTo>
                  <a:pt x="443" y="9050"/>
                  <a:pt x="-303" y="7812"/>
                  <a:pt x="-66" y="6546"/>
                </a:cubicBezTo>
                <a:cubicBezTo>
                  <a:pt x="686" y="3191"/>
                  <a:pt x="9768" y="-107"/>
                  <a:pt x="15957" y="-107"/>
                </a:cubicBezTo>
                <a:cubicBezTo>
                  <a:pt x="18456" y="-269"/>
                  <a:pt x="20932" y="449"/>
                  <a:pt x="22956" y="1918"/>
                </a:cubicBezTo>
                <a:cubicBezTo>
                  <a:pt x="26687" y="4804"/>
                  <a:pt x="28747" y="9357"/>
                  <a:pt x="28451" y="14065"/>
                </a:cubicBezTo>
                <a:cubicBezTo>
                  <a:pt x="28157" y="16651"/>
                  <a:pt x="26468" y="18872"/>
                  <a:pt x="24056" y="19850"/>
                </a:cubicBezTo>
                <a:cubicBezTo>
                  <a:pt x="18786" y="22002"/>
                  <a:pt x="13192" y="23268"/>
                  <a:pt x="7512" y="23610"/>
                </a:cubicBezTo>
                <a:close/>
                <a:moveTo>
                  <a:pt x="2190" y="7066"/>
                </a:moveTo>
                <a:cubicBezTo>
                  <a:pt x="2329" y="7228"/>
                  <a:pt x="2508" y="7344"/>
                  <a:pt x="2711" y="7413"/>
                </a:cubicBezTo>
                <a:cubicBezTo>
                  <a:pt x="6991" y="9380"/>
                  <a:pt x="5314" y="13198"/>
                  <a:pt x="4215" y="15685"/>
                </a:cubicBezTo>
                <a:cubicBezTo>
                  <a:pt x="3116" y="18172"/>
                  <a:pt x="2711" y="19503"/>
                  <a:pt x="3694" y="20428"/>
                </a:cubicBezTo>
                <a:cubicBezTo>
                  <a:pt x="4822" y="21175"/>
                  <a:pt x="6170" y="21498"/>
                  <a:pt x="7512" y="21354"/>
                </a:cubicBezTo>
                <a:cubicBezTo>
                  <a:pt x="12926" y="20995"/>
                  <a:pt x="18242" y="19746"/>
                  <a:pt x="23246" y="17652"/>
                </a:cubicBezTo>
                <a:cubicBezTo>
                  <a:pt x="24900" y="16998"/>
                  <a:pt x="26057" y="15483"/>
                  <a:pt x="26254" y="13718"/>
                </a:cubicBezTo>
                <a:cubicBezTo>
                  <a:pt x="26508" y="9785"/>
                  <a:pt x="24744" y="5990"/>
                  <a:pt x="21568" y="3654"/>
                </a:cubicBezTo>
                <a:cubicBezTo>
                  <a:pt x="19879" y="2479"/>
                  <a:pt x="17831" y="1947"/>
                  <a:pt x="15783" y="2150"/>
                </a:cubicBezTo>
                <a:cubicBezTo>
                  <a:pt x="10716" y="1947"/>
                  <a:pt x="5765" y="3711"/>
                  <a:pt x="1959" y="7066"/>
                </a:cubicBezTo>
                <a:close/>
              </a:path>
            </a:pathLst>
          </a:custGeom>
          <a:solidFill>
            <a:srgbClr val="4F37A2"/>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39" name="Forma libre: forma 438">
            <a:extLst>
              <a:ext uri="{FF2B5EF4-FFF2-40B4-BE49-F238E27FC236}">
                <a16:creationId xmlns:a16="http://schemas.microsoft.com/office/drawing/2014/main" id="{846DB193-F5A4-9E16-0499-79C532209E91}"/>
              </a:ext>
            </a:extLst>
          </p:cNvPr>
          <p:cNvSpPr/>
          <p:nvPr/>
        </p:nvSpPr>
        <p:spPr>
          <a:xfrm>
            <a:off x="7357668" y="3274149"/>
            <a:ext cx="93924" cy="80087"/>
          </a:xfrm>
          <a:custGeom>
            <a:avLst/>
            <a:gdLst>
              <a:gd name="connsiteX0" fmla="*/ 74987 w 93924"/>
              <a:gd name="connsiteY0" fmla="*/ 79958 h 80087"/>
              <a:gd name="connsiteX1" fmla="*/ 74987 w 93924"/>
              <a:gd name="connsiteY1" fmla="*/ 79958 h 80087"/>
              <a:gd name="connsiteX2" fmla="*/ 74177 w 93924"/>
              <a:gd name="connsiteY2" fmla="*/ 79553 h 80087"/>
              <a:gd name="connsiteX3" fmla="*/ 73888 w 93924"/>
              <a:gd name="connsiteY3" fmla="*/ 78686 h 80087"/>
              <a:gd name="connsiteX4" fmla="*/ 68104 w 93924"/>
              <a:gd name="connsiteY4" fmla="*/ 65035 h 80087"/>
              <a:gd name="connsiteX5" fmla="*/ 61220 w 93924"/>
              <a:gd name="connsiteY5" fmla="*/ 60754 h 80087"/>
              <a:gd name="connsiteX6" fmla="*/ 59601 w 93924"/>
              <a:gd name="connsiteY6" fmla="*/ 60754 h 80087"/>
              <a:gd name="connsiteX7" fmla="*/ 55667 w 93924"/>
              <a:gd name="connsiteY7" fmla="*/ 60465 h 80087"/>
              <a:gd name="connsiteX8" fmla="*/ 52601 w 93924"/>
              <a:gd name="connsiteY8" fmla="*/ 58787 h 80087"/>
              <a:gd name="connsiteX9" fmla="*/ 42536 w 93924"/>
              <a:gd name="connsiteY9" fmla="*/ 54275 h 80087"/>
              <a:gd name="connsiteX10" fmla="*/ 41726 w 93924"/>
              <a:gd name="connsiteY10" fmla="*/ 53523 h 80087"/>
              <a:gd name="connsiteX11" fmla="*/ 35421 w 93924"/>
              <a:gd name="connsiteY11" fmla="*/ 48260 h 80087"/>
              <a:gd name="connsiteX12" fmla="*/ 33339 w 93924"/>
              <a:gd name="connsiteY12" fmla="*/ 48260 h 80087"/>
              <a:gd name="connsiteX13" fmla="*/ 31951 w 93924"/>
              <a:gd name="connsiteY13" fmla="*/ 47508 h 80087"/>
              <a:gd name="connsiteX14" fmla="*/ 27323 w 93924"/>
              <a:gd name="connsiteY14" fmla="*/ 37963 h 80087"/>
              <a:gd name="connsiteX15" fmla="*/ 22985 w 93924"/>
              <a:gd name="connsiteY15" fmla="*/ 37154 h 80087"/>
              <a:gd name="connsiteX16" fmla="*/ 20266 w 93924"/>
              <a:gd name="connsiteY16" fmla="*/ 37154 h 80087"/>
              <a:gd name="connsiteX17" fmla="*/ 5979 w 93924"/>
              <a:gd name="connsiteY17" fmla="*/ 28593 h 80087"/>
              <a:gd name="connsiteX18" fmla="*/ 3260 w 93924"/>
              <a:gd name="connsiteY18" fmla="*/ 17024 h 80087"/>
              <a:gd name="connsiteX19" fmla="*/ 21 w 93924"/>
              <a:gd name="connsiteY19" fmla="*/ 7364 h 80087"/>
              <a:gd name="connsiteX20" fmla="*/ 21 w 93924"/>
              <a:gd name="connsiteY20" fmla="*/ 6265 h 80087"/>
              <a:gd name="connsiteX21" fmla="*/ 889 w 93924"/>
              <a:gd name="connsiteY21" fmla="*/ 5628 h 80087"/>
              <a:gd name="connsiteX22" fmla="*/ 13382 w 93924"/>
              <a:gd name="connsiteY22" fmla="*/ 2968 h 80087"/>
              <a:gd name="connsiteX23" fmla="*/ 28595 w 93924"/>
              <a:gd name="connsiteY23" fmla="*/ 18 h 80087"/>
              <a:gd name="connsiteX24" fmla="*/ 53237 w 93924"/>
              <a:gd name="connsiteY24" fmla="*/ 2505 h 80087"/>
              <a:gd name="connsiteX25" fmla="*/ 53931 w 93924"/>
              <a:gd name="connsiteY25" fmla="*/ 3026 h 80087"/>
              <a:gd name="connsiteX26" fmla="*/ 56651 w 93924"/>
              <a:gd name="connsiteY26" fmla="*/ 7248 h 80087"/>
              <a:gd name="connsiteX27" fmla="*/ 61567 w 93924"/>
              <a:gd name="connsiteY27" fmla="*/ 19742 h 80087"/>
              <a:gd name="connsiteX28" fmla="*/ 65732 w 93924"/>
              <a:gd name="connsiteY28" fmla="*/ 29287 h 80087"/>
              <a:gd name="connsiteX29" fmla="*/ 71516 w 93924"/>
              <a:gd name="connsiteY29" fmla="*/ 41261 h 80087"/>
              <a:gd name="connsiteX30" fmla="*/ 80251 w 93924"/>
              <a:gd name="connsiteY30" fmla="*/ 51615 h 80087"/>
              <a:gd name="connsiteX31" fmla="*/ 88465 w 93924"/>
              <a:gd name="connsiteY31" fmla="*/ 61448 h 80087"/>
              <a:gd name="connsiteX32" fmla="*/ 93728 w 93924"/>
              <a:gd name="connsiteY32" fmla="*/ 74579 h 80087"/>
              <a:gd name="connsiteX33" fmla="*/ 93728 w 93924"/>
              <a:gd name="connsiteY33" fmla="*/ 75447 h 80087"/>
              <a:gd name="connsiteX34" fmla="*/ 93092 w 93924"/>
              <a:gd name="connsiteY34" fmla="*/ 76141 h 80087"/>
              <a:gd name="connsiteX35" fmla="*/ 74987 w 93924"/>
              <a:gd name="connsiteY35" fmla="*/ 79958 h 80087"/>
              <a:gd name="connsiteX36" fmla="*/ 61220 w 93924"/>
              <a:gd name="connsiteY36" fmla="*/ 58498 h 80087"/>
              <a:gd name="connsiteX37" fmla="*/ 69781 w 93924"/>
              <a:gd name="connsiteY37" fmla="*/ 63531 h 80087"/>
              <a:gd name="connsiteX38" fmla="*/ 76028 w 93924"/>
              <a:gd name="connsiteY38" fmla="*/ 77702 h 80087"/>
              <a:gd name="connsiteX39" fmla="*/ 90778 w 93924"/>
              <a:gd name="connsiteY39" fmla="*/ 74521 h 80087"/>
              <a:gd name="connsiteX40" fmla="*/ 85861 w 93924"/>
              <a:gd name="connsiteY40" fmla="*/ 61448 h 80087"/>
              <a:gd name="connsiteX41" fmla="*/ 78515 w 93924"/>
              <a:gd name="connsiteY41" fmla="*/ 53408 h 80087"/>
              <a:gd name="connsiteX42" fmla="*/ 68913 w 93924"/>
              <a:gd name="connsiteY42" fmla="*/ 41261 h 80087"/>
              <a:gd name="connsiteX43" fmla="*/ 63765 w 93924"/>
              <a:gd name="connsiteY43" fmla="*/ 30617 h 80087"/>
              <a:gd name="connsiteX44" fmla="*/ 59253 w 93924"/>
              <a:gd name="connsiteY44" fmla="*/ 19048 h 80087"/>
              <a:gd name="connsiteX45" fmla="*/ 54625 w 93924"/>
              <a:gd name="connsiteY45" fmla="*/ 8289 h 80087"/>
              <a:gd name="connsiteX46" fmla="*/ 52139 w 93924"/>
              <a:gd name="connsiteY46" fmla="*/ 4414 h 80087"/>
              <a:gd name="connsiteX47" fmla="*/ 28711 w 93924"/>
              <a:gd name="connsiteY47" fmla="*/ 2042 h 80087"/>
              <a:gd name="connsiteX48" fmla="*/ 13846 w 93924"/>
              <a:gd name="connsiteY48" fmla="*/ 4992 h 80087"/>
              <a:gd name="connsiteX49" fmla="*/ 2797 w 93924"/>
              <a:gd name="connsiteY49" fmla="*/ 7364 h 80087"/>
              <a:gd name="connsiteX50" fmla="*/ 5458 w 93924"/>
              <a:gd name="connsiteY50" fmla="*/ 16677 h 80087"/>
              <a:gd name="connsiteX51" fmla="*/ 7945 w 93924"/>
              <a:gd name="connsiteY51" fmla="*/ 27899 h 80087"/>
              <a:gd name="connsiteX52" fmla="*/ 20150 w 93924"/>
              <a:gd name="connsiteY52" fmla="*/ 35071 h 80087"/>
              <a:gd name="connsiteX53" fmla="*/ 22869 w 93924"/>
              <a:gd name="connsiteY53" fmla="*/ 35071 h 80087"/>
              <a:gd name="connsiteX54" fmla="*/ 28653 w 93924"/>
              <a:gd name="connsiteY54" fmla="*/ 36402 h 80087"/>
              <a:gd name="connsiteX55" fmla="*/ 33744 w 93924"/>
              <a:gd name="connsiteY55" fmla="*/ 46119 h 80087"/>
              <a:gd name="connsiteX56" fmla="*/ 35769 w 93924"/>
              <a:gd name="connsiteY56" fmla="*/ 46119 h 80087"/>
              <a:gd name="connsiteX57" fmla="*/ 43578 w 93924"/>
              <a:gd name="connsiteY57" fmla="*/ 52309 h 80087"/>
              <a:gd name="connsiteX58" fmla="*/ 53700 w 93924"/>
              <a:gd name="connsiteY58" fmla="*/ 56994 h 80087"/>
              <a:gd name="connsiteX59" fmla="*/ 56535 w 93924"/>
              <a:gd name="connsiteY59" fmla="*/ 58498 h 80087"/>
              <a:gd name="connsiteX60" fmla="*/ 59137 w 93924"/>
              <a:gd name="connsiteY60" fmla="*/ 58498 h 80087"/>
              <a:gd name="connsiteX61" fmla="*/ 61220 w 93924"/>
              <a:gd name="connsiteY61" fmla="*/ 58556 h 8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3924" h="80087">
                <a:moveTo>
                  <a:pt x="74987" y="79958"/>
                </a:moveTo>
                <a:lnTo>
                  <a:pt x="74987" y="79958"/>
                </a:lnTo>
                <a:cubicBezTo>
                  <a:pt x="74640" y="79964"/>
                  <a:pt x="74351" y="79814"/>
                  <a:pt x="74177" y="79553"/>
                </a:cubicBezTo>
                <a:cubicBezTo>
                  <a:pt x="73946" y="79316"/>
                  <a:pt x="73888" y="79004"/>
                  <a:pt x="73888" y="78686"/>
                </a:cubicBezTo>
                <a:cubicBezTo>
                  <a:pt x="74582" y="72901"/>
                  <a:pt x="74235" y="71571"/>
                  <a:pt x="68104" y="65035"/>
                </a:cubicBezTo>
                <a:cubicBezTo>
                  <a:pt x="64691" y="61217"/>
                  <a:pt x="62666" y="60754"/>
                  <a:pt x="61220" y="60754"/>
                </a:cubicBezTo>
                <a:cubicBezTo>
                  <a:pt x="60699" y="60696"/>
                  <a:pt x="60121" y="60696"/>
                  <a:pt x="59601" y="60754"/>
                </a:cubicBezTo>
                <a:cubicBezTo>
                  <a:pt x="58270" y="61014"/>
                  <a:pt x="56939" y="60910"/>
                  <a:pt x="55667" y="60465"/>
                </a:cubicBezTo>
                <a:cubicBezTo>
                  <a:pt x="54625" y="59967"/>
                  <a:pt x="53585" y="59406"/>
                  <a:pt x="52601" y="58787"/>
                </a:cubicBezTo>
                <a:cubicBezTo>
                  <a:pt x="49478" y="56786"/>
                  <a:pt x="46122" y="55265"/>
                  <a:pt x="42536" y="54275"/>
                </a:cubicBezTo>
                <a:cubicBezTo>
                  <a:pt x="42132" y="54189"/>
                  <a:pt x="41842" y="53899"/>
                  <a:pt x="41726" y="53523"/>
                </a:cubicBezTo>
                <a:cubicBezTo>
                  <a:pt x="40974" y="50608"/>
                  <a:pt x="38429" y="48503"/>
                  <a:pt x="35421" y="48260"/>
                </a:cubicBezTo>
                <a:cubicBezTo>
                  <a:pt x="34727" y="48144"/>
                  <a:pt x="34033" y="48144"/>
                  <a:pt x="33339" y="48260"/>
                </a:cubicBezTo>
                <a:cubicBezTo>
                  <a:pt x="32761" y="48364"/>
                  <a:pt x="32182" y="48052"/>
                  <a:pt x="31951" y="47508"/>
                </a:cubicBezTo>
                <a:cubicBezTo>
                  <a:pt x="31141" y="44031"/>
                  <a:pt x="29521" y="40775"/>
                  <a:pt x="27323" y="37963"/>
                </a:cubicBezTo>
                <a:cubicBezTo>
                  <a:pt x="25993" y="37269"/>
                  <a:pt x="24489" y="36986"/>
                  <a:pt x="22985" y="37154"/>
                </a:cubicBezTo>
                <a:lnTo>
                  <a:pt x="20266" y="37154"/>
                </a:lnTo>
                <a:cubicBezTo>
                  <a:pt x="14077" y="38004"/>
                  <a:pt x="8119" y="34441"/>
                  <a:pt x="5979" y="28593"/>
                </a:cubicBezTo>
                <a:cubicBezTo>
                  <a:pt x="4475" y="24908"/>
                  <a:pt x="3549" y="21004"/>
                  <a:pt x="3260" y="17024"/>
                </a:cubicBezTo>
                <a:cubicBezTo>
                  <a:pt x="3087" y="13565"/>
                  <a:pt x="1987" y="10215"/>
                  <a:pt x="21" y="7364"/>
                </a:cubicBezTo>
                <a:cubicBezTo>
                  <a:pt x="-153" y="7017"/>
                  <a:pt x="-153" y="6612"/>
                  <a:pt x="21" y="6265"/>
                </a:cubicBezTo>
                <a:cubicBezTo>
                  <a:pt x="194" y="5929"/>
                  <a:pt x="541" y="5692"/>
                  <a:pt x="889" y="5628"/>
                </a:cubicBezTo>
                <a:cubicBezTo>
                  <a:pt x="5401" y="4934"/>
                  <a:pt x="9449" y="3951"/>
                  <a:pt x="13382" y="2968"/>
                </a:cubicBezTo>
                <a:cubicBezTo>
                  <a:pt x="18358" y="1660"/>
                  <a:pt x="23448" y="671"/>
                  <a:pt x="28595" y="18"/>
                </a:cubicBezTo>
                <a:cubicBezTo>
                  <a:pt x="36868" y="-497"/>
                  <a:pt x="45197" y="347"/>
                  <a:pt x="53237" y="2505"/>
                </a:cubicBezTo>
                <a:cubicBezTo>
                  <a:pt x="53527" y="2551"/>
                  <a:pt x="53816" y="2748"/>
                  <a:pt x="53931" y="3026"/>
                </a:cubicBezTo>
                <a:cubicBezTo>
                  <a:pt x="54683" y="4356"/>
                  <a:pt x="55609" y="5744"/>
                  <a:pt x="56651" y="7248"/>
                </a:cubicBezTo>
                <a:cubicBezTo>
                  <a:pt x="59485" y="11529"/>
                  <a:pt x="62435" y="15983"/>
                  <a:pt x="61567" y="19742"/>
                </a:cubicBezTo>
                <a:cubicBezTo>
                  <a:pt x="60873" y="22519"/>
                  <a:pt x="63245" y="25527"/>
                  <a:pt x="65732" y="29287"/>
                </a:cubicBezTo>
                <a:cubicBezTo>
                  <a:pt x="68856" y="32584"/>
                  <a:pt x="70880" y="36766"/>
                  <a:pt x="71516" y="41261"/>
                </a:cubicBezTo>
                <a:cubicBezTo>
                  <a:pt x="71516" y="44963"/>
                  <a:pt x="75912" y="48318"/>
                  <a:pt x="80251" y="51615"/>
                </a:cubicBezTo>
                <a:cubicBezTo>
                  <a:pt x="84589" y="54912"/>
                  <a:pt x="88465" y="57862"/>
                  <a:pt x="88465" y="61448"/>
                </a:cubicBezTo>
                <a:cubicBezTo>
                  <a:pt x="89217" y="66162"/>
                  <a:pt x="91010" y="70646"/>
                  <a:pt x="93728" y="74579"/>
                </a:cubicBezTo>
                <a:cubicBezTo>
                  <a:pt x="93844" y="74857"/>
                  <a:pt x="93844" y="75169"/>
                  <a:pt x="93728" y="75447"/>
                </a:cubicBezTo>
                <a:cubicBezTo>
                  <a:pt x="93613" y="75759"/>
                  <a:pt x="93382" y="76019"/>
                  <a:pt x="93092" y="76141"/>
                </a:cubicBezTo>
                <a:cubicBezTo>
                  <a:pt x="87365" y="78657"/>
                  <a:pt x="81234" y="79958"/>
                  <a:pt x="74987" y="79958"/>
                </a:cubicBezTo>
                <a:close/>
                <a:moveTo>
                  <a:pt x="61220" y="58498"/>
                </a:moveTo>
                <a:cubicBezTo>
                  <a:pt x="64691" y="58805"/>
                  <a:pt x="67814" y="60650"/>
                  <a:pt x="69781" y="63531"/>
                </a:cubicBezTo>
                <a:cubicBezTo>
                  <a:pt x="75565" y="70125"/>
                  <a:pt x="76549" y="72323"/>
                  <a:pt x="76028" y="77702"/>
                </a:cubicBezTo>
                <a:cubicBezTo>
                  <a:pt x="81119" y="77529"/>
                  <a:pt x="86093" y="76453"/>
                  <a:pt x="90778" y="74521"/>
                </a:cubicBezTo>
                <a:cubicBezTo>
                  <a:pt x="88233" y="70570"/>
                  <a:pt x="86556" y="66110"/>
                  <a:pt x="85861" y="61448"/>
                </a:cubicBezTo>
                <a:cubicBezTo>
                  <a:pt x="85861" y="58961"/>
                  <a:pt x="82101" y="56127"/>
                  <a:pt x="78515" y="53408"/>
                </a:cubicBezTo>
                <a:cubicBezTo>
                  <a:pt x="73772" y="49822"/>
                  <a:pt x="68913" y="46062"/>
                  <a:pt x="68913" y="41261"/>
                </a:cubicBezTo>
                <a:cubicBezTo>
                  <a:pt x="68277" y="37281"/>
                  <a:pt x="66484" y="33573"/>
                  <a:pt x="63765" y="30617"/>
                </a:cubicBezTo>
                <a:cubicBezTo>
                  <a:pt x="60989" y="26684"/>
                  <a:pt x="57981" y="22982"/>
                  <a:pt x="59253" y="19048"/>
                </a:cubicBezTo>
                <a:cubicBezTo>
                  <a:pt x="59947" y="16214"/>
                  <a:pt x="57113" y="12049"/>
                  <a:pt x="54625" y="8289"/>
                </a:cubicBezTo>
                <a:cubicBezTo>
                  <a:pt x="53700" y="6959"/>
                  <a:pt x="52833" y="5628"/>
                  <a:pt x="52139" y="4414"/>
                </a:cubicBezTo>
                <a:cubicBezTo>
                  <a:pt x="44503" y="2401"/>
                  <a:pt x="36578" y="1603"/>
                  <a:pt x="28711" y="2042"/>
                </a:cubicBezTo>
                <a:cubicBezTo>
                  <a:pt x="23679" y="2719"/>
                  <a:pt x="18762" y="3702"/>
                  <a:pt x="13846" y="4992"/>
                </a:cubicBezTo>
                <a:cubicBezTo>
                  <a:pt x="10317" y="5860"/>
                  <a:pt x="6731" y="6727"/>
                  <a:pt x="2797" y="7364"/>
                </a:cubicBezTo>
                <a:cubicBezTo>
                  <a:pt x="4475" y="10192"/>
                  <a:pt x="5343" y="13397"/>
                  <a:pt x="5458" y="16677"/>
                </a:cubicBezTo>
                <a:cubicBezTo>
                  <a:pt x="5689" y="20523"/>
                  <a:pt x="6499" y="24312"/>
                  <a:pt x="7945" y="27899"/>
                </a:cubicBezTo>
                <a:cubicBezTo>
                  <a:pt x="9796" y="32891"/>
                  <a:pt x="14886" y="35893"/>
                  <a:pt x="20150" y="35071"/>
                </a:cubicBezTo>
                <a:lnTo>
                  <a:pt x="22869" y="35071"/>
                </a:lnTo>
                <a:cubicBezTo>
                  <a:pt x="24894" y="34851"/>
                  <a:pt x="26918" y="35320"/>
                  <a:pt x="28653" y="36402"/>
                </a:cubicBezTo>
                <a:cubicBezTo>
                  <a:pt x="29232" y="36864"/>
                  <a:pt x="30909" y="38195"/>
                  <a:pt x="33744" y="46119"/>
                </a:cubicBezTo>
                <a:cubicBezTo>
                  <a:pt x="34438" y="46038"/>
                  <a:pt x="35074" y="46038"/>
                  <a:pt x="35769" y="46119"/>
                </a:cubicBezTo>
                <a:cubicBezTo>
                  <a:pt x="39355" y="46524"/>
                  <a:pt x="42362" y="48925"/>
                  <a:pt x="43578" y="52309"/>
                </a:cubicBezTo>
                <a:cubicBezTo>
                  <a:pt x="47164" y="53402"/>
                  <a:pt x="50577" y="54981"/>
                  <a:pt x="53700" y="56994"/>
                </a:cubicBezTo>
                <a:cubicBezTo>
                  <a:pt x="54625" y="57561"/>
                  <a:pt x="55551" y="58064"/>
                  <a:pt x="56535" y="58498"/>
                </a:cubicBezTo>
                <a:cubicBezTo>
                  <a:pt x="57403" y="58758"/>
                  <a:pt x="58270" y="58758"/>
                  <a:pt x="59137" y="58498"/>
                </a:cubicBezTo>
                <a:cubicBezTo>
                  <a:pt x="59832" y="58458"/>
                  <a:pt x="60526" y="58475"/>
                  <a:pt x="61220" y="5855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0" name="Forma libre: forma 439">
            <a:extLst>
              <a:ext uri="{FF2B5EF4-FFF2-40B4-BE49-F238E27FC236}">
                <a16:creationId xmlns:a16="http://schemas.microsoft.com/office/drawing/2014/main" id="{152576A6-9D72-41AD-3060-5F95794FEBB9}"/>
              </a:ext>
            </a:extLst>
          </p:cNvPr>
          <p:cNvSpPr/>
          <p:nvPr/>
        </p:nvSpPr>
        <p:spPr>
          <a:xfrm>
            <a:off x="7399331" y="3256117"/>
            <a:ext cx="133101" cy="113159"/>
          </a:xfrm>
          <a:custGeom>
            <a:avLst/>
            <a:gdLst>
              <a:gd name="connsiteX0" fmla="*/ 108406 w 133101"/>
              <a:gd name="connsiteY0" fmla="*/ 113030 h 113159"/>
              <a:gd name="connsiteX1" fmla="*/ 108001 w 133101"/>
              <a:gd name="connsiteY1" fmla="*/ 113030 h 113159"/>
              <a:gd name="connsiteX2" fmla="*/ 87814 w 133101"/>
              <a:gd name="connsiteY2" fmla="*/ 99668 h 113159"/>
              <a:gd name="connsiteX3" fmla="*/ 87814 w 133101"/>
              <a:gd name="connsiteY3" fmla="*/ 97297 h 113159"/>
              <a:gd name="connsiteX4" fmla="*/ 89318 w 133101"/>
              <a:gd name="connsiteY4" fmla="*/ 74506 h 113159"/>
              <a:gd name="connsiteX5" fmla="*/ 83938 w 133101"/>
              <a:gd name="connsiteY5" fmla="*/ 73985 h 113159"/>
              <a:gd name="connsiteX6" fmla="*/ 72369 w 133101"/>
              <a:gd name="connsiteY6" fmla="*/ 81447 h 113159"/>
              <a:gd name="connsiteX7" fmla="*/ 51083 w 133101"/>
              <a:gd name="connsiteY7" fmla="*/ 94289 h 113159"/>
              <a:gd name="connsiteX8" fmla="*/ 49637 w 133101"/>
              <a:gd name="connsiteY8" fmla="*/ 93826 h 113159"/>
              <a:gd name="connsiteX9" fmla="*/ 43852 w 133101"/>
              <a:gd name="connsiteY9" fmla="*/ 79596 h 113159"/>
              <a:gd name="connsiteX10" fmla="*/ 36506 w 133101"/>
              <a:gd name="connsiteY10" fmla="*/ 71556 h 113159"/>
              <a:gd name="connsiteX11" fmla="*/ 26903 w 133101"/>
              <a:gd name="connsiteY11" fmla="*/ 59409 h 113159"/>
              <a:gd name="connsiteX12" fmla="*/ 21755 w 133101"/>
              <a:gd name="connsiteY12" fmla="*/ 48765 h 113159"/>
              <a:gd name="connsiteX13" fmla="*/ 17244 w 133101"/>
              <a:gd name="connsiteY13" fmla="*/ 37196 h 113159"/>
              <a:gd name="connsiteX14" fmla="*/ 12558 w 133101"/>
              <a:gd name="connsiteY14" fmla="*/ 26380 h 113159"/>
              <a:gd name="connsiteX15" fmla="*/ 8451 w 133101"/>
              <a:gd name="connsiteY15" fmla="*/ 15100 h 113159"/>
              <a:gd name="connsiteX16" fmla="*/ 12848 w 133101"/>
              <a:gd name="connsiteY16" fmla="*/ 12728 h 113159"/>
              <a:gd name="connsiteX17" fmla="*/ 28813 w 133101"/>
              <a:gd name="connsiteY17" fmla="*/ 20479 h 113159"/>
              <a:gd name="connsiteX18" fmla="*/ 40960 w 133101"/>
              <a:gd name="connsiteY18" fmla="*/ 24124 h 113159"/>
              <a:gd name="connsiteX19" fmla="*/ 48248 w 133101"/>
              <a:gd name="connsiteY19" fmla="*/ 22099 h 113159"/>
              <a:gd name="connsiteX20" fmla="*/ 48769 w 133101"/>
              <a:gd name="connsiteY20" fmla="*/ 20884 h 113159"/>
              <a:gd name="connsiteX21" fmla="*/ 44083 w 133101"/>
              <a:gd name="connsiteY21" fmla="*/ 15968 h 113159"/>
              <a:gd name="connsiteX22" fmla="*/ 39166 w 133101"/>
              <a:gd name="connsiteY22" fmla="*/ 11340 h 113159"/>
              <a:gd name="connsiteX23" fmla="*/ 44951 w 133101"/>
              <a:gd name="connsiteY23" fmla="*/ 118 h 113159"/>
              <a:gd name="connsiteX24" fmla="*/ 46339 w 133101"/>
              <a:gd name="connsiteY24" fmla="*/ 118 h 113159"/>
              <a:gd name="connsiteX25" fmla="*/ 54553 w 133101"/>
              <a:gd name="connsiteY25" fmla="*/ 3415 h 113159"/>
              <a:gd name="connsiteX26" fmla="*/ 68436 w 133101"/>
              <a:gd name="connsiteY26" fmla="*/ 13018 h 113159"/>
              <a:gd name="connsiteX27" fmla="*/ 74625 w 133101"/>
              <a:gd name="connsiteY27" fmla="*/ 18050 h 113159"/>
              <a:gd name="connsiteX28" fmla="*/ 80409 w 133101"/>
              <a:gd name="connsiteY28" fmla="*/ 19207 h 113159"/>
              <a:gd name="connsiteX29" fmla="*/ 84054 w 133101"/>
              <a:gd name="connsiteY29" fmla="*/ 20364 h 113159"/>
              <a:gd name="connsiteX30" fmla="*/ 86020 w 133101"/>
              <a:gd name="connsiteY30" fmla="*/ 18686 h 113159"/>
              <a:gd name="connsiteX31" fmla="*/ 93598 w 133101"/>
              <a:gd name="connsiteY31" fmla="*/ 13654 h 113159"/>
              <a:gd name="connsiteX32" fmla="*/ 103605 w 133101"/>
              <a:gd name="connsiteY32" fmla="*/ 5787 h 113159"/>
              <a:gd name="connsiteX33" fmla="*/ 104473 w 133101"/>
              <a:gd name="connsiteY33" fmla="*/ 5035 h 113159"/>
              <a:gd name="connsiteX34" fmla="*/ 105572 w 133101"/>
              <a:gd name="connsiteY34" fmla="*/ 5440 h 113159"/>
              <a:gd name="connsiteX35" fmla="*/ 109621 w 133101"/>
              <a:gd name="connsiteY35" fmla="*/ 10357 h 113159"/>
              <a:gd name="connsiteX36" fmla="*/ 130097 w 133101"/>
              <a:gd name="connsiteY36" fmla="*/ 37139 h 113159"/>
              <a:gd name="connsiteX37" fmla="*/ 113844 w 133101"/>
              <a:gd name="connsiteY37" fmla="*/ 96545 h 113159"/>
              <a:gd name="connsiteX38" fmla="*/ 109332 w 133101"/>
              <a:gd name="connsiteY38" fmla="*/ 111931 h 113159"/>
              <a:gd name="connsiteX39" fmla="*/ 108869 w 133101"/>
              <a:gd name="connsiteY39" fmla="*/ 112915 h 113159"/>
              <a:gd name="connsiteX40" fmla="*/ 108406 w 133101"/>
              <a:gd name="connsiteY40" fmla="*/ 113030 h 113159"/>
              <a:gd name="connsiteX41" fmla="*/ 87004 w 133101"/>
              <a:gd name="connsiteY41" fmla="*/ 70804 h 113159"/>
              <a:gd name="connsiteX42" fmla="*/ 91284 w 133101"/>
              <a:gd name="connsiteY42" fmla="*/ 73233 h 113159"/>
              <a:gd name="connsiteX43" fmla="*/ 89896 w 133101"/>
              <a:gd name="connsiteY43" fmla="*/ 98222 h 113159"/>
              <a:gd name="connsiteX44" fmla="*/ 89896 w 133101"/>
              <a:gd name="connsiteY44" fmla="*/ 98801 h 113159"/>
              <a:gd name="connsiteX45" fmla="*/ 107249 w 133101"/>
              <a:gd name="connsiteY45" fmla="*/ 110370 h 113159"/>
              <a:gd name="connsiteX46" fmla="*/ 112340 w 133101"/>
              <a:gd name="connsiteY46" fmla="*/ 95156 h 113159"/>
              <a:gd name="connsiteX47" fmla="*/ 128363 w 133101"/>
              <a:gd name="connsiteY47" fmla="*/ 38295 h 113159"/>
              <a:gd name="connsiteX48" fmla="*/ 108059 w 133101"/>
              <a:gd name="connsiteY48" fmla="*/ 11861 h 113159"/>
              <a:gd name="connsiteX49" fmla="*/ 105225 w 133101"/>
              <a:gd name="connsiteY49" fmla="*/ 8390 h 113159"/>
              <a:gd name="connsiteX50" fmla="*/ 94524 w 133101"/>
              <a:gd name="connsiteY50" fmla="*/ 15852 h 113159"/>
              <a:gd name="connsiteX51" fmla="*/ 88334 w 133101"/>
              <a:gd name="connsiteY51" fmla="*/ 19554 h 113159"/>
              <a:gd name="connsiteX52" fmla="*/ 84285 w 133101"/>
              <a:gd name="connsiteY52" fmla="*/ 22678 h 113159"/>
              <a:gd name="connsiteX53" fmla="*/ 79715 w 133101"/>
              <a:gd name="connsiteY53" fmla="*/ 21289 h 113159"/>
              <a:gd name="connsiteX54" fmla="*/ 75609 w 133101"/>
              <a:gd name="connsiteY54" fmla="*/ 20190 h 113159"/>
              <a:gd name="connsiteX55" fmla="*/ 67048 w 133101"/>
              <a:gd name="connsiteY55" fmla="*/ 14695 h 113159"/>
              <a:gd name="connsiteX56" fmla="*/ 54437 w 133101"/>
              <a:gd name="connsiteY56" fmla="*/ 5729 h 113159"/>
              <a:gd name="connsiteX57" fmla="*/ 46166 w 133101"/>
              <a:gd name="connsiteY57" fmla="*/ 2548 h 113159"/>
              <a:gd name="connsiteX58" fmla="*/ 41480 w 133101"/>
              <a:gd name="connsiteY58" fmla="*/ 10472 h 113159"/>
              <a:gd name="connsiteX59" fmla="*/ 45819 w 133101"/>
              <a:gd name="connsiteY59" fmla="*/ 14464 h 113159"/>
              <a:gd name="connsiteX60" fmla="*/ 51603 w 133101"/>
              <a:gd name="connsiteY60" fmla="*/ 21058 h 113159"/>
              <a:gd name="connsiteX61" fmla="*/ 50389 w 133101"/>
              <a:gd name="connsiteY61" fmla="*/ 24008 h 113159"/>
              <a:gd name="connsiteX62" fmla="*/ 41538 w 133101"/>
              <a:gd name="connsiteY62" fmla="*/ 26611 h 113159"/>
              <a:gd name="connsiteX63" fmla="*/ 27771 w 133101"/>
              <a:gd name="connsiteY63" fmla="*/ 22388 h 113159"/>
              <a:gd name="connsiteX64" fmla="*/ 13426 w 133101"/>
              <a:gd name="connsiteY64" fmla="*/ 15331 h 113159"/>
              <a:gd name="connsiteX65" fmla="*/ 11054 w 133101"/>
              <a:gd name="connsiteY65" fmla="*/ 16430 h 113159"/>
              <a:gd name="connsiteX66" fmla="*/ 14988 w 133101"/>
              <a:gd name="connsiteY66" fmla="*/ 25454 h 113159"/>
              <a:gd name="connsiteX67" fmla="*/ 20020 w 133101"/>
              <a:gd name="connsiteY67" fmla="*/ 38006 h 113159"/>
              <a:gd name="connsiteX68" fmla="*/ 24185 w 133101"/>
              <a:gd name="connsiteY68" fmla="*/ 47551 h 113159"/>
              <a:gd name="connsiteX69" fmla="*/ 29969 w 133101"/>
              <a:gd name="connsiteY69" fmla="*/ 59524 h 113159"/>
              <a:gd name="connsiteX70" fmla="*/ 38704 w 133101"/>
              <a:gd name="connsiteY70" fmla="*/ 69879 h 113159"/>
              <a:gd name="connsiteX71" fmla="*/ 46917 w 133101"/>
              <a:gd name="connsiteY71" fmla="*/ 79712 h 113159"/>
              <a:gd name="connsiteX72" fmla="*/ 51661 w 133101"/>
              <a:gd name="connsiteY72" fmla="*/ 91917 h 113159"/>
              <a:gd name="connsiteX73" fmla="*/ 71617 w 133101"/>
              <a:gd name="connsiteY73" fmla="*/ 79712 h 113159"/>
              <a:gd name="connsiteX74" fmla="*/ 83186 w 133101"/>
              <a:gd name="connsiteY74" fmla="*/ 72076 h 113159"/>
              <a:gd name="connsiteX75" fmla="*/ 87004 w 133101"/>
              <a:gd name="connsiteY75" fmla="*/ 70804 h 113159"/>
              <a:gd name="connsiteX76" fmla="*/ 33151 w 133101"/>
              <a:gd name="connsiteY76" fmla="*/ 98049 h 113159"/>
              <a:gd name="connsiteX77" fmla="*/ 28292 w 133101"/>
              <a:gd name="connsiteY77" fmla="*/ 97759 h 113159"/>
              <a:gd name="connsiteX78" fmla="*/ 13715 w 133101"/>
              <a:gd name="connsiteY78" fmla="*/ 91165 h 113159"/>
              <a:gd name="connsiteX79" fmla="*/ 9666 w 133101"/>
              <a:gd name="connsiteY79" fmla="*/ 86885 h 113159"/>
              <a:gd name="connsiteX80" fmla="*/ 989 w 133101"/>
              <a:gd name="connsiteY80" fmla="*/ 74853 h 113159"/>
              <a:gd name="connsiteX81" fmla="*/ 64 w 133101"/>
              <a:gd name="connsiteY81" fmla="*/ 71672 h 113159"/>
              <a:gd name="connsiteX82" fmla="*/ 64 w 133101"/>
              <a:gd name="connsiteY82" fmla="*/ 70515 h 113159"/>
              <a:gd name="connsiteX83" fmla="*/ 1163 w 133101"/>
              <a:gd name="connsiteY83" fmla="*/ 70168 h 113159"/>
              <a:gd name="connsiteX84" fmla="*/ 11864 w 133101"/>
              <a:gd name="connsiteY84" fmla="*/ 74969 h 113159"/>
              <a:gd name="connsiteX85" fmla="*/ 14698 w 133101"/>
              <a:gd name="connsiteY85" fmla="*/ 76473 h 113159"/>
              <a:gd name="connsiteX86" fmla="*/ 17301 w 133101"/>
              <a:gd name="connsiteY86" fmla="*/ 76473 h 113159"/>
              <a:gd name="connsiteX87" fmla="*/ 19326 w 133101"/>
              <a:gd name="connsiteY87" fmla="*/ 76473 h 113159"/>
              <a:gd name="connsiteX88" fmla="*/ 27887 w 133101"/>
              <a:gd name="connsiteY88" fmla="*/ 81505 h 113159"/>
              <a:gd name="connsiteX89" fmla="*/ 34018 w 133101"/>
              <a:gd name="connsiteY89" fmla="*/ 96950 h 113159"/>
              <a:gd name="connsiteX90" fmla="*/ 33151 w 133101"/>
              <a:gd name="connsiteY90" fmla="*/ 97991 h 113159"/>
              <a:gd name="connsiteX91" fmla="*/ 2840 w 133101"/>
              <a:gd name="connsiteY91" fmla="*/ 73060 h 113159"/>
              <a:gd name="connsiteX92" fmla="*/ 3187 w 133101"/>
              <a:gd name="connsiteY92" fmla="*/ 74448 h 113159"/>
              <a:gd name="connsiteX93" fmla="*/ 10592 w 133101"/>
              <a:gd name="connsiteY93" fmla="*/ 84860 h 113159"/>
              <a:gd name="connsiteX94" fmla="*/ 15971 w 133101"/>
              <a:gd name="connsiteY94" fmla="*/ 91281 h 113159"/>
              <a:gd name="connsiteX95" fmla="*/ 28581 w 133101"/>
              <a:gd name="connsiteY95" fmla="*/ 95504 h 113159"/>
              <a:gd name="connsiteX96" fmla="*/ 32110 w 133101"/>
              <a:gd name="connsiteY96" fmla="*/ 95793 h 113159"/>
              <a:gd name="connsiteX97" fmla="*/ 26325 w 133101"/>
              <a:gd name="connsiteY97" fmla="*/ 83125 h 113159"/>
              <a:gd name="connsiteX98" fmla="*/ 19441 w 133101"/>
              <a:gd name="connsiteY98" fmla="*/ 78844 h 113159"/>
              <a:gd name="connsiteX99" fmla="*/ 17822 w 133101"/>
              <a:gd name="connsiteY99" fmla="*/ 78844 h 113159"/>
              <a:gd name="connsiteX100" fmla="*/ 13889 w 133101"/>
              <a:gd name="connsiteY100" fmla="*/ 78555 h 113159"/>
              <a:gd name="connsiteX101" fmla="*/ 10823 w 133101"/>
              <a:gd name="connsiteY101" fmla="*/ 76878 h 113159"/>
              <a:gd name="connsiteX102" fmla="*/ 2840 w 133101"/>
              <a:gd name="connsiteY102" fmla="*/ 73060 h 1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33101" h="113159">
                <a:moveTo>
                  <a:pt x="108406" y="113030"/>
                </a:moveTo>
                <a:lnTo>
                  <a:pt x="108001" y="113030"/>
                </a:lnTo>
                <a:cubicBezTo>
                  <a:pt x="99325" y="109733"/>
                  <a:pt x="89433" y="103833"/>
                  <a:pt x="87814" y="99668"/>
                </a:cubicBezTo>
                <a:cubicBezTo>
                  <a:pt x="87466" y="98922"/>
                  <a:pt x="87466" y="98043"/>
                  <a:pt x="87814" y="97297"/>
                </a:cubicBezTo>
                <a:cubicBezTo>
                  <a:pt x="89260" y="94347"/>
                  <a:pt x="92442" y="79538"/>
                  <a:pt x="89318" y="74506"/>
                </a:cubicBezTo>
                <a:cubicBezTo>
                  <a:pt x="88218" y="72771"/>
                  <a:pt x="86483" y="72655"/>
                  <a:pt x="83938" y="73985"/>
                </a:cubicBezTo>
                <a:cubicBezTo>
                  <a:pt x="79889" y="76195"/>
                  <a:pt x="76071" y="78694"/>
                  <a:pt x="72369" y="81447"/>
                </a:cubicBezTo>
                <a:cubicBezTo>
                  <a:pt x="65775" y="86503"/>
                  <a:pt x="58602" y="90807"/>
                  <a:pt x="51083" y="94289"/>
                </a:cubicBezTo>
                <a:cubicBezTo>
                  <a:pt x="50562" y="94491"/>
                  <a:pt x="49925" y="94300"/>
                  <a:pt x="49637" y="93826"/>
                </a:cubicBezTo>
                <a:cubicBezTo>
                  <a:pt x="46744" y="89540"/>
                  <a:pt x="44777" y="84692"/>
                  <a:pt x="43852" y="79596"/>
                </a:cubicBezTo>
                <a:cubicBezTo>
                  <a:pt x="43852" y="77109"/>
                  <a:pt x="40092" y="74275"/>
                  <a:pt x="36506" y="71556"/>
                </a:cubicBezTo>
                <a:cubicBezTo>
                  <a:pt x="31762" y="67970"/>
                  <a:pt x="26903" y="64210"/>
                  <a:pt x="26903" y="59409"/>
                </a:cubicBezTo>
                <a:cubicBezTo>
                  <a:pt x="26267" y="55429"/>
                  <a:pt x="24474" y="51721"/>
                  <a:pt x="21755" y="48765"/>
                </a:cubicBezTo>
                <a:cubicBezTo>
                  <a:pt x="18979" y="44832"/>
                  <a:pt x="15971" y="41130"/>
                  <a:pt x="17244" y="37196"/>
                </a:cubicBezTo>
                <a:cubicBezTo>
                  <a:pt x="17938" y="34362"/>
                  <a:pt x="15046" y="30139"/>
                  <a:pt x="12558" y="26380"/>
                </a:cubicBezTo>
                <a:cubicBezTo>
                  <a:pt x="10071" y="22620"/>
                  <a:pt x="6774" y="18108"/>
                  <a:pt x="8451" y="15100"/>
                </a:cubicBezTo>
                <a:cubicBezTo>
                  <a:pt x="9319" y="13498"/>
                  <a:pt x="11054" y="12560"/>
                  <a:pt x="12848" y="12728"/>
                </a:cubicBezTo>
                <a:cubicBezTo>
                  <a:pt x="18863" y="13613"/>
                  <a:pt x="24417" y="16321"/>
                  <a:pt x="28813" y="20479"/>
                </a:cubicBezTo>
                <a:cubicBezTo>
                  <a:pt x="32341" y="23019"/>
                  <a:pt x="36622" y="24303"/>
                  <a:pt x="40960" y="24124"/>
                </a:cubicBezTo>
                <a:cubicBezTo>
                  <a:pt x="43563" y="24343"/>
                  <a:pt x="46166" y="23626"/>
                  <a:pt x="48248" y="22099"/>
                </a:cubicBezTo>
                <a:cubicBezTo>
                  <a:pt x="48769" y="21521"/>
                  <a:pt x="48827" y="21174"/>
                  <a:pt x="48769" y="20884"/>
                </a:cubicBezTo>
                <a:cubicBezTo>
                  <a:pt x="48769" y="19496"/>
                  <a:pt x="46223" y="17645"/>
                  <a:pt x="44083" y="15968"/>
                </a:cubicBezTo>
                <a:cubicBezTo>
                  <a:pt x="42174" y="14712"/>
                  <a:pt x="40555" y="13151"/>
                  <a:pt x="39166" y="11340"/>
                </a:cubicBezTo>
                <a:cubicBezTo>
                  <a:pt x="37836" y="9142"/>
                  <a:pt x="39572" y="5556"/>
                  <a:pt x="44951" y="118"/>
                </a:cubicBezTo>
                <a:cubicBezTo>
                  <a:pt x="45356" y="-211"/>
                  <a:pt x="45934" y="-211"/>
                  <a:pt x="46339" y="118"/>
                </a:cubicBezTo>
                <a:cubicBezTo>
                  <a:pt x="48885" y="1651"/>
                  <a:pt x="51661" y="2767"/>
                  <a:pt x="54553" y="3415"/>
                </a:cubicBezTo>
                <a:cubicBezTo>
                  <a:pt x="60048" y="5162"/>
                  <a:pt x="64850" y="8506"/>
                  <a:pt x="68436" y="13018"/>
                </a:cubicBezTo>
                <a:cubicBezTo>
                  <a:pt x="70807" y="15389"/>
                  <a:pt x="73411" y="18050"/>
                  <a:pt x="74625" y="18050"/>
                </a:cubicBezTo>
                <a:cubicBezTo>
                  <a:pt x="76649" y="17703"/>
                  <a:pt x="78675" y="18114"/>
                  <a:pt x="80409" y="19207"/>
                </a:cubicBezTo>
                <a:cubicBezTo>
                  <a:pt x="81567" y="19814"/>
                  <a:pt x="82781" y="20202"/>
                  <a:pt x="84054" y="20364"/>
                </a:cubicBezTo>
                <a:cubicBezTo>
                  <a:pt x="84690" y="20364"/>
                  <a:pt x="85442" y="20364"/>
                  <a:pt x="86020" y="18686"/>
                </a:cubicBezTo>
                <a:cubicBezTo>
                  <a:pt x="87235" y="15736"/>
                  <a:pt x="90301" y="14695"/>
                  <a:pt x="93598" y="13654"/>
                </a:cubicBezTo>
                <a:cubicBezTo>
                  <a:pt x="98052" y="12954"/>
                  <a:pt x="101869" y="9975"/>
                  <a:pt x="103605" y="5787"/>
                </a:cubicBezTo>
                <a:cubicBezTo>
                  <a:pt x="103721" y="5400"/>
                  <a:pt x="104068" y="5116"/>
                  <a:pt x="104473" y="5035"/>
                </a:cubicBezTo>
                <a:cubicBezTo>
                  <a:pt x="104877" y="4948"/>
                  <a:pt x="105341" y="5104"/>
                  <a:pt x="105572" y="5440"/>
                </a:cubicBezTo>
                <a:lnTo>
                  <a:pt x="109621" y="10357"/>
                </a:lnTo>
                <a:cubicBezTo>
                  <a:pt x="117025" y="18842"/>
                  <a:pt x="123851" y="27785"/>
                  <a:pt x="130097" y="37139"/>
                </a:cubicBezTo>
                <a:cubicBezTo>
                  <a:pt x="138196" y="51715"/>
                  <a:pt x="128189" y="78786"/>
                  <a:pt x="113844" y="96545"/>
                </a:cubicBezTo>
                <a:cubicBezTo>
                  <a:pt x="110431" y="100900"/>
                  <a:pt x="108811" y="106413"/>
                  <a:pt x="109332" y="111931"/>
                </a:cubicBezTo>
                <a:cubicBezTo>
                  <a:pt x="109332" y="112313"/>
                  <a:pt x="109158" y="112677"/>
                  <a:pt x="108869" y="112915"/>
                </a:cubicBezTo>
                <a:cubicBezTo>
                  <a:pt x="108753" y="112984"/>
                  <a:pt x="108580" y="113025"/>
                  <a:pt x="108406" y="113030"/>
                </a:cubicBezTo>
                <a:close/>
                <a:moveTo>
                  <a:pt x="87004" y="70804"/>
                </a:moveTo>
                <a:cubicBezTo>
                  <a:pt x="88797" y="70763"/>
                  <a:pt x="90416" y="71700"/>
                  <a:pt x="91284" y="73233"/>
                </a:cubicBezTo>
                <a:cubicBezTo>
                  <a:pt x="95044" y="79018"/>
                  <a:pt x="91284" y="95214"/>
                  <a:pt x="89896" y="98222"/>
                </a:cubicBezTo>
                <a:cubicBezTo>
                  <a:pt x="89896" y="98222"/>
                  <a:pt x="89896" y="98685"/>
                  <a:pt x="89896" y="98801"/>
                </a:cubicBezTo>
                <a:cubicBezTo>
                  <a:pt x="94466" y="104197"/>
                  <a:pt x="100481" y="108206"/>
                  <a:pt x="107249" y="110370"/>
                </a:cubicBezTo>
                <a:cubicBezTo>
                  <a:pt x="107076" y="104851"/>
                  <a:pt x="108869" y="99460"/>
                  <a:pt x="112340" y="95156"/>
                </a:cubicBezTo>
                <a:cubicBezTo>
                  <a:pt x="126222" y="77803"/>
                  <a:pt x="135998" y="52062"/>
                  <a:pt x="128363" y="38295"/>
                </a:cubicBezTo>
                <a:cubicBezTo>
                  <a:pt x="122173" y="29058"/>
                  <a:pt x="115406" y="20231"/>
                  <a:pt x="108059" y="11861"/>
                </a:cubicBezTo>
                <a:lnTo>
                  <a:pt x="105225" y="8390"/>
                </a:lnTo>
                <a:cubicBezTo>
                  <a:pt x="102853" y="12283"/>
                  <a:pt x="98977" y="14996"/>
                  <a:pt x="94524" y="15852"/>
                </a:cubicBezTo>
                <a:cubicBezTo>
                  <a:pt x="91632" y="16777"/>
                  <a:pt x="89144" y="17587"/>
                  <a:pt x="88334" y="19554"/>
                </a:cubicBezTo>
                <a:cubicBezTo>
                  <a:pt x="87814" y="21388"/>
                  <a:pt x="86194" y="22666"/>
                  <a:pt x="84285" y="22678"/>
                </a:cubicBezTo>
                <a:cubicBezTo>
                  <a:pt x="82665" y="22539"/>
                  <a:pt x="81104" y="22064"/>
                  <a:pt x="79715" y="21289"/>
                </a:cubicBezTo>
                <a:cubicBezTo>
                  <a:pt x="78501" y="20549"/>
                  <a:pt x="77055" y="20167"/>
                  <a:pt x="75609" y="20190"/>
                </a:cubicBezTo>
                <a:cubicBezTo>
                  <a:pt x="73295" y="21000"/>
                  <a:pt x="70750" y="18397"/>
                  <a:pt x="67048" y="14695"/>
                </a:cubicBezTo>
                <a:cubicBezTo>
                  <a:pt x="63808" y="10559"/>
                  <a:pt x="59412" y="7447"/>
                  <a:pt x="54437" y="5729"/>
                </a:cubicBezTo>
                <a:cubicBezTo>
                  <a:pt x="51545" y="5099"/>
                  <a:pt x="48769" y="4029"/>
                  <a:pt x="46166" y="2548"/>
                </a:cubicBezTo>
                <a:cubicBezTo>
                  <a:pt x="40728" y="8332"/>
                  <a:pt x="41307" y="10183"/>
                  <a:pt x="41480" y="10472"/>
                </a:cubicBezTo>
                <a:cubicBezTo>
                  <a:pt x="42695" y="12040"/>
                  <a:pt x="44141" y="13388"/>
                  <a:pt x="45819" y="14464"/>
                </a:cubicBezTo>
                <a:cubicBezTo>
                  <a:pt x="48595" y="16604"/>
                  <a:pt x="51198" y="18628"/>
                  <a:pt x="51603" y="21058"/>
                </a:cubicBezTo>
                <a:cubicBezTo>
                  <a:pt x="51661" y="22174"/>
                  <a:pt x="51198" y="23256"/>
                  <a:pt x="50389" y="24008"/>
                </a:cubicBezTo>
                <a:cubicBezTo>
                  <a:pt x="47843" y="25940"/>
                  <a:pt x="44720" y="26871"/>
                  <a:pt x="41538" y="26611"/>
                </a:cubicBezTo>
                <a:cubicBezTo>
                  <a:pt x="36622" y="26819"/>
                  <a:pt x="31762" y="25333"/>
                  <a:pt x="27771" y="22388"/>
                </a:cubicBezTo>
                <a:cubicBezTo>
                  <a:pt x="23780" y="18663"/>
                  <a:pt x="18805" y="16205"/>
                  <a:pt x="13426" y="15331"/>
                </a:cubicBezTo>
                <a:cubicBezTo>
                  <a:pt x="11575" y="15331"/>
                  <a:pt x="11170" y="16141"/>
                  <a:pt x="11054" y="16430"/>
                </a:cubicBezTo>
                <a:cubicBezTo>
                  <a:pt x="10128" y="18223"/>
                  <a:pt x="12616" y="21868"/>
                  <a:pt x="14988" y="25454"/>
                </a:cubicBezTo>
                <a:cubicBezTo>
                  <a:pt x="17359" y="29040"/>
                  <a:pt x="20772" y="34246"/>
                  <a:pt x="20020" y="38006"/>
                </a:cubicBezTo>
                <a:cubicBezTo>
                  <a:pt x="19326" y="40783"/>
                  <a:pt x="21697" y="43791"/>
                  <a:pt x="24185" y="47551"/>
                </a:cubicBezTo>
                <a:cubicBezTo>
                  <a:pt x="27309" y="50848"/>
                  <a:pt x="29333" y="55030"/>
                  <a:pt x="29969" y="59524"/>
                </a:cubicBezTo>
                <a:cubicBezTo>
                  <a:pt x="29969" y="63226"/>
                  <a:pt x="34366" y="66581"/>
                  <a:pt x="38704" y="69879"/>
                </a:cubicBezTo>
                <a:cubicBezTo>
                  <a:pt x="43042" y="73176"/>
                  <a:pt x="46917" y="76126"/>
                  <a:pt x="46917" y="79712"/>
                </a:cubicBezTo>
                <a:cubicBezTo>
                  <a:pt x="47612" y="84073"/>
                  <a:pt x="49231" y="88238"/>
                  <a:pt x="51661" y="91917"/>
                </a:cubicBezTo>
                <a:cubicBezTo>
                  <a:pt x="58718" y="88516"/>
                  <a:pt x="65370" y="84432"/>
                  <a:pt x="71617" y="79712"/>
                </a:cubicBezTo>
                <a:cubicBezTo>
                  <a:pt x="75261" y="76895"/>
                  <a:pt x="79137" y="74344"/>
                  <a:pt x="83186" y="72076"/>
                </a:cubicBezTo>
                <a:cubicBezTo>
                  <a:pt x="84343" y="71371"/>
                  <a:pt x="85673" y="70937"/>
                  <a:pt x="87004" y="70804"/>
                </a:cubicBezTo>
                <a:close/>
                <a:moveTo>
                  <a:pt x="33151" y="98049"/>
                </a:moveTo>
                <a:cubicBezTo>
                  <a:pt x="31531" y="98049"/>
                  <a:pt x="29911" y="97950"/>
                  <a:pt x="28292" y="97759"/>
                </a:cubicBezTo>
                <a:cubicBezTo>
                  <a:pt x="14814" y="95908"/>
                  <a:pt x="13484" y="94347"/>
                  <a:pt x="13715" y="91165"/>
                </a:cubicBezTo>
                <a:cubicBezTo>
                  <a:pt x="13715" y="90008"/>
                  <a:pt x="13715" y="88851"/>
                  <a:pt x="9666" y="86885"/>
                </a:cubicBezTo>
                <a:cubicBezTo>
                  <a:pt x="4865" y="84640"/>
                  <a:pt x="1626" y="80094"/>
                  <a:pt x="989" y="74853"/>
                </a:cubicBezTo>
                <a:cubicBezTo>
                  <a:pt x="989" y="73754"/>
                  <a:pt x="411" y="72655"/>
                  <a:pt x="64" y="71672"/>
                </a:cubicBezTo>
                <a:cubicBezTo>
                  <a:pt x="-167" y="71319"/>
                  <a:pt x="-167" y="70868"/>
                  <a:pt x="64" y="70515"/>
                </a:cubicBezTo>
                <a:cubicBezTo>
                  <a:pt x="295" y="70174"/>
                  <a:pt x="758" y="70035"/>
                  <a:pt x="1163" y="70168"/>
                </a:cubicBezTo>
                <a:cubicBezTo>
                  <a:pt x="4923" y="71221"/>
                  <a:pt x="8567" y="72840"/>
                  <a:pt x="11864" y="74969"/>
                </a:cubicBezTo>
                <a:cubicBezTo>
                  <a:pt x="12790" y="75536"/>
                  <a:pt x="13715" y="76039"/>
                  <a:pt x="14698" y="76473"/>
                </a:cubicBezTo>
                <a:cubicBezTo>
                  <a:pt x="15566" y="76733"/>
                  <a:pt x="16434" y="76733"/>
                  <a:pt x="17301" y="76473"/>
                </a:cubicBezTo>
                <a:cubicBezTo>
                  <a:pt x="17995" y="76415"/>
                  <a:pt x="18632" y="76415"/>
                  <a:pt x="19326" y="76473"/>
                </a:cubicBezTo>
                <a:cubicBezTo>
                  <a:pt x="22797" y="76779"/>
                  <a:pt x="25921" y="78625"/>
                  <a:pt x="27887" y="81505"/>
                </a:cubicBezTo>
                <a:cubicBezTo>
                  <a:pt x="34308" y="88562"/>
                  <a:pt x="34770" y="90587"/>
                  <a:pt x="34018" y="96950"/>
                </a:cubicBezTo>
                <a:cubicBezTo>
                  <a:pt x="34018" y="97453"/>
                  <a:pt x="33672" y="97887"/>
                  <a:pt x="33151" y="97991"/>
                </a:cubicBezTo>
                <a:close/>
                <a:moveTo>
                  <a:pt x="2840" y="73060"/>
                </a:moveTo>
                <a:lnTo>
                  <a:pt x="3187" y="74448"/>
                </a:lnTo>
                <a:cubicBezTo>
                  <a:pt x="3708" y="78960"/>
                  <a:pt x="6484" y="82888"/>
                  <a:pt x="10592" y="84860"/>
                </a:cubicBezTo>
                <a:cubicBezTo>
                  <a:pt x="15798" y="87232"/>
                  <a:pt x="16087" y="89256"/>
                  <a:pt x="15971" y="91281"/>
                </a:cubicBezTo>
                <a:cubicBezTo>
                  <a:pt x="15855" y="93305"/>
                  <a:pt x="15971" y="93768"/>
                  <a:pt x="28581" y="95504"/>
                </a:cubicBezTo>
                <a:cubicBezTo>
                  <a:pt x="29738" y="95665"/>
                  <a:pt x="30953" y="95764"/>
                  <a:pt x="32110" y="95793"/>
                </a:cubicBezTo>
                <a:cubicBezTo>
                  <a:pt x="32630" y="90876"/>
                  <a:pt x="32110" y="89256"/>
                  <a:pt x="26325" y="83125"/>
                </a:cubicBezTo>
                <a:cubicBezTo>
                  <a:pt x="22913" y="79307"/>
                  <a:pt x="20887" y="78844"/>
                  <a:pt x="19441" y="78844"/>
                </a:cubicBezTo>
                <a:cubicBezTo>
                  <a:pt x="18921" y="78786"/>
                  <a:pt x="18343" y="78786"/>
                  <a:pt x="17822" y="78844"/>
                </a:cubicBezTo>
                <a:cubicBezTo>
                  <a:pt x="16492" y="79105"/>
                  <a:pt x="15161" y="79001"/>
                  <a:pt x="13889" y="78555"/>
                </a:cubicBezTo>
                <a:cubicBezTo>
                  <a:pt x="12848" y="78058"/>
                  <a:pt x="11806" y="77497"/>
                  <a:pt x="10823" y="76878"/>
                </a:cubicBezTo>
                <a:cubicBezTo>
                  <a:pt x="8278" y="75351"/>
                  <a:pt x="5617" y="74072"/>
                  <a:pt x="2840" y="7306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1" name="Forma libre: forma 440">
            <a:extLst>
              <a:ext uri="{FF2B5EF4-FFF2-40B4-BE49-F238E27FC236}">
                <a16:creationId xmlns:a16="http://schemas.microsoft.com/office/drawing/2014/main" id="{183BEC5A-F337-65B0-8172-FCFBE9CB2E72}"/>
              </a:ext>
            </a:extLst>
          </p:cNvPr>
          <p:cNvSpPr/>
          <p:nvPr/>
        </p:nvSpPr>
        <p:spPr>
          <a:xfrm>
            <a:off x="7837023" y="3371421"/>
            <a:ext cx="391535" cy="279393"/>
          </a:xfrm>
          <a:custGeom>
            <a:avLst/>
            <a:gdLst>
              <a:gd name="connsiteX0" fmla="*/ 61279 w 391535"/>
              <a:gd name="connsiteY0" fmla="*/ 279254 h 279393"/>
              <a:gd name="connsiteX1" fmla="*/ 53296 w 391535"/>
              <a:gd name="connsiteY1" fmla="*/ 278733 h 279393"/>
              <a:gd name="connsiteX2" fmla="*/ 11417 w 391535"/>
              <a:gd name="connsiteY2" fmla="*/ 274106 h 279393"/>
              <a:gd name="connsiteX3" fmla="*/ 10723 w 391535"/>
              <a:gd name="connsiteY3" fmla="*/ 274106 h 279393"/>
              <a:gd name="connsiteX4" fmla="*/ 4939 w 391535"/>
              <a:gd name="connsiteY4" fmla="*/ 263983 h 279393"/>
              <a:gd name="connsiteX5" fmla="*/ 15467 w 391535"/>
              <a:gd name="connsiteY5" fmla="*/ 251662 h 279393"/>
              <a:gd name="connsiteX6" fmla="*/ 32820 w 391535"/>
              <a:gd name="connsiteY6" fmla="*/ 225748 h 279393"/>
              <a:gd name="connsiteX7" fmla="*/ 14946 w 391535"/>
              <a:gd name="connsiteY7" fmla="*/ 215683 h 279393"/>
              <a:gd name="connsiteX8" fmla="*/ 5922 w 391535"/>
              <a:gd name="connsiteY8" fmla="*/ 211865 h 279393"/>
              <a:gd name="connsiteX9" fmla="*/ 4939 w 391535"/>
              <a:gd name="connsiteY9" fmla="*/ 202379 h 279393"/>
              <a:gd name="connsiteX10" fmla="*/ 1584 w 391535"/>
              <a:gd name="connsiteY10" fmla="*/ 180571 h 279393"/>
              <a:gd name="connsiteX11" fmla="*/ 1584 w 391535"/>
              <a:gd name="connsiteY11" fmla="*/ 161946 h 279393"/>
              <a:gd name="connsiteX12" fmla="*/ 1584 w 391535"/>
              <a:gd name="connsiteY12" fmla="*/ 151592 h 279393"/>
              <a:gd name="connsiteX13" fmla="*/ 3435 w 391535"/>
              <a:gd name="connsiteY13" fmla="*/ 130652 h 279393"/>
              <a:gd name="connsiteX14" fmla="*/ 4650 w 391535"/>
              <a:gd name="connsiteY14" fmla="*/ 126950 h 279393"/>
              <a:gd name="connsiteX15" fmla="*/ 8467 w 391535"/>
              <a:gd name="connsiteY15" fmla="*/ 121165 h 279393"/>
              <a:gd name="connsiteX16" fmla="*/ 15409 w 391535"/>
              <a:gd name="connsiteY16" fmla="*/ 105663 h 279393"/>
              <a:gd name="connsiteX17" fmla="*/ 18706 w 391535"/>
              <a:gd name="connsiteY17" fmla="*/ 94673 h 279393"/>
              <a:gd name="connsiteX18" fmla="*/ 26284 w 391535"/>
              <a:gd name="connsiteY18" fmla="*/ 90913 h 279393"/>
              <a:gd name="connsiteX19" fmla="*/ 29002 w 391535"/>
              <a:gd name="connsiteY19" fmla="*/ 91607 h 279393"/>
              <a:gd name="connsiteX20" fmla="*/ 32878 w 391535"/>
              <a:gd name="connsiteY20" fmla="*/ 92128 h 279393"/>
              <a:gd name="connsiteX21" fmla="*/ 36869 w 391535"/>
              <a:gd name="connsiteY21" fmla="*/ 92128 h 279393"/>
              <a:gd name="connsiteX22" fmla="*/ 48900 w 391535"/>
              <a:gd name="connsiteY22" fmla="*/ 97912 h 279393"/>
              <a:gd name="connsiteX23" fmla="*/ 55322 w 391535"/>
              <a:gd name="connsiteY23" fmla="*/ 100804 h 279393"/>
              <a:gd name="connsiteX24" fmla="*/ 68221 w 391535"/>
              <a:gd name="connsiteY24" fmla="*/ 95714 h 279393"/>
              <a:gd name="connsiteX25" fmla="*/ 70361 w 391535"/>
              <a:gd name="connsiteY25" fmla="*/ 89640 h 279393"/>
              <a:gd name="connsiteX26" fmla="*/ 90491 w 391535"/>
              <a:gd name="connsiteY26" fmla="*/ 76278 h 279393"/>
              <a:gd name="connsiteX27" fmla="*/ 109232 w 391535"/>
              <a:gd name="connsiteY27" fmla="*/ 66618 h 279393"/>
              <a:gd name="connsiteX28" fmla="*/ 110389 w 391535"/>
              <a:gd name="connsiteY28" fmla="*/ 62627 h 279393"/>
              <a:gd name="connsiteX29" fmla="*/ 124677 w 391535"/>
              <a:gd name="connsiteY29" fmla="*/ 38448 h 279393"/>
              <a:gd name="connsiteX30" fmla="*/ 126932 w 391535"/>
              <a:gd name="connsiteY30" fmla="*/ 38853 h 279393"/>
              <a:gd name="connsiteX31" fmla="*/ 137634 w 391535"/>
              <a:gd name="connsiteY31" fmla="*/ 32664 h 279393"/>
              <a:gd name="connsiteX32" fmla="*/ 148277 w 391535"/>
              <a:gd name="connsiteY32" fmla="*/ 25896 h 279393"/>
              <a:gd name="connsiteX33" fmla="*/ 156086 w 391535"/>
              <a:gd name="connsiteY33" fmla="*/ 28441 h 279393"/>
              <a:gd name="connsiteX34" fmla="*/ 165514 w 391535"/>
              <a:gd name="connsiteY34" fmla="*/ 31102 h 279393"/>
              <a:gd name="connsiteX35" fmla="*/ 170373 w 391535"/>
              <a:gd name="connsiteY35" fmla="*/ 30234 h 279393"/>
              <a:gd name="connsiteX36" fmla="*/ 174365 w 391535"/>
              <a:gd name="connsiteY36" fmla="*/ 29598 h 279393"/>
              <a:gd name="connsiteX37" fmla="*/ 185182 w 391535"/>
              <a:gd name="connsiteY37" fmla="*/ 34052 h 279393"/>
              <a:gd name="connsiteX38" fmla="*/ 193396 w 391535"/>
              <a:gd name="connsiteY38" fmla="*/ 37754 h 279393"/>
              <a:gd name="connsiteX39" fmla="*/ 204213 w 391535"/>
              <a:gd name="connsiteY39" fmla="*/ 42613 h 279393"/>
              <a:gd name="connsiteX40" fmla="*/ 213236 w 391535"/>
              <a:gd name="connsiteY40" fmla="*/ 46893 h 279393"/>
              <a:gd name="connsiteX41" fmla="*/ 216128 w 391535"/>
              <a:gd name="connsiteY41" fmla="*/ 44811 h 279393"/>
              <a:gd name="connsiteX42" fmla="*/ 233482 w 391535"/>
              <a:gd name="connsiteY42" fmla="*/ 40010 h 279393"/>
              <a:gd name="connsiteX43" fmla="*/ 236836 w 391535"/>
              <a:gd name="connsiteY43" fmla="*/ 40010 h 279393"/>
              <a:gd name="connsiteX44" fmla="*/ 244067 w 391535"/>
              <a:gd name="connsiteY44" fmla="*/ 37754 h 279393"/>
              <a:gd name="connsiteX45" fmla="*/ 257892 w 391535"/>
              <a:gd name="connsiteY45" fmla="*/ 30119 h 279393"/>
              <a:gd name="connsiteX46" fmla="*/ 269924 w 391535"/>
              <a:gd name="connsiteY46" fmla="*/ 24797 h 279393"/>
              <a:gd name="connsiteX47" fmla="*/ 295954 w 391535"/>
              <a:gd name="connsiteY47" fmla="*/ -76 h 279393"/>
              <a:gd name="connsiteX48" fmla="*/ 301738 w 391535"/>
              <a:gd name="connsiteY48" fmla="*/ 10047 h 279393"/>
              <a:gd name="connsiteX49" fmla="*/ 307522 w 391535"/>
              <a:gd name="connsiteY49" fmla="*/ 22657 h 279393"/>
              <a:gd name="connsiteX50" fmla="*/ 310009 w 391535"/>
              <a:gd name="connsiteY50" fmla="*/ 41456 h 279393"/>
              <a:gd name="connsiteX51" fmla="*/ 308969 w 391535"/>
              <a:gd name="connsiteY51" fmla="*/ 55339 h 279393"/>
              <a:gd name="connsiteX52" fmla="*/ 321058 w 391535"/>
              <a:gd name="connsiteY52" fmla="*/ 55339 h 279393"/>
              <a:gd name="connsiteX53" fmla="*/ 329445 w 391535"/>
              <a:gd name="connsiteY53" fmla="*/ 52504 h 279393"/>
              <a:gd name="connsiteX54" fmla="*/ 335229 w 391535"/>
              <a:gd name="connsiteY54" fmla="*/ 50595 h 279393"/>
              <a:gd name="connsiteX55" fmla="*/ 336618 w 391535"/>
              <a:gd name="connsiteY55" fmla="*/ 49381 h 279393"/>
              <a:gd name="connsiteX56" fmla="*/ 363979 w 391535"/>
              <a:gd name="connsiteY56" fmla="*/ 30523 h 279393"/>
              <a:gd name="connsiteX57" fmla="*/ 366177 w 391535"/>
              <a:gd name="connsiteY57" fmla="*/ 31044 h 279393"/>
              <a:gd name="connsiteX58" fmla="*/ 371440 w 391535"/>
              <a:gd name="connsiteY58" fmla="*/ 36192 h 279393"/>
              <a:gd name="connsiteX59" fmla="*/ 375952 w 391535"/>
              <a:gd name="connsiteY59" fmla="*/ 38564 h 279393"/>
              <a:gd name="connsiteX60" fmla="*/ 390703 w 391535"/>
              <a:gd name="connsiteY60" fmla="*/ 41456 h 279393"/>
              <a:gd name="connsiteX61" fmla="*/ 391339 w 391535"/>
              <a:gd name="connsiteY61" fmla="*/ 42266 h 279393"/>
              <a:gd name="connsiteX62" fmla="*/ 391339 w 391535"/>
              <a:gd name="connsiteY62" fmla="*/ 43249 h 279393"/>
              <a:gd name="connsiteX63" fmla="*/ 368548 w 391535"/>
              <a:gd name="connsiteY63" fmla="*/ 52851 h 279393"/>
              <a:gd name="connsiteX64" fmla="*/ 368548 w 391535"/>
              <a:gd name="connsiteY64" fmla="*/ 52851 h 279393"/>
              <a:gd name="connsiteX65" fmla="*/ 361549 w 391535"/>
              <a:gd name="connsiteY65" fmla="*/ 52099 h 279393"/>
              <a:gd name="connsiteX66" fmla="*/ 357384 w 391535"/>
              <a:gd name="connsiteY66" fmla="*/ 51463 h 279393"/>
              <a:gd name="connsiteX67" fmla="*/ 325686 w 391535"/>
              <a:gd name="connsiteY67" fmla="*/ 63032 h 279393"/>
              <a:gd name="connsiteX68" fmla="*/ 311340 w 391535"/>
              <a:gd name="connsiteY68" fmla="*/ 68122 h 279393"/>
              <a:gd name="connsiteX69" fmla="*/ 306944 w 391535"/>
              <a:gd name="connsiteY69" fmla="*/ 69858 h 279393"/>
              <a:gd name="connsiteX70" fmla="*/ 301160 w 391535"/>
              <a:gd name="connsiteY70" fmla="*/ 73964 h 279393"/>
              <a:gd name="connsiteX71" fmla="*/ 303647 w 391535"/>
              <a:gd name="connsiteY71" fmla="*/ 81716 h 279393"/>
              <a:gd name="connsiteX72" fmla="*/ 308563 w 391535"/>
              <a:gd name="connsiteY72" fmla="*/ 94268 h 279393"/>
              <a:gd name="connsiteX73" fmla="*/ 308853 w 391535"/>
              <a:gd name="connsiteY73" fmla="*/ 98548 h 279393"/>
              <a:gd name="connsiteX74" fmla="*/ 301275 w 391535"/>
              <a:gd name="connsiteY74" fmla="*/ 112026 h 279393"/>
              <a:gd name="connsiteX75" fmla="*/ 295780 w 391535"/>
              <a:gd name="connsiteY75" fmla="*/ 118620 h 279393"/>
              <a:gd name="connsiteX76" fmla="*/ 294450 w 391535"/>
              <a:gd name="connsiteY76" fmla="*/ 129032 h 279393"/>
              <a:gd name="connsiteX77" fmla="*/ 293408 w 391535"/>
              <a:gd name="connsiteY77" fmla="*/ 140312 h 279393"/>
              <a:gd name="connsiteX78" fmla="*/ 286583 w 391535"/>
              <a:gd name="connsiteY78" fmla="*/ 143493 h 279393"/>
              <a:gd name="connsiteX79" fmla="*/ 273221 w 391535"/>
              <a:gd name="connsiteY79" fmla="*/ 141237 h 279393"/>
              <a:gd name="connsiteX80" fmla="*/ 263966 w 391535"/>
              <a:gd name="connsiteY80" fmla="*/ 139560 h 279393"/>
              <a:gd name="connsiteX81" fmla="*/ 262519 w 391535"/>
              <a:gd name="connsiteY81" fmla="*/ 139849 h 279393"/>
              <a:gd name="connsiteX82" fmla="*/ 266858 w 391535"/>
              <a:gd name="connsiteY82" fmla="*/ 148410 h 279393"/>
              <a:gd name="connsiteX83" fmla="*/ 271716 w 391535"/>
              <a:gd name="connsiteY83" fmla="*/ 156624 h 279393"/>
              <a:gd name="connsiteX84" fmla="*/ 270270 w 391535"/>
              <a:gd name="connsiteY84" fmla="*/ 161251 h 279393"/>
              <a:gd name="connsiteX85" fmla="*/ 252107 w 391535"/>
              <a:gd name="connsiteY85" fmla="*/ 169292 h 279393"/>
              <a:gd name="connsiteX86" fmla="*/ 244472 w 391535"/>
              <a:gd name="connsiteY86" fmla="*/ 189595 h 279393"/>
              <a:gd name="connsiteX87" fmla="*/ 244472 w 391535"/>
              <a:gd name="connsiteY87" fmla="*/ 197288 h 279393"/>
              <a:gd name="connsiteX88" fmla="*/ 234696 w 391535"/>
              <a:gd name="connsiteY88" fmla="*/ 213774 h 279393"/>
              <a:gd name="connsiteX89" fmla="*/ 229375 w 391535"/>
              <a:gd name="connsiteY89" fmla="*/ 209667 h 279393"/>
              <a:gd name="connsiteX90" fmla="*/ 225094 w 391535"/>
              <a:gd name="connsiteY90" fmla="*/ 208163 h 279393"/>
              <a:gd name="connsiteX91" fmla="*/ 202477 w 391535"/>
              <a:gd name="connsiteY91" fmla="*/ 218980 h 279393"/>
              <a:gd name="connsiteX92" fmla="*/ 193048 w 391535"/>
              <a:gd name="connsiteY92" fmla="*/ 225748 h 279393"/>
              <a:gd name="connsiteX93" fmla="*/ 185240 w 391535"/>
              <a:gd name="connsiteY93" fmla="*/ 225227 h 279393"/>
              <a:gd name="connsiteX94" fmla="*/ 182694 w 391535"/>
              <a:gd name="connsiteY94" fmla="*/ 225227 h 279393"/>
              <a:gd name="connsiteX95" fmla="*/ 181595 w 391535"/>
              <a:gd name="connsiteY95" fmla="*/ 225227 h 279393"/>
              <a:gd name="connsiteX96" fmla="*/ 162044 w 391535"/>
              <a:gd name="connsiteY96" fmla="*/ 237259 h 279393"/>
              <a:gd name="connsiteX97" fmla="*/ 163316 w 391535"/>
              <a:gd name="connsiteY97" fmla="*/ 248828 h 279393"/>
              <a:gd name="connsiteX98" fmla="*/ 164358 w 391535"/>
              <a:gd name="connsiteY98" fmla="*/ 264851 h 279393"/>
              <a:gd name="connsiteX99" fmla="*/ 61279 w 391535"/>
              <a:gd name="connsiteY99" fmla="*/ 279254 h 279393"/>
              <a:gd name="connsiteX100" fmla="*/ 11938 w 391535"/>
              <a:gd name="connsiteY100" fmla="*/ 271850 h 279393"/>
              <a:gd name="connsiteX101" fmla="*/ 53702 w 391535"/>
              <a:gd name="connsiteY101" fmla="*/ 276535 h 279393"/>
              <a:gd name="connsiteX102" fmla="*/ 61279 w 391535"/>
              <a:gd name="connsiteY102" fmla="*/ 276998 h 279393"/>
              <a:gd name="connsiteX103" fmla="*/ 162449 w 391535"/>
              <a:gd name="connsiteY103" fmla="*/ 263173 h 279393"/>
              <a:gd name="connsiteX104" fmla="*/ 161002 w 391535"/>
              <a:gd name="connsiteY104" fmla="*/ 248712 h 279393"/>
              <a:gd name="connsiteX105" fmla="*/ 159788 w 391535"/>
              <a:gd name="connsiteY105" fmla="*/ 236218 h 279393"/>
              <a:gd name="connsiteX106" fmla="*/ 182926 w 391535"/>
              <a:gd name="connsiteY106" fmla="*/ 222393 h 279393"/>
              <a:gd name="connsiteX107" fmla="*/ 185471 w 391535"/>
              <a:gd name="connsiteY107" fmla="*/ 222393 h 279393"/>
              <a:gd name="connsiteX108" fmla="*/ 193106 w 391535"/>
              <a:gd name="connsiteY108" fmla="*/ 222856 h 279393"/>
              <a:gd name="connsiteX109" fmla="*/ 200279 w 391535"/>
              <a:gd name="connsiteY109" fmla="*/ 218402 h 279393"/>
              <a:gd name="connsiteX110" fmla="*/ 225152 w 391535"/>
              <a:gd name="connsiteY110" fmla="*/ 205387 h 279393"/>
              <a:gd name="connsiteX111" fmla="*/ 231573 w 391535"/>
              <a:gd name="connsiteY111" fmla="*/ 208337 h 279393"/>
              <a:gd name="connsiteX112" fmla="*/ 234754 w 391535"/>
              <a:gd name="connsiteY112" fmla="*/ 210940 h 279393"/>
              <a:gd name="connsiteX113" fmla="*/ 242274 w 391535"/>
              <a:gd name="connsiteY113" fmla="*/ 196594 h 279393"/>
              <a:gd name="connsiteX114" fmla="*/ 242274 w 391535"/>
              <a:gd name="connsiteY114" fmla="*/ 188959 h 279393"/>
              <a:gd name="connsiteX115" fmla="*/ 251934 w 391535"/>
              <a:gd name="connsiteY115" fmla="*/ 166457 h 279393"/>
              <a:gd name="connsiteX116" fmla="*/ 268535 w 391535"/>
              <a:gd name="connsiteY116" fmla="*/ 159285 h 279393"/>
              <a:gd name="connsiteX117" fmla="*/ 269518 w 391535"/>
              <a:gd name="connsiteY117" fmla="*/ 156393 h 279393"/>
              <a:gd name="connsiteX118" fmla="*/ 265122 w 391535"/>
              <a:gd name="connsiteY118" fmla="*/ 149220 h 279393"/>
              <a:gd name="connsiteX119" fmla="*/ 260958 w 391535"/>
              <a:gd name="connsiteY119" fmla="*/ 137651 h 279393"/>
              <a:gd name="connsiteX120" fmla="*/ 264023 w 391535"/>
              <a:gd name="connsiteY120" fmla="*/ 136726 h 279393"/>
              <a:gd name="connsiteX121" fmla="*/ 273799 w 391535"/>
              <a:gd name="connsiteY121" fmla="*/ 138461 h 279393"/>
              <a:gd name="connsiteX122" fmla="*/ 286641 w 391535"/>
              <a:gd name="connsiteY122" fmla="*/ 140659 h 279393"/>
              <a:gd name="connsiteX123" fmla="*/ 291384 w 391535"/>
              <a:gd name="connsiteY123" fmla="*/ 138808 h 279393"/>
              <a:gd name="connsiteX124" fmla="*/ 292251 w 391535"/>
              <a:gd name="connsiteY124" fmla="*/ 128685 h 279393"/>
              <a:gd name="connsiteX125" fmla="*/ 293929 w 391535"/>
              <a:gd name="connsiteY125" fmla="*/ 117116 h 279393"/>
              <a:gd name="connsiteX126" fmla="*/ 299714 w 391535"/>
              <a:gd name="connsiteY126" fmla="*/ 110117 h 279393"/>
              <a:gd name="connsiteX127" fmla="*/ 306713 w 391535"/>
              <a:gd name="connsiteY127" fmla="*/ 98548 h 279393"/>
              <a:gd name="connsiteX128" fmla="*/ 306713 w 391535"/>
              <a:gd name="connsiteY128" fmla="*/ 94152 h 279393"/>
              <a:gd name="connsiteX129" fmla="*/ 302490 w 391535"/>
              <a:gd name="connsiteY129" fmla="*/ 83046 h 279393"/>
              <a:gd name="connsiteX130" fmla="*/ 299482 w 391535"/>
              <a:gd name="connsiteY130" fmla="*/ 72981 h 279393"/>
              <a:gd name="connsiteX131" fmla="*/ 307233 w 391535"/>
              <a:gd name="connsiteY131" fmla="*/ 67197 h 279393"/>
              <a:gd name="connsiteX132" fmla="*/ 310761 w 391535"/>
              <a:gd name="connsiteY132" fmla="*/ 65635 h 279393"/>
              <a:gd name="connsiteX133" fmla="*/ 311167 w 391535"/>
              <a:gd name="connsiteY133" fmla="*/ 65635 h 279393"/>
              <a:gd name="connsiteX134" fmla="*/ 324818 w 391535"/>
              <a:gd name="connsiteY134" fmla="*/ 60892 h 279393"/>
              <a:gd name="connsiteX135" fmla="*/ 357847 w 391535"/>
              <a:gd name="connsiteY135" fmla="*/ 49034 h 279393"/>
              <a:gd name="connsiteX136" fmla="*/ 362763 w 391535"/>
              <a:gd name="connsiteY136" fmla="*/ 49786 h 279393"/>
              <a:gd name="connsiteX137" fmla="*/ 368143 w 391535"/>
              <a:gd name="connsiteY137" fmla="*/ 50538 h 279393"/>
              <a:gd name="connsiteX138" fmla="*/ 388157 w 391535"/>
              <a:gd name="connsiteY138" fmla="*/ 42786 h 279393"/>
              <a:gd name="connsiteX139" fmla="*/ 376126 w 391535"/>
              <a:gd name="connsiteY139" fmla="*/ 40762 h 279393"/>
              <a:gd name="connsiteX140" fmla="*/ 369473 w 391535"/>
              <a:gd name="connsiteY140" fmla="*/ 37407 h 279393"/>
              <a:gd name="connsiteX141" fmla="*/ 364904 w 391535"/>
              <a:gd name="connsiteY141" fmla="*/ 32953 h 279393"/>
              <a:gd name="connsiteX142" fmla="*/ 363863 w 391535"/>
              <a:gd name="connsiteY142" fmla="*/ 32953 h 279393"/>
              <a:gd name="connsiteX143" fmla="*/ 338007 w 391535"/>
              <a:gd name="connsiteY143" fmla="*/ 51232 h 279393"/>
              <a:gd name="connsiteX144" fmla="*/ 336445 w 391535"/>
              <a:gd name="connsiteY144" fmla="*/ 52620 h 279393"/>
              <a:gd name="connsiteX145" fmla="*/ 336039 w 391535"/>
              <a:gd name="connsiteY145" fmla="*/ 52620 h 279393"/>
              <a:gd name="connsiteX146" fmla="*/ 330255 w 391535"/>
              <a:gd name="connsiteY146" fmla="*/ 54587 h 279393"/>
              <a:gd name="connsiteX147" fmla="*/ 321752 w 391535"/>
              <a:gd name="connsiteY147" fmla="*/ 57421 h 279393"/>
              <a:gd name="connsiteX148" fmla="*/ 307349 w 391535"/>
              <a:gd name="connsiteY148" fmla="*/ 56611 h 279393"/>
              <a:gd name="connsiteX149" fmla="*/ 307927 w 391535"/>
              <a:gd name="connsiteY149" fmla="*/ 40530 h 279393"/>
              <a:gd name="connsiteX150" fmla="*/ 306655 w 391535"/>
              <a:gd name="connsiteY150" fmla="*/ 24508 h 279393"/>
              <a:gd name="connsiteX151" fmla="*/ 299771 w 391535"/>
              <a:gd name="connsiteY151" fmla="*/ 9815 h 279393"/>
              <a:gd name="connsiteX152" fmla="*/ 296185 w 391535"/>
              <a:gd name="connsiteY152" fmla="*/ 1948 h 279393"/>
              <a:gd name="connsiteX153" fmla="*/ 295433 w 391535"/>
              <a:gd name="connsiteY153" fmla="*/ 1948 h 279393"/>
              <a:gd name="connsiteX154" fmla="*/ 272642 w 391535"/>
              <a:gd name="connsiteY154" fmla="*/ 24565 h 279393"/>
              <a:gd name="connsiteX155" fmla="*/ 258817 w 391535"/>
              <a:gd name="connsiteY155" fmla="*/ 32085 h 279393"/>
              <a:gd name="connsiteX156" fmla="*/ 246728 w 391535"/>
              <a:gd name="connsiteY156" fmla="*/ 37523 h 279393"/>
              <a:gd name="connsiteX157" fmla="*/ 237299 w 391535"/>
              <a:gd name="connsiteY157" fmla="*/ 42092 h 279393"/>
              <a:gd name="connsiteX158" fmla="*/ 230300 w 391535"/>
              <a:gd name="connsiteY158" fmla="*/ 42092 h 279393"/>
              <a:gd name="connsiteX159" fmla="*/ 218732 w 391535"/>
              <a:gd name="connsiteY159" fmla="*/ 45679 h 279393"/>
              <a:gd name="connsiteX160" fmla="*/ 213814 w 391535"/>
              <a:gd name="connsiteY160" fmla="*/ 48976 h 279393"/>
              <a:gd name="connsiteX161" fmla="*/ 203634 w 391535"/>
              <a:gd name="connsiteY161" fmla="*/ 44348 h 279393"/>
              <a:gd name="connsiteX162" fmla="*/ 193974 w 391535"/>
              <a:gd name="connsiteY162" fmla="*/ 39836 h 279393"/>
              <a:gd name="connsiteX163" fmla="*/ 184488 w 391535"/>
              <a:gd name="connsiteY163" fmla="*/ 35787 h 279393"/>
              <a:gd name="connsiteX164" fmla="*/ 171704 w 391535"/>
              <a:gd name="connsiteY164" fmla="*/ 32201 h 279393"/>
              <a:gd name="connsiteX165" fmla="*/ 165920 w 391535"/>
              <a:gd name="connsiteY165" fmla="*/ 33184 h 279393"/>
              <a:gd name="connsiteX166" fmla="*/ 155565 w 391535"/>
              <a:gd name="connsiteY166" fmla="*/ 30350 h 279393"/>
              <a:gd name="connsiteX167" fmla="*/ 148335 w 391535"/>
              <a:gd name="connsiteY167" fmla="*/ 27920 h 279393"/>
              <a:gd name="connsiteX168" fmla="*/ 139716 w 391535"/>
              <a:gd name="connsiteY168" fmla="*/ 33705 h 279393"/>
              <a:gd name="connsiteX169" fmla="*/ 129130 w 391535"/>
              <a:gd name="connsiteY169" fmla="*/ 40993 h 279393"/>
              <a:gd name="connsiteX170" fmla="*/ 126527 w 391535"/>
              <a:gd name="connsiteY170" fmla="*/ 40530 h 279393"/>
              <a:gd name="connsiteX171" fmla="*/ 125081 w 391535"/>
              <a:gd name="connsiteY171" fmla="*/ 40530 h 279393"/>
              <a:gd name="connsiteX172" fmla="*/ 112992 w 391535"/>
              <a:gd name="connsiteY172" fmla="*/ 63090 h 279393"/>
              <a:gd name="connsiteX173" fmla="*/ 111835 w 391535"/>
              <a:gd name="connsiteY173" fmla="*/ 67081 h 279393"/>
              <a:gd name="connsiteX174" fmla="*/ 91589 w 391535"/>
              <a:gd name="connsiteY174" fmla="*/ 78303 h 279393"/>
              <a:gd name="connsiteX175" fmla="*/ 73022 w 391535"/>
              <a:gd name="connsiteY175" fmla="*/ 89293 h 279393"/>
              <a:gd name="connsiteX176" fmla="*/ 70303 w 391535"/>
              <a:gd name="connsiteY176" fmla="*/ 97044 h 279393"/>
              <a:gd name="connsiteX177" fmla="*/ 55726 w 391535"/>
              <a:gd name="connsiteY177" fmla="*/ 102829 h 279393"/>
              <a:gd name="connsiteX178" fmla="*/ 47107 w 391535"/>
              <a:gd name="connsiteY178" fmla="*/ 98259 h 279393"/>
              <a:gd name="connsiteX179" fmla="*/ 35191 w 391535"/>
              <a:gd name="connsiteY179" fmla="*/ 94383 h 279393"/>
              <a:gd name="connsiteX180" fmla="*/ 28134 w 391535"/>
              <a:gd name="connsiteY180" fmla="*/ 93516 h 279393"/>
              <a:gd name="connsiteX181" fmla="*/ 26688 w 391535"/>
              <a:gd name="connsiteY181" fmla="*/ 93169 h 279393"/>
              <a:gd name="connsiteX182" fmla="*/ 20904 w 391535"/>
              <a:gd name="connsiteY182" fmla="*/ 96177 h 279393"/>
              <a:gd name="connsiteX183" fmla="*/ 18185 w 391535"/>
              <a:gd name="connsiteY183" fmla="*/ 105432 h 279393"/>
              <a:gd name="connsiteX184" fmla="*/ 10665 w 391535"/>
              <a:gd name="connsiteY184" fmla="*/ 122785 h 279393"/>
              <a:gd name="connsiteX185" fmla="*/ 7368 w 391535"/>
              <a:gd name="connsiteY185" fmla="*/ 127470 h 279393"/>
              <a:gd name="connsiteX186" fmla="*/ 6096 w 391535"/>
              <a:gd name="connsiteY186" fmla="*/ 131404 h 279393"/>
              <a:gd name="connsiteX187" fmla="*/ 3956 w 391535"/>
              <a:gd name="connsiteY187" fmla="*/ 150319 h 279393"/>
              <a:gd name="connsiteX188" fmla="*/ 3956 w 391535"/>
              <a:gd name="connsiteY188" fmla="*/ 162524 h 279393"/>
              <a:gd name="connsiteX189" fmla="*/ 3956 w 391535"/>
              <a:gd name="connsiteY189" fmla="*/ 179877 h 279393"/>
              <a:gd name="connsiteX190" fmla="*/ 7426 w 391535"/>
              <a:gd name="connsiteY190" fmla="*/ 202610 h 279393"/>
              <a:gd name="connsiteX191" fmla="*/ 8236 w 391535"/>
              <a:gd name="connsiteY191" fmla="*/ 211113 h 279393"/>
              <a:gd name="connsiteX192" fmla="*/ 15698 w 391535"/>
              <a:gd name="connsiteY192" fmla="*/ 213658 h 279393"/>
              <a:gd name="connsiteX193" fmla="*/ 35249 w 391535"/>
              <a:gd name="connsiteY193" fmla="*/ 225227 h 279393"/>
              <a:gd name="connsiteX194" fmla="*/ 17144 w 391535"/>
              <a:gd name="connsiteY194" fmla="*/ 253513 h 279393"/>
              <a:gd name="connsiteX195" fmla="*/ 7253 w 391535"/>
              <a:gd name="connsiteY195" fmla="*/ 264619 h 279393"/>
              <a:gd name="connsiteX196" fmla="*/ 11938 w 391535"/>
              <a:gd name="connsiteY196" fmla="*/ 271908 h 27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391535" h="279393">
                <a:moveTo>
                  <a:pt x="61279" y="279254"/>
                </a:moveTo>
                <a:cubicBezTo>
                  <a:pt x="58618" y="279312"/>
                  <a:pt x="55958" y="279138"/>
                  <a:pt x="53296" y="278733"/>
                </a:cubicBezTo>
                <a:cubicBezTo>
                  <a:pt x="39472" y="276281"/>
                  <a:pt x="25474" y="274736"/>
                  <a:pt x="11417" y="274106"/>
                </a:cubicBezTo>
                <a:cubicBezTo>
                  <a:pt x="11186" y="274193"/>
                  <a:pt x="10955" y="274193"/>
                  <a:pt x="10723" y="274106"/>
                </a:cubicBezTo>
                <a:cubicBezTo>
                  <a:pt x="7310" y="270809"/>
                  <a:pt x="4302" y="267338"/>
                  <a:pt x="4939" y="263983"/>
                </a:cubicBezTo>
                <a:cubicBezTo>
                  <a:pt x="5575" y="260628"/>
                  <a:pt x="8988" y="257794"/>
                  <a:pt x="15467" y="251662"/>
                </a:cubicBezTo>
                <a:cubicBezTo>
                  <a:pt x="23912" y="243564"/>
                  <a:pt x="35481" y="232516"/>
                  <a:pt x="32820" y="225748"/>
                </a:cubicBezTo>
                <a:cubicBezTo>
                  <a:pt x="30159" y="218980"/>
                  <a:pt x="21829" y="217129"/>
                  <a:pt x="14946" y="215683"/>
                </a:cubicBezTo>
                <a:cubicBezTo>
                  <a:pt x="10319" y="214699"/>
                  <a:pt x="6963" y="213947"/>
                  <a:pt x="5922" y="211865"/>
                </a:cubicBezTo>
                <a:cubicBezTo>
                  <a:pt x="4997" y="208800"/>
                  <a:pt x="4650" y="205578"/>
                  <a:pt x="4939" y="202379"/>
                </a:cubicBezTo>
                <a:cubicBezTo>
                  <a:pt x="5344" y="194957"/>
                  <a:pt x="4187" y="187524"/>
                  <a:pt x="1584" y="180571"/>
                </a:cubicBezTo>
                <a:cubicBezTo>
                  <a:pt x="-556" y="174550"/>
                  <a:pt x="-556" y="167967"/>
                  <a:pt x="1584" y="161946"/>
                </a:cubicBezTo>
                <a:cubicBezTo>
                  <a:pt x="2625" y="157781"/>
                  <a:pt x="3550" y="154137"/>
                  <a:pt x="1584" y="151592"/>
                </a:cubicBezTo>
                <a:cubicBezTo>
                  <a:pt x="-2176" y="145807"/>
                  <a:pt x="1179" y="136783"/>
                  <a:pt x="3435" y="130652"/>
                </a:cubicBezTo>
                <a:cubicBezTo>
                  <a:pt x="3956" y="129090"/>
                  <a:pt x="4418" y="127817"/>
                  <a:pt x="4650" y="126950"/>
                </a:cubicBezTo>
                <a:cubicBezTo>
                  <a:pt x="5459" y="124763"/>
                  <a:pt x="6790" y="122791"/>
                  <a:pt x="8467" y="121165"/>
                </a:cubicBezTo>
                <a:cubicBezTo>
                  <a:pt x="12863" y="117191"/>
                  <a:pt x="15351" y="111575"/>
                  <a:pt x="15409" y="105663"/>
                </a:cubicBezTo>
                <a:cubicBezTo>
                  <a:pt x="14831" y="101689"/>
                  <a:pt x="16045" y="97657"/>
                  <a:pt x="18706" y="94673"/>
                </a:cubicBezTo>
                <a:cubicBezTo>
                  <a:pt x="20615" y="92417"/>
                  <a:pt x="23333" y="91052"/>
                  <a:pt x="26284" y="90913"/>
                </a:cubicBezTo>
                <a:cubicBezTo>
                  <a:pt x="27266" y="90872"/>
                  <a:pt x="28192" y="91115"/>
                  <a:pt x="29002" y="91607"/>
                </a:cubicBezTo>
                <a:cubicBezTo>
                  <a:pt x="30275" y="92041"/>
                  <a:pt x="31547" y="92214"/>
                  <a:pt x="32878" y="92128"/>
                </a:cubicBezTo>
                <a:lnTo>
                  <a:pt x="36869" y="92128"/>
                </a:lnTo>
                <a:cubicBezTo>
                  <a:pt x="40281" y="92128"/>
                  <a:pt x="47281" y="92128"/>
                  <a:pt x="48900" y="97912"/>
                </a:cubicBezTo>
                <a:cubicBezTo>
                  <a:pt x="49421" y="99705"/>
                  <a:pt x="51792" y="100804"/>
                  <a:pt x="55322" y="100804"/>
                </a:cubicBezTo>
                <a:cubicBezTo>
                  <a:pt x="60122" y="100833"/>
                  <a:pt x="64749" y="99005"/>
                  <a:pt x="68221" y="95714"/>
                </a:cubicBezTo>
                <a:cubicBezTo>
                  <a:pt x="69783" y="94100"/>
                  <a:pt x="70592" y="91879"/>
                  <a:pt x="70361" y="89640"/>
                </a:cubicBezTo>
                <a:cubicBezTo>
                  <a:pt x="69725" y="82468"/>
                  <a:pt x="79847" y="79460"/>
                  <a:pt x="90491" y="76278"/>
                </a:cubicBezTo>
                <a:cubicBezTo>
                  <a:pt x="99051" y="73733"/>
                  <a:pt x="107844" y="71130"/>
                  <a:pt x="109232" y="66618"/>
                </a:cubicBezTo>
                <a:cubicBezTo>
                  <a:pt x="109637" y="65403"/>
                  <a:pt x="109984" y="64073"/>
                  <a:pt x="110389" y="62627"/>
                </a:cubicBezTo>
                <a:cubicBezTo>
                  <a:pt x="113455" y="51868"/>
                  <a:pt x="117330" y="38448"/>
                  <a:pt x="124677" y="38448"/>
                </a:cubicBezTo>
                <a:cubicBezTo>
                  <a:pt x="125429" y="38442"/>
                  <a:pt x="126238" y="38581"/>
                  <a:pt x="126932" y="38853"/>
                </a:cubicBezTo>
                <a:cubicBezTo>
                  <a:pt x="130750" y="40299"/>
                  <a:pt x="134278" y="36481"/>
                  <a:pt x="137634" y="32664"/>
                </a:cubicBezTo>
                <a:cubicBezTo>
                  <a:pt x="140989" y="28846"/>
                  <a:pt x="144112" y="25202"/>
                  <a:pt x="148277" y="25896"/>
                </a:cubicBezTo>
                <a:cubicBezTo>
                  <a:pt x="150995" y="26399"/>
                  <a:pt x="153599" y="27255"/>
                  <a:pt x="156086" y="28441"/>
                </a:cubicBezTo>
                <a:cubicBezTo>
                  <a:pt x="158978" y="30014"/>
                  <a:pt x="162218" y="30922"/>
                  <a:pt x="165514" y="31102"/>
                </a:cubicBezTo>
                <a:cubicBezTo>
                  <a:pt x="167192" y="31090"/>
                  <a:pt x="168812" y="30795"/>
                  <a:pt x="170373" y="30234"/>
                </a:cubicBezTo>
                <a:cubicBezTo>
                  <a:pt x="171646" y="29823"/>
                  <a:pt x="173035" y="29609"/>
                  <a:pt x="174365" y="29598"/>
                </a:cubicBezTo>
                <a:cubicBezTo>
                  <a:pt x="178356" y="29933"/>
                  <a:pt x="182116" y="31489"/>
                  <a:pt x="185182" y="34052"/>
                </a:cubicBezTo>
                <a:cubicBezTo>
                  <a:pt x="187496" y="36065"/>
                  <a:pt x="190330" y="37355"/>
                  <a:pt x="193396" y="37754"/>
                </a:cubicBezTo>
                <a:cubicBezTo>
                  <a:pt x="197329" y="38431"/>
                  <a:pt x="201089" y="40102"/>
                  <a:pt x="204213" y="42613"/>
                </a:cubicBezTo>
                <a:cubicBezTo>
                  <a:pt x="206873" y="44701"/>
                  <a:pt x="209939" y="46164"/>
                  <a:pt x="213236" y="46893"/>
                </a:cubicBezTo>
                <a:cubicBezTo>
                  <a:pt x="214104" y="46893"/>
                  <a:pt x="215203" y="46893"/>
                  <a:pt x="216128" y="44811"/>
                </a:cubicBezTo>
                <a:cubicBezTo>
                  <a:pt x="218674" y="39663"/>
                  <a:pt x="226483" y="39894"/>
                  <a:pt x="233482" y="40010"/>
                </a:cubicBezTo>
                <a:lnTo>
                  <a:pt x="236836" y="40010"/>
                </a:lnTo>
                <a:cubicBezTo>
                  <a:pt x="241927" y="40010"/>
                  <a:pt x="244067" y="39373"/>
                  <a:pt x="244067" y="37754"/>
                </a:cubicBezTo>
                <a:cubicBezTo>
                  <a:pt x="244067" y="33011"/>
                  <a:pt x="250777" y="31622"/>
                  <a:pt x="257892" y="30119"/>
                </a:cubicBezTo>
                <a:cubicBezTo>
                  <a:pt x="263676" y="28962"/>
                  <a:pt x="269924" y="27631"/>
                  <a:pt x="269924" y="24797"/>
                </a:cubicBezTo>
                <a:cubicBezTo>
                  <a:pt x="269924" y="16930"/>
                  <a:pt x="285483" y="-1233"/>
                  <a:pt x="295954" y="-76"/>
                </a:cubicBezTo>
                <a:cubicBezTo>
                  <a:pt x="301738" y="560"/>
                  <a:pt x="301738" y="5708"/>
                  <a:pt x="301738" y="10047"/>
                </a:cubicBezTo>
                <a:cubicBezTo>
                  <a:pt x="301738" y="14385"/>
                  <a:pt x="301738" y="20169"/>
                  <a:pt x="307522" y="22657"/>
                </a:cubicBezTo>
                <a:cubicBezTo>
                  <a:pt x="314984" y="26069"/>
                  <a:pt x="312381" y="34225"/>
                  <a:pt x="310009" y="41456"/>
                </a:cubicBezTo>
                <a:cubicBezTo>
                  <a:pt x="308274" y="46893"/>
                  <a:pt x="306481" y="52446"/>
                  <a:pt x="308969" y="55339"/>
                </a:cubicBezTo>
                <a:cubicBezTo>
                  <a:pt x="311455" y="58231"/>
                  <a:pt x="314348" y="57479"/>
                  <a:pt x="321058" y="55339"/>
                </a:cubicBezTo>
                <a:cubicBezTo>
                  <a:pt x="323661" y="54529"/>
                  <a:pt x="326495" y="53545"/>
                  <a:pt x="329445" y="52504"/>
                </a:cubicBezTo>
                <a:lnTo>
                  <a:pt x="335229" y="50595"/>
                </a:lnTo>
                <a:lnTo>
                  <a:pt x="336618" y="49381"/>
                </a:lnTo>
                <a:cubicBezTo>
                  <a:pt x="346625" y="40530"/>
                  <a:pt x="357963" y="30523"/>
                  <a:pt x="363979" y="30523"/>
                </a:cubicBezTo>
                <a:cubicBezTo>
                  <a:pt x="364731" y="30512"/>
                  <a:pt x="365483" y="30691"/>
                  <a:pt x="366177" y="31044"/>
                </a:cubicBezTo>
                <a:cubicBezTo>
                  <a:pt x="368317" y="32340"/>
                  <a:pt x="370110" y="34104"/>
                  <a:pt x="371440" y="36192"/>
                </a:cubicBezTo>
                <a:cubicBezTo>
                  <a:pt x="372886" y="38217"/>
                  <a:pt x="373580" y="38969"/>
                  <a:pt x="375952" y="38564"/>
                </a:cubicBezTo>
                <a:cubicBezTo>
                  <a:pt x="381042" y="38315"/>
                  <a:pt x="386075" y="39304"/>
                  <a:pt x="390703" y="41456"/>
                </a:cubicBezTo>
                <a:cubicBezTo>
                  <a:pt x="391049" y="41606"/>
                  <a:pt x="391281" y="41907"/>
                  <a:pt x="391339" y="42266"/>
                </a:cubicBezTo>
                <a:cubicBezTo>
                  <a:pt x="391455" y="42578"/>
                  <a:pt x="391455" y="42937"/>
                  <a:pt x="391339" y="43249"/>
                </a:cubicBezTo>
                <a:cubicBezTo>
                  <a:pt x="385323" y="49363"/>
                  <a:pt x="377109" y="52822"/>
                  <a:pt x="368548" y="52851"/>
                </a:cubicBezTo>
                <a:lnTo>
                  <a:pt x="368548" y="52851"/>
                </a:lnTo>
                <a:cubicBezTo>
                  <a:pt x="366177" y="53036"/>
                  <a:pt x="363805" y="52782"/>
                  <a:pt x="361549" y="52099"/>
                </a:cubicBezTo>
                <a:cubicBezTo>
                  <a:pt x="360219" y="51642"/>
                  <a:pt x="358772" y="51428"/>
                  <a:pt x="357384" y="51463"/>
                </a:cubicBezTo>
                <a:cubicBezTo>
                  <a:pt x="345989" y="52487"/>
                  <a:pt x="335056" y="56472"/>
                  <a:pt x="325686" y="63032"/>
                </a:cubicBezTo>
                <a:cubicBezTo>
                  <a:pt x="321347" y="65762"/>
                  <a:pt x="316430" y="67497"/>
                  <a:pt x="311340" y="68122"/>
                </a:cubicBezTo>
                <a:cubicBezTo>
                  <a:pt x="310067" y="69059"/>
                  <a:pt x="308505" y="69655"/>
                  <a:pt x="306944" y="69858"/>
                </a:cubicBezTo>
                <a:cubicBezTo>
                  <a:pt x="304399" y="69996"/>
                  <a:pt x="302143" y="71599"/>
                  <a:pt x="301160" y="73964"/>
                </a:cubicBezTo>
                <a:cubicBezTo>
                  <a:pt x="300465" y="76810"/>
                  <a:pt x="301449" y="79801"/>
                  <a:pt x="303647" y="81716"/>
                </a:cubicBezTo>
                <a:cubicBezTo>
                  <a:pt x="307117" y="84943"/>
                  <a:pt x="308911" y="89553"/>
                  <a:pt x="308563" y="94268"/>
                </a:cubicBezTo>
                <a:cubicBezTo>
                  <a:pt x="308563" y="95598"/>
                  <a:pt x="308563" y="96987"/>
                  <a:pt x="308853" y="98548"/>
                </a:cubicBezTo>
                <a:cubicBezTo>
                  <a:pt x="309431" y="103234"/>
                  <a:pt x="305266" y="107688"/>
                  <a:pt x="301275" y="112026"/>
                </a:cubicBezTo>
                <a:cubicBezTo>
                  <a:pt x="299250" y="114062"/>
                  <a:pt x="297400" y="116266"/>
                  <a:pt x="295780" y="118620"/>
                </a:cubicBezTo>
                <a:cubicBezTo>
                  <a:pt x="294218" y="121854"/>
                  <a:pt x="293756" y="125510"/>
                  <a:pt x="294450" y="129032"/>
                </a:cubicBezTo>
                <a:cubicBezTo>
                  <a:pt x="295086" y="132815"/>
                  <a:pt x="294738" y="136714"/>
                  <a:pt x="293408" y="140312"/>
                </a:cubicBezTo>
                <a:cubicBezTo>
                  <a:pt x="292483" y="142452"/>
                  <a:pt x="290285" y="143493"/>
                  <a:pt x="286583" y="143493"/>
                </a:cubicBezTo>
                <a:cubicBezTo>
                  <a:pt x="282071" y="143198"/>
                  <a:pt x="277559" y="142441"/>
                  <a:pt x="273221" y="141237"/>
                </a:cubicBezTo>
                <a:cubicBezTo>
                  <a:pt x="270212" y="140393"/>
                  <a:pt x="267089" y="139832"/>
                  <a:pt x="263966" y="139560"/>
                </a:cubicBezTo>
                <a:cubicBezTo>
                  <a:pt x="262809" y="139560"/>
                  <a:pt x="262519" y="139849"/>
                  <a:pt x="262519" y="139849"/>
                </a:cubicBezTo>
                <a:cubicBezTo>
                  <a:pt x="261305" y="141064"/>
                  <a:pt x="264544" y="145286"/>
                  <a:pt x="266858" y="148410"/>
                </a:cubicBezTo>
                <a:cubicBezTo>
                  <a:pt x="268998" y="150805"/>
                  <a:pt x="270676" y="153593"/>
                  <a:pt x="271716" y="156624"/>
                </a:cubicBezTo>
                <a:cubicBezTo>
                  <a:pt x="271890" y="158301"/>
                  <a:pt x="271370" y="159967"/>
                  <a:pt x="270270" y="161251"/>
                </a:cubicBezTo>
                <a:cubicBezTo>
                  <a:pt x="265412" y="166035"/>
                  <a:pt x="258933" y="168893"/>
                  <a:pt x="252107" y="169292"/>
                </a:cubicBezTo>
                <a:cubicBezTo>
                  <a:pt x="245340" y="169812"/>
                  <a:pt x="244819" y="176638"/>
                  <a:pt x="244472" y="189595"/>
                </a:cubicBezTo>
                <a:cubicBezTo>
                  <a:pt x="244472" y="192025"/>
                  <a:pt x="244472" y="194570"/>
                  <a:pt x="244472" y="197288"/>
                </a:cubicBezTo>
                <a:cubicBezTo>
                  <a:pt x="243894" y="208857"/>
                  <a:pt x="239034" y="213774"/>
                  <a:pt x="234696" y="213774"/>
                </a:cubicBezTo>
                <a:cubicBezTo>
                  <a:pt x="232209" y="213682"/>
                  <a:pt x="230069" y="212033"/>
                  <a:pt x="229375" y="209667"/>
                </a:cubicBezTo>
                <a:cubicBezTo>
                  <a:pt x="229027" y="208742"/>
                  <a:pt x="227465" y="208163"/>
                  <a:pt x="225094" y="208163"/>
                </a:cubicBezTo>
                <a:cubicBezTo>
                  <a:pt x="216244" y="208163"/>
                  <a:pt x="202477" y="214757"/>
                  <a:pt x="202477" y="218980"/>
                </a:cubicBezTo>
                <a:cubicBezTo>
                  <a:pt x="202477" y="225748"/>
                  <a:pt x="195594" y="225748"/>
                  <a:pt x="193048" y="225748"/>
                </a:cubicBezTo>
                <a:cubicBezTo>
                  <a:pt x="190504" y="225748"/>
                  <a:pt x="188016" y="225458"/>
                  <a:pt x="185240" y="225227"/>
                </a:cubicBezTo>
                <a:lnTo>
                  <a:pt x="182694" y="225227"/>
                </a:lnTo>
                <a:lnTo>
                  <a:pt x="181595" y="225227"/>
                </a:lnTo>
                <a:cubicBezTo>
                  <a:pt x="173555" y="225950"/>
                  <a:pt x="166324" y="230404"/>
                  <a:pt x="162044" y="237259"/>
                </a:cubicBezTo>
                <a:cubicBezTo>
                  <a:pt x="162102" y="241146"/>
                  <a:pt x="162564" y="245016"/>
                  <a:pt x="163316" y="248828"/>
                </a:cubicBezTo>
                <a:cubicBezTo>
                  <a:pt x="164705" y="254051"/>
                  <a:pt x="165052" y="259494"/>
                  <a:pt x="164358" y="264851"/>
                </a:cubicBezTo>
                <a:cubicBezTo>
                  <a:pt x="162160" y="268784"/>
                  <a:pt x="84706" y="279254"/>
                  <a:pt x="61279" y="279254"/>
                </a:cubicBezTo>
                <a:close/>
                <a:moveTo>
                  <a:pt x="11938" y="271850"/>
                </a:moveTo>
                <a:cubicBezTo>
                  <a:pt x="25936" y="272469"/>
                  <a:pt x="39877" y="274036"/>
                  <a:pt x="53702" y="276535"/>
                </a:cubicBezTo>
                <a:cubicBezTo>
                  <a:pt x="56189" y="276888"/>
                  <a:pt x="58734" y="277039"/>
                  <a:pt x="61279" y="276998"/>
                </a:cubicBezTo>
                <a:cubicBezTo>
                  <a:pt x="90201" y="276998"/>
                  <a:pt x="159152" y="265776"/>
                  <a:pt x="162449" y="263173"/>
                </a:cubicBezTo>
                <a:cubicBezTo>
                  <a:pt x="162506" y="258314"/>
                  <a:pt x="161986" y="253467"/>
                  <a:pt x="161002" y="248712"/>
                </a:cubicBezTo>
                <a:cubicBezTo>
                  <a:pt x="160135" y="244605"/>
                  <a:pt x="159730" y="240411"/>
                  <a:pt x="159788" y="236218"/>
                </a:cubicBezTo>
                <a:cubicBezTo>
                  <a:pt x="160714" y="231590"/>
                  <a:pt x="172398" y="221525"/>
                  <a:pt x="182926" y="222393"/>
                </a:cubicBezTo>
                <a:lnTo>
                  <a:pt x="185471" y="222393"/>
                </a:lnTo>
                <a:cubicBezTo>
                  <a:pt x="188248" y="222393"/>
                  <a:pt x="190850" y="222856"/>
                  <a:pt x="193106" y="222856"/>
                </a:cubicBezTo>
                <a:cubicBezTo>
                  <a:pt x="198891" y="222856"/>
                  <a:pt x="200279" y="221120"/>
                  <a:pt x="200279" y="218402"/>
                </a:cubicBezTo>
                <a:cubicBezTo>
                  <a:pt x="200279" y="211923"/>
                  <a:pt x="216244" y="205387"/>
                  <a:pt x="225152" y="205387"/>
                </a:cubicBezTo>
                <a:cubicBezTo>
                  <a:pt x="229491" y="205387"/>
                  <a:pt x="230937" y="206949"/>
                  <a:pt x="231573" y="208337"/>
                </a:cubicBezTo>
                <a:cubicBezTo>
                  <a:pt x="231977" y="209795"/>
                  <a:pt x="233250" y="210841"/>
                  <a:pt x="234754" y="210940"/>
                </a:cubicBezTo>
                <a:cubicBezTo>
                  <a:pt x="237473" y="210940"/>
                  <a:pt x="241754" y="207122"/>
                  <a:pt x="242274" y="196594"/>
                </a:cubicBezTo>
                <a:cubicBezTo>
                  <a:pt x="242274" y="193876"/>
                  <a:pt x="242274" y="191331"/>
                  <a:pt x="242274" y="188959"/>
                </a:cubicBezTo>
                <a:cubicBezTo>
                  <a:pt x="242621" y="176812"/>
                  <a:pt x="242852" y="167209"/>
                  <a:pt x="251934" y="166457"/>
                </a:cubicBezTo>
                <a:cubicBezTo>
                  <a:pt x="258123" y="166122"/>
                  <a:pt x="264023" y="163577"/>
                  <a:pt x="268535" y="159285"/>
                </a:cubicBezTo>
                <a:cubicBezTo>
                  <a:pt x="269287" y="158510"/>
                  <a:pt x="269634" y="157451"/>
                  <a:pt x="269518" y="156393"/>
                </a:cubicBezTo>
                <a:cubicBezTo>
                  <a:pt x="268478" y="153755"/>
                  <a:pt x="267031" y="151320"/>
                  <a:pt x="265122" y="149220"/>
                </a:cubicBezTo>
                <a:cubicBezTo>
                  <a:pt x="261652" y="144592"/>
                  <a:pt x="258355" y="140254"/>
                  <a:pt x="260958" y="137651"/>
                </a:cubicBezTo>
                <a:cubicBezTo>
                  <a:pt x="261825" y="136945"/>
                  <a:pt x="262924" y="136616"/>
                  <a:pt x="264023" y="136726"/>
                </a:cubicBezTo>
                <a:cubicBezTo>
                  <a:pt x="267320" y="137003"/>
                  <a:pt x="270618" y="137582"/>
                  <a:pt x="273799" y="138461"/>
                </a:cubicBezTo>
                <a:cubicBezTo>
                  <a:pt x="277964" y="139635"/>
                  <a:pt x="282302" y="140375"/>
                  <a:pt x="286641" y="140659"/>
                </a:cubicBezTo>
                <a:cubicBezTo>
                  <a:pt x="290632" y="140659"/>
                  <a:pt x="291210" y="139271"/>
                  <a:pt x="291384" y="138808"/>
                </a:cubicBezTo>
                <a:cubicBezTo>
                  <a:pt x="292540" y="135563"/>
                  <a:pt x="292830" y="132075"/>
                  <a:pt x="292251" y="128685"/>
                </a:cubicBezTo>
                <a:cubicBezTo>
                  <a:pt x="291557" y="124752"/>
                  <a:pt x="292136" y="120691"/>
                  <a:pt x="293929" y="117116"/>
                </a:cubicBezTo>
                <a:cubicBezTo>
                  <a:pt x="295606" y="114606"/>
                  <a:pt x="297573" y="112263"/>
                  <a:pt x="299714" y="110117"/>
                </a:cubicBezTo>
                <a:cubicBezTo>
                  <a:pt x="303415" y="106184"/>
                  <a:pt x="307175" y="102135"/>
                  <a:pt x="306713" y="98548"/>
                </a:cubicBezTo>
                <a:cubicBezTo>
                  <a:pt x="306713" y="96987"/>
                  <a:pt x="306713" y="95540"/>
                  <a:pt x="306713" y="94152"/>
                </a:cubicBezTo>
                <a:cubicBezTo>
                  <a:pt x="307059" y="89999"/>
                  <a:pt x="305498" y="85909"/>
                  <a:pt x="302490" y="83046"/>
                </a:cubicBezTo>
                <a:cubicBezTo>
                  <a:pt x="299598" y="80576"/>
                  <a:pt x="298441" y="76637"/>
                  <a:pt x="299482" y="72981"/>
                </a:cubicBezTo>
                <a:cubicBezTo>
                  <a:pt x="300639" y="69661"/>
                  <a:pt x="303705" y="67370"/>
                  <a:pt x="307233" y="67197"/>
                </a:cubicBezTo>
                <a:cubicBezTo>
                  <a:pt x="308505" y="66942"/>
                  <a:pt x="309721" y="66410"/>
                  <a:pt x="310761" y="65635"/>
                </a:cubicBezTo>
                <a:lnTo>
                  <a:pt x="311167" y="65635"/>
                </a:lnTo>
                <a:cubicBezTo>
                  <a:pt x="316025" y="65074"/>
                  <a:pt x="320653" y="63454"/>
                  <a:pt x="324818" y="60892"/>
                </a:cubicBezTo>
                <a:cubicBezTo>
                  <a:pt x="334593" y="54066"/>
                  <a:pt x="345989" y="49976"/>
                  <a:pt x="357847" y="49034"/>
                </a:cubicBezTo>
                <a:cubicBezTo>
                  <a:pt x="359524" y="49005"/>
                  <a:pt x="361201" y="49253"/>
                  <a:pt x="362763" y="49786"/>
                </a:cubicBezTo>
                <a:cubicBezTo>
                  <a:pt x="364499" y="50341"/>
                  <a:pt x="366292" y="50595"/>
                  <a:pt x="368143" y="50538"/>
                </a:cubicBezTo>
                <a:cubicBezTo>
                  <a:pt x="375547" y="50439"/>
                  <a:pt x="382604" y="47686"/>
                  <a:pt x="388157" y="42786"/>
                </a:cubicBezTo>
                <a:cubicBezTo>
                  <a:pt x="384339" y="41242"/>
                  <a:pt x="380232" y="40554"/>
                  <a:pt x="376126" y="40762"/>
                </a:cubicBezTo>
                <a:cubicBezTo>
                  <a:pt x="373407" y="41410"/>
                  <a:pt x="370573" y="39993"/>
                  <a:pt x="369473" y="37407"/>
                </a:cubicBezTo>
                <a:cubicBezTo>
                  <a:pt x="368317" y="35590"/>
                  <a:pt x="366755" y="34063"/>
                  <a:pt x="364904" y="32953"/>
                </a:cubicBezTo>
                <a:cubicBezTo>
                  <a:pt x="364557" y="32860"/>
                  <a:pt x="364209" y="32860"/>
                  <a:pt x="363863" y="32953"/>
                </a:cubicBezTo>
                <a:cubicBezTo>
                  <a:pt x="358715" y="32953"/>
                  <a:pt x="346509" y="43538"/>
                  <a:pt x="338007" y="51232"/>
                </a:cubicBezTo>
                <a:lnTo>
                  <a:pt x="336445" y="52620"/>
                </a:lnTo>
                <a:lnTo>
                  <a:pt x="336039" y="52620"/>
                </a:lnTo>
                <a:lnTo>
                  <a:pt x="330255" y="54587"/>
                </a:lnTo>
                <a:cubicBezTo>
                  <a:pt x="327247" y="55628"/>
                  <a:pt x="324470" y="56611"/>
                  <a:pt x="321752" y="57421"/>
                </a:cubicBezTo>
                <a:cubicBezTo>
                  <a:pt x="313885" y="59792"/>
                  <a:pt x="309836" y="59445"/>
                  <a:pt x="307349" y="56611"/>
                </a:cubicBezTo>
                <a:cubicBezTo>
                  <a:pt x="304052" y="52735"/>
                  <a:pt x="306018" y="46546"/>
                  <a:pt x="307927" y="40530"/>
                </a:cubicBezTo>
                <a:cubicBezTo>
                  <a:pt x="310588" y="32432"/>
                  <a:pt x="311919" y="26879"/>
                  <a:pt x="306655" y="24508"/>
                </a:cubicBezTo>
                <a:cubicBezTo>
                  <a:pt x="299771" y="21384"/>
                  <a:pt x="299771" y="14963"/>
                  <a:pt x="299771" y="9815"/>
                </a:cubicBezTo>
                <a:cubicBezTo>
                  <a:pt x="299771" y="4667"/>
                  <a:pt x="299771" y="2353"/>
                  <a:pt x="296185" y="1948"/>
                </a:cubicBezTo>
                <a:lnTo>
                  <a:pt x="295433" y="1948"/>
                </a:lnTo>
                <a:cubicBezTo>
                  <a:pt x="286351" y="1948"/>
                  <a:pt x="272642" y="17971"/>
                  <a:pt x="272642" y="24565"/>
                </a:cubicBezTo>
                <a:cubicBezTo>
                  <a:pt x="272642" y="29251"/>
                  <a:pt x="265932" y="30350"/>
                  <a:pt x="258817" y="32085"/>
                </a:cubicBezTo>
                <a:cubicBezTo>
                  <a:pt x="253033" y="33300"/>
                  <a:pt x="246728" y="34630"/>
                  <a:pt x="246728" y="37523"/>
                </a:cubicBezTo>
                <a:cubicBezTo>
                  <a:pt x="246728" y="42092"/>
                  <a:pt x="240596" y="42092"/>
                  <a:pt x="237299" y="42092"/>
                </a:cubicBezTo>
                <a:lnTo>
                  <a:pt x="230300" y="42092"/>
                </a:lnTo>
                <a:cubicBezTo>
                  <a:pt x="225383" y="42092"/>
                  <a:pt x="220178" y="42497"/>
                  <a:pt x="218732" y="45679"/>
                </a:cubicBezTo>
                <a:cubicBezTo>
                  <a:pt x="217922" y="47674"/>
                  <a:pt x="215955" y="48976"/>
                  <a:pt x="213814" y="48976"/>
                </a:cubicBezTo>
                <a:cubicBezTo>
                  <a:pt x="210055" y="48334"/>
                  <a:pt x="206584" y="46737"/>
                  <a:pt x="203634" y="44348"/>
                </a:cubicBezTo>
                <a:cubicBezTo>
                  <a:pt x="200799" y="42086"/>
                  <a:pt x="197503" y="40536"/>
                  <a:pt x="193974" y="39836"/>
                </a:cubicBezTo>
                <a:cubicBezTo>
                  <a:pt x="190504" y="39454"/>
                  <a:pt x="187206" y="38043"/>
                  <a:pt x="184488" y="35787"/>
                </a:cubicBezTo>
                <a:cubicBezTo>
                  <a:pt x="181075" y="32554"/>
                  <a:pt x="176273" y="31212"/>
                  <a:pt x="171704" y="32201"/>
                </a:cubicBezTo>
                <a:cubicBezTo>
                  <a:pt x="169853" y="32849"/>
                  <a:pt x="167886" y="33184"/>
                  <a:pt x="165920" y="33184"/>
                </a:cubicBezTo>
                <a:cubicBezTo>
                  <a:pt x="162276" y="33011"/>
                  <a:pt x="158746" y="32039"/>
                  <a:pt x="155565" y="30350"/>
                </a:cubicBezTo>
                <a:cubicBezTo>
                  <a:pt x="153252" y="29239"/>
                  <a:pt x="150822" y="28424"/>
                  <a:pt x="148335" y="27920"/>
                </a:cubicBezTo>
                <a:cubicBezTo>
                  <a:pt x="145327" y="27573"/>
                  <a:pt x="142550" y="30697"/>
                  <a:pt x="139716" y="33705"/>
                </a:cubicBezTo>
                <a:cubicBezTo>
                  <a:pt x="136882" y="36713"/>
                  <a:pt x="133238" y="40993"/>
                  <a:pt x="129130" y="40993"/>
                </a:cubicBezTo>
                <a:cubicBezTo>
                  <a:pt x="128263" y="40982"/>
                  <a:pt x="127337" y="40825"/>
                  <a:pt x="126527" y="40530"/>
                </a:cubicBezTo>
                <a:cubicBezTo>
                  <a:pt x="126065" y="40449"/>
                  <a:pt x="125544" y="40449"/>
                  <a:pt x="125081" y="40530"/>
                </a:cubicBezTo>
                <a:cubicBezTo>
                  <a:pt x="119297" y="40530"/>
                  <a:pt x="115537" y="54124"/>
                  <a:pt x="112992" y="63090"/>
                </a:cubicBezTo>
                <a:lnTo>
                  <a:pt x="111835" y="67081"/>
                </a:lnTo>
                <a:cubicBezTo>
                  <a:pt x="110100" y="72865"/>
                  <a:pt x="101076" y="75468"/>
                  <a:pt x="91589" y="78303"/>
                </a:cubicBezTo>
                <a:cubicBezTo>
                  <a:pt x="82103" y="81137"/>
                  <a:pt x="72559" y="84087"/>
                  <a:pt x="73022" y="89293"/>
                </a:cubicBezTo>
                <a:cubicBezTo>
                  <a:pt x="73253" y="92151"/>
                  <a:pt x="72270" y="94979"/>
                  <a:pt x="70303" y="97044"/>
                </a:cubicBezTo>
                <a:cubicBezTo>
                  <a:pt x="66369" y="100793"/>
                  <a:pt x="61163" y="102869"/>
                  <a:pt x="55726" y="102829"/>
                </a:cubicBezTo>
                <a:cubicBezTo>
                  <a:pt x="51156" y="102829"/>
                  <a:pt x="47975" y="101151"/>
                  <a:pt x="47107" y="98259"/>
                </a:cubicBezTo>
                <a:cubicBezTo>
                  <a:pt x="46008" y="94268"/>
                  <a:pt x="40224" y="94268"/>
                  <a:pt x="35191" y="94383"/>
                </a:cubicBezTo>
                <a:cubicBezTo>
                  <a:pt x="32820" y="94707"/>
                  <a:pt x="30390" y="94407"/>
                  <a:pt x="28134" y="93516"/>
                </a:cubicBezTo>
                <a:cubicBezTo>
                  <a:pt x="27672" y="93261"/>
                  <a:pt x="27209" y="93140"/>
                  <a:pt x="26688" y="93169"/>
                </a:cubicBezTo>
                <a:cubicBezTo>
                  <a:pt x="24432" y="93360"/>
                  <a:pt x="22350" y="94441"/>
                  <a:pt x="20904" y="96177"/>
                </a:cubicBezTo>
                <a:cubicBezTo>
                  <a:pt x="18706" y="98716"/>
                  <a:pt x="17723" y="102100"/>
                  <a:pt x="18185" y="105432"/>
                </a:cubicBezTo>
                <a:cubicBezTo>
                  <a:pt x="18243" y="112026"/>
                  <a:pt x="15525" y="118337"/>
                  <a:pt x="10665" y="122785"/>
                </a:cubicBezTo>
                <a:cubicBezTo>
                  <a:pt x="9277" y="124139"/>
                  <a:pt x="8178" y="125723"/>
                  <a:pt x="7368" y="127470"/>
                </a:cubicBezTo>
                <a:cubicBezTo>
                  <a:pt x="7368" y="128454"/>
                  <a:pt x="6616" y="129842"/>
                  <a:pt x="6096" y="131404"/>
                </a:cubicBezTo>
                <a:cubicBezTo>
                  <a:pt x="4129" y="136783"/>
                  <a:pt x="890" y="145749"/>
                  <a:pt x="3956" y="150319"/>
                </a:cubicBezTo>
                <a:cubicBezTo>
                  <a:pt x="5691" y="154206"/>
                  <a:pt x="5691" y="158637"/>
                  <a:pt x="3956" y="162524"/>
                </a:cubicBezTo>
                <a:cubicBezTo>
                  <a:pt x="1873" y="168123"/>
                  <a:pt x="1873" y="174278"/>
                  <a:pt x="3956" y="179877"/>
                </a:cubicBezTo>
                <a:cubicBezTo>
                  <a:pt x="6674" y="187125"/>
                  <a:pt x="7889" y="194871"/>
                  <a:pt x="7426" y="202610"/>
                </a:cubicBezTo>
                <a:cubicBezTo>
                  <a:pt x="7195" y="205468"/>
                  <a:pt x="7484" y="208342"/>
                  <a:pt x="8236" y="211113"/>
                </a:cubicBezTo>
                <a:cubicBezTo>
                  <a:pt x="8757" y="212212"/>
                  <a:pt x="12285" y="212964"/>
                  <a:pt x="15698" y="213658"/>
                </a:cubicBezTo>
                <a:cubicBezTo>
                  <a:pt x="22697" y="215162"/>
                  <a:pt x="32299" y="217187"/>
                  <a:pt x="35249" y="225227"/>
                </a:cubicBezTo>
                <a:cubicBezTo>
                  <a:pt x="38199" y="233268"/>
                  <a:pt x="26514" y="244547"/>
                  <a:pt x="17144" y="253513"/>
                </a:cubicBezTo>
                <a:cubicBezTo>
                  <a:pt x="13211" y="256614"/>
                  <a:pt x="9855" y="260373"/>
                  <a:pt x="7253" y="264619"/>
                </a:cubicBezTo>
                <a:cubicBezTo>
                  <a:pt x="6732" y="266123"/>
                  <a:pt x="9277" y="269247"/>
                  <a:pt x="11938" y="27190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2" name="Forma libre: forma 441">
            <a:extLst>
              <a:ext uri="{FF2B5EF4-FFF2-40B4-BE49-F238E27FC236}">
                <a16:creationId xmlns:a16="http://schemas.microsoft.com/office/drawing/2014/main" id="{60C40A4A-7C3D-6F79-EEA8-F9F0F5D91FDD}"/>
              </a:ext>
            </a:extLst>
          </p:cNvPr>
          <p:cNvSpPr/>
          <p:nvPr/>
        </p:nvSpPr>
        <p:spPr>
          <a:xfrm>
            <a:off x="7847508" y="3413089"/>
            <a:ext cx="454375" cy="410226"/>
          </a:xfrm>
          <a:custGeom>
            <a:avLst/>
            <a:gdLst>
              <a:gd name="connsiteX0" fmla="*/ 204081 w 454375"/>
              <a:gd name="connsiteY0" fmla="*/ 409557 h 410226"/>
              <a:gd name="connsiteX1" fmla="*/ 203386 w 454375"/>
              <a:gd name="connsiteY1" fmla="*/ 409557 h 410226"/>
              <a:gd name="connsiteX2" fmla="*/ 199222 w 454375"/>
              <a:gd name="connsiteY2" fmla="*/ 407012 h 410226"/>
              <a:gd name="connsiteX3" fmla="*/ 187653 w 454375"/>
              <a:gd name="connsiteY3" fmla="*/ 403079 h 410226"/>
              <a:gd name="connsiteX4" fmla="*/ 175043 w 454375"/>
              <a:gd name="connsiteY4" fmla="*/ 396080 h 410226"/>
              <a:gd name="connsiteX5" fmla="*/ 172844 w 454375"/>
              <a:gd name="connsiteY5" fmla="*/ 386940 h 410226"/>
              <a:gd name="connsiteX6" fmla="*/ 169606 w 454375"/>
              <a:gd name="connsiteY6" fmla="*/ 377685 h 410226"/>
              <a:gd name="connsiteX7" fmla="*/ 165151 w 454375"/>
              <a:gd name="connsiteY7" fmla="*/ 373925 h 410226"/>
              <a:gd name="connsiteX8" fmla="*/ 156706 w 454375"/>
              <a:gd name="connsiteY8" fmla="*/ 362067 h 410226"/>
              <a:gd name="connsiteX9" fmla="*/ 146410 w 454375"/>
              <a:gd name="connsiteY9" fmla="*/ 353564 h 410226"/>
              <a:gd name="connsiteX10" fmla="*/ 136577 w 454375"/>
              <a:gd name="connsiteY10" fmla="*/ 356456 h 410226"/>
              <a:gd name="connsiteX11" fmla="*/ 113786 w 454375"/>
              <a:gd name="connsiteY11" fmla="*/ 360621 h 410226"/>
              <a:gd name="connsiteX12" fmla="*/ 91400 w 454375"/>
              <a:gd name="connsiteY12" fmla="*/ 356803 h 410226"/>
              <a:gd name="connsiteX13" fmla="*/ 84459 w 454375"/>
              <a:gd name="connsiteY13" fmla="*/ 355010 h 410226"/>
              <a:gd name="connsiteX14" fmla="*/ 71849 w 454375"/>
              <a:gd name="connsiteY14" fmla="*/ 359869 h 410226"/>
              <a:gd name="connsiteX15" fmla="*/ 30606 w 454375"/>
              <a:gd name="connsiteY15" fmla="*/ 364034 h 410226"/>
              <a:gd name="connsiteX16" fmla="*/ 20078 w 454375"/>
              <a:gd name="connsiteY16" fmla="*/ 364034 h 410226"/>
              <a:gd name="connsiteX17" fmla="*/ 18979 w 454375"/>
              <a:gd name="connsiteY17" fmla="*/ 363051 h 410226"/>
              <a:gd name="connsiteX18" fmla="*/ 18227 w 454375"/>
              <a:gd name="connsiteY18" fmla="*/ 356225 h 410226"/>
              <a:gd name="connsiteX19" fmla="*/ 36159 w 454375"/>
              <a:gd name="connsiteY19" fmla="*/ 327303 h 410226"/>
              <a:gd name="connsiteX20" fmla="*/ 61263 w 454375"/>
              <a:gd name="connsiteY20" fmla="*/ 319610 h 410226"/>
              <a:gd name="connsiteX21" fmla="*/ 63924 w 454375"/>
              <a:gd name="connsiteY21" fmla="*/ 316891 h 410226"/>
              <a:gd name="connsiteX22" fmla="*/ 54611 w 454375"/>
              <a:gd name="connsiteY22" fmla="*/ 301331 h 410226"/>
              <a:gd name="connsiteX23" fmla="*/ 50157 w 454375"/>
              <a:gd name="connsiteY23" fmla="*/ 289762 h 410226"/>
              <a:gd name="connsiteX24" fmla="*/ 41596 w 454375"/>
              <a:gd name="connsiteY24" fmla="*/ 271078 h 410226"/>
              <a:gd name="connsiteX25" fmla="*/ 12674 w 454375"/>
              <a:gd name="connsiteY25" fmla="*/ 246726 h 410226"/>
              <a:gd name="connsiteX26" fmla="*/ 3014 w 454375"/>
              <a:gd name="connsiteY26" fmla="*/ 235157 h 410226"/>
              <a:gd name="connsiteX27" fmla="*/ 64 w 454375"/>
              <a:gd name="connsiteY27" fmla="*/ 232380 h 410226"/>
              <a:gd name="connsiteX28" fmla="*/ 64 w 454375"/>
              <a:gd name="connsiteY28" fmla="*/ 231108 h 410226"/>
              <a:gd name="connsiteX29" fmla="*/ 1163 w 454375"/>
              <a:gd name="connsiteY29" fmla="*/ 230414 h 410226"/>
              <a:gd name="connsiteX30" fmla="*/ 43332 w 454375"/>
              <a:gd name="connsiteY30" fmla="*/ 235099 h 410226"/>
              <a:gd name="connsiteX31" fmla="*/ 50909 w 454375"/>
              <a:gd name="connsiteY31" fmla="*/ 235562 h 410226"/>
              <a:gd name="connsiteX32" fmla="*/ 152079 w 454375"/>
              <a:gd name="connsiteY32" fmla="*/ 221737 h 410226"/>
              <a:gd name="connsiteX33" fmla="*/ 150632 w 454375"/>
              <a:gd name="connsiteY33" fmla="*/ 207276 h 410226"/>
              <a:gd name="connsiteX34" fmla="*/ 149418 w 454375"/>
              <a:gd name="connsiteY34" fmla="*/ 194781 h 410226"/>
              <a:gd name="connsiteX35" fmla="*/ 172556 w 454375"/>
              <a:gd name="connsiteY35" fmla="*/ 180957 h 410226"/>
              <a:gd name="connsiteX36" fmla="*/ 175101 w 454375"/>
              <a:gd name="connsiteY36" fmla="*/ 180957 h 410226"/>
              <a:gd name="connsiteX37" fmla="*/ 182736 w 454375"/>
              <a:gd name="connsiteY37" fmla="*/ 181419 h 410226"/>
              <a:gd name="connsiteX38" fmla="*/ 189909 w 454375"/>
              <a:gd name="connsiteY38" fmla="*/ 176965 h 410226"/>
              <a:gd name="connsiteX39" fmla="*/ 214782 w 454375"/>
              <a:gd name="connsiteY39" fmla="*/ 163950 h 410226"/>
              <a:gd name="connsiteX40" fmla="*/ 221203 w 454375"/>
              <a:gd name="connsiteY40" fmla="*/ 166900 h 410226"/>
              <a:gd name="connsiteX41" fmla="*/ 224384 w 454375"/>
              <a:gd name="connsiteY41" fmla="*/ 169504 h 410226"/>
              <a:gd name="connsiteX42" fmla="*/ 231904 w 454375"/>
              <a:gd name="connsiteY42" fmla="*/ 155158 h 410226"/>
              <a:gd name="connsiteX43" fmla="*/ 231904 w 454375"/>
              <a:gd name="connsiteY43" fmla="*/ 147523 h 410226"/>
              <a:gd name="connsiteX44" fmla="*/ 241564 w 454375"/>
              <a:gd name="connsiteY44" fmla="*/ 125021 h 410226"/>
              <a:gd name="connsiteX45" fmla="*/ 258165 w 454375"/>
              <a:gd name="connsiteY45" fmla="*/ 117849 h 410226"/>
              <a:gd name="connsiteX46" fmla="*/ 259148 w 454375"/>
              <a:gd name="connsiteY46" fmla="*/ 114956 h 410226"/>
              <a:gd name="connsiteX47" fmla="*/ 254752 w 454375"/>
              <a:gd name="connsiteY47" fmla="*/ 107784 h 410226"/>
              <a:gd name="connsiteX48" fmla="*/ 250588 w 454375"/>
              <a:gd name="connsiteY48" fmla="*/ 96215 h 410226"/>
              <a:gd name="connsiteX49" fmla="*/ 253653 w 454375"/>
              <a:gd name="connsiteY49" fmla="*/ 95289 h 410226"/>
              <a:gd name="connsiteX50" fmla="*/ 263429 w 454375"/>
              <a:gd name="connsiteY50" fmla="*/ 97025 h 410226"/>
              <a:gd name="connsiteX51" fmla="*/ 276270 w 454375"/>
              <a:gd name="connsiteY51" fmla="*/ 99223 h 410226"/>
              <a:gd name="connsiteX52" fmla="*/ 281014 w 454375"/>
              <a:gd name="connsiteY52" fmla="*/ 97372 h 410226"/>
              <a:gd name="connsiteX53" fmla="*/ 281882 w 454375"/>
              <a:gd name="connsiteY53" fmla="*/ 87249 h 410226"/>
              <a:gd name="connsiteX54" fmla="*/ 283559 w 454375"/>
              <a:gd name="connsiteY54" fmla="*/ 75680 h 410226"/>
              <a:gd name="connsiteX55" fmla="*/ 289343 w 454375"/>
              <a:gd name="connsiteY55" fmla="*/ 68681 h 410226"/>
              <a:gd name="connsiteX56" fmla="*/ 296343 w 454375"/>
              <a:gd name="connsiteY56" fmla="*/ 57112 h 410226"/>
              <a:gd name="connsiteX57" fmla="*/ 296343 w 454375"/>
              <a:gd name="connsiteY57" fmla="*/ 52716 h 410226"/>
              <a:gd name="connsiteX58" fmla="*/ 292120 w 454375"/>
              <a:gd name="connsiteY58" fmla="*/ 41610 h 410226"/>
              <a:gd name="connsiteX59" fmla="*/ 289112 w 454375"/>
              <a:gd name="connsiteY59" fmla="*/ 31545 h 410226"/>
              <a:gd name="connsiteX60" fmla="*/ 296863 w 454375"/>
              <a:gd name="connsiteY60" fmla="*/ 25760 h 410226"/>
              <a:gd name="connsiteX61" fmla="*/ 300391 w 454375"/>
              <a:gd name="connsiteY61" fmla="*/ 24199 h 410226"/>
              <a:gd name="connsiteX62" fmla="*/ 300797 w 454375"/>
              <a:gd name="connsiteY62" fmla="*/ 24199 h 410226"/>
              <a:gd name="connsiteX63" fmla="*/ 314448 w 454375"/>
              <a:gd name="connsiteY63" fmla="*/ 19455 h 410226"/>
              <a:gd name="connsiteX64" fmla="*/ 347477 w 454375"/>
              <a:gd name="connsiteY64" fmla="*/ 7597 h 410226"/>
              <a:gd name="connsiteX65" fmla="*/ 352393 w 454375"/>
              <a:gd name="connsiteY65" fmla="*/ 8349 h 410226"/>
              <a:gd name="connsiteX66" fmla="*/ 357773 w 454375"/>
              <a:gd name="connsiteY66" fmla="*/ 9101 h 410226"/>
              <a:gd name="connsiteX67" fmla="*/ 378944 w 454375"/>
              <a:gd name="connsiteY67" fmla="*/ 251 h 410226"/>
              <a:gd name="connsiteX68" fmla="*/ 380217 w 454375"/>
              <a:gd name="connsiteY68" fmla="*/ -38 h 410226"/>
              <a:gd name="connsiteX69" fmla="*/ 385018 w 454375"/>
              <a:gd name="connsiteY69" fmla="*/ 2970 h 410226"/>
              <a:gd name="connsiteX70" fmla="*/ 392248 w 454375"/>
              <a:gd name="connsiteY70" fmla="*/ 1582 h 410226"/>
              <a:gd name="connsiteX71" fmla="*/ 392826 w 454375"/>
              <a:gd name="connsiteY71" fmla="*/ 1582 h 410226"/>
              <a:gd name="connsiteX72" fmla="*/ 393694 w 454375"/>
              <a:gd name="connsiteY72" fmla="*/ 1582 h 410226"/>
              <a:gd name="connsiteX73" fmla="*/ 404511 w 454375"/>
              <a:gd name="connsiteY73" fmla="*/ 9564 h 410226"/>
              <a:gd name="connsiteX74" fmla="*/ 419030 w 454375"/>
              <a:gd name="connsiteY74" fmla="*/ 22695 h 410226"/>
              <a:gd name="connsiteX75" fmla="*/ 432335 w 454375"/>
              <a:gd name="connsiteY75" fmla="*/ 42246 h 410226"/>
              <a:gd name="connsiteX76" fmla="*/ 453795 w 454375"/>
              <a:gd name="connsiteY76" fmla="*/ 53815 h 410226"/>
              <a:gd name="connsiteX77" fmla="*/ 454199 w 454375"/>
              <a:gd name="connsiteY77" fmla="*/ 55203 h 410226"/>
              <a:gd name="connsiteX78" fmla="*/ 443903 w 454375"/>
              <a:gd name="connsiteY78" fmla="*/ 72556 h 410226"/>
              <a:gd name="connsiteX79" fmla="*/ 436383 w 454375"/>
              <a:gd name="connsiteY79" fmla="*/ 75217 h 410226"/>
              <a:gd name="connsiteX80" fmla="*/ 417122 w 454375"/>
              <a:gd name="connsiteY80" fmla="*/ 83258 h 410226"/>
              <a:gd name="connsiteX81" fmla="*/ 411337 w 454375"/>
              <a:gd name="connsiteY81" fmla="*/ 84762 h 410226"/>
              <a:gd name="connsiteX82" fmla="*/ 411337 w 454375"/>
              <a:gd name="connsiteY82" fmla="*/ 84762 h 410226"/>
              <a:gd name="connsiteX83" fmla="*/ 393174 w 454375"/>
              <a:gd name="connsiteY83" fmla="*/ 80308 h 410226"/>
              <a:gd name="connsiteX84" fmla="*/ 375415 w 454375"/>
              <a:gd name="connsiteY84" fmla="*/ 75912 h 410226"/>
              <a:gd name="connsiteX85" fmla="*/ 360954 w 454375"/>
              <a:gd name="connsiteY85" fmla="*/ 85282 h 410226"/>
              <a:gd name="connsiteX86" fmla="*/ 361938 w 454375"/>
              <a:gd name="connsiteY86" fmla="*/ 88926 h 410226"/>
              <a:gd name="connsiteX87" fmla="*/ 366797 w 454375"/>
              <a:gd name="connsiteY87" fmla="*/ 115651 h 410226"/>
              <a:gd name="connsiteX88" fmla="*/ 381605 w 454375"/>
              <a:gd name="connsiteY88" fmla="*/ 140581 h 410226"/>
              <a:gd name="connsiteX89" fmla="*/ 384324 w 454375"/>
              <a:gd name="connsiteY89" fmla="*/ 140292 h 410226"/>
              <a:gd name="connsiteX90" fmla="*/ 398900 w 454375"/>
              <a:gd name="connsiteY90" fmla="*/ 150010 h 410226"/>
              <a:gd name="connsiteX91" fmla="*/ 395082 w 454375"/>
              <a:gd name="connsiteY91" fmla="*/ 154638 h 410226"/>
              <a:gd name="connsiteX92" fmla="*/ 381894 w 454375"/>
              <a:gd name="connsiteY92" fmla="*/ 174131 h 410226"/>
              <a:gd name="connsiteX93" fmla="*/ 381547 w 454375"/>
              <a:gd name="connsiteY93" fmla="*/ 181188 h 410226"/>
              <a:gd name="connsiteX94" fmla="*/ 375763 w 454375"/>
              <a:gd name="connsiteY94" fmla="*/ 195649 h 410226"/>
              <a:gd name="connsiteX95" fmla="*/ 363616 w 454375"/>
              <a:gd name="connsiteY95" fmla="*/ 207461 h 410226"/>
              <a:gd name="connsiteX96" fmla="*/ 363789 w 454375"/>
              <a:gd name="connsiteY96" fmla="*/ 209590 h 410226"/>
              <a:gd name="connsiteX97" fmla="*/ 352220 w 454375"/>
              <a:gd name="connsiteY97" fmla="*/ 221158 h 410226"/>
              <a:gd name="connsiteX98" fmla="*/ 347245 w 454375"/>
              <a:gd name="connsiteY98" fmla="*/ 223299 h 410226"/>
              <a:gd name="connsiteX99" fmla="*/ 343775 w 454375"/>
              <a:gd name="connsiteY99" fmla="*/ 233595 h 410226"/>
              <a:gd name="connsiteX100" fmla="*/ 336255 w 454375"/>
              <a:gd name="connsiteY100" fmla="*/ 252742 h 410226"/>
              <a:gd name="connsiteX101" fmla="*/ 328851 w 454375"/>
              <a:gd name="connsiteY101" fmla="*/ 255923 h 410226"/>
              <a:gd name="connsiteX102" fmla="*/ 313927 w 454375"/>
              <a:gd name="connsiteY102" fmla="*/ 266104 h 410226"/>
              <a:gd name="connsiteX103" fmla="*/ 298425 w 454375"/>
              <a:gd name="connsiteY103" fmla="*/ 287679 h 410226"/>
              <a:gd name="connsiteX104" fmla="*/ 297441 w 454375"/>
              <a:gd name="connsiteY104" fmla="*/ 287679 h 410226"/>
              <a:gd name="connsiteX105" fmla="*/ 293913 w 454375"/>
              <a:gd name="connsiteY105" fmla="*/ 286812 h 410226"/>
              <a:gd name="connsiteX106" fmla="*/ 285815 w 454375"/>
              <a:gd name="connsiteY106" fmla="*/ 285308 h 410226"/>
              <a:gd name="connsiteX107" fmla="*/ 280378 w 454375"/>
              <a:gd name="connsiteY107" fmla="*/ 288200 h 410226"/>
              <a:gd name="connsiteX108" fmla="*/ 275866 w 454375"/>
              <a:gd name="connsiteY108" fmla="*/ 290745 h 410226"/>
              <a:gd name="connsiteX109" fmla="*/ 266957 w 454375"/>
              <a:gd name="connsiteY109" fmla="*/ 288142 h 410226"/>
              <a:gd name="connsiteX110" fmla="*/ 260537 w 454375"/>
              <a:gd name="connsiteY110" fmla="*/ 286060 h 410226"/>
              <a:gd name="connsiteX111" fmla="*/ 259669 w 454375"/>
              <a:gd name="connsiteY111" fmla="*/ 286349 h 410226"/>
              <a:gd name="connsiteX112" fmla="*/ 257298 w 454375"/>
              <a:gd name="connsiteY112" fmla="*/ 288547 h 410226"/>
              <a:gd name="connsiteX113" fmla="*/ 239481 w 454375"/>
              <a:gd name="connsiteY113" fmla="*/ 311396 h 410226"/>
              <a:gd name="connsiteX114" fmla="*/ 247001 w 454375"/>
              <a:gd name="connsiteY114" fmla="*/ 318800 h 410226"/>
              <a:gd name="connsiteX115" fmla="*/ 256777 w 454375"/>
              <a:gd name="connsiteY115" fmla="*/ 330947 h 410226"/>
              <a:gd name="connsiteX116" fmla="*/ 268345 w 454375"/>
              <a:gd name="connsiteY116" fmla="*/ 358076 h 410226"/>
              <a:gd name="connsiteX117" fmla="*/ 278179 w 454375"/>
              <a:gd name="connsiteY117" fmla="*/ 384279 h 410226"/>
              <a:gd name="connsiteX118" fmla="*/ 264701 w 454375"/>
              <a:gd name="connsiteY118" fmla="*/ 391163 h 410226"/>
              <a:gd name="connsiteX119" fmla="*/ 256546 w 454375"/>
              <a:gd name="connsiteY119" fmla="*/ 390122 h 410226"/>
              <a:gd name="connsiteX120" fmla="*/ 248100 w 454375"/>
              <a:gd name="connsiteY120" fmla="*/ 390700 h 410226"/>
              <a:gd name="connsiteX121" fmla="*/ 239481 w 454375"/>
              <a:gd name="connsiteY121" fmla="*/ 392146 h 410226"/>
              <a:gd name="connsiteX122" fmla="*/ 230689 w 454375"/>
              <a:gd name="connsiteY122" fmla="*/ 391221 h 410226"/>
              <a:gd name="connsiteX123" fmla="*/ 225830 w 454375"/>
              <a:gd name="connsiteY123" fmla="*/ 390758 h 410226"/>
              <a:gd name="connsiteX124" fmla="*/ 211253 w 454375"/>
              <a:gd name="connsiteY124" fmla="*/ 401575 h 410226"/>
              <a:gd name="connsiteX125" fmla="*/ 206915 w 454375"/>
              <a:gd name="connsiteY125" fmla="*/ 408111 h 410226"/>
              <a:gd name="connsiteX126" fmla="*/ 205238 w 454375"/>
              <a:gd name="connsiteY126" fmla="*/ 410078 h 410226"/>
              <a:gd name="connsiteX127" fmla="*/ 204081 w 454375"/>
              <a:gd name="connsiteY127" fmla="*/ 409557 h 410226"/>
              <a:gd name="connsiteX128" fmla="*/ 146236 w 454375"/>
              <a:gd name="connsiteY128" fmla="*/ 351077 h 410226"/>
              <a:gd name="connsiteX129" fmla="*/ 158789 w 454375"/>
              <a:gd name="connsiteY129" fmla="*/ 361581 h 410226"/>
              <a:gd name="connsiteX130" fmla="*/ 158789 w 454375"/>
              <a:gd name="connsiteY130" fmla="*/ 361662 h 410226"/>
              <a:gd name="connsiteX131" fmla="*/ 166424 w 454375"/>
              <a:gd name="connsiteY131" fmla="*/ 371959 h 410226"/>
              <a:gd name="connsiteX132" fmla="*/ 170936 w 454375"/>
              <a:gd name="connsiteY132" fmla="*/ 375776 h 410226"/>
              <a:gd name="connsiteX133" fmla="*/ 174928 w 454375"/>
              <a:gd name="connsiteY133" fmla="*/ 386593 h 410226"/>
              <a:gd name="connsiteX134" fmla="*/ 176778 w 454375"/>
              <a:gd name="connsiteY134" fmla="*/ 394691 h 410226"/>
              <a:gd name="connsiteX135" fmla="*/ 188347 w 454375"/>
              <a:gd name="connsiteY135" fmla="*/ 400476 h 410226"/>
              <a:gd name="connsiteX136" fmla="*/ 200436 w 454375"/>
              <a:gd name="connsiteY136" fmla="*/ 404525 h 410226"/>
              <a:gd name="connsiteX137" fmla="*/ 204196 w 454375"/>
              <a:gd name="connsiteY137" fmla="*/ 406723 h 410226"/>
              <a:gd name="connsiteX138" fmla="*/ 205238 w 454375"/>
              <a:gd name="connsiteY138" fmla="*/ 405508 h 410226"/>
              <a:gd name="connsiteX139" fmla="*/ 209287 w 454375"/>
              <a:gd name="connsiteY139" fmla="*/ 399377 h 410226"/>
              <a:gd name="connsiteX140" fmla="*/ 225830 w 454375"/>
              <a:gd name="connsiteY140" fmla="*/ 387345 h 410226"/>
              <a:gd name="connsiteX141" fmla="*/ 231094 w 454375"/>
              <a:gd name="connsiteY141" fmla="*/ 387924 h 410226"/>
              <a:gd name="connsiteX142" fmla="*/ 239481 w 454375"/>
              <a:gd name="connsiteY142" fmla="*/ 388791 h 410226"/>
              <a:gd name="connsiteX143" fmla="*/ 247464 w 454375"/>
              <a:gd name="connsiteY143" fmla="*/ 387461 h 410226"/>
              <a:gd name="connsiteX144" fmla="*/ 253248 w 454375"/>
              <a:gd name="connsiteY144" fmla="*/ 386362 h 410226"/>
              <a:gd name="connsiteX145" fmla="*/ 257182 w 454375"/>
              <a:gd name="connsiteY145" fmla="*/ 386825 h 410226"/>
              <a:gd name="connsiteX146" fmla="*/ 264875 w 454375"/>
              <a:gd name="connsiteY146" fmla="*/ 387808 h 410226"/>
              <a:gd name="connsiteX147" fmla="*/ 276444 w 454375"/>
              <a:gd name="connsiteY147" fmla="*/ 382023 h 410226"/>
              <a:gd name="connsiteX148" fmla="*/ 266899 w 454375"/>
              <a:gd name="connsiteY148" fmla="*/ 358886 h 410226"/>
              <a:gd name="connsiteX149" fmla="*/ 254694 w 454375"/>
              <a:gd name="connsiteY149" fmla="*/ 329964 h 410226"/>
              <a:gd name="connsiteX150" fmla="*/ 246133 w 454375"/>
              <a:gd name="connsiteY150" fmla="*/ 320015 h 410226"/>
              <a:gd name="connsiteX151" fmla="*/ 237399 w 454375"/>
              <a:gd name="connsiteY151" fmla="*/ 310644 h 410226"/>
              <a:gd name="connsiteX152" fmla="*/ 255910 w 454375"/>
              <a:gd name="connsiteY152" fmla="*/ 286117 h 410226"/>
              <a:gd name="connsiteX153" fmla="*/ 258281 w 454375"/>
              <a:gd name="connsiteY153" fmla="*/ 283977 h 410226"/>
              <a:gd name="connsiteX154" fmla="*/ 267999 w 454375"/>
              <a:gd name="connsiteY154" fmla="*/ 285308 h 410226"/>
              <a:gd name="connsiteX155" fmla="*/ 276039 w 454375"/>
              <a:gd name="connsiteY155" fmla="*/ 287737 h 410226"/>
              <a:gd name="connsiteX156" fmla="*/ 278526 w 454375"/>
              <a:gd name="connsiteY156" fmla="*/ 286407 h 410226"/>
              <a:gd name="connsiteX157" fmla="*/ 285988 w 454375"/>
              <a:gd name="connsiteY157" fmla="*/ 282300 h 410226"/>
              <a:gd name="connsiteX158" fmla="*/ 294723 w 454375"/>
              <a:gd name="connsiteY158" fmla="*/ 283862 h 410226"/>
              <a:gd name="connsiteX159" fmla="*/ 298078 w 454375"/>
              <a:gd name="connsiteY159" fmla="*/ 284729 h 410226"/>
              <a:gd name="connsiteX160" fmla="*/ 311844 w 454375"/>
              <a:gd name="connsiteY160" fmla="*/ 265236 h 410226"/>
              <a:gd name="connsiteX161" fmla="*/ 328330 w 454375"/>
              <a:gd name="connsiteY161" fmla="*/ 253089 h 410226"/>
              <a:gd name="connsiteX162" fmla="*/ 334808 w 454375"/>
              <a:gd name="connsiteY162" fmla="*/ 250486 h 410226"/>
              <a:gd name="connsiteX163" fmla="*/ 341750 w 454375"/>
              <a:gd name="connsiteY163" fmla="*/ 232264 h 410226"/>
              <a:gd name="connsiteX164" fmla="*/ 345394 w 454375"/>
              <a:gd name="connsiteY164" fmla="*/ 221679 h 410226"/>
              <a:gd name="connsiteX165" fmla="*/ 351873 w 454375"/>
              <a:gd name="connsiteY165" fmla="*/ 218324 h 410226"/>
              <a:gd name="connsiteX166" fmla="*/ 361475 w 454375"/>
              <a:gd name="connsiteY166" fmla="*/ 209243 h 410226"/>
              <a:gd name="connsiteX167" fmla="*/ 373449 w 454375"/>
              <a:gd name="connsiteY167" fmla="*/ 193191 h 410226"/>
              <a:gd name="connsiteX168" fmla="*/ 375357 w 454375"/>
              <a:gd name="connsiteY168" fmla="*/ 193046 h 410226"/>
              <a:gd name="connsiteX169" fmla="*/ 379407 w 454375"/>
              <a:gd name="connsiteY169" fmla="*/ 180841 h 410226"/>
              <a:gd name="connsiteX170" fmla="*/ 379754 w 454375"/>
              <a:gd name="connsiteY170" fmla="*/ 173553 h 410226"/>
              <a:gd name="connsiteX171" fmla="*/ 394620 w 454375"/>
              <a:gd name="connsiteY171" fmla="*/ 152092 h 410226"/>
              <a:gd name="connsiteX172" fmla="*/ 396760 w 454375"/>
              <a:gd name="connsiteY172" fmla="*/ 149952 h 410226"/>
              <a:gd name="connsiteX173" fmla="*/ 384439 w 454375"/>
              <a:gd name="connsiteY173" fmla="*/ 142201 h 410226"/>
              <a:gd name="connsiteX174" fmla="*/ 382183 w 454375"/>
              <a:gd name="connsiteY174" fmla="*/ 142201 h 410226"/>
              <a:gd name="connsiteX175" fmla="*/ 380911 w 454375"/>
              <a:gd name="connsiteY175" fmla="*/ 142201 h 410226"/>
              <a:gd name="connsiteX176" fmla="*/ 364714 w 454375"/>
              <a:gd name="connsiteY176" fmla="*/ 115303 h 410226"/>
              <a:gd name="connsiteX177" fmla="*/ 364714 w 454375"/>
              <a:gd name="connsiteY177" fmla="*/ 114956 h 410226"/>
              <a:gd name="connsiteX178" fmla="*/ 360954 w 454375"/>
              <a:gd name="connsiteY178" fmla="*/ 90083 h 410226"/>
              <a:gd name="connsiteX179" fmla="*/ 358930 w 454375"/>
              <a:gd name="connsiteY179" fmla="*/ 83894 h 410226"/>
              <a:gd name="connsiteX180" fmla="*/ 375589 w 454375"/>
              <a:gd name="connsiteY180" fmla="*/ 72904 h 410226"/>
              <a:gd name="connsiteX181" fmla="*/ 394042 w 454375"/>
              <a:gd name="connsiteY181" fmla="*/ 77415 h 410226"/>
              <a:gd name="connsiteX182" fmla="*/ 411395 w 454375"/>
              <a:gd name="connsiteY182" fmla="*/ 81754 h 410226"/>
              <a:gd name="connsiteX183" fmla="*/ 411395 w 454375"/>
              <a:gd name="connsiteY183" fmla="*/ 81754 h 410226"/>
              <a:gd name="connsiteX184" fmla="*/ 415790 w 454375"/>
              <a:gd name="connsiteY184" fmla="*/ 80655 h 410226"/>
              <a:gd name="connsiteX185" fmla="*/ 435747 w 454375"/>
              <a:gd name="connsiteY185" fmla="*/ 72325 h 410226"/>
              <a:gd name="connsiteX186" fmla="*/ 442862 w 454375"/>
              <a:gd name="connsiteY186" fmla="*/ 69780 h 410226"/>
              <a:gd name="connsiteX187" fmla="*/ 451770 w 454375"/>
              <a:gd name="connsiteY187" fmla="*/ 54393 h 410226"/>
              <a:gd name="connsiteX188" fmla="*/ 431351 w 454375"/>
              <a:gd name="connsiteY188" fmla="*/ 43692 h 410226"/>
              <a:gd name="connsiteX189" fmla="*/ 416774 w 454375"/>
              <a:gd name="connsiteY189" fmla="*/ 22059 h 410226"/>
              <a:gd name="connsiteX190" fmla="*/ 403181 w 454375"/>
              <a:gd name="connsiteY190" fmla="*/ 10779 h 410226"/>
              <a:gd name="connsiteX191" fmla="*/ 392711 w 454375"/>
              <a:gd name="connsiteY191" fmla="*/ 3028 h 410226"/>
              <a:gd name="connsiteX192" fmla="*/ 392711 w 454375"/>
              <a:gd name="connsiteY192" fmla="*/ 3028 h 410226"/>
              <a:gd name="connsiteX193" fmla="*/ 385018 w 454375"/>
              <a:gd name="connsiteY193" fmla="*/ 4589 h 410226"/>
              <a:gd name="connsiteX194" fmla="*/ 383976 w 454375"/>
              <a:gd name="connsiteY194" fmla="*/ 4300 h 410226"/>
              <a:gd name="connsiteX195" fmla="*/ 380043 w 454375"/>
              <a:gd name="connsiteY195" fmla="*/ 1639 h 410226"/>
              <a:gd name="connsiteX196" fmla="*/ 357831 w 454375"/>
              <a:gd name="connsiteY196" fmla="*/ 10605 h 410226"/>
              <a:gd name="connsiteX197" fmla="*/ 351063 w 454375"/>
              <a:gd name="connsiteY197" fmla="*/ 10432 h 410226"/>
              <a:gd name="connsiteX198" fmla="*/ 346898 w 454375"/>
              <a:gd name="connsiteY198" fmla="*/ 9796 h 410226"/>
              <a:gd name="connsiteX199" fmla="*/ 315200 w 454375"/>
              <a:gd name="connsiteY199" fmla="*/ 21364 h 410226"/>
              <a:gd name="connsiteX200" fmla="*/ 300854 w 454375"/>
              <a:gd name="connsiteY200" fmla="*/ 26455 h 410226"/>
              <a:gd name="connsiteX201" fmla="*/ 296458 w 454375"/>
              <a:gd name="connsiteY201" fmla="*/ 28190 h 410226"/>
              <a:gd name="connsiteX202" fmla="*/ 290674 w 454375"/>
              <a:gd name="connsiteY202" fmla="*/ 32297 h 410226"/>
              <a:gd name="connsiteX203" fmla="*/ 293161 w 454375"/>
              <a:gd name="connsiteY203" fmla="*/ 40048 h 410226"/>
              <a:gd name="connsiteX204" fmla="*/ 298078 w 454375"/>
              <a:gd name="connsiteY204" fmla="*/ 52600 h 410226"/>
              <a:gd name="connsiteX205" fmla="*/ 298367 w 454375"/>
              <a:gd name="connsiteY205" fmla="*/ 56881 h 410226"/>
              <a:gd name="connsiteX206" fmla="*/ 290789 w 454375"/>
              <a:gd name="connsiteY206" fmla="*/ 70358 h 410226"/>
              <a:gd name="connsiteX207" fmla="*/ 285294 w 454375"/>
              <a:gd name="connsiteY207" fmla="*/ 76953 h 410226"/>
              <a:gd name="connsiteX208" fmla="*/ 283964 w 454375"/>
              <a:gd name="connsiteY208" fmla="*/ 87365 h 410226"/>
              <a:gd name="connsiteX209" fmla="*/ 282922 w 454375"/>
              <a:gd name="connsiteY209" fmla="*/ 98644 h 410226"/>
              <a:gd name="connsiteX210" fmla="*/ 276097 w 454375"/>
              <a:gd name="connsiteY210" fmla="*/ 101826 h 410226"/>
              <a:gd name="connsiteX211" fmla="*/ 262735 w 454375"/>
              <a:gd name="connsiteY211" fmla="*/ 99570 h 410226"/>
              <a:gd name="connsiteX212" fmla="*/ 253480 w 454375"/>
              <a:gd name="connsiteY212" fmla="*/ 97892 h 410226"/>
              <a:gd name="connsiteX213" fmla="*/ 252034 w 454375"/>
              <a:gd name="connsiteY213" fmla="*/ 98182 h 410226"/>
              <a:gd name="connsiteX214" fmla="*/ 256372 w 454375"/>
              <a:gd name="connsiteY214" fmla="*/ 106742 h 410226"/>
              <a:gd name="connsiteX215" fmla="*/ 261231 w 454375"/>
              <a:gd name="connsiteY215" fmla="*/ 114956 h 410226"/>
              <a:gd name="connsiteX216" fmla="*/ 259785 w 454375"/>
              <a:gd name="connsiteY216" fmla="*/ 119584 h 410226"/>
              <a:gd name="connsiteX217" fmla="*/ 241621 w 454375"/>
              <a:gd name="connsiteY217" fmla="*/ 127624 h 410226"/>
              <a:gd name="connsiteX218" fmla="*/ 233986 w 454375"/>
              <a:gd name="connsiteY218" fmla="*/ 147928 h 410226"/>
              <a:gd name="connsiteX219" fmla="*/ 233986 w 454375"/>
              <a:gd name="connsiteY219" fmla="*/ 155621 h 410226"/>
              <a:gd name="connsiteX220" fmla="*/ 224210 w 454375"/>
              <a:gd name="connsiteY220" fmla="*/ 172107 h 410226"/>
              <a:gd name="connsiteX221" fmla="*/ 218889 w 454375"/>
              <a:gd name="connsiteY221" fmla="*/ 168000 h 410226"/>
              <a:gd name="connsiteX222" fmla="*/ 214609 w 454375"/>
              <a:gd name="connsiteY222" fmla="*/ 166496 h 410226"/>
              <a:gd name="connsiteX223" fmla="*/ 191991 w 454375"/>
              <a:gd name="connsiteY223" fmla="*/ 177312 h 410226"/>
              <a:gd name="connsiteX224" fmla="*/ 182563 w 454375"/>
              <a:gd name="connsiteY224" fmla="*/ 184080 h 410226"/>
              <a:gd name="connsiteX225" fmla="*/ 174754 w 454375"/>
              <a:gd name="connsiteY225" fmla="*/ 183560 h 410226"/>
              <a:gd name="connsiteX226" fmla="*/ 172208 w 454375"/>
              <a:gd name="connsiteY226" fmla="*/ 183560 h 410226"/>
              <a:gd name="connsiteX227" fmla="*/ 171110 w 454375"/>
              <a:gd name="connsiteY227" fmla="*/ 183560 h 410226"/>
              <a:gd name="connsiteX228" fmla="*/ 151558 w 454375"/>
              <a:gd name="connsiteY228" fmla="*/ 195591 h 410226"/>
              <a:gd name="connsiteX229" fmla="*/ 152831 w 454375"/>
              <a:gd name="connsiteY229" fmla="*/ 207160 h 410226"/>
              <a:gd name="connsiteX230" fmla="*/ 153872 w 454375"/>
              <a:gd name="connsiteY230" fmla="*/ 223183 h 410226"/>
              <a:gd name="connsiteX231" fmla="*/ 50851 w 454375"/>
              <a:gd name="connsiteY231" fmla="*/ 238049 h 410226"/>
              <a:gd name="connsiteX232" fmla="*/ 42869 w 454375"/>
              <a:gd name="connsiteY232" fmla="*/ 237528 h 410226"/>
              <a:gd name="connsiteX233" fmla="*/ 4055 w 454375"/>
              <a:gd name="connsiteY233" fmla="*/ 233074 h 410226"/>
              <a:gd name="connsiteX234" fmla="*/ 4749 w 454375"/>
              <a:gd name="connsiteY234" fmla="*/ 233711 h 410226"/>
              <a:gd name="connsiteX235" fmla="*/ 14930 w 454375"/>
              <a:gd name="connsiteY235" fmla="*/ 246089 h 410226"/>
              <a:gd name="connsiteX236" fmla="*/ 42348 w 454375"/>
              <a:gd name="connsiteY236" fmla="*/ 269227 h 410226"/>
              <a:gd name="connsiteX237" fmla="*/ 52239 w 454375"/>
              <a:gd name="connsiteY237" fmla="*/ 289762 h 410226"/>
              <a:gd name="connsiteX238" fmla="*/ 55189 w 454375"/>
              <a:gd name="connsiteY238" fmla="*/ 299364 h 410226"/>
              <a:gd name="connsiteX239" fmla="*/ 66006 w 454375"/>
              <a:gd name="connsiteY239" fmla="*/ 317354 h 410226"/>
              <a:gd name="connsiteX240" fmla="*/ 61437 w 454375"/>
              <a:gd name="connsiteY240" fmla="*/ 322097 h 410226"/>
              <a:gd name="connsiteX241" fmla="*/ 37026 w 454375"/>
              <a:gd name="connsiteY241" fmla="*/ 329559 h 410226"/>
              <a:gd name="connsiteX242" fmla="*/ 20367 w 454375"/>
              <a:gd name="connsiteY242" fmla="*/ 356456 h 410226"/>
              <a:gd name="connsiteX243" fmla="*/ 20946 w 454375"/>
              <a:gd name="connsiteY243" fmla="*/ 362241 h 410226"/>
              <a:gd name="connsiteX244" fmla="*/ 30490 w 454375"/>
              <a:gd name="connsiteY244" fmla="*/ 362241 h 410226"/>
              <a:gd name="connsiteX245" fmla="*/ 70056 w 454375"/>
              <a:gd name="connsiteY245" fmla="*/ 358828 h 410226"/>
              <a:gd name="connsiteX246" fmla="*/ 84343 w 454375"/>
              <a:gd name="connsiteY246" fmla="*/ 353043 h 410226"/>
              <a:gd name="connsiteX247" fmla="*/ 92499 w 454375"/>
              <a:gd name="connsiteY247" fmla="*/ 355241 h 410226"/>
              <a:gd name="connsiteX248" fmla="*/ 113670 w 454375"/>
              <a:gd name="connsiteY248" fmla="*/ 358654 h 410226"/>
              <a:gd name="connsiteX249" fmla="*/ 135362 w 454375"/>
              <a:gd name="connsiteY249" fmla="*/ 354779 h 410226"/>
              <a:gd name="connsiteX250" fmla="*/ 146236 w 454375"/>
              <a:gd name="connsiteY250" fmla="*/ 351308 h 41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454375" h="410226">
                <a:moveTo>
                  <a:pt x="204081" y="409557"/>
                </a:moveTo>
                <a:cubicBezTo>
                  <a:pt x="203850" y="409644"/>
                  <a:pt x="203618" y="409644"/>
                  <a:pt x="203386" y="409557"/>
                </a:cubicBezTo>
                <a:cubicBezTo>
                  <a:pt x="202114" y="408551"/>
                  <a:pt x="200726" y="407695"/>
                  <a:pt x="199222" y="407012"/>
                </a:cubicBezTo>
                <a:cubicBezTo>
                  <a:pt x="195520" y="405346"/>
                  <a:pt x="191644" y="404033"/>
                  <a:pt x="187653" y="403079"/>
                </a:cubicBezTo>
                <a:cubicBezTo>
                  <a:pt x="182678" y="402518"/>
                  <a:pt x="178166" y="399996"/>
                  <a:pt x="175043" y="396080"/>
                </a:cubicBezTo>
                <a:cubicBezTo>
                  <a:pt x="173481" y="393291"/>
                  <a:pt x="172729" y="390133"/>
                  <a:pt x="172844" y="386940"/>
                </a:cubicBezTo>
                <a:cubicBezTo>
                  <a:pt x="173192" y="383527"/>
                  <a:pt x="171977" y="380138"/>
                  <a:pt x="169606" y="377685"/>
                </a:cubicBezTo>
                <a:cubicBezTo>
                  <a:pt x="168102" y="376297"/>
                  <a:pt x="166598" y="375082"/>
                  <a:pt x="165151" y="373925"/>
                </a:cubicBezTo>
                <a:cubicBezTo>
                  <a:pt x="160813" y="370397"/>
                  <a:pt x="157053" y="367331"/>
                  <a:pt x="156706" y="362067"/>
                </a:cubicBezTo>
                <a:cubicBezTo>
                  <a:pt x="156128" y="356919"/>
                  <a:pt x="151558" y="353159"/>
                  <a:pt x="146410" y="353564"/>
                </a:cubicBezTo>
                <a:cubicBezTo>
                  <a:pt x="142939" y="353703"/>
                  <a:pt x="139584" y="354692"/>
                  <a:pt x="136577" y="356456"/>
                </a:cubicBezTo>
                <a:cubicBezTo>
                  <a:pt x="129404" y="359586"/>
                  <a:pt x="121595" y="361014"/>
                  <a:pt x="113786" y="360621"/>
                </a:cubicBezTo>
                <a:cubicBezTo>
                  <a:pt x="106151" y="361107"/>
                  <a:pt x="98457" y="359800"/>
                  <a:pt x="91400" y="356803"/>
                </a:cubicBezTo>
                <a:cubicBezTo>
                  <a:pt x="89318" y="355560"/>
                  <a:pt x="86888" y="354941"/>
                  <a:pt x="84459" y="355010"/>
                </a:cubicBezTo>
                <a:cubicBezTo>
                  <a:pt x="79773" y="354958"/>
                  <a:pt x="75261" y="356699"/>
                  <a:pt x="71849" y="359869"/>
                </a:cubicBezTo>
                <a:cubicBezTo>
                  <a:pt x="68378" y="363745"/>
                  <a:pt x="39398" y="364034"/>
                  <a:pt x="30606" y="364034"/>
                </a:cubicBezTo>
                <a:cubicBezTo>
                  <a:pt x="27019" y="364034"/>
                  <a:pt x="23491" y="364034"/>
                  <a:pt x="20078" y="364034"/>
                </a:cubicBezTo>
                <a:cubicBezTo>
                  <a:pt x="19500" y="364040"/>
                  <a:pt x="19037" y="363612"/>
                  <a:pt x="18979" y="363051"/>
                </a:cubicBezTo>
                <a:cubicBezTo>
                  <a:pt x="18632" y="360274"/>
                  <a:pt x="18401" y="357960"/>
                  <a:pt x="18227" y="356225"/>
                </a:cubicBezTo>
                <a:cubicBezTo>
                  <a:pt x="18111" y="343927"/>
                  <a:pt x="25111" y="332659"/>
                  <a:pt x="36159" y="327303"/>
                </a:cubicBezTo>
                <a:cubicBezTo>
                  <a:pt x="44026" y="323254"/>
                  <a:pt x="52529" y="320651"/>
                  <a:pt x="61263" y="319610"/>
                </a:cubicBezTo>
                <a:cubicBezTo>
                  <a:pt x="62767" y="319581"/>
                  <a:pt x="63924" y="318372"/>
                  <a:pt x="63924" y="316891"/>
                </a:cubicBezTo>
                <a:cubicBezTo>
                  <a:pt x="63519" y="310499"/>
                  <a:pt x="60048" y="304697"/>
                  <a:pt x="54611" y="301331"/>
                </a:cubicBezTo>
                <a:cubicBezTo>
                  <a:pt x="51198" y="300174"/>
                  <a:pt x="50677" y="295546"/>
                  <a:pt x="50157" y="289762"/>
                </a:cubicBezTo>
                <a:cubicBezTo>
                  <a:pt x="49405" y="282358"/>
                  <a:pt x="48537" y="273970"/>
                  <a:pt x="41596" y="271078"/>
                </a:cubicBezTo>
                <a:cubicBezTo>
                  <a:pt x="27367" y="265294"/>
                  <a:pt x="16376" y="255807"/>
                  <a:pt x="12674" y="246726"/>
                </a:cubicBezTo>
                <a:cubicBezTo>
                  <a:pt x="10302" y="242248"/>
                  <a:pt x="7005" y="238309"/>
                  <a:pt x="3014" y="235157"/>
                </a:cubicBezTo>
                <a:cubicBezTo>
                  <a:pt x="2031" y="234191"/>
                  <a:pt x="1047" y="233265"/>
                  <a:pt x="64" y="232380"/>
                </a:cubicBezTo>
                <a:cubicBezTo>
                  <a:pt x="-167" y="231987"/>
                  <a:pt x="-167" y="231501"/>
                  <a:pt x="64" y="231108"/>
                </a:cubicBezTo>
                <a:cubicBezTo>
                  <a:pt x="237" y="230651"/>
                  <a:pt x="701" y="230362"/>
                  <a:pt x="1163" y="230414"/>
                </a:cubicBezTo>
                <a:cubicBezTo>
                  <a:pt x="15335" y="231038"/>
                  <a:pt x="29391" y="232600"/>
                  <a:pt x="43332" y="235099"/>
                </a:cubicBezTo>
                <a:cubicBezTo>
                  <a:pt x="45819" y="235452"/>
                  <a:pt x="48364" y="235602"/>
                  <a:pt x="50909" y="235562"/>
                </a:cubicBezTo>
                <a:cubicBezTo>
                  <a:pt x="79831" y="235562"/>
                  <a:pt x="148782" y="224340"/>
                  <a:pt x="152079" y="221737"/>
                </a:cubicBezTo>
                <a:cubicBezTo>
                  <a:pt x="152136" y="216878"/>
                  <a:pt x="151616" y="212031"/>
                  <a:pt x="150632" y="207276"/>
                </a:cubicBezTo>
                <a:cubicBezTo>
                  <a:pt x="149765" y="203169"/>
                  <a:pt x="149360" y="198975"/>
                  <a:pt x="149418" y="194781"/>
                </a:cubicBezTo>
                <a:cubicBezTo>
                  <a:pt x="150344" y="190154"/>
                  <a:pt x="162028" y="180089"/>
                  <a:pt x="172556" y="180957"/>
                </a:cubicBezTo>
                <a:lnTo>
                  <a:pt x="175101" y="180957"/>
                </a:lnTo>
                <a:cubicBezTo>
                  <a:pt x="177878" y="180957"/>
                  <a:pt x="180480" y="181419"/>
                  <a:pt x="182736" y="181419"/>
                </a:cubicBezTo>
                <a:cubicBezTo>
                  <a:pt x="188521" y="181419"/>
                  <a:pt x="189909" y="179684"/>
                  <a:pt x="189909" y="176965"/>
                </a:cubicBezTo>
                <a:cubicBezTo>
                  <a:pt x="189909" y="170487"/>
                  <a:pt x="205874" y="163950"/>
                  <a:pt x="214782" y="163950"/>
                </a:cubicBezTo>
                <a:cubicBezTo>
                  <a:pt x="219120" y="163950"/>
                  <a:pt x="220566" y="165512"/>
                  <a:pt x="221203" y="166900"/>
                </a:cubicBezTo>
                <a:cubicBezTo>
                  <a:pt x="221608" y="168358"/>
                  <a:pt x="222880" y="169405"/>
                  <a:pt x="224384" y="169504"/>
                </a:cubicBezTo>
                <a:cubicBezTo>
                  <a:pt x="227102" y="169504"/>
                  <a:pt x="231384" y="165686"/>
                  <a:pt x="231904" y="155158"/>
                </a:cubicBezTo>
                <a:cubicBezTo>
                  <a:pt x="231904" y="152439"/>
                  <a:pt x="231904" y="149894"/>
                  <a:pt x="231904" y="147523"/>
                </a:cubicBezTo>
                <a:cubicBezTo>
                  <a:pt x="232251" y="135375"/>
                  <a:pt x="232482" y="125773"/>
                  <a:pt x="241564" y="125021"/>
                </a:cubicBezTo>
                <a:cubicBezTo>
                  <a:pt x="247753" y="124686"/>
                  <a:pt x="253653" y="122141"/>
                  <a:pt x="258165" y="117849"/>
                </a:cubicBezTo>
                <a:cubicBezTo>
                  <a:pt x="258917" y="117074"/>
                  <a:pt x="259264" y="116015"/>
                  <a:pt x="259148" y="114956"/>
                </a:cubicBezTo>
                <a:cubicBezTo>
                  <a:pt x="258108" y="112319"/>
                  <a:pt x="256662" y="109883"/>
                  <a:pt x="254752" y="107784"/>
                </a:cubicBezTo>
                <a:cubicBezTo>
                  <a:pt x="251282" y="103156"/>
                  <a:pt x="247985" y="98818"/>
                  <a:pt x="250588" y="96215"/>
                </a:cubicBezTo>
                <a:cubicBezTo>
                  <a:pt x="251455" y="95509"/>
                  <a:pt x="252554" y="95179"/>
                  <a:pt x="253653" y="95289"/>
                </a:cubicBezTo>
                <a:cubicBezTo>
                  <a:pt x="256950" y="95567"/>
                  <a:pt x="260248" y="96145"/>
                  <a:pt x="263429" y="97025"/>
                </a:cubicBezTo>
                <a:cubicBezTo>
                  <a:pt x="267593" y="98199"/>
                  <a:pt x="271932" y="98939"/>
                  <a:pt x="276270" y="99223"/>
                </a:cubicBezTo>
                <a:cubicBezTo>
                  <a:pt x="280262" y="99223"/>
                  <a:pt x="280840" y="97834"/>
                  <a:pt x="281014" y="97372"/>
                </a:cubicBezTo>
                <a:cubicBezTo>
                  <a:pt x="282170" y="94127"/>
                  <a:pt x="282460" y="90639"/>
                  <a:pt x="281882" y="87249"/>
                </a:cubicBezTo>
                <a:cubicBezTo>
                  <a:pt x="281187" y="83316"/>
                  <a:pt x="281766" y="79255"/>
                  <a:pt x="283559" y="75680"/>
                </a:cubicBezTo>
                <a:cubicBezTo>
                  <a:pt x="285236" y="73170"/>
                  <a:pt x="287203" y="70827"/>
                  <a:pt x="289343" y="68681"/>
                </a:cubicBezTo>
                <a:cubicBezTo>
                  <a:pt x="293045" y="64748"/>
                  <a:pt x="296805" y="60698"/>
                  <a:pt x="296343" y="57112"/>
                </a:cubicBezTo>
                <a:cubicBezTo>
                  <a:pt x="296343" y="55550"/>
                  <a:pt x="296343" y="54104"/>
                  <a:pt x="296343" y="52716"/>
                </a:cubicBezTo>
                <a:cubicBezTo>
                  <a:pt x="296689" y="48563"/>
                  <a:pt x="295127" y="44473"/>
                  <a:pt x="292120" y="41610"/>
                </a:cubicBezTo>
                <a:cubicBezTo>
                  <a:pt x="289228" y="39140"/>
                  <a:pt x="288071" y="35201"/>
                  <a:pt x="289112" y="31545"/>
                </a:cubicBezTo>
                <a:cubicBezTo>
                  <a:pt x="290269" y="28225"/>
                  <a:pt x="293335" y="25934"/>
                  <a:pt x="296863" y="25760"/>
                </a:cubicBezTo>
                <a:cubicBezTo>
                  <a:pt x="298135" y="25506"/>
                  <a:pt x="299351" y="24974"/>
                  <a:pt x="300391" y="24199"/>
                </a:cubicBezTo>
                <a:lnTo>
                  <a:pt x="300797" y="24199"/>
                </a:lnTo>
                <a:cubicBezTo>
                  <a:pt x="305655" y="23638"/>
                  <a:pt x="310283" y="22018"/>
                  <a:pt x="314448" y="19455"/>
                </a:cubicBezTo>
                <a:cubicBezTo>
                  <a:pt x="324223" y="12630"/>
                  <a:pt x="335618" y="8540"/>
                  <a:pt x="347477" y="7597"/>
                </a:cubicBezTo>
                <a:cubicBezTo>
                  <a:pt x="349154" y="7568"/>
                  <a:pt x="350831" y="7817"/>
                  <a:pt x="352393" y="8349"/>
                </a:cubicBezTo>
                <a:cubicBezTo>
                  <a:pt x="354129" y="8905"/>
                  <a:pt x="355922" y="9159"/>
                  <a:pt x="357773" y="9101"/>
                </a:cubicBezTo>
                <a:cubicBezTo>
                  <a:pt x="365698" y="9015"/>
                  <a:pt x="373333" y="5839"/>
                  <a:pt x="378944" y="251"/>
                </a:cubicBezTo>
                <a:cubicBezTo>
                  <a:pt x="379233" y="-113"/>
                  <a:pt x="379754" y="-229"/>
                  <a:pt x="380217" y="-38"/>
                </a:cubicBezTo>
                <a:cubicBezTo>
                  <a:pt x="381952" y="737"/>
                  <a:pt x="383572" y="1749"/>
                  <a:pt x="385018" y="2970"/>
                </a:cubicBezTo>
                <a:cubicBezTo>
                  <a:pt x="388084" y="2276"/>
                  <a:pt x="390802" y="1813"/>
                  <a:pt x="392248" y="1582"/>
                </a:cubicBezTo>
                <a:lnTo>
                  <a:pt x="392826" y="1582"/>
                </a:lnTo>
                <a:cubicBezTo>
                  <a:pt x="393116" y="1477"/>
                  <a:pt x="393405" y="1477"/>
                  <a:pt x="393694" y="1582"/>
                </a:cubicBezTo>
                <a:cubicBezTo>
                  <a:pt x="397107" y="4242"/>
                  <a:pt x="400867" y="6961"/>
                  <a:pt x="404511" y="9564"/>
                </a:cubicBezTo>
                <a:cubicBezTo>
                  <a:pt x="414056" y="16390"/>
                  <a:pt x="419030" y="20092"/>
                  <a:pt x="419030" y="22695"/>
                </a:cubicBezTo>
                <a:cubicBezTo>
                  <a:pt x="419146" y="31285"/>
                  <a:pt x="424410" y="38966"/>
                  <a:pt x="432335" y="42246"/>
                </a:cubicBezTo>
                <a:cubicBezTo>
                  <a:pt x="439738" y="45647"/>
                  <a:pt x="446911" y="49511"/>
                  <a:pt x="453795" y="53815"/>
                </a:cubicBezTo>
                <a:cubicBezTo>
                  <a:pt x="454199" y="54151"/>
                  <a:pt x="454373" y="54700"/>
                  <a:pt x="454199" y="55203"/>
                </a:cubicBezTo>
                <a:cubicBezTo>
                  <a:pt x="451886" y="60988"/>
                  <a:pt x="447432" y="70821"/>
                  <a:pt x="443903" y="72556"/>
                </a:cubicBezTo>
                <a:cubicBezTo>
                  <a:pt x="441474" y="73598"/>
                  <a:pt x="438928" y="74489"/>
                  <a:pt x="436383" y="75217"/>
                </a:cubicBezTo>
                <a:cubicBezTo>
                  <a:pt x="429615" y="77005"/>
                  <a:pt x="423137" y="79712"/>
                  <a:pt x="417122" y="83258"/>
                </a:cubicBezTo>
                <a:cubicBezTo>
                  <a:pt x="415386" y="84363"/>
                  <a:pt x="413361" y="84889"/>
                  <a:pt x="411337" y="84762"/>
                </a:cubicBezTo>
                <a:lnTo>
                  <a:pt x="411337" y="84762"/>
                </a:lnTo>
                <a:cubicBezTo>
                  <a:pt x="405089" y="84154"/>
                  <a:pt x="398958" y="82650"/>
                  <a:pt x="393174" y="80308"/>
                </a:cubicBezTo>
                <a:cubicBezTo>
                  <a:pt x="387505" y="78029"/>
                  <a:pt x="381489" y="76554"/>
                  <a:pt x="375415" y="75912"/>
                </a:cubicBezTo>
                <a:cubicBezTo>
                  <a:pt x="369110" y="75755"/>
                  <a:pt x="363384" y="79475"/>
                  <a:pt x="360954" y="85282"/>
                </a:cubicBezTo>
                <a:cubicBezTo>
                  <a:pt x="360376" y="86578"/>
                  <a:pt x="360781" y="88105"/>
                  <a:pt x="361938" y="88926"/>
                </a:cubicBezTo>
                <a:cubicBezTo>
                  <a:pt x="367722" y="92339"/>
                  <a:pt x="366970" y="112643"/>
                  <a:pt x="366797" y="115651"/>
                </a:cubicBezTo>
                <a:cubicBezTo>
                  <a:pt x="368532" y="123055"/>
                  <a:pt x="374663" y="142201"/>
                  <a:pt x="381605" y="140581"/>
                </a:cubicBezTo>
                <a:cubicBezTo>
                  <a:pt x="382473" y="140396"/>
                  <a:pt x="383398" y="140298"/>
                  <a:pt x="384324" y="140292"/>
                </a:cubicBezTo>
                <a:cubicBezTo>
                  <a:pt x="390744" y="140176"/>
                  <a:pt x="396529" y="144052"/>
                  <a:pt x="398900" y="150010"/>
                </a:cubicBezTo>
                <a:cubicBezTo>
                  <a:pt x="398900" y="151051"/>
                  <a:pt x="398900" y="153654"/>
                  <a:pt x="395082" y="154638"/>
                </a:cubicBezTo>
                <a:cubicBezTo>
                  <a:pt x="386926" y="156662"/>
                  <a:pt x="382935" y="166206"/>
                  <a:pt x="381894" y="174131"/>
                </a:cubicBezTo>
                <a:cubicBezTo>
                  <a:pt x="381605" y="176474"/>
                  <a:pt x="381489" y="178828"/>
                  <a:pt x="381547" y="181188"/>
                </a:cubicBezTo>
                <a:cubicBezTo>
                  <a:pt x="381547" y="187840"/>
                  <a:pt x="381547" y="194666"/>
                  <a:pt x="375763" y="195649"/>
                </a:cubicBezTo>
                <a:cubicBezTo>
                  <a:pt x="369168" y="195557"/>
                  <a:pt x="363731" y="200849"/>
                  <a:pt x="363616" y="207461"/>
                </a:cubicBezTo>
                <a:cubicBezTo>
                  <a:pt x="363616" y="208172"/>
                  <a:pt x="363673" y="208884"/>
                  <a:pt x="363789" y="209590"/>
                </a:cubicBezTo>
                <a:cubicBezTo>
                  <a:pt x="363789" y="218093"/>
                  <a:pt x="357252" y="219712"/>
                  <a:pt x="352220" y="221158"/>
                </a:cubicBezTo>
                <a:cubicBezTo>
                  <a:pt x="349964" y="221737"/>
                  <a:pt x="347766" y="222258"/>
                  <a:pt x="347245" y="223299"/>
                </a:cubicBezTo>
                <a:cubicBezTo>
                  <a:pt x="346725" y="224340"/>
                  <a:pt x="345163" y="229083"/>
                  <a:pt x="343775" y="233595"/>
                </a:cubicBezTo>
                <a:cubicBezTo>
                  <a:pt x="342213" y="240317"/>
                  <a:pt x="339726" y="246766"/>
                  <a:pt x="336255" y="252742"/>
                </a:cubicBezTo>
                <a:cubicBezTo>
                  <a:pt x="333999" y="254269"/>
                  <a:pt x="331512" y="255350"/>
                  <a:pt x="328851" y="255923"/>
                </a:cubicBezTo>
                <a:cubicBezTo>
                  <a:pt x="322488" y="257890"/>
                  <a:pt x="314506" y="260319"/>
                  <a:pt x="313927" y="266104"/>
                </a:cubicBezTo>
                <a:cubicBezTo>
                  <a:pt x="312886" y="275127"/>
                  <a:pt x="304903" y="287679"/>
                  <a:pt x="298425" y="287679"/>
                </a:cubicBezTo>
                <a:lnTo>
                  <a:pt x="297441" y="287679"/>
                </a:lnTo>
                <a:lnTo>
                  <a:pt x="293913" y="286812"/>
                </a:lnTo>
                <a:cubicBezTo>
                  <a:pt x="291310" y="285985"/>
                  <a:pt x="288591" y="285476"/>
                  <a:pt x="285815" y="285308"/>
                </a:cubicBezTo>
                <a:cubicBezTo>
                  <a:pt x="283559" y="285036"/>
                  <a:pt x="281418" y="286193"/>
                  <a:pt x="280378" y="288200"/>
                </a:cubicBezTo>
                <a:cubicBezTo>
                  <a:pt x="279510" y="289866"/>
                  <a:pt x="277716" y="290867"/>
                  <a:pt x="275866" y="290745"/>
                </a:cubicBezTo>
                <a:cubicBezTo>
                  <a:pt x="272742" y="290410"/>
                  <a:pt x="269734" y="289530"/>
                  <a:pt x="266957" y="288142"/>
                </a:cubicBezTo>
                <a:cubicBezTo>
                  <a:pt x="264933" y="287130"/>
                  <a:pt x="262793" y="286430"/>
                  <a:pt x="260537" y="286060"/>
                </a:cubicBezTo>
                <a:cubicBezTo>
                  <a:pt x="260248" y="286037"/>
                  <a:pt x="259900" y="286141"/>
                  <a:pt x="259669" y="286349"/>
                </a:cubicBezTo>
                <a:lnTo>
                  <a:pt x="257298" y="288547"/>
                </a:lnTo>
                <a:cubicBezTo>
                  <a:pt x="251918" y="293348"/>
                  <a:pt x="239481" y="304570"/>
                  <a:pt x="239481" y="311396"/>
                </a:cubicBezTo>
                <a:cubicBezTo>
                  <a:pt x="239481" y="314750"/>
                  <a:pt x="242952" y="316602"/>
                  <a:pt x="247001" y="318800"/>
                </a:cubicBezTo>
                <a:cubicBezTo>
                  <a:pt x="251050" y="320998"/>
                  <a:pt x="257414" y="324584"/>
                  <a:pt x="256777" y="330947"/>
                </a:cubicBezTo>
                <a:cubicBezTo>
                  <a:pt x="256892" y="341162"/>
                  <a:pt x="261057" y="350909"/>
                  <a:pt x="268345" y="358076"/>
                </a:cubicBezTo>
                <a:cubicBezTo>
                  <a:pt x="273725" y="363456"/>
                  <a:pt x="283096" y="376933"/>
                  <a:pt x="278179" y="384279"/>
                </a:cubicBezTo>
                <a:cubicBezTo>
                  <a:pt x="275287" y="388861"/>
                  <a:pt x="270139" y="391498"/>
                  <a:pt x="264701" y="391163"/>
                </a:cubicBezTo>
                <a:cubicBezTo>
                  <a:pt x="261925" y="391111"/>
                  <a:pt x="259206" y="390764"/>
                  <a:pt x="256546" y="390122"/>
                </a:cubicBezTo>
                <a:cubicBezTo>
                  <a:pt x="253711" y="389462"/>
                  <a:pt x="250819" y="389665"/>
                  <a:pt x="248100" y="390700"/>
                </a:cubicBezTo>
                <a:cubicBezTo>
                  <a:pt x="245324" y="391683"/>
                  <a:pt x="242431" y="392175"/>
                  <a:pt x="239481" y="392146"/>
                </a:cubicBezTo>
                <a:cubicBezTo>
                  <a:pt x="236531" y="392112"/>
                  <a:pt x="233581" y="391805"/>
                  <a:pt x="230689" y="391221"/>
                </a:cubicBezTo>
                <a:cubicBezTo>
                  <a:pt x="229070" y="390908"/>
                  <a:pt x="227450" y="390752"/>
                  <a:pt x="225830" y="390758"/>
                </a:cubicBezTo>
                <a:cubicBezTo>
                  <a:pt x="217501" y="390758"/>
                  <a:pt x="214261" y="396022"/>
                  <a:pt x="211253" y="401575"/>
                </a:cubicBezTo>
                <a:cubicBezTo>
                  <a:pt x="210039" y="403889"/>
                  <a:pt x="208593" y="406075"/>
                  <a:pt x="206915" y="408111"/>
                </a:cubicBezTo>
                <a:lnTo>
                  <a:pt x="205238" y="410078"/>
                </a:lnTo>
                <a:cubicBezTo>
                  <a:pt x="204775" y="410165"/>
                  <a:pt x="204312" y="409956"/>
                  <a:pt x="204081" y="409557"/>
                </a:cubicBezTo>
                <a:close/>
                <a:moveTo>
                  <a:pt x="146236" y="351077"/>
                </a:moveTo>
                <a:cubicBezTo>
                  <a:pt x="152599" y="350510"/>
                  <a:pt x="158210" y="355213"/>
                  <a:pt x="158789" y="361581"/>
                </a:cubicBezTo>
                <a:cubicBezTo>
                  <a:pt x="158789" y="361605"/>
                  <a:pt x="158789" y="361634"/>
                  <a:pt x="158789" y="361662"/>
                </a:cubicBezTo>
                <a:cubicBezTo>
                  <a:pt x="158789" y="366000"/>
                  <a:pt x="162317" y="368604"/>
                  <a:pt x="166424" y="371959"/>
                </a:cubicBezTo>
                <a:cubicBezTo>
                  <a:pt x="167870" y="373116"/>
                  <a:pt x="169374" y="374388"/>
                  <a:pt x="170936" y="375776"/>
                </a:cubicBezTo>
                <a:cubicBezTo>
                  <a:pt x="173828" y="378611"/>
                  <a:pt x="175274" y="382573"/>
                  <a:pt x="174928" y="386593"/>
                </a:cubicBezTo>
                <a:cubicBezTo>
                  <a:pt x="174812" y="389410"/>
                  <a:pt x="175448" y="392210"/>
                  <a:pt x="176778" y="394691"/>
                </a:cubicBezTo>
                <a:cubicBezTo>
                  <a:pt x="179034" y="398278"/>
                  <a:pt x="182852" y="399261"/>
                  <a:pt x="188347" y="400476"/>
                </a:cubicBezTo>
                <a:cubicBezTo>
                  <a:pt x="192512" y="401465"/>
                  <a:pt x="196561" y="402819"/>
                  <a:pt x="200436" y="404525"/>
                </a:cubicBezTo>
                <a:cubicBezTo>
                  <a:pt x="201767" y="405144"/>
                  <a:pt x="203040" y="405879"/>
                  <a:pt x="204196" y="406723"/>
                </a:cubicBezTo>
                <a:lnTo>
                  <a:pt x="205238" y="405508"/>
                </a:lnTo>
                <a:cubicBezTo>
                  <a:pt x="206800" y="403594"/>
                  <a:pt x="208130" y="401540"/>
                  <a:pt x="209287" y="399377"/>
                </a:cubicBezTo>
                <a:cubicBezTo>
                  <a:pt x="212699" y="393592"/>
                  <a:pt x="216171" y="387345"/>
                  <a:pt x="225830" y="387345"/>
                </a:cubicBezTo>
                <a:cubicBezTo>
                  <a:pt x="227624" y="387380"/>
                  <a:pt x="229358" y="387571"/>
                  <a:pt x="231094" y="387924"/>
                </a:cubicBezTo>
                <a:cubicBezTo>
                  <a:pt x="233870" y="388456"/>
                  <a:pt x="236647" y="388751"/>
                  <a:pt x="239481" y="388791"/>
                </a:cubicBezTo>
                <a:cubicBezTo>
                  <a:pt x="242200" y="388803"/>
                  <a:pt x="244919" y="388352"/>
                  <a:pt x="247464" y="387461"/>
                </a:cubicBezTo>
                <a:cubicBezTo>
                  <a:pt x="249315" y="386744"/>
                  <a:pt x="251282" y="386368"/>
                  <a:pt x="253248" y="386362"/>
                </a:cubicBezTo>
                <a:cubicBezTo>
                  <a:pt x="254578" y="386385"/>
                  <a:pt x="255910" y="386541"/>
                  <a:pt x="257182" y="386825"/>
                </a:cubicBezTo>
                <a:cubicBezTo>
                  <a:pt x="259727" y="387444"/>
                  <a:pt x="262272" y="387773"/>
                  <a:pt x="264875" y="387808"/>
                </a:cubicBezTo>
                <a:cubicBezTo>
                  <a:pt x="269503" y="388132"/>
                  <a:pt x="273957" y="385917"/>
                  <a:pt x="276444" y="382023"/>
                </a:cubicBezTo>
                <a:cubicBezTo>
                  <a:pt x="280204" y="376239"/>
                  <a:pt x="271990" y="363745"/>
                  <a:pt x="266899" y="358886"/>
                </a:cubicBezTo>
                <a:cubicBezTo>
                  <a:pt x="259148" y="351239"/>
                  <a:pt x="254752" y="340838"/>
                  <a:pt x="254694" y="329964"/>
                </a:cubicBezTo>
                <a:cubicBezTo>
                  <a:pt x="255215" y="324931"/>
                  <a:pt x="250761" y="322560"/>
                  <a:pt x="246133" y="320015"/>
                </a:cubicBezTo>
                <a:cubicBezTo>
                  <a:pt x="241506" y="317469"/>
                  <a:pt x="237399" y="315329"/>
                  <a:pt x="237399" y="310644"/>
                </a:cubicBezTo>
                <a:cubicBezTo>
                  <a:pt x="237399" y="302835"/>
                  <a:pt x="249893" y="291555"/>
                  <a:pt x="255910" y="286117"/>
                </a:cubicBezTo>
                <a:lnTo>
                  <a:pt x="258281" y="283977"/>
                </a:lnTo>
                <a:cubicBezTo>
                  <a:pt x="259958" y="282242"/>
                  <a:pt x="264065" y="283572"/>
                  <a:pt x="267999" y="285308"/>
                </a:cubicBezTo>
                <a:cubicBezTo>
                  <a:pt x="270544" y="286575"/>
                  <a:pt x="273263" y="287396"/>
                  <a:pt x="276039" y="287737"/>
                </a:cubicBezTo>
                <a:cubicBezTo>
                  <a:pt x="277080" y="287853"/>
                  <a:pt x="278064" y="287321"/>
                  <a:pt x="278526" y="286407"/>
                </a:cubicBezTo>
                <a:cubicBezTo>
                  <a:pt x="279914" y="283636"/>
                  <a:pt x="282922" y="282011"/>
                  <a:pt x="285988" y="282300"/>
                </a:cubicBezTo>
                <a:cubicBezTo>
                  <a:pt x="288938" y="282445"/>
                  <a:pt x="291888" y="282971"/>
                  <a:pt x="294723" y="283862"/>
                </a:cubicBezTo>
                <a:lnTo>
                  <a:pt x="298078" y="284729"/>
                </a:lnTo>
                <a:cubicBezTo>
                  <a:pt x="302416" y="285539"/>
                  <a:pt x="310746" y="274838"/>
                  <a:pt x="311844" y="265236"/>
                </a:cubicBezTo>
                <a:cubicBezTo>
                  <a:pt x="312596" y="257947"/>
                  <a:pt x="321736" y="255171"/>
                  <a:pt x="328330" y="253089"/>
                </a:cubicBezTo>
                <a:cubicBezTo>
                  <a:pt x="330644" y="252620"/>
                  <a:pt x="332842" y="251735"/>
                  <a:pt x="334808" y="250486"/>
                </a:cubicBezTo>
                <a:cubicBezTo>
                  <a:pt x="337874" y="244724"/>
                  <a:pt x="340188" y="238604"/>
                  <a:pt x="341750" y="232264"/>
                </a:cubicBezTo>
                <a:cubicBezTo>
                  <a:pt x="342791" y="228673"/>
                  <a:pt x="344006" y="225138"/>
                  <a:pt x="345394" y="221679"/>
                </a:cubicBezTo>
                <a:cubicBezTo>
                  <a:pt x="346435" y="219654"/>
                  <a:pt x="348923" y="219076"/>
                  <a:pt x="351873" y="218324"/>
                </a:cubicBezTo>
                <a:cubicBezTo>
                  <a:pt x="356616" y="217167"/>
                  <a:pt x="361475" y="215953"/>
                  <a:pt x="361475" y="209243"/>
                </a:cubicBezTo>
                <a:cubicBezTo>
                  <a:pt x="360376" y="201497"/>
                  <a:pt x="365756" y="194307"/>
                  <a:pt x="373449" y="193191"/>
                </a:cubicBezTo>
                <a:cubicBezTo>
                  <a:pt x="374085" y="193098"/>
                  <a:pt x="374721" y="193052"/>
                  <a:pt x="375357" y="193046"/>
                </a:cubicBezTo>
                <a:cubicBezTo>
                  <a:pt x="378887" y="192468"/>
                  <a:pt x="379233" y="188014"/>
                  <a:pt x="379407" y="180841"/>
                </a:cubicBezTo>
                <a:cubicBezTo>
                  <a:pt x="379349" y="178406"/>
                  <a:pt x="379465" y="175970"/>
                  <a:pt x="379754" y="173553"/>
                </a:cubicBezTo>
                <a:cubicBezTo>
                  <a:pt x="380853" y="164702"/>
                  <a:pt x="385538" y="154406"/>
                  <a:pt x="394620" y="152092"/>
                </a:cubicBezTo>
                <a:cubicBezTo>
                  <a:pt x="396991" y="151514"/>
                  <a:pt x="396818" y="150299"/>
                  <a:pt x="396760" y="149952"/>
                </a:cubicBezTo>
                <a:cubicBezTo>
                  <a:pt x="394504" y="145192"/>
                  <a:pt x="389703" y="142166"/>
                  <a:pt x="384439" y="142201"/>
                </a:cubicBezTo>
                <a:cubicBezTo>
                  <a:pt x="383687" y="142114"/>
                  <a:pt x="382935" y="142114"/>
                  <a:pt x="382183" y="142201"/>
                </a:cubicBezTo>
                <a:cubicBezTo>
                  <a:pt x="381779" y="142259"/>
                  <a:pt x="381316" y="142259"/>
                  <a:pt x="380911" y="142201"/>
                </a:cubicBezTo>
                <a:cubicBezTo>
                  <a:pt x="371193" y="142201"/>
                  <a:pt x="365350" y="118022"/>
                  <a:pt x="364714" y="115303"/>
                </a:cubicBezTo>
                <a:cubicBezTo>
                  <a:pt x="364714" y="115188"/>
                  <a:pt x="364714" y="115072"/>
                  <a:pt x="364714" y="114956"/>
                </a:cubicBezTo>
                <a:cubicBezTo>
                  <a:pt x="365120" y="106453"/>
                  <a:pt x="364714" y="92224"/>
                  <a:pt x="360954" y="90083"/>
                </a:cubicBezTo>
                <a:cubicBezTo>
                  <a:pt x="358872" y="88776"/>
                  <a:pt x="358004" y="86173"/>
                  <a:pt x="358930" y="83894"/>
                </a:cubicBezTo>
                <a:cubicBezTo>
                  <a:pt x="361590" y="77086"/>
                  <a:pt x="368301" y="72690"/>
                  <a:pt x="375589" y="72904"/>
                </a:cubicBezTo>
                <a:cubicBezTo>
                  <a:pt x="381894" y="73523"/>
                  <a:pt x="388141" y="75044"/>
                  <a:pt x="394042" y="77415"/>
                </a:cubicBezTo>
                <a:cubicBezTo>
                  <a:pt x="399595" y="79660"/>
                  <a:pt x="405437" y="81123"/>
                  <a:pt x="411395" y="81754"/>
                </a:cubicBezTo>
                <a:lnTo>
                  <a:pt x="411395" y="81754"/>
                </a:lnTo>
                <a:cubicBezTo>
                  <a:pt x="412956" y="81858"/>
                  <a:pt x="414460" y="81470"/>
                  <a:pt x="415790" y="80655"/>
                </a:cubicBezTo>
                <a:cubicBezTo>
                  <a:pt x="422038" y="76982"/>
                  <a:pt x="428748" y="74176"/>
                  <a:pt x="435747" y="72325"/>
                </a:cubicBezTo>
                <a:cubicBezTo>
                  <a:pt x="438177" y="71631"/>
                  <a:pt x="440548" y="70781"/>
                  <a:pt x="442862" y="69780"/>
                </a:cubicBezTo>
                <a:cubicBezTo>
                  <a:pt x="446969" y="65401"/>
                  <a:pt x="450035" y="60137"/>
                  <a:pt x="451770" y="54393"/>
                </a:cubicBezTo>
                <a:cubicBezTo>
                  <a:pt x="445176" y="50425"/>
                  <a:pt x="438350" y="46850"/>
                  <a:pt x="431351" y="43692"/>
                </a:cubicBezTo>
                <a:cubicBezTo>
                  <a:pt x="422674" y="39990"/>
                  <a:pt x="416948" y="31516"/>
                  <a:pt x="416774" y="22059"/>
                </a:cubicBezTo>
                <a:cubicBezTo>
                  <a:pt x="416774" y="20439"/>
                  <a:pt x="408907" y="14828"/>
                  <a:pt x="403181" y="10779"/>
                </a:cubicBezTo>
                <a:cubicBezTo>
                  <a:pt x="399710" y="8234"/>
                  <a:pt x="396008" y="5631"/>
                  <a:pt x="392711" y="3028"/>
                </a:cubicBezTo>
                <a:lnTo>
                  <a:pt x="392711" y="3028"/>
                </a:lnTo>
                <a:cubicBezTo>
                  <a:pt x="391149" y="3317"/>
                  <a:pt x="388257" y="3780"/>
                  <a:pt x="385018" y="4589"/>
                </a:cubicBezTo>
                <a:cubicBezTo>
                  <a:pt x="384671" y="4711"/>
                  <a:pt x="384208" y="4595"/>
                  <a:pt x="383976" y="4300"/>
                </a:cubicBezTo>
                <a:cubicBezTo>
                  <a:pt x="382820" y="3219"/>
                  <a:pt x="381489" y="2322"/>
                  <a:pt x="380043" y="1639"/>
                </a:cubicBezTo>
                <a:cubicBezTo>
                  <a:pt x="374027" y="7337"/>
                  <a:pt x="366102" y="10542"/>
                  <a:pt x="357831" y="10605"/>
                </a:cubicBezTo>
                <a:cubicBezTo>
                  <a:pt x="355575" y="10952"/>
                  <a:pt x="353319" y="10894"/>
                  <a:pt x="351063" y="10432"/>
                </a:cubicBezTo>
                <a:cubicBezTo>
                  <a:pt x="349733" y="9975"/>
                  <a:pt x="348287" y="9761"/>
                  <a:pt x="346898" y="9796"/>
                </a:cubicBezTo>
                <a:cubicBezTo>
                  <a:pt x="335503" y="10819"/>
                  <a:pt x="324571" y="14805"/>
                  <a:pt x="315200" y="21364"/>
                </a:cubicBezTo>
                <a:cubicBezTo>
                  <a:pt x="310862" y="24095"/>
                  <a:pt x="305944" y="25830"/>
                  <a:pt x="300854" y="26455"/>
                </a:cubicBezTo>
                <a:cubicBezTo>
                  <a:pt x="299582" y="27392"/>
                  <a:pt x="298020" y="27988"/>
                  <a:pt x="296458" y="28190"/>
                </a:cubicBezTo>
                <a:cubicBezTo>
                  <a:pt x="293913" y="28329"/>
                  <a:pt x="291657" y="29931"/>
                  <a:pt x="290674" y="32297"/>
                </a:cubicBezTo>
                <a:cubicBezTo>
                  <a:pt x="289979" y="35143"/>
                  <a:pt x="290963" y="38133"/>
                  <a:pt x="293161" y="40048"/>
                </a:cubicBezTo>
                <a:cubicBezTo>
                  <a:pt x="296631" y="43276"/>
                  <a:pt x="298425" y="47886"/>
                  <a:pt x="298078" y="52600"/>
                </a:cubicBezTo>
                <a:cubicBezTo>
                  <a:pt x="298078" y="53931"/>
                  <a:pt x="298078" y="55319"/>
                  <a:pt x="298367" y="56881"/>
                </a:cubicBezTo>
                <a:cubicBezTo>
                  <a:pt x="298945" y="61566"/>
                  <a:pt x="294781" y="66020"/>
                  <a:pt x="290789" y="70358"/>
                </a:cubicBezTo>
                <a:cubicBezTo>
                  <a:pt x="288765" y="72395"/>
                  <a:pt x="286914" y="74598"/>
                  <a:pt x="285294" y="76953"/>
                </a:cubicBezTo>
                <a:cubicBezTo>
                  <a:pt x="283732" y="80186"/>
                  <a:pt x="283270" y="83842"/>
                  <a:pt x="283964" y="87365"/>
                </a:cubicBezTo>
                <a:cubicBezTo>
                  <a:pt x="284600" y="91148"/>
                  <a:pt x="284253" y="95046"/>
                  <a:pt x="282922" y="98644"/>
                </a:cubicBezTo>
                <a:cubicBezTo>
                  <a:pt x="281997" y="100785"/>
                  <a:pt x="279799" y="101826"/>
                  <a:pt x="276097" y="101826"/>
                </a:cubicBezTo>
                <a:cubicBezTo>
                  <a:pt x="271585" y="101531"/>
                  <a:pt x="267073" y="100773"/>
                  <a:pt x="262735" y="99570"/>
                </a:cubicBezTo>
                <a:cubicBezTo>
                  <a:pt x="259727" y="98725"/>
                  <a:pt x="256604" y="98164"/>
                  <a:pt x="253480" y="97892"/>
                </a:cubicBezTo>
                <a:cubicBezTo>
                  <a:pt x="252323" y="97892"/>
                  <a:pt x="252034" y="97892"/>
                  <a:pt x="252034" y="98182"/>
                </a:cubicBezTo>
                <a:cubicBezTo>
                  <a:pt x="250819" y="99396"/>
                  <a:pt x="254058" y="103619"/>
                  <a:pt x="256372" y="106742"/>
                </a:cubicBezTo>
                <a:cubicBezTo>
                  <a:pt x="258512" y="109137"/>
                  <a:pt x="260190" y="111925"/>
                  <a:pt x="261231" y="114956"/>
                </a:cubicBezTo>
                <a:cubicBezTo>
                  <a:pt x="261404" y="116634"/>
                  <a:pt x="260884" y="118300"/>
                  <a:pt x="259785" y="119584"/>
                </a:cubicBezTo>
                <a:cubicBezTo>
                  <a:pt x="254926" y="124368"/>
                  <a:pt x="248447" y="127225"/>
                  <a:pt x="241621" y="127624"/>
                </a:cubicBezTo>
                <a:cubicBezTo>
                  <a:pt x="234854" y="128145"/>
                  <a:pt x="234333" y="134971"/>
                  <a:pt x="233986" y="147928"/>
                </a:cubicBezTo>
                <a:cubicBezTo>
                  <a:pt x="233986" y="150357"/>
                  <a:pt x="233986" y="152902"/>
                  <a:pt x="233986" y="155621"/>
                </a:cubicBezTo>
                <a:cubicBezTo>
                  <a:pt x="233408" y="167190"/>
                  <a:pt x="228549" y="172107"/>
                  <a:pt x="224210" y="172107"/>
                </a:cubicBezTo>
                <a:cubicBezTo>
                  <a:pt x="221723" y="172014"/>
                  <a:pt x="219583" y="170365"/>
                  <a:pt x="218889" y="168000"/>
                </a:cubicBezTo>
                <a:cubicBezTo>
                  <a:pt x="218542" y="167074"/>
                  <a:pt x="216980" y="166496"/>
                  <a:pt x="214609" y="166496"/>
                </a:cubicBezTo>
                <a:cubicBezTo>
                  <a:pt x="205758" y="166496"/>
                  <a:pt x="191991" y="173090"/>
                  <a:pt x="191991" y="177312"/>
                </a:cubicBezTo>
                <a:cubicBezTo>
                  <a:pt x="191991" y="184080"/>
                  <a:pt x="185108" y="184080"/>
                  <a:pt x="182563" y="184080"/>
                </a:cubicBezTo>
                <a:cubicBezTo>
                  <a:pt x="180018" y="184080"/>
                  <a:pt x="177530" y="183791"/>
                  <a:pt x="174754" y="183560"/>
                </a:cubicBezTo>
                <a:lnTo>
                  <a:pt x="172208" y="183560"/>
                </a:lnTo>
                <a:lnTo>
                  <a:pt x="171110" y="183560"/>
                </a:lnTo>
                <a:cubicBezTo>
                  <a:pt x="163069" y="184283"/>
                  <a:pt x="155839" y="188737"/>
                  <a:pt x="151558" y="195591"/>
                </a:cubicBezTo>
                <a:cubicBezTo>
                  <a:pt x="151616" y="199479"/>
                  <a:pt x="152079" y="203348"/>
                  <a:pt x="152831" y="207160"/>
                </a:cubicBezTo>
                <a:cubicBezTo>
                  <a:pt x="154219" y="212384"/>
                  <a:pt x="154566" y="217827"/>
                  <a:pt x="153872" y="223183"/>
                </a:cubicBezTo>
                <a:cubicBezTo>
                  <a:pt x="151732" y="227579"/>
                  <a:pt x="74278" y="238049"/>
                  <a:pt x="50851" y="238049"/>
                </a:cubicBezTo>
                <a:cubicBezTo>
                  <a:pt x="48190" y="238101"/>
                  <a:pt x="45530" y="237927"/>
                  <a:pt x="42869" y="237528"/>
                </a:cubicBezTo>
                <a:cubicBezTo>
                  <a:pt x="30027" y="235250"/>
                  <a:pt x="17070" y="233763"/>
                  <a:pt x="4055" y="233074"/>
                </a:cubicBezTo>
                <a:lnTo>
                  <a:pt x="4749" y="233711"/>
                </a:lnTo>
                <a:cubicBezTo>
                  <a:pt x="8972" y="237066"/>
                  <a:pt x="12442" y="241288"/>
                  <a:pt x="14930" y="246089"/>
                </a:cubicBezTo>
                <a:cubicBezTo>
                  <a:pt x="18111" y="254593"/>
                  <a:pt x="28639" y="263443"/>
                  <a:pt x="42348" y="269227"/>
                </a:cubicBezTo>
                <a:cubicBezTo>
                  <a:pt x="50504" y="272640"/>
                  <a:pt x="51487" y="282126"/>
                  <a:pt x="52239" y="289762"/>
                </a:cubicBezTo>
                <a:cubicBezTo>
                  <a:pt x="52760" y="294390"/>
                  <a:pt x="53165" y="298728"/>
                  <a:pt x="55189" y="299364"/>
                </a:cubicBezTo>
                <a:cubicBezTo>
                  <a:pt x="61668" y="303106"/>
                  <a:pt x="65717" y="309897"/>
                  <a:pt x="66006" y="317354"/>
                </a:cubicBezTo>
                <a:cubicBezTo>
                  <a:pt x="65948" y="319870"/>
                  <a:pt x="63924" y="321917"/>
                  <a:pt x="61437" y="322097"/>
                </a:cubicBezTo>
                <a:cubicBezTo>
                  <a:pt x="52933" y="323086"/>
                  <a:pt x="44662" y="325614"/>
                  <a:pt x="37026" y="329559"/>
                </a:cubicBezTo>
                <a:cubicBezTo>
                  <a:pt x="26730" y="334516"/>
                  <a:pt x="20194" y="345009"/>
                  <a:pt x="20367" y="356456"/>
                </a:cubicBezTo>
                <a:cubicBezTo>
                  <a:pt x="20367" y="357960"/>
                  <a:pt x="20714" y="359927"/>
                  <a:pt x="20946" y="362241"/>
                </a:cubicBezTo>
                <a:lnTo>
                  <a:pt x="30490" y="362241"/>
                </a:lnTo>
                <a:cubicBezTo>
                  <a:pt x="54437" y="362241"/>
                  <a:pt x="68552" y="360506"/>
                  <a:pt x="70056" y="358828"/>
                </a:cubicBezTo>
                <a:cubicBezTo>
                  <a:pt x="73873" y="355114"/>
                  <a:pt x="79021" y="353038"/>
                  <a:pt x="84343" y="353043"/>
                </a:cubicBezTo>
                <a:cubicBezTo>
                  <a:pt x="87235" y="352951"/>
                  <a:pt x="90070" y="353715"/>
                  <a:pt x="92499" y="355241"/>
                </a:cubicBezTo>
                <a:cubicBezTo>
                  <a:pt x="99209" y="357885"/>
                  <a:pt x="106439" y="359048"/>
                  <a:pt x="113670" y="358654"/>
                </a:cubicBezTo>
                <a:cubicBezTo>
                  <a:pt x="121074" y="359053"/>
                  <a:pt x="128536" y="357729"/>
                  <a:pt x="135362" y="354779"/>
                </a:cubicBezTo>
                <a:cubicBezTo>
                  <a:pt x="138659" y="352714"/>
                  <a:pt x="142361" y="351516"/>
                  <a:pt x="146236" y="35130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3" name="Forma libre: forma 442">
            <a:extLst>
              <a:ext uri="{FF2B5EF4-FFF2-40B4-BE49-F238E27FC236}">
                <a16:creationId xmlns:a16="http://schemas.microsoft.com/office/drawing/2014/main" id="{6099A09D-E157-F35B-94FF-C3AFE1C4C152}"/>
              </a:ext>
            </a:extLst>
          </p:cNvPr>
          <p:cNvSpPr/>
          <p:nvPr/>
        </p:nvSpPr>
        <p:spPr>
          <a:xfrm>
            <a:off x="8757306" y="4330070"/>
            <a:ext cx="1253173" cy="444953"/>
          </a:xfrm>
          <a:custGeom>
            <a:avLst/>
            <a:gdLst>
              <a:gd name="connsiteX0" fmla="*/ 779377 w 1253173"/>
              <a:gd name="connsiteY0" fmla="*/ 444809 h 444953"/>
              <a:gd name="connsiteX1" fmla="*/ 779377 w 1253173"/>
              <a:gd name="connsiteY1" fmla="*/ 444809 h 444953"/>
              <a:gd name="connsiteX2" fmla="*/ 773882 w 1253173"/>
              <a:gd name="connsiteY2" fmla="*/ 443479 h 444953"/>
              <a:gd name="connsiteX3" fmla="*/ 768098 w 1253173"/>
              <a:gd name="connsiteY3" fmla="*/ 433298 h 444953"/>
              <a:gd name="connsiteX4" fmla="*/ 786666 w 1253173"/>
              <a:gd name="connsiteY4" fmla="*/ 410508 h 444953"/>
              <a:gd name="connsiteX5" fmla="*/ 787939 w 1253173"/>
              <a:gd name="connsiteY5" fmla="*/ 410508 h 444953"/>
              <a:gd name="connsiteX6" fmla="*/ 794648 w 1253173"/>
              <a:gd name="connsiteY6" fmla="*/ 415540 h 444953"/>
              <a:gd name="connsiteX7" fmla="*/ 795342 w 1253173"/>
              <a:gd name="connsiteY7" fmla="*/ 415540 h 444953"/>
              <a:gd name="connsiteX8" fmla="*/ 798756 w 1253173"/>
              <a:gd name="connsiteY8" fmla="*/ 408946 h 444953"/>
              <a:gd name="connsiteX9" fmla="*/ 798756 w 1253173"/>
              <a:gd name="connsiteY9" fmla="*/ 408194 h 444953"/>
              <a:gd name="connsiteX10" fmla="*/ 799565 w 1253173"/>
              <a:gd name="connsiteY10" fmla="*/ 407500 h 444953"/>
              <a:gd name="connsiteX11" fmla="*/ 808126 w 1253173"/>
              <a:gd name="connsiteY11" fmla="*/ 403855 h 444953"/>
              <a:gd name="connsiteX12" fmla="*/ 809399 w 1253173"/>
              <a:gd name="connsiteY12" fmla="*/ 403855 h 444953"/>
              <a:gd name="connsiteX13" fmla="*/ 818249 w 1253173"/>
              <a:gd name="connsiteY13" fmla="*/ 413226 h 444953"/>
              <a:gd name="connsiteX14" fmla="*/ 817902 w 1253173"/>
              <a:gd name="connsiteY14" fmla="*/ 414829 h 444953"/>
              <a:gd name="connsiteX15" fmla="*/ 817902 w 1253173"/>
              <a:gd name="connsiteY15" fmla="*/ 414846 h 444953"/>
              <a:gd name="connsiteX16" fmla="*/ 815299 w 1253173"/>
              <a:gd name="connsiteY16" fmla="*/ 416581 h 444953"/>
              <a:gd name="connsiteX17" fmla="*/ 812753 w 1253173"/>
              <a:gd name="connsiteY17" fmla="*/ 418837 h 444953"/>
              <a:gd name="connsiteX18" fmla="*/ 809051 w 1253173"/>
              <a:gd name="connsiteY18" fmla="*/ 423523 h 444953"/>
              <a:gd name="connsiteX19" fmla="*/ 779377 w 1253173"/>
              <a:gd name="connsiteY19" fmla="*/ 444809 h 444953"/>
              <a:gd name="connsiteX20" fmla="*/ 787129 w 1253173"/>
              <a:gd name="connsiteY20" fmla="*/ 412937 h 444953"/>
              <a:gd name="connsiteX21" fmla="*/ 770643 w 1253173"/>
              <a:gd name="connsiteY21" fmla="*/ 433414 h 444953"/>
              <a:gd name="connsiteX22" fmla="*/ 774924 w 1253173"/>
              <a:gd name="connsiteY22" fmla="*/ 441512 h 444953"/>
              <a:gd name="connsiteX23" fmla="*/ 779377 w 1253173"/>
              <a:gd name="connsiteY23" fmla="*/ 442553 h 444953"/>
              <a:gd name="connsiteX24" fmla="*/ 807837 w 1253173"/>
              <a:gd name="connsiteY24" fmla="*/ 422192 h 444953"/>
              <a:gd name="connsiteX25" fmla="*/ 811481 w 1253173"/>
              <a:gd name="connsiteY25" fmla="*/ 417622 h 444953"/>
              <a:gd name="connsiteX26" fmla="*/ 814489 w 1253173"/>
              <a:gd name="connsiteY26" fmla="*/ 414846 h 444953"/>
              <a:gd name="connsiteX27" fmla="*/ 816224 w 1253173"/>
              <a:gd name="connsiteY27" fmla="*/ 413689 h 444953"/>
              <a:gd name="connsiteX28" fmla="*/ 809167 w 1253173"/>
              <a:gd name="connsiteY28" fmla="*/ 406285 h 444953"/>
              <a:gd name="connsiteX29" fmla="*/ 801242 w 1253173"/>
              <a:gd name="connsiteY29" fmla="*/ 409582 h 444953"/>
              <a:gd name="connsiteX30" fmla="*/ 801242 w 1253173"/>
              <a:gd name="connsiteY30" fmla="*/ 409582 h 444953"/>
              <a:gd name="connsiteX31" fmla="*/ 797136 w 1253173"/>
              <a:gd name="connsiteY31" fmla="*/ 417217 h 444953"/>
              <a:gd name="connsiteX32" fmla="*/ 787129 w 1253173"/>
              <a:gd name="connsiteY32" fmla="*/ 412937 h 444953"/>
              <a:gd name="connsiteX33" fmla="*/ 688794 w 1253173"/>
              <a:gd name="connsiteY33" fmla="*/ 444751 h 444953"/>
              <a:gd name="connsiteX34" fmla="*/ 688794 w 1253173"/>
              <a:gd name="connsiteY34" fmla="*/ 444751 h 444953"/>
              <a:gd name="connsiteX35" fmla="*/ 668663 w 1253173"/>
              <a:gd name="connsiteY35" fmla="*/ 436075 h 444953"/>
              <a:gd name="connsiteX36" fmla="*/ 658772 w 1253173"/>
              <a:gd name="connsiteY36" fmla="*/ 431794 h 444953"/>
              <a:gd name="connsiteX37" fmla="*/ 644427 w 1253173"/>
              <a:gd name="connsiteY37" fmla="*/ 423870 h 444953"/>
              <a:gd name="connsiteX38" fmla="*/ 644427 w 1253173"/>
              <a:gd name="connsiteY38" fmla="*/ 421151 h 444953"/>
              <a:gd name="connsiteX39" fmla="*/ 652583 w 1253173"/>
              <a:gd name="connsiteY39" fmla="*/ 418837 h 444953"/>
              <a:gd name="connsiteX40" fmla="*/ 696834 w 1253173"/>
              <a:gd name="connsiteY40" fmla="*/ 436942 h 444953"/>
              <a:gd name="connsiteX41" fmla="*/ 694693 w 1253173"/>
              <a:gd name="connsiteY41" fmla="*/ 443074 h 444953"/>
              <a:gd name="connsiteX42" fmla="*/ 688851 w 1253173"/>
              <a:gd name="connsiteY42" fmla="*/ 444751 h 444953"/>
              <a:gd name="connsiteX43" fmla="*/ 645873 w 1253173"/>
              <a:gd name="connsiteY43" fmla="*/ 422076 h 444953"/>
              <a:gd name="connsiteX44" fmla="*/ 645873 w 1253173"/>
              <a:gd name="connsiteY44" fmla="*/ 422481 h 444953"/>
              <a:gd name="connsiteX45" fmla="*/ 659292 w 1253173"/>
              <a:gd name="connsiteY45" fmla="*/ 429654 h 444953"/>
              <a:gd name="connsiteX46" fmla="*/ 669936 w 1253173"/>
              <a:gd name="connsiteY46" fmla="*/ 434339 h 444953"/>
              <a:gd name="connsiteX47" fmla="*/ 688620 w 1253173"/>
              <a:gd name="connsiteY47" fmla="*/ 442495 h 444953"/>
              <a:gd name="connsiteX48" fmla="*/ 688620 w 1253173"/>
              <a:gd name="connsiteY48" fmla="*/ 442495 h 444953"/>
              <a:gd name="connsiteX49" fmla="*/ 692438 w 1253173"/>
              <a:gd name="connsiteY49" fmla="*/ 441281 h 444953"/>
              <a:gd name="connsiteX50" fmla="*/ 693942 w 1253173"/>
              <a:gd name="connsiteY50" fmla="*/ 436827 h 444953"/>
              <a:gd name="connsiteX51" fmla="*/ 651889 w 1253173"/>
              <a:gd name="connsiteY51" fmla="*/ 420977 h 444953"/>
              <a:gd name="connsiteX52" fmla="*/ 645699 w 1253173"/>
              <a:gd name="connsiteY52" fmla="*/ 422076 h 444953"/>
              <a:gd name="connsiteX53" fmla="*/ 591210 w 1253173"/>
              <a:gd name="connsiteY53" fmla="*/ 412417 h 444953"/>
              <a:gd name="connsiteX54" fmla="*/ 591210 w 1253173"/>
              <a:gd name="connsiteY54" fmla="*/ 412417 h 444953"/>
              <a:gd name="connsiteX55" fmla="*/ 565874 w 1253173"/>
              <a:gd name="connsiteY55" fmla="*/ 401947 h 444953"/>
              <a:gd name="connsiteX56" fmla="*/ 565874 w 1253173"/>
              <a:gd name="connsiteY56" fmla="*/ 391361 h 444953"/>
              <a:gd name="connsiteX57" fmla="*/ 575823 w 1253173"/>
              <a:gd name="connsiteY57" fmla="*/ 384246 h 444953"/>
              <a:gd name="connsiteX58" fmla="*/ 580624 w 1253173"/>
              <a:gd name="connsiteY58" fmla="*/ 385808 h 444953"/>
              <a:gd name="connsiteX59" fmla="*/ 591557 w 1253173"/>
              <a:gd name="connsiteY59" fmla="*/ 388989 h 444953"/>
              <a:gd name="connsiteX60" fmla="*/ 603936 w 1253173"/>
              <a:gd name="connsiteY60" fmla="*/ 383205 h 444953"/>
              <a:gd name="connsiteX61" fmla="*/ 612902 w 1253173"/>
              <a:gd name="connsiteY61" fmla="*/ 380024 h 444953"/>
              <a:gd name="connsiteX62" fmla="*/ 645873 w 1253173"/>
              <a:gd name="connsiteY62" fmla="*/ 391592 h 444953"/>
              <a:gd name="connsiteX63" fmla="*/ 646393 w 1253173"/>
              <a:gd name="connsiteY63" fmla="*/ 396914 h 444953"/>
              <a:gd name="connsiteX64" fmla="*/ 631007 w 1253173"/>
              <a:gd name="connsiteY64" fmla="*/ 403566 h 444953"/>
              <a:gd name="connsiteX65" fmla="*/ 607060 w 1253173"/>
              <a:gd name="connsiteY65" fmla="*/ 408772 h 444953"/>
              <a:gd name="connsiteX66" fmla="*/ 591268 w 1253173"/>
              <a:gd name="connsiteY66" fmla="*/ 412301 h 444953"/>
              <a:gd name="connsiteX67" fmla="*/ 575592 w 1253173"/>
              <a:gd name="connsiteY67" fmla="*/ 386502 h 444953"/>
              <a:gd name="connsiteX68" fmla="*/ 567667 w 1253173"/>
              <a:gd name="connsiteY68" fmla="*/ 392286 h 444953"/>
              <a:gd name="connsiteX69" fmla="*/ 567667 w 1253173"/>
              <a:gd name="connsiteY69" fmla="*/ 400558 h 444953"/>
              <a:gd name="connsiteX70" fmla="*/ 591152 w 1253173"/>
              <a:gd name="connsiteY70" fmla="*/ 410103 h 444953"/>
              <a:gd name="connsiteX71" fmla="*/ 591152 w 1253173"/>
              <a:gd name="connsiteY71" fmla="*/ 410103 h 444953"/>
              <a:gd name="connsiteX72" fmla="*/ 605844 w 1253173"/>
              <a:gd name="connsiteY72" fmla="*/ 406690 h 444953"/>
              <a:gd name="connsiteX73" fmla="*/ 630602 w 1253173"/>
              <a:gd name="connsiteY73" fmla="*/ 401253 h 444953"/>
              <a:gd name="connsiteX74" fmla="*/ 644022 w 1253173"/>
              <a:gd name="connsiteY74" fmla="*/ 395873 h 444953"/>
              <a:gd name="connsiteX75" fmla="*/ 643675 w 1253173"/>
              <a:gd name="connsiteY75" fmla="*/ 392749 h 444953"/>
              <a:gd name="connsiteX76" fmla="*/ 612612 w 1253173"/>
              <a:gd name="connsiteY76" fmla="*/ 382106 h 444953"/>
              <a:gd name="connsiteX77" fmla="*/ 605729 w 1253173"/>
              <a:gd name="connsiteY77" fmla="*/ 383957 h 444953"/>
              <a:gd name="connsiteX78" fmla="*/ 591268 w 1253173"/>
              <a:gd name="connsiteY78" fmla="*/ 391187 h 444953"/>
              <a:gd name="connsiteX79" fmla="*/ 579004 w 1253173"/>
              <a:gd name="connsiteY79" fmla="*/ 387601 h 444953"/>
              <a:gd name="connsiteX80" fmla="*/ 575650 w 1253173"/>
              <a:gd name="connsiteY80" fmla="*/ 386502 h 444953"/>
              <a:gd name="connsiteX81" fmla="*/ 1252370 w 1253173"/>
              <a:gd name="connsiteY81" fmla="*/ 406516 h 444953"/>
              <a:gd name="connsiteX82" fmla="*/ 1251792 w 1253173"/>
              <a:gd name="connsiteY82" fmla="*/ 406516 h 444953"/>
              <a:gd name="connsiteX83" fmla="*/ 1236174 w 1253173"/>
              <a:gd name="connsiteY83" fmla="*/ 393154 h 444953"/>
              <a:gd name="connsiteX84" fmla="*/ 1223332 w 1253173"/>
              <a:gd name="connsiteY84" fmla="*/ 384015 h 444953"/>
              <a:gd name="connsiteX85" fmla="*/ 1204591 w 1253173"/>
              <a:gd name="connsiteY85" fmla="*/ 386271 h 444953"/>
              <a:gd name="connsiteX86" fmla="*/ 1170694 w 1253173"/>
              <a:gd name="connsiteY86" fmla="*/ 389799 h 444953"/>
              <a:gd name="connsiteX87" fmla="*/ 1159125 w 1253173"/>
              <a:gd name="connsiteY87" fmla="*/ 386676 h 444953"/>
              <a:gd name="connsiteX88" fmla="*/ 1160109 w 1253173"/>
              <a:gd name="connsiteY88" fmla="*/ 377710 h 444953"/>
              <a:gd name="connsiteX89" fmla="*/ 1185907 w 1253173"/>
              <a:gd name="connsiteY89" fmla="*/ 363191 h 444953"/>
              <a:gd name="connsiteX90" fmla="*/ 1194179 w 1253173"/>
              <a:gd name="connsiteY90" fmla="*/ 359605 h 444953"/>
              <a:gd name="connsiteX91" fmla="*/ 1185907 w 1253173"/>
              <a:gd name="connsiteY91" fmla="*/ 340863 h 444953"/>
              <a:gd name="connsiteX92" fmla="*/ 1180123 w 1253173"/>
              <a:gd name="connsiteY92" fmla="*/ 326402 h 444953"/>
              <a:gd name="connsiteX93" fmla="*/ 1170578 w 1253173"/>
              <a:gd name="connsiteY93" fmla="*/ 309453 h 444953"/>
              <a:gd name="connsiteX94" fmla="*/ 1094513 w 1253173"/>
              <a:gd name="connsiteY94" fmla="*/ 283019 h 444953"/>
              <a:gd name="connsiteX95" fmla="*/ 1081325 w 1253173"/>
              <a:gd name="connsiteY95" fmla="*/ 277234 h 444953"/>
              <a:gd name="connsiteX96" fmla="*/ 1070045 w 1253173"/>
              <a:gd name="connsiteY96" fmla="*/ 270061 h 444953"/>
              <a:gd name="connsiteX97" fmla="*/ 1050725 w 1253173"/>
              <a:gd name="connsiteY97" fmla="*/ 261385 h 444953"/>
              <a:gd name="connsiteX98" fmla="*/ 1044073 w 1253173"/>
              <a:gd name="connsiteY98" fmla="*/ 258203 h 444953"/>
              <a:gd name="connsiteX99" fmla="*/ 1043205 w 1253173"/>
              <a:gd name="connsiteY99" fmla="*/ 260922 h 444953"/>
              <a:gd name="connsiteX100" fmla="*/ 1032041 w 1253173"/>
              <a:gd name="connsiteY100" fmla="*/ 270871 h 444953"/>
              <a:gd name="connsiteX101" fmla="*/ 1022323 w 1253173"/>
              <a:gd name="connsiteY101" fmla="*/ 261998 h 444953"/>
              <a:gd name="connsiteX102" fmla="*/ 1022323 w 1253173"/>
              <a:gd name="connsiteY102" fmla="*/ 260922 h 444953"/>
              <a:gd name="connsiteX103" fmla="*/ 1009308 w 1253173"/>
              <a:gd name="connsiteY103" fmla="*/ 240445 h 444953"/>
              <a:gd name="connsiteX104" fmla="*/ 1005722 w 1253173"/>
              <a:gd name="connsiteY104" fmla="*/ 237553 h 444953"/>
              <a:gd name="connsiteX105" fmla="*/ 1003755 w 1253173"/>
              <a:gd name="connsiteY105" fmla="*/ 233099 h 444953"/>
              <a:gd name="connsiteX106" fmla="*/ 1012374 w 1253173"/>
              <a:gd name="connsiteY106" fmla="*/ 230207 h 444953"/>
              <a:gd name="connsiteX107" fmla="*/ 1022959 w 1253173"/>
              <a:gd name="connsiteY107" fmla="*/ 231595 h 444953"/>
              <a:gd name="connsiteX108" fmla="*/ 1031289 w 1253173"/>
              <a:gd name="connsiteY108" fmla="*/ 229455 h 444953"/>
              <a:gd name="connsiteX109" fmla="*/ 1039908 w 1253173"/>
              <a:gd name="connsiteY109" fmla="*/ 226274 h 444953"/>
              <a:gd name="connsiteX110" fmla="*/ 1046444 w 1253173"/>
              <a:gd name="connsiteY110" fmla="*/ 227546 h 444953"/>
              <a:gd name="connsiteX111" fmla="*/ 1054947 w 1253173"/>
              <a:gd name="connsiteY111" fmla="*/ 225927 h 444953"/>
              <a:gd name="connsiteX112" fmla="*/ 1048585 w 1253173"/>
              <a:gd name="connsiteY112" fmla="*/ 221646 h 444953"/>
              <a:gd name="connsiteX113" fmla="*/ 1041065 w 1253173"/>
              <a:gd name="connsiteY113" fmla="*/ 222687 h 444953"/>
              <a:gd name="connsiteX114" fmla="*/ 1020125 w 1253173"/>
              <a:gd name="connsiteY114" fmla="*/ 224885 h 444953"/>
              <a:gd name="connsiteX115" fmla="*/ 1003871 w 1253173"/>
              <a:gd name="connsiteY115" fmla="*/ 218580 h 444953"/>
              <a:gd name="connsiteX116" fmla="*/ 1001095 w 1253173"/>
              <a:gd name="connsiteY116" fmla="*/ 211870 h 444953"/>
              <a:gd name="connsiteX117" fmla="*/ 989526 w 1253173"/>
              <a:gd name="connsiteY117" fmla="*/ 200706 h 444953"/>
              <a:gd name="connsiteX118" fmla="*/ 983741 w 1253173"/>
              <a:gd name="connsiteY118" fmla="*/ 200706 h 444953"/>
              <a:gd name="connsiteX119" fmla="*/ 979924 w 1253173"/>
              <a:gd name="connsiteY119" fmla="*/ 200706 h 444953"/>
              <a:gd name="connsiteX120" fmla="*/ 974949 w 1253173"/>
              <a:gd name="connsiteY120" fmla="*/ 199029 h 444953"/>
              <a:gd name="connsiteX121" fmla="*/ 974023 w 1253173"/>
              <a:gd name="connsiteY121" fmla="*/ 191625 h 444953"/>
              <a:gd name="connsiteX122" fmla="*/ 984898 w 1253173"/>
              <a:gd name="connsiteY122" fmla="*/ 182890 h 444953"/>
              <a:gd name="connsiteX123" fmla="*/ 997508 w 1253173"/>
              <a:gd name="connsiteY123" fmla="*/ 173693 h 444953"/>
              <a:gd name="connsiteX124" fmla="*/ 1015902 w 1253173"/>
              <a:gd name="connsiteY124" fmla="*/ 166173 h 444953"/>
              <a:gd name="connsiteX125" fmla="*/ 1061658 w 1253173"/>
              <a:gd name="connsiteY125" fmla="*/ 181502 h 444953"/>
              <a:gd name="connsiteX126" fmla="*/ 1069524 w 1253173"/>
              <a:gd name="connsiteY126" fmla="*/ 208805 h 444953"/>
              <a:gd name="connsiteX127" fmla="*/ 1086878 w 1253173"/>
              <a:gd name="connsiteY127" fmla="*/ 249296 h 444953"/>
              <a:gd name="connsiteX128" fmla="*/ 1089249 w 1253173"/>
              <a:gd name="connsiteY128" fmla="*/ 248891 h 444953"/>
              <a:gd name="connsiteX129" fmla="*/ 1115048 w 1253173"/>
              <a:gd name="connsiteY129" fmla="*/ 232000 h 444953"/>
              <a:gd name="connsiteX130" fmla="*/ 1134021 w 1253173"/>
              <a:gd name="connsiteY130" fmla="*/ 220431 h 444953"/>
              <a:gd name="connsiteX131" fmla="*/ 1144317 w 1253173"/>
              <a:gd name="connsiteY131" fmla="*/ 210771 h 444953"/>
              <a:gd name="connsiteX132" fmla="*/ 1158199 w 1253173"/>
              <a:gd name="connsiteY132" fmla="*/ 198624 h 444953"/>
              <a:gd name="connsiteX133" fmla="*/ 1158720 w 1253173"/>
              <a:gd name="connsiteY133" fmla="*/ 198624 h 444953"/>
              <a:gd name="connsiteX134" fmla="*/ 1208524 w 1253173"/>
              <a:gd name="connsiteY134" fmla="*/ 215283 h 444953"/>
              <a:gd name="connsiteX135" fmla="*/ 1252312 w 1253173"/>
              <a:gd name="connsiteY135" fmla="*/ 231537 h 444953"/>
              <a:gd name="connsiteX136" fmla="*/ 1253064 w 1253173"/>
              <a:gd name="connsiteY136" fmla="*/ 232578 h 444953"/>
              <a:gd name="connsiteX137" fmla="*/ 1253064 w 1253173"/>
              <a:gd name="connsiteY137" fmla="*/ 405012 h 444953"/>
              <a:gd name="connsiteX138" fmla="*/ 1252486 w 1253173"/>
              <a:gd name="connsiteY138" fmla="*/ 405996 h 444953"/>
              <a:gd name="connsiteX139" fmla="*/ 1252544 w 1253173"/>
              <a:gd name="connsiteY139" fmla="*/ 406516 h 444953"/>
              <a:gd name="connsiteX140" fmla="*/ 1223448 w 1253173"/>
              <a:gd name="connsiteY140" fmla="*/ 381585 h 444953"/>
              <a:gd name="connsiteX141" fmla="*/ 1237909 w 1253173"/>
              <a:gd name="connsiteY141" fmla="*/ 391361 h 444953"/>
              <a:gd name="connsiteX142" fmla="*/ 1251387 w 1253173"/>
              <a:gd name="connsiteY142" fmla="*/ 403277 h 444953"/>
              <a:gd name="connsiteX143" fmla="*/ 1251387 w 1253173"/>
              <a:gd name="connsiteY143" fmla="*/ 233793 h 444953"/>
              <a:gd name="connsiteX144" fmla="*/ 1208293 w 1253173"/>
              <a:gd name="connsiteY144" fmla="*/ 217770 h 444953"/>
              <a:gd name="connsiteX145" fmla="*/ 1159299 w 1253173"/>
              <a:gd name="connsiteY145" fmla="*/ 201285 h 444953"/>
              <a:gd name="connsiteX146" fmla="*/ 1159241 w 1253173"/>
              <a:gd name="connsiteY146" fmla="*/ 201285 h 444953"/>
              <a:gd name="connsiteX147" fmla="*/ 1147152 w 1253173"/>
              <a:gd name="connsiteY147" fmla="*/ 212333 h 444953"/>
              <a:gd name="connsiteX148" fmla="*/ 1134947 w 1253173"/>
              <a:gd name="connsiteY148" fmla="*/ 223092 h 444953"/>
              <a:gd name="connsiteX149" fmla="*/ 1117593 w 1253173"/>
              <a:gd name="connsiteY149" fmla="*/ 234025 h 444953"/>
              <a:gd name="connsiteX150" fmla="*/ 1090984 w 1253173"/>
              <a:gd name="connsiteY150" fmla="*/ 251378 h 444953"/>
              <a:gd name="connsiteX151" fmla="*/ 1087919 w 1253173"/>
              <a:gd name="connsiteY151" fmla="*/ 251899 h 444953"/>
              <a:gd name="connsiteX152" fmla="*/ 1068136 w 1253173"/>
              <a:gd name="connsiteY152" fmla="*/ 209557 h 444953"/>
              <a:gd name="connsiteX153" fmla="*/ 1060674 w 1253173"/>
              <a:gd name="connsiteY153" fmla="*/ 183180 h 444953"/>
              <a:gd name="connsiteX154" fmla="*/ 1016712 w 1253173"/>
              <a:gd name="connsiteY154" fmla="*/ 168776 h 444953"/>
              <a:gd name="connsiteX155" fmla="*/ 1000459 w 1253173"/>
              <a:gd name="connsiteY155" fmla="*/ 174561 h 444953"/>
              <a:gd name="connsiteX156" fmla="*/ 986286 w 1253173"/>
              <a:gd name="connsiteY156" fmla="*/ 185146 h 444953"/>
              <a:gd name="connsiteX157" fmla="*/ 977031 w 1253173"/>
              <a:gd name="connsiteY157" fmla="*/ 192087 h 444953"/>
              <a:gd name="connsiteX158" fmla="*/ 977436 w 1253173"/>
              <a:gd name="connsiteY158" fmla="*/ 197872 h 444953"/>
              <a:gd name="connsiteX159" fmla="*/ 980733 w 1253173"/>
              <a:gd name="connsiteY159" fmla="*/ 198740 h 444953"/>
              <a:gd name="connsiteX160" fmla="*/ 984378 w 1253173"/>
              <a:gd name="connsiteY160" fmla="*/ 198740 h 444953"/>
              <a:gd name="connsiteX161" fmla="*/ 990162 w 1253173"/>
              <a:gd name="connsiteY161" fmla="*/ 198740 h 444953"/>
              <a:gd name="connsiteX162" fmla="*/ 1003871 w 1253173"/>
              <a:gd name="connsiteY162" fmla="*/ 211350 h 444953"/>
              <a:gd name="connsiteX163" fmla="*/ 1006532 w 1253173"/>
              <a:gd name="connsiteY163" fmla="*/ 217886 h 444953"/>
              <a:gd name="connsiteX164" fmla="*/ 1020762 w 1253173"/>
              <a:gd name="connsiteY164" fmla="*/ 222919 h 444953"/>
              <a:gd name="connsiteX165" fmla="*/ 1041354 w 1253173"/>
              <a:gd name="connsiteY165" fmla="*/ 220778 h 444953"/>
              <a:gd name="connsiteX166" fmla="*/ 1049047 w 1253173"/>
              <a:gd name="connsiteY166" fmla="*/ 219737 h 444953"/>
              <a:gd name="connsiteX167" fmla="*/ 1049973 w 1253173"/>
              <a:gd name="connsiteY167" fmla="*/ 219737 h 444953"/>
              <a:gd name="connsiteX168" fmla="*/ 1057840 w 1253173"/>
              <a:gd name="connsiteY168" fmla="*/ 226274 h 444953"/>
              <a:gd name="connsiteX169" fmla="*/ 1052055 w 1253173"/>
              <a:gd name="connsiteY169" fmla="*/ 231132 h 444953"/>
              <a:gd name="connsiteX170" fmla="*/ 1046271 w 1253173"/>
              <a:gd name="connsiteY170" fmla="*/ 230033 h 444953"/>
              <a:gd name="connsiteX171" fmla="*/ 1040486 w 1253173"/>
              <a:gd name="connsiteY171" fmla="*/ 228876 h 444953"/>
              <a:gd name="connsiteX172" fmla="*/ 1033082 w 1253173"/>
              <a:gd name="connsiteY172" fmla="*/ 231653 h 444953"/>
              <a:gd name="connsiteX173" fmla="*/ 1025852 w 1253173"/>
              <a:gd name="connsiteY173" fmla="*/ 234487 h 444953"/>
              <a:gd name="connsiteX174" fmla="*/ 1023017 w 1253173"/>
              <a:gd name="connsiteY174" fmla="*/ 234082 h 444953"/>
              <a:gd name="connsiteX175" fmla="*/ 1012952 w 1253173"/>
              <a:gd name="connsiteY175" fmla="*/ 232810 h 444953"/>
              <a:gd name="connsiteX176" fmla="*/ 1006474 w 1253173"/>
              <a:gd name="connsiteY176" fmla="*/ 234256 h 444953"/>
              <a:gd name="connsiteX177" fmla="*/ 1007804 w 1253173"/>
              <a:gd name="connsiteY177" fmla="*/ 236165 h 444953"/>
              <a:gd name="connsiteX178" fmla="*/ 1011275 w 1253173"/>
              <a:gd name="connsiteY178" fmla="*/ 238999 h 444953"/>
              <a:gd name="connsiteX179" fmla="*/ 1025157 w 1253173"/>
              <a:gd name="connsiteY179" fmla="*/ 261269 h 444953"/>
              <a:gd name="connsiteX180" fmla="*/ 1031521 w 1253173"/>
              <a:gd name="connsiteY180" fmla="*/ 268945 h 444953"/>
              <a:gd name="connsiteX181" fmla="*/ 1032620 w 1253173"/>
              <a:gd name="connsiteY181" fmla="*/ 268962 h 444953"/>
              <a:gd name="connsiteX182" fmla="*/ 1041528 w 1253173"/>
              <a:gd name="connsiteY182" fmla="*/ 261269 h 444953"/>
              <a:gd name="connsiteX183" fmla="*/ 1044651 w 1253173"/>
              <a:gd name="connsiteY183" fmla="*/ 256295 h 444953"/>
              <a:gd name="connsiteX184" fmla="*/ 1052461 w 1253173"/>
              <a:gd name="connsiteY184" fmla="*/ 259765 h 444953"/>
              <a:gd name="connsiteX185" fmla="*/ 1071202 w 1253173"/>
              <a:gd name="connsiteY185" fmla="*/ 268268 h 444953"/>
              <a:gd name="connsiteX186" fmla="*/ 1083870 w 1253173"/>
              <a:gd name="connsiteY186" fmla="*/ 276540 h 444953"/>
              <a:gd name="connsiteX187" fmla="*/ 1095438 w 1253173"/>
              <a:gd name="connsiteY187" fmla="*/ 281168 h 444953"/>
              <a:gd name="connsiteX188" fmla="*/ 1172718 w 1253173"/>
              <a:gd name="connsiteY188" fmla="*/ 308007 h 444953"/>
              <a:gd name="connsiteX189" fmla="*/ 1183188 w 1253173"/>
              <a:gd name="connsiteY189" fmla="*/ 326575 h 444953"/>
              <a:gd name="connsiteX190" fmla="*/ 1188279 w 1253173"/>
              <a:gd name="connsiteY190" fmla="*/ 339648 h 444953"/>
              <a:gd name="connsiteX191" fmla="*/ 1196898 w 1253173"/>
              <a:gd name="connsiteY191" fmla="*/ 360877 h 444953"/>
              <a:gd name="connsiteX192" fmla="*/ 1186601 w 1253173"/>
              <a:gd name="connsiteY192" fmla="*/ 365794 h 444953"/>
              <a:gd name="connsiteX193" fmla="*/ 1162769 w 1253173"/>
              <a:gd name="connsiteY193" fmla="*/ 379214 h 444953"/>
              <a:gd name="connsiteX194" fmla="*/ 1161786 w 1253173"/>
              <a:gd name="connsiteY194" fmla="*/ 385924 h 444953"/>
              <a:gd name="connsiteX195" fmla="*/ 1171157 w 1253173"/>
              <a:gd name="connsiteY195" fmla="*/ 387891 h 444953"/>
              <a:gd name="connsiteX196" fmla="*/ 1204706 w 1253173"/>
              <a:gd name="connsiteY196" fmla="*/ 384362 h 444953"/>
              <a:gd name="connsiteX197" fmla="*/ 1223506 w 1253173"/>
              <a:gd name="connsiteY197" fmla="*/ 381585 h 444953"/>
              <a:gd name="connsiteX198" fmla="*/ 713435 w 1253173"/>
              <a:gd name="connsiteY198" fmla="*/ 406516 h 444953"/>
              <a:gd name="connsiteX199" fmla="*/ 711352 w 1253173"/>
              <a:gd name="connsiteY199" fmla="*/ 406516 h 444953"/>
              <a:gd name="connsiteX200" fmla="*/ 666002 w 1253173"/>
              <a:gd name="connsiteY200" fmla="*/ 397782 h 444953"/>
              <a:gd name="connsiteX201" fmla="*/ 666002 w 1253173"/>
              <a:gd name="connsiteY201" fmla="*/ 394138 h 444953"/>
              <a:gd name="connsiteX202" fmla="*/ 696834 w 1253173"/>
              <a:gd name="connsiteY202" fmla="*/ 385577 h 444953"/>
              <a:gd name="connsiteX203" fmla="*/ 718004 w 1253173"/>
              <a:gd name="connsiteY203" fmla="*/ 388989 h 444953"/>
              <a:gd name="connsiteX204" fmla="*/ 730267 w 1253173"/>
              <a:gd name="connsiteY204" fmla="*/ 391245 h 444953"/>
              <a:gd name="connsiteX205" fmla="*/ 749240 w 1253173"/>
              <a:gd name="connsiteY205" fmla="*/ 387543 h 444953"/>
              <a:gd name="connsiteX206" fmla="*/ 770006 w 1253173"/>
              <a:gd name="connsiteY206" fmla="*/ 383610 h 444953"/>
              <a:gd name="connsiteX207" fmla="*/ 775791 w 1253173"/>
              <a:gd name="connsiteY207" fmla="*/ 384073 h 444953"/>
              <a:gd name="connsiteX208" fmla="*/ 787360 w 1253173"/>
              <a:gd name="connsiteY208" fmla="*/ 388816 h 444953"/>
              <a:gd name="connsiteX209" fmla="*/ 766767 w 1253173"/>
              <a:gd name="connsiteY209" fmla="*/ 394600 h 444953"/>
              <a:gd name="connsiteX210" fmla="*/ 746638 w 1253173"/>
              <a:gd name="connsiteY210" fmla="*/ 399633 h 444953"/>
              <a:gd name="connsiteX211" fmla="*/ 713435 w 1253173"/>
              <a:gd name="connsiteY211" fmla="*/ 406516 h 444953"/>
              <a:gd name="connsiteX212" fmla="*/ 697065 w 1253173"/>
              <a:gd name="connsiteY212" fmla="*/ 387775 h 444953"/>
              <a:gd name="connsiteX213" fmla="*/ 668143 w 1253173"/>
              <a:gd name="connsiteY213" fmla="*/ 395295 h 444953"/>
              <a:gd name="connsiteX214" fmla="*/ 668143 w 1253173"/>
              <a:gd name="connsiteY214" fmla="*/ 396741 h 444953"/>
              <a:gd name="connsiteX215" fmla="*/ 711584 w 1253173"/>
              <a:gd name="connsiteY215" fmla="*/ 404202 h 444953"/>
              <a:gd name="connsiteX216" fmla="*/ 746290 w 1253173"/>
              <a:gd name="connsiteY216" fmla="*/ 397261 h 444953"/>
              <a:gd name="connsiteX217" fmla="*/ 766998 w 1253173"/>
              <a:gd name="connsiteY217" fmla="*/ 392113 h 444953"/>
              <a:gd name="connsiteX218" fmla="*/ 785393 w 1253173"/>
              <a:gd name="connsiteY218" fmla="*/ 388700 h 444953"/>
              <a:gd name="connsiteX219" fmla="*/ 775849 w 1253173"/>
              <a:gd name="connsiteY219" fmla="*/ 386213 h 444953"/>
              <a:gd name="connsiteX220" fmla="*/ 770064 w 1253173"/>
              <a:gd name="connsiteY220" fmla="*/ 385808 h 444953"/>
              <a:gd name="connsiteX221" fmla="*/ 749935 w 1253173"/>
              <a:gd name="connsiteY221" fmla="*/ 389684 h 444953"/>
              <a:gd name="connsiteX222" fmla="*/ 730325 w 1253173"/>
              <a:gd name="connsiteY222" fmla="*/ 393386 h 444953"/>
              <a:gd name="connsiteX223" fmla="*/ 717310 w 1253173"/>
              <a:gd name="connsiteY223" fmla="*/ 391014 h 444953"/>
              <a:gd name="connsiteX224" fmla="*/ 697065 w 1253173"/>
              <a:gd name="connsiteY224" fmla="*/ 387775 h 444953"/>
              <a:gd name="connsiteX225" fmla="*/ 540249 w 1253173"/>
              <a:gd name="connsiteY225" fmla="*/ 398187 h 444953"/>
              <a:gd name="connsiteX226" fmla="*/ 540249 w 1253173"/>
              <a:gd name="connsiteY226" fmla="*/ 398187 h 444953"/>
              <a:gd name="connsiteX227" fmla="*/ 527639 w 1253173"/>
              <a:gd name="connsiteY227" fmla="*/ 394022 h 444953"/>
              <a:gd name="connsiteX228" fmla="*/ 521855 w 1253173"/>
              <a:gd name="connsiteY228" fmla="*/ 391650 h 444953"/>
              <a:gd name="connsiteX229" fmla="*/ 519483 w 1253173"/>
              <a:gd name="connsiteY229" fmla="*/ 393038 h 444953"/>
              <a:gd name="connsiteX230" fmla="*/ 512311 w 1253173"/>
              <a:gd name="connsiteY230" fmla="*/ 396336 h 444953"/>
              <a:gd name="connsiteX231" fmla="*/ 501320 w 1253173"/>
              <a:gd name="connsiteY231" fmla="*/ 394253 h 444953"/>
              <a:gd name="connsiteX232" fmla="*/ 486338 w 1253173"/>
              <a:gd name="connsiteY232" fmla="*/ 391592 h 444953"/>
              <a:gd name="connsiteX233" fmla="*/ 482405 w 1253173"/>
              <a:gd name="connsiteY233" fmla="*/ 391882 h 444953"/>
              <a:gd name="connsiteX234" fmla="*/ 466208 w 1253173"/>
              <a:gd name="connsiteY234" fmla="*/ 392981 h 444953"/>
              <a:gd name="connsiteX235" fmla="*/ 413686 w 1253173"/>
              <a:gd name="connsiteY235" fmla="*/ 380371 h 444953"/>
              <a:gd name="connsiteX236" fmla="*/ 370881 w 1253173"/>
              <a:gd name="connsiteY236" fmla="*/ 364810 h 444953"/>
              <a:gd name="connsiteX237" fmla="*/ 363708 w 1253173"/>
              <a:gd name="connsiteY237" fmla="*/ 367066 h 444953"/>
              <a:gd name="connsiteX238" fmla="*/ 354453 w 1253173"/>
              <a:gd name="connsiteY238" fmla="*/ 370364 h 444953"/>
              <a:gd name="connsiteX239" fmla="*/ 323622 w 1253173"/>
              <a:gd name="connsiteY239" fmla="*/ 365562 h 444953"/>
              <a:gd name="connsiteX240" fmla="*/ 314020 w 1253173"/>
              <a:gd name="connsiteY240" fmla="*/ 363596 h 444953"/>
              <a:gd name="connsiteX241" fmla="*/ 304360 w 1253173"/>
              <a:gd name="connsiteY241" fmla="*/ 353820 h 444953"/>
              <a:gd name="connsiteX242" fmla="*/ 299675 w 1253173"/>
              <a:gd name="connsiteY242" fmla="*/ 348325 h 444953"/>
              <a:gd name="connsiteX243" fmla="*/ 293543 w 1253173"/>
              <a:gd name="connsiteY243" fmla="*/ 349077 h 444953"/>
              <a:gd name="connsiteX244" fmla="*/ 286891 w 1253173"/>
              <a:gd name="connsiteY244" fmla="*/ 349944 h 444953"/>
              <a:gd name="connsiteX245" fmla="*/ 278388 w 1253173"/>
              <a:gd name="connsiteY245" fmla="*/ 343408 h 444953"/>
              <a:gd name="connsiteX246" fmla="*/ 277983 w 1253173"/>
              <a:gd name="connsiteY246" fmla="*/ 335599 h 444953"/>
              <a:gd name="connsiteX247" fmla="*/ 281222 w 1253173"/>
              <a:gd name="connsiteY247" fmla="*/ 334211 h 444953"/>
              <a:gd name="connsiteX248" fmla="*/ 291403 w 1253173"/>
              <a:gd name="connsiteY248" fmla="*/ 326402 h 444953"/>
              <a:gd name="connsiteX249" fmla="*/ 313326 w 1253173"/>
              <a:gd name="connsiteY249" fmla="*/ 318015 h 444953"/>
              <a:gd name="connsiteX250" fmla="*/ 356883 w 1253173"/>
              <a:gd name="connsiteY250" fmla="*/ 329294 h 444953"/>
              <a:gd name="connsiteX251" fmla="*/ 406803 w 1253173"/>
              <a:gd name="connsiteY251" fmla="*/ 345896 h 444953"/>
              <a:gd name="connsiteX252" fmla="*/ 413223 w 1253173"/>
              <a:gd name="connsiteY252" fmla="*/ 343061 h 444953"/>
              <a:gd name="connsiteX253" fmla="*/ 417214 w 1253173"/>
              <a:gd name="connsiteY253" fmla="*/ 339052 h 444953"/>
              <a:gd name="connsiteX254" fmla="*/ 417562 w 1253173"/>
              <a:gd name="connsiteY254" fmla="*/ 339070 h 444953"/>
              <a:gd name="connsiteX255" fmla="*/ 430229 w 1253173"/>
              <a:gd name="connsiteY255" fmla="*/ 342830 h 444953"/>
              <a:gd name="connsiteX256" fmla="*/ 459961 w 1253173"/>
              <a:gd name="connsiteY256" fmla="*/ 350060 h 444953"/>
              <a:gd name="connsiteX257" fmla="*/ 470546 w 1253173"/>
              <a:gd name="connsiteY257" fmla="*/ 348498 h 444953"/>
              <a:gd name="connsiteX258" fmla="*/ 498544 w 1253173"/>
              <a:gd name="connsiteY258" fmla="*/ 343350 h 444953"/>
              <a:gd name="connsiteX259" fmla="*/ 507394 w 1253173"/>
              <a:gd name="connsiteY259" fmla="*/ 346358 h 444953"/>
              <a:gd name="connsiteX260" fmla="*/ 503807 w 1253173"/>
              <a:gd name="connsiteY260" fmla="*/ 351333 h 444953"/>
              <a:gd name="connsiteX261" fmla="*/ 488768 w 1253173"/>
              <a:gd name="connsiteY261" fmla="*/ 357580 h 444953"/>
              <a:gd name="connsiteX262" fmla="*/ 472802 w 1253173"/>
              <a:gd name="connsiteY262" fmla="*/ 365447 h 444953"/>
              <a:gd name="connsiteX263" fmla="*/ 476216 w 1253173"/>
              <a:gd name="connsiteY263" fmla="*/ 367934 h 444953"/>
              <a:gd name="connsiteX264" fmla="*/ 494841 w 1253173"/>
              <a:gd name="connsiteY264" fmla="*/ 370479 h 444953"/>
              <a:gd name="connsiteX265" fmla="*/ 502304 w 1253173"/>
              <a:gd name="connsiteY265" fmla="*/ 370479 h 444953"/>
              <a:gd name="connsiteX266" fmla="*/ 509013 w 1253173"/>
              <a:gd name="connsiteY266" fmla="*/ 370479 h 444953"/>
              <a:gd name="connsiteX267" fmla="*/ 524516 w 1253173"/>
              <a:gd name="connsiteY267" fmla="*/ 376264 h 444953"/>
              <a:gd name="connsiteX268" fmla="*/ 540769 w 1253173"/>
              <a:gd name="connsiteY268" fmla="*/ 382048 h 444953"/>
              <a:gd name="connsiteX269" fmla="*/ 555578 w 1253173"/>
              <a:gd name="connsiteY269" fmla="*/ 387833 h 444953"/>
              <a:gd name="connsiteX270" fmla="*/ 551586 w 1253173"/>
              <a:gd name="connsiteY270" fmla="*/ 394080 h 444953"/>
              <a:gd name="connsiteX271" fmla="*/ 540307 w 1253173"/>
              <a:gd name="connsiteY271" fmla="*/ 398187 h 444953"/>
              <a:gd name="connsiteX272" fmla="*/ 521681 w 1253173"/>
              <a:gd name="connsiteY272" fmla="*/ 389337 h 444953"/>
              <a:gd name="connsiteX273" fmla="*/ 528738 w 1253173"/>
              <a:gd name="connsiteY273" fmla="*/ 392055 h 444953"/>
              <a:gd name="connsiteX274" fmla="*/ 540307 w 1253173"/>
              <a:gd name="connsiteY274" fmla="*/ 395931 h 444953"/>
              <a:gd name="connsiteX275" fmla="*/ 540307 w 1253173"/>
              <a:gd name="connsiteY275" fmla="*/ 395931 h 444953"/>
              <a:gd name="connsiteX276" fmla="*/ 550082 w 1253173"/>
              <a:gd name="connsiteY276" fmla="*/ 392344 h 444953"/>
              <a:gd name="connsiteX277" fmla="*/ 553264 w 1253173"/>
              <a:gd name="connsiteY277" fmla="*/ 388411 h 444953"/>
              <a:gd name="connsiteX278" fmla="*/ 540307 w 1253173"/>
              <a:gd name="connsiteY278" fmla="*/ 384478 h 444953"/>
              <a:gd name="connsiteX279" fmla="*/ 522144 w 1253173"/>
              <a:gd name="connsiteY279" fmla="*/ 376379 h 444953"/>
              <a:gd name="connsiteX280" fmla="*/ 508897 w 1253173"/>
              <a:gd name="connsiteY280" fmla="*/ 372504 h 444953"/>
              <a:gd name="connsiteX281" fmla="*/ 502246 w 1253173"/>
              <a:gd name="connsiteY281" fmla="*/ 372504 h 444953"/>
              <a:gd name="connsiteX282" fmla="*/ 494726 w 1253173"/>
              <a:gd name="connsiteY282" fmla="*/ 372504 h 444953"/>
              <a:gd name="connsiteX283" fmla="*/ 475232 w 1253173"/>
              <a:gd name="connsiteY283" fmla="*/ 369785 h 444953"/>
              <a:gd name="connsiteX284" fmla="*/ 470489 w 1253173"/>
              <a:gd name="connsiteY284" fmla="*/ 365100 h 444953"/>
              <a:gd name="connsiteX285" fmla="*/ 487843 w 1253173"/>
              <a:gd name="connsiteY285" fmla="*/ 355208 h 444953"/>
              <a:gd name="connsiteX286" fmla="*/ 502477 w 1253173"/>
              <a:gd name="connsiteY286" fmla="*/ 349424 h 444953"/>
              <a:gd name="connsiteX287" fmla="*/ 505080 w 1253173"/>
              <a:gd name="connsiteY287" fmla="*/ 346937 h 444953"/>
              <a:gd name="connsiteX288" fmla="*/ 498370 w 1253173"/>
              <a:gd name="connsiteY288" fmla="*/ 345606 h 444953"/>
              <a:gd name="connsiteX289" fmla="*/ 471068 w 1253173"/>
              <a:gd name="connsiteY289" fmla="*/ 350696 h 444953"/>
              <a:gd name="connsiteX290" fmla="*/ 459499 w 1253173"/>
              <a:gd name="connsiteY290" fmla="*/ 352316 h 444953"/>
              <a:gd name="connsiteX291" fmla="*/ 428957 w 1253173"/>
              <a:gd name="connsiteY291" fmla="*/ 344912 h 444953"/>
              <a:gd name="connsiteX292" fmla="*/ 417388 w 1253173"/>
              <a:gd name="connsiteY292" fmla="*/ 341326 h 444953"/>
              <a:gd name="connsiteX293" fmla="*/ 415306 w 1253173"/>
              <a:gd name="connsiteY293" fmla="*/ 343177 h 444953"/>
              <a:gd name="connsiteX294" fmla="*/ 406629 w 1253173"/>
              <a:gd name="connsiteY294" fmla="*/ 348151 h 444953"/>
              <a:gd name="connsiteX295" fmla="*/ 355379 w 1253173"/>
              <a:gd name="connsiteY295" fmla="*/ 331145 h 444953"/>
              <a:gd name="connsiteX296" fmla="*/ 313152 w 1253173"/>
              <a:gd name="connsiteY296" fmla="*/ 320271 h 444953"/>
              <a:gd name="connsiteX297" fmla="*/ 293196 w 1253173"/>
              <a:gd name="connsiteY297" fmla="*/ 327559 h 444953"/>
              <a:gd name="connsiteX298" fmla="*/ 281280 w 1253173"/>
              <a:gd name="connsiteY298" fmla="*/ 336467 h 444953"/>
              <a:gd name="connsiteX299" fmla="*/ 279660 w 1253173"/>
              <a:gd name="connsiteY299" fmla="*/ 336872 h 444953"/>
              <a:gd name="connsiteX300" fmla="*/ 280412 w 1253173"/>
              <a:gd name="connsiteY300" fmla="*/ 342656 h 444953"/>
              <a:gd name="connsiteX301" fmla="*/ 286718 w 1253173"/>
              <a:gd name="connsiteY301" fmla="*/ 347515 h 444953"/>
              <a:gd name="connsiteX302" fmla="*/ 292965 w 1253173"/>
              <a:gd name="connsiteY302" fmla="*/ 346705 h 444953"/>
              <a:gd name="connsiteX303" fmla="*/ 299501 w 1253173"/>
              <a:gd name="connsiteY303" fmla="*/ 345896 h 444953"/>
              <a:gd name="connsiteX304" fmla="*/ 306269 w 1253173"/>
              <a:gd name="connsiteY304" fmla="*/ 352837 h 444953"/>
              <a:gd name="connsiteX305" fmla="*/ 314194 w 1253173"/>
              <a:gd name="connsiteY305" fmla="*/ 361224 h 444953"/>
              <a:gd name="connsiteX306" fmla="*/ 323911 w 1253173"/>
              <a:gd name="connsiteY306" fmla="*/ 363191 h 444953"/>
              <a:gd name="connsiteX307" fmla="*/ 354280 w 1253173"/>
              <a:gd name="connsiteY307" fmla="*/ 367934 h 444953"/>
              <a:gd name="connsiteX308" fmla="*/ 361452 w 1253173"/>
              <a:gd name="connsiteY308" fmla="*/ 365967 h 444953"/>
              <a:gd name="connsiteX309" fmla="*/ 370708 w 1253173"/>
              <a:gd name="connsiteY309" fmla="*/ 362381 h 444953"/>
              <a:gd name="connsiteX310" fmla="*/ 414900 w 1253173"/>
              <a:gd name="connsiteY310" fmla="*/ 378404 h 444953"/>
              <a:gd name="connsiteX311" fmla="*/ 466035 w 1253173"/>
              <a:gd name="connsiteY311" fmla="*/ 390551 h 444953"/>
              <a:gd name="connsiteX312" fmla="*/ 481884 w 1253173"/>
              <a:gd name="connsiteY312" fmla="*/ 389510 h 444953"/>
              <a:gd name="connsiteX313" fmla="*/ 486165 w 1253173"/>
              <a:gd name="connsiteY313" fmla="*/ 389163 h 444953"/>
              <a:gd name="connsiteX314" fmla="*/ 501725 w 1253173"/>
              <a:gd name="connsiteY314" fmla="*/ 391882 h 444953"/>
              <a:gd name="connsiteX315" fmla="*/ 512137 w 1253173"/>
              <a:gd name="connsiteY315" fmla="*/ 393906 h 444953"/>
              <a:gd name="connsiteX316" fmla="*/ 517459 w 1253173"/>
              <a:gd name="connsiteY316" fmla="*/ 391534 h 444953"/>
              <a:gd name="connsiteX317" fmla="*/ 521681 w 1253173"/>
              <a:gd name="connsiteY317" fmla="*/ 389163 h 444953"/>
              <a:gd name="connsiteX318" fmla="*/ 247846 w 1253173"/>
              <a:gd name="connsiteY318" fmla="*/ 319750 h 444953"/>
              <a:gd name="connsiteX319" fmla="*/ 239632 w 1253173"/>
              <a:gd name="connsiteY319" fmla="*/ 310205 h 444953"/>
              <a:gd name="connsiteX320" fmla="*/ 235583 w 1253173"/>
              <a:gd name="connsiteY320" fmla="*/ 303611 h 444953"/>
              <a:gd name="connsiteX321" fmla="*/ 221238 w 1253173"/>
              <a:gd name="connsiteY321" fmla="*/ 292043 h 444953"/>
              <a:gd name="connsiteX322" fmla="*/ 186531 w 1253173"/>
              <a:gd name="connsiteY322" fmla="*/ 260633 h 444953"/>
              <a:gd name="connsiteX323" fmla="*/ 170161 w 1253173"/>
              <a:gd name="connsiteY323" fmla="*/ 243858 h 444953"/>
              <a:gd name="connsiteX324" fmla="*/ 147024 w 1253173"/>
              <a:gd name="connsiteY324" fmla="*/ 213432 h 444953"/>
              <a:gd name="connsiteX325" fmla="*/ 105897 w 1253173"/>
              <a:gd name="connsiteY325" fmla="*/ 151307 h 444953"/>
              <a:gd name="connsiteX326" fmla="*/ 92534 w 1253173"/>
              <a:gd name="connsiteY326" fmla="*/ 125914 h 444953"/>
              <a:gd name="connsiteX327" fmla="*/ 76107 w 1253173"/>
              <a:gd name="connsiteY327" fmla="*/ 96413 h 444953"/>
              <a:gd name="connsiteX328" fmla="*/ 53489 w 1253173"/>
              <a:gd name="connsiteY328" fmla="*/ 75358 h 444953"/>
              <a:gd name="connsiteX329" fmla="*/ 38508 w 1253173"/>
              <a:gd name="connsiteY329" fmla="*/ 57542 h 444953"/>
              <a:gd name="connsiteX330" fmla="*/ 909 w 1253173"/>
              <a:gd name="connsiteY330" fmla="*/ 3573 h 444953"/>
              <a:gd name="connsiteX331" fmla="*/ 5421 w 1253173"/>
              <a:gd name="connsiteY331" fmla="*/ -129 h 444953"/>
              <a:gd name="connsiteX332" fmla="*/ 13519 w 1253173"/>
              <a:gd name="connsiteY332" fmla="*/ 4151 h 444953"/>
              <a:gd name="connsiteX333" fmla="*/ 37062 w 1253173"/>
              <a:gd name="connsiteY333" fmla="*/ 13175 h 444953"/>
              <a:gd name="connsiteX334" fmla="*/ 77553 w 1253173"/>
              <a:gd name="connsiteY334" fmla="*/ 32495 h 444953"/>
              <a:gd name="connsiteX335" fmla="*/ 102946 w 1253173"/>
              <a:gd name="connsiteY335" fmla="*/ 55633 h 444953"/>
              <a:gd name="connsiteX336" fmla="*/ 123597 w 1253173"/>
              <a:gd name="connsiteY336" fmla="*/ 73738 h 444953"/>
              <a:gd name="connsiteX337" fmla="*/ 145520 w 1253173"/>
              <a:gd name="connsiteY337" fmla="*/ 96586 h 444953"/>
              <a:gd name="connsiteX338" fmla="*/ 167848 w 1253173"/>
              <a:gd name="connsiteY338" fmla="*/ 105784 h 444953"/>
              <a:gd name="connsiteX339" fmla="*/ 174558 w 1253173"/>
              <a:gd name="connsiteY339" fmla="*/ 108502 h 444953"/>
              <a:gd name="connsiteX340" fmla="*/ 184854 w 1253173"/>
              <a:gd name="connsiteY340" fmla="*/ 113882 h 444953"/>
              <a:gd name="connsiteX341" fmla="*/ 193531 w 1253173"/>
              <a:gd name="connsiteY341" fmla="*/ 120765 h 444953"/>
              <a:gd name="connsiteX342" fmla="*/ 198794 w 1253173"/>
              <a:gd name="connsiteY342" fmla="*/ 128285 h 444953"/>
              <a:gd name="connsiteX343" fmla="*/ 204579 w 1253173"/>
              <a:gd name="connsiteY343" fmla="*/ 132508 h 444953"/>
              <a:gd name="connsiteX344" fmla="*/ 213197 w 1253173"/>
              <a:gd name="connsiteY344" fmla="*/ 140375 h 444953"/>
              <a:gd name="connsiteX345" fmla="*/ 221296 w 1253173"/>
              <a:gd name="connsiteY345" fmla="*/ 151192 h 444953"/>
              <a:gd name="connsiteX346" fmla="*/ 228989 w 1253173"/>
              <a:gd name="connsiteY346" fmla="*/ 161430 h 444953"/>
              <a:gd name="connsiteX347" fmla="*/ 226560 w 1253173"/>
              <a:gd name="connsiteY347" fmla="*/ 166289 h 444953"/>
              <a:gd name="connsiteX348" fmla="*/ 221527 w 1253173"/>
              <a:gd name="connsiteY348" fmla="*/ 178899 h 444953"/>
              <a:gd name="connsiteX349" fmla="*/ 231418 w 1253173"/>
              <a:gd name="connsiteY349" fmla="*/ 183700 h 444953"/>
              <a:gd name="connsiteX350" fmla="*/ 245127 w 1253173"/>
              <a:gd name="connsiteY350" fmla="*/ 196599 h 444953"/>
              <a:gd name="connsiteX351" fmla="*/ 255771 w 1253173"/>
              <a:gd name="connsiteY351" fmla="*/ 208168 h 444953"/>
              <a:gd name="connsiteX352" fmla="*/ 265951 w 1253173"/>
              <a:gd name="connsiteY352" fmla="*/ 217076 h 444953"/>
              <a:gd name="connsiteX353" fmla="*/ 271736 w 1253173"/>
              <a:gd name="connsiteY353" fmla="*/ 222861 h 444953"/>
              <a:gd name="connsiteX354" fmla="*/ 272546 w 1253173"/>
              <a:gd name="connsiteY354" fmla="*/ 222861 h 444953"/>
              <a:gd name="connsiteX355" fmla="*/ 285618 w 1253173"/>
              <a:gd name="connsiteY355" fmla="*/ 227720 h 444953"/>
              <a:gd name="connsiteX356" fmla="*/ 287990 w 1253173"/>
              <a:gd name="connsiteY356" fmla="*/ 229281 h 444953"/>
              <a:gd name="connsiteX357" fmla="*/ 288569 w 1253173"/>
              <a:gd name="connsiteY357" fmla="*/ 228356 h 444953"/>
              <a:gd name="connsiteX358" fmla="*/ 288048 w 1253173"/>
              <a:gd name="connsiteY358" fmla="*/ 222167 h 444953"/>
              <a:gd name="connsiteX359" fmla="*/ 278966 w 1253173"/>
              <a:gd name="connsiteY359" fmla="*/ 217018 h 444953"/>
              <a:gd name="connsiteX360" fmla="*/ 271389 w 1253173"/>
              <a:gd name="connsiteY360" fmla="*/ 209325 h 444953"/>
              <a:gd name="connsiteX361" fmla="*/ 282322 w 1253173"/>
              <a:gd name="connsiteY361" fmla="*/ 202615 h 444953"/>
              <a:gd name="connsiteX362" fmla="*/ 299675 w 1253173"/>
              <a:gd name="connsiteY362" fmla="*/ 217539 h 444953"/>
              <a:gd name="connsiteX363" fmla="*/ 304939 w 1253173"/>
              <a:gd name="connsiteY363" fmla="*/ 224480 h 444953"/>
              <a:gd name="connsiteX364" fmla="*/ 310029 w 1253173"/>
              <a:gd name="connsiteY364" fmla="*/ 237495 h 444953"/>
              <a:gd name="connsiteX365" fmla="*/ 303550 w 1253173"/>
              <a:gd name="connsiteY365" fmla="*/ 243280 h 444953"/>
              <a:gd name="connsiteX366" fmla="*/ 299849 w 1253173"/>
              <a:gd name="connsiteY366" fmla="*/ 242875 h 444953"/>
              <a:gd name="connsiteX367" fmla="*/ 293659 w 1253173"/>
              <a:gd name="connsiteY367" fmla="*/ 248659 h 444953"/>
              <a:gd name="connsiteX368" fmla="*/ 292039 w 1253173"/>
              <a:gd name="connsiteY368" fmla="*/ 257625 h 444953"/>
              <a:gd name="connsiteX369" fmla="*/ 289610 w 1253173"/>
              <a:gd name="connsiteY369" fmla="*/ 276887 h 444953"/>
              <a:gd name="connsiteX370" fmla="*/ 282784 w 1253173"/>
              <a:gd name="connsiteY370" fmla="*/ 316742 h 444953"/>
              <a:gd name="connsiteX371" fmla="*/ 279140 w 1253173"/>
              <a:gd name="connsiteY371" fmla="*/ 318535 h 444953"/>
              <a:gd name="connsiteX372" fmla="*/ 278677 w 1253173"/>
              <a:gd name="connsiteY372" fmla="*/ 318535 h 444953"/>
              <a:gd name="connsiteX373" fmla="*/ 270347 w 1253173"/>
              <a:gd name="connsiteY373" fmla="*/ 316800 h 444953"/>
              <a:gd name="connsiteX374" fmla="*/ 257102 w 1253173"/>
              <a:gd name="connsiteY374" fmla="*/ 314544 h 444953"/>
              <a:gd name="connsiteX375" fmla="*/ 250738 w 1253173"/>
              <a:gd name="connsiteY375" fmla="*/ 317147 h 444953"/>
              <a:gd name="connsiteX376" fmla="*/ 247846 w 1253173"/>
              <a:gd name="connsiteY376" fmla="*/ 319750 h 444953"/>
              <a:gd name="connsiteX377" fmla="*/ 4900 w 1253173"/>
              <a:gd name="connsiteY377" fmla="*/ 2185 h 444953"/>
              <a:gd name="connsiteX378" fmla="*/ 2413 w 1253173"/>
              <a:gd name="connsiteY378" fmla="*/ 4556 h 444953"/>
              <a:gd name="connsiteX379" fmla="*/ 39144 w 1253173"/>
              <a:gd name="connsiteY379" fmla="*/ 55633 h 444953"/>
              <a:gd name="connsiteX380" fmla="*/ 54877 w 1253173"/>
              <a:gd name="connsiteY380" fmla="*/ 74201 h 444953"/>
              <a:gd name="connsiteX381" fmla="*/ 75817 w 1253173"/>
              <a:gd name="connsiteY381" fmla="*/ 94215 h 444953"/>
              <a:gd name="connsiteX382" fmla="*/ 94154 w 1253173"/>
              <a:gd name="connsiteY382" fmla="*/ 125335 h 444953"/>
              <a:gd name="connsiteX383" fmla="*/ 105723 w 1253173"/>
              <a:gd name="connsiteY383" fmla="*/ 149167 h 444953"/>
              <a:gd name="connsiteX384" fmla="*/ 148644 w 1253173"/>
              <a:gd name="connsiteY384" fmla="*/ 212796 h 444953"/>
              <a:gd name="connsiteX385" fmla="*/ 171202 w 1253173"/>
              <a:gd name="connsiteY385" fmla="*/ 241718 h 444953"/>
              <a:gd name="connsiteX386" fmla="*/ 188093 w 1253173"/>
              <a:gd name="connsiteY386" fmla="*/ 259071 h 444953"/>
              <a:gd name="connsiteX387" fmla="*/ 222453 w 1253173"/>
              <a:gd name="connsiteY387" fmla="*/ 289729 h 444953"/>
              <a:gd name="connsiteX388" fmla="*/ 237319 w 1253173"/>
              <a:gd name="connsiteY388" fmla="*/ 301702 h 444953"/>
              <a:gd name="connsiteX389" fmla="*/ 241483 w 1253173"/>
              <a:gd name="connsiteY389" fmla="*/ 308586 h 444953"/>
              <a:gd name="connsiteX390" fmla="*/ 247731 w 1253173"/>
              <a:gd name="connsiteY390" fmla="*/ 316973 h 444953"/>
              <a:gd name="connsiteX391" fmla="*/ 249177 w 1253173"/>
              <a:gd name="connsiteY391" fmla="*/ 315585 h 444953"/>
              <a:gd name="connsiteX392" fmla="*/ 257506 w 1253173"/>
              <a:gd name="connsiteY392" fmla="*/ 311767 h 444953"/>
              <a:gd name="connsiteX393" fmla="*/ 271331 w 1253173"/>
              <a:gd name="connsiteY393" fmla="*/ 314139 h 444953"/>
              <a:gd name="connsiteX394" fmla="*/ 279314 w 1253173"/>
              <a:gd name="connsiteY394" fmla="*/ 315817 h 444953"/>
              <a:gd name="connsiteX395" fmla="*/ 279314 w 1253173"/>
              <a:gd name="connsiteY395" fmla="*/ 315817 h 444953"/>
              <a:gd name="connsiteX396" fmla="*/ 281454 w 1253173"/>
              <a:gd name="connsiteY396" fmla="*/ 314775 h 444953"/>
              <a:gd name="connsiteX397" fmla="*/ 287701 w 1253173"/>
              <a:gd name="connsiteY397" fmla="*/ 276656 h 444953"/>
              <a:gd name="connsiteX398" fmla="*/ 290188 w 1253173"/>
              <a:gd name="connsiteY398" fmla="*/ 256699 h 444953"/>
              <a:gd name="connsiteX399" fmla="*/ 291750 w 1253173"/>
              <a:gd name="connsiteY399" fmla="*/ 248254 h 444953"/>
              <a:gd name="connsiteX400" fmla="*/ 304418 w 1253173"/>
              <a:gd name="connsiteY400" fmla="*/ 240677 h 444953"/>
              <a:gd name="connsiteX401" fmla="*/ 308178 w 1253173"/>
              <a:gd name="connsiteY401" fmla="*/ 236454 h 444953"/>
              <a:gd name="connsiteX402" fmla="*/ 304649 w 1253173"/>
              <a:gd name="connsiteY402" fmla="*/ 225927 h 444953"/>
              <a:gd name="connsiteX403" fmla="*/ 298055 w 1253173"/>
              <a:gd name="connsiteY403" fmla="*/ 217944 h 444953"/>
              <a:gd name="connsiteX404" fmla="*/ 282379 w 1253173"/>
              <a:gd name="connsiteY404" fmla="*/ 204177 h 444953"/>
              <a:gd name="connsiteX405" fmla="*/ 273703 w 1253173"/>
              <a:gd name="connsiteY405" fmla="*/ 208805 h 444953"/>
              <a:gd name="connsiteX406" fmla="*/ 279487 w 1253173"/>
              <a:gd name="connsiteY406" fmla="*/ 214068 h 444953"/>
              <a:gd name="connsiteX407" fmla="*/ 290246 w 1253173"/>
              <a:gd name="connsiteY407" fmla="*/ 220316 h 444953"/>
              <a:gd name="connsiteX408" fmla="*/ 290940 w 1253173"/>
              <a:gd name="connsiteY408" fmla="*/ 228529 h 444953"/>
              <a:gd name="connsiteX409" fmla="*/ 288280 w 1253173"/>
              <a:gd name="connsiteY409" fmla="*/ 230843 h 444953"/>
              <a:gd name="connsiteX410" fmla="*/ 284520 w 1253173"/>
              <a:gd name="connsiteY410" fmla="*/ 228761 h 444953"/>
              <a:gd name="connsiteX411" fmla="*/ 272951 w 1253173"/>
              <a:gd name="connsiteY411" fmla="*/ 224365 h 444953"/>
              <a:gd name="connsiteX412" fmla="*/ 263985 w 1253173"/>
              <a:gd name="connsiteY412" fmla="*/ 217192 h 444953"/>
              <a:gd name="connsiteX413" fmla="*/ 255828 w 1253173"/>
              <a:gd name="connsiteY413" fmla="*/ 209788 h 444953"/>
              <a:gd name="connsiteX414" fmla="*/ 243219 w 1253173"/>
              <a:gd name="connsiteY414" fmla="*/ 197178 h 444953"/>
              <a:gd name="connsiteX415" fmla="*/ 231650 w 1253173"/>
              <a:gd name="connsiteY415" fmla="*/ 185609 h 444953"/>
              <a:gd name="connsiteX416" fmla="*/ 219676 w 1253173"/>
              <a:gd name="connsiteY416" fmla="*/ 179362 h 444953"/>
              <a:gd name="connsiteX417" fmla="*/ 225460 w 1253173"/>
              <a:gd name="connsiteY417" fmla="*/ 164264 h 444953"/>
              <a:gd name="connsiteX418" fmla="*/ 227138 w 1253173"/>
              <a:gd name="connsiteY418" fmla="*/ 161141 h 444953"/>
              <a:gd name="connsiteX419" fmla="*/ 220255 w 1253173"/>
              <a:gd name="connsiteY419" fmla="*/ 152522 h 444953"/>
              <a:gd name="connsiteX420" fmla="*/ 211347 w 1253173"/>
              <a:gd name="connsiteY420" fmla="*/ 140028 h 444953"/>
              <a:gd name="connsiteX421" fmla="*/ 204463 w 1253173"/>
              <a:gd name="connsiteY421" fmla="*/ 134243 h 444953"/>
              <a:gd name="connsiteX422" fmla="*/ 196828 w 1253173"/>
              <a:gd name="connsiteY422" fmla="*/ 127823 h 444953"/>
              <a:gd name="connsiteX423" fmla="*/ 192837 w 1253173"/>
              <a:gd name="connsiteY423" fmla="*/ 122385 h 444953"/>
              <a:gd name="connsiteX424" fmla="*/ 183292 w 1253173"/>
              <a:gd name="connsiteY424" fmla="*/ 114750 h 444953"/>
              <a:gd name="connsiteX425" fmla="*/ 174962 w 1253173"/>
              <a:gd name="connsiteY425" fmla="*/ 110296 h 444953"/>
              <a:gd name="connsiteX426" fmla="*/ 166459 w 1253173"/>
              <a:gd name="connsiteY426" fmla="*/ 106767 h 444953"/>
              <a:gd name="connsiteX427" fmla="*/ 146734 w 1253173"/>
              <a:gd name="connsiteY427" fmla="*/ 98148 h 444953"/>
              <a:gd name="connsiteX428" fmla="*/ 144768 w 1253173"/>
              <a:gd name="connsiteY428" fmla="*/ 98553 h 444953"/>
              <a:gd name="connsiteX429" fmla="*/ 121630 w 1253173"/>
              <a:gd name="connsiteY429" fmla="*/ 74085 h 444953"/>
              <a:gd name="connsiteX430" fmla="*/ 101789 w 1253173"/>
              <a:gd name="connsiteY430" fmla="*/ 56732 h 444953"/>
              <a:gd name="connsiteX431" fmla="*/ 75528 w 1253173"/>
              <a:gd name="connsiteY431" fmla="*/ 32611 h 444953"/>
              <a:gd name="connsiteX432" fmla="*/ 37120 w 1253173"/>
              <a:gd name="connsiteY432" fmla="*/ 14795 h 444953"/>
              <a:gd name="connsiteX433" fmla="*/ 11784 w 1253173"/>
              <a:gd name="connsiteY433" fmla="*/ 5135 h 444953"/>
              <a:gd name="connsiteX434" fmla="*/ 4958 w 1253173"/>
              <a:gd name="connsiteY434" fmla="*/ 2011 h 444953"/>
              <a:gd name="connsiteX435" fmla="*/ 667564 w 1253173"/>
              <a:gd name="connsiteY435" fmla="*/ 318015 h 444953"/>
              <a:gd name="connsiteX436" fmla="*/ 667564 w 1253173"/>
              <a:gd name="connsiteY436" fmla="*/ 318015 h 444953"/>
              <a:gd name="connsiteX437" fmla="*/ 663978 w 1253173"/>
              <a:gd name="connsiteY437" fmla="*/ 316279 h 444953"/>
              <a:gd name="connsiteX438" fmla="*/ 665308 w 1253173"/>
              <a:gd name="connsiteY438" fmla="*/ 284696 h 444953"/>
              <a:gd name="connsiteX439" fmla="*/ 664210 w 1253173"/>
              <a:gd name="connsiteY439" fmla="*/ 260170 h 444953"/>
              <a:gd name="connsiteX440" fmla="*/ 658425 w 1253173"/>
              <a:gd name="connsiteY440" fmla="*/ 257046 h 444953"/>
              <a:gd name="connsiteX441" fmla="*/ 636386 w 1253173"/>
              <a:gd name="connsiteY441" fmla="*/ 247965 h 444953"/>
              <a:gd name="connsiteX442" fmla="*/ 640551 w 1253173"/>
              <a:gd name="connsiteY442" fmla="*/ 227835 h 444953"/>
              <a:gd name="connsiteX443" fmla="*/ 654549 w 1253173"/>
              <a:gd name="connsiteY443" fmla="*/ 192782 h 444953"/>
              <a:gd name="connsiteX444" fmla="*/ 662764 w 1253173"/>
              <a:gd name="connsiteY444" fmla="*/ 174965 h 444953"/>
              <a:gd name="connsiteX445" fmla="*/ 667738 w 1253173"/>
              <a:gd name="connsiteY445" fmla="*/ 160562 h 444953"/>
              <a:gd name="connsiteX446" fmla="*/ 682488 w 1253173"/>
              <a:gd name="connsiteY446" fmla="*/ 134417 h 444953"/>
              <a:gd name="connsiteX447" fmla="*/ 695330 w 1253173"/>
              <a:gd name="connsiteY447" fmla="*/ 126550 h 444953"/>
              <a:gd name="connsiteX448" fmla="*/ 708576 w 1253173"/>
              <a:gd name="connsiteY448" fmla="*/ 119319 h 444953"/>
              <a:gd name="connsiteX449" fmla="*/ 716212 w 1253173"/>
              <a:gd name="connsiteY449" fmla="*/ 120765 h 444953"/>
              <a:gd name="connsiteX450" fmla="*/ 767924 w 1253173"/>
              <a:gd name="connsiteY450" fmla="*/ 131525 h 444953"/>
              <a:gd name="connsiteX451" fmla="*/ 783831 w 1253173"/>
              <a:gd name="connsiteY451" fmla="*/ 128112 h 444953"/>
              <a:gd name="connsiteX452" fmla="*/ 789616 w 1253173"/>
              <a:gd name="connsiteY452" fmla="*/ 124410 h 444953"/>
              <a:gd name="connsiteX453" fmla="*/ 813505 w 1253173"/>
              <a:gd name="connsiteY453" fmla="*/ 111337 h 444953"/>
              <a:gd name="connsiteX454" fmla="*/ 815704 w 1253173"/>
              <a:gd name="connsiteY454" fmla="*/ 112436 h 444953"/>
              <a:gd name="connsiteX455" fmla="*/ 814547 w 1253173"/>
              <a:gd name="connsiteY455" fmla="*/ 118220 h 444953"/>
              <a:gd name="connsiteX456" fmla="*/ 774808 w 1253173"/>
              <a:gd name="connsiteY456" fmla="*/ 149051 h 444953"/>
              <a:gd name="connsiteX457" fmla="*/ 765437 w 1253173"/>
              <a:gd name="connsiteY457" fmla="*/ 146969 h 444953"/>
              <a:gd name="connsiteX458" fmla="*/ 737093 w 1253173"/>
              <a:gd name="connsiteY458" fmla="*/ 142804 h 444953"/>
              <a:gd name="connsiteX459" fmla="*/ 676531 w 1253173"/>
              <a:gd name="connsiteY459" fmla="*/ 166347 h 444953"/>
              <a:gd name="connsiteX460" fmla="*/ 682777 w 1253173"/>
              <a:gd name="connsiteY460" fmla="*/ 187113 h 444953"/>
              <a:gd name="connsiteX461" fmla="*/ 701287 w 1253173"/>
              <a:gd name="connsiteY461" fmla="*/ 197178 h 444953"/>
              <a:gd name="connsiteX462" fmla="*/ 708055 w 1253173"/>
              <a:gd name="connsiteY462" fmla="*/ 192492 h 444953"/>
              <a:gd name="connsiteX463" fmla="*/ 755025 w 1253173"/>
              <a:gd name="connsiteY463" fmla="*/ 172594 h 444953"/>
              <a:gd name="connsiteX464" fmla="*/ 765900 w 1253173"/>
              <a:gd name="connsiteY464" fmla="*/ 176122 h 444953"/>
              <a:gd name="connsiteX465" fmla="*/ 765900 w 1253173"/>
              <a:gd name="connsiteY465" fmla="*/ 180981 h 444953"/>
              <a:gd name="connsiteX466" fmla="*/ 724194 w 1253173"/>
              <a:gd name="connsiteY466" fmla="*/ 207648 h 444953"/>
              <a:gd name="connsiteX467" fmla="*/ 719740 w 1253173"/>
              <a:gd name="connsiteY467" fmla="*/ 210945 h 444953"/>
              <a:gd name="connsiteX468" fmla="*/ 733449 w 1253173"/>
              <a:gd name="connsiteY468" fmla="*/ 228298 h 444953"/>
              <a:gd name="connsiteX469" fmla="*/ 737787 w 1253173"/>
              <a:gd name="connsiteY469" fmla="*/ 245651 h 444953"/>
              <a:gd name="connsiteX470" fmla="*/ 739291 w 1253173"/>
              <a:gd name="connsiteY470" fmla="*/ 260055 h 444953"/>
              <a:gd name="connsiteX471" fmla="*/ 746753 w 1253173"/>
              <a:gd name="connsiteY471" fmla="*/ 275499 h 444953"/>
              <a:gd name="connsiteX472" fmla="*/ 737209 w 1253173"/>
              <a:gd name="connsiteY472" fmla="*/ 282903 h 444953"/>
              <a:gd name="connsiteX473" fmla="*/ 730210 w 1253173"/>
              <a:gd name="connsiteY473" fmla="*/ 285390 h 444953"/>
              <a:gd name="connsiteX474" fmla="*/ 717947 w 1253173"/>
              <a:gd name="connsiteY474" fmla="*/ 288688 h 444953"/>
              <a:gd name="connsiteX475" fmla="*/ 710716 w 1253173"/>
              <a:gd name="connsiteY475" fmla="*/ 278565 h 444953"/>
              <a:gd name="connsiteX476" fmla="*/ 702271 w 1253173"/>
              <a:gd name="connsiteY476" fmla="*/ 265666 h 444953"/>
              <a:gd name="connsiteX477" fmla="*/ 697123 w 1253173"/>
              <a:gd name="connsiteY477" fmla="*/ 250568 h 444953"/>
              <a:gd name="connsiteX478" fmla="*/ 697123 w 1253173"/>
              <a:gd name="connsiteY478" fmla="*/ 241949 h 444953"/>
              <a:gd name="connsiteX479" fmla="*/ 687174 w 1253173"/>
              <a:gd name="connsiteY479" fmla="*/ 236859 h 444953"/>
              <a:gd name="connsiteX480" fmla="*/ 681389 w 1253173"/>
              <a:gd name="connsiteY480" fmla="*/ 240214 h 444953"/>
              <a:gd name="connsiteX481" fmla="*/ 684281 w 1253173"/>
              <a:gd name="connsiteY481" fmla="*/ 288977 h 444953"/>
              <a:gd name="connsiteX482" fmla="*/ 687289 w 1253173"/>
              <a:gd name="connsiteY482" fmla="*/ 298058 h 444953"/>
              <a:gd name="connsiteX483" fmla="*/ 670225 w 1253173"/>
              <a:gd name="connsiteY483" fmla="*/ 317610 h 444953"/>
              <a:gd name="connsiteX484" fmla="*/ 667564 w 1253173"/>
              <a:gd name="connsiteY484" fmla="*/ 318015 h 444953"/>
              <a:gd name="connsiteX485" fmla="*/ 708403 w 1253173"/>
              <a:gd name="connsiteY485" fmla="*/ 121344 h 444953"/>
              <a:gd name="connsiteX486" fmla="*/ 696834 w 1253173"/>
              <a:gd name="connsiteY486" fmla="*/ 127880 h 444953"/>
              <a:gd name="connsiteX487" fmla="*/ 682720 w 1253173"/>
              <a:gd name="connsiteY487" fmla="*/ 136441 h 444953"/>
              <a:gd name="connsiteX488" fmla="*/ 669820 w 1253173"/>
              <a:gd name="connsiteY488" fmla="*/ 160794 h 444953"/>
              <a:gd name="connsiteX489" fmla="*/ 664036 w 1253173"/>
              <a:gd name="connsiteY489" fmla="*/ 176701 h 444953"/>
              <a:gd name="connsiteX490" fmla="*/ 656863 w 1253173"/>
              <a:gd name="connsiteY490" fmla="*/ 193187 h 444953"/>
              <a:gd name="connsiteX491" fmla="*/ 642633 w 1253173"/>
              <a:gd name="connsiteY491" fmla="*/ 228819 h 444953"/>
              <a:gd name="connsiteX492" fmla="*/ 638584 w 1253173"/>
              <a:gd name="connsiteY492" fmla="*/ 246750 h 444953"/>
              <a:gd name="connsiteX493" fmla="*/ 658714 w 1253173"/>
              <a:gd name="connsiteY493" fmla="*/ 254559 h 444953"/>
              <a:gd name="connsiteX494" fmla="*/ 666350 w 1253173"/>
              <a:gd name="connsiteY494" fmla="*/ 258551 h 444953"/>
              <a:gd name="connsiteX495" fmla="*/ 667854 w 1253173"/>
              <a:gd name="connsiteY495" fmla="*/ 284985 h 444953"/>
              <a:gd name="connsiteX496" fmla="*/ 666118 w 1253173"/>
              <a:gd name="connsiteY496" fmla="*/ 314660 h 444953"/>
              <a:gd name="connsiteX497" fmla="*/ 669589 w 1253173"/>
              <a:gd name="connsiteY497" fmla="*/ 315180 h 444953"/>
              <a:gd name="connsiteX498" fmla="*/ 685149 w 1253173"/>
              <a:gd name="connsiteY498" fmla="*/ 297422 h 444953"/>
              <a:gd name="connsiteX499" fmla="*/ 683009 w 1253173"/>
              <a:gd name="connsiteY499" fmla="*/ 290481 h 444953"/>
              <a:gd name="connsiteX500" fmla="*/ 679365 w 1253173"/>
              <a:gd name="connsiteY500" fmla="*/ 239115 h 444953"/>
              <a:gd name="connsiteX501" fmla="*/ 687578 w 1253173"/>
              <a:gd name="connsiteY501" fmla="*/ 234314 h 444953"/>
              <a:gd name="connsiteX502" fmla="*/ 699437 w 1253173"/>
              <a:gd name="connsiteY502" fmla="*/ 240503 h 444953"/>
              <a:gd name="connsiteX503" fmla="*/ 699437 w 1253173"/>
              <a:gd name="connsiteY503" fmla="*/ 251378 h 444953"/>
              <a:gd name="connsiteX504" fmla="*/ 703949 w 1253173"/>
              <a:gd name="connsiteY504" fmla="*/ 263583 h 444953"/>
              <a:gd name="connsiteX505" fmla="*/ 713262 w 1253173"/>
              <a:gd name="connsiteY505" fmla="*/ 278276 h 444953"/>
              <a:gd name="connsiteX506" fmla="*/ 718294 w 1253173"/>
              <a:gd name="connsiteY506" fmla="*/ 286142 h 444953"/>
              <a:gd name="connsiteX507" fmla="*/ 729863 w 1253173"/>
              <a:gd name="connsiteY507" fmla="*/ 282961 h 444953"/>
              <a:gd name="connsiteX508" fmla="*/ 736978 w 1253173"/>
              <a:gd name="connsiteY508" fmla="*/ 280416 h 444953"/>
              <a:gd name="connsiteX509" fmla="*/ 745018 w 1253173"/>
              <a:gd name="connsiteY509" fmla="*/ 274631 h 444953"/>
              <a:gd name="connsiteX510" fmla="*/ 738134 w 1253173"/>
              <a:gd name="connsiteY510" fmla="*/ 261269 h 444953"/>
              <a:gd name="connsiteX511" fmla="*/ 735994 w 1253173"/>
              <a:gd name="connsiteY511" fmla="*/ 244899 h 444953"/>
              <a:gd name="connsiteX512" fmla="*/ 732697 w 1253173"/>
              <a:gd name="connsiteY512" fmla="*/ 229975 h 444953"/>
              <a:gd name="connsiteX513" fmla="*/ 717947 w 1253173"/>
              <a:gd name="connsiteY513" fmla="*/ 210424 h 444953"/>
              <a:gd name="connsiteX514" fmla="*/ 724136 w 1253173"/>
              <a:gd name="connsiteY514" fmla="*/ 205276 h 444953"/>
              <a:gd name="connsiteX515" fmla="*/ 764280 w 1253173"/>
              <a:gd name="connsiteY515" fmla="*/ 179882 h 444953"/>
              <a:gd name="connsiteX516" fmla="*/ 764627 w 1253173"/>
              <a:gd name="connsiteY516" fmla="*/ 177048 h 444953"/>
              <a:gd name="connsiteX517" fmla="*/ 755777 w 1253173"/>
              <a:gd name="connsiteY517" fmla="*/ 174734 h 444953"/>
              <a:gd name="connsiteX518" fmla="*/ 710948 w 1253173"/>
              <a:gd name="connsiteY518" fmla="*/ 192955 h 444953"/>
              <a:gd name="connsiteX519" fmla="*/ 701808 w 1253173"/>
              <a:gd name="connsiteY519" fmla="*/ 199318 h 444953"/>
              <a:gd name="connsiteX520" fmla="*/ 681563 w 1253173"/>
              <a:gd name="connsiteY520" fmla="*/ 188443 h 444953"/>
              <a:gd name="connsiteX521" fmla="*/ 674853 w 1253173"/>
              <a:gd name="connsiteY521" fmla="*/ 165826 h 444953"/>
              <a:gd name="connsiteX522" fmla="*/ 737614 w 1253173"/>
              <a:gd name="connsiteY522" fmla="*/ 140433 h 444953"/>
              <a:gd name="connsiteX523" fmla="*/ 766883 w 1253173"/>
              <a:gd name="connsiteY523" fmla="*/ 144829 h 444953"/>
              <a:gd name="connsiteX524" fmla="*/ 775328 w 1253173"/>
              <a:gd name="connsiteY524" fmla="*/ 146680 h 444953"/>
              <a:gd name="connsiteX525" fmla="*/ 813043 w 1253173"/>
              <a:gd name="connsiteY525" fmla="*/ 117064 h 444953"/>
              <a:gd name="connsiteX526" fmla="*/ 814315 w 1253173"/>
              <a:gd name="connsiteY526" fmla="*/ 113361 h 444953"/>
              <a:gd name="connsiteX527" fmla="*/ 814315 w 1253173"/>
              <a:gd name="connsiteY527" fmla="*/ 113361 h 444953"/>
              <a:gd name="connsiteX528" fmla="*/ 791640 w 1253173"/>
              <a:gd name="connsiteY528" fmla="*/ 126029 h 444953"/>
              <a:gd name="connsiteX529" fmla="*/ 785856 w 1253173"/>
              <a:gd name="connsiteY529" fmla="*/ 129789 h 444953"/>
              <a:gd name="connsiteX530" fmla="*/ 768502 w 1253173"/>
              <a:gd name="connsiteY530" fmla="*/ 133549 h 444953"/>
              <a:gd name="connsiteX531" fmla="*/ 716038 w 1253173"/>
              <a:gd name="connsiteY531" fmla="*/ 122674 h 444953"/>
              <a:gd name="connsiteX532" fmla="*/ 708055 w 1253173"/>
              <a:gd name="connsiteY532" fmla="*/ 121575 h 444953"/>
              <a:gd name="connsiteX533" fmla="*/ 530358 w 1253173"/>
              <a:gd name="connsiteY533" fmla="*/ 268789 h 444953"/>
              <a:gd name="connsiteX534" fmla="*/ 530358 w 1253173"/>
              <a:gd name="connsiteY534" fmla="*/ 268789 h 444953"/>
              <a:gd name="connsiteX535" fmla="*/ 523127 w 1253173"/>
              <a:gd name="connsiteY535" fmla="*/ 263930 h 444953"/>
              <a:gd name="connsiteX536" fmla="*/ 489693 w 1253173"/>
              <a:gd name="connsiteY536" fmla="*/ 248775 h 444953"/>
              <a:gd name="connsiteX537" fmla="*/ 489289 w 1253173"/>
              <a:gd name="connsiteY537" fmla="*/ 248775 h 444953"/>
              <a:gd name="connsiteX538" fmla="*/ 473960 w 1253173"/>
              <a:gd name="connsiteY538" fmla="*/ 251667 h 444953"/>
              <a:gd name="connsiteX539" fmla="*/ 458110 w 1253173"/>
              <a:gd name="connsiteY539" fmla="*/ 255080 h 444953"/>
              <a:gd name="connsiteX540" fmla="*/ 452326 w 1253173"/>
              <a:gd name="connsiteY540" fmla="*/ 252130 h 444953"/>
              <a:gd name="connsiteX541" fmla="*/ 438617 w 1253173"/>
              <a:gd name="connsiteY541" fmla="*/ 239867 h 444953"/>
              <a:gd name="connsiteX542" fmla="*/ 432196 w 1253173"/>
              <a:gd name="connsiteY542" fmla="*/ 242123 h 444953"/>
              <a:gd name="connsiteX543" fmla="*/ 427800 w 1253173"/>
              <a:gd name="connsiteY543" fmla="*/ 243569 h 444953"/>
              <a:gd name="connsiteX544" fmla="*/ 404662 w 1253173"/>
              <a:gd name="connsiteY544" fmla="*/ 204813 h 444953"/>
              <a:gd name="connsiteX545" fmla="*/ 391184 w 1253173"/>
              <a:gd name="connsiteY545" fmla="*/ 186130 h 444953"/>
              <a:gd name="connsiteX546" fmla="*/ 381409 w 1253173"/>
              <a:gd name="connsiteY546" fmla="*/ 178031 h 444953"/>
              <a:gd name="connsiteX547" fmla="*/ 377244 w 1253173"/>
              <a:gd name="connsiteY547" fmla="*/ 164149 h 444953"/>
              <a:gd name="connsiteX548" fmla="*/ 366774 w 1253173"/>
              <a:gd name="connsiteY548" fmla="*/ 140433 h 444953"/>
              <a:gd name="connsiteX549" fmla="*/ 365038 w 1253173"/>
              <a:gd name="connsiteY549" fmla="*/ 123079 h 444953"/>
              <a:gd name="connsiteX550" fmla="*/ 385284 w 1253173"/>
              <a:gd name="connsiteY550" fmla="*/ 100636 h 444953"/>
              <a:gd name="connsiteX551" fmla="*/ 388639 w 1253173"/>
              <a:gd name="connsiteY551" fmla="*/ 100636 h 444953"/>
              <a:gd name="connsiteX552" fmla="*/ 389564 w 1253173"/>
              <a:gd name="connsiteY552" fmla="*/ 101503 h 444953"/>
              <a:gd name="connsiteX553" fmla="*/ 396622 w 1253173"/>
              <a:gd name="connsiteY553" fmla="*/ 118105 h 444953"/>
              <a:gd name="connsiteX554" fmla="*/ 406861 w 1253173"/>
              <a:gd name="connsiteY554" fmla="*/ 124236 h 444953"/>
              <a:gd name="connsiteX555" fmla="*/ 418429 w 1253173"/>
              <a:gd name="connsiteY555" fmla="*/ 129616 h 444953"/>
              <a:gd name="connsiteX556" fmla="*/ 431213 w 1253173"/>
              <a:gd name="connsiteY556" fmla="*/ 127071 h 444953"/>
              <a:gd name="connsiteX557" fmla="*/ 437575 w 1253173"/>
              <a:gd name="connsiteY557" fmla="*/ 127071 h 444953"/>
              <a:gd name="connsiteX558" fmla="*/ 444054 w 1253173"/>
              <a:gd name="connsiteY558" fmla="*/ 127071 h 444953"/>
              <a:gd name="connsiteX559" fmla="*/ 454350 w 1253173"/>
              <a:gd name="connsiteY559" fmla="*/ 125971 h 444953"/>
              <a:gd name="connsiteX560" fmla="*/ 462507 w 1253173"/>
              <a:gd name="connsiteY560" fmla="*/ 121286 h 444953"/>
              <a:gd name="connsiteX561" fmla="*/ 482173 w 1253173"/>
              <a:gd name="connsiteY561" fmla="*/ 114576 h 444953"/>
              <a:gd name="connsiteX562" fmla="*/ 495073 w 1253173"/>
              <a:gd name="connsiteY562" fmla="*/ 119609 h 444953"/>
              <a:gd name="connsiteX563" fmla="*/ 499700 w 1253173"/>
              <a:gd name="connsiteY563" fmla="*/ 122096 h 444953"/>
              <a:gd name="connsiteX564" fmla="*/ 507509 w 1253173"/>
              <a:gd name="connsiteY564" fmla="*/ 119609 h 444953"/>
              <a:gd name="connsiteX565" fmla="*/ 522549 w 1253173"/>
              <a:gd name="connsiteY565" fmla="*/ 114692 h 444953"/>
              <a:gd name="connsiteX566" fmla="*/ 531110 w 1253173"/>
              <a:gd name="connsiteY566" fmla="*/ 104569 h 444953"/>
              <a:gd name="connsiteX567" fmla="*/ 535737 w 1253173"/>
              <a:gd name="connsiteY567" fmla="*/ 89067 h 444953"/>
              <a:gd name="connsiteX568" fmla="*/ 539208 w 1253173"/>
              <a:gd name="connsiteY568" fmla="*/ 78713 h 444953"/>
              <a:gd name="connsiteX569" fmla="*/ 546034 w 1253173"/>
              <a:gd name="connsiteY569" fmla="*/ 69862 h 444953"/>
              <a:gd name="connsiteX570" fmla="*/ 555346 w 1253173"/>
              <a:gd name="connsiteY570" fmla="*/ 54418 h 444953"/>
              <a:gd name="connsiteX571" fmla="*/ 558991 w 1253173"/>
              <a:gd name="connsiteY571" fmla="*/ 42849 h 444953"/>
              <a:gd name="connsiteX572" fmla="*/ 587045 w 1253173"/>
              <a:gd name="connsiteY572" fmla="*/ 35503 h 444953"/>
              <a:gd name="connsiteX573" fmla="*/ 593813 w 1253173"/>
              <a:gd name="connsiteY573" fmla="*/ 35503 h 444953"/>
              <a:gd name="connsiteX574" fmla="*/ 598441 w 1253173"/>
              <a:gd name="connsiteY574" fmla="*/ 35503 h 444953"/>
              <a:gd name="connsiteX575" fmla="*/ 611918 w 1253173"/>
              <a:gd name="connsiteY575" fmla="*/ 40015 h 444953"/>
              <a:gd name="connsiteX576" fmla="*/ 612497 w 1253173"/>
              <a:gd name="connsiteY576" fmla="*/ 40998 h 444953"/>
              <a:gd name="connsiteX577" fmla="*/ 611918 w 1253173"/>
              <a:gd name="connsiteY577" fmla="*/ 42039 h 444953"/>
              <a:gd name="connsiteX578" fmla="*/ 610993 w 1253173"/>
              <a:gd name="connsiteY578" fmla="*/ 42502 h 444953"/>
              <a:gd name="connsiteX579" fmla="*/ 607927 w 1253173"/>
              <a:gd name="connsiteY579" fmla="*/ 44064 h 444953"/>
              <a:gd name="connsiteX580" fmla="*/ 607927 w 1253173"/>
              <a:gd name="connsiteY580" fmla="*/ 54244 h 444953"/>
              <a:gd name="connsiteX581" fmla="*/ 609546 w 1253173"/>
              <a:gd name="connsiteY581" fmla="*/ 62459 h 444953"/>
              <a:gd name="connsiteX582" fmla="*/ 605498 w 1253173"/>
              <a:gd name="connsiteY582" fmla="*/ 64425 h 444953"/>
              <a:gd name="connsiteX583" fmla="*/ 602605 w 1253173"/>
              <a:gd name="connsiteY583" fmla="*/ 66045 h 444953"/>
              <a:gd name="connsiteX584" fmla="*/ 615042 w 1253173"/>
              <a:gd name="connsiteY584" fmla="*/ 86637 h 444953"/>
              <a:gd name="connsiteX585" fmla="*/ 618686 w 1253173"/>
              <a:gd name="connsiteY585" fmla="*/ 98206 h 444953"/>
              <a:gd name="connsiteX586" fmla="*/ 623719 w 1253173"/>
              <a:gd name="connsiteY586" fmla="*/ 108560 h 444953"/>
              <a:gd name="connsiteX587" fmla="*/ 644079 w 1253173"/>
              <a:gd name="connsiteY587" fmla="*/ 126550 h 444953"/>
              <a:gd name="connsiteX588" fmla="*/ 642633 w 1253173"/>
              <a:gd name="connsiteY588" fmla="*/ 132334 h 444953"/>
              <a:gd name="connsiteX589" fmla="*/ 627363 w 1253173"/>
              <a:gd name="connsiteY589" fmla="*/ 138119 h 444953"/>
              <a:gd name="connsiteX590" fmla="*/ 601738 w 1253173"/>
              <a:gd name="connsiteY590" fmla="*/ 154662 h 444953"/>
              <a:gd name="connsiteX591" fmla="*/ 585078 w 1253173"/>
              <a:gd name="connsiteY591" fmla="*/ 197756 h 444953"/>
              <a:gd name="connsiteX592" fmla="*/ 575476 w 1253173"/>
              <a:gd name="connsiteY592" fmla="*/ 227546 h 444953"/>
              <a:gd name="connsiteX593" fmla="*/ 563907 w 1253173"/>
              <a:gd name="connsiteY593" fmla="*/ 258435 h 444953"/>
              <a:gd name="connsiteX594" fmla="*/ 556735 w 1253173"/>
              <a:gd name="connsiteY594" fmla="*/ 261154 h 444953"/>
              <a:gd name="connsiteX595" fmla="*/ 530184 w 1253173"/>
              <a:gd name="connsiteY595" fmla="*/ 269020 h 444953"/>
              <a:gd name="connsiteX596" fmla="*/ 487900 w 1253173"/>
              <a:gd name="connsiteY596" fmla="*/ 246345 h 444953"/>
              <a:gd name="connsiteX597" fmla="*/ 489751 w 1253173"/>
              <a:gd name="connsiteY597" fmla="*/ 246345 h 444953"/>
              <a:gd name="connsiteX598" fmla="*/ 490156 w 1253173"/>
              <a:gd name="connsiteY598" fmla="*/ 246345 h 444953"/>
              <a:gd name="connsiteX599" fmla="*/ 525383 w 1253173"/>
              <a:gd name="connsiteY599" fmla="*/ 263294 h 444953"/>
              <a:gd name="connsiteX600" fmla="*/ 530358 w 1253173"/>
              <a:gd name="connsiteY600" fmla="*/ 266302 h 444953"/>
              <a:gd name="connsiteX601" fmla="*/ 556214 w 1253173"/>
              <a:gd name="connsiteY601" fmla="*/ 258724 h 444953"/>
              <a:gd name="connsiteX602" fmla="*/ 563387 w 1253173"/>
              <a:gd name="connsiteY602" fmla="*/ 256005 h 444953"/>
              <a:gd name="connsiteX603" fmla="*/ 573567 w 1253173"/>
              <a:gd name="connsiteY603" fmla="*/ 227083 h 444953"/>
              <a:gd name="connsiteX604" fmla="*/ 584211 w 1253173"/>
              <a:gd name="connsiteY604" fmla="*/ 195558 h 444953"/>
              <a:gd name="connsiteX605" fmla="*/ 599829 w 1253173"/>
              <a:gd name="connsiteY605" fmla="*/ 154662 h 444953"/>
              <a:gd name="connsiteX606" fmla="*/ 627131 w 1253173"/>
              <a:gd name="connsiteY606" fmla="*/ 135689 h 444953"/>
              <a:gd name="connsiteX607" fmla="*/ 641303 w 1253173"/>
              <a:gd name="connsiteY607" fmla="*/ 130368 h 444953"/>
              <a:gd name="connsiteX608" fmla="*/ 642229 w 1253173"/>
              <a:gd name="connsiteY608" fmla="*/ 126723 h 444953"/>
              <a:gd name="connsiteX609" fmla="*/ 623082 w 1253173"/>
              <a:gd name="connsiteY609" fmla="*/ 110353 h 444953"/>
              <a:gd name="connsiteX610" fmla="*/ 616777 w 1253173"/>
              <a:gd name="connsiteY610" fmla="*/ 97917 h 444953"/>
              <a:gd name="connsiteX611" fmla="*/ 613943 w 1253173"/>
              <a:gd name="connsiteY611" fmla="*/ 88373 h 444953"/>
              <a:gd name="connsiteX612" fmla="*/ 600812 w 1253173"/>
              <a:gd name="connsiteY612" fmla="*/ 65235 h 444953"/>
              <a:gd name="connsiteX613" fmla="*/ 605671 w 1253173"/>
              <a:gd name="connsiteY613" fmla="*/ 62054 h 444953"/>
              <a:gd name="connsiteX614" fmla="*/ 607927 w 1253173"/>
              <a:gd name="connsiteY614" fmla="*/ 61186 h 444953"/>
              <a:gd name="connsiteX615" fmla="*/ 606192 w 1253173"/>
              <a:gd name="connsiteY615" fmla="*/ 55401 h 444953"/>
              <a:gd name="connsiteX616" fmla="*/ 606886 w 1253173"/>
              <a:gd name="connsiteY616" fmla="*/ 42271 h 444953"/>
              <a:gd name="connsiteX617" fmla="*/ 608910 w 1253173"/>
              <a:gd name="connsiteY617" fmla="*/ 41229 h 444953"/>
              <a:gd name="connsiteX618" fmla="*/ 598499 w 1253173"/>
              <a:gd name="connsiteY618" fmla="*/ 37933 h 444953"/>
              <a:gd name="connsiteX619" fmla="*/ 593813 w 1253173"/>
              <a:gd name="connsiteY619" fmla="*/ 37933 h 444953"/>
              <a:gd name="connsiteX620" fmla="*/ 587103 w 1253173"/>
              <a:gd name="connsiteY620" fmla="*/ 37933 h 444953"/>
              <a:gd name="connsiteX621" fmla="*/ 560726 w 1253173"/>
              <a:gd name="connsiteY621" fmla="*/ 44585 h 444953"/>
              <a:gd name="connsiteX622" fmla="*/ 557660 w 1253173"/>
              <a:gd name="connsiteY622" fmla="*/ 54649 h 444953"/>
              <a:gd name="connsiteX623" fmla="*/ 546959 w 1253173"/>
              <a:gd name="connsiteY623" fmla="*/ 72350 h 444953"/>
              <a:gd name="connsiteX624" fmla="*/ 541464 w 1253173"/>
              <a:gd name="connsiteY624" fmla="*/ 78828 h 444953"/>
              <a:gd name="connsiteX625" fmla="*/ 537588 w 1253173"/>
              <a:gd name="connsiteY625" fmla="*/ 90860 h 444953"/>
              <a:gd name="connsiteX626" fmla="*/ 533424 w 1253173"/>
              <a:gd name="connsiteY626" fmla="*/ 104685 h 444953"/>
              <a:gd name="connsiteX627" fmla="*/ 523069 w 1253173"/>
              <a:gd name="connsiteY627" fmla="*/ 117353 h 444953"/>
              <a:gd name="connsiteX628" fmla="*/ 508551 w 1253173"/>
              <a:gd name="connsiteY628" fmla="*/ 122038 h 444953"/>
              <a:gd name="connsiteX629" fmla="*/ 499758 w 1253173"/>
              <a:gd name="connsiteY629" fmla="*/ 124757 h 444953"/>
              <a:gd name="connsiteX630" fmla="*/ 493569 w 1253173"/>
              <a:gd name="connsiteY630" fmla="*/ 121633 h 444953"/>
              <a:gd name="connsiteX631" fmla="*/ 482000 w 1253173"/>
              <a:gd name="connsiteY631" fmla="*/ 117237 h 444953"/>
              <a:gd name="connsiteX632" fmla="*/ 463663 w 1253173"/>
              <a:gd name="connsiteY632" fmla="*/ 123484 h 444953"/>
              <a:gd name="connsiteX633" fmla="*/ 454871 w 1253173"/>
              <a:gd name="connsiteY633" fmla="*/ 128459 h 444953"/>
              <a:gd name="connsiteX634" fmla="*/ 443880 w 1253173"/>
              <a:gd name="connsiteY634" fmla="*/ 129732 h 444953"/>
              <a:gd name="connsiteX635" fmla="*/ 437344 w 1253173"/>
              <a:gd name="connsiteY635" fmla="*/ 129732 h 444953"/>
              <a:gd name="connsiteX636" fmla="*/ 431039 w 1253173"/>
              <a:gd name="connsiteY636" fmla="*/ 129732 h 444953"/>
              <a:gd name="connsiteX637" fmla="*/ 419470 w 1253173"/>
              <a:gd name="connsiteY637" fmla="*/ 131814 h 444953"/>
              <a:gd name="connsiteX638" fmla="*/ 416115 w 1253173"/>
              <a:gd name="connsiteY638" fmla="*/ 132971 h 444953"/>
              <a:gd name="connsiteX639" fmla="*/ 404893 w 1253173"/>
              <a:gd name="connsiteY639" fmla="*/ 126376 h 444953"/>
              <a:gd name="connsiteX640" fmla="*/ 396159 w 1253173"/>
              <a:gd name="connsiteY640" fmla="*/ 120592 h 444953"/>
              <a:gd name="connsiteX641" fmla="*/ 387078 w 1253173"/>
              <a:gd name="connsiteY641" fmla="*/ 103239 h 444953"/>
              <a:gd name="connsiteX642" fmla="*/ 384995 w 1253173"/>
              <a:gd name="connsiteY642" fmla="*/ 103239 h 444953"/>
              <a:gd name="connsiteX643" fmla="*/ 366716 w 1253173"/>
              <a:gd name="connsiteY643" fmla="*/ 124178 h 444953"/>
              <a:gd name="connsiteX644" fmla="*/ 367873 w 1253173"/>
              <a:gd name="connsiteY644" fmla="*/ 139218 h 444953"/>
              <a:gd name="connsiteX645" fmla="*/ 378805 w 1253173"/>
              <a:gd name="connsiteY645" fmla="*/ 164380 h 444953"/>
              <a:gd name="connsiteX646" fmla="*/ 382623 w 1253173"/>
              <a:gd name="connsiteY646" fmla="*/ 177453 h 444953"/>
              <a:gd name="connsiteX647" fmla="*/ 391647 w 1253173"/>
              <a:gd name="connsiteY647" fmla="*/ 184857 h 444953"/>
              <a:gd name="connsiteX648" fmla="*/ 406224 w 1253173"/>
              <a:gd name="connsiteY648" fmla="*/ 205449 h 444953"/>
              <a:gd name="connsiteX649" fmla="*/ 427163 w 1253173"/>
              <a:gd name="connsiteY649" fmla="*/ 241949 h 444953"/>
              <a:gd name="connsiteX650" fmla="*/ 430287 w 1253173"/>
              <a:gd name="connsiteY650" fmla="*/ 240908 h 444953"/>
              <a:gd name="connsiteX651" fmla="*/ 437981 w 1253173"/>
              <a:gd name="connsiteY651" fmla="*/ 238247 h 444953"/>
              <a:gd name="connsiteX652" fmla="*/ 453772 w 1253173"/>
              <a:gd name="connsiteY652" fmla="*/ 251841 h 444953"/>
              <a:gd name="connsiteX653" fmla="*/ 457705 w 1253173"/>
              <a:gd name="connsiteY653" fmla="*/ 253460 h 444953"/>
              <a:gd name="connsiteX654" fmla="*/ 472976 w 1253173"/>
              <a:gd name="connsiteY654" fmla="*/ 250163 h 444953"/>
              <a:gd name="connsiteX655" fmla="*/ 487727 w 1253173"/>
              <a:gd name="connsiteY655" fmla="*/ 246577 h 444953"/>
              <a:gd name="connsiteX656" fmla="*/ 967661 w 1253173"/>
              <a:gd name="connsiteY656" fmla="*/ 265723 h 444953"/>
              <a:gd name="connsiteX657" fmla="*/ 955282 w 1253173"/>
              <a:gd name="connsiteY657" fmla="*/ 260922 h 444953"/>
              <a:gd name="connsiteX658" fmla="*/ 932896 w 1253173"/>
              <a:gd name="connsiteY658" fmla="*/ 253576 h 444953"/>
              <a:gd name="connsiteX659" fmla="*/ 921327 w 1253173"/>
              <a:gd name="connsiteY659" fmla="*/ 254039 h 444953"/>
              <a:gd name="connsiteX660" fmla="*/ 911378 w 1253173"/>
              <a:gd name="connsiteY660" fmla="*/ 254386 h 444953"/>
              <a:gd name="connsiteX661" fmla="*/ 894893 w 1253173"/>
              <a:gd name="connsiteY661" fmla="*/ 247155 h 444953"/>
              <a:gd name="connsiteX662" fmla="*/ 895760 w 1253173"/>
              <a:gd name="connsiteY662" fmla="*/ 241949 h 444953"/>
              <a:gd name="connsiteX663" fmla="*/ 928211 w 1253173"/>
              <a:gd name="connsiteY663" fmla="*/ 233215 h 444953"/>
              <a:gd name="connsiteX664" fmla="*/ 949613 w 1253173"/>
              <a:gd name="connsiteY664" fmla="*/ 235991 h 444953"/>
              <a:gd name="connsiteX665" fmla="*/ 972751 w 1253173"/>
              <a:gd name="connsiteY665" fmla="*/ 261327 h 444953"/>
              <a:gd name="connsiteX666" fmla="*/ 967950 w 1253173"/>
              <a:gd name="connsiteY666" fmla="*/ 265984 h 444953"/>
              <a:gd name="connsiteX667" fmla="*/ 967487 w 1253173"/>
              <a:gd name="connsiteY667" fmla="*/ 265955 h 444953"/>
              <a:gd name="connsiteX668" fmla="*/ 932954 w 1253173"/>
              <a:gd name="connsiteY668" fmla="*/ 251320 h 444953"/>
              <a:gd name="connsiteX669" fmla="*/ 956438 w 1253173"/>
              <a:gd name="connsiteY669" fmla="*/ 258955 h 444953"/>
              <a:gd name="connsiteX670" fmla="*/ 967718 w 1253173"/>
              <a:gd name="connsiteY670" fmla="*/ 263467 h 444953"/>
              <a:gd name="connsiteX671" fmla="*/ 970379 w 1253173"/>
              <a:gd name="connsiteY671" fmla="*/ 261159 h 444953"/>
              <a:gd name="connsiteX672" fmla="*/ 970379 w 1253173"/>
              <a:gd name="connsiteY672" fmla="*/ 261038 h 444953"/>
              <a:gd name="connsiteX673" fmla="*/ 948745 w 1253173"/>
              <a:gd name="connsiteY673" fmla="*/ 238190 h 444953"/>
              <a:gd name="connsiteX674" fmla="*/ 928037 w 1253173"/>
              <a:gd name="connsiteY674" fmla="*/ 235471 h 444953"/>
              <a:gd name="connsiteX675" fmla="*/ 897438 w 1253173"/>
              <a:gd name="connsiteY675" fmla="*/ 243222 h 444953"/>
              <a:gd name="connsiteX676" fmla="*/ 896859 w 1253173"/>
              <a:gd name="connsiteY676" fmla="*/ 246403 h 444953"/>
              <a:gd name="connsiteX677" fmla="*/ 911204 w 1253173"/>
              <a:gd name="connsiteY677" fmla="*/ 252188 h 444953"/>
              <a:gd name="connsiteX678" fmla="*/ 921038 w 1253173"/>
              <a:gd name="connsiteY678" fmla="*/ 251841 h 444953"/>
              <a:gd name="connsiteX679" fmla="*/ 932722 w 1253173"/>
              <a:gd name="connsiteY679" fmla="*/ 251552 h 444953"/>
              <a:gd name="connsiteX680" fmla="*/ 861979 w 1253173"/>
              <a:gd name="connsiteY680" fmla="*/ 264046 h 444953"/>
              <a:gd name="connsiteX681" fmla="*/ 861979 w 1253173"/>
              <a:gd name="connsiteY681" fmla="*/ 264046 h 444953"/>
              <a:gd name="connsiteX682" fmla="*/ 838841 w 1253173"/>
              <a:gd name="connsiteY682" fmla="*/ 248659 h 444953"/>
              <a:gd name="connsiteX683" fmla="*/ 839651 w 1253173"/>
              <a:gd name="connsiteY683" fmla="*/ 243280 h 444953"/>
              <a:gd name="connsiteX684" fmla="*/ 847980 w 1253173"/>
              <a:gd name="connsiteY684" fmla="*/ 240388 h 444953"/>
              <a:gd name="connsiteX685" fmla="*/ 873837 w 1253173"/>
              <a:gd name="connsiteY685" fmla="*/ 251609 h 444953"/>
              <a:gd name="connsiteX686" fmla="*/ 873837 w 1253173"/>
              <a:gd name="connsiteY686" fmla="*/ 257856 h 444953"/>
              <a:gd name="connsiteX687" fmla="*/ 861747 w 1253173"/>
              <a:gd name="connsiteY687" fmla="*/ 264277 h 444953"/>
              <a:gd name="connsiteX688" fmla="*/ 848154 w 1253173"/>
              <a:gd name="connsiteY688" fmla="*/ 242643 h 444953"/>
              <a:gd name="connsiteX689" fmla="*/ 841618 w 1253173"/>
              <a:gd name="connsiteY689" fmla="*/ 244668 h 444953"/>
              <a:gd name="connsiteX690" fmla="*/ 841213 w 1253173"/>
              <a:gd name="connsiteY690" fmla="*/ 248081 h 444953"/>
              <a:gd name="connsiteX691" fmla="*/ 861979 w 1253173"/>
              <a:gd name="connsiteY691" fmla="*/ 261732 h 444953"/>
              <a:gd name="connsiteX692" fmla="*/ 872217 w 1253173"/>
              <a:gd name="connsiteY692" fmla="*/ 256757 h 444953"/>
              <a:gd name="connsiteX693" fmla="*/ 872217 w 1253173"/>
              <a:gd name="connsiteY693" fmla="*/ 252708 h 444953"/>
              <a:gd name="connsiteX694" fmla="*/ 847923 w 1253173"/>
              <a:gd name="connsiteY694" fmla="*/ 242875 h 444953"/>
              <a:gd name="connsiteX695" fmla="*/ 895124 w 1253173"/>
              <a:gd name="connsiteY695" fmla="*/ 170454 h 444953"/>
              <a:gd name="connsiteX696" fmla="*/ 883555 w 1253173"/>
              <a:gd name="connsiteY696" fmla="*/ 158596 h 444953"/>
              <a:gd name="connsiteX697" fmla="*/ 880605 w 1253173"/>
              <a:gd name="connsiteY697" fmla="*/ 108849 h 444953"/>
              <a:gd name="connsiteX698" fmla="*/ 890496 w 1253173"/>
              <a:gd name="connsiteY698" fmla="*/ 101677 h 444953"/>
              <a:gd name="connsiteX699" fmla="*/ 901198 w 1253173"/>
              <a:gd name="connsiteY699" fmla="*/ 120013 h 444953"/>
              <a:gd name="connsiteX700" fmla="*/ 901198 w 1253173"/>
              <a:gd name="connsiteY700" fmla="*/ 120534 h 444953"/>
              <a:gd name="connsiteX701" fmla="*/ 902759 w 1253173"/>
              <a:gd name="connsiteY701" fmla="*/ 120534 h 444953"/>
              <a:gd name="connsiteX702" fmla="*/ 905710 w 1253173"/>
              <a:gd name="connsiteY702" fmla="*/ 120534 h 444953"/>
              <a:gd name="connsiteX703" fmla="*/ 909700 w 1253173"/>
              <a:gd name="connsiteY703" fmla="*/ 120245 h 444953"/>
              <a:gd name="connsiteX704" fmla="*/ 917105 w 1253173"/>
              <a:gd name="connsiteY704" fmla="*/ 127186 h 444953"/>
              <a:gd name="connsiteX705" fmla="*/ 918146 w 1253173"/>
              <a:gd name="connsiteY705" fmla="*/ 135400 h 444953"/>
              <a:gd name="connsiteX706" fmla="*/ 917567 w 1253173"/>
              <a:gd name="connsiteY706" fmla="*/ 146101 h 444953"/>
              <a:gd name="connsiteX707" fmla="*/ 905998 w 1253173"/>
              <a:gd name="connsiteY707" fmla="*/ 148473 h 444953"/>
              <a:gd name="connsiteX708" fmla="*/ 899520 w 1253173"/>
              <a:gd name="connsiteY708" fmla="*/ 150035 h 444953"/>
              <a:gd name="connsiteX709" fmla="*/ 898999 w 1253173"/>
              <a:gd name="connsiteY709" fmla="*/ 159521 h 444953"/>
              <a:gd name="connsiteX710" fmla="*/ 895760 w 1253173"/>
              <a:gd name="connsiteY710" fmla="*/ 170338 h 444953"/>
              <a:gd name="connsiteX711" fmla="*/ 890265 w 1253173"/>
              <a:gd name="connsiteY711" fmla="*/ 103933 h 444953"/>
              <a:gd name="connsiteX712" fmla="*/ 882224 w 1253173"/>
              <a:gd name="connsiteY712" fmla="*/ 110122 h 444953"/>
              <a:gd name="connsiteX713" fmla="*/ 885290 w 1253173"/>
              <a:gd name="connsiteY713" fmla="*/ 157555 h 444953"/>
              <a:gd name="connsiteX714" fmla="*/ 895124 w 1253173"/>
              <a:gd name="connsiteY714" fmla="*/ 168198 h 444953"/>
              <a:gd name="connsiteX715" fmla="*/ 895587 w 1253173"/>
              <a:gd name="connsiteY715" fmla="*/ 168198 h 444953"/>
              <a:gd name="connsiteX716" fmla="*/ 897033 w 1253173"/>
              <a:gd name="connsiteY716" fmla="*/ 160042 h 444953"/>
              <a:gd name="connsiteX717" fmla="*/ 898016 w 1253173"/>
              <a:gd name="connsiteY717" fmla="*/ 148473 h 444953"/>
              <a:gd name="connsiteX718" fmla="*/ 906404 w 1253173"/>
              <a:gd name="connsiteY718" fmla="*/ 146217 h 444953"/>
              <a:gd name="connsiteX719" fmla="*/ 915832 w 1253173"/>
              <a:gd name="connsiteY719" fmla="*/ 144597 h 444953"/>
              <a:gd name="connsiteX720" fmla="*/ 915832 w 1253173"/>
              <a:gd name="connsiteY720" fmla="*/ 135747 h 444953"/>
              <a:gd name="connsiteX721" fmla="*/ 914733 w 1253173"/>
              <a:gd name="connsiteY721" fmla="*/ 127128 h 444953"/>
              <a:gd name="connsiteX722" fmla="*/ 909585 w 1253173"/>
              <a:gd name="connsiteY722" fmla="*/ 122443 h 444953"/>
              <a:gd name="connsiteX723" fmla="*/ 905883 w 1253173"/>
              <a:gd name="connsiteY723" fmla="*/ 122443 h 444953"/>
              <a:gd name="connsiteX724" fmla="*/ 900098 w 1253173"/>
              <a:gd name="connsiteY724" fmla="*/ 122096 h 444953"/>
              <a:gd name="connsiteX725" fmla="*/ 898710 w 1253173"/>
              <a:gd name="connsiteY725" fmla="*/ 119609 h 444953"/>
              <a:gd name="connsiteX726" fmla="*/ 890033 w 1253173"/>
              <a:gd name="connsiteY726" fmla="*/ 104164 h 444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Lst>
            <a:rect l="l" t="t" r="r" b="b"/>
            <a:pathLst>
              <a:path w="1253173" h="444953">
                <a:moveTo>
                  <a:pt x="779377" y="444809"/>
                </a:moveTo>
                <a:lnTo>
                  <a:pt x="779377" y="444809"/>
                </a:lnTo>
                <a:cubicBezTo>
                  <a:pt x="777469" y="444815"/>
                  <a:pt x="775560" y="444358"/>
                  <a:pt x="773882" y="443479"/>
                </a:cubicBezTo>
                <a:cubicBezTo>
                  <a:pt x="770064" y="441605"/>
                  <a:pt x="767750" y="437561"/>
                  <a:pt x="768098" y="433298"/>
                </a:cubicBezTo>
                <a:cubicBezTo>
                  <a:pt x="769775" y="422927"/>
                  <a:pt x="776832" y="414239"/>
                  <a:pt x="786666" y="410508"/>
                </a:cubicBezTo>
                <a:cubicBezTo>
                  <a:pt x="787071" y="410253"/>
                  <a:pt x="787533" y="410253"/>
                  <a:pt x="787939" y="410508"/>
                </a:cubicBezTo>
                <a:cubicBezTo>
                  <a:pt x="791988" y="415019"/>
                  <a:pt x="794012" y="415540"/>
                  <a:pt x="794648" y="415540"/>
                </a:cubicBezTo>
                <a:cubicBezTo>
                  <a:pt x="794880" y="415633"/>
                  <a:pt x="795111" y="415633"/>
                  <a:pt x="795342" y="415540"/>
                </a:cubicBezTo>
                <a:cubicBezTo>
                  <a:pt x="796962" y="413625"/>
                  <a:pt x="798119" y="411369"/>
                  <a:pt x="798756" y="408946"/>
                </a:cubicBezTo>
                <a:lnTo>
                  <a:pt x="798756" y="408194"/>
                </a:lnTo>
                <a:cubicBezTo>
                  <a:pt x="798929" y="407853"/>
                  <a:pt x="799218" y="407592"/>
                  <a:pt x="799565" y="407500"/>
                </a:cubicBezTo>
                <a:cubicBezTo>
                  <a:pt x="802631" y="406811"/>
                  <a:pt x="805523" y="405579"/>
                  <a:pt x="808126" y="403855"/>
                </a:cubicBezTo>
                <a:cubicBezTo>
                  <a:pt x="808473" y="403566"/>
                  <a:pt x="809051" y="403566"/>
                  <a:pt x="809399" y="403855"/>
                </a:cubicBezTo>
                <a:cubicBezTo>
                  <a:pt x="812811" y="406516"/>
                  <a:pt x="815761" y="409680"/>
                  <a:pt x="818249" y="413226"/>
                </a:cubicBezTo>
                <a:cubicBezTo>
                  <a:pt x="818596" y="413758"/>
                  <a:pt x="818480" y="414476"/>
                  <a:pt x="817902" y="414829"/>
                </a:cubicBezTo>
                <a:cubicBezTo>
                  <a:pt x="817902" y="414834"/>
                  <a:pt x="817902" y="414840"/>
                  <a:pt x="817902" y="414846"/>
                </a:cubicBezTo>
                <a:cubicBezTo>
                  <a:pt x="816976" y="415372"/>
                  <a:pt x="816109" y="415951"/>
                  <a:pt x="815299" y="416581"/>
                </a:cubicBezTo>
                <a:cubicBezTo>
                  <a:pt x="814373" y="417206"/>
                  <a:pt x="813505" y="417964"/>
                  <a:pt x="812753" y="418837"/>
                </a:cubicBezTo>
                <a:cubicBezTo>
                  <a:pt x="811771" y="420167"/>
                  <a:pt x="810497" y="421787"/>
                  <a:pt x="809051" y="423523"/>
                </a:cubicBezTo>
                <a:cubicBezTo>
                  <a:pt x="802978" y="431505"/>
                  <a:pt x="790252" y="444809"/>
                  <a:pt x="779377" y="444809"/>
                </a:cubicBezTo>
                <a:close/>
                <a:moveTo>
                  <a:pt x="787129" y="412937"/>
                </a:moveTo>
                <a:cubicBezTo>
                  <a:pt x="778452" y="416448"/>
                  <a:pt x="772205" y="424194"/>
                  <a:pt x="770643" y="433414"/>
                </a:cubicBezTo>
                <a:cubicBezTo>
                  <a:pt x="770296" y="436734"/>
                  <a:pt x="771974" y="439944"/>
                  <a:pt x="774924" y="441512"/>
                </a:cubicBezTo>
                <a:cubicBezTo>
                  <a:pt x="776312" y="442218"/>
                  <a:pt x="777816" y="442570"/>
                  <a:pt x="779377" y="442553"/>
                </a:cubicBezTo>
                <a:cubicBezTo>
                  <a:pt x="789731" y="442553"/>
                  <a:pt x="802515" y="428324"/>
                  <a:pt x="807837" y="422192"/>
                </a:cubicBezTo>
                <a:cubicBezTo>
                  <a:pt x="809225" y="420457"/>
                  <a:pt x="810497" y="418953"/>
                  <a:pt x="811481" y="417622"/>
                </a:cubicBezTo>
                <a:cubicBezTo>
                  <a:pt x="812349" y="416547"/>
                  <a:pt x="813332" y="415610"/>
                  <a:pt x="814489" y="414846"/>
                </a:cubicBezTo>
                <a:cubicBezTo>
                  <a:pt x="815009" y="414441"/>
                  <a:pt x="815588" y="414094"/>
                  <a:pt x="816224" y="413689"/>
                </a:cubicBezTo>
                <a:cubicBezTo>
                  <a:pt x="814200" y="410953"/>
                  <a:pt x="811828" y="408466"/>
                  <a:pt x="809167" y="406285"/>
                </a:cubicBezTo>
                <a:cubicBezTo>
                  <a:pt x="806680" y="407777"/>
                  <a:pt x="804019" y="408888"/>
                  <a:pt x="801242" y="409582"/>
                </a:cubicBezTo>
                <a:lnTo>
                  <a:pt x="801242" y="409582"/>
                </a:lnTo>
                <a:cubicBezTo>
                  <a:pt x="800490" y="412422"/>
                  <a:pt x="799102" y="415043"/>
                  <a:pt x="797136" y="417217"/>
                </a:cubicBezTo>
                <a:cubicBezTo>
                  <a:pt x="794822" y="419126"/>
                  <a:pt x="791525" y="417680"/>
                  <a:pt x="787129" y="412937"/>
                </a:cubicBezTo>
                <a:close/>
                <a:moveTo>
                  <a:pt x="688794" y="444751"/>
                </a:moveTo>
                <a:lnTo>
                  <a:pt x="688794" y="444751"/>
                </a:lnTo>
                <a:cubicBezTo>
                  <a:pt x="681389" y="443820"/>
                  <a:pt x="674390" y="440812"/>
                  <a:pt x="668663" y="436075"/>
                </a:cubicBezTo>
                <a:cubicBezTo>
                  <a:pt x="665656" y="434056"/>
                  <a:pt x="662300" y="432604"/>
                  <a:pt x="658772" y="431794"/>
                </a:cubicBezTo>
                <a:cubicBezTo>
                  <a:pt x="653277" y="430776"/>
                  <a:pt x="648245" y="428000"/>
                  <a:pt x="644427" y="423870"/>
                </a:cubicBezTo>
                <a:cubicBezTo>
                  <a:pt x="643848" y="423048"/>
                  <a:pt x="643848" y="421972"/>
                  <a:pt x="644427" y="421151"/>
                </a:cubicBezTo>
                <a:cubicBezTo>
                  <a:pt x="644947" y="420167"/>
                  <a:pt x="646335" y="418837"/>
                  <a:pt x="652583" y="418837"/>
                </a:cubicBezTo>
                <a:cubicBezTo>
                  <a:pt x="666118" y="418837"/>
                  <a:pt x="696834" y="425721"/>
                  <a:pt x="696834" y="436942"/>
                </a:cubicBezTo>
                <a:cubicBezTo>
                  <a:pt x="697007" y="439192"/>
                  <a:pt x="696255" y="441420"/>
                  <a:pt x="694693" y="443074"/>
                </a:cubicBezTo>
                <a:cubicBezTo>
                  <a:pt x="693074" y="444439"/>
                  <a:pt x="690934" y="445046"/>
                  <a:pt x="688851" y="444751"/>
                </a:cubicBezTo>
                <a:close/>
                <a:moveTo>
                  <a:pt x="645873" y="422076"/>
                </a:moveTo>
                <a:cubicBezTo>
                  <a:pt x="645873" y="422210"/>
                  <a:pt x="645873" y="422348"/>
                  <a:pt x="645873" y="422481"/>
                </a:cubicBezTo>
                <a:cubicBezTo>
                  <a:pt x="649459" y="426235"/>
                  <a:pt x="654145" y="428752"/>
                  <a:pt x="659292" y="429654"/>
                </a:cubicBezTo>
                <a:cubicBezTo>
                  <a:pt x="663110" y="430510"/>
                  <a:pt x="666697" y="432101"/>
                  <a:pt x="669936" y="434339"/>
                </a:cubicBezTo>
                <a:cubicBezTo>
                  <a:pt x="675315" y="438736"/>
                  <a:pt x="681736" y="441558"/>
                  <a:pt x="688620" y="442495"/>
                </a:cubicBezTo>
                <a:lnTo>
                  <a:pt x="688620" y="442495"/>
                </a:lnTo>
                <a:cubicBezTo>
                  <a:pt x="690008" y="442605"/>
                  <a:pt x="691396" y="442166"/>
                  <a:pt x="692438" y="441281"/>
                </a:cubicBezTo>
                <a:cubicBezTo>
                  <a:pt x="693536" y="440078"/>
                  <a:pt x="694115" y="438458"/>
                  <a:pt x="693942" y="436827"/>
                </a:cubicBezTo>
                <a:cubicBezTo>
                  <a:pt x="693942" y="428150"/>
                  <a:pt x="666060" y="420977"/>
                  <a:pt x="651889" y="420977"/>
                </a:cubicBezTo>
                <a:cubicBezTo>
                  <a:pt x="646451" y="420977"/>
                  <a:pt x="645699" y="422076"/>
                  <a:pt x="645699" y="422076"/>
                </a:cubicBezTo>
                <a:close/>
                <a:moveTo>
                  <a:pt x="591210" y="412417"/>
                </a:moveTo>
                <a:lnTo>
                  <a:pt x="591210" y="412417"/>
                </a:lnTo>
                <a:cubicBezTo>
                  <a:pt x="581724" y="412486"/>
                  <a:pt x="572584" y="408709"/>
                  <a:pt x="565874" y="401947"/>
                </a:cubicBezTo>
                <a:cubicBezTo>
                  <a:pt x="563849" y="398707"/>
                  <a:pt x="563849" y="394600"/>
                  <a:pt x="565874" y="391361"/>
                </a:cubicBezTo>
                <a:cubicBezTo>
                  <a:pt x="567609" y="387347"/>
                  <a:pt x="571427" y="384616"/>
                  <a:pt x="575823" y="384246"/>
                </a:cubicBezTo>
                <a:cubicBezTo>
                  <a:pt x="577558" y="384258"/>
                  <a:pt x="579236" y="384801"/>
                  <a:pt x="580624" y="385808"/>
                </a:cubicBezTo>
                <a:cubicBezTo>
                  <a:pt x="583864" y="387960"/>
                  <a:pt x="587681" y="389071"/>
                  <a:pt x="591557" y="388989"/>
                </a:cubicBezTo>
                <a:cubicBezTo>
                  <a:pt x="596416" y="389556"/>
                  <a:pt x="601217" y="387318"/>
                  <a:pt x="603936" y="383205"/>
                </a:cubicBezTo>
                <a:cubicBezTo>
                  <a:pt x="604861" y="381065"/>
                  <a:pt x="607927" y="380024"/>
                  <a:pt x="612902" y="380024"/>
                </a:cubicBezTo>
                <a:cubicBezTo>
                  <a:pt x="623198" y="380024"/>
                  <a:pt x="641824" y="384941"/>
                  <a:pt x="645873" y="391592"/>
                </a:cubicBezTo>
                <a:cubicBezTo>
                  <a:pt x="646971" y="393149"/>
                  <a:pt x="647203" y="395173"/>
                  <a:pt x="646393" y="396914"/>
                </a:cubicBezTo>
                <a:cubicBezTo>
                  <a:pt x="643559" y="402699"/>
                  <a:pt x="638006" y="403219"/>
                  <a:pt x="631007" y="403566"/>
                </a:cubicBezTo>
                <a:cubicBezTo>
                  <a:pt x="622735" y="403532"/>
                  <a:pt x="614579" y="405307"/>
                  <a:pt x="607060" y="408772"/>
                </a:cubicBezTo>
                <a:cubicBezTo>
                  <a:pt x="602142" y="411144"/>
                  <a:pt x="596705" y="412347"/>
                  <a:pt x="591268" y="412301"/>
                </a:cubicBezTo>
                <a:close/>
                <a:moveTo>
                  <a:pt x="575592" y="386502"/>
                </a:moveTo>
                <a:cubicBezTo>
                  <a:pt x="572121" y="386855"/>
                  <a:pt x="569055" y="389071"/>
                  <a:pt x="567667" y="392286"/>
                </a:cubicBezTo>
                <a:cubicBezTo>
                  <a:pt x="566047" y="394809"/>
                  <a:pt x="566047" y="398036"/>
                  <a:pt x="567667" y="400558"/>
                </a:cubicBezTo>
                <a:cubicBezTo>
                  <a:pt x="573915" y="406701"/>
                  <a:pt x="582360" y="410126"/>
                  <a:pt x="591152" y="410103"/>
                </a:cubicBezTo>
                <a:lnTo>
                  <a:pt x="591152" y="410103"/>
                </a:lnTo>
                <a:cubicBezTo>
                  <a:pt x="596243" y="410068"/>
                  <a:pt x="601275" y="408905"/>
                  <a:pt x="605844" y="406690"/>
                </a:cubicBezTo>
                <a:cubicBezTo>
                  <a:pt x="613596" y="403086"/>
                  <a:pt x="622041" y="401229"/>
                  <a:pt x="630602" y="401253"/>
                </a:cubicBezTo>
                <a:cubicBezTo>
                  <a:pt x="637312" y="400963"/>
                  <a:pt x="641824" y="400732"/>
                  <a:pt x="644022" y="395873"/>
                </a:cubicBezTo>
                <a:cubicBezTo>
                  <a:pt x="644485" y="394843"/>
                  <a:pt x="644369" y="393652"/>
                  <a:pt x="643675" y="392749"/>
                </a:cubicBezTo>
                <a:cubicBezTo>
                  <a:pt x="640088" y="386965"/>
                  <a:pt x="623313" y="382106"/>
                  <a:pt x="612612" y="382106"/>
                </a:cubicBezTo>
                <a:cubicBezTo>
                  <a:pt x="606828" y="382106"/>
                  <a:pt x="605902" y="383494"/>
                  <a:pt x="605729" y="383957"/>
                </a:cubicBezTo>
                <a:cubicBezTo>
                  <a:pt x="602663" y="388932"/>
                  <a:pt x="597053" y="391737"/>
                  <a:pt x="591268" y="391187"/>
                </a:cubicBezTo>
                <a:cubicBezTo>
                  <a:pt x="586930" y="391251"/>
                  <a:pt x="582649" y="390002"/>
                  <a:pt x="579004" y="387601"/>
                </a:cubicBezTo>
                <a:cubicBezTo>
                  <a:pt x="578022" y="386913"/>
                  <a:pt x="576864" y="386525"/>
                  <a:pt x="575650" y="386502"/>
                </a:cubicBezTo>
                <a:close/>
                <a:moveTo>
                  <a:pt x="1252370" y="406516"/>
                </a:moveTo>
                <a:cubicBezTo>
                  <a:pt x="1252196" y="406568"/>
                  <a:pt x="1251965" y="406568"/>
                  <a:pt x="1251792" y="406516"/>
                </a:cubicBezTo>
                <a:cubicBezTo>
                  <a:pt x="1246181" y="402577"/>
                  <a:pt x="1240917" y="398100"/>
                  <a:pt x="1236174" y="393154"/>
                </a:cubicBezTo>
                <a:cubicBezTo>
                  <a:pt x="1231084" y="388064"/>
                  <a:pt x="1227034" y="384015"/>
                  <a:pt x="1223332" y="384015"/>
                </a:cubicBezTo>
                <a:cubicBezTo>
                  <a:pt x="1217027" y="384437"/>
                  <a:pt x="1210780" y="385189"/>
                  <a:pt x="1204591" y="386271"/>
                </a:cubicBezTo>
                <a:cubicBezTo>
                  <a:pt x="1193369" y="388156"/>
                  <a:pt x="1182031" y="389337"/>
                  <a:pt x="1170694" y="389799"/>
                </a:cubicBezTo>
                <a:cubicBezTo>
                  <a:pt x="1164157" y="389799"/>
                  <a:pt x="1160513" y="388816"/>
                  <a:pt x="1159125" y="386676"/>
                </a:cubicBezTo>
                <a:cubicBezTo>
                  <a:pt x="1157853" y="383726"/>
                  <a:pt x="1158199" y="380313"/>
                  <a:pt x="1160109" y="377710"/>
                </a:cubicBezTo>
                <a:cubicBezTo>
                  <a:pt x="1165951" y="369074"/>
                  <a:pt x="1175495" y="363688"/>
                  <a:pt x="1185907" y="363191"/>
                </a:cubicBezTo>
                <a:cubicBezTo>
                  <a:pt x="1190361" y="363191"/>
                  <a:pt x="1193080" y="361976"/>
                  <a:pt x="1194179" y="359605"/>
                </a:cubicBezTo>
                <a:cubicBezTo>
                  <a:pt x="1195914" y="355556"/>
                  <a:pt x="1192617" y="348036"/>
                  <a:pt x="1185907" y="340863"/>
                </a:cubicBezTo>
                <a:cubicBezTo>
                  <a:pt x="1182205" y="336958"/>
                  <a:pt x="1180123" y="331787"/>
                  <a:pt x="1180123" y="326402"/>
                </a:cubicBezTo>
                <a:cubicBezTo>
                  <a:pt x="1180123" y="319472"/>
                  <a:pt x="1176478" y="313051"/>
                  <a:pt x="1170578" y="309453"/>
                </a:cubicBezTo>
                <a:cubicBezTo>
                  <a:pt x="1154382" y="297364"/>
                  <a:pt x="1112734" y="283886"/>
                  <a:pt x="1094513" y="283019"/>
                </a:cubicBezTo>
                <a:cubicBezTo>
                  <a:pt x="1084969" y="282614"/>
                  <a:pt x="1082945" y="280589"/>
                  <a:pt x="1081325" y="277234"/>
                </a:cubicBezTo>
                <a:cubicBezTo>
                  <a:pt x="1079994" y="274921"/>
                  <a:pt x="1078548" y="272317"/>
                  <a:pt x="1070045" y="270061"/>
                </a:cubicBezTo>
                <a:cubicBezTo>
                  <a:pt x="1063219" y="268118"/>
                  <a:pt x="1056683" y="265197"/>
                  <a:pt x="1050725" y="261385"/>
                </a:cubicBezTo>
                <a:cubicBezTo>
                  <a:pt x="1048700" y="259921"/>
                  <a:pt x="1046444" y="258846"/>
                  <a:pt x="1044073" y="258203"/>
                </a:cubicBezTo>
                <a:cubicBezTo>
                  <a:pt x="1044073" y="258203"/>
                  <a:pt x="1043205" y="258203"/>
                  <a:pt x="1043205" y="260922"/>
                </a:cubicBezTo>
                <a:cubicBezTo>
                  <a:pt x="1042858" y="266747"/>
                  <a:pt x="1037884" y="271201"/>
                  <a:pt x="1032041" y="270871"/>
                </a:cubicBezTo>
                <a:cubicBezTo>
                  <a:pt x="1026893" y="271109"/>
                  <a:pt x="1022555" y="267135"/>
                  <a:pt x="1022323" y="261998"/>
                </a:cubicBezTo>
                <a:cubicBezTo>
                  <a:pt x="1022265" y="261639"/>
                  <a:pt x="1022323" y="261281"/>
                  <a:pt x="1022323" y="260922"/>
                </a:cubicBezTo>
                <a:cubicBezTo>
                  <a:pt x="1022323" y="250684"/>
                  <a:pt x="1015382" y="245246"/>
                  <a:pt x="1009308" y="240445"/>
                </a:cubicBezTo>
                <a:lnTo>
                  <a:pt x="1005722" y="237553"/>
                </a:lnTo>
                <a:cubicBezTo>
                  <a:pt x="1003929" y="235934"/>
                  <a:pt x="1003293" y="234487"/>
                  <a:pt x="1003755" y="233099"/>
                </a:cubicBezTo>
                <a:cubicBezTo>
                  <a:pt x="1004681" y="230727"/>
                  <a:pt x="1008961" y="230207"/>
                  <a:pt x="1012374" y="230207"/>
                </a:cubicBezTo>
                <a:cubicBezTo>
                  <a:pt x="1015960" y="230242"/>
                  <a:pt x="1019489" y="230710"/>
                  <a:pt x="1022959" y="231595"/>
                </a:cubicBezTo>
                <a:cubicBezTo>
                  <a:pt x="1025909" y="232255"/>
                  <a:pt x="1029033" y="231456"/>
                  <a:pt x="1031289" y="229455"/>
                </a:cubicBezTo>
                <a:cubicBezTo>
                  <a:pt x="1033719" y="227465"/>
                  <a:pt x="1036784" y="226343"/>
                  <a:pt x="1039908" y="226274"/>
                </a:cubicBezTo>
                <a:cubicBezTo>
                  <a:pt x="1042164" y="226320"/>
                  <a:pt x="1044362" y="226748"/>
                  <a:pt x="1046444" y="227546"/>
                </a:cubicBezTo>
                <a:cubicBezTo>
                  <a:pt x="1051419" y="229281"/>
                  <a:pt x="1054947" y="228529"/>
                  <a:pt x="1054947" y="225927"/>
                </a:cubicBezTo>
                <a:cubicBezTo>
                  <a:pt x="1054947" y="223324"/>
                  <a:pt x="1053039" y="221299"/>
                  <a:pt x="1048585" y="221646"/>
                </a:cubicBezTo>
                <a:cubicBezTo>
                  <a:pt x="1046734" y="221646"/>
                  <a:pt x="1044131" y="222224"/>
                  <a:pt x="1041065" y="222687"/>
                </a:cubicBezTo>
                <a:cubicBezTo>
                  <a:pt x="1034124" y="223942"/>
                  <a:pt x="1027125" y="224677"/>
                  <a:pt x="1020125" y="224885"/>
                </a:cubicBezTo>
                <a:cubicBezTo>
                  <a:pt x="1011160" y="224885"/>
                  <a:pt x="1005838" y="222803"/>
                  <a:pt x="1003871" y="218580"/>
                </a:cubicBezTo>
                <a:cubicBezTo>
                  <a:pt x="1002772" y="216151"/>
                  <a:pt x="1001905" y="213895"/>
                  <a:pt x="1001095" y="211870"/>
                </a:cubicBezTo>
                <a:cubicBezTo>
                  <a:pt x="998491" y="204871"/>
                  <a:pt x="996872" y="200706"/>
                  <a:pt x="989526" y="200706"/>
                </a:cubicBezTo>
                <a:cubicBezTo>
                  <a:pt x="987328" y="200706"/>
                  <a:pt x="985361" y="200706"/>
                  <a:pt x="983741" y="200706"/>
                </a:cubicBezTo>
                <a:cubicBezTo>
                  <a:pt x="982122" y="200706"/>
                  <a:pt x="981080" y="200706"/>
                  <a:pt x="979924" y="200706"/>
                </a:cubicBezTo>
                <a:cubicBezTo>
                  <a:pt x="978073" y="200903"/>
                  <a:pt x="976279" y="200290"/>
                  <a:pt x="974949" y="199029"/>
                </a:cubicBezTo>
                <a:cubicBezTo>
                  <a:pt x="973561" y="196807"/>
                  <a:pt x="973271" y="194112"/>
                  <a:pt x="974023" y="191625"/>
                </a:cubicBezTo>
                <a:cubicBezTo>
                  <a:pt x="974949" y="185436"/>
                  <a:pt x="979808" y="184105"/>
                  <a:pt x="984898" y="182890"/>
                </a:cubicBezTo>
                <a:cubicBezTo>
                  <a:pt x="989988" y="181676"/>
                  <a:pt x="995195" y="180229"/>
                  <a:pt x="997508" y="173693"/>
                </a:cubicBezTo>
                <a:cubicBezTo>
                  <a:pt x="999243" y="168776"/>
                  <a:pt x="1005606" y="166173"/>
                  <a:pt x="1015902" y="166173"/>
                </a:cubicBezTo>
                <a:cubicBezTo>
                  <a:pt x="1031925" y="166173"/>
                  <a:pt x="1055411" y="172883"/>
                  <a:pt x="1061658" y="181502"/>
                </a:cubicBezTo>
                <a:cubicBezTo>
                  <a:pt x="1065012" y="186014"/>
                  <a:pt x="1067095" y="196542"/>
                  <a:pt x="1069524" y="208805"/>
                </a:cubicBezTo>
                <a:cubicBezTo>
                  <a:pt x="1073111" y="226852"/>
                  <a:pt x="1077623" y="249296"/>
                  <a:pt x="1086878" y="249296"/>
                </a:cubicBezTo>
                <a:cubicBezTo>
                  <a:pt x="1087687" y="249296"/>
                  <a:pt x="1088497" y="249162"/>
                  <a:pt x="1089249" y="248891"/>
                </a:cubicBezTo>
                <a:cubicBezTo>
                  <a:pt x="1098852" y="244923"/>
                  <a:pt x="1107586" y="239190"/>
                  <a:pt x="1115048" y="232000"/>
                </a:cubicBezTo>
                <a:cubicBezTo>
                  <a:pt x="1122278" y="225869"/>
                  <a:pt x="1128525" y="220431"/>
                  <a:pt x="1134021" y="220431"/>
                </a:cubicBezTo>
                <a:cubicBezTo>
                  <a:pt x="1138475" y="220431"/>
                  <a:pt x="1141309" y="215746"/>
                  <a:pt x="1144317" y="210771"/>
                </a:cubicBezTo>
                <a:cubicBezTo>
                  <a:pt x="1147325" y="205797"/>
                  <a:pt x="1151374" y="199202"/>
                  <a:pt x="1158199" y="198624"/>
                </a:cubicBezTo>
                <a:lnTo>
                  <a:pt x="1158720" y="198624"/>
                </a:lnTo>
                <a:cubicBezTo>
                  <a:pt x="1165546" y="198624"/>
                  <a:pt x="1185444" y="206317"/>
                  <a:pt x="1208524" y="215283"/>
                </a:cubicBezTo>
                <a:cubicBezTo>
                  <a:pt x="1223390" y="221068"/>
                  <a:pt x="1238777" y="226852"/>
                  <a:pt x="1252312" y="231537"/>
                </a:cubicBezTo>
                <a:cubicBezTo>
                  <a:pt x="1252775" y="231688"/>
                  <a:pt x="1253064" y="232104"/>
                  <a:pt x="1253064" y="232578"/>
                </a:cubicBezTo>
                <a:lnTo>
                  <a:pt x="1253064" y="405012"/>
                </a:lnTo>
                <a:cubicBezTo>
                  <a:pt x="1253064" y="405423"/>
                  <a:pt x="1252833" y="405799"/>
                  <a:pt x="1252486" y="405996"/>
                </a:cubicBezTo>
                <a:cubicBezTo>
                  <a:pt x="1252544" y="406158"/>
                  <a:pt x="1252602" y="406343"/>
                  <a:pt x="1252544" y="406516"/>
                </a:cubicBezTo>
                <a:close/>
                <a:moveTo>
                  <a:pt x="1223448" y="381585"/>
                </a:moveTo>
                <a:cubicBezTo>
                  <a:pt x="1228076" y="381585"/>
                  <a:pt x="1232414" y="385924"/>
                  <a:pt x="1237909" y="391361"/>
                </a:cubicBezTo>
                <a:cubicBezTo>
                  <a:pt x="1242074" y="395671"/>
                  <a:pt x="1246586" y="399650"/>
                  <a:pt x="1251387" y="403277"/>
                </a:cubicBezTo>
                <a:lnTo>
                  <a:pt x="1251387" y="233793"/>
                </a:lnTo>
                <a:cubicBezTo>
                  <a:pt x="1237967" y="229281"/>
                  <a:pt x="1222927" y="223439"/>
                  <a:pt x="1208293" y="217770"/>
                </a:cubicBezTo>
                <a:cubicBezTo>
                  <a:pt x="1186369" y="209267"/>
                  <a:pt x="1165719" y="201285"/>
                  <a:pt x="1159299" y="201285"/>
                </a:cubicBezTo>
                <a:lnTo>
                  <a:pt x="1159241" y="201285"/>
                </a:lnTo>
                <a:cubicBezTo>
                  <a:pt x="1153456" y="201690"/>
                  <a:pt x="1150333" y="207069"/>
                  <a:pt x="1147152" y="212333"/>
                </a:cubicBezTo>
                <a:cubicBezTo>
                  <a:pt x="1143970" y="217597"/>
                  <a:pt x="1140673" y="223092"/>
                  <a:pt x="1134947" y="223092"/>
                </a:cubicBezTo>
                <a:cubicBezTo>
                  <a:pt x="1130261" y="223092"/>
                  <a:pt x="1124303" y="228124"/>
                  <a:pt x="1117593" y="234025"/>
                </a:cubicBezTo>
                <a:cubicBezTo>
                  <a:pt x="1109899" y="241417"/>
                  <a:pt x="1100876" y="247306"/>
                  <a:pt x="1090984" y="251378"/>
                </a:cubicBezTo>
                <a:cubicBezTo>
                  <a:pt x="1090001" y="251713"/>
                  <a:pt x="1088960" y="251887"/>
                  <a:pt x="1087919" y="251899"/>
                </a:cubicBezTo>
                <a:cubicBezTo>
                  <a:pt x="1076350" y="251899"/>
                  <a:pt x="1072070" y="229397"/>
                  <a:pt x="1068136" y="209557"/>
                </a:cubicBezTo>
                <a:cubicBezTo>
                  <a:pt x="1065822" y="197988"/>
                  <a:pt x="1063682" y="187286"/>
                  <a:pt x="1060674" y="183180"/>
                </a:cubicBezTo>
                <a:cubicBezTo>
                  <a:pt x="1055353" y="175891"/>
                  <a:pt x="1033603" y="168776"/>
                  <a:pt x="1016712" y="168776"/>
                </a:cubicBezTo>
                <a:cubicBezTo>
                  <a:pt x="1007573" y="168776"/>
                  <a:pt x="1001789" y="170917"/>
                  <a:pt x="1000459" y="174561"/>
                </a:cubicBezTo>
                <a:cubicBezTo>
                  <a:pt x="998029" y="180414"/>
                  <a:pt x="992591" y="184469"/>
                  <a:pt x="986286" y="185146"/>
                </a:cubicBezTo>
                <a:cubicBezTo>
                  <a:pt x="981543" y="186419"/>
                  <a:pt x="977783" y="187344"/>
                  <a:pt x="977031" y="192087"/>
                </a:cubicBezTo>
                <a:cubicBezTo>
                  <a:pt x="976627" y="194980"/>
                  <a:pt x="977031" y="196831"/>
                  <a:pt x="977436" y="197872"/>
                </a:cubicBezTo>
                <a:cubicBezTo>
                  <a:pt x="977841" y="198913"/>
                  <a:pt x="978998" y="198740"/>
                  <a:pt x="980733" y="198740"/>
                </a:cubicBezTo>
                <a:lnTo>
                  <a:pt x="984378" y="198740"/>
                </a:lnTo>
                <a:cubicBezTo>
                  <a:pt x="986170" y="198740"/>
                  <a:pt x="988196" y="198740"/>
                  <a:pt x="990162" y="198740"/>
                </a:cubicBezTo>
                <a:cubicBezTo>
                  <a:pt x="999070" y="198740"/>
                  <a:pt x="1001211" y="204524"/>
                  <a:pt x="1003871" y="211350"/>
                </a:cubicBezTo>
                <a:cubicBezTo>
                  <a:pt x="1004623" y="213316"/>
                  <a:pt x="1005491" y="215572"/>
                  <a:pt x="1006532" y="217886"/>
                </a:cubicBezTo>
                <a:cubicBezTo>
                  <a:pt x="1008094" y="221241"/>
                  <a:pt x="1012894" y="222919"/>
                  <a:pt x="1020762" y="222919"/>
                </a:cubicBezTo>
                <a:cubicBezTo>
                  <a:pt x="1027645" y="222699"/>
                  <a:pt x="1034528" y="221982"/>
                  <a:pt x="1041354" y="220778"/>
                </a:cubicBezTo>
                <a:cubicBezTo>
                  <a:pt x="1044478" y="220258"/>
                  <a:pt x="1047139" y="219853"/>
                  <a:pt x="1049047" y="219737"/>
                </a:cubicBezTo>
                <a:lnTo>
                  <a:pt x="1049973" y="219737"/>
                </a:lnTo>
                <a:cubicBezTo>
                  <a:pt x="1053965" y="219401"/>
                  <a:pt x="1057435" y="222311"/>
                  <a:pt x="1057840" y="226274"/>
                </a:cubicBezTo>
                <a:cubicBezTo>
                  <a:pt x="1057840" y="228703"/>
                  <a:pt x="1056047" y="231132"/>
                  <a:pt x="1052055" y="231132"/>
                </a:cubicBezTo>
                <a:cubicBezTo>
                  <a:pt x="1050089" y="231109"/>
                  <a:pt x="1048122" y="230739"/>
                  <a:pt x="1046271" y="230033"/>
                </a:cubicBezTo>
                <a:cubicBezTo>
                  <a:pt x="1044420" y="229310"/>
                  <a:pt x="1042454" y="228917"/>
                  <a:pt x="1040486" y="228876"/>
                </a:cubicBezTo>
                <a:cubicBezTo>
                  <a:pt x="1037768" y="228958"/>
                  <a:pt x="1035165" y="229935"/>
                  <a:pt x="1033082" y="231653"/>
                </a:cubicBezTo>
                <a:cubicBezTo>
                  <a:pt x="1031058" y="233365"/>
                  <a:pt x="1028513" y="234360"/>
                  <a:pt x="1025852" y="234487"/>
                </a:cubicBezTo>
                <a:cubicBezTo>
                  <a:pt x="1024869" y="234487"/>
                  <a:pt x="1023943" y="234354"/>
                  <a:pt x="1023017" y="234082"/>
                </a:cubicBezTo>
                <a:cubicBezTo>
                  <a:pt x="1019720" y="233290"/>
                  <a:pt x="1016366" y="232868"/>
                  <a:pt x="1012952" y="232810"/>
                </a:cubicBezTo>
                <a:cubicBezTo>
                  <a:pt x="1008614" y="232810"/>
                  <a:pt x="1006705" y="233678"/>
                  <a:pt x="1006474" y="234256"/>
                </a:cubicBezTo>
                <a:cubicBezTo>
                  <a:pt x="1006243" y="234834"/>
                  <a:pt x="1006474" y="235124"/>
                  <a:pt x="1007804" y="236165"/>
                </a:cubicBezTo>
                <a:cubicBezTo>
                  <a:pt x="1009135" y="237206"/>
                  <a:pt x="1010060" y="238074"/>
                  <a:pt x="1011275" y="238999"/>
                </a:cubicBezTo>
                <a:cubicBezTo>
                  <a:pt x="1017464" y="243916"/>
                  <a:pt x="1025157" y="249990"/>
                  <a:pt x="1025157" y="261269"/>
                </a:cubicBezTo>
                <a:cubicBezTo>
                  <a:pt x="1024811" y="265150"/>
                  <a:pt x="1027645" y="268587"/>
                  <a:pt x="1031521" y="268945"/>
                </a:cubicBezTo>
                <a:cubicBezTo>
                  <a:pt x="1031868" y="268980"/>
                  <a:pt x="1032273" y="268986"/>
                  <a:pt x="1032620" y="268962"/>
                </a:cubicBezTo>
                <a:cubicBezTo>
                  <a:pt x="1037190" y="269292"/>
                  <a:pt x="1041180" y="265851"/>
                  <a:pt x="1041528" y="261269"/>
                </a:cubicBezTo>
                <a:cubicBezTo>
                  <a:pt x="1041528" y="260055"/>
                  <a:pt x="1041528" y="256295"/>
                  <a:pt x="1044651" y="256295"/>
                </a:cubicBezTo>
                <a:cubicBezTo>
                  <a:pt x="1047486" y="256861"/>
                  <a:pt x="1050147" y="258047"/>
                  <a:pt x="1052461" y="259765"/>
                </a:cubicBezTo>
                <a:cubicBezTo>
                  <a:pt x="1058245" y="263479"/>
                  <a:pt x="1064608" y="266342"/>
                  <a:pt x="1071202" y="268268"/>
                </a:cubicBezTo>
                <a:cubicBezTo>
                  <a:pt x="1080631" y="270698"/>
                  <a:pt x="1082423" y="274053"/>
                  <a:pt x="1083870" y="276540"/>
                </a:cubicBezTo>
                <a:cubicBezTo>
                  <a:pt x="1085316" y="279028"/>
                  <a:pt x="1086241" y="280763"/>
                  <a:pt x="1095438" y="281168"/>
                </a:cubicBezTo>
                <a:cubicBezTo>
                  <a:pt x="1113833" y="281977"/>
                  <a:pt x="1156233" y="295687"/>
                  <a:pt x="1172718" y="308007"/>
                </a:cubicBezTo>
                <a:cubicBezTo>
                  <a:pt x="1179197" y="311964"/>
                  <a:pt x="1183131" y="318986"/>
                  <a:pt x="1183188" y="326575"/>
                </a:cubicBezTo>
                <a:cubicBezTo>
                  <a:pt x="1183131" y="331435"/>
                  <a:pt x="1184923" y="336126"/>
                  <a:pt x="1188279" y="339648"/>
                </a:cubicBezTo>
                <a:cubicBezTo>
                  <a:pt x="1195798" y="347747"/>
                  <a:pt x="1199096" y="355845"/>
                  <a:pt x="1196898" y="360877"/>
                </a:cubicBezTo>
                <a:cubicBezTo>
                  <a:pt x="1195914" y="363133"/>
                  <a:pt x="1193369" y="365794"/>
                  <a:pt x="1186601" y="365794"/>
                </a:cubicBezTo>
                <a:cubicBezTo>
                  <a:pt x="1176999" y="366245"/>
                  <a:pt x="1168149" y="371220"/>
                  <a:pt x="1162769" y="379214"/>
                </a:cubicBezTo>
                <a:cubicBezTo>
                  <a:pt x="1161323" y="381129"/>
                  <a:pt x="1160919" y="383668"/>
                  <a:pt x="1161786" y="385924"/>
                </a:cubicBezTo>
                <a:cubicBezTo>
                  <a:pt x="1162133" y="386502"/>
                  <a:pt x="1163695" y="387891"/>
                  <a:pt x="1171157" y="387891"/>
                </a:cubicBezTo>
                <a:cubicBezTo>
                  <a:pt x="1182379" y="387416"/>
                  <a:pt x="1193600" y="386242"/>
                  <a:pt x="1204706" y="384362"/>
                </a:cubicBezTo>
                <a:cubicBezTo>
                  <a:pt x="1210896" y="383107"/>
                  <a:pt x="1217201" y="382175"/>
                  <a:pt x="1223506" y="381585"/>
                </a:cubicBezTo>
                <a:close/>
                <a:moveTo>
                  <a:pt x="713435" y="406516"/>
                </a:moveTo>
                <a:lnTo>
                  <a:pt x="711352" y="406516"/>
                </a:lnTo>
                <a:cubicBezTo>
                  <a:pt x="688909" y="405706"/>
                  <a:pt x="669531" y="404954"/>
                  <a:pt x="666002" y="397782"/>
                </a:cubicBezTo>
                <a:cubicBezTo>
                  <a:pt x="665366" y="396660"/>
                  <a:pt x="665366" y="395260"/>
                  <a:pt x="666002" y="394138"/>
                </a:cubicBezTo>
                <a:cubicBezTo>
                  <a:pt x="668895" y="389452"/>
                  <a:pt x="682777" y="385577"/>
                  <a:pt x="696834" y="385577"/>
                </a:cubicBezTo>
                <a:cubicBezTo>
                  <a:pt x="704064" y="385449"/>
                  <a:pt x="711179" y="386606"/>
                  <a:pt x="718004" y="388989"/>
                </a:cubicBezTo>
                <a:cubicBezTo>
                  <a:pt x="721938" y="390476"/>
                  <a:pt x="726103" y="391240"/>
                  <a:pt x="730267" y="391245"/>
                </a:cubicBezTo>
                <a:cubicBezTo>
                  <a:pt x="736746" y="390933"/>
                  <a:pt x="743109" y="389684"/>
                  <a:pt x="749240" y="387543"/>
                </a:cubicBezTo>
                <a:cubicBezTo>
                  <a:pt x="755951" y="385224"/>
                  <a:pt x="762950" y="383899"/>
                  <a:pt x="770006" y="383610"/>
                </a:cubicBezTo>
                <a:cubicBezTo>
                  <a:pt x="771916" y="383633"/>
                  <a:pt x="773882" y="383784"/>
                  <a:pt x="775791" y="384073"/>
                </a:cubicBezTo>
                <a:cubicBezTo>
                  <a:pt x="785509" y="385519"/>
                  <a:pt x="787360" y="387023"/>
                  <a:pt x="787360" y="388816"/>
                </a:cubicBezTo>
                <a:cubicBezTo>
                  <a:pt x="787360" y="393038"/>
                  <a:pt x="770006" y="394195"/>
                  <a:pt x="766767" y="394600"/>
                </a:cubicBezTo>
                <a:cubicBezTo>
                  <a:pt x="759884" y="395422"/>
                  <a:pt x="753116" y="397117"/>
                  <a:pt x="746638" y="399633"/>
                </a:cubicBezTo>
                <a:cubicBezTo>
                  <a:pt x="735994" y="403653"/>
                  <a:pt x="724772" y="405978"/>
                  <a:pt x="713435" y="406516"/>
                </a:cubicBezTo>
                <a:close/>
                <a:moveTo>
                  <a:pt x="697065" y="387775"/>
                </a:moveTo>
                <a:cubicBezTo>
                  <a:pt x="682777" y="387775"/>
                  <a:pt x="670341" y="391766"/>
                  <a:pt x="668143" y="395295"/>
                </a:cubicBezTo>
                <a:cubicBezTo>
                  <a:pt x="667854" y="395734"/>
                  <a:pt x="667854" y="396301"/>
                  <a:pt x="668143" y="396741"/>
                </a:cubicBezTo>
                <a:cubicBezTo>
                  <a:pt x="671093" y="402525"/>
                  <a:pt x="691686" y="403450"/>
                  <a:pt x="711584" y="404202"/>
                </a:cubicBezTo>
                <a:cubicBezTo>
                  <a:pt x="723500" y="403971"/>
                  <a:pt x="735242" y="401623"/>
                  <a:pt x="746290" y="397261"/>
                </a:cubicBezTo>
                <a:cubicBezTo>
                  <a:pt x="752943" y="394676"/>
                  <a:pt x="759884" y="392946"/>
                  <a:pt x="766998" y="392113"/>
                </a:cubicBezTo>
                <a:cubicBezTo>
                  <a:pt x="773304" y="392136"/>
                  <a:pt x="779551" y="390979"/>
                  <a:pt x="785393" y="388700"/>
                </a:cubicBezTo>
                <a:cubicBezTo>
                  <a:pt x="782385" y="387254"/>
                  <a:pt x="779146" y="386410"/>
                  <a:pt x="775849" y="386213"/>
                </a:cubicBezTo>
                <a:cubicBezTo>
                  <a:pt x="773940" y="385958"/>
                  <a:pt x="771974" y="385820"/>
                  <a:pt x="770064" y="385808"/>
                </a:cubicBezTo>
                <a:cubicBezTo>
                  <a:pt x="763181" y="386097"/>
                  <a:pt x="756413" y="387404"/>
                  <a:pt x="749935" y="389684"/>
                </a:cubicBezTo>
                <a:cubicBezTo>
                  <a:pt x="743630" y="391835"/>
                  <a:pt x="736978" y="393079"/>
                  <a:pt x="730325" y="393386"/>
                </a:cubicBezTo>
                <a:cubicBezTo>
                  <a:pt x="725871" y="393403"/>
                  <a:pt x="721475" y="392599"/>
                  <a:pt x="717310" y="391014"/>
                </a:cubicBezTo>
                <a:cubicBezTo>
                  <a:pt x="710774" y="388804"/>
                  <a:pt x="703949" y="387705"/>
                  <a:pt x="697065" y="387775"/>
                </a:cubicBezTo>
                <a:close/>
                <a:moveTo>
                  <a:pt x="540249" y="398187"/>
                </a:moveTo>
                <a:lnTo>
                  <a:pt x="540249" y="398187"/>
                </a:lnTo>
                <a:cubicBezTo>
                  <a:pt x="535737" y="397880"/>
                  <a:pt x="531399" y="396451"/>
                  <a:pt x="527639" y="394022"/>
                </a:cubicBezTo>
                <a:cubicBezTo>
                  <a:pt x="525904" y="392842"/>
                  <a:pt x="523937" y="392038"/>
                  <a:pt x="521855" y="391650"/>
                </a:cubicBezTo>
                <a:cubicBezTo>
                  <a:pt x="520871" y="391639"/>
                  <a:pt x="519946" y="392171"/>
                  <a:pt x="519483" y="393038"/>
                </a:cubicBezTo>
                <a:cubicBezTo>
                  <a:pt x="517805" y="395300"/>
                  <a:pt x="515087" y="396544"/>
                  <a:pt x="512311" y="396336"/>
                </a:cubicBezTo>
                <a:cubicBezTo>
                  <a:pt x="508551" y="396104"/>
                  <a:pt x="504906" y="395404"/>
                  <a:pt x="501320" y="394253"/>
                </a:cubicBezTo>
                <a:cubicBezTo>
                  <a:pt x="496461" y="392749"/>
                  <a:pt x="491429" y="391859"/>
                  <a:pt x="486338" y="391592"/>
                </a:cubicBezTo>
                <a:cubicBezTo>
                  <a:pt x="485007" y="391598"/>
                  <a:pt x="483735" y="391691"/>
                  <a:pt x="482405" y="391882"/>
                </a:cubicBezTo>
                <a:cubicBezTo>
                  <a:pt x="477026" y="392691"/>
                  <a:pt x="471646" y="393062"/>
                  <a:pt x="466208" y="392981"/>
                </a:cubicBezTo>
                <a:cubicBezTo>
                  <a:pt x="457589" y="392981"/>
                  <a:pt x="428378" y="392113"/>
                  <a:pt x="413686" y="380371"/>
                </a:cubicBezTo>
                <a:cubicBezTo>
                  <a:pt x="401191" y="371225"/>
                  <a:pt x="386326" y="365829"/>
                  <a:pt x="370881" y="364810"/>
                </a:cubicBezTo>
                <a:cubicBezTo>
                  <a:pt x="366948" y="364810"/>
                  <a:pt x="364344" y="365620"/>
                  <a:pt x="363708" y="367066"/>
                </a:cubicBezTo>
                <a:cubicBezTo>
                  <a:pt x="363072" y="368513"/>
                  <a:pt x="359659" y="370364"/>
                  <a:pt x="354453" y="370364"/>
                </a:cubicBezTo>
                <a:cubicBezTo>
                  <a:pt x="344041" y="369681"/>
                  <a:pt x="333745" y="368073"/>
                  <a:pt x="323622" y="365562"/>
                </a:cubicBezTo>
                <a:cubicBezTo>
                  <a:pt x="319689" y="364695"/>
                  <a:pt x="316276" y="363943"/>
                  <a:pt x="314020" y="363596"/>
                </a:cubicBezTo>
                <a:cubicBezTo>
                  <a:pt x="307715" y="362670"/>
                  <a:pt x="305864" y="357812"/>
                  <a:pt x="304360" y="353820"/>
                </a:cubicBezTo>
                <a:cubicBezTo>
                  <a:pt x="302856" y="349829"/>
                  <a:pt x="302162" y="348325"/>
                  <a:pt x="299675" y="348325"/>
                </a:cubicBezTo>
                <a:cubicBezTo>
                  <a:pt x="297593" y="348395"/>
                  <a:pt x="295567" y="348649"/>
                  <a:pt x="293543" y="349077"/>
                </a:cubicBezTo>
                <a:cubicBezTo>
                  <a:pt x="291345" y="349592"/>
                  <a:pt x="289147" y="349881"/>
                  <a:pt x="286891" y="349944"/>
                </a:cubicBezTo>
                <a:cubicBezTo>
                  <a:pt x="282784" y="350338"/>
                  <a:pt x="279082" y="347480"/>
                  <a:pt x="278388" y="343408"/>
                </a:cubicBezTo>
                <a:cubicBezTo>
                  <a:pt x="277231" y="338781"/>
                  <a:pt x="277173" y="336814"/>
                  <a:pt x="277983" y="335599"/>
                </a:cubicBezTo>
                <a:cubicBezTo>
                  <a:pt x="278793" y="334674"/>
                  <a:pt x="280008" y="334165"/>
                  <a:pt x="281222" y="334211"/>
                </a:cubicBezTo>
                <a:cubicBezTo>
                  <a:pt x="283652" y="334211"/>
                  <a:pt x="287007" y="333517"/>
                  <a:pt x="291403" y="326402"/>
                </a:cubicBezTo>
                <a:cubicBezTo>
                  <a:pt x="294585" y="320907"/>
                  <a:pt x="302220" y="318015"/>
                  <a:pt x="313326" y="318015"/>
                </a:cubicBezTo>
                <a:cubicBezTo>
                  <a:pt x="328539" y="318153"/>
                  <a:pt x="343521" y="322029"/>
                  <a:pt x="356883" y="329294"/>
                </a:cubicBezTo>
                <a:cubicBezTo>
                  <a:pt x="365386" y="335368"/>
                  <a:pt x="393267" y="345896"/>
                  <a:pt x="406803" y="345896"/>
                </a:cubicBezTo>
                <a:cubicBezTo>
                  <a:pt x="410967" y="345896"/>
                  <a:pt x="413107" y="344912"/>
                  <a:pt x="413223" y="343061"/>
                </a:cubicBezTo>
                <a:cubicBezTo>
                  <a:pt x="413223" y="340857"/>
                  <a:pt x="415016" y="339064"/>
                  <a:pt x="417214" y="339052"/>
                </a:cubicBezTo>
                <a:cubicBezTo>
                  <a:pt x="417330" y="339052"/>
                  <a:pt x="417446" y="339058"/>
                  <a:pt x="417562" y="339070"/>
                </a:cubicBezTo>
                <a:cubicBezTo>
                  <a:pt x="421958" y="339683"/>
                  <a:pt x="426238" y="340950"/>
                  <a:pt x="430229" y="342830"/>
                </a:cubicBezTo>
                <a:cubicBezTo>
                  <a:pt x="439600" y="347018"/>
                  <a:pt x="449723" y="349465"/>
                  <a:pt x="459961" y="350060"/>
                </a:cubicBezTo>
                <a:cubicBezTo>
                  <a:pt x="463547" y="350089"/>
                  <a:pt x="467134" y="349563"/>
                  <a:pt x="470546" y="348498"/>
                </a:cubicBezTo>
                <a:cubicBezTo>
                  <a:pt x="479570" y="345502"/>
                  <a:pt x="488999" y="343773"/>
                  <a:pt x="498544" y="343350"/>
                </a:cubicBezTo>
                <a:cubicBezTo>
                  <a:pt x="503865" y="343350"/>
                  <a:pt x="506873" y="344334"/>
                  <a:pt x="507394" y="346358"/>
                </a:cubicBezTo>
                <a:cubicBezTo>
                  <a:pt x="507914" y="348383"/>
                  <a:pt x="504848" y="350696"/>
                  <a:pt x="503807" y="351333"/>
                </a:cubicBezTo>
                <a:cubicBezTo>
                  <a:pt x="499006" y="353866"/>
                  <a:pt x="493974" y="355960"/>
                  <a:pt x="488768" y="357580"/>
                </a:cubicBezTo>
                <a:cubicBezTo>
                  <a:pt x="482115" y="359952"/>
                  <a:pt x="472918" y="363364"/>
                  <a:pt x="472802" y="365447"/>
                </a:cubicBezTo>
                <a:cubicBezTo>
                  <a:pt x="472802" y="365967"/>
                  <a:pt x="473728" y="366893"/>
                  <a:pt x="476216" y="367934"/>
                </a:cubicBezTo>
                <a:cubicBezTo>
                  <a:pt x="482231" y="369924"/>
                  <a:pt x="488537" y="370786"/>
                  <a:pt x="494841" y="370479"/>
                </a:cubicBezTo>
                <a:lnTo>
                  <a:pt x="502304" y="370479"/>
                </a:lnTo>
                <a:lnTo>
                  <a:pt x="509013" y="370479"/>
                </a:lnTo>
                <a:cubicBezTo>
                  <a:pt x="516301" y="370479"/>
                  <a:pt x="524052" y="370942"/>
                  <a:pt x="524516" y="376264"/>
                </a:cubicBezTo>
                <a:cubicBezTo>
                  <a:pt x="524516" y="379734"/>
                  <a:pt x="533655" y="381180"/>
                  <a:pt x="540769" y="382048"/>
                </a:cubicBezTo>
                <a:cubicBezTo>
                  <a:pt x="547885" y="382916"/>
                  <a:pt x="554710" y="384362"/>
                  <a:pt x="555578" y="387833"/>
                </a:cubicBezTo>
                <a:cubicBezTo>
                  <a:pt x="556156" y="390262"/>
                  <a:pt x="553554" y="392576"/>
                  <a:pt x="551586" y="394080"/>
                </a:cubicBezTo>
                <a:cubicBezTo>
                  <a:pt x="548405" y="396660"/>
                  <a:pt x="544414" y="398106"/>
                  <a:pt x="540307" y="398187"/>
                </a:cubicBezTo>
                <a:close/>
                <a:moveTo>
                  <a:pt x="521681" y="389337"/>
                </a:moveTo>
                <a:cubicBezTo>
                  <a:pt x="524226" y="389684"/>
                  <a:pt x="526656" y="390615"/>
                  <a:pt x="528738" y="392055"/>
                </a:cubicBezTo>
                <a:cubicBezTo>
                  <a:pt x="532209" y="394317"/>
                  <a:pt x="536200" y="395647"/>
                  <a:pt x="540307" y="395931"/>
                </a:cubicBezTo>
                <a:lnTo>
                  <a:pt x="540307" y="395931"/>
                </a:lnTo>
                <a:cubicBezTo>
                  <a:pt x="543893" y="395850"/>
                  <a:pt x="547306" y="394589"/>
                  <a:pt x="550082" y="392344"/>
                </a:cubicBezTo>
                <a:cubicBezTo>
                  <a:pt x="553206" y="389973"/>
                  <a:pt x="553322" y="388816"/>
                  <a:pt x="553264" y="388411"/>
                </a:cubicBezTo>
                <a:cubicBezTo>
                  <a:pt x="552802" y="386502"/>
                  <a:pt x="545860" y="385403"/>
                  <a:pt x="540307" y="384478"/>
                </a:cubicBezTo>
                <a:cubicBezTo>
                  <a:pt x="531630" y="383032"/>
                  <a:pt x="522606" y="381585"/>
                  <a:pt x="522144" y="376379"/>
                </a:cubicBezTo>
                <a:cubicBezTo>
                  <a:pt x="522144" y="373603"/>
                  <a:pt x="518095" y="372504"/>
                  <a:pt x="508897" y="372504"/>
                </a:cubicBezTo>
                <a:lnTo>
                  <a:pt x="502246" y="372504"/>
                </a:lnTo>
                <a:lnTo>
                  <a:pt x="494726" y="372504"/>
                </a:lnTo>
                <a:cubicBezTo>
                  <a:pt x="488131" y="372799"/>
                  <a:pt x="481537" y="371879"/>
                  <a:pt x="475232" y="369785"/>
                </a:cubicBezTo>
                <a:cubicBezTo>
                  <a:pt x="473150" y="368918"/>
                  <a:pt x="470373" y="367471"/>
                  <a:pt x="470489" y="365100"/>
                </a:cubicBezTo>
                <a:cubicBezTo>
                  <a:pt x="470489" y="361513"/>
                  <a:pt x="477141" y="359316"/>
                  <a:pt x="487843" y="355208"/>
                </a:cubicBezTo>
                <a:cubicBezTo>
                  <a:pt x="492875" y="353699"/>
                  <a:pt x="497792" y="351761"/>
                  <a:pt x="502477" y="349424"/>
                </a:cubicBezTo>
                <a:cubicBezTo>
                  <a:pt x="504790" y="347978"/>
                  <a:pt x="505138" y="347110"/>
                  <a:pt x="505080" y="346937"/>
                </a:cubicBezTo>
                <a:cubicBezTo>
                  <a:pt x="505022" y="346763"/>
                  <a:pt x="503634" y="345606"/>
                  <a:pt x="498370" y="345606"/>
                </a:cubicBezTo>
                <a:cubicBezTo>
                  <a:pt x="489057" y="346011"/>
                  <a:pt x="479860" y="347723"/>
                  <a:pt x="471068" y="350696"/>
                </a:cubicBezTo>
                <a:cubicBezTo>
                  <a:pt x="467307" y="351836"/>
                  <a:pt x="463432" y="352386"/>
                  <a:pt x="459499" y="352316"/>
                </a:cubicBezTo>
                <a:cubicBezTo>
                  <a:pt x="448971" y="351715"/>
                  <a:pt x="438617" y="349204"/>
                  <a:pt x="428957" y="344912"/>
                </a:cubicBezTo>
                <a:cubicBezTo>
                  <a:pt x="425255" y="343194"/>
                  <a:pt x="421379" y="341985"/>
                  <a:pt x="417388" y="341326"/>
                </a:cubicBezTo>
                <a:cubicBezTo>
                  <a:pt x="415942" y="341326"/>
                  <a:pt x="415421" y="341789"/>
                  <a:pt x="415306" y="343177"/>
                </a:cubicBezTo>
                <a:cubicBezTo>
                  <a:pt x="415306" y="345433"/>
                  <a:pt x="413512" y="348151"/>
                  <a:pt x="406629" y="348151"/>
                </a:cubicBezTo>
                <a:cubicBezTo>
                  <a:pt x="392746" y="348151"/>
                  <a:pt x="364113" y="337392"/>
                  <a:pt x="355379" y="331145"/>
                </a:cubicBezTo>
                <a:cubicBezTo>
                  <a:pt x="342422" y="324111"/>
                  <a:pt x="327903" y="320374"/>
                  <a:pt x="313152" y="320271"/>
                </a:cubicBezTo>
                <a:cubicBezTo>
                  <a:pt x="305980" y="320271"/>
                  <a:pt x="296725" y="321543"/>
                  <a:pt x="293196" y="327559"/>
                </a:cubicBezTo>
                <a:cubicBezTo>
                  <a:pt x="288511" y="335657"/>
                  <a:pt x="283999" y="336178"/>
                  <a:pt x="281280" y="336467"/>
                </a:cubicBezTo>
                <a:cubicBezTo>
                  <a:pt x="280702" y="336438"/>
                  <a:pt x="280123" y="336582"/>
                  <a:pt x="279660" y="336872"/>
                </a:cubicBezTo>
                <a:cubicBezTo>
                  <a:pt x="279429" y="338833"/>
                  <a:pt x="279718" y="340817"/>
                  <a:pt x="280412" y="342656"/>
                </a:cubicBezTo>
                <a:cubicBezTo>
                  <a:pt x="280875" y="345693"/>
                  <a:pt x="283652" y="347828"/>
                  <a:pt x="286718" y="347515"/>
                </a:cubicBezTo>
                <a:cubicBezTo>
                  <a:pt x="288800" y="347428"/>
                  <a:pt x="290882" y="347162"/>
                  <a:pt x="292965" y="346705"/>
                </a:cubicBezTo>
                <a:cubicBezTo>
                  <a:pt x="295105" y="346248"/>
                  <a:pt x="297303" y="345976"/>
                  <a:pt x="299501" y="345896"/>
                </a:cubicBezTo>
                <a:cubicBezTo>
                  <a:pt x="303666" y="345896"/>
                  <a:pt x="305286" y="349424"/>
                  <a:pt x="306269" y="352837"/>
                </a:cubicBezTo>
                <a:cubicBezTo>
                  <a:pt x="307252" y="356250"/>
                  <a:pt x="309219" y="360472"/>
                  <a:pt x="314194" y="361224"/>
                </a:cubicBezTo>
                <a:cubicBezTo>
                  <a:pt x="316508" y="361571"/>
                  <a:pt x="319978" y="362323"/>
                  <a:pt x="323911" y="363191"/>
                </a:cubicBezTo>
                <a:cubicBezTo>
                  <a:pt x="333861" y="365673"/>
                  <a:pt x="344041" y="367257"/>
                  <a:pt x="354280" y="367934"/>
                </a:cubicBezTo>
                <a:cubicBezTo>
                  <a:pt x="360064" y="367934"/>
                  <a:pt x="361163" y="366719"/>
                  <a:pt x="361452" y="365967"/>
                </a:cubicBezTo>
                <a:cubicBezTo>
                  <a:pt x="362552" y="363596"/>
                  <a:pt x="365618" y="362381"/>
                  <a:pt x="370708" y="362381"/>
                </a:cubicBezTo>
                <a:cubicBezTo>
                  <a:pt x="386672" y="363440"/>
                  <a:pt x="402001" y="368993"/>
                  <a:pt x="414900" y="378404"/>
                </a:cubicBezTo>
                <a:cubicBezTo>
                  <a:pt x="429015" y="389973"/>
                  <a:pt x="457589" y="390551"/>
                  <a:pt x="466035" y="390551"/>
                </a:cubicBezTo>
                <a:cubicBezTo>
                  <a:pt x="471356" y="390621"/>
                  <a:pt x="476620" y="390274"/>
                  <a:pt x="481884" y="389510"/>
                </a:cubicBezTo>
                <a:cubicBezTo>
                  <a:pt x="483273" y="389273"/>
                  <a:pt x="484719" y="389157"/>
                  <a:pt x="486165" y="389163"/>
                </a:cubicBezTo>
                <a:cubicBezTo>
                  <a:pt x="491429" y="389406"/>
                  <a:pt x="496692" y="390320"/>
                  <a:pt x="501725" y="391882"/>
                </a:cubicBezTo>
                <a:cubicBezTo>
                  <a:pt x="505080" y="392963"/>
                  <a:pt x="508608" y="393646"/>
                  <a:pt x="512137" y="393906"/>
                </a:cubicBezTo>
                <a:cubicBezTo>
                  <a:pt x="514219" y="394132"/>
                  <a:pt x="516244" y="393224"/>
                  <a:pt x="517459" y="391534"/>
                </a:cubicBezTo>
                <a:cubicBezTo>
                  <a:pt x="518384" y="390077"/>
                  <a:pt x="519946" y="389180"/>
                  <a:pt x="521681" y="389163"/>
                </a:cubicBezTo>
                <a:close/>
                <a:moveTo>
                  <a:pt x="247846" y="319750"/>
                </a:moveTo>
                <a:cubicBezTo>
                  <a:pt x="244897" y="319750"/>
                  <a:pt x="242467" y="315354"/>
                  <a:pt x="239632" y="310205"/>
                </a:cubicBezTo>
                <a:cubicBezTo>
                  <a:pt x="238418" y="307921"/>
                  <a:pt x="237087" y="305717"/>
                  <a:pt x="235583" y="303611"/>
                </a:cubicBezTo>
                <a:cubicBezTo>
                  <a:pt x="231187" y="299313"/>
                  <a:pt x="226386" y="295438"/>
                  <a:pt x="221238" y="292043"/>
                </a:cubicBezTo>
                <a:cubicBezTo>
                  <a:pt x="208917" y="283019"/>
                  <a:pt x="192316" y="270640"/>
                  <a:pt x="186531" y="260633"/>
                </a:cubicBezTo>
                <a:cubicBezTo>
                  <a:pt x="182020" y="254183"/>
                  <a:pt x="176524" y="248515"/>
                  <a:pt x="170161" y="243858"/>
                </a:cubicBezTo>
                <a:cubicBezTo>
                  <a:pt x="159923" y="235297"/>
                  <a:pt x="149338" y="226505"/>
                  <a:pt x="147024" y="213432"/>
                </a:cubicBezTo>
                <a:cubicBezTo>
                  <a:pt x="143032" y="192492"/>
                  <a:pt x="117234" y="153621"/>
                  <a:pt x="105897" y="151307"/>
                </a:cubicBezTo>
                <a:cubicBezTo>
                  <a:pt x="99649" y="150035"/>
                  <a:pt x="96352" y="138871"/>
                  <a:pt x="92534" y="125914"/>
                </a:cubicBezTo>
                <a:cubicBezTo>
                  <a:pt x="88717" y="112957"/>
                  <a:pt x="84089" y="96991"/>
                  <a:pt x="76107" y="96413"/>
                </a:cubicBezTo>
                <a:cubicBezTo>
                  <a:pt x="66388" y="95430"/>
                  <a:pt x="59795" y="85249"/>
                  <a:pt x="53489" y="75358"/>
                </a:cubicBezTo>
                <a:cubicBezTo>
                  <a:pt x="49845" y="68422"/>
                  <a:pt x="44697" y="62348"/>
                  <a:pt x="38508" y="57542"/>
                </a:cubicBezTo>
                <a:cubicBezTo>
                  <a:pt x="25840" y="50080"/>
                  <a:pt x="-6206" y="18670"/>
                  <a:pt x="909" y="3573"/>
                </a:cubicBezTo>
                <a:cubicBezTo>
                  <a:pt x="2066" y="1086"/>
                  <a:pt x="3570" y="-129"/>
                  <a:pt x="5421" y="-129"/>
                </a:cubicBezTo>
                <a:cubicBezTo>
                  <a:pt x="8487" y="490"/>
                  <a:pt x="11263" y="1977"/>
                  <a:pt x="13519" y="4151"/>
                </a:cubicBezTo>
                <a:cubicBezTo>
                  <a:pt x="20056" y="9861"/>
                  <a:pt x="28385" y="13059"/>
                  <a:pt x="37062" y="13175"/>
                </a:cubicBezTo>
                <a:cubicBezTo>
                  <a:pt x="59447" y="12307"/>
                  <a:pt x="72867" y="18555"/>
                  <a:pt x="77553" y="32495"/>
                </a:cubicBezTo>
                <a:cubicBezTo>
                  <a:pt x="80040" y="39552"/>
                  <a:pt x="92245" y="47997"/>
                  <a:pt x="102946" y="55633"/>
                </a:cubicBezTo>
                <a:cubicBezTo>
                  <a:pt x="113647" y="63268"/>
                  <a:pt x="121746" y="68705"/>
                  <a:pt x="123597" y="73738"/>
                </a:cubicBezTo>
                <a:cubicBezTo>
                  <a:pt x="128398" y="86522"/>
                  <a:pt x="140950" y="98438"/>
                  <a:pt x="145520" y="96586"/>
                </a:cubicBezTo>
                <a:cubicBezTo>
                  <a:pt x="151304" y="94041"/>
                  <a:pt x="161022" y="98090"/>
                  <a:pt x="167848" y="105784"/>
                </a:cubicBezTo>
                <a:cubicBezTo>
                  <a:pt x="169352" y="107924"/>
                  <a:pt x="171954" y="108983"/>
                  <a:pt x="174558" y="108502"/>
                </a:cubicBezTo>
                <a:cubicBezTo>
                  <a:pt x="178780" y="108022"/>
                  <a:pt x="182829" y="110151"/>
                  <a:pt x="184854" y="113882"/>
                </a:cubicBezTo>
                <a:cubicBezTo>
                  <a:pt x="187052" y="116936"/>
                  <a:pt x="190060" y="119319"/>
                  <a:pt x="193531" y="120765"/>
                </a:cubicBezTo>
                <a:cubicBezTo>
                  <a:pt x="196885" y="121674"/>
                  <a:pt x="199084" y="124838"/>
                  <a:pt x="198794" y="128285"/>
                </a:cubicBezTo>
                <a:cubicBezTo>
                  <a:pt x="198794" y="131120"/>
                  <a:pt x="200934" y="131698"/>
                  <a:pt x="204579" y="132508"/>
                </a:cubicBezTo>
                <a:cubicBezTo>
                  <a:pt x="208223" y="133318"/>
                  <a:pt x="213197" y="134417"/>
                  <a:pt x="213197" y="140375"/>
                </a:cubicBezTo>
                <a:cubicBezTo>
                  <a:pt x="213197" y="144135"/>
                  <a:pt x="217305" y="147721"/>
                  <a:pt x="221296" y="151192"/>
                </a:cubicBezTo>
                <a:cubicBezTo>
                  <a:pt x="225287" y="154662"/>
                  <a:pt x="228989" y="157844"/>
                  <a:pt x="228989" y="161430"/>
                </a:cubicBezTo>
                <a:cubicBezTo>
                  <a:pt x="228989" y="163333"/>
                  <a:pt x="228064" y="165126"/>
                  <a:pt x="226560" y="166289"/>
                </a:cubicBezTo>
                <a:cubicBezTo>
                  <a:pt x="222568" y="169135"/>
                  <a:pt x="220601" y="174069"/>
                  <a:pt x="221527" y="178899"/>
                </a:cubicBezTo>
                <a:cubicBezTo>
                  <a:pt x="222742" y="182023"/>
                  <a:pt x="226270" y="183700"/>
                  <a:pt x="231418" y="183700"/>
                </a:cubicBezTo>
                <a:cubicBezTo>
                  <a:pt x="239227" y="183700"/>
                  <a:pt x="242351" y="190526"/>
                  <a:pt x="245127" y="196599"/>
                </a:cubicBezTo>
                <a:cubicBezTo>
                  <a:pt x="247904" y="202673"/>
                  <a:pt x="250160" y="207590"/>
                  <a:pt x="255771" y="208168"/>
                </a:cubicBezTo>
                <a:cubicBezTo>
                  <a:pt x="260861" y="208255"/>
                  <a:pt x="265199" y="212021"/>
                  <a:pt x="265951" y="217076"/>
                </a:cubicBezTo>
                <a:cubicBezTo>
                  <a:pt x="267166" y="220663"/>
                  <a:pt x="268034" y="222861"/>
                  <a:pt x="271736" y="222861"/>
                </a:cubicBezTo>
                <a:lnTo>
                  <a:pt x="272546" y="222861"/>
                </a:lnTo>
                <a:cubicBezTo>
                  <a:pt x="277405" y="222583"/>
                  <a:pt x="282148" y="224341"/>
                  <a:pt x="285618" y="227720"/>
                </a:cubicBezTo>
                <a:cubicBezTo>
                  <a:pt x="286313" y="228379"/>
                  <a:pt x="287122" y="228905"/>
                  <a:pt x="287990" y="229281"/>
                </a:cubicBezTo>
                <a:cubicBezTo>
                  <a:pt x="287990" y="229281"/>
                  <a:pt x="287990" y="229281"/>
                  <a:pt x="288569" y="228356"/>
                </a:cubicBezTo>
                <a:cubicBezTo>
                  <a:pt x="289436" y="226331"/>
                  <a:pt x="289205" y="224023"/>
                  <a:pt x="288048" y="222167"/>
                </a:cubicBezTo>
                <a:cubicBezTo>
                  <a:pt x="286024" y="219107"/>
                  <a:pt x="282668" y="217192"/>
                  <a:pt x="278966" y="217018"/>
                </a:cubicBezTo>
                <a:cubicBezTo>
                  <a:pt x="274802" y="216897"/>
                  <a:pt x="271447" y="213502"/>
                  <a:pt x="271389" y="209325"/>
                </a:cubicBezTo>
                <a:cubicBezTo>
                  <a:pt x="271389" y="206086"/>
                  <a:pt x="274513" y="202615"/>
                  <a:pt x="282322" y="202615"/>
                </a:cubicBezTo>
                <a:cubicBezTo>
                  <a:pt x="291577" y="202615"/>
                  <a:pt x="296435" y="211234"/>
                  <a:pt x="299675" y="217539"/>
                </a:cubicBezTo>
                <a:cubicBezTo>
                  <a:pt x="301526" y="220836"/>
                  <a:pt x="303319" y="224018"/>
                  <a:pt x="304939" y="224480"/>
                </a:cubicBezTo>
                <a:cubicBezTo>
                  <a:pt x="308872" y="225579"/>
                  <a:pt x="310723" y="232231"/>
                  <a:pt x="310029" y="237495"/>
                </a:cubicBezTo>
                <a:cubicBezTo>
                  <a:pt x="309334" y="242759"/>
                  <a:pt x="306905" y="244321"/>
                  <a:pt x="303550" y="243280"/>
                </a:cubicBezTo>
                <a:cubicBezTo>
                  <a:pt x="302335" y="243014"/>
                  <a:pt x="301121" y="242875"/>
                  <a:pt x="299849" y="242875"/>
                </a:cubicBezTo>
                <a:cubicBezTo>
                  <a:pt x="295741" y="242875"/>
                  <a:pt x="293659" y="244841"/>
                  <a:pt x="293659" y="248659"/>
                </a:cubicBezTo>
                <a:cubicBezTo>
                  <a:pt x="293427" y="251696"/>
                  <a:pt x="292907" y="254704"/>
                  <a:pt x="292039" y="257625"/>
                </a:cubicBezTo>
                <a:cubicBezTo>
                  <a:pt x="290304" y="263895"/>
                  <a:pt x="289494" y="270386"/>
                  <a:pt x="289610" y="276887"/>
                </a:cubicBezTo>
                <a:cubicBezTo>
                  <a:pt x="290188" y="285217"/>
                  <a:pt x="289032" y="310032"/>
                  <a:pt x="282784" y="316742"/>
                </a:cubicBezTo>
                <a:cubicBezTo>
                  <a:pt x="281858" y="317812"/>
                  <a:pt x="280528" y="318460"/>
                  <a:pt x="279140" y="318535"/>
                </a:cubicBezTo>
                <a:lnTo>
                  <a:pt x="278677" y="318535"/>
                </a:lnTo>
                <a:cubicBezTo>
                  <a:pt x="275843" y="318148"/>
                  <a:pt x="273067" y="317569"/>
                  <a:pt x="270347" y="316800"/>
                </a:cubicBezTo>
                <a:cubicBezTo>
                  <a:pt x="266009" y="315585"/>
                  <a:pt x="261613" y="314827"/>
                  <a:pt x="257102" y="314544"/>
                </a:cubicBezTo>
                <a:cubicBezTo>
                  <a:pt x="253746" y="314544"/>
                  <a:pt x="251722" y="315354"/>
                  <a:pt x="250738" y="317147"/>
                </a:cubicBezTo>
                <a:cubicBezTo>
                  <a:pt x="249755" y="318940"/>
                  <a:pt x="249177" y="319750"/>
                  <a:pt x="247846" y="319750"/>
                </a:cubicBezTo>
                <a:close/>
                <a:moveTo>
                  <a:pt x="4900" y="2185"/>
                </a:moveTo>
                <a:cubicBezTo>
                  <a:pt x="4553" y="2185"/>
                  <a:pt x="3512" y="2185"/>
                  <a:pt x="2413" y="4556"/>
                </a:cubicBezTo>
                <a:cubicBezTo>
                  <a:pt x="-3371" y="17398"/>
                  <a:pt x="25551" y="47766"/>
                  <a:pt x="39144" y="55633"/>
                </a:cubicBezTo>
                <a:cubicBezTo>
                  <a:pt x="45680" y="60619"/>
                  <a:pt x="51002" y="66953"/>
                  <a:pt x="54877" y="74201"/>
                </a:cubicBezTo>
                <a:cubicBezTo>
                  <a:pt x="60662" y="83629"/>
                  <a:pt x="67140" y="93347"/>
                  <a:pt x="75817" y="94215"/>
                </a:cubicBezTo>
                <a:cubicBezTo>
                  <a:pt x="84494" y="95082"/>
                  <a:pt x="89816" y="110527"/>
                  <a:pt x="94154" y="125335"/>
                </a:cubicBezTo>
                <a:cubicBezTo>
                  <a:pt x="97451" y="136557"/>
                  <a:pt x="100864" y="148184"/>
                  <a:pt x="105723" y="149167"/>
                </a:cubicBezTo>
                <a:cubicBezTo>
                  <a:pt x="118911" y="151828"/>
                  <a:pt x="144768" y="192724"/>
                  <a:pt x="148644" y="212796"/>
                </a:cubicBezTo>
                <a:cubicBezTo>
                  <a:pt x="151015" y="225001"/>
                  <a:pt x="161253" y="233620"/>
                  <a:pt x="171202" y="241718"/>
                </a:cubicBezTo>
                <a:cubicBezTo>
                  <a:pt x="177739" y="246513"/>
                  <a:pt x="183466" y="252379"/>
                  <a:pt x="188093" y="259071"/>
                </a:cubicBezTo>
                <a:cubicBezTo>
                  <a:pt x="193877" y="268615"/>
                  <a:pt x="210305" y="280821"/>
                  <a:pt x="222453" y="289729"/>
                </a:cubicBezTo>
                <a:cubicBezTo>
                  <a:pt x="227774" y="293263"/>
                  <a:pt x="232749" y="297272"/>
                  <a:pt x="237319" y="301702"/>
                </a:cubicBezTo>
                <a:cubicBezTo>
                  <a:pt x="238823" y="303924"/>
                  <a:pt x="240211" y="306220"/>
                  <a:pt x="241483" y="308586"/>
                </a:cubicBezTo>
                <a:cubicBezTo>
                  <a:pt x="243450" y="312114"/>
                  <a:pt x="246111" y="316973"/>
                  <a:pt x="247731" y="316973"/>
                </a:cubicBezTo>
                <a:cubicBezTo>
                  <a:pt x="248309" y="316973"/>
                  <a:pt x="248887" y="316106"/>
                  <a:pt x="249177" y="315585"/>
                </a:cubicBezTo>
                <a:cubicBezTo>
                  <a:pt x="250970" y="312808"/>
                  <a:pt x="254209" y="311322"/>
                  <a:pt x="257506" y="311767"/>
                </a:cubicBezTo>
                <a:cubicBezTo>
                  <a:pt x="262192" y="312051"/>
                  <a:pt x="266819" y="312843"/>
                  <a:pt x="271331" y="314139"/>
                </a:cubicBezTo>
                <a:cubicBezTo>
                  <a:pt x="273934" y="314891"/>
                  <a:pt x="276595" y="315452"/>
                  <a:pt x="279314" y="315817"/>
                </a:cubicBezTo>
                <a:lnTo>
                  <a:pt x="279314" y="315817"/>
                </a:lnTo>
                <a:cubicBezTo>
                  <a:pt x="280123" y="315817"/>
                  <a:pt x="280933" y="315435"/>
                  <a:pt x="281454" y="314775"/>
                </a:cubicBezTo>
                <a:cubicBezTo>
                  <a:pt x="286544" y="308991"/>
                  <a:pt x="288453" y="286663"/>
                  <a:pt x="287701" y="276656"/>
                </a:cubicBezTo>
                <a:cubicBezTo>
                  <a:pt x="287528" y="269917"/>
                  <a:pt x="288337" y="263190"/>
                  <a:pt x="290188" y="256699"/>
                </a:cubicBezTo>
                <a:cubicBezTo>
                  <a:pt x="290998" y="253940"/>
                  <a:pt x="291519" y="251112"/>
                  <a:pt x="291750" y="248254"/>
                </a:cubicBezTo>
                <a:cubicBezTo>
                  <a:pt x="291750" y="241949"/>
                  <a:pt x="296493" y="238999"/>
                  <a:pt x="304418" y="240677"/>
                </a:cubicBezTo>
                <a:cubicBezTo>
                  <a:pt x="307252" y="241255"/>
                  <a:pt x="307946" y="237900"/>
                  <a:pt x="308178" y="236454"/>
                </a:cubicBezTo>
                <a:cubicBezTo>
                  <a:pt x="308814" y="231826"/>
                  <a:pt x="307079" y="226621"/>
                  <a:pt x="304649" y="225927"/>
                </a:cubicBezTo>
                <a:cubicBezTo>
                  <a:pt x="302220" y="225232"/>
                  <a:pt x="300311" y="221993"/>
                  <a:pt x="298055" y="217944"/>
                </a:cubicBezTo>
                <a:cubicBezTo>
                  <a:pt x="294642" y="211813"/>
                  <a:pt x="290362" y="204177"/>
                  <a:pt x="282379" y="204177"/>
                </a:cubicBezTo>
                <a:cubicBezTo>
                  <a:pt x="276132" y="204177"/>
                  <a:pt x="273819" y="206549"/>
                  <a:pt x="273703" y="208805"/>
                </a:cubicBezTo>
                <a:cubicBezTo>
                  <a:pt x="273992" y="211795"/>
                  <a:pt x="276479" y="214080"/>
                  <a:pt x="279487" y="214068"/>
                </a:cubicBezTo>
                <a:cubicBezTo>
                  <a:pt x="283884" y="214329"/>
                  <a:pt x="287874" y="216648"/>
                  <a:pt x="290246" y="220316"/>
                </a:cubicBezTo>
                <a:cubicBezTo>
                  <a:pt x="291808" y="222780"/>
                  <a:pt x="292039" y="225840"/>
                  <a:pt x="290940" y="228529"/>
                </a:cubicBezTo>
                <a:cubicBezTo>
                  <a:pt x="290940" y="229108"/>
                  <a:pt x="289957" y="230843"/>
                  <a:pt x="288280" y="230843"/>
                </a:cubicBezTo>
                <a:cubicBezTo>
                  <a:pt x="286834" y="230583"/>
                  <a:pt x="285503" y="229848"/>
                  <a:pt x="284520" y="228761"/>
                </a:cubicBezTo>
                <a:cubicBezTo>
                  <a:pt x="281396" y="225799"/>
                  <a:pt x="277231" y="224214"/>
                  <a:pt x="272951" y="224365"/>
                </a:cubicBezTo>
                <a:cubicBezTo>
                  <a:pt x="266414" y="224828"/>
                  <a:pt x="265199" y="220778"/>
                  <a:pt x="263985" y="217192"/>
                </a:cubicBezTo>
                <a:cubicBezTo>
                  <a:pt x="262770" y="213606"/>
                  <a:pt x="261671" y="210193"/>
                  <a:pt x="255828" y="209788"/>
                </a:cubicBezTo>
                <a:cubicBezTo>
                  <a:pt x="248830" y="209383"/>
                  <a:pt x="245995" y="203193"/>
                  <a:pt x="243219" y="197178"/>
                </a:cubicBezTo>
                <a:cubicBezTo>
                  <a:pt x="240442" y="191162"/>
                  <a:pt x="237955" y="185609"/>
                  <a:pt x="231650" y="185609"/>
                </a:cubicBezTo>
                <a:cubicBezTo>
                  <a:pt x="223320" y="185609"/>
                  <a:pt x="220601" y="181733"/>
                  <a:pt x="219676" y="179362"/>
                </a:cubicBezTo>
                <a:cubicBezTo>
                  <a:pt x="218403" y="173623"/>
                  <a:pt x="220659" y="167666"/>
                  <a:pt x="225460" y="164264"/>
                </a:cubicBezTo>
                <a:cubicBezTo>
                  <a:pt x="226444" y="163536"/>
                  <a:pt x="227080" y="162384"/>
                  <a:pt x="227138" y="161141"/>
                </a:cubicBezTo>
                <a:cubicBezTo>
                  <a:pt x="227138" y="158480"/>
                  <a:pt x="223609" y="155356"/>
                  <a:pt x="220255" y="152522"/>
                </a:cubicBezTo>
                <a:cubicBezTo>
                  <a:pt x="215859" y="148762"/>
                  <a:pt x="211347" y="144829"/>
                  <a:pt x="211347" y="140028"/>
                </a:cubicBezTo>
                <a:cubicBezTo>
                  <a:pt x="211347" y="135226"/>
                  <a:pt x="208744" y="135284"/>
                  <a:pt x="204463" y="134243"/>
                </a:cubicBezTo>
                <a:cubicBezTo>
                  <a:pt x="200182" y="133202"/>
                  <a:pt x="196828" y="132566"/>
                  <a:pt x="196828" y="127823"/>
                </a:cubicBezTo>
                <a:cubicBezTo>
                  <a:pt x="196828" y="124236"/>
                  <a:pt x="195613" y="123658"/>
                  <a:pt x="192837" y="122385"/>
                </a:cubicBezTo>
                <a:cubicBezTo>
                  <a:pt x="189019" y="120742"/>
                  <a:pt x="185721" y="118105"/>
                  <a:pt x="183292" y="114750"/>
                </a:cubicBezTo>
                <a:cubicBezTo>
                  <a:pt x="179532" y="109717"/>
                  <a:pt x="177508" y="110180"/>
                  <a:pt x="174962" y="110296"/>
                </a:cubicBezTo>
                <a:cubicBezTo>
                  <a:pt x="171665" y="110816"/>
                  <a:pt x="168426" y="109451"/>
                  <a:pt x="166459" y="106767"/>
                </a:cubicBezTo>
                <a:cubicBezTo>
                  <a:pt x="160328" y="99884"/>
                  <a:pt x="151709" y="96066"/>
                  <a:pt x="146734" y="98148"/>
                </a:cubicBezTo>
                <a:cubicBezTo>
                  <a:pt x="146098" y="98426"/>
                  <a:pt x="145462" y="98565"/>
                  <a:pt x="144768" y="98553"/>
                </a:cubicBezTo>
                <a:cubicBezTo>
                  <a:pt x="137942" y="98553"/>
                  <a:pt x="126316" y="86232"/>
                  <a:pt x="121630" y="74085"/>
                </a:cubicBezTo>
                <a:cubicBezTo>
                  <a:pt x="119952" y="69689"/>
                  <a:pt x="111103" y="63500"/>
                  <a:pt x="101789" y="56732"/>
                </a:cubicBezTo>
                <a:cubicBezTo>
                  <a:pt x="90220" y="48692"/>
                  <a:pt x="78305" y="40362"/>
                  <a:pt x="75528" y="32611"/>
                </a:cubicBezTo>
                <a:cubicBezTo>
                  <a:pt x="70958" y="19538"/>
                  <a:pt x="58753" y="13927"/>
                  <a:pt x="37120" y="14795"/>
                </a:cubicBezTo>
                <a:cubicBezTo>
                  <a:pt x="27749" y="14818"/>
                  <a:pt x="18725" y="11376"/>
                  <a:pt x="11784" y="5135"/>
                </a:cubicBezTo>
                <a:cubicBezTo>
                  <a:pt x="9759" y="3567"/>
                  <a:pt x="7445" y="2497"/>
                  <a:pt x="4958" y="2011"/>
                </a:cubicBezTo>
                <a:close/>
                <a:moveTo>
                  <a:pt x="667564" y="318015"/>
                </a:moveTo>
                <a:lnTo>
                  <a:pt x="667564" y="318015"/>
                </a:lnTo>
                <a:cubicBezTo>
                  <a:pt x="666176" y="318044"/>
                  <a:pt x="664846" y="317396"/>
                  <a:pt x="663978" y="316279"/>
                </a:cubicBezTo>
                <a:cubicBezTo>
                  <a:pt x="660160" y="311420"/>
                  <a:pt x="662590" y="296438"/>
                  <a:pt x="665308" y="284696"/>
                </a:cubicBezTo>
                <a:cubicBezTo>
                  <a:pt x="666234" y="280531"/>
                  <a:pt x="668953" y="266475"/>
                  <a:pt x="664210" y="260170"/>
                </a:cubicBezTo>
                <a:cubicBezTo>
                  <a:pt x="662879" y="258296"/>
                  <a:pt x="660738" y="257145"/>
                  <a:pt x="658425" y="257046"/>
                </a:cubicBezTo>
                <a:cubicBezTo>
                  <a:pt x="650674" y="256526"/>
                  <a:pt x="640030" y="255022"/>
                  <a:pt x="636386" y="247965"/>
                </a:cubicBezTo>
                <a:cubicBezTo>
                  <a:pt x="633899" y="243106"/>
                  <a:pt x="635288" y="236396"/>
                  <a:pt x="640551" y="227835"/>
                </a:cubicBezTo>
                <a:cubicBezTo>
                  <a:pt x="646914" y="216891"/>
                  <a:pt x="651599" y="205085"/>
                  <a:pt x="654549" y="192782"/>
                </a:cubicBezTo>
                <a:cubicBezTo>
                  <a:pt x="657094" y="183642"/>
                  <a:pt x="658946" y="177048"/>
                  <a:pt x="662764" y="174965"/>
                </a:cubicBezTo>
                <a:cubicBezTo>
                  <a:pt x="665193" y="173577"/>
                  <a:pt x="666408" y="167272"/>
                  <a:pt x="667738" y="160562"/>
                </a:cubicBezTo>
                <a:cubicBezTo>
                  <a:pt x="669878" y="149630"/>
                  <a:pt x="672481" y="136036"/>
                  <a:pt x="682488" y="134417"/>
                </a:cubicBezTo>
                <a:cubicBezTo>
                  <a:pt x="687578" y="133422"/>
                  <a:pt x="692148" y="130628"/>
                  <a:pt x="695330" y="126550"/>
                </a:cubicBezTo>
                <a:cubicBezTo>
                  <a:pt x="698453" y="122275"/>
                  <a:pt x="703312" y="119626"/>
                  <a:pt x="708576" y="119319"/>
                </a:cubicBezTo>
                <a:cubicBezTo>
                  <a:pt x="711179" y="119366"/>
                  <a:pt x="713782" y="119857"/>
                  <a:pt x="716212" y="120765"/>
                </a:cubicBezTo>
                <a:cubicBezTo>
                  <a:pt x="732871" y="126804"/>
                  <a:pt x="750282" y="130431"/>
                  <a:pt x="767924" y="131525"/>
                </a:cubicBezTo>
                <a:cubicBezTo>
                  <a:pt x="773420" y="131889"/>
                  <a:pt x="778973" y="130709"/>
                  <a:pt x="783831" y="128112"/>
                </a:cubicBezTo>
                <a:lnTo>
                  <a:pt x="789616" y="124410"/>
                </a:lnTo>
                <a:cubicBezTo>
                  <a:pt x="801185" y="116774"/>
                  <a:pt x="809687" y="111337"/>
                  <a:pt x="813505" y="111337"/>
                </a:cubicBezTo>
                <a:cubicBezTo>
                  <a:pt x="814373" y="111250"/>
                  <a:pt x="815241" y="111678"/>
                  <a:pt x="815704" y="112436"/>
                </a:cubicBezTo>
                <a:cubicBezTo>
                  <a:pt x="816456" y="113593"/>
                  <a:pt x="816051" y="115444"/>
                  <a:pt x="814547" y="118220"/>
                </a:cubicBezTo>
                <a:cubicBezTo>
                  <a:pt x="808184" y="130136"/>
                  <a:pt x="791814" y="149051"/>
                  <a:pt x="774808" y="149051"/>
                </a:cubicBezTo>
                <a:cubicBezTo>
                  <a:pt x="771568" y="149057"/>
                  <a:pt x="768387" y="148346"/>
                  <a:pt x="765437" y="146969"/>
                </a:cubicBezTo>
                <a:cubicBezTo>
                  <a:pt x="756355" y="143793"/>
                  <a:pt x="746696" y="142376"/>
                  <a:pt x="737093" y="142804"/>
                </a:cubicBezTo>
                <a:cubicBezTo>
                  <a:pt x="708865" y="142804"/>
                  <a:pt x="679249" y="150902"/>
                  <a:pt x="676531" y="166347"/>
                </a:cubicBezTo>
                <a:cubicBezTo>
                  <a:pt x="675431" y="173855"/>
                  <a:pt x="677687" y="181467"/>
                  <a:pt x="682777" y="187113"/>
                </a:cubicBezTo>
                <a:cubicBezTo>
                  <a:pt x="687347" y="192845"/>
                  <a:pt x="693999" y="196478"/>
                  <a:pt x="701287" y="197178"/>
                </a:cubicBezTo>
                <a:cubicBezTo>
                  <a:pt x="704353" y="197409"/>
                  <a:pt x="707188" y="195460"/>
                  <a:pt x="708055" y="192492"/>
                </a:cubicBezTo>
                <a:cubicBezTo>
                  <a:pt x="711410" y="180345"/>
                  <a:pt x="740795" y="172594"/>
                  <a:pt x="755025" y="172594"/>
                </a:cubicBezTo>
                <a:cubicBezTo>
                  <a:pt x="760809" y="172594"/>
                  <a:pt x="764685" y="173751"/>
                  <a:pt x="765900" y="176122"/>
                </a:cubicBezTo>
                <a:cubicBezTo>
                  <a:pt x="766594" y="177661"/>
                  <a:pt x="766594" y="179443"/>
                  <a:pt x="765900" y="180981"/>
                </a:cubicBezTo>
                <a:cubicBezTo>
                  <a:pt x="761157" y="190641"/>
                  <a:pt x="733970" y="205565"/>
                  <a:pt x="724194" y="207648"/>
                </a:cubicBezTo>
                <a:cubicBezTo>
                  <a:pt x="721533" y="208168"/>
                  <a:pt x="720029" y="209325"/>
                  <a:pt x="719740" y="210945"/>
                </a:cubicBezTo>
                <a:cubicBezTo>
                  <a:pt x="718930" y="215052"/>
                  <a:pt x="724830" y="222514"/>
                  <a:pt x="733449" y="228298"/>
                </a:cubicBezTo>
                <a:cubicBezTo>
                  <a:pt x="740506" y="233041"/>
                  <a:pt x="739234" y="239867"/>
                  <a:pt x="737787" y="245651"/>
                </a:cubicBezTo>
                <a:cubicBezTo>
                  <a:pt x="736341" y="251436"/>
                  <a:pt x="735531" y="255890"/>
                  <a:pt x="739291" y="260055"/>
                </a:cubicBezTo>
                <a:cubicBezTo>
                  <a:pt x="745538" y="266765"/>
                  <a:pt x="747794" y="271623"/>
                  <a:pt x="746753" y="275499"/>
                </a:cubicBezTo>
                <a:cubicBezTo>
                  <a:pt x="745712" y="279375"/>
                  <a:pt x="742762" y="281283"/>
                  <a:pt x="737209" y="282903"/>
                </a:cubicBezTo>
                <a:cubicBezTo>
                  <a:pt x="734837" y="283597"/>
                  <a:pt x="732466" y="284523"/>
                  <a:pt x="730210" y="285390"/>
                </a:cubicBezTo>
                <a:cubicBezTo>
                  <a:pt x="726334" y="287120"/>
                  <a:pt x="722169" y="288231"/>
                  <a:pt x="717947" y="288688"/>
                </a:cubicBezTo>
                <a:cubicBezTo>
                  <a:pt x="713088" y="288688"/>
                  <a:pt x="710716" y="285390"/>
                  <a:pt x="710716" y="278565"/>
                </a:cubicBezTo>
                <a:cubicBezTo>
                  <a:pt x="710427" y="273069"/>
                  <a:pt x="707188" y="268153"/>
                  <a:pt x="702271" y="265666"/>
                </a:cubicBezTo>
                <a:cubicBezTo>
                  <a:pt x="697643" y="262253"/>
                  <a:pt x="692842" y="258724"/>
                  <a:pt x="697123" y="250568"/>
                </a:cubicBezTo>
                <a:cubicBezTo>
                  <a:pt x="698685" y="247907"/>
                  <a:pt x="698685" y="244610"/>
                  <a:pt x="697123" y="241949"/>
                </a:cubicBezTo>
                <a:cubicBezTo>
                  <a:pt x="694867" y="238716"/>
                  <a:pt x="691107" y="236807"/>
                  <a:pt x="687174" y="236859"/>
                </a:cubicBezTo>
                <a:cubicBezTo>
                  <a:pt x="684744" y="236737"/>
                  <a:pt x="682488" y="238050"/>
                  <a:pt x="681389" y="240214"/>
                </a:cubicBezTo>
                <a:cubicBezTo>
                  <a:pt x="678035" y="249411"/>
                  <a:pt x="677687" y="283886"/>
                  <a:pt x="684281" y="288977"/>
                </a:cubicBezTo>
                <a:cubicBezTo>
                  <a:pt x="686884" y="291221"/>
                  <a:pt x="688041" y="294709"/>
                  <a:pt x="687289" y="298058"/>
                </a:cubicBezTo>
                <a:cubicBezTo>
                  <a:pt x="685207" y="307012"/>
                  <a:pt x="678844" y="314347"/>
                  <a:pt x="670225" y="317610"/>
                </a:cubicBezTo>
                <a:cubicBezTo>
                  <a:pt x="669358" y="317899"/>
                  <a:pt x="668490" y="318032"/>
                  <a:pt x="667564" y="318015"/>
                </a:cubicBezTo>
                <a:close/>
                <a:moveTo>
                  <a:pt x="708403" y="121344"/>
                </a:moveTo>
                <a:cubicBezTo>
                  <a:pt x="703775" y="121685"/>
                  <a:pt x="699495" y="124080"/>
                  <a:pt x="696834" y="127880"/>
                </a:cubicBezTo>
                <a:cubicBezTo>
                  <a:pt x="693247" y="132294"/>
                  <a:pt x="688272" y="135325"/>
                  <a:pt x="682720" y="136441"/>
                </a:cubicBezTo>
                <a:cubicBezTo>
                  <a:pt x="674275" y="137772"/>
                  <a:pt x="671903" y="149977"/>
                  <a:pt x="669820" y="160794"/>
                </a:cubicBezTo>
                <a:cubicBezTo>
                  <a:pt x="668316" y="168603"/>
                  <a:pt x="667102" y="174792"/>
                  <a:pt x="664036" y="176701"/>
                </a:cubicBezTo>
                <a:cubicBezTo>
                  <a:pt x="660970" y="178610"/>
                  <a:pt x="659177" y="184857"/>
                  <a:pt x="656863" y="193187"/>
                </a:cubicBezTo>
                <a:cubicBezTo>
                  <a:pt x="653913" y="205698"/>
                  <a:pt x="649112" y="217701"/>
                  <a:pt x="642633" y="228819"/>
                </a:cubicBezTo>
                <a:cubicBezTo>
                  <a:pt x="637832" y="236570"/>
                  <a:pt x="636444" y="242585"/>
                  <a:pt x="638584" y="246750"/>
                </a:cubicBezTo>
                <a:cubicBezTo>
                  <a:pt x="641708" y="252535"/>
                  <a:pt x="651541" y="254097"/>
                  <a:pt x="658714" y="254559"/>
                </a:cubicBezTo>
                <a:cubicBezTo>
                  <a:pt x="661722" y="254663"/>
                  <a:pt x="664556" y="256133"/>
                  <a:pt x="666350" y="258551"/>
                </a:cubicBezTo>
                <a:cubicBezTo>
                  <a:pt x="671555" y="265492"/>
                  <a:pt x="669126" y="279317"/>
                  <a:pt x="667854" y="284985"/>
                </a:cubicBezTo>
                <a:cubicBezTo>
                  <a:pt x="664210" y="300661"/>
                  <a:pt x="663573" y="311478"/>
                  <a:pt x="666118" y="314660"/>
                </a:cubicBezTo>
                <a:cubicBezTo>
                  <a:pt x="666870" y="315643"/>
                  <a:pt x="667969" y="315817"/>
                  <a:pt x="669589" y="315180"/>
                </a:cubicBezTo>
                <a:cubicBezTo>
                  <a:pt x="677398" y="312190"/>
                  <a:pt x="683182" y="305543"/>
                  <a:pt x="685149" y="297422"/>
                </a:cubicBezTo>
                <a:cubicBezTo>
                  <a:pt x="685785" y="294889"/>
                  <a:pt x="684976" y="292222"/>
                  <a:pt x="683009" y="290481"/>
                </a:cubicBezTo>
                <a:cubicBezTo>
                  <a:pt x="675027" y="284349"/>
                  <a:pt x="676125" y="248139"/>
                  <a:pt x="679365" y="239115"/>
                </a:cubicBezTo>
                <a:cubicBezTo>
                  <a:pt x="680753" y="235905"/>
                  <a:pt x="684108" y="233967"/>
                  <a:pt x="687578" y="234314"/>
                </a:cubicBezTo>
                <a:cubicBezTo>
                  <a:pt x="692322" y="234262"/>
                  <a:pt x="696776" y="236587"/>
                  <a:pt x="699437" y="240503"/>
                </a:cubicBezTo>
                <a:cubicBezTo>
                  <a:pt x="701461" y="243853"/>
                  <a:pt x="701461" y="248029"/>
                  <a:pt x="699437" y="251378"/>
                </a:cubicBezTo>
                <a:cubicBezTo>
                  <a:pt x="696082" y="257741"/>
                  <a:pt x="699437" y="260170"/>
                  <a:pt x="703949" y="263583"/>
                </a:cubicBezTo>
                <a:cubicBezTo>
                  <a:pt x="709386" y="266510"/>
                  <a:pt x="712972" y="272086"/>
                  <a:pt x="713262" y="278276"/>
                </a:cubicBezTo>
                <a:cubicBezTo>
                  <a:pt x="713262" y="285217"/>
                  <a:pt x="715806" y="286142"/>
                  <a:pt x="718294" y="286142"/>
                </a:cubicBezTo>
                <a:cubicBezTo>
                  <a:pt x="722285" y="285680"/>
                  <a:pt x="726219" y="284609"/>
                  <a:pt x="729863" y="282961"/>
                </a:cubicBezTo>
                <a:cubicBezTo>
                  <a:pt x="732177" y="282093"/>
                  <a:pt x="734548" y="281226"/>
                  <a:pt x="736978" y="280416"/>
                </a:cubicBezTo>
                <a:cubicBezTo>
                  <a:pt x="741663" y="278970"/>
                  <a:pt x="744382" y="277003"/>
                  <a:pt x="745018" y="274631"/>
                </a:cubicBezTo>
                <a:cubicBezTo>
                  <a:pt x="745654" y="272260"/>
                  <a:pt x="743630" y="267343"/>
                  <a:pt x="738134" y="261269"/>
                </a:cubicBezTo>
                <a:cubicBezTo>
                  <a:pt x="734606" y="256567"/>
                  <a:pt x="733796" y="250354"/>
                  <a:pt x="735994" y="244899"/>
                </a:cubicBezTo>
                <a:cubicBezTo>
                  <a:pt x="737325" y="239115"/>
                  <a:pt x="738424" y="233793"/>
                  <a:pt x="732697" y="229975"/>
                </a:cubicBezTo>
                <a:cubicBezTo>
                  <a:pt x="724772" y="224712"/>
                  <a:pt x="716848" y="216382"/>
                  <a:pt x="717947" y="210424"/>
                </a:cubicBezTo>
                <a:cubicBezTo>
                  <a:pt x="718294" y="208631"/>
                  <a:pt x="719682" y="206259"/>
                  <a:pt x="724136" y="205276"/>
                </a:cubicBezTo>
                <a:cubicBezTo>
                  <a:pt x="734433" y="203136"/>
                  <a:pt x="760173" y="188385"/>
                  <a:pt x="764280" y="179882"/>
                </a:cubicBezTo>
                <a:cubicBezTo>
                  <a:pt x="764801" y="179044"/>
                  <a:pt x="764974" y="177997"/>
                  <a:pt x="764627" y="177048"/>
                </a:cubicBezTo>
                <a:cubicBezTo>
                  <a:pt x="763875" y="175602"/>
                  <a:pt x="760578" y="174734"/>
                  <a:pt x="755777" y="174734"/>
                </a:cubicBezTo>
                <a:cubicBezTo>
                  <a:pt x="740448" y="174734"/>
                  <a:pt x="713724" y="183064"/>
                  <a:pt x="710948" y="192955"/>
                </a:cubicBezTo>
                <a:cubicBezTo>
                  <a:pt x="709849" y="197010"/>
                  <a:pt x="705973" y="199688"/>
                  <a:pt x="701808" y="199318"/>
                </a:cubicBezTo>
                <a:cubicBezTo>
                  <a:pt x="693884" y="198583"/>
                  <a:pt x="686537" y="194662"/>
                  <a:pt x="681563" y="188443"/>
                </a:cubicBezTo>
                <a:cubicBezTo>
                  <a:pt x="676067" y="182271"/>
                  <a:pt x="673638" y="173988"/>
                  <a:pt x="674853" y="165826"/>
                </a:cubicBezTo>
                <a:cubicBezTo>
                  <a:pt x="677687" y="148473"/>
                  <a:pt x="709559" y="140433"/>
                  <a:pt x="737614" y="140433"/>
                </a:cubicBezTo>
                <a:cubicBezTo>
                  <a:pt x="747563" y="139981"/>
                  <a:pt x="757513" y="141480"/>
                  <a:pt x="766883" y="144829"/>
                </a:cubicBezTo>
                <a:cubicBezTo>
                  <a:pt x="769544" y="146038"/>
                  <a:pt x="772436" y="146668"/>
                  <a:pt x="775328" y="146680"/>
                </a:cubicBezTo>
                <a:cubicBezTo>
                  <a:pt x="791351" y="146680"/>
                  <a:pt x="806969" y="128517"/>
                  <a:pt x="813043" y="117064"/>
                </a:cubicBezTo>
                <a:cubicBezTo>
                  <a:pt x="814489" y="114345"/>
                  <a:pt x="814373" y="113535"/>
                  <a:pt x="814315" y="113361"/>
                </a:cubicBezTo>
                <a:lnTo>
                  <a:pt x="814315" y="113361"/>
                </a:lnTo>
                <a:cubicBezTo>
                  <a:pt x="810903" y="113361"/>
                  <a:pt x="800202" y="120418"/>
                  <a:pt x="791640" y="126029"/>
                </a:cubicBezTo>
                <a:lnTo>
                  <a:pt x="785856" y="129789"/>
                </a:lnTo>
                <a:cubicBezTo>
                  <a:pt x="780534" y="132641"/>
                  <a:pt x="774518" y="133948"/>
                  <a:pt x="768502" y="133549"/>
                </a:cubicBezTo>
                <a:cubicBezTo>
                  <a:pt x="750571" y="132433"/>
                  <a:pt x="732929" y="128771"/>
                  <a:pt x="716038" y="122674"/>
                </a:cubicBezTo>
                <a:cubicBezTo>
                  <a:pt x="713492" y="121784"/>
                  <a:pt x="710774" y="121413"/>
                  <a:pt x="708055" y="121575"/>
                </a:cubicBezTo>
                <a:close/>
                <a:moveTo>
                  <a:pt x="530358" y="268789"/>
                </a:moveTo>
                <a:lnTo>
                  <a:pt x="530358" y="268789"/>
                </a:lnTo>
                <a:cubicBezTo>
                  <a:pt x="525036" y="268789"/>
                  <a:pt x="523474" y="266128"/>
                  <a:pt x="523127" y="263930"/>
                </a:cubicBezTo>
                <a:cubicBezTo>
                  <a:pt x="522144" y="258146"/>
                  <a:pt x="510864" y="253055"/>
                  <a:pt x="489693" y="248775"/>
                </a:cubicBezTo>
                <a:lnTo>
                  <a:pt x="489289" y="248775"/>
                </a:lnTo>
                <a:cubicBezTo>
                  <a:pt x="484025" y="248827"/>
                  <a:pt x="478876" y="249805"/>
                  <a:pt x="473960" y="251667"/>
                </a:cubicBezTo>
                <a:cubicBezTo>
                  <a:pt x="468812" y="253455"/>
                  <a:pt x="463490" y="254600"/>
                  <a:pt x="458110" y="255080"/>
                </a:cubicBezTo>
                <a:cubicBezTo>
                  <a:pt x="454987" y="255080"/>
                  <a:pt x="452962" y="254097"/>
                  <a:pt x="452326" y="252130"/>
                </a:cubicBezTo>
                <a:cubicBezTo>
                  <a:pt x="449665" y="246345"/>
                  <a:pt x="444690" y="239867"/>
                  <a:pt x="438617" y="239867"/>
                </a:cubicBezTo>
                <a:cubicBezTo>
                  <a:pt x="436303" y="239959"/>
                  <a:pt x="434047" y="240746"/>
                  <a:pt x="432196" y="242123"/>
                </a:cubicBezTo>
                <a:cubicBezTo>
                  <a:pt x="430923" y="243043"/>
                  <a:pt x="429361" y="243552"/>
                  <a:pt x="427800" y="243569"/>
                </a:cubicBezTo>
                <a:cubicBezTo>
                  <a:pt x="416810" y="243569"/>
                  <a:pt x="404662" y="220431"/>
                  <a:pt x="404662" y="204813"/>
                </a:cubicBezTo>
                <a:cubicBezTo>
                  <a:pt x="404662" y="194575"/>
                  <a:pt x="397779" y="190294"/>
                  <a:pt x="391184" y="186130"/>
                </a:cubicBezTo>
                <a:cubicBezTo>
                  <a:pt x="387367" y="184180"/>
                  <a:pt x="384012" y="181415"/>
                  <a:pt x="381409" y="178031"/>
                </a:cubicBezTo>
                <a:cubicBezTo>
                  <a:pt x="379153" y="173699"/>
                  <a:pt x="377765" y="168996"/>
                  <a:pt x="377244" y="164149"/>
                </a:cubicBezTo>
                <a:cubicBezTo>
                  <a:pt x="376492" y="155293"/>
                  <a:pt x="372848" y="146940"/>
                  <a:pt x="366774" y="140433"/>
                </a:cubicBezTo>
                <a:cubicBezTo>
                  <a:pt x="362956" y="136846"/>
                  <a:pt x="362378" y="130657"/>
                  <a:pt x="365038" y="123079"/>
                </a:cubicBezTo>
                <a:cubicBezTo>
                  <a:pt x="368568" y="112899"/>
                  <a:pt x="377765" y="101214"/>
                  <a:pt x="385284" y="100636"/>
                </a:cubicBezTo>
                <a:cubicBezTo>
                  <a:pt x="386383" y="100485"/>
                  <a:pt x="387540" y="100485"/>
                  <a:pt x="388639" y="100636"/>
                </a:cubicBezTo>
                <a:cubicBezTo>
                  <a:pt x="389102" y="100699"/>
                  <a:pt x="389449" y="101046"/>
                  <a:pt x="389564" y="101503"/>
                </a:cubicBezTo>
                <a:cubicBezTo>
                  <a:pt x="393267" y="117295"/>
                  <a:pt x="396101" y="118105"/>
                  <a:pt x="396622" y="118105"/>
                </a:cubicBezTo>
                <a:cubicBezTo>
                  <a:pt x="399803" y="118105"/>
                  <a:pt x="403216" y="121055"/>
                  <a:pt x="406861" y="124236"/>
                </a:cubicBezTo>
                <a:cubicBezTo>
                  <a:pt x="410505" y="127418"/>
                  <a:pt x="415710" y="131814"/>
                  <a:pt x="418429" y="129616"/>
                </a:cubicBezTo>
                <a:cubicBezTo>
                  <a:pt x="422362" y="127562"/>
                  <a:pt x="426817" y="126677"/>
                  <a:pt x="431213" y="127071"/>
                </a:cubicBezTo>
                <a:lnTo>
                  <a:pt x="437575" y="127071"/>
                </a:lnTo>
                <a:lnTo>
                  <a:pt x="444054" y="127071"/>
                </a:lnTo>
                <a:cubicBezTo>
                  <a:pt x="447525" y="127180"/>
                  <a:pt x="450996" y="126816"/>
                  <a:pt x="454350" y="125971"/>
                </a:cubicBezTo>
                <a:cubicBezTo>
                  <a:pt x="457301" y="124843"/>
                  <a:pt x="460077" y="123264"/>
                  <a:pt x="462507" y="121286"/>
                </a:cubicBezTo>
                <a:cubicBezTo>
                  <a:pt x="468002" y="116635"/>
                  <a:pt x="475001" y="114235"/>
                  <a:pt x="482173" y="114576"/>
                </a:cubicBezTo>
                <a:cubicBezTo>
                  <a:pt x="487033" y="114177"/>
                  <a:pt x="491776" y="116034"/>
                  <a:pt x="495073" y="119609"/>
                </a:cubicBezTo>
                <a:cubicBezTo>
                  <a:pt x="496172" y="121072"/>
                  <a:pt x="497849" y="121980"/>
                  <a:pt x="499700" y="122096"/>
                </a:cubicBezTo>
                <a:cubicBezTo>
                  <a:pt x="502477" y="121830"/>
                  <a:pt x="505138" y="120980"/>
                  <a:pt x="507509" y="119609"/>
                </a:cubicBezTo>
                <a:cubicBezTo>
                  <a:pt x="512253" y="117283"/>
                  <a:pt x="517343" y="115629"/>
                  <a:pt x="522549" y="114692"/>
                </a:cubicBezTo>
                <a:cubicBezTo>
                  <a:pt x="529490" y="113304"/>
                  <a:pt x="532035" y="112783"/>
                  <a:pt x="531110" y="104569"/>
                </a:cubicBezTo>
                <a:cubicBezTo>
                  <a:pt x="530242" y="98970"/>
                  <a:pt x="531978" y="93278"/>
                  <a:pt x="535737" y="89067"/>
                </a:cubicBezTo>
                <a:cubicBezTo>
                  <a:pt x="538456" y="86354"/>
                  <a:pt x="539729" y="82519"/>
                  <a:pt x="539208" y="78713"/>
                </a:cubicBezTo>
                <a:cubicBezTo>
                  <a:pt x="538398" y="72928"/>
                  <a:pt x="542273" y="71424"/>
                  <a:pt x="546034" y="69862"/>
                </a:cubicBezTo>
                <a:cubicBezTo>
                  <a:pt x="551008" y="67780"/>
                  <a:pt x="556214" y="65640"/>
                  <a:pt x="555346" y="54418"/>
                </a:cubicBezTo>
                <a:cubicBezTo>
                  <a:pt x="554884" y="50225"/>
                  <a:pt x="556214" y="46025"/>
                  <a:pt x="558991" y="42849"/>
                </a:cubicBezTo>
                <a:cubicBezTo>
                  <a:pt x="564775" y="36313"/>
                  <a:pt x="577154" y="35503"/>
                  <a:pt x="587045" y="35503"/>
                </a:cubicBezTo>
                <a:lnTo>
                  <a:pt x="593813" y="35503"/>
                </a:lnTo>
                <a:lnTo>
                  <a:pt x="598441" y="35503"/>
                </a:lnTo>
                <a:cubicBezTo>
                  <a:pt x="603184" y="36047"/>
                  <a:pt x="607812" y="37585"/>
                  <a:pt x="611918" y="40015"/>
                </a:cubicBezTo>
                <a:cubicBezTo>
                  <a:pt x="612265" y="40212"/>
                  <a:pt x="612497" y="40588"/>
                  <a:pt x="612497" y="40998"/>
                </a:cubicBezTo>
                <a:cubicBezTo>
                  <a:pt x="612497" y="41426"/>
                  <a:pt x="612265" y="41825"/>
                  <a:pt x="611918" y="42039"/>
                </a:cubicBezTo>
                <a:lnTo>
                  <a:pt x="610993" y="42502"/>
                </a:lnTo>
                <a:cubicBezTo>
                  <a:pt x="609894" y="43023"/>
                  <a:pt x="608794" y="43543"/>
                  <a:pt x="607927" y="44064"/>
                </a:cubicBezTo>
                <a:cubicBezTo>
                  <a:pt x="604572" y="45857"/>
                  <a:pt x="605902" y="49270"/>
                  <a:pt x="607927" y="54244"/>
                </a:cubicBezTo>
                <a:cubicBezTo>
                  <a:pt x="609431" y="57542"/>
                  <a:pt x="610762" y="60376"/>
                  <a:pt x="609546" y="62459"/>
                </a:cubicBezTo>
                <a:cubicBezTo>
                  <a:pt x="608621" y="63743"/>
                  <a:pt x="607117" y="64483"/>
                  <a:pt x="605498" y="64425"/>
                </a:cubicBezTo>
                <a:cubicBezTo>
                  <a:pt x="603126" y="64425"/>
                  <a:pt x="602721" y="65698"/>
                  <a:pt x="602605" y="66045"/>
                </a:cubicBezTo>
                <a:cubicBezTo>
                  <a:pt x="601217" y="70267"/>
                  <a:pt x="609200" y="81489"/>
                  <a:pt x="615042" y="86637"/>
                </a:cubicBezTo>
                <a:cubicBezTo>
                  <a:pt x="618049" y="89680"/>
                  <a:pt x="619438" y="93989"/>
                  <a:pt x="618686" y="98206"/>
                </a:cubicBezTo>
                <a:cubicBezTo>
                  <a:pt x="618686" y="102545"/>
                  <a:pt x="618686" y="106247"/>
                  <a:pt x="623719" y="108560"/>
                </a:cubicBezTo>
                <a:cubicBezTo>
                  <a:pt x="631064" y="111973"/>
                  <a:pt x="642633" y="119551"/>
                  <a:pt x="644079" y="126550"/>
                </a:cubicBezTo>
                <a:cubicBezTo>
                  <a:pt x="644600" y="128597"/>
                  <a:pt x="644079" y="130778"/>
                  <a:pt x="642633" y="132334"/>
                </a:cubicBezTo>
                <a:cubicBezTo>
                  <a:pt x="638064" y="135394"/>
                  <a:pt x="632800" y="137373"/>
                  <a:pt x="627363" y="138119"/>
                </a:cubicBezTo>
                <a:cubicBezTo>
                  <a:pt x="615794" y="141242"/>
                  <a:pt x="600754" y="145176"/>
                  <a:pt x="601738" y="154662"/>
                </a:cubicBezTo>
                <a:cubicBezTo>
                  <a:pt x="603762" y="174618"/>
                  <a:pt x="597804" y="189947"/>
                  <a:pt x="585078" y="197756"/>
                </a:cubicBezTo>
                <a:cubicBezTo>
                  <a:pt x="578426" y="201805"/>
                  <a:pt x="576922" y="215109"/>
                  <a:pt x="575476" y="227546"/>
                </a:cubicBezTo>
                <a:cubicBezTo>
                  <a:pt x="573857" y="241834"/>
                  <a:pt x="572295" y="255311"/>
                  <a:pt x="563907" y="258435"/>
                </a:cubicBezTo>
                <a:lnTo>
                  <a:pt x="556735" y="261154"/>
                </a:lnTo>
                <a:cubicBezTo>
                  <a:pt x="548290" y="265058"/>
                  <a:pt x="539381" y="267707"/>
                  <a:pt x="530184" y="269020"/>
                </a:cubicBezTo>
                <a:close/>
                <a:moveTo>
                  <a:pt x="487900" y="246345"/>
                </a:moveTo>
                <a:lnTo>
                  <a:pt x="489751" y="246345"/>
                </a:lnTo>
                <a:lnTo>
                  <a:pt x="490156" y="246345"/>
                </a:lnTo>
                <a:cubicBezTo>
                  <a:pt x="504502" y="249238"/>
                  <a:pt x="523764" y="254097"/>
                  <a:pt x="525383" y="263294"/>
                </a:cubicBezTo>
                <a:cubicBezTo>
                  <a:pt x="525383" y="264624"/>
                  <a:pt x="526308" y="266302"/>
                  <a:pt x="530358" y="266302"/>
                </a:cubicBezTo>
                <a:cubicBezTo>
                  <a:pt x="539323" y="265058"/>
                  <a:pt x="548000" y="262502"/>
                  <a:pt x="556214" y="258724"/>
                </a:cubicBezTo>
                <a:lnTo>
                  <a:pt x="563387" y="256005"/>
                </a:lnTo>
                <a:cubicBezTo>
                  <a:pt x="570559" y="253345"/>
                  <a:pt x="572121" y="239983"/>
                  <a:pt x="573567" y="227083"/>
                </a:cubicBezTo>
                <a:cubicBezTo>
                  <a:pt x="575014" y="214184"/>
                  <a:pt x="576633" y="200186"/>
                  <a:pt x="584211" y="195558"/>
                </a:cubicBezTo>
                <a:cubicBezTo>
                  <a:pt x="599597" y="186187"/>
                  <a:pt x="601159" y="168140"/>
                  <a:pt x="599829" y="154662"/>
                </a:cubicBezTo>
                <a:cubicBezTo>
                  <a:pt x="598672" y="143094"/>
                  <a:pt x="614463" y="139044"/>
                  <a:pt x="627131" y="135689"/>
                </a:cubicBezTo>
                <a:cubicBezTo>
                  <a:pt x="632164" y="134874"/>
                  <a:pt x="636965" y="133069"/>
                  <a:pt x="641303" y="130368"/>
                </a:cubicBezTo>
                <a:cubicBezTo>
                  <a:pt x="642229" y="129384"/>
                  <a:pt x="642576" y="128019"/>
                  <a:pt x="642229" y="126723"/>
                </a:cubicBezTo>
                <a:cubicBezTo>
                  <a:pt x="641072" y="121286"/>
                  <a:pt x="631528" y="114229"/>
                  <a:pt x="623082" y="110353"/>
                </a:cubicBezTo>
                <a:cubicBezTo>
                  <a:pt x="618339" y="108190"/>
                  <a:pt x="615736" y="103025"/>
                  <a:pt x="616777" y="97917"/>
                </a:cubicBezTo>
                <a:cubicBezTo>
                  <a:pt x="617355" y="94470"/>
                  <a:pt x="616314" y="90935"/>
                  <a:pt x="613943" y="88373"/>
                </a:cubicBezTo>
                <a:cubicBezTo>
                  <a:pt x="608158" y="83282"/>
                  <a:pt x="598845" y="71019"/>
                  <a:pt x="600812" y="65235"/>
                </a:cubicBezTo>
                <a:cubicBezTo>
                  <a:pt x="601564" y="63228"/>
                  <a:pt x="603531" y="61944"/>
                  <a:pt x="605671" y="62054"/>
                </a:cubicBezTo>
                <a:cubicBezTo>
                  <a:pt x="606538" y="62054"/>
                  <a:pt x="607580" y="62054"/>
                  <a:pt x="607927" y="61186"/>
                </a:cubicBezTo>
                <a:cubicBezTo>
                  <a:pt x="608274" y="60318"/>
                  <a:pt x="607290" y="57484"/>
                  <a:pt x="606192" y="55401"/>
                </a:cubicBezTo>
                <a:cubicBezTo>
                  <a:pt x="604225" y="51121"/>
                  <a:pt x="601448" y="45221"/>
                  <a:pt x="606886" y="42271"/>
                </a:cubicBezTo>
                <a:lnTo>
                  <a:pt x="608910" y="41229"/>
                </a:lnTo>
                <a:cubicBezTo>
                  <a:pt x="605671" y="39471"/>
                  <a:pt x="602142" y="38349"/>
                  <a:pt x="598499" y="37933"/>
                </a:cubicBezTo>
                <a:lnTo>
                  <a:pt x="593813" y="37933"/>
                </a:lnTo>
                <a:lnTo>
                  <a:pt x="587103" y="37933"/>
                </a:lnTo>
                <a:cubicBezTo>
                  <a:pt x="578426" y="37933"/>
                  <a:pt x="566221" y="38627"/>
                  <a:pt x="560726" y="44585"/>
                </a:cubicBezTo>
                <a:cubicBezTo>
                  <a:pt x="558296" y="47326"/>
                  <a:pt x="557140" y="51005"/>
                  <a:pt x="557660" y="54649"/>
                </a:cubicBezTo>
                <a:cubicBezTo>
                  <a:pt x="558644" y="67491"/>
                  <a:pt x="551876" y="70325"/>
                  <a:pt x="546959" y="72350"/>
                </a:cubicBezTo>
                <a:cubicBezTo>
                  <a:pt x="542968" y="74027"/>
                  <a:pt x="541175" y="75011"/>
                  <a:pt x="541464" y="78828"/>
                </a:cubicBezTo>
                <a:cubicBezTo>
                  <a:pt x="542100" y="83219"/>
                  <a:pt x="540654" y="87661"/>
                  <a:pt x="537588" y="90860"/>
                </a:cubicBezTo>
                <a:cubicBezTo>
                  <a:pt x="534175" y="94614"/>
                  <a:pt x="532672" y="99687"/>
                  <a:pt x="533424" y="104685"/>
                </a:cubicBezTo>
                <a:cubicBezTo>
                  <a:pt x="534580" y="114981"/>
                  <a:pt x="530011" y="115907"/>
                  <a:pt x="523069" y="117353"/>
                </a:cubicBezTo>
                <a:cubicBezTo>
                  <a:pt x="518037" y="118226"/>
                  <a:pt x="513120" y="119805"/>
                  <a:pt x="508551" y="122038"/>
                </a:cubicBezTo>
                <a:cubicBezTo>
                  <a:pt x="505832" y="123582"/>
                  <a:pt x="502882" y="124514"/>
                  <a:pt x="499758" y="124757"/>
                </a:cubicBezTo>
                <a:cubicBezTo>
                  <a:pt x="497328" y="124658"/>
                  <a:pt x="495073" y="123519"/>
                  <a:pt x="493569" y="121633"/>
                </a:cubicBezTo>
                <a:cubicBezTo>
                  <a:pt x="490619" y="118411"/>
                  <a:pt x="486338" y="116780"/>
                  <a:pt x="482000" y="117237"/>
                </a:cubicBezTo>
                <a:cubicBezTo>
                  <a:pt x="475290" y="116884"/>
                  <a:pt x="468754" y="119123"/>
                  <a:pt x="463663" y="123484"/>
                </a:cubicBezTo>
                <a:cubicBezTo>
                  <a:pt x="461061" y="125630"/>
                  <a:pt x="458053" y="127313"/>
                  <a:pt x="454871" y="128459"/>
                </a:cubicBezTo>
                <a:cubicBezTo>
                  <a:pt x="451285" y="129483"/>
                  <a:pt x="447582" y="129911"/>
                  <a:pt x="443880" y="129732"/>
                </a:cubicBezTo>
                <a:lnTo>
                  <a:pt x="437344" y="129732"/>
                </a:lnTo>
                <a:lnTo>
                  <a:pt x="431039" y="129732"/>
                </a:lnTo>
                <a:cubicBezTo>
                  <a:pt x="427048" y="129338"/>
                  <a:pt x="423056" y="130055"/>
                  <a:pt x="419470" y="131814"/>
                </a:cubicBezTo>
                <a:cubicBezTo>
                  <a:pt x="418487" y="132543"/>
                  <a:pt x="417330" y="132947"/>
                  <a:pt x="416115" y="132971"/>
                </a:cubicBezTo>
                <a:cubicBezTo>
                  <a:pt x="411777" y="132016"/>
                  <a:pt x="407843" y="129708"/>
                  <a:pt x="404893" y="126376"/>
                </a:cubicBezTo>
                <a:cubicBezTo>
                  <a:pt x="401770" y="123600"/>
                  <a:pt x="398473" y="120592"/>
                  <a:pt x="396159" y="120592"/>
                </a:cubicBezTo>
                <a:cubicBezTo>
                  <a:pt x="393846" y="120592"/>
                  <a:pt x="390838" y="118741"/>
                  <a:pt x="387078" y="103239"/>
                </a:cubicBezTo>
                <a:cubicBezTo>
                  <a:pt x="386383" y="103158"/>
                  <a:pt x="385689" y="103158"/>
                  <a:pt x="384995" y="103239"/>
                </a:cubicBezTo>
                <a:cubicBezTo>
                  <a:pt x="379211" y="103644"/>
                  <a:pt x="370303" y="113882"/>
                  <a:pt x="366716" y="124178"/>
                </a:cubicBezTo>
                <a:cubicBezTo>
                  <a:pt x="365328" y="128112"/>
                  <a:pt x="363650" y="135284"/>
                  <a:pt x="367873" y="139218"/>
                </a:cubicBezTo>
                <a:cubicBezTo>
                  <a:pt x="374236" y="146136"/>
                  <a:pt x="378111" y="155003"/>
                  <a:pt x="378805" y="164380"/>
                </a:cubicBezTo>
                <a:cubicBezTo>
                  <a:pt x="379269" y="168932"/>
                  <a:pt x="380541" y="173363"/>
                  <a:pt x="382623" y="177453"/>
                </a:cubicBezTo>
                <a:cubicBezTo>
                  <a:pt x="385053" y="180530"/>
                  <a:pt x="388176" y="183052"/>
                  <a:pt x="391647" y="184857"/>
                </a:cubicBezTo>
                <a:cubicBezTo>
                  <a:pt x="398473" y="189137"/>
                  <a:pt x="406224" y="193939"/>
                  <a:pt x="406224" y="205449"/>
                </a:cubicBezTo>
                <a:cubicBezTo>
                  <a:pt x="406224" y="220778"/>
                  <a:pt x="418371" y="241949"/>
                  <a:pt x="427163" y="241949"/>
                </a:cubicBezTo>
                <a:cubicBezTo>
                  <a:pt x="428263" y="241944"/>
                  <a:pt x="429361" y="241579"/>
                  <a:pt x="430287" y="240908"/>
                </a:cubicBezTo>
                <a:cubicBezTo>
                  <a:pt x="432543" y="239265"/>
                  <a:pt x="435204" y="238340"/>
                  <a:pt x="437981" y="238247"/>
                </a:cubicBezTo>
                <a:cubicBezTo>
                  <a:pt x="445095" y="238247"/>
                  <a:pt x="450822" y="245304"/>
                  <a:pt x="453772" y="251841"/>
                </a:cubicBezTo>
                <a:cubicBezTo>
                  <a:pt x="453772" y="252246"/>
                  <a:pt x="454466" y="253460"/>
                  <a:pt x="457705" y="253460"/>
                </a:cubicBezTo>
                <a:cubicBezTo>
                  <a:pt x="462911" y="252963"/>
                  <a:pt x="468060" y="251858"/>
                  <a:pt x="472976" y="250163"/>
                </a:cubicBezTo>
                <a:cubicBezTo>
                  <a:pt x="477720" y="248359"/>
                  <a:pt x="482694" y="247155"/>
                  <a:pt x="487727" y="246577"/>
                </a:cubicBezTo>
                <a:close/>
                <a:moveTo>
                  <a:pt x="967661" y="265723"/>
                </a:moveTo>
                <a:cubicBezTo>
                  <a:pt x="963206" y="265191"/>
                  <a:pt x="958926" y="263543"/>
                  <a:pt x="955282" y="260922"/>
                </a:cubicBezTo>
                <a:cubicBezTo>
                  <a:pt x="948630" y="256445"/>
                  <a:pt x="940879" y="253906"/>
                  <a:pt x="932896" y="253576"/>
                </a:cubicBezTo>
                <a:cubicBezTo>
                  <a:pt x="928905" y="253576"/>
                  <a:pt x="924914" y="253576"/>
                  <a:pt x="921327" y="254039"/>
                </a:cubicBezTo>
                <a:cubicBezTo>
                  <a:pt x="917741" y="254501"/>
                  <a:pt x="914444" y="254386"/>
                  <a:pt x="911378" y="254386"/>
                </a:cubicBezTo>
                <a:cubicBezTo>
                  <a:pt x="904436" y="254386"/>
                  <a:pt x="897033" y="253518"/>
                  <a:pt x="894893" y="247155"/>
                </a:cubicBezTo>
                <a:cubicBezTo>
                  <a:pt x="894314" y="245379"/>
                  <a:pt x="894661" y="243442"/>
                  <a:pt x="895760" y="241949"/>
                </a:cubicBezTo>
                <a:cubicBezTo>
                  <a:pt x="900098" y="236165"/>
                  <a:pt x="915601" y="233215"/>
                  <a:pt x="928211" y="233215"/>
                </a:cubicBezTo>
                <a:cubicBezTo>
                  <a:pt x="935442" y="233122"/>
                  <a:pt x="942672" y="234054"/>
                  <a:pt x="949613" y="235991"/>
                </a:cubicBezTo>
                <a:cubicBezTo>
                  <a:pt x="965347" y="240850"/>
                  <a:pt x="973850" y="254270"/>
                  <a:pt x="972751" y="261327"/>
                </a:cubicBezTo>
                <a:cubicBezTo>
                  <a:pt x="972693" y="263948"/>
                  <a:pt x="970553" y="266030"/>
                  <a:pt x="967950" y="265984"/>
                </a:cubicBezTo>
                <a:cubicBezTo>
                  <a:pt x="967776" y="265978"/>
                  <a:pt x="967661" y="265972"/>
                  <a:pt x="967487" y="265955"/>
                </a:cubicBezTo>
                <a:close/>
                <a:moveTo>
                  <a:pt x="932954" y="251320"/>
                </a:moveTo>
                <a:cubicBezTo>
                  <a:pt x="941341" y="251644"/>
                  <a:pt x="949439" y="254287"/>
                  <a:pt x="956438" y="258955"/>
                </a:cubicBezTo>
                <a:cubicBezTo>
                  <a:pt x="959794" y="261374"/>
                  <a:pt x="963669" y="262924"/>
                  <a:pt x="967718" y="263467"/>
                </a:cubicBezTo>
                <a:cubicBezTo>
                  <a:pt x="969107" y="263566"/>
                  <a:pt x="970263" y="262530"/>
                  <a:pt x="970379" y="261159"/>
                </a:cubicBezTo>
                <a:cubicBezTo>
                  <a:pt x="970379" y="261119"/>
                  <a:pt x="970379" y="261078"/>
                  <a:pt x="970379" y="261038"/>
                </a:cubicBezTo>
                <a:cubicBezTo>
                  <a:pt x="971189" y="255774"/>
                  <a:pt x="964248" y="242932"/>
                  <a:pt x="948745" y="238190"/>
                </a:cubicBezTo>
                <a:cubicBezTo>
                  <a:pt x="942035" y="236269"/>
                  <a:pt x="935036" y="235349"/>
                  <a:pt x="928037" y="235471"/>
                </a:cubicBezTo>
                <a:cubicBezTo>
                  <a:pt x="913576" y="235471"/>
                  <a:pt x="900677" y="238710"/>
                  <a:pt x="897438" y="243222"/>
                </a:cubicBezTo>
                <a:cubicBezTo>
                  <a:pt x="896743" y="244118"/>
                  <a:pt x="896512" y="245316"/>
                  <a:pt x="896859" y="246403"/>
                </a:cubicBezTo>
                <a:cubicBezTo>
                  <a:pt x="898247" y="250510"/>
                  <a:pt x="902644" y="252188"/>
                  <a:pt x="911204" y="252188"/>
                </a:cubicBezTo>
                <a:cubicBezTo>
                  <a:pt x="914213" y="252188"/>
                  <a:pt x="917509" y="252188"/>
                  <a:pt x="921038" y="251841"/>
                </a:cubicBezTo>
                <a:cubicBezTo>
                  <a:pt x="924567" y="251494"/>
                  <a:pt x="928674" y="251552"/>
                  <a:pt x="932722" y="251552"/>
                </a:cubicBezTo>
                <a:close/>
                <a:moveTo>
                  <a:pt x="861979" y="264046"/>
                </a:moveTo>
                <a:lnTo>
                  <a:pt x="861979" y="264046"/>
                </a:lnTo>
                <a:cubicBezTo>
                  <a:pt x="852724" y="264046"/>
                  <a:pt x="841271" y="257856"/>
                  <a:pt x="838841" y="248659"/>
                </a:cubicBezTo>
                <a:cubicBezTo>
                  <a:pt x="838205" y="246843"/>
                  <a:pt x="838495" y="244824"/>
                  <a:pt x="839651" y="243280"/>
                </a:cubicBezTo>
                <a:cubicBezTo>
                  <a:pt x="841849" y="241099"/>
                  <a:pt x="844915" y="240035"/>
                  <a:pt x="847980" y="240388"/>
                </a:cubicBezTo>
                <a:cubicBezTo>
                  <a:pt x="856947" y="240388"/>
                  <a:pt x="870193" y="245304"/>
                  <a:pt x="873837" y="251609"/>
                </a:cubicBezTo>
                <a:cubicBezTo>
                  <a:pt x="875052" y="253512"/>
                  <a:pt x="875052" y="255953"/>
                  <a:pt x="873837" y="257856"/>
                </a:cubicBezTo>
                <a:cubicBezTo>
                  <a:pt x="871292" y="262085"/>
                  <a:pt x="866665" y="264561"/>
                  <a:pt x="861747" y="264277"/>
                </a:cubicBezTo>
                <a:close/>
                <a:moveTo>
                  <a:pt x="848154" y="242643"/>
                </a:moveTo>
                <a:cubicBezTo>
                  <a:pt x="845783" y="242349"/>
                  <a:pt x="843411" y="243089"/>
                  <a:pt x="841618" y="244668"/>
                </a:cubicBezTo>
                <a:cubicBezTo>
                  <a:pt x="840924" y="245669"/>
                  <a:pt x="840808" y="246947"/>
                  <a:pt x="841213" y="248081"/>
                </a:cubicBezTo>
                <a:cubicBezTo>
                  <a:pt x="843180" y="256121"/>
                  <a:pt x="853708" y="261732"/>
                  <a:pt x="861979" y="261732"/>
                </a:cubicBezTo>
                <a:cubicBezTo>
                  <a:pt x="866028" y="262097"/>
                  <a:pt x="869961" y="260182"/>
                  <a:pt x="872217" y="256757"/>
                </a:cubicBezTo>
                <a:cubicBezTo>
                  <a:pt x="872970" y="255520"/>
                  <a:pt x="872970" y="253946"/>
                  <a:pt x="872217" y="252708"/>
                </a:cubicBezTo>
                <a:cubicBezTo>
                  <a:pt x="868689" y="247560"/>
                  <a:pt x="856079" y="242875"/>
                  <a:pt x="847923" y="242875"/>
                </a:cubicBezTo>
                <a:close/>
                <a:moveTo>
                  <a:pt x="895124" y="170454"/>
                </a:moveTo>
                <a:cubicBezTo>
                  <a:pt x="890091" y="170454"/>
                  <a:pt x="885579" y="163050"/>
                  <a:pt x="883555" y="158596"/>
                </a:cubicBezTo>
                <a:cubicBezTo>
                  <a:pt x="876845" y="145465"/>
                  <a:pt x="871523" y="121286"/>
                  <a:pt x="880605" y="108849"/>
                </a:cubicBezTo>
                <a:cubicBezTo>
                  <a:pt x="884076" y="104049"/>
                  <a:pt x="887373" y="101677"/>
                  <a:pt x="890496" y="101677"/>
                </a:cubicBezTo>
                <a:cubicBezTo>
                  <a:pt x="898421" y="101677"/>
                  <a:pt x="901198" y="116254"/>
                  <a:pt x="901198" y="120013"/>
                </a:cubicBezTo>
                <a:cubicBezTo>
                  <a:pt x="901198" y="120418"/>
                  <a:pt x="901198" y="120534"/>
                  <a:pt x="901198" y="120534"/>
                </a:cubicBezTo>
                <a:cubicBezTo>
                  <a:pt x="901718" y="120661"/>
                  <a:pt x="902238" y="120661"/>
                  <a:pt x="902759" y="120534"/>
                </a:cubicBezTo>
                <a:cubicBezTo>
                  <a:pt x="903742" y="120586"/>
                  <a:pt x="904726" y="120586"/>
                  <a:pt x="905710" y="120534"/>
                </a:cubicBezTo>
                <a:cubicBezTo>
                  <a:pt x="907040" y="120349"/>
                  <a:pt x="908370" y="120257"/>
                  <a:pt x="909700" y="120245"/>
                </a:cubicBezTo>
                <a:cubicBezTo>
                  <a:pt x="914617" y="120245"/>
                  <a:pt x="917105" y="122559"/>
                  <a:pt x="917105" y="127186"/>
                </a:cubicBezTo>
                <a:cubicBezTo>
                  <a:pt x="917163" y="129951"/>
                  <a:pt x="917509" y="132705"/>
                  <a:pt x="918146" y="135400"/>
                </a:cubicBezTo>
                <a:cubicBezTo>
                  <a:pt x="918955" y="139796"/>
                  <a:pt x="919707" y="143556"/>
                  <a:pt x="917567" y="146101"/>
                </a:cubicBezTo>
                <a:cubicBezTo>
                  <a:pt x="915427" y="148646"/>
                  <a:pt x="912361" y="149051"/>
                  <a:pt x="905998" y="148473"/>
                </a:cubicBezTo>
                <a:cubicBezTo>
                  <a:pt x="903684" y="147929"/>
                  <a:pt x="901313" y="148508"/>
                  <a:pt x="899520" y="150035"/>
                </a:cubicBezTo>
                <a:cubicBezTo>
                  <a:pt x="897785" y="152001"/>
                  <a:pt x="898421" y="155819"/>
                  <a:pt x="898999" y="159521"/>
                </a:cubicBezTo>
                <a:cubicBezTo>
                  <a:pt x="899751" y="164206"/>
                  <a:pt x="900561" y="169471"/>
                  <a:pt x="895760" y="170338"/>
                </a:cubicBezTo>
                <a:close/>
                <a:moveTo>
                  <a:pt x="890265" y="103933"/>
                </a:moveTo>
                <a:cubicBezTo>
                  <a:pt x="887951" y="103933"/>
                  <a:pt x="885175" y="106073"/>
                  <a:pt x="882224" y="110122"/>
                </a:cubicBezTo>
                <a:cubicBezTo>
                  <a:pt x="873664" y="121691"/>
                  <a:pt x="878870" y="144829"/>
                  <a:pt x="885290" y="157555"/>
                </a:cubicBezTo>
                <a:cubicBezTo>
                  <a:pt x="888645" y="164149"/>
                  <a:pt x="892405" y="168198"/>
                  <a:pt x="895124" y="168198"/>
                </a:cubicBezTo>
                <a:lnTo>
                  <a:pt x="895587" y="168198"/>
                </a:lnTo>
                <a:cubicBezTo>
                  <a:pt x="898016" y="167793"/>
                  <a:pt x="897843" y="165248"/>
                  <a:pt x="897033" y="160042"/>
                </a:cubicBezTo>
                <a:cubicBezTo>
                  <a:pt x="895702" y="156218"/>
                  <a:pt x="896049" y="152013"/>
                  <a:pt x="898016" y="148473"/>
                </a:cubicBezTo>
                <a:cubicBezTo>
                  <a:pt x="900272" y="146373"/>
                  <a:pt x="903396" y="145529"/>
                  <a:pt x="906404" y="146217"/>
                </a:cubicBezTo>
                <a:cubicBezTo>
                  <a:pt x="911609" y="146622"/>
                  <a:pt x="914559" y="146217"/>
                  <a:pt x="915832" y="144597"/>
                </a:cubicBezTo>
                <a:cubicBezTo>
                  <a:pt x="917105" y="142978"/>
                  <a:pt x="916642" y="139623"/>
                  <a:pt x="915832" y="135747"/>
                </a:cubicBezTo>
                <a:cubicBezTo>
                  <a:pt x="915196" y="132919"/>
                  <a:pt x="914791" y="130032"/>
                  <a:pt x="914733" y="127128"/>
                </a:cubicBezTo>
                <a:cubicBezTo>
                  <a:pt x="914733" y="123773"/>
                  <a:pt x="913287" y="122443"/>
                  <a:pt x="909585" y="122443"/>
                </a:cubicBezTo>
                <a:cubicBezTo>
                  <a:pt x="908370" y="122356"/>
                  <a:pt x="907098" y="122356"/>
                  <a:pt x="905883" y="122443"/>
                </a:cubicBezTo>
                <a:cubicBezTo>
                  <a:pt x="903974" y="122854"/>
                  <a:pt x="901950" y="122738"/>
                  <a:pt x="900098" y="122096"/>
                </a:cubicBezTo>
                <a:cubicBezTo>
                  <a:pt x="899173" y="121616"/>
                  <a:pt x="898652" y="120638"/>
                  <a:pt x="898710" y="119609"/>
                </a:cubicBezTo>
                <a:cubicBezTo>
                  <a:pt x="898479" y="116254"/>
                  <a:pt x="895471" y="104164"/>
                  <a:pt x="890033" y="10416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4" name="Forma libre: forma 443">
            <a:extLst>
              <a:ext uri="{FF2B5EF4-FFF2-40B4-BE49-F238E27FC236}">
                <a16:creationId xmlns:a16="http://schemas.microsoft.com/office/drawing/2014/main" id="{EFC72933-5CFD-F2D9-8D4E-F235633D3E92}"/>
              </a:ext>
            </a:extLst>
          </p:cNvPr>
          <p:cNvSpPr/>
          <p:nvPr/>
        </p:nvSpPr>
        <p:spPr>
          <a:xfrm>
            <a:off x="9543720" y="4714271"/>
            <a:ext cx="89962" cy="34041"/>
          </a:xfrm>
          <a:custGeom>
            <a:avLst/>
            <a:gdLst>
              <a:gd name="connsiteX0" fmla="*/ 8408 w 89962"/>
              <a:gd name="connsiteY0" fmla="*/ 33883 h 34041"/>
              <a:gd name="connsiteX1" fmla="*/ 8408 w 89962"/>
              <a:gd name="connsiteY1" fmla="*/ 33883 h 34041"/>
              <a:gd name="connsiteX2" fmla="*/ 21 w 89962"/>
              <a:gd name="connsiteY2" fmla="*/ 28099 h 34041"/>
              <a:gd name="connsiteX3" fmla="*/ 21 w 89962"/>
              <a:gd name="connsiteY3" fmla="*/ 27116 h 34041"/>
              <a:gd name="connsiteX4" fmla="*/ 657 w 89962"/>
              <a:gd name="connsiteY4" fmla="*/ 26306 h 34041"/>
              <a:gd name="connsiteX5" fmla="*/ 9854 w 89962"/>
              <a:gd name="connsiteY5" fmla="*/ 24050 h 34041"/>
              <a:gd name="connsiteX6" fmla="*/ 10201 w 89962"/>
              <a:gd name="connsiteY6" fmla="*/ 24050 h 34041"/>
              <a:gd name="connsiteX7" fmla="*/ 13845 w 89962"/>
              <a:gd name="connsiteY7" fmla="*/ 23472 h 34041"/>
              <a:gd name="connsiteX8" fmla="*/ 14944 w 89962"/>
              <a:gd name="connsiteY8" fmla="*/ 23819 h 34041"/>
              <a:gd name="connsiteX9" fmla="*/ 14944 w 89962"/>
              <a:gd name="connsiteY9" fmla="*/ 24976 h 34041"/>
              <a:gd name="connsiteX10" fmla="*/ 14944 w 89962"/>
              <a:gd name="connsiteY10" fmla="*/ 25670 h 34041"/>
              <a:gd name="connsiteX11" fmla="*/ 10838 w 89962"/>
              <a:gd name="connsiteY11" fmla="*/ 33305 h 34041"/>
              <a:gd name="connsiteX12" fmla="*/ 8408 w 89962"/>
              <a:gd name="connsiteY12" fmla="*/ 33883 h 34041"/>
              <a:gd name="connsiteX13" fmla="*/ 2623 w 89962"/>
              <a:gd name="connsiteY13" fmla="*/ 28099 h 34041"/>
              <a:gd name="connsiteX14" fmla="*/ 8408 w 89962"/>
              <a:gd name="connsiteY14" fmla="*/ 31917 h 34041"/>
              <a:gd name="connsiteX15" fmla="*/ 9102 w 89962"/>
              <a:gd name="connsiteY15" fmla="*/ 31917 h 34041"/>
              <a:gd name="connsiteX16" fmla="*/ 12110 w 89962"/>
              <a:gd name="connsiteY16" fmla="*/ 26479 h 34041"/>
              <a:gd name="connsiteX17" fmla="*/ 10316 w 89962"/>
              <a:gd name="connsiteY17" fmla="*/ 26479 h 34041"/>
              <a:gd name="connsiteX18" fmla="*/ 9912 w 89962"/>
              <a:gd name="connsiteY18" fmla="*/ 26479 h 34041"/>
              <a:gd name="connsiteX19" fmla="*/ 2971 w 89962"/>
              <a:gd name="connsiteY19" fmla="*/ 28099 h 34041"/>
              <a:gd name="connsiteX20" fmla="*/ 31083 w 89962"/>
              <a:gd name="connsiteY20" fmla="*/ 31165 h 34041"/>
              <a:gd name="connsiteX21" fmla="*/ 30157 w 89962"/>
              <a:gd name="connsiteY21" fmla="*/ 30702 h 34041"/>
              <a:gd name="connsiteX22" fmla="*/ 21827 w 89962"/>
              <a:gd name="connsiteY22" fmla="*/ 21852 h 34041"/>
              <a:gd name="connsiteX23" fmla="*/ 21365 w 89962"/>
              <a:gd name="connsiteY23" fmla="*/ 20926 h 34041"/>
              <a:gd name="connsiteX24" fmla="*/ 21885 w 89962"/>
              <a:gd name="connsiteY24" fmla="*/ 20001 h 34041"/>
              <a:gd name="connsiteX25" fmla="*/ 24141 w 89962"/>
              <a:gd name="connsiteY25" fmla="*/ 18439 h 34041"/>
              <a:gd name="connsiteX26" fmla="*/ 30273 w 89962"/>
              <a:gd name="connsiteY26" fmla="*/ 12655 h 34041"/>
              <a:gd name="connsiteX27" fmla="*/ 48321 w 89962"/>
              <a:gd name="connsiteY27" fmla="*/ 3284 h 34041"/>
              <a:gd name="connsiteX28" fmla="*/ 50519 w 89962"/>
              <a:gd name="connsiteY28" fmla="*/ 3284 h 34041"/>
              <a:gd name="connsiteX29" fmla="*/ 70706 w 89962"/>
              <a:gd name="connsiteY29" fmla="*/ 1317 h 34041"/>
              <a:gd name="connsiteX30" fmla="*/ 84357 w 89962"/>
              <a:gd name="connsiteY30" fmla="*/ -129 h 34041"/>
              <a:gd name="connsiteX31" fmla="*/ 89506 w 89962"/>
              <a:gd name="connsiteY31" fmla="*/ 1433 h 34041"/>
              <a:gd name="connsiteX32" fmla="*/ 89506 w 89962"/>
              <a:gd name="connsiteY32" fmla="*/ 3920 h 34041"/>
              <a:gd name="connsiteX33" fmla="*/ 61566 w 89962"/>
              <a:gd name="connsiteY33" fmla="*/ 17803 h 34041"/>
              <a:gd name="connsiteX34" fmla="*/ 31488 w 89962"/>
              <a:gd name="connsiteY34" fmla="*/ 30933 h 34041"/>
              <a:gd name="connsiteX35" fmla="*/ 31546 w 89962"/>
              <a:gd name="connsiteY35" fmla="*/ 30875 h 34041"/>
              <a:gd name="connsiteX36" fmla="*/ 24373 w 89962"/>
              <a:gd name="connsiteY36" fmla="*/ 21042 h 34041"/>
              <a:gd name="connsiteX37" fmla="*/ 31546 w 89962"/>
              <a:gd name="connsiteY37" fmla="*/ 28099 h 34041"/>
              <a:gd name="connsiteX38" fmla="*/ 61046 w 89962"/>
              <a:gd name="connsiteY38" fmla="*/ 15373 h 34041"/>
              <a:gd name="connsiteX39" fmla="*/ 87712 w 89962"/>
              <a:gd name="connsiteY39" fmla="*/ 2763 h 34041"/>
              <a:gd name="connsiteX40" fmla="*/ 87712 w 89962"/>
              <a:gd name="connsiteY40" fmla="*/ 2358 h 34041"/>
              <a:gd name="connsiteX41" fmla="*/ 84415 w 89962"/>
              <a:gd name="connsiteY41" fmla="*/ 1780 h 34041"/>
              <a:gd name="connsiteX42" fmla="*/ 71053 w 89962"/>
              <a:gd name="connsiteY42" fmla="*/ 3226 h 34041"/>
              <a:gd name="connsiteX43" fmla="*/ 50577 w 89962"/>
              <a:gd name="connsiteY43" fmla="*/ 5193 h 34041"/>
              <a:gd name="connsiteX44" fmla="*/ 47337 w 89962"/>
              <a:gd name="connsiteY44" fmla="*/ 5193 h 34041"/>
              <a:gd name="connsiteX45" fmla="*/ 31893 w 89962"/>
              <a:gd name="connsiteY45" fmla="*/ 13927 h 34041"/>
              <a:gd name="connsiteX46" fmla="*/ 25587 w 89962"/>
              <a:gd name="connsiteY46" fmla="*/ 19712 h 3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9962" h="34041">
                <a:moveTo>
                  <a:pt x="8408" y="33883"/>
                </a:moveTo>
                <a:lnTo>
                  <a:pt x="8408" y="33883"/>
                </a:lnTo>
                <a:cubicBezTo>
                  <a:pt x="6210" y="33883"/>
                  <a:pt x="3491" y="31975"/>
                  <a:pt x="21" y="28099"/>
                </a:cubicBezTo>
                <a:cubicBezTo>
                  <a:pt x="-153" y="27793"/>
                  <a:pt x="-153" y="27422"/>
                  <a:pt x="21" y="27116"/>
                </a:cubicBezTo>
                <a:cubicBezTo>
                  <a:pt x="79" y="26751"/>
                  <a:pt x="310" y="26445"/>
                  <a:pt x="657" y="26306"/>
                </a:cubicBezTo>
                <a:cubicBezTo>
                  <a:pt x="3607" y="25062"/>
                  <a:pt x="6672" y="24299"/>
                  <a:pt x="9854" y="24050"/>
                </a:cubicBezTo>
                <a:lnTo>
                  <a:pt x="10201" y="24050"/>
                </a:lnTo>
                <a:cubicBezTo>
                  <a:pt x="11416" y="23934"/>
                  <a:pt x="12630" y="23743"/>
                  <a:pt x="13845" y="23472"/>
                </a:cubicBezTo>
                <a:cubicBezTo>
                  <a:pt x="14250" y="23385"/>
                  <a:pt x="14655" y="23518"/>
                  <a:pt x="14944" y="23819"/>
                </a:cubicBezTo>
                <a:cubicBezTo>
                  <a:pt x="15118" y="24177"/>
                  <a:pt x="15118" y="24617"/>
                  <a:pt x="14944" y="24976"/>
                </a:cubicBezTo>
                <a:lnTo>
                  <a:pt x="14944" y="25670"/>
                </a:lnTo>
                <a:cubicBezTo>
                  <a:pt x="14192" y="28510"/>
                  <a:pt x="12804" y="31130"/>
                  <a:pt x="10838" y="33305"/>
                </a:cubicBezTo>
                <a:cubicBezTo>
                  <a:pt x="10143" y="33785"/>
                  <a:pt x="9276" y="33993"/>
                  <a:pt x="8408" y="33883"/>
                </a:cubicBezTo>
                <a:close/>
                <a:moveTo>
                  <a:pt x="2623" y="28099"/>
                </a:moveTo>
                <a:cubicBezTo>
                  <a:pt x="5920" y="31512"/>
                  <a:pt x="7598" y="31917"/>
                  <a:pt x="8408" y="31917"/>
                </a:cubicBezTo>
                <a:cubicBezTo>
                  <a:pt x="8639" y="32009"/>
                  <a:pt x="8870" y="32009"/>
                  <a:pt x="9102" y="31917"/>
                </a:cubicBezTo>
                <a:cubicBezTo>
                  <a:pt x="10548" y="30372"/>
                  <a:pt x="11590" y="28510"/>
                  <a:pt x="12110" y="26479"/>
                </a:cubicBezTo>
                <a:lnTo>
                  <a:pt x="10316" y="26479"/>
                </a:lnTo>
                <a:lnTo>
                  <a:pt x="9912" y="26479"/>
                </a:lnTo>
                <a:cubicBezTo>
                  <a:pt x="7540" y="26705"/>
                  <a:pt x="5226" y="27249"/>
                  <a:pt x="2971" y="28099"/>
                </a:cubicBezTo>
                <a:close/>
                <a:moveTo>
                  <a:pt x="31083" y="31165"/>
                </a:moveTo>
                <a:cubicBezTo>
                  <a:pt x="30736" y="31188"/>
                  <a:pt x="30389" y="31009"/>
                  <a:pt x="30157" y="30702"/>
                </a:cubicBezTo>
                <a:cubicBezTo>
                  <a:pt x="27786" y="27382"/>
                  <a:pt x="25009" y="24403"/>
                  <a:pt x="21827" y="21852"/>
                </a:cubicBezTo>
                <a:cubicBezTo>
                  <a:pt x="21539" y="21626"/>
                  <a:pt x="21365" y="21291"/>
                  <a:pt x="21365" y="20926"/>
                </a:cubicBezTo>
                <a:cubicBezTo>
                  <a:pt x="21365" y="20550"/>
                  <a:pt x="21539" y="20197"/>
                  <a:pt x="21885" y="20001"/>
                </a:cubicBezTo>
                <a:cubicBezTo>
                  <a:pt x="22637" y="19521"/>
                  <a:pt x="23389" y="19000"/>
                  <a:pt x="24141" y="18439"/>
                </a:cubicBezTo>
                <a:cubicBezTo>
                  <a:pt x="26282" y="16646"/>
                  <a:pt x="28364" y="14714"/>
                  <a:pt x="30273" y="12655"/>
                </a:cubicBezTo>
                <a:cubicBezTo>
                  <a:pt x="35248" y="7622"/>
                  <a:pt x="39991" y="2821"/>
                  <a:pt x="48321" y="3284"/>
                </a:cubicBezTo>
                <a:lnTo>
                  <a:pt x="50519" y="3284"/>
                </a:lnTo>
                <a:cubicBezTo>
                  <a:pt x="57286" y="3070"/>
                  <a:pt x="64054" y="2411"/>
                  <a:pt x="70706" y="1317"/>
                </a:cubicBezTo>
                <a:cubicBezTo>
                  <a:pt x="75218" y="571"/>
                  <a:pt x="79788" y="91"/>
                  <a:pt x="84357" y="-129"/>
                </a:cubicBezTo>
                <a:cubicBezTo>
                  <a:pt x="87192" y="-129"/>
                  <a:pt x="88754" y="334"/>
                  <a:pt x="89506" y="1433"/>
                </a:cubicBezTo>
                <a:cubicBezTo>
                  <a:pt x="89968" y="2202"/>
                  <a:pt x="89968" y="3151"/>
                  <a:pt x="89506" y="3920"/>
                </a:cubicBezTo>
                <a:cubicBezTo>
                  <a:pt x="88291" y="7275"/>
                  <a:pt x="77937" y="11382"/>
                  <a:pt x="61566" y="17803"/>
                </a:cubicBezTo>
                <a:cubicBezTo>
                  <a:pt x="51271" y="21470"/>
                  <a:pt x="41206" y="25855"/>
                  <a:pt x="31488" y="30933"/>
                </a:cubicBezTo>
                <a:cubicBezTo>
                  <a:pt x="31488" y="30916"/>
                  <a:pt x="31546" y="30893"/>
                  <a:pt x="31546" y="30875"/>
                </a:cubicBezTo>
                <a:close/>
                <a:moveTo>
                  <a:pt x="24373" y="21042"/>
                </a:moveTo>
                <a:cubicBezTo>
                  <a:pt x="27034" y="23130"/>
                  <a:pt x="29405" y="25496"/>
                  <a:pt x="31546" y="28099"/>
                </a:cubicBezTo>
                <a:cubicBezTo>
                  <a:pt x="41090" y="23234"/>
                  <a:pt x="50981" y="18983"/>
                  <a:pt x="61046" y="15373"/>
                </a:cubicBezTo>
                <a:cubicBezTo>
                  <a:pt x="73078" y="10688"/>
                  <a:pt x="86729" y="5366"/>
                  <a:pt x="87712" y="2763"/>
                </a:cubicBezTo>
                <a:cubicBezTo>
                  <a:pt x="87712" y="2630"/>
                  <a:pt x="87712" y="2491"/>
                  <a:pt x="87712" y="2358"/>
                </a:cubicBezTo>
                <a:cubicBezTo>
                  <a:pt x="87712" y="2358"/>
                  <a:pt x="87308" y="1780"/>
                  <a:pt x="84415" y="1780"/>
                </a:cubicBezTo>
                <a:cubicBezTo>
                  <a:pt x="79961" y="1994"/>
                  <a:pt x="75449" y="2474"/>
                  <a:pt x="71053" y="3226"/>
                </a:cubicBezTo>
                <a:cubicBezTo>
                  <a:pt x="64286" y="4325"/>
                  <a:pt x="57460" y="4979"/>
                  <a:pt x="50577" y="5193"/>
                </a:cubicBezTo>
                <a:lnTo>
                  <a:pt x="47337" y="5193"/>
                </a:lnTo>
                <a:cubicBezTo>
                  <a:pt x="41148" y="5748"/>
                  <a:pt x="35537" y="8929"/>
                  <a:pt x="31893" y="13927"/>
                </a:cubicBezTo>
                <a:cubicBezTo>
                  <a:pt x="29926" y="15986"/>
                  <a:pt x="27786" y="17918"/>
                  <a:pt x="25587" y="1971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5" name="Forma libre: forma 444">
            <a:extLst>
              <a:ext uri="{FF2B5EF4-FFF2-40B4-BE49-F238E27FC236}">
                <a16:creationId xmlns:a16="http://schemas.microsoft.com/office/drawing/2014/main" id="{EA30B3BE-63A3-691D-6070-93D1C9693713}"/>
              </a:ext>
            </a:extLst>
          </p:cNvPr>
          <p:cNvSpPr/>
          <p:nvPr/>
        </p:nvSpPr>
        <p:spPr>
          <a:xfrm>
            <a:off x="6370759" y="3078955"/>
            <a:ext cx="314147" cy="344741"/>
          </a:xfrm>
          <a:custGeom>
            <a:avLst/>
            <a:gdLst>
              <a:gd name="connsiteX0" fmla="*/ 220782 w 314147"/>
              <a:gd name="connsiteY0" fmla="*/ 344565 h 344741"/>
              <a:gd name="connsiteX1" fmla="*/ 220146 w 314147"/>
              <a:gd name="connsiteY1" fmla="*/ 344565 h 344741"/>
              <a:gd name="connsiteX2" fmla="*/ 210081 w 314147"/>
              <a:gd name="connsiteY2" fmla="*/ 338202 h 344741"/>
              <a:gd name="connsiteX3" fmla="*/ 188795 w 314147"/>
              <a:gd name="connsiteY3" fmla="*/ 325130 h 344741"/>
              <a:gd name="connsiteX4" fmla="*/ 159872 w 314147"/>
              <a:gd name="connsiteY4" fmla="*/ 309049 h 344741"/>
              <a:gd name="connsiteX5" fmla="*/ 161029 w 314147"/>
              <a:gd name="connsiteY5" fmla="*/ 303264 h 344741"/>
              <a:gd name="connsiteX6" fmla="*/ 177804 w 314147"/>
              <a:gd name="connsiteY6" fmla="*/ 295397 h 344741"/>
              <a:gd name="connsiteX7" fmla="*/ 184456 w 314147"/>
              <a:gd name="connsiteY7" fmla="*/ 296844 h 344741"/>
              <a:gd name="connsiteX8" fmla="*/ 216791 w 314147"/>
              <a:gd name="connsiteY8" fmla="*/ 296844 h 344741"/>
              <a:gd name="connsiteX9" fmla="*/ 239929 w 314147"/>
              <a:gd name="connsiteY9" fmla="*/ 298001 h 344741"/>
              <a:gd name="connsiteX10" fmla="*/ 239929 w 314147"/>
              <a:gd name="connsiteY10" fmla="*/ 300141 h 344741"/>
              <a:gd name="connsiteX11" fmla="*/ 238540 w 314147"/>
              <a:gd name="connsiteY11" fmla="*/ 302050 h 344741"/>
              <a:gd name="connsiteX12" fmla="*/ 228765 w 314147"/>
              <a:gd name="connsiteY12" fmla="*/ 324782 h 344741"/>
              <a:gd name="connsiteX13" fmla="*/ 227377 w 314147"/>
              <a:gd name="connsiteY13" fmla="*/ 342136 h 344741"/>
              <a:gd name="connsiteX14" fmla="*/ 220782 w 314147"/>
              <a:gd name="connsiteY14" fmla="*/ 344565 h 344741"/>
              <a:gd name="connsiteX15" fmla="*/ 177688 w 314147"/>
              <a:gd name="connsiteY15" fmla="*/ 297538 h 344741"/>
              <a:gd name="connsiteX16" fmla="*/ 162765 w 314147"/>
              <a:gd name="connsiteY16" fmla="*/ 304537 h 344741"/>
              <a:gd name="connsiteX17" fmla="*/ 161897 w 314147"/>
              <a:gd name="connsiteY17" fmla="*/ 308297 h 344741"/>
              <a:gd name="connsiteX18" fmla="*/ 189373 w 314147"/>
              <a:gd name="connsiteY18" fmla="*/ 322931 h 344741"/>
              <a:gd name="connsiteX19" fmla="*/ 211701 w 314147"/>
              <a:gd name="connsiteY19" fmla="*/ 336583 h 344741"/>
              <a:gd name="connsiteX20" fmla="*/ 220262 w 314147"/>
              <a:gd name="connsiteY20" fmla="*/ 342367 h 344741"/>
              <a:gd name="connsiteX21" fmla="*/ 220782 w 314147"/>
              <a:gd name="connsiteY21" fmla="*/ 342367 h 344741"/>
              <a:gd name="connsiteX22" fmla="*/ 225468 w 314147"/>
              <a:gd name="connsiteY22" fmla="*/ 340516 h 344741"/>
              <a:gd name="connsiteX23" fmla="*/ 226335 w 314147"/>
              <a:gd name="connsiteY23" fmla="*/ 325072 h 344741"/>
              <a:gd name="connsiteX24" fmla="*/ 236516 w 314147"/>
              <a:gd name="connsiteY24" fmla="*/ 300488 h 344741"/>
              <a:gd name="connsiteX25" fmla="*/ 237788 w 314147"/>
              <a:gd name="connsiteY25" fmla="*/ 298868 h 344741"/>
              <a:gd name="connsiteX26" fmla="*/ 230038 w 314147"/>
              <a:gd name="connsiteY26" fmla="*/ 297306 h 344741"/>
              <a:gd name="connsiteX27" fmla="*/ 217196 w 314147"/>
              <a:gd name="connsiteY27" fmla="*/ 298926 h 344741"/>
              <a:gd name="connsiteX28" fmla="*/ 183357 w 314147"/>
              <a:gd name="connsiteY28" fmla="*/ 298926 h 344741"/>
              <a:gd name="connsiteX29" fmla="*/ 177688 w 314147"/>
              <a:gd name="connsiteY29" fmla="*/ 297249 h 344741"/>
              <a:gd name="connsiteX30" fmla="*/ 248894 w 314147"/>
              <a:gd name="connsiteY30" fmla="*/ 303322 h 344741"/>
              <a:gd name="connsiteX31" fmla="*/ 244903 w 314147"/>
              <a:gd name="connsiteY31" fmla="*/ 300083 h 344741"/>
              <a:gd name="connsiteX32" fmla="*/ 246696 w 314147"/>
              <a:gd name="connsiteY32" fmla="*/ 279722 h 344741"/>
              <a:gd name="connsiteX33" fmla="*/ 245540 w 314147"/>
              <a:gd name="connsiteY33" fmla="*/ 251667 h 344741"/>
              <a:gd name="connsiteX34" fmla="*/ 242358 w 314147"/>
              <a:gd name="connsiteY34" fmla="*/ 242239 h 344741"/>
              <a:gd name="connsiteX35" fmla="*/ 237383 w 314147"/>
              <a:gd name="connsiteY35" fmla="*/ 235876 h 344741"/>
              <a:gd name="connsiteX36" fmla="*/ 226567 w 314147"/>
              <a:gd name="connsiteY36" fmla="*/ 227893 h 344741"/>
              <a:gd name="connsiteX37" fmla="*/ 217659 w 314147"/>
              <a:gd name="connsiteY37" fmla="*/ 219679 h 344741"/>
              <a:gd name="connsiteX38" fmla="*/ 193480 w 314147"/>
              <a:gd name="connsiteY38" fmla="*/ 203599 h 344741"/>
              <a:gd name="connsiteX39" fmla="*/ 179828 w 314147"/>
              <a:gd name="connsiteY39" fmla="*/ 196831 h 344741"/>
              <a:gd name="connsiteX40" fmla="*/ 167565 w 314147"/>
              <a:gd name="connsiteY40" fmla="*/ 192550 h 344741"/>
              <a:gd name="connsiteX41" fmla="*/ 153683 w 314147"/>
              <a:gd name="connsiteY41" fmla="*/ 180692 h 344741"/>
              <a:gd name="connsiteX42" fmla="*/ 130545 w 314147"/>
              <a:gd name="connsiteY42" fmla="*/ 160620 h 344741"/>
              <a:gd name="connsiteX43" fmla="*/ 104226 w 314147"/>
              <a:gd name="connsiteY43" fmla="*/ 126781 h 344741"/>
              <a:gd name="connsiteX44" fmla="*/ 99193 w 314147"/>
              <a:gd name="connsiteY44" fmla="*/ 115733 h 344741"/>
              <a:gd name="connsiteX45" fmla="*/ 95897 w 314147"/>
              <a:gd name="connsiteY45" fmla="*/ 110990 h 344741"/>
              <a:gd name="connsiteX46" fmla="*/ 64603 w 314147"/>
              <a:gd name="connsiteY46" fmla="*/ 94562 h 344741"/>
              <a:gd name="connsiteX47" fmla="*/ 58818 w 314147"/>
              <a:gd name="connsiteY47" fmla="*/ 95314 h 344741"/>
              <a:gd name="connsiteX48" fmla="*/ 46902 w 314147"/>
              <a:gd name="connsiteY48" fmla="*/ 104280 h 344741"/>
              <a:gd name="connsiteX49" fmla="*/ 40019 w 314147"/>
              <a:gd name="connsiteY49" fmla="*/ 111395 h 344741"/>
              <a:gd name="connsiteX50" fmla="*/ 31342 w 314147"/>
              <a:gd name="connsiteY50" fmla="*/ 114113 h 344741"/>
              <a:gd name="connsiteX51" fmla="*/ 26657 w 314147"/>
              <a:gd name="connsiteY51" fmla="*/ 115270 h 344741"/>
              <a:gd name="connsiteX52" fmla="*/ 25245 w 314147"/>
              <a:gd name="connsiteY52" fmla="*/ 114443 h 344741"/>
              <a:gd name="connsiteX53" fmla="*/ 25211 w 314147"/>
              <a:gd name="connsiteY53" fmla="*/ 114056 h 344741"/>
              <a:gd name="connsiteX54" fmla="*/ 27525 w 314147"/>
              <a:gd name="connsiteY54" fmla="*/ 106652 h 344741"/>
              <a:gd name="connsiteX55" fmla="*/ 28334 w 314147"/>
              <a:gd name="connsiteY55" fmla="*/ 104569 h 344741"/>
              <a:gd name="connsiteX56" fmla="*/ 28334 w 314147"/>
              <a:gd name="connsiteY56" fmla="*/ 103297 h 344741"/>
              <a:gd name="connsiteX57" fmla="*/ 20930 w 314147"/>
              <a:gd name="connsiteY57" fmla="*/ 102024 h 344741"/>
              <a:gd name="connsiteX58" fmla="*/ 16534 w 314147"/>
              <a:gd name="connsiteY58" fmla="*/ 102024 h 344741"/>
              <a:gd name="connsiteX59" fmla="*/ 8609 w 314147"/>
              <a:gd name="connsiteY59" fmla="*/ 96818 h 344741"/>
              <a:gd name="connsiteX60" fmla="*/ 9593 w 314147"/>
              <a:gd name="connsiteY60" fmla="*/ 86984 h 344741"/>
              <a:gd name="connsiteX61" fmla="*/ 7279 w 314147"/>
              <a:gd name="connsiteY61" fmla="*/ 79927 h 344741"/>
              <a:gd name="connsiteX62" fmla="*/ 1495 w 314147"/>
              <a:gd name="connsiteY62" fmla="*/ 74143 h 344741"/>
              <a:gd name="connsiteX63" fmla="*/ 106 w 314147"/>
              <a:gd name="connsiteY63" fmla="*/ 68937 h 344741"/>
              <a:gd name="connsiteX64" fmla="*/ 4329 w 314147"/>
              <a:gd name="connsiteY64" fmla="*/ 66739 h 344741"/>
              <a:gd name="connsiteX65" fmla="*/ 7395 w 314147"/>
              <a:gd name="connsiteY65" fmla="*/ 65871 h 344741"/>
              <a:gd name="connsiteX66" fmla="*/ 13179 w 314147"/>
              <a:gd name="connsiteY66" fmla="*/ 57947 h 344741"/>
              <a:gd name="connsiteX67" fmla="*/ 12774 w 314147"/>
              <a:gd name="connsiteY67" fmla="*/ 56963 h 344741"/>
              <a:gd name="connsiteX68" fmla="*/ 9188 w 314147"/>
              <a:gd name="connsiteY68" fmla="*/ 42734 h 344741"/>
              <a:gd name="connsiteX69" fmla="*/ 10171 w 314147"/>
              <a:gd name="connsiteY69" fmla="*/ 41982 h 344741"/>
              <a:gd name="connsiteX70" fmla="*/ 33598 w 314147"/>
              <a:gd name="connsiteY70" fmla="*/ 40304 h 344741"/>
              <a:gd name="connsiteX71" fmla="*/ 42680 w 314147"/>
              <a:gd name="connsiteY71" fmla="*/ 27694 h 344741"/>
              <a:gd name="connsiteX72" fmla="*/ 46671 w 314147"/>
              <a:gd name="connsiteY72" fmla="*/ 21158 h 344741"/>
              <a:gd name="connsiteX73" fmla="*/ 47712 w 314147"/>
              <a:gd name="connsiteY73" fmla="*/ 20811 h 344741"/>
              <a:gd name="connsiteX74" fmla="*/ 54885 w 314147"/>
              <a:gd name="connsiteY74" fmla="*/ 28793 h 344741"/>
              <a:gd name="connsiteX75" fmla="*/ 63388 w 314147"/>
              <a:gd name="connsiteY75" fmla="*/ 39841 h 344741"/>
              <a:gd name="connsiteX76" fmla="*/ 65933 w 314147"/>
              <a:gd name="connsiteY76" fmla="*/ 41172 h 344741"/>
              <a:gd name="connsiteX77" fmla="*/ 68768 w 314147"/>
              <a:gd name="connsiteY77" fmla="*/ 30933 h 344741"/>
              <a:gd name="connsiteX78" fmla="*/ 79816 w 314147"/>
              <a:gd name="connsiteY78" fmla="*/ 24165 h 344741"/>
              <a:gd name="connsiteX79" fmla="*/ 86468 w 314147"/>
              <a:gd name="connsiteY79" fmla="*/ 25033 h 344741"/>
              <a:gd name="connsiteX80" fmla="*/ 91385 w 314147"/>
              <a:gd name="connsiteY80" fmla="*/ 22083 h 344741"/>
              <a:gd name="connsiteX81" fmla="*/ 95781 w 314147"/>
              <a:gd name="connsiteY81" fmla="*/ 17166 h 344741"/>
              <a:gd name="connsiteX82" fmla="*/ 98384 w 314147"/>
              <a:gd name="connsiteY82" fmla="*/ 17456 h 344741"/>
              <a:gd name="connsiteX83" fmla="*/ 100582 w 314147"/>
              <a:gd name="connsiteY83" fmla="*/ 17456 h 344741"/>
              <a:gd name="connsiteX84" fmla="*/ 103532 w 314147"/>
              <a:gd name="connsiteY84" fmla="*/ 12018 h 344741"/>
              <a:gd name="connsiteX85" fmla="*/ 103879 w 314147"/>
              <a:gd name="connsiteY85" fmla="*/ 11324 h 344741"/>
              <a:gd name="connsiteX86" fmla="*/ 109143 w 314147"/>
              <a:gd name="connsiteY86" fmla="*/ 6407 h 344741"/>
              <a:gd name="connsiteX87" fmla="*/ 110473 w 314147"/>
              <a:gd name="connsiteY87" fmla="*/ 6407 h 344741"/>
              <a:gd name="connsiteX88" fmla="*/ 113886 w 314147"/>
              <a:gd name="connsiteY88" fmla="*/ 8316 h 344741"/>
              <a:gd name="connsiteX89" fmla="*/ 116720 w 314147"/>
              <a:gd name="connsiteY89" fmla="*/ 9068 h 344741"/>
              <a:gd name="connsiteX90" fmla="*/ 129504 w 314147"/>
              <a:gd name="connsiteY90" fmla="*/ 3284 h 344741"/>
              <a:gd name="connsiteX91" fmla="*/ 152063 w 314147"/>
              <a:gd name="connsiteY91" fmla="*/ -129 h 344741"/>
              <a:gd name="connsiteX92" fmla="*/ 155245 w 314147"/>
              <a:gd name="connsiteY92" fmla="*/ 5135 h 344741"/>
              <a:gd name="connsiteX93" fmla="*/ 158137 w 314147"/>
              <a:gd name="connsiteY93" fmla="*/ 11555 h 344741"/>
              <a:gd name="connsiteX94" fmla="*/ 171499 w 314147"/>
              <a:gd name="connsiteY94" fmla="*/ 14216 h 344741"/>
              <a:gd name="connsiteX95" fmla="*/ 172309 w 314147"/>
              <a:gd name="connsiteY95" fmla="*/ 14621 h 344741"/>
              <a:gd name="connsiteX96" fmla="*/ 172309 w 314147"/>
              <a:gd name="connsiteY96" fmla="*/ 15431 h 344741"/>
              <a:gd name="connsiteX97" fmla="*/ 170863 w 314147"/>
              <a:gd name="connsiteY97" fmla="*/ 51468 h 344741"/>
              <a:gd name="connsiteX98" fmla="*/ 170168 w 314147"/>
              <a:gd name="connsiteY98" fmla="*/ 52567 h 344741"/>
              <a:gd name="connsiteX99" fmla="*/ 158600 w 314147"/>
              <a:gd name="connsiteY99" fmla="*/ 61649 h 344741"/>
              <a:gd name="connsiteX100" fmla="*/ 158600 w 314147"/>
              <a:gd name="connsiteY100" fmla="*/ 66565 h 344741"/>
              <a:gd name="connsiteX101" fmla="*/ 158600 w 314147"/>
              <a:gd name="connsiteY101" fmla="*/ 79927 h 344741"/>
              <a:gd name="connsiteX102" fmla="*/ 158600 w 314147"/>
              <a:gd name="connsiteY102" fmla="*/ 94042 h 344741"/>
              <a:gd name="connsiteX103" fmla="*/ 173466 w 314147"/>
              <a:gd name="connsiteY103" fmla="*/ 107056 h 344741"/>
              <a:gd name="connsiteX104" fmla="*/ 197008 w 314147"/>
              <a:gd name="connsiteY104" fmla="*/ 133376 h 344741"/>
              <a:gd name="connsiteX105" fmla="*/ 238309 w 314147"/>
              <a:gd name="connsiteY105" fmla="*/ 176180 h 344741"/>
              <a:gd name="connsiteX106" fmla="*/ 252654 w 314147"/>
              <a:gd name="connsiteY106" fmla="*/ 184279 h 344741"/>
              <a:gd name="connsiteX107" fmla="*/ 259133 w 314147"/>
              <a:gd name="connsiteY107" fmla="*/ 192492 h 344741"/>
              <a:gd name="connsiteX108" fmla="*/ 270702 w 314147"/>
              <a:gd name="connsiteY108" fmla="*/ 198277 h 344741"/>
              <a:gd name="connsiteX109" fmla="*/ 314027 w 314147"/>
              <a:gd name="connsiteY109" fmla="*/ 231711 h 344741"/>
              <a:gd name="connsiteX110" fmla="*/ 308995 w 314147"/>
              <a:gd name="connsiteY110" fmla="*/ 240850 h 344741"/>
              <a:gd name="connsiteX111" fmla="*/ 308995 w 314147"/>
              <a:gd name="connsiteY111" fmla="*/ 240850 h 344741"/>
              <a:gd name="connsiteX112" fmla="*/ 297079 w 314147"/>
              <a:gd name="connsiteY112" fmla="*/ 235066 h 344741"/>
              <a:gd name="connsiteX113" fmla="*/ 291699 w 314147"/>
              <a:gd name="connsiteY113" fmla="*/ 231537 h 344741"/>
              <a:gd name="connsiteX114" fmla="*/ 280883 w 314147"/>
              <a:gd name="connsiteY114" fmla="*/ 228240 h 344741"/>
              <a:gd name="connsiteX115" fmla="*/ 268967 w 314147"/>
              <a:gd name="connsiteY115" fmla="*/ 233620 h 344741"/>
              <a:gd name="connsiteX116" fmla="*/ 267173 w 314147"/>
              <a:gd name="connsiteY116" fmla="*/ 242065 h 344741"/>
              <a:gd name="connsiteX117" fmla="*/ 275214 w 314147"/>
              <a:gd name="connsiteY117" fmla="*/ 252014 h 344741"/>
              <a:gd name="connsiteX118" fmla="*/ 279436 w 314147"/>
              <a:gd name="connsiteY118" fmla="*/ 264451 h 344741"/>
              <a:gd name="connsiteX119" fmla="*/ 270471 w 314147"/>
              <a:gd name="connsiteY119" fmla="*/ 272202 h 344741"/>
              <a:gd name="connsiteX120" fmla="*/ 263934 w 314147"/>
              <a:gd name="connsiteY120" fmla="*/ 280069 h 344741"/>
              <a:gd name="connsiteX121" fmla="*/ 248663 w 314147"/>
              <a:gd name="connsiteY121" fmla="*/ 303033 h 344741"/>
              <a:gd name="connsiteX122" fmla="*/ 64371 w 314147"/>
              <a:gd name="connsiteY122" fmla="*/ 92306 h 344741"/>
              <a:gd name="connsiteX123" fmla="*/ 97574 w 314147"/>
              <a:gd name="connsiteY123" fmla="*/ 109660 h 344741"/>
              <a:gd name="connsiteX124" fmla="*/ 100755 w 314147"/>
              <a:gd name="connsiteY124" fmla="*/ 114403 h 344741"/>
              <a:gd name="connsiteX125" fmla="*/ 106193 w 314147"/>
              <a:gd name="connsiteY125" fmla="*/ 126319 h 344741"/>
              <a:gd name="connsiteX126" fmla="*/ 131529 w 314147"/>
              <a:gd name="connsiteY126" fmla="*/ 158653 h 344741"/>
              <a:gd name="connsiteX127" fmla="*/ 155302 w 314147"/>
              <a:gd name="connsiteY127" fmla="*/ 179015 h 344741"/>
              <a:gd name="connsiteX128" fmla="*/ 180349 w 314147"/>
              <a:gd name="connsiteY128" fmla="*/ 194633 h 344741"/>
              <a:gd name="connsiteX129" fmla="*/ 195215 w 314147"/>
              <a:gd name="connsiteY129" fmla="*/ 202095 h 344741"/>
              <a:gd name="connsiteX130" fmla="*/ 218353 w 314147"/>
              <a:gd name="connsiteY130" fmla="*/ 217539 h 344741"/>
              <a:gd name="connsiteX131" fmla="*/ 228129 w 314147"/>
              <a:gd name="connsiteY131" fmla="*/ 226505 h 344741"/>
              <a:gd name="connsiteX132" fmla="*/ 237383 w 314147"/>
              <a:gd name="connsiteY132" fmla="*/ 233620 h 344741"/>
              <a:gd name="connsiteX133" fmla="*/ 244325 w 314147"/>
              <a:gd name="connsiteY133" fmla="*/ 242007 h 344741"/>
              <a:gd name="connsiteX134" fmla="*/ 246986 w 314147"/>
              <a:gd name="connsiteY134" fmla="*/ 250163 h 344741"/>
              <a:gd name="connsiteX135" fmla="*/ 248663 w 314147"/>
              <a:gd name="connsiteY135" fmla="*/ 280936 h 344741"/>
              <a:gd name="connsiteX136" fmla="*/ 247043 w 314147"/>
              <a:gd name="connsiteY136" fmla="*/ 298926 h 344741"/>
              <a:gd name="connsiteX137" fmla="*/ 249010 w 314147"/>
              <a:gd name="connsiteY137" fmla="*/ 300893 h 344741"/>
              <a:gd name="connsiteX138" fmla="*/ 261562 w 314147"/>
              <a:gd name="connsiteY138" fmla="*/ 279259 h 344741"/>
              <a:gd name="connsiteX139" fmla="*/ 269140 w 314147"/>
              <a:gd name="connsiteY139" fmla="*/ 269830 h 344741"/>
              <a:gd name="connsiteX140" fmla="*/ 277527 w 314147"/>
              <a:gd name="connsiteY140" fmla="*/ 262600 h 344741"/>
              <a:gd name="connsiteX141" fmla="*/ 273710 w 314147"/>
              <a:gd name="connsiteY141" fmla="*/ 253345 h 344741"/>
              <a:gd name="connsiteX142" fmla="*/ 264860 w 314147"/>
              <a:gd name="connsiteY142" fmla="*/ 242181 h 344741"/>
              <a:gd name="connsiteX143" fmla="*/ 267058 w 314147"/>
              <a:gd name="connsiteY143" fmla="*/ 231769 h 344741"/>
              <a:gd name="connsiteX144" fmla="*/ 280767 w 314147"/>
              <a:gd name="connsiteY144" fmla="*/ 225522 h 344741"/>
              <a:gd name="connsiteX145" fmla="*/ 292798 w 314147"/>
              <a:gd name="connsiteY145" fmla="*/ 229166 h 344741"/>
              <a:gd name="connsiteX146" fmla="*/ 298178 w 314147"/>
              <a:gd name="connsiteY146" fmla="*/ 232694 h 344741"/>
              <a:gd name="connsiteX147" fmla="*/ 308879 w 314147"/>
              <a:gd name="connsiteY147" fmla="*/ 238479 h 344741"/>
              <a:gd name="connsiteX148" fmla="*/ 308879 w 314147"/>
              <a:gd name="connsiteY148" fmla="*/ 238479 h 344741"/>
              <a:gd name="connsiteX149" fmla="*/ 311656 w 314147"/>
              <a:gd name="connsiteY149" fmla="*/ 231480 h 344741"/>
              <a:gd name="connsiteX150" fmla="*/ 269545 w 314147"/>
              <a:gd name="connsiteY150" fmla="*/ 200186 h 344741"/>
              <a:gd name="connsiteX151" fmla="*/ 257976 w 314147"/>
              <a:gd name="connsiteY151" fmla="*/ 194112 h 344741"/>
              <a:gd name="connsiteX152" fmla="*/ 250630 w 314147"/>
              <a:gd name="connsiteY152" fmla="*/ 184857 h 344741"/>
              <a:gd name="connsiteX153" fmla="*/ 238425 w 314147"/>
              <a:gd name="connsiteY153" fmla="*/ 178147 h 344741"/>
              <a:gd name="connsiteX154" fmla="*/ 237441 w 314147"/>
              <a:gd name="connsiteY154" fmla="*/ 178147 h 344741"/>
              <a:gd name="connsiteX155" fmla="*/ 194926 w 314147"/>
              <a:gd name="connsiteY155" fmla="*/ 133665 h 344741"/>
              <a:gd name="connsiteX156" fmla="*/ 172367 w 314147"/>
              <a:gd name="connsiteY156" fmla="*/ 108676 h 344741"/>
              <a:gd name="connsiteX157" fmla="*/ 156633 w 314147"/>
              <a:gd name="connsiteY157" fmla="*/ 94678 h 344741"/>
              <a:gd name="connsiteX158" fmla="*/ 156633 w 314147"/>
              <a:gd name="connsiteY158" fmla="*/ 78713 h 344741"/>
              <a:gd name="connsiteX159" fmla="*/ 156980 w 314147"/>
              <a:gd name="connsiteY159" fmla="*/ 67144 h 344741"/>
              <a:gd name="connsiteX160" fmla="*/ 156980 w 314147"/>
              <a:gd name="connsiteY160" fmla="*/ 60434 h 344741"/>
              <a:gd name="connsiteX161" fmla="*/ 169185 w 314147"/>
              <a:gd name="connsiteY161" fmla="*/ 50369 h 344741"/>
              <a:gd name="connsiteX162" fmla="*/ 170516 w 314147"/>
              <a:gd name="connsiteY162" fmla="*/ 15663 h 344741"/>
              <a:gd name="connsiteX163" fmla="*/ 157327 w 314147"/>
              <a:gd name="connsiteY163" fmla="*/ 12886 h 344741"/>
              <a:gd name="connsiteX164" fmla="*/ 153451 w 314147"/>
              <a:gd name="connsiteY164" fmla="*/ 5135 h 344741"/>
              <a:gd name="connsiteX165" fmla="*/ 152179 w 314147"/>
              <a:gd name="connsiteY165" fmla="*/ 1491 h 344741"/>
              <a:gd name="connsiteX166" fmla="*/ 131413 w 314147"/>
              <a:gd name="connsiteY166" fmla="*/ 4267 h 344741"/>
              <a:gd name="connsiteX167" fmla="*/ 117067 w 314147"/>
              <a:gd name="connsiteY167" fmla="*/ 10919 h 344741"/>
              <a:gd name="connsiteX168" fmla="*/ 113076 w 314147"/>
              <a:gd name="connsiteY168" fmla="*/ 9820 h 344741"/>
              <a:gd name="connsiteX169" fmla="*/ 110473 w 314147"/>
              <a:gd name="connsiteY169" fmla="*/ 8374 h 344741"/>
              <a:gd name="connsiteX170" fmla="*/ 106077 w 314147"/>
              <a:gd name="connsiteY170" fmla="*/ 12481 h 344741"/>
              <a:gd name="connsiteX171" fmla="*/ 100929 w 314147"/>
              <a:gd name="connsiteY171" fmla="*/ 19480 h 344741"/>
              <a:gd name="connsiteX172" fmla="*/ 98442 w 314147"/>
              <a:gd name="connsiteY172" fmla="*/ 19480 h 344741"/>
              <a:gd name="connsiteX173" fmla="*/ 96128 w 314147"/>
              <a:gd name="connsiteY173" fmla="*/ 19480 h 344741"/>
              <a:gd name="connsiteX174" fmla="*/ 93988 w 314147"/>
              <a:gd name="connsiteY174" fmla="*/ 22141 h 344741"/>
              <a:gd name="connsiteX175" fmla="*/ 86815 w 314147"/>
              <a:gd name="connsiteY175" fmla="*/ 27347 h 344741"/>
              <a:gd name="connsiteX176" fmla="*/ 79758 w 314147"/>
              <a:gd name="connsiteY176" fmla="*/ 26479 h 344741"/>
              <a:gd name="connsiteX177" fmla="*/ 77849 w 314147"/>
              <a:gd name="connsiteY177" fmla="*/ 26479 h 344741"/>
              <a:gd name="connsiteX178" fmla="*/ 71370 w 314147"/>
              <a:gd name="connsiteY178" fmla="*/ 31165 h 344741"/>
              <a:gd name="connsiteX179" fmla="*/ 66280 w 314147"/>
              <a:gd name="connsiteY179" fmla="*/ 43659 h 344741"/>
              <a:gd name="connsiteX180" fmla="*/ 62231 w 314147"/>
              <a:gd name="connsiteY180" fmla="*/ 41750 h 344741"/>
              <a:gd name="connsiteX181" fmla="*/ 53323 w 314147"/>
              <a:gd name="connsiteY181" fmla="*/ 30181 h 344741"/>
              <a:gd name="connsiteX182" fmla="*/ 48001 w 314147"/>
              <a:gd name="connsiteY182" fmla="*/ 23240 h 344741"/>
              <a:gd name="connsiteX183" fmla="*/ 45051 w 314147"/>
              <a:gd name="connsiteY183" fmla="*/ 29025 h 344741"/>
              <a:gd name="connsiteX184" fmla="*/ 33945 w 314147"/>
              <a:gd name="connsiteY184" fmla="*/ 42849 h 344741"/>
              <a:gd name="connsiteX185" fmla="*/ 11502 w 314147"/>
              <a:gd name="connsiteY185" fmla="*/ 44469 h 344741"/>
              <a:gd name="connsiteX186" fmla="*/ 14278 w 314147"/>
              <a:gd name="connsiteY186" fmla="*/ 55344 h 344741"/>
              <a:gd name="connsiteX187" fmla="*/ 15782 w 314147"/>
              <a:gd name="connsiteY187" fmla="*/ 58294 h 344741"/>
              <a:gd name="connsiteX188" fmla="*/ 8783 w 314147"/>
              <a:gd name="connsiteY188" fmla="*/ 68185 h 344741"/>
              <a:gd name="connsiteX189" fmla="*/ 5081 w 314147"/>
              <a:gd name="connsiteY189" fmla="*/ 69226 h 344741"/>
              <a:gd name="connsiteX190" fmla="*/ 2536 w 314147"/>
              <a:gd name="connsiteY190" fmla="*/ 70094 h 344741"/>
              <a:gd name="connsiteX191" fmla="*/ 3750 w 314147"/>
              <a:gd name="connsiteY191" fmla="*/ 73218 h 344741"/>
              <a:gd name="connsiteX192" fmla="*/ 8783 w 314147"/>
              <a:gd name="connsiteY192" fmla="*/ 78366 h 344741"/>
              <a:gd name="connsiteX193" fmla="*/ 11617 w 314147"/>
              <a:gd name="connsiteY193" fmla="*/ 88373 h 344741"/>
              <a:gd name="connsiteX194" fmla="*/ 10750 w 314147"/>
              <a:gd name="connsiteY194" fmla="*/ 96008 h 344741"/>
              <a:gd name="connsiteX195" fmla="*/ 16881 w 314147"/>
              <a:gd name="connsiteY195" fmla="*/ 99942 h 344741"/>
              <a:gd name="connsiteX196" fmla="*/ 21104 w 314147"/>
              <a:gd name="connsiteY196" fmla="*/ 99942 h 344741"/>
              <a:gd name="connsiteX197" fmla="*/ 30359 w 314147"/>
              <a:gd name="connsiteY197" fmla="*/ 102255 h 344741"/>
              <a:gd name="connsiteX198" fmla="*/ 30359 w 314147"/>
              <a:gd name="connsiteY198" fmla="*/ 105552 h 344741"/>
              <a:gd name="connsiteX199" fmla="*/ 29491 w 314147"/>
              <a:gd name="connsiteY199" fmla="*/ 107693 h 344741"/>
              <a:gd name="connsiteX200" fmla="*/ 27640 w 314147"/>
              <a:gd name="connsiteY200" fmla="*/ 112783 h 344741"/>
              <a:gd name="connsiteX201" fmla="*/ 30764 w 314147"/>
              <a:gd name="connsiteY201" fmla="*/ 112089 h 344741"/>
              <a:gd name="connsiteX202" fmla="*/ 38862 w 314147"/>
              <a:gd name="connsiteY202" fmla="*/ 109544 h 344741"/>
              <a:gd name="connsiteX203" fmla="*/ 44646 w 314147"/>
              <a:gd name="connsiteY203" fmla="*/ 103297 h 344741"/>
              <a:gd name="connsiteX204" fmla="*/ 57835 w 314147"/>
              <a:gd name="connsiteY204" fmla="*/ 93289 h 344741"/>
              <a:gd name="connsiteX205" fmla="*/ 64371 w 314147"/>
              <a:gd name="connsiteY205" fmla="*/ 92017 h 344741"/>
              <a:gd name="connsiteX206" fmla="*/ 57777 w 314147"/>
              <a:gd name="connsiteY206" fmla="*/ 275557 h 344741"/>
              <a:gd name="connsiteX207" fmla="*/ 57777 w 314147"/>
              <a:gd name="connsiteY207" fmla="*/ 275557 h 344741"/>
              <a:gd name="connsiteX208" fmla="*/ 53092 w 314147"/>
              <a:gd name="connsiteY208" fmla="*/ 272954 h 344741"/>
              <a:gd name="connsiteX209" fmla="*/ 49910 w 314147"/>
              <a:gd name="connsiteY209" fmla="*/ 245536 h 344741"/>
              <a:gd name="connsiteX210" fmla="*/ 43721 w 314147"/>
              <a:gd name="connsiteY210" fmla="*/ 224191 h 344741"/>
              <a:gd name="connsiteX211" fmla="*/ 39961 w 314147"/>
              <a:gd name="connsiteY211" fmla="*/ 210077 h 344741"/>
              <a:gd name="connsiteX212" fmla="*/ 44993 w 314147"/>
              <a:gd name="connsiteY212" fmla="*/ 207185 h 344741"/>
              <a:gd name="connsiteX213" fmla="*/ 48291 w 314147"/>
              <a:gd name="connsiteY213" fmla="*/ 207532 h 344741"/>
              <a:gd name="connsiteX214" fmla="*/ 52282 w 314147"/>
              <a:gd name="connsiteY214" fmla="*/ 207995 h 344741"/>
              <a:gd name="connsiteX215" fmla="*/ 59975 w 314147"/>
              <a:gd name="connsiteY215" fmla="*/ 204987 h 344741"/>
              <a:gd name="connsiteX216" fmla="*/ 71544 w 314147"/>
              <a:gd name="connsiteY216" fmla="*/ 201169 h 344741"/>
              <a:gd name="connsiteX217" fmla="*/ 85658 w 314147"/>
              <a:gd name="connsiteY217" fmla="*/ 207243 h 344741"/>
              <a:gd name="connsiteX218" fmla="*/ 87104 w 314147"/>
              <a:gd name="connsiteY218" fmla="*/ 216267 h 344741"/>
              <a:gd name="connsiteX219" fmla="*/ 85600 w 314147"/>
              <a:gd name="connsiteY219" fmla="*/ 237669 h 344741"/>
              <a:gd name="connsiteX220" fmla="*/ 82535 w 314147"/>
              <a:gd name="connsiteY220" fmla="*/ 260807 h 344741"/>
              <a:gd name="connsiteX221" fmla="*/ 74436 w 314147"/>
              <a:gd name="connsiteY221" fmla="*/ 266013 h 344741"/>
              <a:gd name="connsiteX222" fmla="*/ 63446 w 314147"/>
              <a:gd name="connsiteY222" fmla="*/ 272607 h 344741"/>
              <a:gd name="connsiteX223" fmla="*/ 57777 w 314147"/>
              <a:gd name="connsiteY223" fmla="*/ 275557 h 344741"/>
              <a:gd name="connsiteX224" fmla="*/ 44993 w 314147"/>
              <a:gd name="connsiteY224" fmla="*/ 209441 h 344741"/>
              <a:gd name="connsiteX225" fmla="*/ 41928 w 314147"/>
              <a:gd name="connsiteY225" fmla="*/ 211234 h 344741"/>
              <a:gd name="connsiteX226" fmla="*/ 45687 w 314147"/>
              <a:gd name="connsiteY226" fmla="*/ 222803 h 344741"/>
              <a:gd name="connsiteX227" fmla="*/ 52166 w 314147"/>
              <a:gd name="connsiteY227" fmla="*/ 245941 h 344741"/>
              <a:gd name="connsiteX228" fmla="*/ 54827 w 314147"/>
              <a:gd name="connsiteY228" fmla="*/ 271450 h 344741"/>
              <a:gd name="connsiteX229" fmla="*/ 57777 w 314147"/>
              <a:gd name="connsiteY229" fmla="*/ 273185 h 344741"/>
              <a:gd name="connsiteX230" fmla="*/ 57777 w 314147"/>
              <a:gd name="connsiteY230" fmla="*/ 273185 h 344741"/>
              <a:gd name="connsiteX231" fmla="*/ 61537 w 314147"/>
              <a:gd name="connsiteY231" fmla="*/ 271161 h 344741"/>
              <a:gd name="connsiteX232" fmla="*/ 73453 w 314147"/>
              <a:gd name="connsiteY232" fmla="*/ 263930 h 344741"/>
              <a:gd name="connsiteX233" fmla="*/ 80452 w 314147"/>
              <a:gd name="connsiteY233" fmla="*/ 259534 h 344741"/>
              <a:gd name="connsiteX234" fmla="*/ 82997 w 314147"/>
              <a:gd name="connsiteY234" fmla="*/ 237611 h 344741"/>
              <a:gd name="connsiteX235" fmla="*/ 84675 w 314147"/>
              <a:gd name="connsiteY235" fmla="*/ 215457 h 344741"/>
              <a:gd name="connsiteX236" fmla="*/ 83576 w 314147"/>
              <a:gd name="connsiteY236" fmla="*/ 208458 h 344741"/>
              <a:gd name="connsiteX237" fmla="*/ 71255 w 314147"/>
              <a:gd name="connsiteY237" fmla="*/ 203309 h 344741"/>
              <a:gd name="connsiteX238" fmla="*/ 61479 w 314147"/>
              <a:gd name="connsiteY238" fmla="*/ 206549 h 344741"/>
              <a:gd name="connsiteX239" fmla="*/ 52282 w 314147"/>
              <a:gd name="connsiteY239" fmla="*/ 210135 h 344741"/>
              <a:gd name="connsiteX240" fmla="*/ 47943 w 314147"/>
              <a:gd name="connsiteY240" fmla="*/ 209672 h 344741"/>
              <a:gd name="connsiteX241" fmla="*/ 44936 w 314147"/>
              <a:gd name="connsiteY241" fmla="*/ 209441 h 34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314147" h="344741">
                <a:moveTo>
                  <a:pt x="220782" y="344565"/>
                </a:moveTo>
                <a:lnTo>
                  <a:pt x="220146" y="344565"/>
                </a:lnTo>
                <a:cubicBezTo>
                  <a:pt x="216097" y="344565"/>
                  <a:pt x="213436" y="341615"/>
                  <a:pt x="210081" y="338202"/>
                </a:cubicBezTo>
                <a:cubicBezTo>
                  <a:pt x="204470" y="331793"/>
                  <a:pt x="197049" y="327235"/>
                  <a:pt x="188795" y="325130"/>
                </a:cubicBezTo>
                <a:cubicBezTo>
                  <a:pt x="171730" y="320675"/>
                  <a:pt x="161955" y="315296"/>
                  <a:pt x="159872" y="309049"/>
                </a:cubicBezTo>
                <a:cubicBezTo>
                  <a:pt x="159265" y="307047"/>
                  <a:pt x="159699" y="304878"/>
                  <a:pt x="161029" y="303264"/>
                </a:cubicBezTo>
                <a:cubicBezTo>
                  <a:pt x="165206" y="298324"/>
                  <a:pt x="171331" y="295450"/>
                  <a:pt x="177804" y="295397"/>
                </a:cubicBezTo>
                <a:cubicBezTo>
                  <a:pt x="180106" y="295345"/>
                  <a:pt x="182385" y="295843"/>
                  <a:pt x="184456" y="296844"/>
                </a:cubicBezTo>
                <a:cubicBezTo>
                  <a:pt x="193711" y="301471"/>
                  <a:pt x="200479" y="300314"/>
                  <a:pt x="216791" y="296844"/>
                </a:cubicBezTo>
                <a:cubicBezTo>
                  <a:pt x="228360" y="294241"/>
                  <a:pt x="238020" y="294877"/>
                  <a:pt x="239929" y="298001"/>
                </a:cubicBezTo>
                <a:cubicBezTo>
                  <a:pt x="240334" y="298654"/>
                  <a:pt x="240334" y="299487"/>
                  <a:pt x="239929" y="300141"/>
                </a:cubicBezTo>
                <a:cubicBezTo>
                  <a:pt x="239501" y="300800"/>
                  <a:pt x="239038" y="301436"/>
                  <a:pt x="238540" y="302050"/>
                </a:cubicBezTo>
                <a:cubicBezTo>
                  <a:pt x="235127" y="306272"/>
                  <a:pt x="226972" y="316164"/>
                  <a:pt x="228765" y="324782"/>
                </a:cubicBezTo>
                <a:cubicBezTo>
                  <a:pt x="230558" y="333401"/>
                  <a:pt x="229980" y="338954"/>
                  <a:pt x="227377" y="342136"/>
                </a:cubicBezTo>
                <a:cubicBezTo>
                  <a:pt x="225682" y="343935"/>
                  <a:pt x="223241" y="344837"/>
                  <a:pt x="220782" y="344565"/>
                </a:cubicBezTo>
                <a:close/>
                <a:moveTo>
                  <a:pt x="177688" y="297538"/>
                </a:moveTo>
                <a:cubicBezTo>
                  <a:pt x="171927" y="297572"/>
                  <a:pt x="166472" y="300129"/>
                  <a:pt x="162765" y="304537"/>
                </a:cubicBezTo>
                <a:cubicBezTo>
                  <a:pt x="161868" y="305566"/>
                  <a:pt x="161544" y="306978"/>
                  <a:pt x="161897" y="308297"/>
                </a:cubicBezTo>
                <a:cubicBezTo>
                  <a:pt x="163227" y="312057"/>
                  <a:pt x="169069" y="317668"/>
                  <a:pt x="189373" y="322931"/>
                </a:cubicBezTo>
                <a:cubicBezTo>
                  <a:pt x="198009" y="325153"/>
                  <a:pt x="205789" y="329907"/>
                  <a:pt x="211701" y="336583"/>
                </a:cubicBezTo>
                <a:cubicBezTo>
                  <a:pt x="214824" y="339822"/>
                  <a:pt x="217080" y="342367"/>
                  <a:pt x="220262" y="342367"/>
                </a:cubicBezTo>
                <a:lnTo>
                  <a:pt x="220782" y="342367"/>
                </a:lnTo>
                <a:cubicBezTo>
                  <a:pt x="222546" y="342500"/>
                  <a:pt x="224270" y="341817"/>
                  <a:pt x="225468" y="340516"/>
                </a:cubicBezTo>
                <a:cubicBezTo>
                  <a:pt x="227492" y="338029"/>
                  <a:pt x="227781" y="332996"/>
                  <a:pt x="226335" y="325072"/>
                </a:cubicBezTo>
                <a:cubicBezTo>
                  <a:pt x="224542" y="315469"/>
                  <a:pt x="232930" y="305000"/>
                  <a:pt x="236516" y="300488"/>
                </a:cubicBezTo>
                <a:cubicBezTo>
                  <a:pt x="236973" y="299973"/>
                  <a:pt x="237395" y="299435"/>
                  <a:pt x="237788" y="298868"/>
                </a:cubicBezTo>
                <a:cubicBezTo>
                  <a:pt x="237788" y="298868"/>
                  <a:pt x="235822" y="297306"/>
                  <a:pt x="230038" y="297306"/>
                </a:cubicBezTo>
                <a:cubicBezTo>
                  <a:pt x="225710" y="297405"/>
                  <a:pt x="221413" y="297948"/>
                  <a:pt x="217196" y="298926"/>
                </a:cubicBezTo>
                <a:cubicBezTo>
                  <a:pt x="200305" y="302628"/>
                  <a:pt x="193133" y="303727"/>
                  <a:pt x="183357" y="298926"/>
                </a:cubicBezTo>
                <a:cubicBezTo>
                  <a:pt x="181622" y="297937"/>
                  <a:pt x="179684" y="297364"/>
                  <a:pt x="177688" y="297249"/>
                </a:cubicBezTo>
                <a:close/>
                <a:moveTo>
                  <a:pt x="248894" y="303322"/>
                </a:moveTo>
                <a:cubicBezTo>
                  <a:pt x="247391" y="303322"/>
                  <a:pt x="245945" y="302223"/>
                  <a:pt x="244903" y="300083"/>
                </a:cubicBezTo>
                <a:cubicBezTo>
                  <a:pt x="242057" y="293425"/>
                  <a:pt x="242728" y="285778"/>
                  <a:pt x="246696" y="279722"/>
                </a:cubicBezTo>
                <a:cubicBezTo>
                  <a:pt x="251926" y="270970"/>
                  <a:pt x="251469" y="259956"/>
                  <a:pt x="245540" y="251667"/>
                </a:cubicBezTo>
                <a:cubicBezTo>
                  <a:pt x="243492" y="248949"/>
                  <a:pt x="242381" y="245640"/>
                  <a:pt x="242358" y="242239"/>
                </a:cubicBezTo>
                <a:cubicBezTo>
                  <a:pt x="242011" y="238537"/>
                  <a:pt x="241838" y="236454"/>
                  <a:pt x="237383" y="235876"/>
                </a:cubicBezTo>
                <a:cubicBezTo>
                  <a:pt x="232756" y="234985"/>
                  <a:pt x="228782" y="232046"/>
                  <a:pt x="226567" y="227893"/>
                </a:cubicBezTo>
                <a:cubicBezTo>
                  <a:pt x="224409" y="224388"/>
                  <a:pt x="221326" y="221548"/>
                  <a:pt x="217659" y="219679"/>
                </a:cubicBezTo>
                <a:cubicBezTo>
                  <a:pt x="208479" y="216226"/>
                  <a:pt x="200213" y="210731"/>
                  <a:pt x="193480" y="203599"/>
                </a:cubicBezTo>
                <a:cubicBezTo>
                  <a:pt x="189778" y="199931"/>
                  <a:pt x="184988" y="197554"/>
                  <a:pt x="179828" y="196831"/>
                </a:cubicBezTo>
                <a:cubicBezTo>
                  <a:pt x="175589" y="195888"/>
                  <a:pt x="171470" y="194453"/>
                  <a:pt x="167565" y="192550"/>
                </a:cubicBezTo>
                <a:cubicBezTo>
                  <a:pt x="162371" y="189317"/>
                  <a:pt x="157692" y="185320"/>
                  <a:pt x="153683" y="180692"/>
                </a:cubicBezTo>
                <a:cubicBezTo>
                  <a:pt x="146793" y="173103"/>
                  <a:pt x="139031" y="166370"/>
                  <a:pt x="130545" y="160620"/>
                </a:cubicBezTo>
                <a:cubicBezTo>
                  <a:pt x="109837" y="147258"/>
                  <a:pt x="105209" y="132508"/>
                  <a:pt x="104226" y="126781"/>
                </a:cubicBezTo>
                <a:cubicBezTo>
                  <a:pt x="103584" y="122709"/>
                  <a:pt x="101849" y="118886"/>
                  <a:pt x="99193" y="115733"/>
                </a:cubicBezTo>
                <a:cubicBezTo>
                  <a:pt x="98268" y="114461"/>
                  <a:pt x="97169" y="112899"/>
                  <a:pt x="95897" y="110990"/>
                </a:cubicBezTo>
                <a:cubicBezTo>
                  <a:pt x="88226" y="101370"/>
                  <a:pt x="76877" y="95412"/>
                  <a:pt x="64603" y="94562"/>
                </a:cubicBezTo>
                <a:cubicBezTo>
                  <a:pt x="62647" y="94539"/>
                  <a:pt x="60704" y="94794"/>
                  <a:pt x="58818" y="95314"/>
                </a:cubicBezTo>
                <a:cubicBezTo>
                  <a:pt x="53676" y="96303"/>
                  <a:pt x="49274" y="99612"/>
                  <a:pt x="46902" y="104280"/>
                </a:cubicBezTo>
                <a:cubicBezTo>
                  <a:pt x="45416" y="107317"/>
                  <a:pt x="43004" y="109804"/>
                  <a:pt x="40019" y="111395"/>
                </a:cubicBezTo>
                <a:cubicBezTo>
                  <a:pt x="37271" y="112708"/>
                  <a:pt x="34350" y="113622"/>
                  <a:pt x="31342" y="114113"/>
                </a:cubicBezTo>
                <a:cubicBezTo>
                  <a:pt x="29838" y="114461"/>
                  <a:pt x="28277" y="114808"/>
                  <a:pt x="26657" y="115270"/>
                </a:cubicBezTo>
                <a:cubicBezTo>
                  <a:pt x="26038" y="115432"/>
                  <a:pt x="25407" y="115062"/>
                  <a:pt x="25245" y="114443"/>
                </a:cubicBezTo>
                <a:cubicBezTo>
                  <a:pt x="25211" y="114316"/>
                  <a:pt x="25199" y="114189"/>
                  <a:pt x="25211" y="114056"/>
                </a:cubicBezTo>
                <a:cubicBezTo>
                  <a:pt x="25621" y="111487"/>
                  <a:pt x="26402" y="108994"/>
                  <a:pt x="27525" y="106652"/>
                </a:cubicBezTo>
                <a:lnTo>
                  <a:pt x="28334" y="104569"/>
                </a:lnTo>
                <a:cubicBezTo>
                  <a:pt x="28542" y="104170"/>
                  <a:pt x="28542" y="103696"/>
                  <a:pt x="28334" y="103297"/>
                </a:cubicBezTo>
                <a:cubicBezTo>
                  <a:pt x="27640" y="102255"/>
                  <a:pt x="23938" y="102140"/>
                  <a:pt x="20930" y="102024"/>
                </a:cubicBezTo>
                <a:lnTo>
                  <a:pt x="16534" y="102024"/>
                </a:lnTo>
                <a:cubicBezTo>
                  <a:pt x="13162" y="101793"/>
                  <a:pt x="10160" y="99820"/>
                  <a:pt x="8609" y="96818"/>
                </a:cubicBezTo>
                <a:cubicBezTo>
                  <a:pt x="7146" y="93602"/>
                  <a:pt x="7522" y="89848"/>
                  <a:pt x="9593" y="86984"/>
                </a:cubicBezTo>
                <a:cubicBezTo>
                  <a:pt x="11791" y="83572"/>
                  <a:pt x="10345" y="82473"/>
                  <a:pt x="7279" y="79927"/>
                </a:cubicBezTo>
                <a:cubicBezTo>
                  <a:pt x="5040" y="78337"/>
                  <a:pt x="3085" y="76382"/>
                  <a:pt x="1495" y="74143"/>
                </a:cubicBezTo>
                <a:cubicBezTo>
                  <a:pt x="-9" y="71771"/>
                  <a:pt x="-414" y="70152"/>
                  <a:pt x="106" y="68937"/>
                </a:cubicBezTo>
                <a:cubicBezTo>
                  <a:pt x="627" y="67722"/>
                  <a:pt x="2594" y="67086"/>
                  <a:pt x="4329" y="66739"/>
                </a:cubicBezTo>
                <a:cubicBezTo>
                  <a:pt x="5393" y="66618"/>
                  <a:pt x="6429" y="66323"/>
                  <a:pt x="7395" y="65871"/>
                </a:cubicBezTo>
                <a:cubicBezTo>
                  <a:pt x="10322" y="64130"/>
                  <a:pt x="12410" y="61267"/>
                  <a:pt x="13179" y="57947"/>
                </a:cubicBezTo>
                <a:cubicBezTo>
                  <a:pt x="13179" y="57195"/>
                  <a:pt x="13179" y="57021"/>
                  <a:pt x="12774" y="56963"/>
                </a:cubicBezTo>
                <a:cubicBezTo>
                  <a:pt x="8338" y="53684"/>
                  <a:pt x="6839" y="47726"/>
                  <a:pt x="9188" y="42734"/>
                </a:cubicBezTo>
                <a:cubicBezTo>
                  <a:pt x="9315" y="42294"/>
                  <a:pt x="9714" y="41987"/>
                  <a:pt x="10171" y="41982"/>
                </a:cubicBezTo>
                <a:cubicBezTo>
                  <a:pt x="16997" y="41345"/>
                  <a:pt x="29665" y="40304"/>
                  <a:pt x="33598" y="40304"/>
                </a:cubicBezTo>
                <a:cubicBezTo>
                  <a:pt x="36548" y="40304"/>
                  <a:pt x="40366" y="32437"/>
                  <a:pt x="42680" y="27694"/>
                </a:cubicBezTo>
                <a:cubicBezTo>
                  <a:pt x="43582" y="25282"/>
                  <a:pt x="44936" y="23061"/>
                  <a:pt x="46671" y="21158"/>
                </a:cubicBezTo>
                <a:cubicBezTo>
                  <a:pt x="46966" y="20926"/>
                  <a:pt x="47336" y="20799"/>
                  <a:pt x="47712" y="20811"/>
                </a:cubicBezTo>
                <a:cubicBezTo>
                  <a:pt x="49563" y="20811"/>
                  <a:pt x="51356" y="23414"/>
                  <a:pt x="54885" y="28793"/>
                </a:cubicBezTo>
                <a:cubicBezTo>
                  <a:pt x="57297" y="32784"/>
                  <a:pt x="60149" y="36486"/>
                  <a:pt x="63388" y="39841"/>
                </a:cubicBezTo>
                <a:cubicBezTo>
                  <a:pt x="64059" y="40564"/>
                  <a:pt x="64956" y="41033"/>
                  <a:pt x="65933" y="41172"/>
                </a:cubicBezTo>
                <a:cubicBezTo>
                  <a:pt x="67611" y="41172"/>
                  <a:pt x="68768" y="36949"/>
                  <a:pt x="68768" y="30933"/>
                </a:cubicBezTo>
                <a:cubicBezTo>
                  <a:pt x="68768" y="24918"/>
                  <a:pt x="75188" y="23240"/>
                  <a:pt x="79816" y="24165"/>
                </a:cubicBezTo>
                <a:cubicBezTo>
                  <a:pt x="81997" y="24680"/>
                  <a:pt x="84229" y="24975"/>
                  <a:pt x="86468" y="25033"/>
                </a:cubicBezTo>
                <a:cubicBezTo>
                  <a:pt x="91385" y="25033"/>
                  <a:pt x="91385" y="22893"/>
                  <a:pt x="91385" y="22083"/>
                </a:cubicBezTo>
                <a:cubicBezTo>
                  <a:pt x="91385" y="18844"/>
                  <a:pt x="92831" y="17166"/>
                  <a:pt x="95781" y="17166"/>
                </a:cubicBezTo>
                <a:cubicBezTo>
                  <a:pt x="96654" y="17207"/>
                  <a:pt x="97522" y="17299"/>
                  <a:pt x="98384" y="17456"/>
                </a:cubicBezTo>
                <a:cubicBezTo>
                  <a:pt x="99118" y="17502"/>
                  <a:pt x="99847" y="17502"/>
                  <a:pt x="100582" y="17456"/>
                </a:cubicBezTo>
                <a:cubicBezTo>
                  <a:pt x="102259" y="17456"/>
                  <a:pt x="103300" y="13811"/>
                  <a:pt x="103532" y="12018"/>
                </a:cubicBezTo>
                <a:cubicBezTo>
                  <a:pt x="103578" y="11758"/>
                  <a:pt x="103694" y="11515"/>
                  <a:pt x="103879" y="11324"/>
                </a:cubicBezTo>
                <a:lnTo>
                  <a:pt x="109143" y="6407"/>
                </a:lnTo>
                <a:cubicBezTo>
                  <a:pt x="109542" y="6130"/>
                  <a:pt x="110074" y="6130"/>
                  <a:pt x="110473" y="6407"/>
                </a:cubicBezTo>
                <a:cubicBezTo>
                  <a:pt x="111642" y="6986"/>
                  <a:pt x="112781" y="7622"/>
                  <a:pt x="113886" y="8316"/>
                </a:cubicBezTo>
                <a:cubicBezTo>
                  <a:pt x="114748" y="8808"/>
                  <a:pt x="115725" y="9062"/>
                  <a:pt x="116720" y="9068"/>
                </a:cubicBezTo>
                <a:cubicBezTo>
                  <a:pt x="121481" y="8530"/>
                  <a:pt x="125958" y="6506"/>
                  <a:pt x="129504" y="3284"/>
                </a:cubicBezTo>
                <a:cubicBezTo>
                  <a:pt x="132396" y="334"/>
                  <a:pt x="144891" y="-129"/>
                  <a:pt x="152063" y="-129"/>
                </a:cubicBezTo>
                <a:cubicBezTo>
                  <a:pt x="153741" y="-129"/>
                  <a:pt x="154377" y="1953"/>
                  <a:pt x="155245" y="5135"/>
                </a:cubicBezTo>
                <a:cubicBezTo>
                  <a:pt x="156112" y="8316"/>
                  <a:pt x="156864" y="10919"/>
                  <a:pt x="158137" y="11555"/>
                </a:cubicBezTo>
                <a:cubicBezTo>
                  <a:pt x="162435" y="13088"/>
                  <a:pt x="166941" y="13985"/>
                  <a:pt x="171499" y="14216"/>
                </a:cubicBezTo>
                <a:cubicBezTo>
                  <a:pt x="171817" y="14228"/>
                  <a:pt x="172112" y="14378"/>
                  <a:pt x="172309" y="14621"/>
                </a:cubicBezTo>
                <a:cubicBezTo>
                  <a:pt x="172396" y="14887"/>
                  <a:pt x="172396" y="15165"/>
                  <a:pt x="172309" y="15431"/>
                </a:cubicBezTo>
                <a:cubicBezTo>
                  <a:pt x="170909" y="27387"/>
                  <a:pt x="170423" y="39436"/>
                  <a:pt x="170863" y="51468"/>
                </a:cubicBezTo>
                <a:cubicBezTo>
                  <a:pt x="170915" y="51954"/>
                  <a:pt x="170625" y="52405"/>
                  <a:pt x="170168" y="52567"/>
                </a:cubicBezTo>
                <a:cubicBezTo>
                  <a:pt x="165310" y="54036"/>
                  <a:pt x="161179" y="57276"/>
                  <a:pt x="158600" y="61649"/>
                </a:cubicBezTo>
                <a:cubicBezTo>
                  <a:pt x="157871" y="63205"/>
                  <a:pt x="157871" y="65009"/>
                  <a:pt x="158600" y="66565"/>
                </a:cubicBezTo>
                <a:cubicBezTo>
                  <a:pt x="160954" y="70707"/>
                  <a:pt x="160954" y="75786"/>
                  <a:pt x="158600" y="79927"/>
                </a:cubicBezTo>
                <a:cubicBezTo>
                  <a:pt x="156124" y="84306"/>
                  <a:pt x="156124" y="89663"/>
                  <a:pt x="158600" y="94042"/>
                </a:cubicBezTo>
                <a:cubicBezTo>
                  <a:pt x="162192" y="99728"/>
                  <a:pt x="167351" y="104251"/>
                  <a:pt x="173466" y="107056"/>
                </a:cubicBezTo>
                <a:cubicBezTo>
                  <a:pt x="182836" y="112841"/>
                  <a:pt x="193364" y="119088"/>
                  <a:pt x="197008" y="133376"/>
                </a:cubicBezTo>
                <a:cubicBezTo>
                  <a:pt x="202793" y="156513"/>
                  <a:pt x="222460" y="176990"/>
                  <a:pt x="238309" y="176180"/>
                </a:cubicBezTo>
                <a:cubicBezTo>
                  <a:pt x="249068" y="175660"/>
                  <a:pt x="250746" y="179825"/>
                  <a:pt x="252654" y="184279"/>
                </a:cubicBezTo>
                <a:cubicBezTo>
                  <a:pt x="253811" y="187680"/>
                  <a:pt x="256096" y="190578"/>
                  <a:pt x="259133" y="192492"/>
                </a:cubicBezTo>
                <a:cubicBezTo>
                  <a:pt x="261447" y="193939"/>
                  <a:pt x="265612" y="196021"/>
                  <a:pt x="270702" y="198277"/>
                </a:cubicBezTo>
                <a:cubicBezTo>
                  <a:pt x="288055" y="207069"/>
                  <a:pt x="314663" y="220373"/>
                  <a:pt x="314027" y="231711"/>
                </a:cubicBezTo>
                <a:cubicBezTo>
                  <a:pt x="314027" y="236281"/>
                  <a:pt x="312928" y="240850"/>
                  <a:pt x="308995" y="240850"/>
                </a:cubicBezTo>
                <a:lnTo>
                  <a:pt x="308995" y="240850"/>
                </a:lnTo>
                <a:cubicBezTo>
                  <a:pt x="304622" y="239890"/>
                  <a:pt x="300538" y="237912"/>
                  <a:pt x="297079" y="235066"/>
                </a:cubicBezTo>
                <a:lnTo>
                  <a:pt x="291699" y="231537"/>
                </a:lnTo>
                <a:cubicBezTo>
                  <a:pt x="288472" y="229455"/>
                  <a:pt x="284723" y="228316"/>
                  <a:pt x="280883" y="228240"/>
                </a:cubicBezTo>
                <a:cubicBezTo>
                  <a:pt x="276295" y="228125"/>
                  <a:pt x="271911" y="230103"/>
                  <a:pt x="268967" y="233620"/>
                </a:cubicBezTo>
                <a:cubicBezTo>
                  <a:pt x="267058" y="235986"/>
                  <a:pt x="266392" y="239127"/>
                  <a:pt x="267173" y="242065"/>
                </a:cubicBezTo>
                <a:cubicBezTo>
                  <a:pt x="268660" y="246189"/>
                  <a:pt x="271494" y="249695"/>
                  <a:pt x="275214" y="252014"/>
                </a:cubicBezTo>
                <a:cubicBezTo>
                  <a:pt x="279379" y="255369"/>
                  <a:pt x="283717" y="258840"/>
                  <a:pt x="279436" y="264451"/>
                </a:cubicBezTo>
                <a:cubicBezTo>
                  <a:pt x="276955" y="267569"/>
                  <a:pt x="273912" y="270195"/>
                  <a:pt x="270471" y="272202"/>
                </a:cubicBezTo>
                <a:cubicBezTo>
                  <a:pt x="267000" y="274400"/>
                  <a:pt x="264686" y="276020"/>
                  <a:pt x="263934" y="280069"/>
                </a:cubicBezTo>
                <a:cubicBezTo>
                  <a:pt x="262546" y="287299"/>
                  <a:pt x="253927" y="303033"/>
                  <a:pt x="248663" y="303033"/>
                </a:cubicBezTo>
                <a:close/>
                <a:moveTo>
                  <a:pt x="64371" y="92306"/>
                </a:moveTo>
                <a:cubicBezTo>
                  <a:pt x="77392" y="93151"/>
                  <a:pt x="89447" y="99456"/>
                  <a:pt x="97574" y="109660"/>
                </a:cubicBezTo>
                <a:lnTo>
                  <a:pt x="100755" y="114403"/>
                </a:lnTo>
                <a:cubicBezTo>
                  <a:pt x="103659" y="117781"/>
                  <a:pt x="105545" y="121911"/>
                  <a:pt x="106193" y="126319"/>
                </a:cubicBezTo>
                <a:cubicBezTo>
                  <a:pt x="107176" y="131756"/>
                  <a:pt x="111572" y="145754"/>
                  <a:pt x="131529" y="158653"/>
                </a:cubicBezTo>
                <a:cubicBezTo>
                  <a:pt x="140234" y="164473"/>
                  <a:pt x="148217" y="171310"/>
                  <a:pt x="155302" y="179015"/>
                </a:cubicBezTo>
                <a:cubicBezTo>
                  <a:pt x="161411" y="187159"/>
                  <a:pt x="170348" y="192730"/>
                  <a:pt x="180349" y="194633"/>
                </a:cubicBezTo>
                <a:cubicBezTo>
                  <a:pt x="185995" y="195408"/>
                  <a:pt x="191218" y="198034"/>
                  <a:pt x="195215" y="202095"/>
                </a:cubicBezTo>
                <a:cubicBezTo>
                  <a:pt x="201670" y="208915"/>
                  <a:pt x="209578" y="214196"/>
                  <a:pt x="218353" y="217539"/>
                </a:cubicBezTo>
                <a:cubicBezTo>
                  <a:pt x="222344" y="219616"/>
                  <a:pt x="225716" y="222710"/>
                  <a:pt x="228129" y="226505"/>
                </a:cubicBezTo>
                <a:cubicBezTo>
                  <a:pt x="230026" y="230114"/>
                  <a:pt x="233404" y="232717"/>
                  <a:pt x="237383" y="233620"/>
                </a:cubicBezTo>
                <a:cubicBezTo>
                  <a:pt x="243631" y="234430"/>
                  <a:pt x="243978" y="238247"/>
                  <a:pt x="244325" y="242007"/>
                </a:cubicBezTo>
                <a:cubicBezTo>
                  <a:pt x="244319" y="244940"/>
                  <a:pt x="245250" y="247797"/>
                  <a:pt x="246986" y="250163"/>
                </a:cubicBezTo>
                <a:cubicBezTo>
                  <a:pt x="253661" y="259158"/>
                  <a:pt x="254326" y="271271"/>
                  <a:pt x="248663" y="280936"/>
                </a:cubicBezTo>
                <a:cubicBezTo>
                  <a:pt x="245164" y="286287"/>
                  <a:pt x="244556" y="293032"/>
                  <a:pt x="247043" y="298926"/>
                </a:cubicBezTo>
                <a:cubicBezTo>
                  <a:pt x="247680" y="300141"/>
                  <a:pt x="248432" y="300893"/>
                  <a:pt x="249010" y="300893"/>
                </a:cubicBezTo>
                <a:cubicBezTo>
                  <a:pt x="251960" y="300893"/>
                  <a:pt x="260579" y="287299"/>
                  <a:pt x="261562" y="279259"/>
                </a:cubicBezTo>
                <a:cubicBezTo>
                  <a:pt x="262396" y="275065"/>
                  <a:pt x="265224" y="271543"/>
                  <a:pt x="269140" y="269830"/>
                </a:cubicBezTo>
                <a:cubicBezTo>
                  <a:pt x="272356" y="267956"/>
                  <a:pt x="275202" y="265509"/>
                  <a:pt x="277527" y="262600"/>
                </a:cubicBezTo>
                <a:cubicBezTo>
                  <a:pt x="280304" y="258898"/>
                  <a:pt x="278279" y="256815"/>
                  <a:pt x="273710" y="253345"/>
                </a:cubicBezTo>
                <a:cubicBezTo>
                  <a:pt x="269608" y="250701"/>
                  <a:pt x="266502" y="246774"/>
                  <a:pt x="264860" y="242181"/>
                </a:cubicBezTo>
                <a:cubicBezTo>
                  <a:pt x="263859" y="238560"/>
                  <a:pt x="264675" y="234678"/>
                  <a:pt x="267058" y="231769"/>
                </a:cubicBezTo>
                <a:cubicBezTo>
                  <a:pt x="270436" y="227708"/>
                  <a:pt x="275486" y="225406"/>
                  <a:pt x="280767" y="225522"/>
                </a:cubicBezTo>
                <a:cubicBezTo>
                  <a:pt x="285036" y="225602"/>
                  <a:pt x="289200" y="226864"/>
                  <a:pt x="292798" y="229166"/>
                </a:cubicBezTo>
                <a:lnTo>
                  <a:pt x="298178" y="232694"/>
                </a:lnTo>
                <a:cubicBezTo>
                  <a:pt x="301301" y="235349"/>
                  <a:pt x="304946" y="237322"/>
                  <a:pt x="308879" y="238479"/>
                </a:cubicBezTo>
                <a:lnTo>
                  <a:pt x="308879" y="238479"/>
                </a:lnTo>
                <a:cubicBezTo>
                  <a:pt x="309573" y="238479"/>
                  <a:pt x="311251" y="238479"/>
                  <a:pt x="311656" y="231480"/>
                </a:cubicBezTo>
                <a:cubicBezTo>
                  <a:pt x="312234" y="221588"/>
                  <a:pt x="285510" y="208342"/>
                  <a:pt x="269545" y="200186"/>
                </a:cubicBezTo>
                <a:cubicBezTo>
                  <a:pt x="264686" y="197756"/>
                  <a:pt x="260463" y="195616"/>
                  <a:pt x="257976" y="194112"/>
                </a:cubicBezTo>
                <a:cubicBezTo>
                  <a:pt x="254540" y="191960"/>
                  <a:pt x="251949" y="188692"/>
                  <a:pt x="250630" y="184857"/>
                </a:cubicBezTo>
                <a:cubicBezTo>
                  <a:pt x="248837" y="180692"/>
                  <a:pt x="247391" y="177684"/>
                  <a:pt x="238425" y="178147"/>
                </a:cubicBezTo>
                <a:lnTo>
                  <a:pt x="237441" y="178147"/>
                </a:lnTo>
                <a:cubicBezTo>
                  <a:pt x="220493" y="178147"/>
                  <a:pt x="201057" y="157786"/>
                  <a:pt x="194926" y="133665"/>
                </a:cubicBezTo>
                <a:cubicBezTo>
                  <a:pt x="191455" y="120245"/>
                  <a:pt x="181332" y="114113"/>
                  <a:pt x="172367" y="108676"/>
                </a:cubicBezTo>
                <a:cubicBezTo>
                  <a:pt x="165847" y="105680"/>
                  <a:pt x="160364" y="100804"/>
                  <a:pt x="156633" y="94678"/>
                </a:cubicBezTo>
                <a:cubicBezTo>
                  <a:pt x="153909" y="89703"/>
                  <a:pt x="153909" y="83687"/>
                  <a:pt x="156633" y="78713"/>
                </a:cubicBezTo>
                <a:cubicBezTo>
                  <a:pt x="158808" y="75196"/>
                  <a:pt x="158941" y="70782"/>
                  <a:pt x="156980" y="67144"/>
                </a:cubicBezTo>
                <a:cubicBezTo>
                  <a:pt x="156003" y="65015"/>
                  <a:pt x="156003" y="62563"/>
                  <a:pt x="156980" y="60434"/>
                </a:cubicBezTo>
                <a:cubicBezTo>
                  <a:pt x="159618" y="55644"/>
                  <a:pt x="163985" y="52046"/>
                  <a:pt x="169185" y="50369"/>
                </a:cubicBezTo>
                <a:cubicBezTo>
                  <a:pt x="168780" y="38783"/>
                  <a:pt x="169226" y="27185"/>
                  <a:pt x="170516" y="15663"/>
                </a:cubicBezTo>
                <a:cubicBezTo>
                  <a:pt x="165992" y="15477"/>
                  <a:pt x="161538" y="14540"/>
                  <a:pt x="157327" y="12886"/>
                </a:cubicBezTo>
                <a:cubicBezTo>
                  <a:pt x="155245" y="11671"/>
                  <a:pt x="154261" y="8201"/>
                  <a:pt x="153451" y="5135"/>
                </a:cubicBezTo>
                <a:cubicBezTo>
                  <a:pt x="153145" y="3880"/>
                  <a:pt x="152723" y="2659"/>
                  <a:pt x="152179" y="1491"/>
                </a:cubicBezTo>
                <a:cubicBezTo>
                  <a:pt x="141362" y="1491"/>
                  <a:pt x="133033" y="2590"/>
                  <a:pt x="131413" y="4267"/>
                </a:cubicBezTo>
                <a:cubicBezTo>
                  <a:pt x="127491" y="7998"/>
                  <a:pt x="122453" y="10341"/>
                  <a:pt x="117067" y="10919"/>
                </a:cubicBezTo>
                <a:cubicBezTo>
                  <a:pt x="115662" y="10937"/>
                  <a:pt x="114274" y="10555"/>
                  <a:pt x="113076" y="9820"/>
                </a:cubicBezTo>
                <a:lnTo>
                  <a:pt x="110473" y="8374"/>
                </a:lnTo>
                <a:lnTo>
                  <a:pt x="106077" y="12481"/>
                </a:lnTo>
                <a:cubicBezTo>
                  <a:pt x="106077" y="14101"/>
                  <a:pt x="104631" y="19480"/>
                  <a:pt x="100929" y="19480"/>
                </a:cubicBezTo>
                <a:cubicBezTo>
                  <a:pt x="100102" y="19538"/>
                  <a:pt x="99269" y="19538"/>
                  <a:pt x="98442" y="19480"/>
                </a:cubicBezTo>
                <a:cubicBezTo>
                  <a:pt x="97672" y="19428"/>
                  <a:pt x="96897" y="19428"/>
                  <a:pt x="96128" y="19480"/>
                </a:cubicBezTo>
                <a:cubicBezTo>
                  <a:pt x="94913" y="19480"/>
                  <a:pt x="93988" y="19480"/>
                  <a:pt x="93988" y="22141"/>
                </a:cubicBezTo>
                <a:cubicBezTo>
                  <a:pt x="93988" y="24802"/>
                  <a:pt x="93062" y="27347"/>
                  <a:pt x="86815" y="27347"/>
                </a:cubicBezTo>
                <a:cubicBezTo>
                  <a:pt x="84443" y="27260"/>
                  <a:pt x="82083" y="26971"/>
                  <a:pt x="79758" y="26479"/>
                </a:cubicBezTo>
                <a:lnTo>
                  <a:pt x="77849" y="26479"/>
                </a:lnTo>
                <a:cubicBezTo>
                  <a:pt x="75477" y="26479"/>
                  <a:pt x="71370" y="27463"/>
                  <a:pt x="71370" y="31165"/>
                </a:cubicBezTo>
                <a:cubicBezTo>
                  <a:pt x="71370" y="35850"/>
                  <a:pt x="70734" y="43659"/>
                  <a:pt x="66280" y="43659"/>
                </a:cubicBezTo>
                <a:cubicBezTo>
                  <a:pt x="64747" y="43526"/>
                  <a:pt x="63313" y="42849"/>
                  <a:pt x="62231" y="41750"/>
                </a:cubicBezTo>
                <a:cubicBezTo>
                  <a:pt x="58818" y="38256"/>
                  <a:pt x="55828" y="34375"/>
                  <a:pt x="53323" y="30181"/>
                </a:cubicBezTo>
                <a:cubicBezTo>
                  <a:pt x="51912" y="27613"/>
                  <a:pt x="50119" y="25270"/>
                  <a:pt x="48001" y="23240"/>
                </a:cubicBezTo>
                <a:cubicBezTo>
                  <a:pt x="46914" y="25114"/>
                  <a:pt x="45925" y="27046"/>
                  <a:pt x="45051" y="29025"/>
                </a:cubicBezTo>
                <a:cubicBezTo>
                  <a:pt x="41870" y="35503"/>
                  <a:pt x="38284" y="42849"/>
                  <a:pt x="33945" y="42849"/>
                </a:cubicBezTo>
                <a:cubicBezTo>
                  <a:pt x="30706" y="42849"/>
                  <a:pt x="20178" y="43659"/>
                  <a:pt x="11502" y="44469"/>
                </a:cubicBezTo>
                <a:cubicBezTo>
                  <a:pt x="9830" y="48304"/>
                  <a:pt x="10975" y="52781"/>
                  <a:pt x="14278" y="55344"/>
                </a:cubicBezTo>
                <a:cubicBezTo>
                  <a:pt x="15325" y="55939"/>
                  <a:pt x="15915" y="57096"/>
                  <a:pt x="15782" y="58294"/>
                </a:cubicBezTo>
                <a:cubicBezTo>
                  <a:pt x="14966" y="62441"/>
                  <a:pt x="12421" y="66039"/>
                  <a:pt x="8783" y="68185"/>
                </a:cubicBezTo>
                <a:cubicBezTo>
                  <a:pt x="7597" y="68683"/>
                  <a:pt x="6353" y="69035"/>
                  <a:pt x="5081" y="69226"/>
                </a:cubicBezTo>
                <a:cubicBezTo>
                  <a:pt x="4040" y="69226"/>
                  <a:pt x="2709" y="69689"/>
                  <a:pt x="2536" y="70094"/>
                </a:cubicBezTo>
                <a:cubicBezTo>
                  <a:pt x="2362" y="70499"/>
                  <a:pt x="2536" y="70904"/>
                  <a:pt x="3750" y="73218"/>
                </a:cubicBezTo>
                <a:cubicBezTo>
                  <a:pt x="5121" y="75207"/>
                  <a:pt x="6828" y="76948"/>
                  <a:pt x="8783" y="78366"/>
                </a:cubicBezTo>
                <a:cubicBezTo>
                  <a:pt x="11791" y="80795"/>
                  <a:pt x="14568" y="83282"/>
                  <a:pt x="11617" y="88373"/>
                </a:cubicBezTo>
                <a:cubicBezTo>
                  <a:pt x="9986" y="90582"/>
                  <a:pt x="9657" y="93492"/>
                  <a:pt x="10750" y="96008"/>
                </a:cubicBezTo>
                <a:cubicBezTo>
                  <a:pt x="11964" y="98305"/>
                  <a:pt x="14290" y="99797"/>
                  <a:pt x="16881" y="99942"/>
                </a:cubicBezTo>
                <a:cubicBezTo>
                  <a:pt x="18211" y="99942"/>
                  <a:pt x="19658" y="99942"/>
                  <a:pt x="21104" y="99942"/>
                </a:cubicBezTo>
                <a:cubicBezTo>
                  <a:pt x="25326" y="99942"/>
                  <a:pt x="28971" y="99942"/>
                  <a:pt x="30359" y="102255"/>
                </a:cubicBezTo>
                <a:cubicBezTo>
                  <a:pt x="30897" y="103291"/>
                  <a:pt x="30897" y="104517"/>
                  <a:pt x="30359" y="105552"/>
                </a:cubicBezTo>
                <a:lnTo>
                  <a:pt x="29491" y="107693"/>
                </a:lnTo>
                <a:cubicBezTo>
                  <a:pt x="28745" y="109341"/>
                  <a:pt x="28126" y="111042"/>
                  <a:pt x="27640" y="112783"/>
                </a:cubicBezTo>
                <a:lnTo>
                  <a:pt x="30764" y="112089"/>
                </a:lnTo>
                <a:cubicBezTo>
                  <a:pt x="33575" y="111644"/>
                  <a:pt x="36305" y="110787"/>
                  <a:pt x="38862" y="109544"/>
                </a:cubicBezTo>
                <a:cubicBezTo>
                  <a:pt x="41372" y="108086"/>
                  <a:pt x="43391" y="105911"/>
                  <a:pt x="44646" y="103297"/>
                </a:cubicBezTo>
                <a:cubicBezTo>
                  <a:pt x="47302" y="98137"/>
                  <a:pt x="52149" y="94452"/>
                  <a:pt x="57835" y="93289"/>
                </a:cubicBezTo>
                <a:cubicBezTo>
                  <a:pt x="59952" y="92584"/>
                  <a:pt x="62144" y="92156"/>
                  <a:pt x="64371" y="92017"/>
                </a:cubicBezTo>
                <a:close/>
                <a:moveTo>
                  <a:pt x="57777" y="275557"/>
                </a:moveTo>
                <a:lnTo>
                  <a:pt x="57777" y="275557"/>
                </a:lnTo>
                <a:cubicBezTo>
                  <a:pt x="55885" y="275511"/>
                  <a:pt x="54133" y="274539"/>
                  <a:pt x="53092" y="272954"/>
                </a:cubicBezTo>
                <a:cubicBezTo>
                  <a:pt x="48927" y="267806"/>
                  <a:pt x="47596" y="255601"/>
                  <a:pt x="49910" y="245536"/>
                </a:cubicBezTo>
                <a:cubicBezTo>
                  <a:pt x="50842" y="237877"/>
                  <a:pt x="48603" y="230166"/>
                  <a:pt x="43721" y="224191"/>
                </a:cubicBezTo>
                <a:cubicBezTo>
                  <a:pt x="40482" y="218812"/>
                  <a:pt x="37589" y="214184"/>
                  <a:pt x="39961" y="210077"/>
                </a:cubicBezTo>
                <a:cubicBezTo>
                  <a:pt x="40927" y="208215"/>
                  <a:pt x="42894" y="207087"/>
                  <a:pt x="44993" y="207185"/>
                </a:cubicBezTo>
                <a:cubicBezTo>
                  <a:pt x="46098" y="207220"/>
                  <a:pt x="47203" y="207335"/>
                  <a:pt x="48291" y="207532"/>
                </a:cubicBezTo>
                <a:cubicBezTo>
                  <a:pt x="49604" y="207810"/>
                  <a:pt x="50940" y="207960"/>
                  <a:pt x="52282" y="207995"/>
                </a:cubicBezTo>
                <a:cubicBezTo>
                  <a:pt x="55128" y="207972"/>
                  <a:pt x="57870" y="206901"/>
                  <a:pt x="59975" y="204987"/>
                </a:cubicBezTo>
                <a:cubicBezTo>
                  <a:pt x="63226" y="202326"/>
                  <a:pt x="67350" y="200961"/>
                  <a:pt x="71544" y="201169"/>
                </a:cubicBezTo>
                <a:cubicBezTo>
                  <a:pt x="76923" y="200949"/>
                  <a:pt x="82118" y="203182"/>
                  <a:pt x="85658" y="207243"/>
                </a:cubicBezTo>
                <a:cubicBezTo>
                  <a:pt x="87631" y="209811"/>
                  <a:pt x="88174" y="213206"/>
                  <a:pt x="87104" y="216267"/>
                </a:cubicBezTo>
                <a:cubicBezTo>
                  <a:pt x="85704" y="223306"/>
                  <a:pt x="85201" y="230502"/>
                  <a:pt x="85600" y="237669"/>
                </a:cubicBezTo>
                <a:cubicBezTo>
                  <a:pt x="85600" y="247618"/>
                  <a:pt x="85600" y="256989"/>
                  <a:pt x="82535" y="260807"/>
                </a:cubicBezTo>
                <a:cubicBezTo>
                  <a:pt x="80533" y="263439"/>
                  <a:pt x="77664" y="265284"/>
                  <a:pt x="74436" y="266013"/>
                </a:cubicBezTo>
                <a:cubicBezTo>
                  <a:pt x="70208" y="267088"/>
                  <a:pt x="66384" y="269379"/>
                  <a:pt x="63446" y="272607"/>
                </a:cubicBezTo>
                <a:cubicBezTo>
                  <a:pt x="62052" y="274342"/>
                  <a:pt x="59998" y="275412"/>
                  <a:pt x="57777" y="275557"/>
                </a:cubicBezTo>
                <a:close/>
                <a:moveTo>
                  <a:pt x="44993" y="209441"/>
                </a:moveTo>
                <a:cubicBezTo>
                  <a:pt x="43698" y="209342"/>
                  <a:pt x="42477" y="210060"/>
                  <a:pt x="41928" y="211234"/>
                </a:cubicBezTo>
                <a:cubicBezTo>
                  <a:pt x="40250" y="214126"/>
                  <a:pt x="42622" y="218060"/>
                  <a:pt x="45687" y="222803"/>
                </a:cubicBezTo>
                <a:cubicBezTo>
                  <a:pt x="50905" y="229310"/>
                  <a:pt x="53242" y="237669"/>
                  <a:pt x="52166" y="245941"/>
                </a:cubicBezTo>
                <a:cubicBezTo>
                  <a:pt x="49968" y="255369"/>
                  <a:pt x="51183" y="266822"/>
                  <a:pt x="54827" y="271450"/>
                </a:cubicBezTo>
                <a:cubicBezTo>
                  <a:pt x="55486" y="272456"/>
                  <a:pt x="56580" y="273098"/>
                  <a:pt x="57777" y="273185"/>
                </a:cubicBezTo>
                <a:lnTo>
                  <a:pt x="57777" y="273185"/>
                </a:lnTo>
                <a:cubicBezTo>
                  <a:pt x="59240" y="273018"/>
                  <a:pt x="60588" y="272289"/>
                  <a:pt x="61537" y="271161"/>
                </a:cubicBezTo>
                <a:cubicBezTo>
                  <a:pt x="64765" y="267696"/>
                  <a:pt x="68889" y="265197"/>
                  <a:pt x="73453" y="263930"/>
                </a:cubicBezTo>
                <a:cubicBezTo>
                  <a:pt x="76247" y="263375"/>
                  <a:pt x="78740" y="261813"/>
                  <a:pt x="80452" y="259534"/>
                </a:cubicBezTo>
                <a:cubicBezTo>
                  <a:pt x="83055" y="256121"/>
                  <a:pt x="83055" y="246692"/>
                  <a:pt x="82997" y="237611"/>
                </a:cubicBezTo>
                <a:cubicBezTo>
                  <a:pt x="82621" y="230184"/>
                  <a:pt x="83188" y="222739"/>
                  <a:pt x="84675" y="215457"/>
                </a:cubicBezTo>
                <a:cubicBezTo>
                  <a:pt x="85496" y="213085"/>
                  <a:pt x="85085" y="210459"/>
                  <a:pt x="83576" y="208458"/>
                </a:cubicBezTo>
                <a:cubicBezTo>
                  <a:pt x="80446" y="204987"/>
                  <a:pt x="75923" y="203095"/>
                  <a:pt x="71255" y="203309"/>
                </a:cubicBezTo>
                <a:cubicBezTo>
                  <a:pt x="67715" y="203182"/>
                  <a:pt x="64244" y="204327"/>
                  <a:pt x="61479" y="206549"/>
                </a:cubicBezTo>
                <a:cubicBezTo>
                  <a:pt x="58963" y="208839"/>
                  <a:pt x="55683" y="210118"/>
                  <a:pt x="52282" y="210135"/>
                </a:cubicBezTo>
                <a:cubicBezTo>
                  <a:pt x="50824" y="210112"/>
                  <a:pt x="49372" y="209956"/>
                  <a:pt x="47943" y="209672"/>
                </a:cubicBezTo>
                <a:cubicBezTo>
                  <a:pt x="46949" y="209516"/>
                  <a:pt x="45942" y="209441"/>
                  <a:pt x="44936" y="20944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6" name="Forma libre: forma 445">
            <a:extLst>
              <a:ext uri="{FF2B5EF4-FFF2-40B4-BE49-F238E27FC236}">
                <a16:creationId xmlns:a16="http://schemas.microsoft.com/office/drawing/2014/main" id="{70F2DEFB-240E-3851-887F-5A337291AD3D}"/>
              </a:ext>
            </a:extLst>
          </p:cNvPr>
          <p:cNvSpPr/>
          <p:nvPr/>
        </p:nvSpPr>
        <p:spPr>
          <a:xfrm>
            <a:off x="6682898" y="3204535"/>
            <a:ext cx="35156" cy="45986"/>
          </a:xfrm>
          <a:custGeom>
            <a:avLst/>
            <a:gdLst>
              <a:gd name="connsiteX0" fmla="*/ 21729 w 35156"/>
              <a:gd name="connsiteY0" fmla="*/ 45799 h 45986"/>
              <a:gd name="connsiteX1" fmla="*/ 21208 w 35156"/>
              <a:gd name="connsiteY1" fmla="*/ 45799 h 45986"/>
              <a:gd name="connsiteX2" fmla="*/ 20514 w 35156"/>
              <a:gd name="connsiteY2" fmla="*/ 45452 h 45986"/>
              <a:gd name="connsiteX3" fmla="*/ 19762 w 35156"/>
              <a:gd name="connsiteY3" fmla="*/ 45047 h 45986"/>
              <a:gd name="connsiteX4" fmla="*/ 2987 w 35156"/>
              <a:gd name="connsiteY4" fmla="*/ 32784 h 45986"/>
              <a:gd name="connsiteX5" fmla="*/ 327 w 35156"/>
              <a:gd name="connsiteY5" fmla="*/ 30586 h 45986"/>
              <a:gd name="connsiteX6" fmla="*/ -78 w 35156"/>
              <a:gd name="connsiteY6" fmla="*/ 29487 h 45986"/>
              <a:gd name="connsiteX7" fmla="*/ 1021 w 35156"/>
              <a:gd name="connsiteY7" fmla="*/ 21505 h 45986"/>
              <a:gd name="connsiteX8" fmla="*/ 11664 w 35156"/>
              <a:gd name="connsiteY8" fmla="*/ 334 h 45986"/>
              <a:gd name="connsiteX9" fmla="*/ 12532 w 35156"/>
              <a:gd name="connsiteY9" fmla="*/ -129 h 45986"/>
              <a:gd name="connsiteX10" fmla="*/ 13399 w 35156"/>
              <a:gd name="connsiteY10" fmla="*/ 218 h 45986"/>
              <a:gd name="connsiteX11" fmla="*/ 34917 w 35156"/>
              <a:gd name="connsiteY11" fmla="*/ 24802 h 45986"/>
              <a:gd name="connsiteX12" fmla="*/ 34917 w 35156"/>
              <a:gd name="connsiteY12" fmla="*/ 25901 h 45986"/>
              <a:gd name="connsiteX13" fmla="*/ 34108 w 35156"/>
              <a:gd name="connsiteY13" fmla="*/ 26595 h 45986"/>
              <a:gd name="connsiteX14" fmla="*/ 22539 w 35156"/>
              <a:gd name="connsiteY14" fmla="*/ 45047 h 45986"/>
              <a:gd name="connsiteX15" fmla="*/ 21845 w 35156"/>
              <a:gd name="connsiteY15" fmla="*/ 45857 h 45986"/>
              <a:gd name="connsiteX16" fmla="*/ 2293 w 35156"/>
              <a:gd name="connsiteY16" fmla="*/ 29140 h 45986"/>
              <a:gd name="connsiteX17" fmla="*/ 4375 w 35156"/>
              <a:gd name="connsiteY17" fmla="*/ 30876 h 45986"/>
              <a:gd name="connsiteX18" fmla="*/ 20803 w 35156"/>
              <a:gd name="connsiteY18" fmla="*/ 42849 h 45986"/>
              <a:gd name="connsiteX19" fmla="*/ 20803 w 35156"/>
              <a:gd name="connsiteY19" fmla="*/ 42849 h 45986"/>
              <a:gd name="connsiteX20" fmla="*/ 32025 w 35156"/>
              <a:gd name="connsiteY20" fmla="*/ 24744 h 45986"/>
              <a:gd name="connsiteX21" fmla="*/ 12532 w 35156"/>
              <a:gd name="connsiteY21" fmla="*/ 2474 h 45986"/>
              <a:gd name="connsiteX22" fmla="*/ 3045 w 35156"/>
              <a:gd name="connsiteY22" fmla="*/ 20753 h 45986"/>
              <a:gd name="connsiteX23" fmla="*/ 2293 w 35156"/>
              <a:gd name="connsiteY23" fmla="*/ 29140 h 45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56" h="45986">
                <a:moveTo>
                  <a:pt x="21729" y="45799"/>
                </a:moveTo>
                <a:cubicBezTo>
                  <a:pt x="21561" y="45851"/>
                  <a:pt x="21376" y="45851"/>
                  <a:pt x="21208" y="45799"/>
                </a:cubicBezTo>
                <a:lnTo>
                  <a:pt x="20514" y="45452"/>
                </a:lnTo>
                <a:lnTo>
                  <a:pt x="19762" y="45047"/>
                </a:lnTo>
                <a:cubicBezTo>
                  <a:pt x="13821" y="41461"/>
                  <a:pt x="8211" y="37354"/>
                  <a:pt x="2987" y="32784"/>
                </a:cubicBezTo>
                <a:lnTo>
                  <a:pt x="327" y="30586"/>
                </a:lnTo>
                <a:cubicBezTo>
                  <a:pt x="-21" y="30338"/>
                  <a:pt x="-182" y="29904"/>
                  <a:pt x="-78" y="29487"/>
                </a:cubicBezTo>
                <a:cubicBezTo>
                  <a:pt x="697" y="26902"/>
                  <a:pt x="1073" y="24206"/>
                  <a:pt x="1021" y="21505"/>
                </a:cubicBezTo>
                <a:cubicBezTo>
                  <a:pt x="153" y="17282"/>
                  <a:pt x="7615" y="5829"/>
                  <a:pt x="11664" y="334"/>
                </a:cubicBezTo>
                <a:cubicBezTo>
                  <a:pt x="11901" y="91"/>
                  <a:pt x="12202" y="-71"/>
                  <a:pt x="12532" y="-129"/>
                </a:cubicBezTo>
                <a:cubicBezTo>
                  <a:pt x="12532" y="-129"/>
                  <a:pt x="13168" y="-129"/>
                  <a:pt x="13399" y="218"/>
                </a:cubicBezTo>
                <a:cubicBezTo>
                  <a:pt x="19184" y="6002"/>
                  <a:pt x="28728" y="17224"/>
                  <a:pt x="34917" y="24802"/>
                </a:cubicBezTo>
                <a:cubicBezTo>
                  <a:pt x="35091" y="25149"/>
                  <a:pt x="35091" y="25554"/>
                  <a:pt x="34917" y="25901"/>
                </a:cubicBezTo>
                <a:cubicBezTo>
                  <a:pt x="34808" y="26271"/>
                  <a:pt x="34489" y="26543"/>
                  <a:pt x="34108" y="26595"/>
                </a:cubicBezTo>
                <a:cubicBezTo>
                  <a:pt x="30290" y="27521"/>
                  <a:pt x="24274" y="36197"/>
                  <a:pt x="22539" y="45047"/>
                </a:cubicBezTo>
                <a:cubicBezTo>
                  <a:pt x="22423" y="45400"/>
                  <a:pt x="22174" y="45689"/>
                  <a:pt x="21845" y="45857"/>
                </a:cubicBezTo>
                <a:close/>
                <a:moveTo>
                  <a:pt x="2293" y="29140"/>
                </a:moveTo>
                <a:lnTo>
                  <a:pt x="4375" y="30876"/>
                </a:lnTo>
                <a:cubicBezTo>
                  <a:pt x="9501" y="35324"/>
                  <a:pt x="14996" y="39332"/>
                  <a:pt x="20803" y="42849"/>
                </a:cubicBezTo>
                <a:lnTo>
                  <a:pt x="20803" y="42849"/>
                </a:lnTo>
                <a:cubicBezTo>
                  <a:pt x="22203" y="35648"/>
                  <a:pt x="26200" y="29204"/>
                  <a:pt x="32025" y="24744"/>
                </a:cubicBezTo>
                <a:cubicBezTo>
                  <a:pt x="26241" y="17687"/>
                  <a:pt x="18142" y="8258"/>
                  <a:pt x="12532" y="2474"/>
                </a:cubicBezTo>
                <a:cubicBezTo>
                  <a:pt x="6747" y="10399"/>
                  <a:pt x="2582" y="18439"/>
                  <a:pt x="3045" y="20753"/>
                </a:cubicBezTo>
                <a:cubicBezTo>
                  <a:pt x="3253" y="23570"/>
                  <a:pt x="2999" y="26404"/>
                  <a:pt x="2293" y="29140"/>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7" name="Forma libre: forma 446">
            <a:extLst>
              <a:ext uri="{FF2B5EF4-FFF2-40B4-BE49-F238E27FC236}">
                <a16:creationId xmlns:a16="http://schemas.microsoft.com/office/drawing/2014/main" id="{25336F4D-B318-0C23-9E7D-5EAE45D93E84}"/>
              </a:ext>
            </a:extLst>
          </p:cNvPr>
          <p:cNvSpPr/>
          <p:nvPr/>
        </p:nvSpPr>
        <p:spPr>
          <a:xfrm>
            <a:off x="6691080" y="3107212"/>
            <a:ext cx="111669" cy="138508"/>
          </a:xfrm>
          <a:custGeom>
            <a:avLst/>
            <a:gdLst>
              <a:gd name="connsiteX0" fmla="*/ 51956 w 111669"/>
              <a:gd name="connsiteY0" fmla="*/ 138032 h 138508"/>
              <a:gd name="connsiteX1" fmla="*/ 51262 w 111669"/>
              <a:gd name="connsiteY1" fmla="*/ 138032 h 138508"/>
              <a:gd name="connsiteX2" fmla="*/ 26678 w 111669"/>
              <a:gd name="connsiteY2" fmla="*/ 123802 h 138508"/>
              <a:gd name="connsiteX3" fmla="*/ 26099 w 111669"/>
              <a:gd name="connsiteY3" fmla="*/ 123802 h 138508"/>
              <a:gd name="connsiteX4" fmla="*/ 25000 w 111669"/>
              <a:gd name="connsiteY4" fmla="*/ 123455 h 138508"/>
              <a:gd name="connsiteX5" fmla="*/ 3598 w 111669"/>
              <a:gd name="connsiteY5" fmla="*/ 98987 h 138508"/>
              <a:gd name="connsiteX6" fmla="*/ 3598 w 111669"/>
              <a:gd name="connsiteY6" fmla="*/ 97541 h 138508"/>
              <a:gd name="connsiteX7" fmla="*/ 14704 w 111669"/>
              <a:gd name="connsiteY7" fmla="*/ 86898 h 138508"/>
              <a:gd name="connsiteX8" fmla="*/ 15803 w 111669"/>
              <a:gd name="connsiteY8" fmla="*/ 46407 h 138508"/>
              <a:gd name="connsiteX9" fmla="*/ 13952 w 111669"/>
              <a:gd name="connsiteY9" fmla="*/ 38077 h 138508"/>
              <a:gd name="connsiteX10" fmla="*/ 7762 w 111669"/>
              <a:gd name="connsiteY10" fmla="*/ 27434 h 138508"/>
              <a:gd name="connsiteX11" fmla="*/ -104 w 111669"/>
              <a:gd name="connsiteY11" fmla="*/ 10080 h 138508"/>
              <a:gd name="connsiteX12" fmla="*/ 706 w 111669"/>
              <a:gd name="connsiteY12" fmla="*/ 8866 h 138508"/>
              <a:gd name="connsiteX13" fmla="*/ 29165 w 111669"/>
              <a:gd name="connsiteY13" fmla="*/ -42 h 138508"/>
              <a:gd name="connsiteX14" fmla="*/ 29917 w 111669"/>
              <a:gd name="connsiteY14" fmla="*/ -42 h 138508"/>
              <a:gd name="connsiteX15" fmla="*/ 41486 w 111669"/>
              <a:gd name="connsiteY15" fmla="*/ 3486 h 138508"/>
              <a:gd name="connsiteX16" fmla="*/ 49121 w 111669"/>
              <a:gd name="connsiteY16" fmla="*/ 4701 h 138508"/>
              <a:gd name="connsiteX17" fmla="*/ 50047 w 111669"/>
              <a:gd name="connsiteY17" fmla="*/ 5453 h 138508"/>
              <a:gd name="connsiteX18" fmla="*/ 50047 w 111669"/>
              <a:gd name="connsiteY18" fmla="*/ 6610 h 138508"/>
              <a:gd name="connsiteX19" fmla="*/ 49584 w 111669"/>
              <a:gd name="connsiteY19" fmla="*/ 7246 h 138508"/>
              <a:gd name="connsiteX20" fmla="*/ 53460 w 111669"/>
              <a:gd name="connsiteY20" fmla="*/ 13031 h 138508"/>
              <a:gd name="connsiteX21" fmla="*/ 59244 w 111669"/>
              <a:gd name="connsiteY21" fmla="*/ 22864 h 138508"/>
              <a:gd name="connsiteX22" fmla="*/ 65896 w 111669"/>
              <a:gd name="connsiteY22" fmla="*/ 31373 h 138508"/>
              <a:gd name="connsiteX23" fmla="*/ 67169 w 111669"/>
              <a:gd name="connsiteY23" fmla="*/ 31425 h 138508"/>
              <a:gd name="connsiteX24" fmla="*/ 70061 w 111669"/>
              <a:gd name="connsiteY24" fmla="*/ 32640 h 138508"/>
              <a:gd name="connsiteX25" fmla="*/ 70871 w 111669"/>
              <a:gd name="connsiteY25" fmla="*/ 42010 h 138508"/>
              <a:gd name="connsiteX26" fmla="*/ 70871 w 111669"/>
              <a:gd name="connsiteY26" fmla="*/ 48431 h 138508"/>
              <a:gd name="connsiteX27" fmla="*/ 76655 w 111669"/>
              <a:gd name="connsiteY27" fmla="*/ 49415 h 138508"/>
              <a:gd name="connsiteX28" fmla="*/ 101875 w 111669"/>
              <a:gd name="connsiteY28" fmla="*/ 58612 h 138508"/>
              <a:gd name="connsiteX29" fmla="*/ 102916 w 111669"/>
              <a:gd name="connsiteY29" fmla="*/ 64107 h 138508"/>
              <a:gd name="connsiteX30" fmla="*/ 100776 w 111669"/>
              <a:gd name="connsiteY30" fmla="*/ 74056 h 138508"/>
              <a:gd name="connsiteX31" fmla="*/ 97016 w 111669"/>
              <a:gd name="connsiteY31" fmla="*/ 81345 h 138508"/>
              <a:gd name="connsiteX32" fmla="*/ 100892 w 111669"/>
              <a:gd name="connsiteY32" fmla="*/ 91120 h 138508"/>
              <a:gd name="connsiteX33" fmla="*/ 111362 w 111669"/>
              <a:gd name="connsiteY33" fmla="*/ 108936 h 138508"/>
              <a:gd name="connsiteX34" fmla="*/ 108643 w 111669"/>
              <a:gd name="connsiteY34" fmla="*/ 110614 h 138508"/>
              <a:gd name="connsiteX35" fmla="*/ 103263 w 111669"/>
              <a:gd name="connsiteY35" fmla="*/ 113564 h 138508"/>
              <a:gd name="connsiteX36" fmla="*/ 100660 w 111669"/>
              <a:gd name="connsiteY36" fmla="*/ 120216 h 138508"/>
              <a:gd name="connsiteX37" fmla="*/ 100660 w 111669"/>
              <a:gd name="connsiteY37" fmla="*/ 126405 h 138508"/>
              <a:gd name="connsiteX38" fmla="*/ 100660 w 111669"/>
              <a:gd name="connsiteY38" fmla="*/ 128777 h 138508"/>
              <a:gd name="connsiteX39" fmla="*/ 99677 w 111669"/>
              <a:gd name="connsiteY39" fmla="*/ 129818 h 138508"/>
              <a:gd name="connsiteX40" fmla="*/ 52708 w 111669"/>
              <a:gd name="connsiteY40" fmla="*/ 138379 h 138508"/>
              <a:gd name="connsiteX41" fmla="*/ 26678 w 111669"/>
              <a:gd name="connsiteY41" fmla="*/ 121315 h 138508"/>
              <a:gd name="connsiteX42" fmla="*/ 52187 w 111669"/>
              <a:gd name="connsiteY42" fmla="*/ 135660 h 138508"/>
              <a:gd name="connsiteX43" fmla="*/ 97942 w 111669"/>
              <a:gd name="connsiteY43" fmla="*/ 127273 h 138508"/>
              <a:gd name="connsiteX44" fmla="*/ 97942 w 111669"/>
              <a:gd name="connsiteY44" fmla="*/ 125711 h 138508"/>
              <a:gd name="connsiteX45" fmla="*/ 97942 w 111669"/>
              <a:gd name="connsiteY45" fmla="*/ 119927 h 138508"/>
              <a:gd name="connsiteX46" fmla="*/ 101065 w 111669"/>
              <a:gd name="connsiteY46" fmla="*/ 111482 h 138508"/>
              <a:gd name="connsiteX47" fmla="*/ 108180 w 111669"/>
              <a:gd name="connsiteY47" fmla="*/ 107722 h 138508"/>
              <a:gd name="connsiteX48" fmla="*/ 108817 w 111669"/>
              <a:gd name="connsiteY48" fmla="*/ 107722 h 138508"/>
              <a:gd name="connsiteX49" fmla="*/ 98925 w 111669"/>
              <a:gd name="connsiteY49" fmla="*/ 92393 h 138508"/>
              <a:gd name="connsiteX50" fmla="*/ 94298 w 111669"/>
              <a:gd name="connsiteY50" fmla="*/ 80824 h 138508"/>
              <a:gd name="connsiteX51" fmla="*/ 99041 w 111669"/>
              <a:gd name="connsiteY51" fmla="*/ 71858 h 138508"/>
              <a:gd name="connsiteX52" fmla="*/ 100313 w 111669"/>
              <a:gd name="connsiteY52" fmla="*/ 64396 h 138508"/>
              <a:gd name="connsiteX53" fmla="*/ 99157 w 111669"/>
              <a:gd name="connsiteY53" fmla="*/ 58265 h 138508"/>
              <a:gd name="connsiteX54" fmla="*/ 76019 w 111669"/>
              <a:gd name="connsiteY54" fmla="*/ 51323 h 138508"/>
              <a:gd name="connsiteX55" fmla="*/ 69830 w 111669"/>
              <a:gd name="connsiteY55" fmla="*/ 50282 h 138508"/>
              <a:gd name="connsiteX56" fmla="*/ 67979 w 111669"/>
              <a:gd name="connsiteY56" fmla="*/ 41432 h 138508"/>
              <a:gd name="connsiteX57" fmla="*/ 67689 w 111669"/>
              <a:gd name="connsiteY57" fmla="*/ 33797 h 138508"/>
              <a:gd name="connsiteX58" fmla="*/ 66532 w 111669"/>
              <a:gd name="connsiteY58" fmla="*/ 33334 h 138508"/>
              <a:gd name="connsiteX59" fmla="*/ 56294 w 111669"/>
              <a:gd name="connsiteY59" fmla="*/ 24032 h 138508"/>
              <a:gd name="connsiteX60" fmla="*/ 56352 w 111669"/>
              <a:gd name="connsiteY60" fmla="*/ 22517 h 138508"/>
              <a:gd name="connsiteX61" fmla="*/ 51030 w 111669"/>
              <a:gd name="connsiteY61" fmla="*/ 14130 h 138508"/>
              <a:gd name="connsiteX62" fmla="*/ 46692 w 111669"/>
              <a:gd name="connsiteY62" fmla="*/ 6552 h 138508"/>
              <a:gd name="connsiteX63" fmla="*/ 46692 w 111669"/>
              <a:gd name="connsiteY63" fmla="*/ 6552 h 138508"/>
              <a:gd name="connsiteX64" fmla="*/ 40908 w 111669"/>
              <a:gd name="connsiteY64" fmla="*/ 5569 h 138508"/>
              <a:gd name="connsiteX65" fmla="*/ 29339 w 111669"/>
              <a:gd name="connsiteY65" fmla="*/ 2098 h 138508"/>
              <a:gd name="connsiteX66" fmla="*/ 2094 w 111669"/>
              <a:gd name="connsiteY66" fmla="*/ 10659 h 138508"/>
              <a:gd name="connsiteX67" fmla="*/ 8399 w 111669"/>
              <a:gd name="connsiteY67" fmla="*/ 25294 h 138508"/>
              <a:gd name="connsiteX68" fmla="*/ 16034 w 111669"/>
              <a:gd name="connsiteY68" fmla="*/ 37788 h 138508"/>
              <a:gd name="connsiteX69" fmla="*/ 17712 w 111669"/>
              <a:gd name="connsiteY69" fmla="*/ 45481 h 138508"/>
              <a:gd name="connsiteX70" fmla="*/ 16555 w 111669"/>
              <a:gd name="connsiteY70" fmla="*/ 88055 h 138508"/>
              <a:gd name="connsiteX71" fmla="*/ 14531 w 111669"/>
              <a:gd name="connsiteY71" fmla="*/ 89327 h 138508"/>
              <a:gd name="connsiteX72" fmla="*/ 5854 w 111669"/>
              <a:gd name="connsiteY72" fmla="*/ 98293 h 138508"/>
              <a:gd name="connsiteX73" fmla="*/ 26157 w 111669"/>
              <a:gd name="connsiteY73" fmla="*/ 121431 h 13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11669" h="138508">
                <a:moveTo>
                  <a:pt x="51956" y="138032"/>
                </a:moveTo>
                <a:cubicBezTo>
                  <a:pt x="51724" y="138084"/>
                  <a:pt x="51493" y="138084"/>
                  <a:pt x="51262" y="138032"/>
                </a:cubicBezTo>
                <a:cubicBezTo>
                  <a:pt x="43395" y="132248"/>
                  <a:pt x="30380" y="123802"/>
                  <a:pt x="26678" y="123802"/>
                </a:cubicBezTo>
                <a:lnTo>
                  <a:pt x="26099" y="123802"/>
                </a:lnTo>
                <a:cubicBezTo>
                  <a:pt x="25694" y="123935"/>
                  <a:pt x="25255" y="123797"/>
                  <a:pt x="25000" y="123455"/>
                </a:cubicBezTo>
                <a:cubicBezTo>
                  <a:pt x="18811" y="115878"/>
                  <a:pt x="9556" y="104945"/>
                  <a:pt x="3598" y="98987"/>
                </a:cubicBezTo>
                <a:cubicBezTo>
                  <a:pt x="3262" y="98565"/>
                  <a:pt x="3262" y="97963"/>
                  <a:pt x="3598" y="97541"/>
                </a:cubicBezTo>
                <a:cubicBezTo>
                  <a:pt x="6490" y="93550"/>
                  <a:pt x="11812" y="86898"/>
                  <a:pt x="14704" y="86898"/>
                </a:cubicBezTo>
                <a:cubicBezTo>
                  <a:pt x="17423" y="85278"/>
                  <a:pt x="19100" y="53869"/>
                  <a:pt x="15803" y="46407"/>
                </a:cubicBezTo>
                <a:cubicBezTo>
                  <a:pt x="14814" y="43729"/>
                  <a:pt x="14189" y="40923"/>
                  <a:pt x="13952" y="38077"/>
                </a:cubicBezTo>
                <a:cubicBezTo>
                  <a:pt x="13316" y="33218"/>
                  <a:pt x="12853" y="29343"/>
                  <a:pt x="7762" y="27434"/>
                </a:cubicBezTo>
                <a:cubicBezTo>
                  <a:pt x="3656" y="25872"/>
                  <a:pt x="995" y="20030"/>
                  <a:pt x="-104" y="10080"/>
                </a:cubicBezTo>
                <a:cubicBezTo>
                  <a:pt x="-156" y="9537"/>
                  <a:pt x="179" y="9028"/>
                  <a:pt x="706" y="8866"/>
                </a:cubicBezTo>
                <a:cubicBezTo>
                  <a:pt x="12275" y="5395"/>
                  <a:pt x="28992" y="16"/>
                  <a:pt x="29165" y="-42"/>
                </a:cubicBezTo>
                <a:cubicBezTo>
                  <a:pt x="29396" y="-158"/>
                  <a:pt x="29686" y="-158"/>
                  <a:pt x="29917" y="-42"/>
                </a:cubicBezTo>
                <a:cubicBezTo>
                  <a:pt x="33677" y="1352"/>
                  <a:pt x="37552" y="2532"/>
                  <a:pt x="41486" y="3486"/>
                </a:cubicBezTo>
                <a:lnTo>
                  <a:pt x="49121" y="4701"/>
                </a:lnTo>
                <a:cubicBezTo>
                  <a:pt x="49526" y="4759"/>
                  <a:pt x="49873" y="5048"/>
                  <a:pt x="50047" y="5453"/>
                </a:cubicBezTo>
                <a:cubicBezTo>
                  <a:pt x="50220" y="5812"/>
                  <a:pt x="50220" y="6251"/>
                  <a:pt x="50047" y="6610"/>
                </a:cubicBezTo>
                <a:cubicBezTo>
                  <a:pt x="49642" y="7015"/>
                  <a:pt x="49584" y="7188"/>
                  <a:pt x="49584" y="7246"/>
                </a:cubicBezTo>
                <a:cubicBezTo>
                  <a:pt x="49584" y="8172"/>
                  <a:pt x="51840" y="11064"/>
                  <a:pt x="53460" y="13031"/>
                </a:cubicBezTo>
                <a:cubicBezTo>
                  <a:pt x="56352" y="16385"/>
                  <a:pt x="59244" y="19856"/>
                  <a:pt x="59244" y="22864"/>
                </a:cubicBezTo>
                <a:cubicBezTo>
                  <a:pt x="58723" y="27052"/>
                  <a:pt x="61731" y="30858"/>
                  <a:pt x="65896" y="31373"/>
                </a:cubicBezTo>
                <a:cubicBezTo>
                  <a:pt x="66301" y="31425"/>
                  <a:pt x="66764" y="31442"/>
                  <a:pt x="67169" y="31425"/>
                </a:cubicBezTo>
                <a:cubicBezTo>
                  <a:pt x="68268" y="31373"/>
                  <a:pt x="69309" y="31818"/>
                  <a:pt x="70061" y="32640"/>
                </a:cubicBezTo>
                <a:cubicBezTo>
                  <a:pt x="71738" y="34549"/>
                  <a:pt x="71333" y="38424"/>
                  <a:pt x="70871" y="42010"/>
                </a:cubicBezTo>
                <a:cubicBezTo>
                  <a:pt x="70582" y="44440"/>
                  <a:pt x="70119" y="48200"/>
                  <a:pt x="70871" y="48431"/>
                </a:cubicBezTo>
                <a:cubicBezTo>
                  <a:pt x="72779" y="48871"/>
                  <a:pt x="74688" y="49201"/>
                  <a:pt x="76655" y="49415"/>
                </a:cubicBezTo>
                <a:cubicBezTo>
                  <a:pt x="89959" y="51323"/>
                  <a:pt x="101875" y="53406"/>
                  <a:pt x="101875" y="58612"/>
                </a:cubicBezTo>
                <a:cubicBezTo>
                  <a:pt x="101933" y="60486"/>
                  <a:pt x="102280" y="62337"/>
                  <a:pt x="102916" y="64107"/>
                </a:cubicBezTo>
                <a:cubicBezTo>
                  <a:pt x="103958" y="67636"/>
                  <a:pt x="105057" y="71222"/>
                  <a:pt x="100776" y="74056"/>
                </a:cubicBezTo>
                <a:cubicBezTo>
                  <a:pt x="98462" y="75768"/>
                  <a:pt x="97074" y="78464"/>
                  <a:pt x="97016" y="81345"/>
                </a:cubicBezTo>
                <a:cubicBezTo>
                  <a:pt x="96727" y="85029"/>
                  <a:pt x="98173" y="88639"/>
                  <a:pt x="100892" y="91120"/>
                </a:cubicBezTo>
                <a:cubicBezTo>
                  <a:pt x="105462" y="95169"/>
                  <a:pt x="112866" y="105061"/>
                  <a:pt x="111362" y="108936"/>
                </a:cubicBezTo>
                <a:cubicBezTo>
                  <a:pt x="110957" y="110035"/>
                  <a:pt x="109800" y="110724"/>
                  <a:pt x="108643" y="110614"/>
                </a:cubicBezTo>
                <a:cubicBezTo>
                  <a:pt x="106503" y="110793"/>
                  <a:pt x="104536" y="111863"/>
                  <a:pt x="103263" y="113564"/>
                </a:cubicBezTo>
                <a:cubicBezTo>
                  <a:pt x="101586" y="115369"/>
                  <a:pt x="100660" y="117746"/>
                  <a:pt x="100660" y="120216"/>
                </a:cubicBezTo>
                <a:cubicBezTo>
                  <a:pt x="100950" y="122269"/>
                  <a:pt x="100950" y="124352"/>
                  <a:pt x="100660" y="126405"/>
                </a:cubicBezTo>
                <a:cubicBezTo>
                  <a:pt x="100660" y="127215"/>
                  <a:pt x="100660" y="128025"/>
                  <a:pt x="100660" y="128777"/>
                </a:cubicBezTo>
                <a:cubicBezTo>
                  <a:pt x="100603" y="129303"/>
                  <a:pt x="100198" y="129720"/>
                  <a:pt x="99677" y="129818"/>
                </a:cubicBezTo>
                <a:cubicBezTo>
                  <a:pt x="80994" y="132537"/>
                  <a:pt x="52939" y="138321"/>
                  <a:pt x="52708" y="138379"/>
                </a:cubicBezTo>
                <a:close/>
                <a:moveTo>
                  <a:pt x="26678" y="121315"/>
                </a:moveTo>
                <a:cubicBezTo>
                  <a:pt x="32057" y="121315"/>
                  <a:pt x="48832" y="133231"/>
                  <a:pt x="52187" y="135660"/>
                </a:cubicBezTo>
                <a:cubicBezTo>
                  <a:pt x="55947" y="134909"/>
                  <a:pt x="80589" y="129876"/>
                  <a:pt x="97942" y="127273"/>
                </a:cubicBezTo>
                <a:cubicBezTo>
                  <a:pt x="97942" y="126752"/>
                  <a:pt x="97942" y="126232"/>
                  <a:pt x="97942" y="125711"/>
                </a:cubicBezTo>
                <a:cubicBezTo>
                  <a:pt x="98173" y="123791"/>
                  <a:pt x="98173" y="121847"/>
                  <a:pt x="97942" y="119927"/>
                </a:cubicBezTo>
                <a:cubicBezTo>
                  <a:pt x="97884" y="116815"/>
                  <a:pt x="98983" y="113795"/>
                  <a:pt x="101065" y="111482"/>
                </a:cubicBezTo>
                <a:cubicBezTo>
                  <a:pt x="102743" y="109226"/>
                  <a:pt x="105346" y="107849"/>
                  <a:pt x="108180" y="107722"/>
                </a:cubicBezTo>
                <a:cubicBezTo>
                  <a:pt x="108701" y="107722"/>
                  <a:pt x="108759" y="107722"/>
                  <a:pt x="108817" y="107722"/>
                </a:cubicBezTo>
                <a:cubicBezTo>
                  <a:pt x="109569" y="105813"/>
                  <a:pt x="104478" y="97367"/>
                  <a:pt x="98925" y="92393"/>
                </a:cubicBezTo>
                <a:cubicBezTo>
                  <a:pt x="95686" y="89443"/>
                  <a:pt x="94009" y="85186"/>
                  <a:pt x="94298" y="80824"/>
                </a:cubicBezTo>
                <a:cubicBezTo>
                  <a:pt x="94413" y="77267"/>
                  <a:pt x="96149" y="73958"/>
                  <a:pt x="99041" y="71858"/>
                </a:cubicBezTo>
                <a:cubicBezTo>
                  <a:pt x="101817" y="70007"/>
                  <a:pt x="101354" y="68040"/>
                  <a:pt x="100313" y="64396"/>
                </a:cubicBezTo>
                <a:cubicBezTo>
                  <a:pt x="99619" y="62418"/>
                  <a:pt x="99272" y="60353"/>
                  <a:pt x="99157" y="58265"/>
                </a:cubicBezTo>
                <a:cubicBezTo>
                  <a:pt x="99157" y="54621"/>
                  <a:pt x="82208" y="52191"/>
                  <a:pt x="76019" y="51323"/>
                </a:cubicBezTo>
                <a:cubicBezTo>
                  <a:pt x="73069" y="50919"/>
                  <a:pt x="70929" y="50571"/>
                  <a:pt x="69830" y="50282"/>
                </a:cubicBezTo>
                <a:cubicBezTo>
                  <a:pt x="67053" y="49472"/>
                  <a:pt x="67516" y="45539"/>
                  <a:pt x="67979" y="41432"/>
                </a:cubicBezTo>
                <a:cubicBezTo>
                  <a:pt x="68326" y="38540"/>
                  <a:pt x="68731" y="34953"/>
                  <a:pt x="67689" y="33797"/>
                </a:cubicBezTo>
                <a:cubicBezTo>
                  <a:pt x="67689" y="33797"/>
                  <a:pt x="67227" y="33334"/>
                  <a:pt x="66532" y="33334"/>
                </a:cubicBezTo>
                <a:cubicBezTo>
                  <a:pt x="61153" y="33588"/>
                  <a:pt x="56583" y="29424"/>
                  <a:pt x="56294" y="24032"/>
                </a:cubicBezTo>
                <a:cubicBezTo>
                  <a:pt x="56294" y="23524"/>
                  <a:pt x="56294" y="23020"/>
                  <a:pt x="56352" y="22517"/>
                </a:cubicBezTo>
                <a:cubicBezTo>
                  <a:pt x="56352" y="20377"/>
                  <a:pt x="53402" y="16733"/>
                  <a:pt x="51030" y="14130"/>
                </a:cubicBezTo>
                <a:cubicBezTo>
                  <a:pt x="48658" y="11527"/>
                  <a:pt x="46287" y="8345"/>
                  <a:pt x="46692" y="6552"/>
                </a:cubicBezTo>
                <a:lnTo>
                  <a:pt x="46692" y="6552"/>
                </a:lnTo>
                <a:cubicBezTo>
                  <a:pt x="43742" y="6147"/>
                  <a:pt x="41544" y="5742"/>
                  <a:pt x="40908" y="5569"/>
                </a:cubicBezTo>
                <a:cubicBezTo>
                  <a:pt x="36974" y="4684"/>
                  <a:pt x="33098" y="3527"/>
                  <a:pt x="29339" y="2098"/>
                </a:cubicBezTo>
                <a:cubicBezTo>
                  <a:pt x="26851" y="2850"/>
                  <a:pt x="12622" y="7420"/>
                  <a:pt x="2094" y="10659"/>
                </a:cubicBezTo>
                <a:cubicBezTo>
                  <a:pt x="3135" y="19104"/>
                  <a:pt x="5333" y="24137"/>
                  <a:pt x="8399" y="25294"/>
                </a:cubicBezTo>
                <a:cubicBezTo>
                  <a:pt x="14704" y="27665"/>
                  <a:pt x="15398" y="32813"/>
                  <a:pt x="16034" y="37788"/>
                </a:cubicBezTo>
                <a:cubicBezTo>
                  <a:pt x="16225" y="40420"/>
                  <a:pt x="16792" y="43011"/>
                  <a:pt x="17712" y="45481"/>
                </a:cubicBezTo>
                <a:cubicBezTo>
                  <a:pt x="20893" y="52885"/>
                  <a:pt x="20083" y="82733"/>
                  <a:pt x="16555" y="88055"/>
                </a:cubicBezTo>
                <a:cubicBezTo>
                  <a:pt x="16162" y="88812"/>
                  <a:pt x="15386" y="89298"/>
                  <a:pt x="14531" y="89327"/>
                </a:cubicBezTo>
                <a:cubicBezTo>
                  <a:pt x="13836" y="89327"/>
                  <a:pt x="10828" y="91583"/>
                  <a:pt x="5854" y="98293"/>
                </a:cubicBezTo>
                <a:cubicBezTo>
                  <a:pt x="11638" y="104077"/>
                  <a:pt x="20257" y="114316"/>
                  <a:pt x="26157" y="12143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8" name="Forma libre: forma 447">
            <a:extLst>
              <a:ext uri="{FF2B5EF4-FFF2-40B4-BE49-F238E27FC236}">
                <a16:creationId xmlns:a16="http://schemas.microsoft.com/office/drawing/2014/main" id="{F6CC2188-5D6B-95DD-912C-08B2D08567FC}"/>
              </a:ext>
            </a:extLst>
          </p:cNvPr>
          <p:cNvSpPr/>
          <p:nvPr/>
        </p:nvSpPr>
        <p:spPr>
          <a:xfrm>
            <a:off x="3522754" y="1850439"/>
            <a:ext cx="97652" cy="53373"/>
          </a:xfrm>
          <a:custGeom>
            <a:avLst/>
            <a:gdLst>
              <a:gd name="connsiteX0" fmla="*/ 81362 w 97652"/>
              <a:gd name="connsiteY0" fmla="*/ 53165 h 53373"/>
              <a:gd name="connsiteX1" fmla="*/ 81362 w 97652"/>
              <a:gd name="connsiteY1" fmla="*/ 53165 h 53373"/>
              <a:gd name="connsiteX2" fmla="*/ 1537 w 97652"/>
              <a:gd name="connsiteY2" fmla="*/ 33498 h 53373"/>
              <a:gd name="connsiteX3" fmla="*/ 322 w 97652"/>
              <a:gd name="connsiteY3" fmla="*/ 28292 h 53373"/>
              <a:gd name="connsiteX4" fmla="*/ 54638 w 97652"/>
              <a:gd name="connsiteY4" fmla="*/ -109 h 53373"/>
              <a:gd name="connsiteX5" fmla="*/ 71992 w 97652"/>
              <a:gd name="connsiteY5" fmla="*/ 5039 h 53373"/>
              <a:gd name="connsiteX6" fmla="*/ 97038 w 97652"/>
              <a:gd name="connsiteY6" fmla="*/ 45530 h 53373"/>
              <a:gd name="connsiteX7" fmla="*/ 84717 w 97652"/>
              <a:gd name="connsiteY7" fmla="*/ 53223 h 53373"/>
              <a:gd name="connsiteX8" fmla="*/ 81362 w 97652"/>
              <a:gd name="connsiteY8" fmla="*/ 53165 h 53373"/>
              <a:gd name="connsiteX9" fmla="*/ 54638 w 97652"/>
              <a:gd name="connsiteY9" fmla="*/ 2147 h 53373"/>
              <a:gd name="connsiteX10" fmla="*/ 2578 w 97652"/>
              <a:gd name="connsiteY10" fmla="*/ 29044 h 53373"/>
              <a:gd name="connsiteX11" fmla="*/ 2983 w 97652"/>
              <a:gd name="connsiteY11" fmla="*/ 31705 h 53373"/>
              <a:gd name="connsiteX12" fmla="*/ 81478 w 97652"/>
              <a:gd name="connsiteY12" fmla="*/ 50909 h 53373"/>
              <a:gd name="connsiteX13" fmla="*/ 84659 w 97652"/>
              <a:gd name="connsiteY13" fmla="*/ 50909 h 53373"/>
              <a:gd name="connsiteX14" fmla="*/ 94898 w 97652"/>
              <a:gd name="connsiteY14" fmla="*/ 44720 h 53373"/>
              <a:gd name="connsiteX15" fmla="*/ 70719 w 97652"/>
              <a:gd name="connsiteY15" fmla="*/ 6890 h 53373"/>
              <a:gd name="connsiteX16" fmla="*/ 54638 w 97652"/>
              <a:gd name="connsiteY16" fmla="*/ 2147 h 5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652" h="53373">
                <a:moveTo>
                  <a:pt x="81362" y="53165"/>
                </a:moveTo>
                <a:lnTo>
                  <a:pt x="81362" y="53165"/>
                </a:lnTo>
                <a:cubicBezTo>
                  <a:pt x="58225" y="53165"/>
                  <a:pt x="11949" y="41596"/>
                  <a:pt x="1537" y="33498"/>
                </a:cubicBezTo>
                <a:cubicBezTo>
                  <a:pt x="-54" y="32272"/>
                  <a:pt x="-563" y="30097"/>
                  <a:pt x="322" y="28292"/>
                </a:cubicBezTo>
                <a:cubicBezTo>
                  <a:pt x="3793" y="18112"/>
                  <a:pt x="32484" y="-109"/>
                  <a:pt x="54638" y="-109"/>
                </a:cubicBezTo>
                <a:cubicBezTo>
                  <a:pt x="60833" y="-341"/>
                  <a:pt x="66924" y="1470"/>
                  <a:pt x="71992" y="5039"/>
                </a:cubicBezTo>
                <a:cubicBezTo>
                  <a:pt x="89345" y="17996"/>
                  <a:pt x="100046" y="35349"/>
                  <a:pt x="97038" y="45530"/>
                </a:cubicBezTo>
                <a:cubicBezTo>
                  <a:pt x="95997" y="48769"/>
                  <a:pt x="93105" y="52760"/>
                  <a:pt x="84717" y="53223"/>
                </a:cubicBezTo>
                <a:cubicBezTo>
                  <a:pt x="83601" y="53264"/>
                  <a:pt x="82479" y="53246"/>
                  <a:pt x="81362" y="53165"/>
                </a:cubicBezTo>
                <a:close/>
                <a:moveTo>
                  <a:pt x="54638" y="2147"/>
                </a:moveTo>
                <a:cubicBezTo>
                  <a:pt x="32426" y="2147"/>
                  <a:pt x="5297" y="20657"/>
                  <a:pt x="2578" y="29044"/>
                </a:cubicBezTo>
                <a:cubicBezTo>
                  <a:pt x="2000" y="30664"/>
                  <a:pt x="2578" y="31300"/>
                  <a:pt x="2983" y="31705"/>
                </a:cubicBezTo>
                <a:cubicBezTo>
                  <a:pt x="13395" y="39745"/>
                  <a:pt x="58861" y="50909"/>
                  <a:pt x="81478" y="50909"/>
                </a:cubicBezTo>
                <a:lnTo>
                  <a:pt x="84659" y="50909"/>
                </a:lnTo>
                <a:cubicBezTo>
                  <a:pt x="90444" y="50562"/>
                  <a:pt x="93799" y="48480"/>
                  <a:pt x="94898" y="44720"/>
                </a:cubicBezTo>
                <a:cubicBezTo>
                  <a:pt x="97617" y="35754"/>
                  <a:pt x="86973" y="19095"/>
                  <a:pt x="70719" y="6890"/>
                </a:cubicBezTo>
                <a:cubicBezTo>
                  <a:pt x="66028" y="3581"/>
                  <a:pt x="60376" y="1909"/>
                  <a:pt x="54638" y="214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49" name="Forma libre: forma 448">
            <a:extLst>
              <a:ext uri="{FF2B5EF4-FFF2-40B4-BE49-F238E27FC236}">
                <a16:creationId xmlns:a16="http://schemas.microsoft.com/office/drawing/2014/main" id="{99F1C0A4-CC4D-2252-797C-AA73ACC47A89}"/>
              </a:ext>
            </a:extLst>
          </p:cNvPr>
          <p:cNvSpPr/>
          <p:nvPr/>
        </p:nvSpPr>
        <p:spPr>
          <a:xfrm>
            <a:off x="3363221" y="1926292"/>
            <a:ext cx="175542" cy="152477"/>
          </a:xfrm>
          <a:custGeom>
            <a:avLst/>
            <a:gdLst>
              <a:gd name="connsiteX0" fmla="*/ 102242 w 175542"/>
              <a:gd name="connsiteY0" fmla="*/ 152349 h 152477"/>
              <a:gd name="connsiteX1" fmla="*/ 102242 w 175542"/>
              <a:gd name="connsiteY1" fmla="*/ 152349 h 152477"/>
              <a:gd name="connsiteX2" fmla="*/ 88417 w 175542"/>
              <a:gd name="connsiteY2" fmla="*/ 146564 h 152477"/>
              <a:gd name="connsiteX3" fmla="*/ 65916 w 175542"/>
              <a:gd name="connsiteY3" fmla="*/ 124410 h 152477"/>
              <a:gd name="connsiteX4" fmla="*/ 33003 w 175542"/>
              <a:gd name="connsiteY4" fmla="*/ 100751 h 152477"/>
              <a:gd name="connsiteX5" fmla="*/ -84 w 175542"/>
              <a:gd name="connsiteY5" fmla="*/ 70036 h 152477"/>
              <a:gd name="connsiteX6" fmla="*/ 12526 w 175542"/>
              <a:gd name="connsiteY6" fmla="*/ 58467 h 152477"/>
              <a:gd name="connsiteX7" fmla="*/ 15534 w 175542"/>
              <a:gd name="connsiteY7" fmla="*/ 58467 h 152477"/>
              <a:gd name="connsiteX8" fmla="*/ 35085 w 175542"/>
              <a:gd name="connsiteY8" fmla="*/ 67896 h 152477"/>
              <a:gd name="connsiteX9" fmla="*/ 50125 w 175542"/>
              <a:gd name="connsiteY9" fmla="*/ 75705 h 152477"/>
              <a:gd name="connsiteX10" fmla="*/ 66321 w 175542"/>
              <a:gd name="connsiteY10" fmla="*/ 64136 h 152477"/>
              <a:gd name="connsiteX11" fmla="*/ 72742 w 175542"/>
              <a:gd name="connsiteY11" fmla="*/ 48865 h 152477"/>
              <a:gd name="connsiteX12" fmla="*/ 58049 w 175542"/>
              <a:gd name="connsiteY12" fmla="*/ 45857 h 152477"/>
              <a:gd name="connsiteX13" fmla="*/ 36242 w 175542"/>
              <a:gd name="connsiteY13" fmla="*/ 41461 h 152477"/>
              <a:gd name="connsiteX14" fmla="*/ 32829 w 175542"/>
              <a:gd name="connsiteY14" fmla="*/ 31396 h 152477"/>
              <a:gd name="connsiteX15" fmla="*/ 70023 w 175542"/>
              <a:gd name="connsiteY15" fmla="*/ 14043 h 152477"/>
              <a:gd name="connsiteX16" fmla="*/ 84831 w 175542"/>
              <a:gd name="connsiteY16" fmla="*/ 17976 h 152477"/>
              <a:gd name="connsiteX17" fmla="*/ 100218 w 175542"/>
              <a:gd name="connsiteY17" fmla="*/ 23761 h 152477"/>
              <a:gd name="connsiteX18" fmla="*/ 106581 w 175542"/>
              <a:gd name="connsiteY18" fmla="*/ 21216 h 152477"/>
              <a:gd name="connsiteX19" fmla="*/ 99524 w 175542"/>
              <a:gd name="connsiteY19" fmla="*/ 15431 h 152477"/>
              <a:gd name="connsiteX20" fmla="*/ 95474 w 175542"/>
              <a:gd name="connsiteY20" fmla="*/ 10746 h 152477"/>
              <a:gd name="connsiteX21" fmla="*/ 128388 w 175542"/>
              <a:gd name="connsiteY21" fmla="*/ -129 h 152477"/>
              <a:gd name="connsiteX22" fmla="*/ 136717 w 175542"/>
              <a:gd name="connsiteY22" fmla="*/ 2474 h 152477"/>
              <a:gd name="connsiteX23" fmla="*/ 136023 w 175542"/>
              <a:gd name="connsiteY23" fmla="*/ 6523 h 152477"/>
              <a:gd name="connsiteX24" fmla="*/ 135040 w 175542"/>
              <a:gd name="connsiteY24" fmla="*/ 9994 h 152477"/>
              <a:gd name="connsiteX25" fmla="*/ 144121 w 175542"/>
              <a:gd name="connsiteY25" fmla="*/ 15778 h 152477"/>
              <a:gd name="connsiteX26" fmla="*/ 156500 w 175542"/>
              <a:gd name="connsiteY26" fmla="*/ 24571 h 152477"/>
              <a:gd name="connsiteX27" fmla="*/ 155459 w 175542"/>
              <a:gd name="connsiteY27" fmla="*/ 31917 h 152477"/>
              <a:gd name="connsiteX28" fmla="*/ 132726 w 175542"/>
              <a:gd name="connsiteY28" fmla="*/ 47593 h 152477"/>
              <a:gd name="connsiteX29" fmla="*/ 119249 w 175542"/>
              <a:gd name="connsiteY29" fmla="*/ 56096 h 152477"/>
              <a:gd name="connsiteX30" fmla="*/ 120290 w 175542"/>
              <a:gd name="connsiteY30" fmla="*/ 59798 h 152477"/>
              <a:gd name="connsiteX31" fmla="*/ 137238 w 175542"/>
              <a:gd name="connsiteY31" fmla="*/ 64657 h 152477"/>
              <a:gd name="connsiteX32" fmla="*/ 140593 w 175542"/>
              <a:gd name="connsiteY32" fmla="*/ 64657 h 152477"/>
              <a:gd name="connsiteX33" fmla="*/ 154360 w 175542"/>
              <a:gd name="connsiteY33" fmla="*/ 73680 h 152477"/>
              <a:gd name="connsiteX34" fmla="*/ 156789 w 175542"/>
              <a:gd name="connsiteY34" fmla="*/ 79870 h 152477"/>
              <a:gd name="connsiteX35" fmla="*/ 157541 w 175542"/>
              <a:gd name="connsiteY35" fmla="*/ 79060 h 152477"/>
              <a:gd name="connsiteX36" fmla="*/ 155748 w 175542"/>
              <a:gd name="connsiteY36" fmla="*/ 62690 h 152477"/>
              <a:gd name="connsiteX37" fmla="*/ 155286 w 175542"/>
              <a:gd name="connsiteY37" fmla="*/ 54939 h 152477"/>
              <a:gd name="connsiteX38" fmla="*/ 163615 w 175542"/>
              <a:gd name="connsiteY38" fmla="*/ 51005 h 152477"/>
              <a:gd name="connsiteX39" fmla="*/ 173275 w 175542"/>
              <a:gd name="connsiteY39" fmla="*/ 55344 h 152477"/>
              <a:gd name="connsiteX40" fmla="*/ 174779 w 175542"/>
              <a:gd name="connsiteY40" fmla="*/ 66045 h 152477"/>
              <a:gd name="connsiteX41" fmla="*/ 172176 w 175542"/>
              <a:gd name="connsiteY41" fmla="*/ 79407 h 152477"/>
              <a:gd name="connsiteX42" fmla="*/ 137469 w 175542"/>
              <a:gd name="connsiteY42" fmla="*/ 133549 h 152477"/>
              <a:gd name="connsiteX43" fmla="*/ 135908 w 175542"/>
              <a:gd name="connsiteY43" fmla="*/ 133549 h 152477"/>
              <a:gd name="connsiteX44" fmla="*/ 113869 w 175542"/>
              <a:gd name="connsiteY44" fmla="*/ 145118 h 152477"/>
              <a:gd name="connsiteX45" fmla="*/ 102242 w 175542"/>
              <a:gd name="connsiteY45" fmla="*/ 152349 h 152477"/>
              <a:gd name="connsiteX46" fmla="*/ 15476 w 175542"/>
              <a:gd name="connsiteY46" fmla="*/ 60608 h 152477"/>
              <a:gd name="connsiteX47" fmla="*/ 12815 w 175542"/>
              <a:gd name="connsiteY47" fmla="*/ 60608 h 152477"/>
              <a:gd name="connsiteX48" fmla="*/ 2114 w 175542"/>
              <a:gd name="connsiteY48" fmla="*/ 70094 h 152477"/>
              <a:gd name="connsiteX49" fmla="*/ 33581 w 175542"/>
              <a:gd name="connsiteY49" fmla="*/ 98438 h 152477"/>
              <a:gd name="connsiteX50" fmla="*/ 67594 w 175542"/>
              <a:gd name="connsiteY50" fmla="*/ 122906 h 152477"/>
              <a:gd name="connsiteX51" fmla="*/ 89632 w 175542"/>
              <a:gd name="connsiteY51" fmla="*/ 144597 h 152477"/>
              <a:gd name="connsiteX52" fmla="*/ 102184 w 175542"/>
              <a:gd name="connsiteY52" fmla="*/ 149919 h 152477"/>
              <a:gd name="connsiteX53" fmla="*/ 102184 w 175542"/>
              <a:gd name="connsiteY53" fmla="*/ 149919 h 152477"/>
              <a:gd name="connsiteX54" fmla="*/ 112134 w 175542"/>
              <a:gd name="connsiteY54" fmla="*/ 143209 h 152477"/>
              <a:gd name="connsiteX55" fmla="*/ 137469 w 175542"/>
              <a:gd name="connsiteY55" fmla="*/ 131120 h 152477"/>
              <a:gd name="connsiteX56" fmla="*/ 138395 w 175542"/>
              <a:gd name="connsiteY56" fmla="*/ 131120 h 152477"/>
              <a:gd name="connsiteX57" fmla="*/ 169920 w 175542"/>
              <a:gd name="connsiteY57" fmla="*/ 79060 h 152477"/>
              <a:gd name="connsiteX58" fmla="*/ 172581 w 175542"/>
              <a:gd name="connsiteY58" fmla="*/ 65524 h 152477"/>
              <a:gd name="connsiteX59" fmla="*/ 171482 w 175542"/>
              <a:gd name="connsiteY59" fmla="*/ 56790 h 152477"/>
              <a:gd name="connsiteX60" fmla="*/ 163615 w 175542"/>
              <a:gd name="connsiteY60" fmla="*/ 53319 h 152477"/>
              <a:gd name="connsiteX61" fmla="*/ 157194 w 175542"/>
              <a:gd name="connsiteY61" fmla="*/ 56153 h 152477"/>
              <a:gd name="connsiteX62" fmla="*/ 157715 w 175542"/>
              <a:gd name="connsiteY62" fmla="*/ 61649 h 152477"/>
              <a:gd name="connsiteX63" fmla="*/ 159277 w 175542"/>
              <a:gd name="connsiteY63" fmla="*/ 79465 h 152477"/>
              <a:gd name="connsiteX64" fmla="*/ 156616 w 175542"/>
              <a:gd name="connsiteY64" fmla="*/ 81374 h 152477"/>
              <a:gd name="connsiteX65" fmla="*/ 151930 w 175542"/>
              <a:gd name="connsiteY65" fmla="*/ 73275 h 152477"/>
              <a:gd name="connsiteX66" fmla="*/ 140362 w 175542"/>
              <a:gd name="connsiteY66" fmla="*/ 66161 h 152477"/>
              <a:gd name="connsiteX67" fmla="*/ 137064 w 175542"/>
              <a:gd name="connsiteY67" fmla="*/ 66161 h 152477"/>
              <a:gd name="connsiteX68" fmla="*/ 118207 w 175542"/>
              <a:gd name="connsiteY68" fmla="*/ 60376 h 152477"/>
              <a:gd name="connsiteX69" fmla="*/ 116877 w 175542"/>
              <a:gd name="connsiteY69" fmla="*/ 54592 h 152477"/>
              <a:gd name="connsiteX70" fmla="*/ 131569 w 175542"/>
              <a:gd name="connsiteY70" fmla="*/ 44643 h 152477"/>
              <a:gd name="connsiteX71" fmla="*/ 153261 w 175542"/>
              <a:gd name="connsiteY71" fmla="*/ 29950 h 152477"/>
              <a:gd name="connsiteX72" fmla="*/ 154129 w 175542"/>
              <a:gd name="connsiteY72" fmla="*/ 24166 h 152477"/>
              <a:gd name="connsiteX73" fmla="*/ 143022 w 175542"/>
              <a:gd name="connsiteY73" fmla="*/ 16762 h 152477"/>
              <a:gd name="connsiteX74" fmla="*/ 132611 w 175542"/>
              <a:gd name="connsiteY74" fmla="*/ 9473 h 152477"/>
              <a:gd name="connsiteX75" fmla="*/ 133941 w 175542"/>
              <a:gd name="connsiteY75" fmla="*/ 4094 h 152477"/>
              <a:gd name="connsiteX76" fmla="*/ 134462 w 175542"/>
              <a:gd name="connsiteY76" fmla="*/ 2416 h 152477"/>
              <a:gd name="connsiteX77" fmla="*/ 128157 w 175542"/>
              <a:gd name="connsiteY77" fmla="*/ 1028 h 152477"/>
              <a:gd name="connsiteX78" fmla="*/ 97499 w 175542"/>
              <a:gd name="connsiteY78" fmla="*/ 10109 h 152477"/>
              <a:gd name="connsiteX79" fmla="*/ 100102 w 175542"/>
              <a:gd name="connsiteY79" fmla="*/ 12250 h 152477"/>
              <a:gd name="connsiteX80" fmla="*/ 108605 w 175542"/>
              <a:gd name="connsiteY80" fmla="*/ 20579 h 152477"/>
              <a:gd name="connsiteX81" fmla="*/ 99986 w 175542"/>
              <a:gd name="connsiteY81" fmla="*/ 24975 h 152477"/>
              <a:gd name="connsiteX82" fmla="*/ 83327 w 175542"/>
              <a:gd name="connsiteY82" fmla="*/ 19191 h 152477"/>
              <a:gd name="connsiteX83" fmla="*/ 69792 w 175542"/>
              <a:gd name="connsiteY83" fmla="*/ 15662 h 152477"/>
              <a:gd name="connsiteX84" fmla="*/ 34680 w 175542"/>
              <a:gd name="connsiteY84" fmla="*/ 31685 h 152477"/>
              <a:gd name="connsiteX85" fmla="*/ 37457 w 175542"/>
              <a:gd name="connsiteY85" fmla="*/ 39263 h 152477"/>
              <a:gd name="connsiteX86" fmla="*/ 57818 w 175542"/>
              <a:gd name="connsiteY86" fmla="*/ 43139 h 152477"/>
              <a:gd name="connsiteX87" fmla="*/ 74535 w 175542"/>
              <a:gd name="connsiteY87" fmla="*/ 47361 h 152477"/>
              <a:gd name="connsiteX88" fmla="*/ 67883 w 175542"/>
              <a:gd name="connsiteY88" fmla="*/ 65004 h 152477"/>
              <a:gd name="connsiteX89" fmla="*/ 49893 w 175542"/>
              <a:gd name="connsiteY89" fmla="*/ 77614 h 152477"/>
              <a:gd name="connsiteX90" fmla="*/ 33408 w 175542"/>
              <a:gd name="connsiteY90" fmla="*/ 69342 h 152477"/>
              <a:gd name="connsiteX91" fmla="*/ 15534 w 175542"/>
              <a:gd name="connsiteY91" fmla="*/ 60608 h 15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75542" h="152477">
                <a:moveTo>
                  <a:pt x="102242" y="152349"/>
                </a:moveTo>
                <a:lnTo>
                  <a:pt x="102242" y="152349"/>
                </a:lnTo>
                <a:cubicBezTo>
                  <a:pt x="97164" y="151834"/>
                  <a:pt x="92351" y="149821"/>
                  <a:pt x="88417" y="146564"/>
                </a:cubicBezTo>
                <a:cubicBezTo>
                  <a:pt x="79695" y="140537"/>
                  <a:pt x="72082" y="133040"/>
                  <a:pt x="65916" y="124410"/>
                </a:cubicBezTo>
                <a:cubicBezTo>
                  <a:pt x="58269" y="112708"/>
                  <a:pt x="46532" y="104268"/>
                  <a:pt x="33003" y="100751"/>
                </a:cubicBezTo>
                <a:cubicBezTo>
                  <a:pt x="10675" y="94099"/>
                  <a:pt x="-720" y="79985"/>
                  <a:pt x="-84" y="70036"/>
                </a:cubicBezTo>
                <a:cubicBezTo>
                  <a:pt x="263" y="64252"/>
                  <a:pt x="4890" y="59798"/>
                  <a:pt x="12526" y="58467"/>
                </a:cubicBezTo>
                <a:cubicBezTo>
                  <a:pt x="13526" y="58381"/>
                  <a:pt x="14533" y="58381"/>
                  <a:pt x="15534" y="58467"/>
                </a:cubicBezTo>
                <a:cubicBezTo>
                  <a:pt x="22932" y="59289"/>
                  <a:pt x="29833" y="62615"/>
                  <a:pt x="35085" y="67896"/>
                </a:cubicBezTo>
                <a:cubicBezTo>
                  <a:pt x="39128" y="72049"/>
                  <a:pt x="44404" y="74785"/>
                  <a:pt x="50125" y="75705"/>
                </a:cubicBezTo>
                <a:cubicBezTo>
                  <a:pt x="55273" y="75705"/>
                  <a:pt x="60537" y="71887"/>
                  <a:pt x="66321" y="64136"/>
                </a:cubicBezTo>
                <a:cubicBezTo>
                  <a:pt x="72105" y="56385"/>
                  <a:pt x="74014" y="51410"/>
                  <a:pt x="72742" y="48865"/>
                </a:cubicBezTo>
                <a:cubicBezTo>
                  <a:pt x="71469" y="46320"/>
                  <a:pt x="64817" y="45915"/>
                  <a:pt x="58049" y="45857"/>
                </a:cubicBezTo>
                <a:cubicBezTo>
                  <a:pt x="50240" y="45857"/>
                  <a:pt x="41448" y="45857"/>
                  <a:pt x="36242" y="41461"/>
                </a:cubicBezTo>
                <a:cubicBezTo>
                  <a:pt x="32887" y="39315"/>
                  <a:pt x="31470" y="35139"/>
                  <a:pt x="32829" y="31396"/>
                </a:cubicBezTo>
                <a:cubicBezTo>
                  <a:pt x="35953" y="22546"/>
                  <a:pt x="54405" y="14043"/>
                  <a:pt x="70023" y="14043"/>
                </a:cubicBezTo>
                <a:cubicBezTo>
                  <a:pt x="75246" y="13806"/>
                  <a:pt x="80418" y="15177"/>
                  <a:pt x="84831" y="17976"/>
                </a:cubicBezTo>
                <a:cubicBezTo>
                  <a:pt x="89262" y="21406"/>
                  <a:pt x="94624" y="23425"/>
                  <a:pt x="100218" y="23761"/>
                </a:cubicBezTo>
                <a:cubicBezTo>
                  <a:pt x="104093" y="23761"/>
                  <a:pt x="106349" y="22488"/>
                  <a:pt x="106581" y="21216"/>
                </a:cubicBezTo>
                <a:cubicBezTo>
                  <a:pt x="106812" y="19943"/>
                  <a:pt x="105134" y="17629"/>
                  <a:pt x="99524" y="15431"/>
                </a:cubicBezTo>
                <a:cubicBezTo>
                  <a:pt x="96516" y="14216"/>
                  <a:pt x="95127" y="12655"/>
                  <a:pt x="95474" y="10746"/>
                </a:cubicBezTo>
                <a:cubicBezTo>
                  <a:pt x="96631" y="4961"/>
                  <a:pt x="117976" y="-129"/>
                  <a:pt x="128388" y="-129"/>
                </a:cubicBezTo>
                <a:cubicBezTo>
                  <a:pt x="133073" y="-129"/>
                  <a:pt x="135792" y="739"/>
                  <a:pt x="136717" y="2474"/>
                </a:cubicBezTo>
                <a:cubicBezTo>
                  <a:pt x="137267" y="3845"/>
                  <a:pt x="136995" y="5413"/>
                  <a:pt x="136023" y="6523"/>
                </a:cubicBezTo>
                <a:cubicBezTo>
                  <a:pt x="135162" y="7460"/>
                  <a:pt x="134797" y="8744"/>
                  <a:pt x="135040" y="9994"/>
                </a:cubicBezTo>
                <a:cubicBezTo>
                  <a:pt x="135676" y="12307"/>
                  <a:pt x="139957" y="14043"/>
                  <a:pt x="144121" y="15778"/>
                </a:cubicBezTo>
                <a:cubicBezTo>
                  <a:pt x="149443" y="17976"/>
                  <a:pt x="154938" y="20232"/>
                  <a:pt x="156500" y="24571"/>
                </a:cubicBezTo>
                <a:cubicBezTo>
                  <a:pt x="157217" y="27058"/>
                  <a:pt x="156836" y="29730"/>
                  <a:pt x="155459" y="31917"/>
                </a:cubicBezTo>
                <a:cubicBezTo>
                  <a:pt x="151294" y="39610"/>
                  <a:pt x="141403" y="43833"/>
                  <a:pt x="132726" y="47593"/>
                </a:cubicBezTo>
                <a:cubicBezTo>
                  <a:pt x="126248" y="50369"/>
                  <a:pt x="120174" y="52972"/>
                  <a:pt x="119249" y="56096"/>
                </a:cubicBezTo>
                <a:cubicBezTo>
                  <a:pt x="119017" y="57426"/>
                  <a:pt x="119399" y="58785"/>
                  <a:pt x="120290" y="59798"/>
                </a:cubicBezTo>
                <a:cubicBezTo>
                  <a:pt x="123934" y="65062"/>
                  <a:pt x="130875" y="64830"/>
                  <a:pt x="137238" y="64657"/>
                </a:cubicBezTo>
                <a:lnTo>
                  <a:pt x="140593" y="64657"/>
                </a:lnTo>
                <a:cubicBezTo>
                  <a:pt x="147014" y="64657"/>
                  <a:pt x="153145" y="65756"/>
                  <a:pt x="154360" y="73680"/>
                </a:cubicBezTo>
                <a:cubicBezTo>
                  <a:pt x="155170" y="78828"/>
                  <a:pt x="156442" y="79870"/>
                  <a:pt x="156789" y="79870"/>
                </a:cubicBezTo>
                <a:cubicBezTo>
                  <a:pt x="157136" y="79870"/>
                  <a:pt x="157194" y="79870"/>
                  <a:pt x="157541" y="79060"/>
                </a:cubicBezTo>
                <a:cubicBezTo>
                  <a:pt x="159670" y="73640"/>
                  <a:pt x="159005" y="67520"/>
                  <a:pt x="155748" y="62690"/>
                </a:cubicBezTo>
                <a:cubicBezTo>
                  <a:pt x="154129" y="60405"/>
                  <a:pt x="153949" y="57397"/>
                  <a:pt x="155286" y="54939"/>
                </a:cubicBezTo>
                <a:cubicBezTo>
                  <a:pt x="157194" y="52278"/>
                  <a:pt x="160347" y="50791"/>
                  <a:pt x="163615" y="51005"/>
                </a:cubicBezTo>
                <a:cubicBezTo>
                  <a:pt x="167329" y="50895"/>
                  <a:pt x="170886" y="52498"/>
                  <a:pt x="173275" y="55344"/>
                </a:cubicBezTo>
                <a:cubicBezTo>
                  <a:pt x="175467" y="58461"/>
                  <a:pt x="176029" y="62441"/>
                  <a:pt x="174779" y="66045"/>
                </a:cubicBezTo>
                <a:cubicBezTo>
                  <a:pt x="173854" y="69515"/>
                  <a:pt x="173044" y="74085"/>
                  <a:pt x="172176" y="79407"/>
                </a:cubicBezTo>
                <a:cubicBezTo>
                  <a:pt x="168416" y="101272"/>
                  <a:pt x="162805" y="134417"/>
                  <a:pt x="137469" y="133549"/>
                </a:cubicBezTo>
                <a:lnTo>
                  <a:pt x="135908" y="133549"/>
                </a:lnTo>
                <a:cubicBezTo>
                  <a:pt x="127058" y="133353"/>
                  <a:pt x="118734" y="137720"/>
                  <a:pt x="113869" y="145118"/>
                </a:cubicBezTo>
                <a:cubicBezTo>
                  <a:pt x="110572" y="148704"/>
                  <a:pt x="107506" y="152349"/>
                  <a:pt x="102242" y="152349"/>
                </a:cubicBezTo>
                <a:close/>
                <a:moveTo>
                  <a:pt x="15476" y="60608"/>
                </a:moveTo>
                <a:cubicBezTo>
                  <a:pt x="14591" y="60550"/>
                  <a:pt x="13700" y="60550"/>
                  <a:pt x="12815" y="60608"/>
                </a:cubicBezTo>
                <a:cubicBezTo>
                  <a:pt x="6221" y="61764"/>
                  <a:pt x="2403" y="65119"/>
                  <a:pt x="2114" y="70094"/>
                </a:cubicBezTo>
                <a:cubicBezTo>
                  <a:pt x="1535" y="79233"/>
                  <a:pt x="13162" y="92422"/>
                  <a:pt x="33581" y="98438"/>
                </a:cubicBezTo>
                <a:cubicBezTo>
                  <a:pt x="47579" y="102059"/>
                  <a:pt x="59709" y="110787"/>
                  <a:pt x="67594" y="122906"/>
                </a:cubicBezTo>
                <a:cubicBezTo>
                  <a:pt x="73650" y="131339"/>
                  <a:pt x="81106" y="138674"/>
                  <a:pt x="89632" y="144597"/>
                </a:cubicBezTo>
                <a:cubicBezTo>
                  <a:pt x="93224" y="147530"/>
                  <a:pt x="97580" y="149375"/>
                  <a:pt x="102184" y="149919"/>
                </a:cubicBezTo>
                <a:lnTo>
                  <a:pt x="102184" y="149919"/>
                </a:lnTo>
                <a:cubicBezTo>
                  <a:pt x="106407" y="149919"/>
                  <a:pt x="108894" y="146969"/>
                  <a:pt x="112134" y="143209"/>
                </a:cubicBezTo>
                <a:cubicBezTo>
                  <a:pt x="117808" y="134937"/>
                  <a:pt x="127468" y="130333"/>
                  <a:pt x="137469" y="131120"/>
                </a:cubicBezTo>
                <a:lnTo>
                  <a:pt x="138395" y="131120"/>
                </a:lnTo>
                <a:cubicBezTo>
                  <a:pt x="161012" y="131120"/>
                  <a:pt x="166392" y="99652"/>
                  <a:pt x="169920" y="79060"/>
                </a:cubicBezTo>
                <a:cubicBezTo>
                  <a:pt x="170846" y="73738"/>
                  <a:pt x="171655" y="69111"/>
                  <a:pt x="172581" y="65524"/>
                </a:cubicBezTo>
                <a:cubicBezTo>
                  <a:pt x="173611" y="62603"/>
                  <a:pt x="173206" y="59364"/>
                  <a:pt x="171482" y="56790"/>
                </a:cubicBezTo>
                <a:cubicBezTo>
                  <a:pt x="169515" y="54511"/>
                  <a:pt x="166629" y="53232"/>
                  <a:pt x="163615" y="53319"/>
                </a:cubicBezTo>
                <a:cubicBezTo>
                  <a:pt x="161134" y="53122"/>
                  <a:pt x="158721" y="54193"/>
                  <a:pt x="157194" y="56153"/>
                </a:cubicBezTo>
                <a:cubicBezTo>
                  <a:pt x="156425" y="57952"/>
                  <a:pt x="156622" y="60023"/>
                  <a:pt x="157715" y="61649"/>
                </a:cubicBezTo>
                <a:cubicBezTo>
                  <a:pt x="161024" y="67005"/>
                  <a:pt x="161602" y="73611"/>
                  <a:pt x="159277" y="79465"/>
                </a:cubicBezTo>
                <a:cubicBezTo>
                  <a:pt x="158831" y="80564"/>
                  <a:pt x="157796" y="81304"/>
                  <a:pt x="156616" y="81374"/>
                </a:cubicBezTo>
                <a:cubicBezTo>
                  <a:pt x="155054" y="81374"/>
                  <a:pt x="152972" y="79985"/>
                  <a:pt x="151930" y="73275"/>
                </a:cubicBezTo>
                <a:cubicBezTo>
                  <a:pt x="150889" y="66565"/>
                  <a:pt x="147014" y="66161"/>
                  <a:pt x="140362" y="66161"/>
                </a:cubicBezTo>
                <a:lnTo>
                  <a:pt x="137064" y="66161"/>
                </a:lnTo>
                <a:cubicBezTo>
                  <a:pt x="130065" y="66161"/>
                  <a:pt x="122546" y="66565"/>
                  <a:pt x="118207" y="60376"/>
                </a:cubicBezTo>
                <a:cubicBezTo>
                  <a:pt x="116848" y="58780"/>
                  <a:pt x="116350" y="56622"/>
                  <a:pt x="116877" y="54592"/>
                </a:cubicBezTo>
                <a:cubicBezTo>
                  <a:pt x="118034" y="50427"/>
                  <a:pt x="124339" y="47766"/>
                  <a:pt x="131569" y="44643"/>
                </a:cubicBezTo>
                <a:cubicBezTo>
                  <a:pt x="139957" y="41056"/>
                  <a:pt x="149443" y="37007"/>
                  <a:pt x="153261" y="29950"/>
                </a:cubicBezTo>
                <a:cubicBezTo>
                  <a:pt x="154406" y="28249"/>
                  <a:pt x="154724" y="26127"/>
                  <a:pt x="154129" y="24166"/>
                </a:cubicBezTo>
                <a:cubicBezTo>
                  <a:pt x="152914" y="20811"/>
                  <a:pt x="147882" y="18728"/>
                  <a:pt x="143022" y="16762"/>
                </a:cubicBezTo>
                <a:cubicBezTo>
                  <a:pt x="138164" y="14795"/>
                  <a:pt x="133594" y="12886"/>
                  <a:pt x="132611" y="9473"/>
                </a:cubicBezTo>
                <a:cubicBezTo>
                  <a:pt x="132188" y="7570"/>
                  <a:pt x="132686" y="5580"/>
                  <a:pt x="133941" y="4094"/>
                </a:cubicBezTo>
                <a:cubicBezTo>
                  <a:pt x="134230" y="3689"/>
                  <a:pt x="134693" y="2879"/>
                  <a:pt x="134462" y="2416"/>
                </a:cubicBezTo>
                <a:cubicBezTo>
                  <a:pt x="134230" y="1953"/>
                  <a:pt x="133478" y="1028"/>
                  <a:pt x="128157" y="1028"/>
                </a:cubicBezTo>
                <a:cubicBezTo>
                  <a:pt x="116588" y="1028"/>
                  <a:pt x="98193" y="6465"/>
                  <a:pt x="97499" y="10109"/>
                </a:cubicBezTo>
                <a:cubicBezTo>
                  <a:pt x="97499" y="10688"/>
                  <a:pt x="98367" y="11498"/>
                  <a:pt x="100102" y="12250"/>
                </a:cubicBezTo>
                <a:cubicBezTo>
                  <a:pt x="108258" y="15489"/>
                  <a:pt x="108952" y="18844"/>
                  <a:pt x="108605" y="20579"/>
                </a:cubicBezTo>
                <a:cubicBezTo>
                  <a:pt x="108085" y="23240"/>
                  <a:pt x="104730" y="24975"/>
                  <a:pt x="99986" y="24975"/>
                </a:cubicBezTo>
                <a:cubicBezTo>
                  <a:pt x="93965" y="24831"/>
                  <a:pt x="88140" y="22806"/>
                  <a:pt x="83327" y="19191"/>
                </a:cubicBezTo>
                <a:cubicBezTo>
                  <a:pt x="79290" y="16646"/>
                  <a:pt x="74558" y="15414"/>
                  <a:pt x="69792" y="15662"/>
                </a:cubicBezTo>
                <a:cubicBezTo>
                  <a:pt x="55273" y="15662"/>
                  <a:pt x="37515" y="23761"/>
                  <a:pt x="34680" y="31685"/>
                </a:cubicBezTo>
                <a:cubicBezTo>
                  <a:pt x="33726" y="34549"/>
                  <a:pt x="34877" y="37690"/>
                  <a:pt x="37457" y="39263"/>
                </a:cubicBezTo>
                <a:cubicBezTo>
                  <a:pt x="42026" y="43023"/>
                  <a:pt x="50414" y="43081"/>
                  <a:pt x="57818" y="43139"/>
                </a:cubicBezTo>
                <a:cubicBezTo>
                  <a:pt x="65222" y="43196"/>
                  <a:pt x="72453" y="43139"/>
                  <a:pt x="74535" y="47361"/>
                </a:cubicBezTo>
                <a:cubicBezTo>
                  <a:pt x="76617" y="51584"/>
                  <a:pt x="74246" y="56327"/>
                  <a:pt x="67883" y="65004"/>
                </a:cubicBezTo>
                <a:cubicBezTo>
                  <a:pt x="61520" y="73680"/>
                  <a:pt x="55909" y="77614"/>
                  <a:pt x="49893" y="77614"/>
                </a:cubicBezTo>
                <a:cubicBezTo>
                  <a:pt x="43640" y="76729"/>
                  <a:pt x="37850" y="73825"/>
                  <a:pt x="33408" y="69342"/>
                </a:cubicBezTo>
                <a:cubicBezTo>
                  <a:pt x="28601" y="64506"/>
                  <a:pt x="22301" y="61429"/>
                  <a:pt x="15534" y="6060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0" name="Forma libre: forma 449">
            <a:extLst>
              <a:ext uri="{FF2B5EF4-FFF2-40B4-BE49-F238E27FC236}">
                <a16:creationId xmlns:a16="http://schemas.microsoft.com/office/drawing/2014/main" id="{036098C2-C333-7A80-5FF3-7E1A10734E6F}"/>
              </a:ext>
            </a:extLst>
          </p:cNvPr>
          <p:cNvSpPr/>
          <p:nvPr/>
        </p:nvSpPr>
        <p:spPr>
          <a:xfrm>
            <a:off x="2911924" y="1948036"/>
            <a:ext cx="499077" cy="267015"/>
          </a:xfrm>
          <a:custGeom>
            <a:avLst/>
            <a:gdLst>
              <a:gd name="connsiteX0" fmla="*/ 210753 w 499077"/>
              <a:gd name="connsiteY0" fmla="*/ 266886 h 267015"/>
              <a:gd name="connsiteX1" fmla="*/ 207109 w 499077"/>
              <a:gd name="connsiteY1" fmla="*/ 266886 h 267015"/>
              <a:gd name="connsiteX2" fmla="*/ 151405 w 499077"/>
              <a:gd name="connsiteY2" fmla="*/ 254739 h 267015"/>
              <a:gd name="connsiteX3" fmla="*/ 146662 w 499077"/>
              <a:gd name="connsiteY3" fmla="*/ 239063 h 267015"/>
              <a:gd name="connsiteX4" fmla="*/ 145158 w 499077"/>
              <a:gd name="connsiteY4" fmla="*/ 232990 h 267015"/>
              <a:gd name="connsiteX5" fmla="*/ 137002 w 499077"/>
              <a:gd name="connsiteY5" fmla="*/ 230791 h 267015"/>
              <a:gd name="connsiteX6" fmla="*/ 127168 w 499077"/>
              <a:gd name="connsiteY6" fmla="*/ 231486 h 267015"/>
              <a:gd name="connsiteX7" fmla="*/ 111897 w 499077"/>
              <a:gd name="connsiteY7" fmla="*/ 232353 h 267015"/>
              <a:gd name="connsiteX8" fmla="*/ 84306 w 499077"/>
              <a:gd name="connsiteY8" fmla="*/ 226858 h 267015"/>
              <a:gd name="connsiteX9" fmla="*/ 73084 w 499077"/>
              <a:gd name="connsiteY9" fmla="*/ 221710 h 267015"/>
              <a:gd name="connsiteX10" fmla="*/ 46128 w 499077"/>
              <a:gd name="connsiteY10" fmla="*/ 200654 h 267015"/>
              <a:gd name="connsiteX11" fmla="*/ 47112 w 499077"/>
              <a:gd name="connsiteY11" fmla="*/ 196837 h 267015"/>
              <a:gd name="connsiteX12" fmla="*/ 127226 w 499077"/>
              <a:gd name="connsiteY12" fmla="*/ 181045 h 267015"/>
              <a:gd name="connsiteX13" fmla="*/ 134630 w 499077"/>
              <a:gd name="connsiteY13" fmla="*/ 181392 h 267015"/>
              <a:gd name="connsiteX14" fmla="*/ 167891 w 499077"/>
              <a:gd name="connsiteY14" fmla="*/ 182318 h 267015"/>
              <a:gd name="connsiteX15" fmla="*/ 196350 w 499077"/>
              <a:gd name="connsiteY15" fmla="*/ 177343 h 267015"/>
              <a:gd name="connsiteX16" fmla="*/ 126937 w 499077"/>
              <a:gd name="connsiteY16" fmla="*/ 163403 h 267015"/>
              <a:gd name="connsiteX17" fmla="*/ 104204 w 499077"/>
              <a:gd name="connsiteY17" fmla="*/ 165138 h 267015"/>
              <a:gd name="connsiteX18" fmla="*/ 80199 w 499077"/>
              <a:gd name="connsiteY18" fmla="*/ 167105 h 267015"/>
              <a:gd name="connsiteX19" fmla="*/ 22933 w 499077"/>
              <a:gd name="connsiteY19" fmla="*/ 147033 h 267015"/>
              <a:gd name="connsiteX20" fmla="*/ 68109 w 499077"/>
              <a:gd name="connsiteY20" fmla="*/ 128928 h 267015"/>
              <a:gd name="connsiteX21" fmla="*/ 95585 w 499077"/>
              <a:gd name="connsiteY21" fmla="*/ 120887 h 267015"/>
              <a:gd name="connsiteX22" fmla="*/ 94891 w 499077"/>
              <a:gd name="connsiteY22" fmla="*/ 120135 h 267015"/>
              <a:gd name="connsiteX23" fmla="*/ 86215 w 499077"/>
              <a:gd name="connsiteY23" fmla="*/ 118169 h 267015"/>
              <a:gd name="connsiteX24" fmla="*/ 53475 w 499077"/>
              <a:gd name="connsiteY24" fmla="*/ 124647 h 267015"/>
              <a:gd name="connsiteX25" fmla="*/ 31031 w 499077"/>
              <a:gd name="connsiteY25" fmla="*/ 128754 h 267015"/>
              <a:gd name="connsiteX26" fmla="*/ 26230 w 499077"/>
              <a:gd name="connsiteY26" fmla="*/ 120714 h 267015"/>
              <a:gd name="connsiteX27" fmla="*/ 25536 w 499077"/>
              <a:gd name="connsiteY27" fmla="*/ 116722 h 267015"/>
              <a:gd name="connsiteX28" fmla="*/ 20446 w 499077"/>
              <a:gd name="connsiteY28" fmla="*/ 115450 h 267015"/>
              <a:gd name="connsiteX29" fmla="*/ 489 w 499077"/>
              <a:gd name="connsiteY29" fmla="*/ 104749 h 267015"/>
              <a:gd name="connsiteX30" fmla="*/ 6274 w 499077"/>
              <a:gd name="connsiteY30" fmla="*/ 90461 h 267015"/>
              <a:gd name="connsiteX31" fmla="*/ 17553 w 499077"/>
              <a:gd name="connsiteY31" fmla="*/ 75075 h 267015"/>
              <a:gd name="connsiteX32" fmla="*/ 15182 w 499077"/>
              <a:gd name="connsiteY32" fmla="*/ 73050 h 267015"/>
              <a:gd name="connsiteX33" fmla="*/ 13504 w 499077"/>
              <a:gd name="connsiteY33" fmla="*/ 71141 h 267015"/>
              <a:gd name="connsiteX34" fmla="*/ 64754 w 499077"/>
              <a:gd name="connsiteY34" fmla="*/ 41814 h 267015"/>
              <a:gd name="connsiteX35" fmla="*/ 91768 w 499077"/>
              <a:gd name="connsiteY35" fmla="*/ 31171 h 267015"/>
              <a:gd name="connsiteX36" fmla="*/ 124218 w 499077"/>
              <a:gd name="connsiteY36" fmla="*/ 20932 h 267015"/>
              <a:gd name="connsiteX37" fmla="*/ 135151 w 499077"/>
              <a:gd name="connsiteY37" fmla="*/ 26717 h 267015"/>
              <a:gd name="connsiteX38" fmla="*/ 136192 w 499077"/>
              <a:gd name="connsiteY38" fmla="*/ 28394 h 267015"/>
              <a:gd name="connsiteX39" fmla="*/ 144059 w 499077"/>
              <a:gd name="connsiteY39" fmla="*/ 51532 h 267015"/>
              <a:gd name="connsiteX40" fmla="*/ 129540 w 499077"/>
              <a:gd name="connsiteY40" fmla="*/ 60209 h 267015"/>
              <a:gd name="connsiteX41" fmla="*/ 122946 w 499077"/>
              <a:gd name="connsiteY41" fmla="*/ 63043 h 267015"/>
              <a:gd name="connsiteX42" fmla="*/ 141629 w 499077"/>
              <a:gd name="connsiteY42" fmla="*/ 68365 h 267015"/>
              <a:gd name="connsiteX43" fmla="*/ 149207 w 499077"/>
              <a:gd name="connsiteY43" fmla="*/ 66687 h 267015"/>
              <a:gd name="connsiteX44" fmla="*/ 151347 w 499077"/>
              <a:gd name="connsiteY44" fmla="*/ 58184 h 267015"/>
              <a:gd name="connsiteX45" fmla="*/ 168006 w 499077"/>
              <a:gd name="connsiteY45" fmla="*/ 40831 h 267015"/>
              <a:gd name="connsiteX46" fmla="*/ 210175 w 499077"/>
              <a:gd name="connsiteY46" fmla="*/ 53614 h 267015"/>
              <a:gd name="connsiteX47" fmla="*/ 212836 w 499077"/>
              <a:gd name="connsiteY47" fmla="*/ 62754 h 267015"/>
              <a:gd name="connsiteX48" fmla="*/ 212315 w 499077"/>
              <a:gd name="connsiteY48" fmla="*/ 64952 h 267015"/>
              <a:gd name="connsiteX49" fmla="*/ 211158 w 499077"/>
              <a:gd name="connsiteY49" fmla="*/ 74033 h 267015"/>
              <a:gd name="connsiteX50" fmla="*/ 219488 w 499077"/>
              <a:gd name="connsiteY50" fmla="*/ 68943 h 267015"/>
              <a:gd name="connsiteX51" fmla="*/ 228801 w 499077"/>
              <a:gd name="connsiteY51" fmla="*/ 65530 h 267015"/>
              <a:gd name="connsiteX52" fmla="*/ 240370 w 499077"/>
              <a:gd name="connsiteY52" fmla="*/ 68654 h 267015"/>
              <a:gd name="connsiteX53" fmla="*/ 247022 w 499077"/>
              <a:gd name="connsiteY53" fmla="*/ 70736 h 267015"/>
              <a:gd name="connsiteX54" fmla="*/ 250492 w 499077"/>
              <a:gd name="connsiteY54" fmla="*/ 67092 h 267015"/>
              <a:gd name="connsiteX55" fmla="*/ 239791 w 499077"/>
              <a:gd name="connsiteY55" fmla="*/ 54829 h 267015"/>
              <a:gd name="connsiteX56" fmla="*/ 229900 w 499077"/>
              <a:gd name="connsiteY56" fmla="*/ 44070 h 267015"/>
              <a:gd name="connsiteX57" fmla="*/ 236957 w 499077"/>
              <a:gd name="connsiteY57" fmla="*/ 40252 h 267015"/>
              <a:gd name="connsiteX58" fmla="*/ 282769 w 499077"/>
              <a:gd name="connsiteY58" fmla="*/ 63390 h 267015"/>
              <a:gd name="connsiteX59" fmla="*/ 292256 w 499077"/>
              <a:gd name="connsiteY59" fmla="*/ 89420 h 267015"/>
              <a:gd name="connsiteX60" fmla="*/ 302205 w 499077"/>
              <a:gd name="connsiteY60" fmla="*/ 110186 h 267015"/>
              <a:gd name="connsiteX61" fmla="*/ 307527 w 499077"/>
              <a:gd name="connsiteY61" fmla="*/ 109087 h 267015"/>
              <a:gd name="connsiteX62" fmla="*/ 319963 w 499077"/>
              <a:gd name="connsiteY62" fmla="*/ 103939 h 267015"/>
              <a:gd name="connsiteX63" fmla="*/ 318459 w 499077"/>
              <a:gd name="connsiteY63" fmla="*/ 97345 h 267015"/>
              <a:gd name="connsiteX64" fmla="*/ 300354 w 499077"/>
              <a:gd name="connsiteY64" fmla="*/ 29493 h 267015"/>
              <a:gd name="connsiteX65" fmla="*/ 308337 w 499077"/>
              <a:gd name="connsiteY65" fmla="*/ 24692 h 267015"/>
              <a:gd name="connsiteX66" fmla="*/ 317360 w 499077"/>
              <a:gd name="connsiteY66" fmla="*/ 27527 h 267015"/>
              <a:gd name="connsiteX67" fmla="*/ 325864 w 499077"/>
              <a:gd name="connsiteY67" fmla="*/ 30245 h 267015"/>
              <a:gd name="connsiteX68" fmla="*/ 329739 w 499077"/>
              <a:gd name="connsiteY68" fmla="*/ 29146 h 267015"/>
              <a:gd name="connsiteX69" fmla="*/ 333730 w 499077"/>
              <a:gd name="connsiteY69" fmla="*/ 28105 h 267015"/>
              <a:gd name="connsiteX70" fmla="*/ 356579 w 499077"/>
              <a:gd name="connsiteY70" fmla="*/ 38980 h 267015"/>
              <a:gd name="connsiteX71" fmla="*/ 366817 w 499077"/>
              <a:gd name="connsiteY71" fmla="*/ 44764 h 267015"/>
              <a:gd name="connsiteX72" fmla="*/ 345010 w 499077"/>
              <a:gd name="connsiteY72" fmla="*/ 25502 h 267015"/>
              <a:gd name="connsiteX73" fmla="*/ 333036 w 499077"/>
              <a:gd name="connsiteY73" fmla="*/ 16247 h 267015"/>
              <a:gd name="connsiteX74" fmla="*/ 333036 w 499077"/>
              <a:gd name="connsiteY74" fmla="*/ 13413 h 267015"/>
              <a:gd name="connsiteX75" fmla="*/ 372717 w 499077"/>
              <a:gd name="connsiteY75" fmla="*/ -123 h 267015"/>
              <a:gd name="connsiteX76" fmla="*/ 387815 w 499077"/>
              <a:gd name="connsiteY76" fmla="*/ 2422 h 267015"/>
              <a:gd name="connsiteX77" fmla="*/ 399904 w 499077"/>
              <a:gd name="connsiteY77" fmla="*/ 13991 h 267015"/>
              <a:gd name="connsiteX78" fmla="*/ 384575 w 499077"/>
              <a:gd name="connsiteY78" fmla="*/ 42913 h 267015"/>
              <a:gd name="connsiteX79" fmla="*/ 378791 w 499077"/>
              <a:gd name="connsiteY79" fmla="*/ 65646 h 267015"/>
              <a:gd name="connsiteX80" fmla="*/ 395508 w 499077"/>
              <a:gd name="connsiteY80" fmla="*/ 103013 h 267015"/>
              <a:gd name="connsiteX81" fmla="*/ 399557 w 499077"/>
              <a:gd name="connsiteY81" fmla="*/ 121061 h 267015"/>
              <a:gd name="connsiteX82" fmla="*/ 406383 w 499077"/>
              <a:gd name="connsiteY82" fmla="*/ 141769 h 267015"/>
              <a:gd name="connsiteX83" fmla="*/ 433974 w 499077"/>
              <a:gd name="connsiteY83" fmla="*/ 156230 h 267015"/>
              <a:gd name="connsiteX84" fmla="*/ 449997 w 499077"/>
              <a:gd name="connsiteY84" fmla="*/ 163576 h 267015"/>
              <a:gd name="connsiteX85" fmla="*/ 466136 w 499077"/>
              <a:gd name="connsiteY85" fmla="*/ 171790 h 267015"/>
              <a:gd name="connsiteX86" fmla="*/ 498934 w 499077"/>
              <a:gd name="connsiteY86" fmla="*/ 200712 h 267015"/>
              <a:gd name="connsiteX87" fmla="*/ 491298 w 499077"/>
              <a:gd name="connsiteY87" fmla="*/ 208463 h 267015"/>
              <a:gd name="connsiteX88" fmla="*/ 477011 w 499077"/>
              <a:gd name="connsiteY88" fmla="*/ 204704 h 267015"/>
              <a:gd name="connsiteX89" fmla="*/ 463764 w 499077"/>
              <a:gd name="connsiteY89" fmla="*/ 201117 h 267015"/>
              <a:gd name="connsiteX90" fmla="*/ 459889 w 499077"/>
              <a:gd name="connsiteY90" fmla="*/ 202506 h 267015"/>
              <a:gd name="connsiteX91" fmla="*/ 443981 w 499077"/>
              <a:gd name="connsiteY91" fmla="*/ 212223 h 267015"/>
              <a:gd name="connsiteX92" fmla="*/ 433454 w 499077"/>
              <a:gd name="connsiteY92" fmla="*/ 219570 h 267015"/>
              <a:gd name="connsiteX93" fmla="*/ 442362 w 499077"/>
              <a:gd name="connsiteY93" fmla="*/ 226627 h 267015"/>
              <a:gd name="connsiteX94" fmla="*/ 452080 w 499077"/>
              <a:gd name="connsiteY94" fmla="*/ 220495 h 267015"/>
              <a:gd name="connsiteX95" fmla="*/ 459600 w 499077"/>
              <a:gd name="connsiteY95" fmla="*/ 216967 h 267015"/>
              <a:gd name="connsiteX96" fmla="*/ 478630 w 499077"/>
              <a:gd name="connsiteY96" fmla="*/ 232990 h 267015"/>
              <a:gd name="connsiteX97" fmla="*/ 471689 w 499077"/>
              <a:gd name="connsiteY97" fmla="*/ 246409 h 267015"/>
              <a:gd name="connsiteX98" fmla="*/ 423389 w 499077"/>
              <a:gd name="connsiteY98" fmla="*/ 255433 h 267015"/>
              <a:gd name="connsiteX99" fmla="*/ 384344 w 499077"/>
              <a:gd name="connsiteY99" fmla="*/ 245021 h 267015"/>
              <a:gd name="connsiteX100" fmla="*/ 367858 w 499077"/>
              <a:gd name="connsiteY100" fmla="*/ 240047 h 267015"/>
              <a:gd name="connsiteX101" fmla="*/ 348943 w 499077"/>
              <a:gd name="connsiteY101" fmla="*/ 232469 h 267015"/>
              <a:gd name="connsiteX102" fmla="*/ 340151 w 499077"/>
              <a:gd name="connsiteY102" fmla="*/ 224081 h 267015"/>
              <a:gd name="connsiteX103" fmla="*/ 330375 w 499077"/>
              <a:gd name="connsiteY103" fmla="*/ 231543 h 267015"/>
              <a:gd name="connsiteX104" fmla="*/ 296189 w 499077"/>
              <a:gd name="connsiteY104" fmla="*/ 249186 h 267015"/>
              <a:gd name="connsiteX105" fmla="*/ 289364 w 499077"/>
              <a:gd name="connsiteY105" fmla="*/ 249186 h 267015"/>
              <a:gd name="connsiteX106" fmla="*/ 262813 w 499077"/>
              <a:gd name="connsiteY106" fmla="*/ 255896 h 267015"/>
              <a:gd name="connsiteX107" fmla="*/ 210753 w 499077"/>
              <a:gd name="connsiteY107" fmla="*/ 266886 h 267015"/>
              <a:gd name="connsiteX108" fmla="*/ 137002 w 499077"/>
              <a:gd name="connsiteY108" fmla="*/ 228535 h 267015"/>
              <a:gd name="connsiteX109" fmla="*/ 146778 w 499077"/>
              <a:gd name="connsiteY109" fmla="*/ 231428 h 267015"/>
              <a:gd name="connsiteX110" fmla="*/ 148918 w 499077"/>
              <a:gd name="connsiteY110" fmla="*/ 239179 h 267015"/>
              <a:gd name="connsiteX111" fmla="*/ 153083 w 499077"/>
              <a:gd name="connsiteY111" fmla="*/ 253119 h 267015"/>
              <a:gd name="connsiteX112" fmla="*/ 207167 w 499077"/>
              <a:gd name="connsiteY112" fmla="*/ 264688 h 267015"/>
              <a:gd name="connsiteX113" fmla="*/ 262061 w 499077"/>
              <a:gd name="connsiteY113" fmla="*/ 253119 h 267015"/>
              <a:gd name="connsiteX114" fmla="*/ 289595 w 499077"/>
              <a:gd name="connsiteY114" fmla="*/ 246294 h 267015"/>
              <a:gd name="connsiteX115" fmla="*/ 296305 w 499077"/>
              <a:gd name="connsiteY115" fmla="*/ 246294 h 267015"/>
              <a:gd name="connsiteX116" fmla="*/ 328582 w 499077"/>
              <a:gd name="connsiteY116" fmla="*/ 229634 h 267015"/>
              <a:gd name="connsiteX117" fmla="*/ 340151 w 499077"/>
              <a:gd name="connsiteY117" fmla="*/ 221189 h 267015"/>
              <a:gd name="connsiteX118" fmla="*/ 351084 w 499077"/>
              <a:gd name="connsiteY118" fmla="*/ 231139 h 267015"/>
              <a:gd name="connsiteX119" fmla="*/ 368437 w 499077"/>
              <a:gd name="connsiteY119" fmla="*/ 237212 h 267015"/>
              <a:gd name="connsiteX120" fmla="*/ 386195 w 499077"/>
              <a:gd name="connsiteY120" fmla="*/ 242997 h 267015"/>
              <a:gd name="connsiteX121" fmla="*/ 423620 w 499077"/>
              <a:gd name="connsiteY121" fmla="*/ 252772 h 267015"/>
              <a:gd name="connsiteX122" fmla="*/ 470879 w 499077"/>
              <a:gd name="connsiteY122" fmla="*/ 243980 h 267015"/>
              <a:gd name="connsiteX123" fmla="*/ 476663 w 499077"/>
              <a:gd name="connsiteY123" fmla="*/ 233105 h 267015"/>
              <a:gd name="connsiteX124" fmla="*/ 459831 w 499077"/>
              <a:gd name="connsiteY124" fmla="*/ 218818 h 267015"/>
              <a:gd name="connsiteX125" fmla="*/ 454046 w 499077"/>
              <a:gd name="connsiteY125" fmla="*/ 221478 h 267015"/>
              <a:gd name="connsiteX126" fmla="*/ 442477 w 499077"/>
              <a:gd name="connsiteY126" fmla="*/ 228478 h 267015"/>
              <a:gd name="connsiteX127" fmla="*/ 431487 w 499077"/>
              <a:gd name="connsiteY127" fmla="*/ 220032 h 267015"/>
              <a:gd name="connsiteX128" fmla="*/ 443056 w 499077"/>
              <a:gd name="connsiteY128" fmla="*/ 209736 h 267015"/>
              <a:gd name="connsiteX129" fmla="*/ 458211 w 499077"/>
              <a:gd name="connsiteY129" fmla="*/ 200654 h 267015"/>
              <a:gd name="connsiteX130" fmla="*/ 463996 w 499077"/>
              <a:gd name="connsiteY130" fmla="*/ 198457 h 267015"/>
              <a:gd name="connsiteX131" fmla="*/ 477994 w 499077"/>
              <a:gd name="connsiteY131" fmla="*/ 202158 h 267015"/>
              <a:gd name="connsiteX132" fmla="*/ 491529 w 499077"/>
              <a:gd name="connsiteY132" fmla="*/ 205803 h 267015"/>
              <a:gd name="connsiteX133" fmla="*/ 496909 w 499077"/>
              <a:gd name="connsiteY133" fmla="*/ 200018 h 267015"/>
              <a:gd name="connsiteX134" fmla="*/ 465384 w 499077"/>
              <a:gd name="connsiteY134" fmla="*/ 173063 h 267015"/>
              <a:gd name="connsiteX135" fmla="*/ 448956 w 499077"/>
              <a:gd name="connsiteY135" fmla="*/ 164675 h 267015"/>
              <a:gd name="connsiteX136" fmla="*/ 433512 w 499077"/>
              <a:gd name="connsiteY136" fmla="*/ 157618 h 267015"/>
              <a:gd name="connsiteX137" fmla="*/ 405284 w 499077"/>
              <a:gd name="connsiteY137" fmla="*/ 142810 h 267015"/>
              <a:gd name="connsiteX138" fmla="*/ 397706 w 499077"/>
              <a:gd name="connsiteY138" fmla="*/ 119673 h 267015"/>
              <a:gd name="connsiteX139" fmla="*/ 394351 w 499077"/>
              <a:gd name="connsiteY139" fmla="*/ 104228 h 267015"/>
              <a:gd name="connsiteX140" fmla="*/ 376998 w 499077"/>
              <a:gd name="connsiteY140" fmla="*/ 65183 h 267015"/>
              <a:gd name="connsiteX141" fmla="*/ 383592 w 499077"/>
              <a:gd name="connsiteY141" fmla="*/ 40715 h 267015"/>
              <a:gd name="connsiteX142" fmla="*/ 398342 w 499077"/>
              <a:gd name="connsiteY142" fmla="*/ 13817 h 267015"/>
              <a:gd name="connsiteX143" fmla="*/ 387641 w 499077"/>
              <a:gd name="connsiteY143" fmla="*/ 3810 h 267015"/>
              <a:gd name="connsiteX144" fmla="*/ 373354 w 499077"/>
              <a:gd name="connsiteY144" fmla="*/ 1439 h 267015"/>
              <a:gd name="connsiteX145" fmla="*/ 335697 w 499077"/>
              <a:gd name="connsiteY145" fmla="*/ 13702 h 267015"/>
              <a:gd name="connsiteX146" fmla="*/ 335697 w 499077"/>
              <a:gd name="connsiteY146" fmla="*/ 14165 h 267015"/>
              <a:gd name="connsiteX147" fmla="*/ 347266 w 499077"/>
              <a:gd name="connsiteY147" fmla="*/ 22957 h 267015"/>
              <a:gd name="connsiteX148" fmla="*/ 369941 w 499077"/>
              <a:gd name="connsiteY148" fmla="*/ 43954 h 267015"/>
              <a:gd name="connsiteX149" fmla="*/ 368044 w 499077"/>
              <a:gd name="connsiteY149" fmla="*/ 46314 h 267015"/>
              <a:gd name="connsiteX150" fmla="*/ 367743 w 499077"/>
              <a:gd name="connsiteY150" fmla="*/ 46326 h 267015"/>
              <a:gd name="connsiteX151" fmla="*/ 356174 w 499077"/>
              <a:gd name="connsiteY151" fmla="*/ 40194 h 267015"/>
              <a:gd name="connsiteX152" fmla="*/ 334598 w 499077"/>
              <a:gd name="connsiteY152" fmla="*/ 29667 h 267015"/>
              <a:gd name="connsiteX153" fmla="*/ 331822 w 499077"/>
              <a:gd name="connsiteY153" fmla="*/ 30361 h 267015"/>
              <a:gd name="connsiteX154" fmla="*/ 326731 w 499077"/>
              <a:gd name="connsiteY154" fmla="*/ 31807 h 267015"/>
              <a:gd name="connsiteX155" fmla="*/ 317303 w 499077"/>
              <a:gd name="connsiteY155" fmla="*/ 28915 h 267015"/>
              <a:gd name="connsiteX156" fmla="*/ 309204 w 499077"/>
              <a:gd name="connsiteY156" fmla="*/ 26254 h 267015"/>
              <a:gd name="connsiteX157" fmla="*/ 303073 w 499077"/>
              <a:gd name="connsiteY157" fmla="*/ 30072 h 267015"/>
              <a:gd name="connsiteX158" fmla="*/ 321294 w 499077"/>
              <a:gd name="connsiteY158" fmla="*/ 95494 h 267015"/>
              <a:gd name="connsiteX159" fmla="*/ 322856 w 499077"/>
              <a:gd name="connsiteY159" fmla="*/ 104170 h 267015"/>
              <a:gd name="connsiteX160" fmla="*/ 308799 w 499077"/>
              <a:gd name="connsiteY160" fmla="*/ 110591 h 267015"/>
              <a:gd name="connsiteX161" fmla="*/ 303593 w 499077"/>
              <a:gd name="connsiteY161" fmla="*/ 111690 h 267015"/>
              <a:gd name="connsiteX162" fmla="*/ 302437 w 499077"/>
              <a:gd name="connsiteY162" fmla="*/ 111690 h 267015"/>
              <a:gd name="connsiteX163" fmla="*/ 302437 w 499077"/>
              <a:gd name="connsiteY163" fmla="*/ 111690 h 267015"/>
              <a:gd name="connsiteX164" fmla="*/ 290868 w 499077"/>
              <a:gd name="connsiteY164" fmla="*/ 89073 h 267015"/>
              <a:gd name="connsiteX165" fmla="*/ 281381 w 499077"/>
              <a:gd name="connsiteY165" fmla="*/ 64084 h 267015"/>
              <a:gd name="connsiteX166" fmla="*/ 237362 w 499077"/>
              <a:gd name="connsiteY166" fmla="*/ 42161 h 267015"/>
              <a:gd name="connsiteX167" fmla="*/ 232503 w 499077"/>
              <a:gd name="connsiteY167" fmla="*/ 44301 h 267015"/>
              <a:gd name="connsiteX168" fmla="*/ 241179 w 499077"/>
              <a:gd name="connsiteY168" fmla="*/ 52457 h 267015"/>
              <a:gd name="connsiteX169" fmla="*/ 253095 w 499077"/>
              <a:gd name="connsiteY169" fmla="*/ 67323 h 267015"/>
              <a:gd name="connsiteX170" fmla="*/ 247311 w 499077"/>
              <a:gd name="connsiteY170" fmla="*/ 72645 h 267015"/>
              <a:gd name="connsiteX171" fmla="*/ 239791 w 499077"/>
              <a:gd name="connsiteY171" fmla="*/ 70389 h 267015"/>
              <a:gd name="connsiteX172" fmla="*/ 228974 w 499077"/>
              <a:gd name="connsiteY172" fmla="*/ 67439 h 267015"/>
              <a:gd name="connsiteX173" fmla="*/ 221107 w 499077"/>
              <a:gd name="connsiteY173" fmla="*/ 70331 h 267015"/>
              <a:gd name="connsiteX174" fmla="*/ 211505 w 499077"/>
              <a:gd name="connsiteY174" fmla="*/ 76116 h 267015"/>
              <a:gd name="connsiteX175" fmla="*/ 209597 w 499077"/>
              <a:gd name="connsiteY175" fmla="*/ 75248 h 267015"/>
              <a:gd name="connsiteX176" fmla="*/ 210291 w 499077"/>
              <a:gd name="connsiteY176" fmla="*/ 64200 h 267015"/>
              <a:gd name="connsiteX177" fmla="*/ 210811 w 499077"/>
              <a:gd name="connsiteY177" fmla="*/ 62060 h 267015"/>
              <a:gd name="connsiteX178" fmla="*/ 208555 w 499077"/>
              <a:gd name="connsiteY178" fmla="*/ 54771 h 267015"/>
              <a:gd name="connsiteX179" fmla="*/ 168353 w 499077"/>
              <a:gd name="connsiteY179" fmla="*/ 42855 h 267015"/>
              <a:gd name="connsiteX180" fmla="*/ 153777 w 499077"/>
              <a:gd name="connsiteY180" fmla="*/ 57779 h 267015"/>
              <a:gd name="connsiteX181" fmla="*/ 150827 w 499077"/>
              <a:gd name="connsiteY181" fmla="*/ 68018 h 267015"/>
              <a:gd name="connsiteX182" fmla="*/ 141803 w 499077"/>
              <a:gd name="connsiteY182" fmla="*/ 70216 h 267015"/>
              <a:gd name="connsiteX183" fmla="*/ 120863 w 499077"/>
              <a:gd name="connsiteY183" fmla="*/ 62869 h 267015"/>
              <a:gd name="connsiteX184" fmla="*/ 129251 w 499077"/>
              <a:gd name="connsiteY184" fmla="*/ 57606 h 267015"/>
              <a:gd name="connsiteX185" fmla="*/ 142150 w 499077"/>
              <a:gd name="connsiteY185" fmla="*/ 50259 h 267015"/>
              <a:gd name="connsiteX186" fmla="*/ 134457 w 499077"/>
              <a:gd name="connsiteY186" fmla="*/ 29493 h 267015"/>
              <a:gd name="connsiteX187" fmla="*/ 133416 w 499077"/>
              <a:gd name="connsiteY187" fmla="*/ 27816 h 267015"/>
              <a:gd name="connsiteX188" fmla="*/ 124392 w 499077"/>
              <a:gd name="connsiteY188" fmla="*/ 23246 h 267015"/>
              <a:gd name="connsiteX189" fmla="*/ 92809 w 499077"/>
              <a:gd name="connsiteY189" fmla="*/ 33311 h 267015"/>
              <a:gd name="connsiteX190" fmla="*/ 65680 w 499077"/>
              <a:gd name="connsiteY190" fmla="*/ 44012 h 267015"/>
              <a:gd name="connsiteX191" fmla="*/ 15992 w 499077"/>
              <a:gd name="connsiteY191" fmla="*/ 70910 h 267015"/>
              <a:gd name="connsiteX192" fmla="*/ 19925 w 499077"/>
              <a:gd name="connsiteY192" fmla="*/ 74612 h 267015"/>
              <a:gd name="connsiteX193" fmla="*/ 7894 w 499077"/>
              <a:gd name="connsiteY193" fmla="*/ 91965 h 267015"/>
              <a:gd name="connsiteX194" fmla="*/ 2630 w 499077"/>
              <a:gd name="connsiteY194" fmla="*/ 103534 h 267015"/>
              <a:gd name="connsiteX195" fmla="*/ 20504 w 499077"/>
              <a:gd name="connsiteY195" fmla="*/ 112789 h 267015"/>
              <a:gd name="connsiteX196" fmla="*/ 27213 w 499077"/>
              <a:gd name="connsiteY196" fmla="*/ 114756 h 267015"/>
              <a:gd name="connsiteX197" fmla="*/ 28544 w 499077"/>
              <a:gd name="connsiteY197" fmla="*/ 120540 h 267015"/>
              <a:gd name="connsiteX198" fmla="*/ 31667 w 499077"/>
              <a:gd name="connsiteY198" fmla="*/ 126325 h 267015"/>
              <a:gd name="connsiteX199" fmla="*/ 33287 w 499077"/>
              <a:gd name="connsiteY199" fmla="*/ 126325 h 267015"/>
              <a:gd name="connsiteX200" fmla="*/ 52954 w 499077"/>
              <a:gd name="connsiteY200" fmla="*/ 122044 h 267015"/>
              <a:gd name="connsiteX201" fmla="*/ 86446 w 499077"/>
              <a:gd name="connsiteY201" fmla="*/ 116144 h 267015"/>
              <a:gd name="connsiteX202" fmla="*/ 96395 w 499077"/>
              <a:gd name="connsiteY202" fmla="*/ 118516 h 267015"/>
              <a:gd name="connsiteX203" fmla="*/ 98073 w 499077"/>
              <a:gd name="connsiteY203" fmla="*/ 121581 h 267015"/>
              <a:gd name="connsiteX204" fmla="*/ 68804 w 499077"/>
              <a:gd name="connsiteY204" fmla="*/ 131357 h 267015"/>
              <a:gd name="connsiteX205" fmla="*/ 25420 w 499077"/>
              <a:gd name="connsiteY205" fmla="*/ 147264 h 267015"/>
              <a:gd name="connsiteX206" fmla="*/ 80430 w 499077"/>
              <a:gd name="connsiteY206" fmla="*/ 165080 h 267015"/>
              <a:gd name="connsiteX207" fmla="*/ 104031 w 499077"/>
              <a:gd name="connsiteY207" fmla="*/ 163171 h 267015"/>
              <a:gd name="connsiteX208" fmla="*/ 127168 w 499077"/>
              <a:gd name="connsiteY208" fmla="*/ 161378 h 267015"/>
              <a:gd name="connsiteX209" fmla="*/ 198664 w 499077"/>
              <a:gd name="connsiteY209" fmla="*/ 177575 h 267015"/>
              <a:gd name="connsiteX210" fmla="*/ 167949 w 499077"/>
              <a:gd name="connsiteY210" fmla="*/ 184863 h 267015"/>
              <a:gd name="connsiteX211" fmla="*/ 134630 w 499077"/>
              <a:gd name="connsiteY211" fmla="*/ 183880 h 267015"/>
              <a:gd name="connsiteX212" fmla="*/ 126937 w 499077"/>
              <a:gd name="connsiteY212" fmla="*/ 183243 h 267015"/>
              <a:gd name="connsiteX213" fmla="*/ 121557 w 499077"/>
              <a:gd name="connsiteY213" fmla="*/ 183243 h 267015"/>
              <a:gd name="connsiteX214" fmla="*/ 48674 w 499077"/>
              <a:gd name="connsiteY214" fmla="*/ 198283 h 267015"/>
              <a:gd name="connsiteX215" fmla="*/ 48095 w 499077"/>
              <a:gd name="connsiteY215" fmla="*/ 200192 h 267015"/>
              <a:gd name="connsiteX216" fmla="*/ 73778 w 499077"/>
              <a:gd name="connsiteY216" fmla="*/ 219685 h 267015"/>
              <a:gd name="connsiteX217" fmla="*/ 85058 w 499077"/>
              <a:gd name="connsiteY217" fmla="*/ 224833 h 267015"/>
              <a:gd name="connsiteX218" fmla="*/ 111666 w 499077"/>
              <a:gd name="connsiteY218" fmla="*/ 230155 h 267015"/>
              <a:gd name="connsiteX219" fmla="*/ 126706 w 499077"/>
              <a:gd name="connsiteY219" fmla="*/ 229287 h 267015"/>
              <a:gd name="connsiteX220" fmla="*/ 137002 w 499077"/>
              <a:gd name="connsiteY220" fmla="*/ 228535 h 267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499077" h="267015">
                <a:moveTo>
                  <a:pt x="210753" y="266886"/>
                </a:moveTo>
                <a:lnTo>
                  <a:pt x="207109" y="266886"/>
                </a:lnTo>
                <a:cubicBezTo>
                  <a:pt x="178939" y="266134"/>
                  <a:pt x="159735" y="263820"/>
                  <a:pt x="151405" y="254739"/>
                </a:cubicBezTo>
                <a:cubicBezTo>
                  <a:pt x="147680" y="250418"/>
                  <a:pt x="145956" y="244726"/>
                  <a:pt x="146662" y="239063"/>
                </a:cubicBezTo>
                <a:cubicBezTo>
                  <a:pt x="147009" y="236917"/>
                  <a:pt x="146465" y="234725"/>
                  <a:pt x="145158" y="232990"/>
                </a:cubicBezTo>
                <a:cubicBezTo>
                  <a:pt x="142844" y="231196"/>
                  <a:pt x="139906" y="230404"/>
                  <a:pt x="137002" y="230791"/>
                </a:cubicBezTo>
                <a:cubicBezTo>
                  <a:pt x="134168" y="230791"/>
                  <a:pt x="130928" y="231139"/>
                  <a:pt x="127168" y="231486"/>
                </a:cubicBezTo>
                <a:cubicBezTo>
                  <a:pt x="123409" y="231833"/>
                  <a:pt x="117393" y="232353"/>
                  <a:pt x="111897" y="232353"/>
                </a:cubicBezTo>
                <a:cubicBezTo>
                  <a:pt x="102411" y="232567"/>
                  <a:pt x="92988" y="230693"/>
                  <a:pt x="84306" y="226858"/>
                </a:cubicBezTo>
                <a:lnTo>
                  <a:pt x="73084" y="221710"/>
                </a:lnTo>
                <a:cubicBezTo>
                  <a:pt x="51855" y="212050"/>
                  <a:pt x="48616" y="210546"/>
                  <a:pt x="46128" y="200654"/>
                </a:cubicBezTo>
                <a:cubicBezTo>
                  <a:pt x="45868" y="199301"/>
                  <a:pt x="46233" y="197901"/>
                  <a:pt x="47112" y="196837"/>
                </a:cubicBezTo>
                <a:cubicBezTo>
                  <a:pt x="54285" y="187697"/>
                  <a:pt x="99172" y="179946"/>
                  <a:pt x="127226" y="181045"/>
                </a:cubicBezTo>
                <a:lnTo>
                  <a:pt x="134630" y="181392"/>
                </a:lnTo>
                <a:cubicBezTo>
                  <a:pt x="145910" y="181855"/>
                  <a:pt x="157768" y="182318"/>
                  <a:pt x="167891" y="182318"/>
                </a:cubicBezTo>
                <a:cubicBezTo>
                  <a:pt x="192648" y="182318"/>
                  <a:pt x="196350" y="179252"/>
                  <a:pt x="196350" y="177343"/>
                </a:cubicBezTo>
                <a:cubicBezTo>
                  <a:pt x="196350" y="172369"/>
                  <a:pt x="161644" y="163403"/>
                  <a:pt x="126937" y="163403"/>
                </a:cubicBezTo>
                <a:cubicBezTo>
                  <a:pt x="119325" y="163322"/>
                  <a:pt x="111718" y="163900"/>
                  <a:pt x="104204" y="165138"/>
                </a:cubicBezTo>
                <a:cubicBezTo>
                  <a:pt x="96274" y="166497"/>
                  <a:pt x="88245" y="167157"/>
                  <a:pt x="80199" y="167105"/>
                </a:cubicBezTo>
                <a:cubicBezTo>
                  <a:pt x="52029" y="167105"/>
                  <a:pt x="22933" y="159643"/>
                  <a:pt x="22933" y="147033"/>
                </a:cubicBezTo>
                <a:cubicBezTo>
                  <a:pt x="22933" y="138993"/>
                  <a:pt x="41617" y="134423"/>
                  <a:pt x="68109" y="128928"/>
                </a:cubicBezTo>
                <a:cubicBezTo>
                  <a:pt x="79678" y="126498"/>
                  <a:pt x="95123" y="123143"/>
                  <a:pt x="95585" y="120887"/>
                </a:cubicBezTo>
                <a:cubicBezTo>
                  <a:pt x="95585" y="120887"/>
                  <a:pt x="95585" y="120540"/>
                  <a:pt x="94891" y="120135"/>
                </a:cubicBezTo>
                <a:cubicBezTo>
                  <a:pt x="92265" y="118620"/>
                  <a:pt x="89240" y="117931"/>
                  <a:pt x="86215" y="118169"/>
                </a:cubicBezTo>
                <a:cubicBezTo>
                  <a:pt x="75085" y="119042"/>
                  <a:pt x="64095" y="121211"/>
                  <a:pt x="53475" y="124647"/>
                </a:cubicBezTo>
                <a:cubicBezTo>
                  <a:pt x="43121" y="127482"/>
                  <a:pt x="34560" y="129795"/>
                  <a:pt x="31031" y="128754"/>
                </a:cubicBezTo>
                <a:cubicBezTo>
                  <a:pt x="25883" y="127308"/>
                  <a:pt x="26057" y="123490"/>
                  <a:pt x="26230" y="120714"/>
                </a:cubicBezTo>
                <a:cubicBezTo>
                  <a:pt x="26485" y="119343"/>
                  <a:pt x="26242" y="117926"/>
                  <a:pt x="25536" y="116722"/>
                </a:cubicBezTo>
                <a:cubicBezTo>
                  <a:pt x="24049" y="115699"/>
                  <a:pt x="22239" y="115247"/>
                  <a:pt x="20446" y="115450"/>
                </a:cubicBezTo>
                <a:cubicBezTo>
                  <a:pt x="11248" y="115450"/>
                  <a:pt x="2687" y="110822"/>
                  <a:pt x="489" y="104749"/>
                </a:cubicBezTo>
                <a:cubicBezTo>
                  <a:pt x="-725" y="101452"/>
                  <a:pt x="-668" y="96303"/>
                  <a:pt x="6274" y="90461"/>
                </a:cubicBezTo>
                <a:cubicBezTo>
                  <a:pt x="17496" y="81090"/>
                  <a:pt x="17843" y="76579"/>
                  <a:pt x="17553" y="75075"/>
                </a:cubicBezTo>
                <a:cubicBezTo>
                  <a:pt x="17253" y="73976"/>
                  <a:pt x="16310" y="73177"/>
                  <a:pt x="15182" y="73050"/>
                </a:cubicBezTo>
                <a:cubicBezTo>
                  <a:pt x="14256" y="72871"/>
                  <a:pt x="13568" y="72084"/>
                  <a:pt x="13504" y="71141"/>
                </a:cubicBezTo>
                <a:cubicBezTo>
                  <a:pt x="13504" y="66687"/>
                  <a:pt x="31436" y="53788"/>
                  <a:pt x="64754" y="41814"/>
                </a:cubicBezTo>
                <a:cubicBezTo>
                  <a:pt x="74819" y="38228"/>
                  <a:pt x="83843" y="34468"/>
                  <a:pt x="91768" y="31171"/>
                </a:cubicBezTo>
                <a:cubicBezTo>
                  <a:pt x="105535" y="25386"/>
                  <a:pt x="116467" y="20932"/>
                  <a:pt x="124218" y="20932"/>
                </a:cubicBezTo>
                <a:cubicBezTo>
                  <a:pt x="128655" y="20684"/>
                  <a:pt x="132860" y="22911"/>
                  <a:pt x="135151" y="26717"/>
                </a:cubicBezTo>
                <a:lnTo>
                  <a:pt x="136192" y="28394"/>
                </a:lnTo>
                <a:cubicBezTo>
                  <a:pt x="141629" y="36839"/>
                  <a:pt x="146720" y="44822"/>
                  <a:pt x="144059" y="51532"/>
                </a:cubicBezTo>
                <a:cubicBezTo>
                  <a:pt x="142324" y="55697"/>
                  <a:pt x="137580" y="58531"/>
                  <a:pt x="129540" y="60209"/>
                </a:cubicBezTo>
                <a:cubicBezTo>
                  <a:pt x="123756" y="61365"/>
                  <a:pt x="122888" y="62696"/>
                  <a:pt x="122946" y="63043"/>
                </a:cubicBezTo>
                <a:cubicBezTo>
                  <a:pt x="122946" y="64952"/>
                  <a:pt x="132606" y="68365"/>
                  <a:pt x="141629" y="68365"/>
                </a:cubicBezTo>
                <a:cubicBezTo>
                  <a:pt x="144267" y="68613"/>
                  <a:pt x="146922" y="68029"/>
                  <a:pt x="149207" y="66687"/>
                </a:cubicBezTo>
                <a:cubicBezTo>
                  <a:pt x="151347" y="64894"/>
                  <a:pt x="151347" y="61770"/>
                  <a:pt x="151347" y="58184"/>
                </a:cubicBezTo>
                <a:cubicBezTo>
                  <a:pt x="151347" y="51243"/>
                  <a:pt x="151347" y="42682"/>
                  <a:pt x="168006" y="40831"/>
                </a:cubicBezTo>
                <a:cubicBezTo>
                  <a:pt x="184666" y="38980"/>
                  <a:pt x="203060" y="44764"/>
                  <a:pt x="210175" y="53614"/>
                </a:cubicBezTo>
                <a:cubicBezTo>
                  <a:pt x="212402" y="56102"/>
                  <a:pt x="213385" y="59462"/>
                  <a:pt x="212836" y="62754"/>
                </a:cubicBezTo>
                <a:lnTo>
                  <a:pt x="212315" y="64952"/>
                </a:lnTo>
                <a:cubicBezTo>
                  <a:pt x="211326" y="67873"/>
                  <a:pt x="210933" y="70962"/>
                  <a:pt x="211158" y="74033"/>
                </a:cubicBezTo>
                <a:cubicBezTo>
                  <a:pt x="212084" y="74033"/>
                  <a:pt x="214282" y="73224"/>
                  <a:pt x="219488" y="68943"/>
                </a:cubicBezTo>
                <a:cubicBezTo>
                  <a:pt x="222079" y="66722"/>
                  <a:pt x="225388" y="65507"/>
                  <a:pt x="228801" y="65530"/>
                </a:cubicBezTo>
                <a:cubicBezTo>
                  <a:pt x="232821" y="65814"/>
                  <a:pt x="236749" y="66878"/>
                  <a:pt x="240370" y="68654"/>
                </a:cubicBezTo>
                <a:cubicBezTo>
                  <a:pt x="242440" y="69747"/>
                  <a:pt x="244696" y="70453"/>
                  <a:pt x="247022" y="70736"/>
                </a:cubicBezTo>
                <a:cubicBezTo>
                  <a:pt x="248236" y="70736"/>
                  <a:pt x="249625" y="70331"/>
                  <a:pt x="250492" y="67092"/>
                </a:cubicBezTo>
                <a:cubicBezTo>
                  <a:pt x="252112" y="61308"/>
                  <a:pt x="247311" y="58415"/>
                  <a:pt x="239791" y="54829"/>
                </a:cubicBezTo>
                <a:cubicBezTo>
                  <a:pt x="234296" y="52168"/>
                  <a:pt x="228569" y="49450"/>
                  <a:pt x="229900" y="44070"/>
                </a:cubicBezTo>
                <a:cubicBezTo>
                  <a:pt x="230305" y="42335"/>
                  <a:pt x="231924" y="40252"/>
                  <a:pt x="236957" y="40252"/>
                </a:cubicBezTo>
                <a:cubicBezTo>
                  <a:pt x="248526" y="40252"/>
                  <a:pt x="274903" y="52284"/>
                  <a:pt x="282769" y="63390"/>
                </a:cubicBezTo>
                <a:cubicBezTo>
                  <a:pt x="287374" y="71471"/>
                  <a:pt x="290584" y="80269"/>
                  <a:pt x="292256" y="89420"/>
                </a:cubicBezTo>
                <a:cubicBezTo>
                  <a:pt x="295032" y="100179"/>
                  <a:pt x="298040" y="111285"/>
                  <a:pt x="302205" y="110186"/>
                </a:cubicBezTo>
                <a:cubicBezTo>
                  <a:pt x="303883" y="109781"/>
                  <a:pt x="305676" y="109434"/>
                  <a:pt x="307527" y="109087"/>
                </a:cubicBezTo>
                <a:cubicBezTo>
                  <a:pt x="312964" y="108046"/>
                  <a:pt x="318633" y="106947"/>
                  <a:pt x="319963" y="103939"/>
                </a:cubicBezTo>
                <a:cubicBezTo>
                  <a:pt x="320519" y="101625"/>
                  <a:pt x="319957" y="99190"/>
                  <a:pt x="318459" y="97345"/>
                </a:cubicBezTo>
                <a:cubicBezTo>
                  <a:pt x="312039" y="86643"/>
                  <a:pt x="291215" y="42508"/>
                  <a:pt x="300354" y="29493"/>
                </a:cubicBezTo>
                <a:cubicBezTo>
                  <a:pt x="301991" y="26607"/>
                  <a:pt x="305016" y="24785"/>
                  <a:pt x="308337" y="24692"/>
                </a:cubicBezTo>
                <a:cubicBezTo>
                  <a:pt x="311512" y="24987"/>
                  <a:pt x="314590" y="25953"/>
                  <a:pt x="317360" y="27527"/>
                </a:cubicBezTo>
                <a:cubicBezTo>
                  <a:pt x="319981" y="29002"/>
                  <a:pt x="322873" y="29927"/>
                  <a:pt x="325864" y="30245"/>
                </a:cubicBezTo>
                <a:cubicBezTo>
                  <a:pt x="327234" y="30268"/>
                  <a:pt x="328582" y="29887"/>
                  <a:pt x="329739" y="29146"/>
                </a:cubicBezTo>
                <a:cubicBezTo>
                  <a:pt x="330942" y="28423"/>
                  <a:pt x="332330" y="28064"/>
                  <a:pt x="333730" y="28105"/>
                </a:cubicBezTo>
                <a:cubicBezTo>
                  <a:pt x="340035" y="28105"/>
                  <a:pt x="349233" y="34179"/>
                  <a:pt x="356579" y="38980"/>
                </a:cubicBezTo>
                <a:cubicBezTo>
                  <a:pt x="359685" y="41409"/>
                  <a:pt x="363133" y="43359"/>
                  <a:pt x="366817" y="44764"/>
                </a:cubicBezTo>
                <a:cubicBezTo>
                  <a:pt x="366817" y="40599"/>
                  <a:pt x="353687" y="31518"/>
                  <a:pt x="345010" y="25502"/>
                </a:cubicBezTo>
                <a:cubicBezTo>
                  <a:pt x="340712" y="22841"/>
                  <a:pt x="336698" y="19735"/>
                  <a:pt x="333036" y="16247"/>
                </a:cubicBezTo>
                <a:cubicBezTo>
                  <a:pt x="332475" y="15385"/>
                  <a:pt x="332475" y="14274"/>
                  <a:pt x="333036" y="13413"/>
                </a:cubicBezTo>
                <a:cubicBezTo>
                  <a:pt x="335639" y="8207"/>
                  <a:pt x="354843" y="-123"/>
                  <a:pt x="372717" y="-123"/>
                </a:cubicBezTo>
                <a:cubicBezTo>
                  <a:pt x="377866" y="-210"/>
                  <a:pt x="382979" y="652"/>
                  <a:pt x="387815" y="2422"/>
                </a:cubicBezTo>
                <a:cubicBezTo>
                  <a:pt x="393559" y="3955"/>
                  <a:pt x="398122" y="8316"/>
                  <a:pt x="399904" y="13991"/>
                </a:cubicBezTo>
                <a:cubicBezTo>
                  <a:pt x="401466" y="21453"/>
                  <a:pt x="396318" y="31344"/>
                  <a:pt x="384575" y="42913"/>
                </a:cubicBezTo>
                <a:cubicBezTo>
                  <a:pt x="379659" y="49397"/>
                  <a:pt x="377571" y="57600"/>
                  <a:pt x="378791" y="65646"/>
                </a:cubicBezTo>
                <a:cubicBezTo>
                  <a:pt x="379207" y="79824"/>
                  <a:pt x="385217" y="93255"/>
                  <a:pt x="395508" y="103013"/>
                </a:cubicBezTo>
                <a:cubicBezTo>
                  <a:pt x="404069" y="109723"/>
                  <a:pt x="401755" y="115450"/>
                  <a:pt x="399557" y="121061"/>
                </a:cubicBezTo>
                <a:cubicBezTo>
                  <a:pt x="397359" y="126672"/>
                  <a:pt x="394756" y="133208"/>
                  <a:pt x="406383" y="141769"/>
                </a:cubicBezTo>
                <a:cubicBezTo>
                  <a:pt x="414631" y="148213"/>
                  <a:pt x="423979" y="153112"/>
                  <a:pt x="433974" y="156230"/>
                </a:cubicBezTo>
                <a:cubicBezTo>
                  <a:pt x="439660" y="157838"/>
                  <a:pt x="445069" y="160314"/>
                  <a:pt x="449997" y="163576"/>
                </a:cubicBezTo>
                <a:cubicBezTo>
                  <a:pt x="455180" y="166688"/>
                  <a:pt x="460571" y="169430"/>
                  <a:pt x="466136" y="171790"/>
                </a:cubicBezTo>
                <a:cubicBezTo>
                  <a:pt x="481927" y="179021"/>
                  <a:pt x="499859" y="187177"/>
                  <a:pt x="498934" y="200712"/>
                </a:cubicBezTo>
                <a:cubicBezTo>
                  <a:pt x="498586" y="205803"/>
                  <a:pt x="496041" y="208463"/>
                  <a:pt x="491298" y="208463"/>
                </a:cubicBezTo>
                <a:cubicBezTo>
                  <a:pt x="486370" y="207966"/>
                  <a:pt x="481545" y="206699"/>
                  <a:pt x="477011" y="204704"/>
                </a:cubicBezTo>
                <a:cubicBezTo>
                  <a:pt x="472794" y="202870"/>
                  <a:pt x="468328" y="201661"/>
                  <a:pt x="463764" y="201117"/>
                </a:cubicBezTo>
                <a:cubicBezTo>
                  <a:pt x="462330" y="200984"/>
                  <a:pt x="460913" y="201493"/>
                  <a:pt x="459889" y="202506"/>
                </a:cubicBezTo>
                <a:cubicBezTo>
                  <a:pt x="455302" y="206792"/>
                  <a:pt x="449887" y="210095"/>
                  <a:pt x="443981" y="212223"/>
                </a:cubicBezTo>
                <a:cubicBezTo>
                  <a:pt x="438197" y="214711"/>
                  <a:pt x="432413" y="217314"/>
                  <a:pt x="433454" y="219570"/>
                </a:cubicBezTo>
                <a:cubicBezTo>
                  <a:pt x="434790" y="223463"/>
                  <a:pt x="438266" y="226216"/>
                  <a:pt x="442362" y="226627"/>
                </a:cubicBezTo>
                <a:cubicBezTo>
                  <a:pt x="446359" y="226152"/>
                  <a:pt x="449928" y="223896"/>
                  <a:pt x="452080" y="220495"/>
                </a:cubicBezTo>
                <a:cubicBezTo>
                  <a:pt x="453896" y="218205"/>
                  <a:pt x="456678" y="216897"/>
                  <a:pt x="459600" y="216967"/>
                </a:cubicBezTo>
                <a:cubicBezTo>
                  <a:pt x="468577" y="218025"/>
                  <a:pt x="476056" y="224324"/>
                  <a:pt x="478630" y="232990"/>
                </a:cubicBezTo>
                <a:cubicBezTo>
                  <a:pt x="479961" y="238566"/>
                  <a:pt x="477005" y="244275"/>
                  <a:pt x="471689" y="246409"/>
                </a:cubicBezTo>
                <a:cubicBezTo>
                  <a:pt x="456372" y="252674"/>
                  <a:pt x="439938" y="255745"/>
                  <a:pt x="423389" y="255433"/>
                </a:cubicBezTo>
                <a:cubicBezTo>
                  <a:pt x="412688" y="255433"/>
                  <a:pt x="393426" y="254045"/>
                  <a:pt x="384344" y="245021"/>
                </a:cubicBezTo>
                <a:cubicBezTo>
                  <a:pt x="379288" y="242152"/>
                  <a:pt x="373654" y="240451"/>
                  <a:pt x="367858" y="240047"/>
                </a:cubicBezTo>
                <a:cubicBezTo>
                  <a:pt x="358893" y="238485"/>
                  <a:pt x="350505" y="237039"/>
                  <a:pt x="348943" y="232469"/>
                </a:cubicBezTo>
                <a:cubicBezTo>
                  <a:pt x="347381" y="227899"/>
                  <a:pt x="344258" y="224081"/>
                  <a:pt x="340151" y="224081"/>
                </a:cubicBezTo>
                <a:cubicBezTo>
                  <a:pt x="336970" y="224081"/>
                  <a:pt x="333615" y="226627"/>
                  <a:pt x="330375" y="231543"/>
                </a:cubicBezTo>
                <a:cubicBezTo>
                  <a:pt x="321641" y="244558"/>
                  <a:pt x="312733" y="249186"/>
                  <a:pt x="296189" y="249186"/>
                </a:cubicBezTo>
                <a:cubicBezTo>
                  <a:pt x="294107" y="249186"/>
                  <a:pt x="291851" y="249186"/>
                  <a:pt x="289364" y="249186"/>
                </a:cubicBezTo>
                <a:cubicBezTo>
                  <a:pt x="280132" y="249469"/>
                  <a:pt x="271073" y="251760"/>
                  <a:pt x="262813" y="255896"/>
                </a:cubicBezTo>
                <a:cubicBezTo>
                  <a:pt x="246380" y="263040"/>
                  <a:pt x="228674" y="266776"/>
                  <a:pt x="210753" y="266886"/>
                </a:cubicBezTo>
                <a:close/>
                <a:moveTo>
                  <a:pt x="137002" y="228535"/>
                </a:moveTo>
                <a:cubicBezTo>
                  <a:pt x="140525" y="228079"/>
                  <a:pt x="144070" y="229131"/>
                  <a:pt x="146778" y="231428"/>
                </a:cubicBezTo>
                <a:cubicBezTo>
                  <a:pt x="148577" y="233580"/>
                  <a:pt x="149357" y="236408"/>
                  <a:pt x="148918" y="239179"/>
                </a:cubicBezTo>
                <a:cubicBezTo>
                  <a:pt x="148293" y="244206"/>
                  <a:pt x="149809" y="249261"/>
                  <a:pt x="153083" y="253119"/>
                </a:cubicBezTo>
                <a:cubicBezTo>
                  <a:pt x="160834" y="261622"/>
                  <a:pt x="180327" y="263820"/>
                  <a:pt x="207167" y="264688"/>
                </a:cubicBezTo>
                <a:cubicBezTo>
                  <a:pt x="226099" y="264977"/>
                  <a:pt x="244853" y="261021"/>
                  <a:pt x="262061" y="253119"/>
                </a:cubicBezTo>
                <a:cubicBezTo>
                  <a:pt x="270616" y="248822"/>
                  <a:pt x="280022" y="246490"/>
                  <a:pt x="289595" y="246294"/>
                </a:cubicBezTo>
                <a:lnTo>
                  <a:pt x="296305" y="246294"/>
                </a:lnTo>
                <a:cubicBezTo>
                  <a:pt x="312097" y="246294"/>
                  <a:pt x="320253" y="242129"/>
                  <a:pt x="328582" y="229634"/>
                </a:cubicBezTo>
                <a:cubicBezTo>
                  <a:pt x="332342" y="223850"/>
                  <a:pt x="336275" y="221189"/>
                  <a:pt x="340151" y="221189"/>
                </a:cubicBezTo>
                <a:cubicBezTo>
                  <a:pt x="345507" y="221912"/>
                  <a:pt x="349857" y="225875"/>
                  <a:pt x="351084" y="231139"/>
                </a:cubicBezTo>
                <a:cubicBezTo>
                  <a:pt x="352183" y="234378"/>
                  <a:pt x="360686" y="235882"/>
                  <a:pt x="368437" y="237212"/>
                </a:cubicBezTo>
                <a:cubicBezTo>
                  <a:pt x="374742" y="237640"/>
                  <a:pt x="380844" y="239624"/>
                  <a:pt x="386195" y="242997"/>
                </a:cubicBezTo>
                <a:cubicBezTo>
                  <a:pt x="392442" y="249302"/>
                  <a:pt x="405746" y="252772"/>
                  <a:pt x="423620" y="252772"/>
                </a:cubicBezTo>
                <a:cubicBezTo>
                  <a:pt x="439805" y="253067"/>
                  <a:pt x="455880" y="250077"/>
                  <a:pt x="470879" y="243980"/>
                </a:cubicBezTo>
                <a:cubicBezTo>
                  <a:pt x="475345" y="242418"/>
                  <a:pt x="477867" y="237686"/>
                  <a:pt x="476663" y="233105"/>
                </a:cubicBezTo>
                <a:cubicBezTo>
                  <a:pt x="474321" y="225464"/>
                  <a:pt x="467750" y="219888"/>
                  <a:pt x="459831" y="218818"/>
                </a:cubicBezTo>
                <a:cubicBezTo>
                  <a:pt x="457586" y="218708"/>
                  <a:pt x="455423" y="219697"/>
                  <a:pt x="454046" y="221478"/>
                </a:cubicBezTo>
                <a:cubicBezTo>
                  <a:pt x="451478" y="225470"/>
                  <a:pt x="447209" y="228055"/>
                  <a:pt x="442477" y="228478"/>
                </a:cubicBezTo>
                <a:cubicBezTo>
                  <a:pt x="437463" y="228096"/>
                  <a:pt x="433147" y="224781"/>
                  <a:pt x="431487" y="220032"/>
                </a:cubicBezTo>
                <a:cubicBezTo>
                  <a:pt x="429752" y="215752"/>
                  <a:pt x="435941" y="212975"/>
                  <a:pt x="443056" y="209736"/>
                </a:cubicBezTo>
                <a:cubicBezTo>
                  <a:pt x="448655" y="207735"/>
                  <a:pt x="453803" y="204646"/>
                  <a:pt x="458211" y="200654"/>
                </a:cubicBezTo>
                <a:cubicBezTo>
                  <a:pt x="459680" y="199046"/>
                  <a:pt x="461826" y="198231"/>
                  <a:pt x="463996" y="198457"/>
                </a:cubicBezTo>
                <a:cubicBezTo>
                  <a:pt x="468820" y="198977"/>
                  <a:pt x="473540" y="200227"/>
                  <a:pt x="477994" y="202158"/>
                </a:cubicBezTo>
                <a:cubicBezTo>
                  <a:pt x="482292" y="204056"/>
                  <a:pt x="486861" y="205282"/>
                  <a:pt x="491529" y="205803"/>
                </a:cubicBezTo>
                <a:cubicBezTo>
                  <a:pt x="495058" y="205803"/>
                  <a:pt x="496678" y="204067"/>
                  <a:pt x="496909" y="200018"/>
                </a:cubicBezTo>
                <a:cubicBezTo>
                  <a:pt x="497719" y="187871"/>
                  <a:pt x="480539" y="180004"/>
                  <a:pt x="465384" y="173063"/>
                </a:cubicBezTo>
                <a:cubicBezTo>
                  <a:pt x="459709" y="170674"/>
                  <a:pt x="454220" y="167868"/>
                  <a:pt x="448956" y="164675"/>
                </a:cubicBezTo>
                <a:cubicBezTo>
                  <a:pt x="444207" y="161534"/>
                  <a:pt x="438995" y="159151"/>
                  <a:pt x="433512" y="157618"/>
                </a:cubicBezTo>
                <a:cubicBezTo>
                  <a:pt x="423273" y="154460"/>
                  <a:pt x="413706" y="149439"/>
                  <a:pt x="405284" y="142810"/>
                </a:cubicBezTo>
                <a:cubicBezTo>
                  <a:pt x="392269" y="133208"/>
                  <a:pt x="395161" y="125920"/>
                  <a:pt x="397706" y="119673"/>
                </a:cubicBezTo>
                <a:cubicBezTo>
                  <a:pt x="399846" y="113888"/>
                  <a:pt x="401582" y="109839"/>
                  <a:pt x="394351" y="104228"/>
                </a:cubicBezTo>
                <a:cubicBezTo>
                  <a:pt x="383303" y="95551"/>
                  <a:pt x="377576" y="78372"/>
                  <a:pt x="376998" y="65183"/>
                </a:cubicBezTo>
                <a:cubicBezTo>
                  <a:pt x="375754" y="56466"/>
                  <a:pt x="378137" y="47627"/>
                  <a:pt x="383592" y="40715"/>
                </a:cubicBezTo>
                <a:cubicBezTo>
                  <a:pt x="394756" y="29551"/>
                  <a:pt x="399731" y="20527"/>
                  <a:pt x="398342" y="13817"/>
                </a:cubicBezTo>
                <a:cubicBezTo>
                  <a:pt x="397417" y="9595"/>
                  <a:pt x="393831" y="6240"/>
                  <a:pt x="387641" y="3810"/>
                </a:cubicBezTo>
                <a:cubicBezTo>
                  <a:pt x="383060" y="2168"/>
                  <a:pt x="378218" y="1364"/>
                  <a:pt x="373354" y="1439"/>
                </a:cubicBezTo>
                <a:cubicBezTo>
                  <a:pt x="356000" y="1439"/>
                  <a:pt x="337779" y="9595"/>
                  <a:pt x="335697" y="13702"/>
                </a:cubicBezTo>
                <a:cubicBezTo>
                  <a:pt x="335697" y="13702"/>
                  <a:pt x="335697" y="14107"/>
                  <a:pt x="335697" y="14165"/>
                </a:cubicBezTo>
                <a:cubicBezTo>
                  <a:pt x="339272" y="17450"/>
                  <a:pt x="343142" y="20394"/>
                  <a:pt x="347266" y="22957"/>
                </a:cubicBezTo>
                <a:cubicBezTo>
                  <a:pt x="360107" y="31865"/>
                  <a:pt x="369941" y="39095"/>
                  <a:pt x="369941" y="43954"/>
                </a:cubicBezTo>
                <a:cubicBezTo>
                  <a:pt x="370068" y="45129"/>
                  <a:pt x="369223" y="46187"/>
                  <a:pt x="368044" y="46314"/>
                </a:cubicBezTo>
                <a:cubicBezTo>
                  <a:pt x="367945" y="46326"/>
                  <a:pt x="367841" y="46332"/>
                  <a:pt x="367743" y="46326"/>
                </a:cubicBezTo>
                <a:cubicBezTo>
                  <a:pt x="363514" y="45082"/>
                  <a:pt x="359575" y="43000"/>
                  <a:pt x="356174" y="40194"/>
                </a:cubicBezTo>
                <a:cubicBezTo>
                  <a:pt x="349059" y="35509"/>
                  <a:pt x="340267" y="29667"/>
                  <a:pt x="334598" y="29667"/>
                </a:cubicBezTo>
                <a:cubicBezTo>
                  <a:pt x="333626" y="29621"/>
                  <a:pt x="332660" y="29858"/>
                  <a:pt x="331822" y="30361"/>
                </a:cubicBezTo>
                <a:cubicBezTo>
                  <a:pt x="330300" y="31327"/>
                  <a:pt x="328530" y="31830"/>
                  <a:pt x="326731" y="31807"/>
                </a:cubicBezTo>
                <a:cubicBezTo>
                  <a:pt x="323417" y="31529"/>
                  <a:pt x="320201" y="30546"/>
                  <a:pt x="317303" y="28915"/>
                </a:cubicBezTo>
                <a:cubicBezTo>
                  <a:pt x="314827" y="27457"/>
                  <a:pt x="312062" y="26555"/>
                  <a:pt x="309204" y="26254"/>
                </a:cubicBezTo>
                <a:cubicBezTo>
                  <a:pt x="306630" y="26364"/>
                  <a:pt x="304305" y="27810"/>
                  <a:pt x="303073" y="30072"/>
                </a:cubicBezTo>
                <a:cubicBezTo>
                  <a:pt x="295206" y="41293"/>
                  <a:pt x="313138" y="82132"/>
                  <a:pt x="321294" y="95494"/>
                </a:cubicBezTo>
                <a:cubicBezTo>
                  <a:pt x="323220" y="97952"/>
                  <a:pt x="323804" y="101197"/>
                  <a:pt x="322856" y="104170"/>
                </a:cubicBezTo>
                <a:cubicBezTo>
                  <a:pt x="321062" y="108277"/>
                  <a:pt x="314815" y="109434"/>
                  <a:pt x="308799" y="110591"/>
                </a:cubicBezTo>
                <a:lnTo>
                  <a:pt x="303593" y="111690"/>
                </a:lnTo>
                <a:cubicBezTo>
                  <a:pt x="303212" y="111748"/>
                  <a:pt x="302818" y="111748"/>
                  <a:pt x="302437" y="111690"/>
                </a:cubicBezTo>
                <a:lnTo>
                  <a:pt x="302437" y="111690"/>
                </a:lnTo>
                <a:cubicBezTo>
                  <a:pt x="296652" y="111690"/>
                  <a:pt x="294049" y="101220"/>
                  <a:pt x="290868" y="89073"/>
                </a:cubicBezTo>
                <a:cubicBezTo>
                  <a:pt x="289063" y="80286"/>
                  <a:pt x="285858" y="71853"/>
                  <a:pt x="281381" y="64084"/>
                </a:cubicBezTo>
                <a:cubicBezTo>
                  <a:pt x="273804" y="53730"/>
                  <a:pt x="248699" y="42161"/>
                  <a:pt x="237362" y="42161"/>
                </a:cubicBezTo>
                <a:cubicBezTo>
                  <a:pt x="234469" y="42161"/>
                  <a:pt x="232850" y="42855"/>
                  <a:pt x="232503" y="44301"/>
                </a:cubicBezTo>
                <a:cubicBezTo>
                  <a:pt x="231635" y="47598"/>
                  <a:pt x="235221" y="49565"/>
                  <a:pt x="241179" y="52457"/>
                </a:cubicBezTo>
                <a:cubicBezTo>
                  <a:pt x="247137" y="55350"/>
                  <a:pt x="255293" y="59225"/>
                  <a:pt x="253095" y="67323"/>
                </a:cubicBezTo>
                <a:cubicBezTo>
                  <a:pt x="252112" y="70910"/>
                  <a:pt x="250261" y="72645"/>
                  <a:pt x="247311" y="72645"/>
                </a:cubicBezTo>
                <a:cubicBezTo>
                  <a:pt x="244685" y="72379"/>
                  <a:pt x="242128" y="71615"/>
                  <a:pt x="239791" y="70389"/>
                </a:cubicBezTo>
                <a:cubicBezTo>
                  <a:pt x="236413" y="68712"/>
                  <a:pt x="232740" y="67705"/>
                  <a:pt x="228974" y="67439"/>
                </a:cubicBezTo>
                <a:cubicBezTo>
                  <a:pt x="226094" y="67451"/>
                  <a:pt x="223311" y="68475"/>
                  <a:pt x="221107" y="70331"/>
                </a:cubicBezTo>
                <a:cubicBezTo>
                  <a:pt x="216249" y="74323"/>
                  <a:pt x="213414" y="76116"/>
                  <a:pt x="211505" y="76116"/>
                </a:cubicBezTo>
                <a:cubicBezTo>
                  <a:pt x="210765" y="76150"/>
                  <a:pt x="210059" y="75827"/>
                  <a:pt x="209597" y="75248"/>
                </a:cubicBezTo>
                <a:cubicBezTo>
                  <a:pt x="208208" y="73513"/>
                  <a:pt x="209018" y="69811"/>
                  <a:pt x="210291" y="64200"/>
                </a:cubicBezTo>
                <a:lnTo>
                  <a:pt x="210811" y="62060"/>
                </a:lnTo>
                <a:cubicBezTo>
                  <a:pt x="211199" y="59416"/>
                  <a:pt x="210372" y="56738"/>
                  <a:pt x="208555" y="54771"/>
                </a:cubicBezTo>
                <a:cubicBezTo>
                  <a:pt x="201961" y="46500"/>
                  <a:pt x="184550" y="41236"/>
                  <a:pt x="168353" y="42855"/>
                </a:cubicBezTo>
                <a:cubicBezTo>
                  <a:pt x="153719" y="44301"/>
                  <a:pt x="153777" y="50838"/>
                  <a:pt x="153777" y="57779"/>
                </a:cubicBezTo>
                <a:cubicBezTo>
                  <a:pt x="154413" y="61464"/>
                  <a:pt x="153326" y="65235"/>
                  <a:pt x="150827" y="68018"/>
                </a:cubicBezTo>
                <a:cubicBezTo>
                  <a:pt x="148119" y="69666"/>
                  <a:pt x="144967" y="70436"/>
                  <a:pt x="141803" y="70216"/>
                </a:cubicBezTo>
                <a:cubicBezTo>
                  <a:pt x="133763" y="70216"/>
                  <a:pt x="121326" y="67323"/>
                  <a:pt x="120863" y="62869"/>
                </a:cubicBezTo>
                <a:cubicBezTo>
                  <a:pt x="120516" y="59804"/>
                  <a:pt x="125491" y="58358"/>
                  <a:pt x="129251" y="57606"/>
                </a:cubicBezTo>
                <a:cubicBezTo>
                  <a:pt x="136481" y="56044"/>
                  <a:pt x="140820" y="53672"/>
                  <a:pt x="142150" y="50259"/>
                </a:cubicBezTo>
                <a:cubicBezTo>
                  <a:pt x="144348" y="44938"/>
                  <a:pt x="139316" y="37071"/>
                  <a:pt x="134457" y="29493"/>
                </a:cubicBezTo>
                <a:lnTo>
                  <a:pt x="133416" y="27816"/>
                </a:lnTo>
                <a:cubicBezTo>
                  <a:pt x="131501" y="24721"/>
                  <a:pt x="128019" y="22963"/>
                  <a:pt x="124392" y="23246"/>
                </a:cubicBezTo>
                <a:cubicBezTo>
                  <a:pt x="117046" y="23246"/>
                  <a:pt x="106344" y="27700"/>
                  <a:pt x="92809" y="33311"/>
                </a:cubicBezTo>
                <a:cubicBezTo>
                  <a:pt x="84826" y="36666"/>
                  <a:pt x="75803" y="40426"/>
                  <a:pt x="65680" y="44012"/>
                </a:cubicBezTo>
                <a:cubicBezTo>
                  <a:pt x="31899" y="55986"/>
                  <a:pt x="16744" y="68191"/>
                  <a:pt x="15992" y="70910"/>
                </a:cubicBezTo>
                <a:cubicBezTo>
                  <a:pt x="17906" y="71292"/>
                  <a:pt x="19433" y="72726"/>
                  <a:pt x="19925" y="74612"/>
                </a:cubicBezTo>
                <a:cubicBezTo>
                  <a:pt x="20851" y="78777"/>
                  <a:pt x="16686" y="84908"/>
                  <a:pt x="7894" y="91965"/>
                </a:cubicBezTo>
                <a:cubicBezTo>
                  <a:pt x="3092" y="95956"/>
                  <a:pt x="1299" y="100006"/>
                  <a:pt x="2630" y="103534"/>
                </a:cubicBezTo>
                <a:cubicBezTo>
                  <a:pt x="6366" y="109746"/>
                  <a:pt x="13279" y="113321"/>
                  <a:pt x="20504" y="112789"/>
                </a:cubicBezTo>
                <a:cubicBezTo>
                  <a:pt x="22916" y="112511"/>
                  <a:pt x="25333" y="113217"/>
                  <a:pt x="27213" y="114756"/>
                </a:cubicBezTo>
                <a:cubicBezTo>
                  <a:pt x="28445" y="116416"/>
                  <a:pt x="28926" y="118510"/>
                  <a:pt x="28544" y="120540"/>
                </a:cubicBezTo>
                <a:cubicBezTo>
                  <a:pt x="28544" y="123606"/>
                  <a:pt x="28544" y="125399"/>
                  <a:pt x="31667" y="126325"/>
                </a:cubicBezTo>
                <a:cubicBezTo>
                  <a:pt x="32200" y="126429"/>
                  <a:pt x="32749" y="126429"/>
                  <a:pt x="33287" y="126325"/>
                </a:cubicBezTo>
                <a:cubicBezTo>
                  <a:pt x="39968" y="125561"/>
                  <a:pt x="46557" y="124127"/>
                  <a:pt x="52954" y="122044"/>
                </a:cubicBezTo>
                <a:cubicBezTo>
                  <a:pt x="63852" y="118776"/>
                  <a:pt x="75091" y="116798"/>
                  <a:pt x="86446" y="116144"/>
                </a:cubicBezTo>
                <a:cubicBezTo>
                  <a:pt x="89928" y="115884"/>
                  <a:pt x="93405" y="116711"/>
                  <a:pt x="96395" y="118516"/>
                </a:cubicBezTo>
                <a:cubicBezTo>
                  <a:pt x="97540" y="119088"/>
                  <a:pt x="98206" y="120309"/>
                  <a:pt x="98073" y="121581"/>
                </a:cubicBezTo>
                <a:cubicBezTo>
                  <a:pt x="97321" y="125226"/>
                  <a:pt x="87487" y="127366"/>
                  <a:pt x="68804" y="131357"/>
                </a:cubicBezTo>
                <a:cubicBezTo>
                  <a:pt x="50120" y="135348"/>
                  <a:pt x="25420" y="140439"/>
                  <a:pt x="25420" y="147264"/>
                </a:cubicBezTo>
                <a:cubicBezTo>
                  <a:pt x="25420" y="156924"/>
                  <a:pt x="50582" y="165080"/>
                  <a:pt x="80430" y="165080"/>
                </a:cubicBezTo>
                <a:cubicBezTo>
                  <a:pt x="88337" y="165121"/>
                  <a:pt x="96233" y="164484"/>
                  <a:pt x="104031" y="163171"/>
                </a:cubicBezTo>
                <a:cubicBezTo>
                  <a:pt x="111672" y="161887"/>
                  <a:pt x="119417" y="161286"/>
                  <a:pt x="127168" y="161378"/>
                </a:cubicBezTo>
                <a:cubicBezTo>
                  <a:pt x="158404" y="161378"/>
                  <a:pt x="198664" y="169245"/>
                  <a:pt x="198664" y="177575"/>
                </a:cubicBezTo>
                <a:cubicBezTo>
                  <a:pt x="198664" y="182665"/>
                  <a:pt x="189467" y="184863"/>
                  <a:pt x="167949" y="184863"/>
                </a:cubicBezTo>
                <a:cubicBezTo>
                  <a:pt x="157594" y="184863"/>
                  <a:pt x="145910" y="184342"/>
                  <a:pt x="134630" y="183880"/>
                </a:cubicBezTo>
                <a:lnTo>
                  <a:pt x="126937" y="183243"/>
                </a:lnTo>
                <a:lnTo>
                  <a:pt x="121557" y="183243"/>
                </a:lnTo>
                <a:cubicBezTo>
                  <a:pt x="94891" y="183243"/>
                  <a:pt x="54747" y="190532"/>
                  <a:pt x="48674" y="198283"/>
                </a:cubicBezTo>
                <a:cubicBezTo>
                  <a:pt x="48211" y="198804"/>
                  <a:pt x="47997" y="199503"/>
                  <a:pt x="48095" y="200192"/>
                </a:cubicBezTo>
                <a:cubicBezTo>
                  <a:pt x="50293" y="209042"/>
                  <a:pt x="53012" y="210257"/>
                  <a:pt x="73778" y="219685"/>
                </a:cubicBezTo>
                <a:lnTo>
                  <a:pt x="85058" y="224833"/>
                </a:lnTo>
                <a:cubicBezTo>
                  <a:pt x="93422" y="228553"/>
                  <a:pt x="102509" y="230369"/>
                  <a:pt x="111666" y="230155"/>
                </a:cubicBezTo>
                <a:cubicBezTo>
                  <a:pt x="117046" y="230155"/>
                  <a:pt x="122194" y="229692"/>
                  <a:pt x="126706" y="229287"/>
                </a:cubicBezTo>
                <a:cubicBezTo>
                  <a:pt x="131217" y="228882"/>
                  <a:pt x="134052" y="228535"/>
                  <a:pt x="137002" y="22853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1" name="Forma libre: forma 450">
            <a:extLst>
              <a:ext uri="{FF2B5EF4-FFF2-40B4-BE49-F238E27FC236}">
                <a16:creationId xmlns:a16="http://schemas.microsoft.com/office/drawing/2014/main" id="{F0368D25-4A0C-F970-4C83-102868E53072}"/>
              </a:ext>
            </a:extLst>
          </p:cNvPr>
          <p:cNvSpPr/>
          <p:nvPr/>
        </p:nvSpPr>
        <p:spPr>
          <a:xfrm>
            <a:off x="3311319" y="1777420"/>
            <a:ext cx="198973" cy="109653"/>
          </a:xfrm>
          <a:custGeom>
            <a:avLst/>
            <a:gdLst>
              <a:gd name="connsiteX0" fmla="*/ 132915 w 198973"/>
              <a:gd name="connsiteY0" fmla="*/ 109524 h 109653"/>
              <a:gd name="connsiteX1" fmla="*/ 132915 w 198973"/>
              <a:gd name="connsiteY1" fmla="*/ 109524 h 109653"/>
              <a:gd name="connsiteX2" fmla="*/ 113421 w 198973"/>
              <a:gd name="connsiteY2" fmla="*/ 102641 h 109653"/>
              <a:gd name="connsiteX3" fmla="*/ 118396 w 198973"/>
              <a:gd name="connsiteY3" fmla="*/ 80834 h 109653"/>
              <a:gd name="connsiteX4" fmla="*/ 123081 w 198973"/>
              <a:gd name="connsiteY4" fmla="*/ 71000 h 109653"/>
              <a:gd name="connsiteX5" fmla="*/ 120073 w 198973"/>
              <a:gd name="connsiteY5" fmla="*/ 69091 h 109653"/>
              <a:gd name="connsiteX6" fmla="*/ 96936 w 198973"/>
              <a:gd name="connsiteY6" fmla="*/ 71116 h 109653"/>
              <a:gd name="connsiteX7" fmla="*/ 72352 w 198973"/>
              <a:gd name="connsiteY7" fmla="*/ 74297 h 109653"/>
              <a:gd name="connsiteX8" fmla="*/ 54362 w 198973"/>
              <a:gd name="connsiteY8" fmla="*/ 70248 h 109653"/>
              <a:gd name="connsiteX9" fmla="*/ 42331 w 198973"/>
              <a:gd name="connsiteY9" fmla="*/ 63770 h 109653"/>
              <a:gd name="connsiteX10" fmla="*/ 10401 w 198973"/>
              <a:gd name="connsiteY10" fmla="*/ 39649 h 109653"/>
              <a:gd name="connsiteX11" fmla="*/ 1030 w 198973"/>
              <a:gd name="connsiteY11" fmla="*/ 9685 h 109653"/>
              <a:gd name="connsiteX12" fmla="*/ 14970 w 198973"/>
              <a:gd name="connsiteY12" fmla="*/ 3901 h 109653"/>
              <a:gd name="connsiteX13" fmla="*/ 51933 w 198973"/>
              <a:gd name="connsiteY13" fmla="*/ 32823 h 109653"/>
              <a:gd name="connsiteX14" fmla="*/ 60667 w 198973"/>
              <a:gd name="connsiteY14" fmla="*/ 45549 h 109653"/>
              <a:gd name="connsiteX15" fmla="*/ 75013 w 198973"/>
              <a:gd name="connsiteY15" fmla="*/ 55498 h 109653"/>
              <a:gd name="connsiteX16" fmla="*/ 79409 w 198973"/>
              <a:gd name="connsiteY16" fmla="*/ 52895 h 109653"/>
              <a:gd name="connsiteX17" fmla="*/ 76054 w 198973"/>
              <a:gd name="connsiteY17" fmla="*/ 45896 h 109653"/>
              <a:gd name="connsiteX18" fmla="*/ 68187 w 198973"/>
              <a:gd name="connsiteY18" fmla="*/ 24320 h 109653"/>
              <a:gd name="connsiteX19" fmla="*/ 87044 w 198973"/>
              <a:gd name="connsiteY19" fmla="*/ 24667 h 109653"/>
              <a:gd name="connsiteX20" fmla="*/ 121404 w 198973"/>
              <a:gd name="connsiteY20" fmla="*/ 40863 h 109653"/>
              <a:gd name="connsiteX21" fmla="*/ 122387 w 198973"/>
              <a:gd name="connsiteY21" fmla="*/ 40863 h 109653"/>
              <a:gd name="connsiteX22" fmla="*/ 122387 w 198973"/>
              <a:gd name="connsiteY22" fmla="*/ 40863 h 109653"/>
              <a:gd name="connsiteX23" fmla="*/ 117181 w 198973"/>
              <a:gd name="connsiteY23" fmla="*/ 35079 h 109653"/>
              <a:gd name="connsiteX24" fmla="*/ 97283 w 198973"/>
              <a:gd name="connsiteY24" fmla="*/ 2917 h 109653"/>
              <a:gd name="connsiteX25" fmla="*/ 102315 w 198973"/>
              <a:gd name="connsiteY25" fmla="*/ -90 h 109653"/>
              <a:gd name="connsiteX26" fmla="*/ 109835 w 198973"/>
              <a:gd name="connsiteY26" fmla="*/ 1703 h 109653"/>
              <a:gd name="connsiteX27" fmla="*/ 122445 w 198973"/>
              <a:gd name="connsiteY27" fmla="*/ 6851 h 109653"/>
              <a:gd name="connsiteX28" fmla="*/ 154028 w 198973"/>
              <a:gd name="connsiteY28" fmla="*/ 17147 h 109653"/>
              <a:gd name="connsiteX29" fmla="*/ 159176 w 198973"/>
              <a:gd name="connsiteY29" fmla="*/ 13561 h 109653"/>
              <a:gd name="connsiteX30" fmla="*/ 162925 w 198973"/>
              <a:gd name="connsiteY30" fmla="*/ 9905 h 109653"/>
              <a:gd name="connsiteX31" fmla="*/ 163167 w 198973"/>
              <a:gd name="connsiteY31" fmla="*/ 9917 h 109653"/>
              <a:gd name="connsiteX32" fmla="*/ 188677 w 198973"/>
              <a:gd name="connsiteY32" fmla="*/ 30856 h 109653"/>
              <a:gd name="connsiteX33" fmla="*/ 192842 w 198973"/>
              <a:gd name="connsiteY33" fmla="*/ 55324 h 109653"/>
              <a:gd name="connsiteX34" fmla="*/ 195676 w 198973"/>
              <a:gd name="connsiteY34" fmla="*/ 73430 h 109653"/>
              <a:gd name="connsiteX35" fmla="*/ 198857 w 198973"/>
              <a:gd name="connsiteY35" fmla="*/ 78636 h 109653"/>
              <a:gd name="connsiteX36" fmla="*/ 194866 w 198973"/>
              <a:gd name="connsiteY36" fmla="*/ 83610 h 109653"/>
              <a:gd name="connsiteX37" fmla="*/ 187867 w 198973"/>
              <a:gd name="connsiteY37" fmla="*/ 94138 h 109653"/>
              <a:gd name="connsiteX38" fmla="*/ 171324 w 198973"/>
              <a:gd name="connsiteY38" fmla="*/ 105707 h 109653"/>
              <a:gd name="connsiteX39" fmla="*/ 154491 w 198973"/>
              <a:gd name="connsiteY39" fmla="*/ 107616 h 109653"/>
              <a:gd name="connsiteX40" fmla="*/ 132915 w 198973"/>
              <a:gd name="connsiteY40" fmla="*/ 109524 h 109653"/>
              <a:gd name="connsiteX41" fmla="*/ 115099 w 198973"/>
              <a:gd name="connsiteY41" fmla="*/ 66315 h 109653"/>
              <a:gd name="connsiteX42" fmla="*/ 120536 w 198973"/>
              <a:gd name="connsiteY42" fmla="*/ 66951 h 109653"/>
              <a:gd name="connsiteX43" fmla="*/ 125164 w 198973"/>
              <a:gd name="connsiteY43" fmla="*/ 70248 h 109653"/>
              <a:gd name="connsiteX44" fmla="*/ 120189 w 198973"/>
              <a:gd name="connsiteY44" fmla="*/ 82164 h 109653"/>
              <a:gd name="connsiteX45" fmla="*/ 115099 w 198973"/>
              <a:gd name="connsiteY45" fmla="*/ 101253 h 109653"/>
              <a:gd name="connsiteX46" fmla="*/ 132857 w 198973"/>
              <a:gd name="connsiteY46" fmla="*/ 107037 h 109653"/>
              <a:gd name="connsiteX47" fmla="*/ 132857 w 198973"/>
              <a:gd name="connsiteY47" fmla="*/ 107037 h 109653"/>
              <a:gd name="connsiteX48" fmla="*/ 154086 w 198973"/>
              <a:gd name="connsiteY48" fmla="*/ 104955 h 109653"/>
              <a:gd name="connsiteX49" fmla="*/ 171092 w 198973"/>
              <a:gd name="connsiteY49" fmla="*/ 103046 h 109653"/>
              <a:gd name="connsiteX50" fmla="*/ 185669 w 198973"/>
              <a:gd name="connsiteY50" fmla="*/ 93097 h 109653"/>
              <a:gd name="connsiteX51" fmla="*/ 193536 w 198973"/>
              <a:gd name="connsiteY51" fmla="*/ 81528 h 109653"/>
              <a:gd name="connsiteX52" fmla="*/ 196544 w 198973"/>
              <a:gd name="connsiteY52" fmla="*/ 78231 h 109653"/>
              <a:gd name="connsiteX53" fmla="*/ 194056 w 198973"/>
              <a:gd name="connsiteY53" fmla="*/ 74818 h 109653"/>
              <a:gd name="connsiteX54" fmla="*/ 190759 w 198973"/>
              <a:gd name="connsiteY54" fmla="*/ 54110 h 109653"/>
              <a:gd name="connsiteX55" fmla="*/ 186710 w 198973"/>
              <a:gd name="connsiteY55" fmla="*/ 31840 h 109653"/>
              <a:gd name="connsiteX56" fmla="*/ 163110 w 198973"/>
              <a:gd name="connsiteY56" fmla="*/ 11941 h 109653"/>
              <a:gd name="connsiteX57" fmla="*/ 161374 w 198973"/>
              <a:gd name="connsiteY57" fmla="*/ 13561 h 109653"/>
              <a:gd name="connsiteX58" fmla="*/ 153970 w 198973"/>
              <a:gd name="connsiteY58" fmla="*/ 19345 h 109653"/>
              <a:gd name="connsiteX59" fmla="*/ 121520 w 198973"/>
              <a:gd name="connsiteY59" fmla="*/ 8875 h 109653"/>
              <a:gd name="connsiteX60" fmla="*/ 108967 w 198973"/>
              <a:gd name="connsiteY60" fmla="*/ 3727 h 109653"/>
              <a:gd name="connsiteX61" fmla="*/ 102257 w 198973"/>
              <a:gd name="connsiteY61" fmla="*/ 2108 h 109653"/>
              <a:gd name="connsiteX62" fmla="*/ 99365 w 198973"/>
              <a:gd name="connsiteY62" fmla="*/ 3612 h 109653"/>
              <a:gd name="connsiteX63" fmla="*/ 118570 w 198973"/>
              <a:gd name="connsiteY63" fmla="*/ 33286 h 109653"/>
              <a:gd name="connsiteX64" fmla="*/ 124354 w 198973"/>
              <a:gd name="connsiteY64" fmla="*/ 41615 h 109653"/>
              <a:gd name="connsiteX65" fmla="*/ 121346 w 198973"/>
              <a:gd name="connsiteY65" fmla="*/ 43177 h 109653"/>
              <a:gd name="connsiteX66" fmla="*/ 85714 w 198973"/>
              <a:gd name="connsiteY66" fmla="*/ 26634 h 109653"/>
              <a:gd name="connsiteX67" fmla="*/ 70270 w 198973"/>
              <a:gd name="connsiteY67" fmla="*/ 25072 h 109653"/>
              <a:gd name="connsiteX68" fmla="*/ 77384 w 198973"/>
              <a:gd name="connsiteY68" fmla="*/ 44218 h 109653"/>
              <a:gd name="connsiteX69" fmla="*/ 81491 w 198973"/>
              <a:gd name="connsiteY69" fmla="*/ 53705 h 109653"/>
              <a:gd name="connsiteX70" fmla="*/ 74955 w 198973"/>
              <a:gd name="connsiteY70" fmla="*/ 57812 h 109653"/>
              <a:gd name="connsiteX71" fmla="*/ 58816 w 198973"/>
              <a:gd name="connsiteY71" fmla="*/ 46937 h 109653"/>
              <a:gd name="connsiteX72" fmla="*/ 49966 w 198973"/>
              <a:gd name="connsiteY72" fmla="*/ 34096 h 109653"/>
              <a:gd name="connsiteX73" fmla="*/ 14797 w 198973"/>
              <a:gd name="connsiteY73" fmla="*/ 6272 h 109653"/>
              <a:gd name="connsiteX74" fmla="*/ 3228 w 198973"/>
              <a:gd name="connsiteY74" fmla="*/ 10726 h 109653"/>
              <a:gd name="connsiteX75" fmla="*/ 12367 w 198973"/>
              <a:gd name="connsiteY75" fmla="*/ 38318 h 109653"/>
              <a:gd name="connsiteX76" fmla="*/ 43546 w 198973"/>
              <a:gd name="connsiteY76" fmla="*/ 61861 h 109653"/>
              <a:gd name="connsiteX77" fmla="*/ 55635 w 198973"/>
              <a:gd name="connsiteY77" fmla="*/ 68339 h 109653"/>
              <a:gd name="connsiteX78" fmla="*/ 72526 w 198973"/>
              <a:gd name="connsiteY78" fmla="*/ 72099 h 109653"/>
              <a:gd name="connsiteX79" fmla="*/ 96704 w 198973"/>
              <a:gd name="connsiteY79" fmla="*/ 68976 h 109653"/>
              <a:gd name="connsiteX80" fmla="*/ 115099 w 198973"/>
              <a:gd name="connsiteY80" fmla="*/ 66315 h 10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98973" h="109653">
                <a:moveTo>
                  <a:pt x="132915" y="109524"/>
                </a:moveTo>
                <a:lnTo>
                  <a:pt x="132915" y="109524"/>
                </a:lnTo>
                <a:cubicBezTo>
                  <a:pt x="123313" y="109524"/>
                  <a:pt x="117123" y="107326"/>
                  <a:pt x="113421" y="102641"/>
                </a:cubicBezTo>
                <a:cubicBezTo>
                  <a:pt x="107926" y="95815"/>
                  <a:pt x="113768" y="87544"/>
                  <a:pt x="118396" y="80834"/>
                </a:cubicBezTo>
                <a:cubicBezTo>
                  <a:pt x="121115" y="77016"/>
                  <a:pt x="123891" y="73083"/>
                  <a:pt x="123081" y="71000"/>
                </a:cubicBezTo>
                <a:cubicBezTo>
                  <a:pt x="122792" y="70190"/>
                  <a:pt x="121751" y="69554"/>
                  <a:pt x="120073" y="69091"/>
                </a:cubicBezTo>
                <a:cubicBezTo>
                  <a:pt x="112299" y="68391"/>
                  <a:pt x="104467" y="69074"/>
                  <a:pt x="96936" y="71116"/>
                </a:cubicBezTo>
                <a:cubicBezTo>
                  <a:pt x="88861" y="72944"/>
                  <a:pt x="80629" y="74008"/>
                  <a:pt x="72352" y="74297"/>
                </a:cubicBezTo>
                <a:cubicBezTo>
                  <a:pt x="66105" y="74523"/>
                  <a:pt x="59910" y="73129"/>
                  <a:pt x="54362" y="70248"/>
                </a:cubicBezTo>
                <a:cubicBezTo>
                  <a:pt x="50024" y="67819"/>
                  <a:pt x="46091" y="65736"/>
                  <a:pt x="42331" y="63770"/>
                </a:cubicBezTo>
                <a:cubicBezTo>
                  <a:pt x="29316" y="57002"/>
                  <a:pt x="19945" y="52201"/>
                  <a:pt x="10401" y="39649"/>
                </a:cubicBezTo>
                <a:cubicBezTo>
                  <a:pt x="5310" y="33054"/>
                  <a:pt x="-3193" y="18246"/>
                  <a:pt x="1030" y="9685"/>
                </a:cubicBezTo>
                <a:cubicBezTo>
                  <a:pt x="3055" y="5520"/>
                  <a:pt x="7682" y="3496"/>
                  <a:pt x="14970" y="3901"/>
                </a:cubicBezTo>
                <a:cubicBezTo>
                  <a:pt x="33538" y="4826"/>
                  <a:pt x="42042" y="17783"/>
                  <a:pt x="51933" y="32823"/>
                </a:cubicBezTo>
                <a:cubicBezTo>
                  <a:pt x="54652" y="36988"/>
                  <a:pt x="57717" y="41268"/>
                  <a:pt x="60667" y="45549"/>
                </a:cubicBezTo>
                <a:cubicBezTo>
                  <a:pt x="67377" y="54515"/>
                  <a:pt x="72930" y="55498"/>
                  <a:pt x="75013" y="55498"/>
                </a:cubicBezTo>
                <a:cubicBezTo>
                  <a:pt x="76887" y="55677"/>
                  <a:pt x="78663" y="54624"/>
                  <a:pt x="79409" y="52895"/>
                </a:cubicBezTo>
                <a:cubicBezTo>
                  <a:pt x="79987" y="51217"/>
                  <a:pt x="79409" y="48499"/>
                  <a:pt x="76054" y="45896"/>
                </a:cubicBezTo>
                <a:cubicBezTo>
                  <a:pt x="69685" y="40684"/>
                  <a:pt x="66666" y="32412"/>
                  <a:pt x="68187" y="24320"/>
                </a:cubicBezTo>
                <a:cubicBezTo>
                  <a:pt x="70270" y="18188"/>
                  <a:pt x="77327" y="18015"/>
                  <a:pt x="87044" y="24667"/>
                </a:cubicBezTo>
                <a:cubicBezTo>
                  <a:pt x="101158" y="34327"/>
                  <a:pt x="115967" y="40863"/>
                  <a:pt x="121404" y="40863"/>
                </a:cubicBezTo>
                <a:cubicBezTo>
                  <a:pt x="121728" y="40933"/>
                  <a:pt x="122063" y="40933"/>
                  <a:pt x="122387" y="40863"/>
                </a:cubicBezTo>
                <a:lnTo>
                  <a:pt x="122387" y="40863"/>
                </a:lnTo>
                <a:cubicBezTo>
                  <a:pt x="122387" y="40863"/>
                  <a:pt x="122387" y="39475"/>
                  <a:pt x="117181" y="35079"/>
                </a:cubicBezTo>
                <a:cubicBezTo>
                  <a:pt x="105612" y="25303"/>
                  <a:pt x="94853" y="9454"/>
                  <a:pt x="97283" y="2917"/>
                </a:cubicBezTo>
                <a:cubicBezTo>
                  <a:pt x="98064" y="876"/>
                  <a:pt x="100146" y="-368"/>
                  <a:pt x="102315" y="-90"/>
                </a:cubicBezTo>
                <a:cubicBezTo>
                  <a:pt x="104913" y="37"/>
                  <a:pt x="107463" y="644"/>
                  <a:pt x="109835" y="1703"/>
                </a:cubicBezTo>
                <a:cubicBezTo>
                  <a:pt x="113884" y="3265"/>
                  <a:pt x="118165" y="5058"/>
                  <a:pt x="122445" y="6851"/>
                </a:cubicBezTo>
                <a:cubicBezTo>
                  <a:pt x="134535" y="11883"/>
                  <a:pt x="147029" y="17147"/>
                  <a:pt x="154028" y="17147"/>
                </a:cubicBezTo>
                <a:cubicBezTo>
                  <a:pt x="158309" y="17147"/>
                  <a:pt x="159003" y="15238"/>
                  <a:pt x="159176" y="13561"/>
                </a:cubicBezTo>
                <a:cubicBezTo>
                  <a:pt x="159199" y="11519"/>
                  <a:pt x="160883" y="9882"/>
                  <a:pt x="162925" y="9905"/>
                </a:cubicBezTo>
                <a:cubicBezTo>
                  <a:pt x="163006" y="9905"/>
                  <a:pt x="163086" y="9911"/>
                  <a:pt x="163167" y="9917"/>
                </a:cubicBezTo>
                <a:cubicBezTo>
                  <a:pt x="169415" y="9917"/>
                  <a:pt x="181851" y="20097"/>
                  <a:pt x="188677" y="30856"/>
                </a:cubicBezTo>
                <a:cubicBezTo>
                  <a:pt x="192784" y="37335"/>
                  <a:pt x="196833" y="46821"/>
                  <a:pt x="192842" y="55324"/>
                </a:cubicBezTo>
                <a:cubicBezTo>
                  <a:pt x="187867" y="65910"/>
                  <a:pt x="192205" y="70075"/>
                  <a:pt x="195676" y="73430"/>
                </a:cubicBezTo>
                <a:cubicBezTo>
                  <a:pt x="197469" y="75165"/>
                  <a:pt x="198973" y="76611"/>
                  <a:pt x="198857" y="78636"/>
                </a:cubicBezTo>
                <a:cubicBezTo>
                  <a:pt x="198742" y="80660"/>
                  <a:pt x="197469" y="81817"/>
                  <a:pt x="194866" y="83610"/>
                </a:cubicBezTo>
                <a:cubicBezTo>
                  <a:pt x="191355" y="86173"/>
                  <a:pt x="188873" y="89909"/>
                  <a:pt x="187867" y="94138"/>
                </a:cubicBezTo>
                <a:cubicBezTo>
                  <a:pt x="186074" y="99633"/>
                  <a:pt x="184339" y="104839"/>
                  <a:pt x="171324" y="105707"/>
                </a:cubicBezTo>
                <a:cubicBezTo>
                  <a:pt x="166002" y="105996"/>
                  <a:pt x="160160" y="106806"/>
                  <a:pt x="154491" y="107616"/>
                </a:cubicBezTo>
                <a:cubicBezTo>
                  <a:pt x="147347" y="108732"/>
                  <a:pt x="140140" y="109374"/>
                  <a:pt x="132915" y="109524"/>
                </a:cubicBezTo>
                <a:close/>
                <a:moveTo>
                  <a:pt x="115099" y="66315"/>
                </a:moveTo>
                <a:cubicBezTo>
                  <a:pt x="116932" y="66297"/>
                  <a:pt x="118760" y="66511"/>
                  <a:pt x="120536" y="66951"/>
                </a:cubicBezTo>
                <a:cubicBezTo>
                  <a:pt x="122549" y="67165"/>
                  <a:pt x="124302" y="68415"/>
                  <a:pt x="125164" y="70248"/>
                </a:cubicBezTo>
                <a:cubicBezTo>
                  <a:pt x="126321" y="73372"/>
                  <a:pt x="123486" y="77421"/>
                  <a:pt x="120189" y="82164"/>
                </a:cubicBezTo>
                <a:cubicBezTo>
                  <a:pt x="115735" y="88527"/>
                  <a:pt x="110703" y="95758"/>
                  <a:pt x="115099" y="101253"/>
                </a:cubicBezTo>
                <a:cubicBezTo>
                  <a:pt x="118396" y="105360"/>
                  <a:pt x="124007" y="107037"/>
                  <a:pt x="132857" y="107037"/>
                </a:cubicBezTo>
                <a:lnTo>
                  <a:pt x="132857" y="107037"/>
                </a:lnTo>
                <a:cubicBezTo>
                  <a:pt x="139972" y="106823"/>
                  <a:pt x="147064" y="106129"/>
                  <a:pt x="154086" y="104955"/>
                </a:cubicBezTo>
                <a:cubicBezTo>
                  <a:pt x="159870" y="104145"/>
                  <a:pt x="165655" y="103335"/>
                  <a:pt x="171092" y="103046"/>
                </a:cubicBezTo>
                <a:cubicBezTo>
                  <a:pt x="182661" y="102352"/>
                  <a:pt x="183934" y="98245"/>
                  <a:pt x="185669" y="93097"/>
                </a:cubicBezTo>
                <a:cubicBezTo>
                  <a:pt x="186832" y="88429"/>
                  <a:pt x="189620" y="84328"/>
                  <a:pt x="193536" y="81528"/>
                </a:cubicBezTo>
                <a:cubicBezTo>
                  <a:pt x="195445" y="80197"/>
                  <a:pt x="196486" y="79098"/>
                  <a:pt x="196544" y="78231"/>
                </a:cubicBezTo>
                <a:cubicBezTo>
                  <a:pt x="196601" y="77363"/>
                  <a:pt x="195445" y="76148"/>
                  <a:pt x="194056" y="74818"/>
                </a:cubicBezTo>
                <a:cubicBezTo>
                  <a:pt x="190470" y="71405"/>
                  <a:pt x="185091" y="66141"/>
                  <a:pt x="190759" y="54110"/>
                </a:cubicBezTo>
                <a:cubicBezTo>
                  <a:pt x="194288" y="46590"/>
                  <a:pt x="190759" y="37855"/>
                  <a:pt x="186710" y="31840"/>
                </a:cubicBezTo>
                <a:cubicBezTo>
                  <a:pt x="179711" y="20849"/>
                  <a:pt x="168084" y="11941"/>
                  <a:pt x="163110" y="11941"/>
                </a:cubicBezTo>
                <a:cubicBezTo>
                  <a:pt x="161953" y="11941"/>
                  <a:pt x="161490" y="12404"/>
                  <a:pt x="161374" y="13561"/>
                </a:cubicBezTo>
                <a:cubicBezTo>
                  <a:pt x="161374" y="16106"/>
                  <a:pt x="159639" y="19345"/>
                  <a:pt x="153970" y="19345"/>
                </a:cubicBezTo>
                <a:cubicBezTo>
                  <a:pt x="146566" y="19345"/>
                  <a:pt x="134361" y="14255"/>
                  <a:pt x="121520" y="8875"/>
                </a:cubicBezTo>
                <a:cubicBezTo>
                  <a:pt x="117239" y="7082"/>
                  <a:pt x="113017" y="5289"/>
                  <a:pt x="108967" y="3727"/>
                </a:cubicBezTo>
                <a:cubicBezTo>
                  <a:pt x="106839" y="2819"/>
                  <a:pt x="104571" y="2270"/>
                  <a:pt x="102257" y="2108"/>
                </a:cubicBezTo>
                <a:cubicBezTo>
                  <a:pt x="100175" y="2108"/>
                  <a:pt x="99597" y="2975"/>
                  <a:pt x="99365" y="3612"/>
                </a:cubicBezTo>
                <a:cubicBezTo>
                  <a:pt x="97514" y="8586"/>
                  <a:pt x="107232" y="23568"/>
                  <a:pt x="118570" y="33286"/>
                </a:cubicBezTo>
                <a:cubicBezTo>
                  <a:pt x="124354" y="38434"/>
                  <a:pt x="124817" y="40401"/>
                  <a:pt x="124354" y="41615"/>
                </a:cubicBezTo>
                <a:cubicBezTo>
                  <a:pt x="123891" y="42830"/>
                  <a:pt x="123371" y="43177"/>
                  <a:pt x="121346" y="43177"/>
                </a:cubicBezTo>
                <a:cubicBezTo>
                  <a:pt x="115851" y="43177"/>
                  <a:pt x="100638" y="36814"/>
                  <a:pt x="85714" y="26634"/>
                </a:cubicBezTo>
                <a:cubicBezTo>
                  <a:pt x="77616" y="20849"/>
                  <a:pt x="71889" y="20386"/>
                  <a:pt x="70270" y="25072"/>
                </a:cubicBezTo>
                <a:cubicBezTo>
                  <a:pt x="69084" y="32262"/>
                  <a:pt x="71791" y="39544"/>
                  <a:pt x="77384" y="44218"/>
                </a:cubicBezTo>
                <a:cubicBezTo>
                  <a:pt x="80664" y="46156"/>
                  <a:pt x="82324" y="49985"/>
                  <a:pt x="81491" y="53705"/>
                </a:cubicBezTo>
                <a:cubicBezTo>
                  <a:pt x="80439" y="56354"/>
                  <a:pt x="77795" y="58014"/>
                  <a:pt x="74955" y="57812"/>
                </a:cubicBezTo>
                <a:cubicBezTo>
                  <a:pt x="68216" y="56799"/>
                  <a:pt x="62287" y="52802"/>
                  <a:pt x="58816" y="46937"/>
                </a:cubicBezTo>
                <a:cubicBezTo>
                  <a:pt x="55577" y="42657"/>
                  <a:pt x="53032" y="38318"/>
                  <a:pt x="49966" y="34096"/>
                </a:cubicBezTo>
                <a:cubicBezTo>
                  <a:pt x="40422" y="19635"/>
                  <a:pt x="32208" y="7140"/>
                  <a:pt x="14797" y="6272"/>
                </a:cubicBezTo>
                <a:cubicBezTo>
                  <a:pt x="8492" y="5925"/>
                  <a:pt x="4616" y="7429"/>
                  <a:pt x="3228" y="10726"/>
                </a:cubicBezTo>
                <a:cubicBezTo>
                  <a:pt x="-243" y="17783"/>
                  <a:pt x="6814" y="31088"/>
                  <a:pt x="12367" y="38318"/>
                </a:cubicBezTo>
                <a:cubicBezTo>
                  <a:pt x="21623" y="50350"/>
                  <a:pt x="30820" y="55151"/>
                  <a:pt x="43546" y="61861"/>
                </a:cubicBezTo>
                <a:cubicBezTo>
                  <a:pt x="47363" y="63828"/>
                  <a:pt x="51297" y="65852"/>
                  <a:pt x="55635" y="68339"/>
                </a:cubicBezTo>
                <a:cubicBezTo>
                  <a:pt x="60841" y="71041"/>
                  <a:pt x="66666" y="72336"/>
                  <a:pt x="72526" y="72099"/>
                </a:cubicBezTo>
                <a:cubicBezTo>
                  <a:pt x="80664" y="71787"/>
                  <a:pt x="88757" y="70746"/>
                  <a:pt x="96704" y="68976"/>
                </a:cubicBezTo>
                <a:cubicBezTo>
                  <a:pt x="102749" y="67553"/>
                  <a:pt x="108904" y="66662"/>
                  <a:pt x="115099" y="6631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2" name="Forma libre: forma 451">
            <a:extLst>
              <a:ext uri="{FF2B5EF4-FFF2-40B4-BE49-F238E27FC236}">
                <a16:creationId xmlns:a16="http://schemas.microsoft.com/office/drawing/2014/main" id="{995F2FE6-DFEC-B547-C64C-B86B32C7EFE3}"/>
              </a:ext>
            </a:extLst>
          </p:cNvPr>
          <p:cNvSpPr/>
          <p:nvPr/>
        </p:nvSpPr>
        <p:spPr>
          <a:xfrm>
            <a:off x="3675427" y="1731183"/>
            <a:ext cx="45107" cy="27651"/>
          </a:xfrm>
          <a:custGeom>
            <a:avLst/>
            <a:gdLst>
              <a:gd name="connsiteX0" fmla="*/ 19735 w 45107"/>
              <a:gd name="connsiteY0" fmla="*/ 27521 h 27651"/>
              <a:gd name="connsiteX1" fmla="*/ 19735 w 45107"/>
              <a:gd name="connsiteY1" fmla="*/ 27521 h 27651"/>
              <a:gd name="connsiteX2" fmla="*/ 9034 w 45107"/>
              <a:gd name="connsiteY2" fmla="*/ 25670 h 27651"/>
              <a:gd name="connsiteX3" fmla="*/ 11 w 45107"/>
              <a:gd name="connsiteY3" fmla="*/ 14101 h 27651"/>
              <a:gd name="connsiteX4" fmla="*/ 23785 w 45107"/>
              <a:gd name="connsiteY4" fmla="*/ -129 h 27651"/>
              <a:gd name="connsiteX5" fmla="*/ 36626 w 45107"/>
              <a:gd name="connsiteY5" fmla="*/ 2821 h 27651"/>
              <a:gd name="connsiteX6" fmla="*/ 44782 w 45107"/>
              <a:gd name="connsiteY6" fmla="*/ 14390 h 27651"/>
              <a:gd name="connsiteX7" fmla="*/ 19735 w 45107"/>
              <a:gd name="connsiteY7" fmla="*/ 27521 h 27651"/>
              <a:gd name="connsiteX8" fmla="*/ 23785 w 45107"/>
              <a:gd name="connsiteY8" fmla="*/ 2301 h 27651"/>
              <a:gd name="connsiteX9" fmla="*/ 2267 w 45107"/>
              <a:gd name="connsiteY9" fmla="*/ 14679 h 27651"/>
              <a:gd name="connsiteX10" fmla="*/ 9844 w 45107"/>
              <a:gd name="connsiteY10" fmla="*/ 23587 h 27651"/>
              <a:gd name="connsiteX11" fmla="*/ 19735 w 45107"/>
              <a:gd name="connsiteY11" fmla="*/ 25265 h 27651"/>
              <a:gd name="connsiteX12" fmla="*/ 42873 w 45107"/>
              <a:gd name="connsiteY12" fmla="*/ 14159 h 27651"/>
              <a:gd name="connsiteX13" fmla="*/ 35874 w 45107"/>
              <a:gd name="connsiteY13" fmla="*/ 5019 h 27651"/>
              <a:gd name="connsiteX14" fmla="*/ 23785 w 45107"/>
              <a:gd name="connsiteY14" fmla="*/ 2301 h 27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07" h="27651">
                <a:moveTo>
                  <a:pt x="19735" y="27521"/>
                </a:moveTo>
                <a:lnTo>
                  <a:pt x="19735" y="27521"/>
                </a:lnTo>
                <a:cubicBezTo>
                  <a:pt x="16086" y="27555"/>
                  <a:pt x="12459" y="26925"/>
                  <a:pt x="9034" y="25670"/>
                </a:cubicBezTo>
                <a:cubicBezTo>
                  <a:pt x="11" y="22315"/>
                  <a:pt x="-452" y="17051"/>
                  <a:pt x="11" y="14101"/>
                </a:cubicBezTo>
                <a:cubicBezTo>
                  <a:pt x="1399" y="6523"/>
                  <a:pt x="12505" y="-129"/>
                  <a:pt x="23785" y="-129"/>
                </a:cubicBezTo>
                <a:cubicBezTo>
                  <a:pt x="28233" y="-146"/>
                  <a:pt x="32629" y="860"/>
                  <a:pt x="36626" y="2821"/>
                </a:cubicBezTo>
                <a:cubicBezTo>
                  <a:pt x="44666" y="6870"/>
                  <a:pt x="45534" y="11440"/>
                  <a:pt x="44782" y="14390"/>
                </a:cubicBezTo>
                <a:cubicBezTo>
                  <a:pt x="43162" y="21621"/>
                  <a:pt x="31651" y="27521"/>
                  <a:pt x="19735" y="27521"/>
                </a:cubicBezTo>
                <a:close/>
                <a:moveTo>
                  <a:pt x="23785" y="2301"/>
                </a:moveTo>
                <a:cubicBezTo>
                  <a:pt x="12736" y="2301"/>
                  <a:pt x="3308" y="8837"/>
                  <a:pt x="2267" y="14679"/>
                </a:cubicBezTo>
                <a:cubicBezTo>
                  <a:pt x="1572" y="18324"/>
                  <a:pt x="4291" y="21505"/>
                  <a:pt x="9844" y="23587"/>
                </a:cubicBezTo>
                <a:cubicBezTo>
                  <a:pt x="13014" y="24727"/>
                  <a:pt x="16363" y="25300"/>
                  <a:pt x="19735" y="25265"/>
                </a:cubicBezTo>
                <a:cubicBezTo>
                  <a:pt x="30321" y="25265"/>
                  <a:pt x="41196" y="19943"/>
                  <a:pt x="42873" y="14159"/>
                </a:cubicBezTo>
                <a:cubicBezTo>
                  <a:pt x="43857" y="9994"/>
                  <a:pt x="39634" y="6928"/>
                  <a:pt x="35874" y="5019"/>
                </a:cubicBezTo>
                <a:cubicBezTo>
                  <a:pt x="32114" y="3174"/>
                  <a:pt x="27973" y="2243"/>
                  <a:pt x="23785" y="230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3" name="Forma libre: forma 452">
            <a:extLst>
              <a:ext uri="{FF2B5EF4-FFF2-40B4-BE49-F238E27FC236}">
                <a16:creationId xmlns:a16="http://schemas.microsoft.com/office/drawing/2014/main" id="{BFFE5DC6-D111-3E8C-39AD-BBFF34BC8D61}"/>
              </a:ext>
            </a:extLst>
          </p:cNvPr>
          <p:cNvSpPr/>
          <p:nvPr/>
        </p:nvSpPr>
        <p:spPr>
          <a:xfrm>
            <a:off x="3485279" y="1658096"/>
            <a:ext cx="92682" cy="62651"/>
          </a:xfrm>
          <a:custGeom>
            <a:avLst/>
            <a:gdLst>
              <a:gd name="connsiteX0" fmla="*/ 37276 w 92682"/>
              <a:gd name="connsiteY0" fmla="*/ 62488 h 62651"/>
              <a:gd name="connsiteX1" fmla="*/ 8354 w 92682"/>
              <a:gd name="connsiteY1" fmla="*/ 35012 h 62651"/>
              <a:gd name="connsiteX2" fmla="*/ 1413 w 92682"/>
              <a:gd name="connsiteY2" fmla="*/ 2562 h 62651"/>
              <a:gd name="connsiteX3" fmla="*/ 7486 w 92682"/>
              <a:gd name="connsiteY3" fmla="*/ -99 h 62651"/>
              <a:gd name="connsiteX4" fmla="*/ 41441 w 92682"/>
              <a:gd name="connsiteY4" fmla="*/ 13263 h 62651"/>
              <a:gd name="connsiteX5" fmla="*/ 58216 w 92682"/>
              <a:gd name="connsiteY5" fmla="*/ 20725 h 62651"/>
              <a:gd name="connsiteX6" fmla="*/ 70363 w 92682"/>
              <a:gd name="connsiteY6" fmla="*/ 17717 h 62651"/>
              <a:gd name="connsiteX7" fmla="*/ 90840 w 92682"/>
              <a:gd name="connsiteY7" fmla="*/ 24716 h 62651"/>
              <a:gd name="connsiteX8" fmla="*/ 89278 w 92682"/>
              <a:gd name="connsiteY8" fmla="*/ 32988 h 62651"/>
              <a:gd name="connsiteX9" fmla="*/ 90088 w 92682"/>
              <a:gd name="connsiteY9" fmla="*/ 45309 h 62651"/>
              <a:gd name="connsiteX10" fmla="*/ 92518 w 92682"/>
              <a:gd name="connsiteY10" fmla="*/ 49473 h 62651"/>
              <a:gd name="connsiteX11" fmla="*/ 86328 w 92682"/>
              <a:gd name="connsiteY11" fmla="*/ 53927 h 62651"/>
              <a:gd name="connsiteX12" fmla="*/ 37276 w 92682"/>
              <a:gd name="connsiteY12" fmla="*/ 62488 h 62651"/>
              <a:gd name="connsiteX13" fmla="*/ 7255 w 92682"/>
              <a:gd name="connsiteY13" fmla="*/ 2157 h 62651"/>
              <a:gd name="connsiteX14" fmla="*/ 3032 w 92682"/>
              <a:gd name="connsiteY14" fmla="*/ 3834 h 62651"/>
              <a:gd name="connsiteX15" fmla="*/ 10089 w 92682"/>
              <a:gd name="connsiteY15" fmla="*/ 33913 h 62651"/>
              <a:gd name="connsiteX16" fmla="*/ 37276 w 92682"/>
              <a:gd name="connsiteY16" fmla="*/ 60232 h 62651"/>
              <a:gd name="connsiteX17" fmla="*/ 85287 w 92682"/>
              <a:gd name="connsiteY17" fmla="*/ 51845 h 62651"/>
              <a:gd name="connsiteX18" fmla="*/ 90088 w 92682"/>
              <a:gd name="connsiteY18" fmla="*/ 49068 h 62651"/>
              <a:gd name="connsiteX19" fmla="*/ 88295 w 92682"/>
              <a:gd name="connsiteY19" fmla="*/ 46928 h 62651"/>
              <a:gd name="connsiteX20" fmla="*/ 87254 w 92682"/>
              <a:gd name="connsiteY20" fmla="*/ 31599 h 62651"/>
              <a:gd name="connsiteX21" fmla="*/ 88584 w 92682"/>
              <a:gd name="connsiteY21" fmla="*/ 25815 h 62651"/>
              <a:gd name="connsiteX22" fmla="*/ 70132 w 92682"/>
              <a:gd name="connsiteY22" fmla="*/ 20031 h 62651"/>
              <a:gd name="connsiteX23" fmla="*/ 60067 w 92682"/>
              <a:gd name="connsiteY23" fmla="*/ 21939 h 62651"/>
              <a:gd name="connsiteX24" fmla="*/ 57985 w 92682"/>
              <a:gd name="connsiteY24" fmla="*/ 23039 h 62651"/>
              <a:gd name="connsiteX25" fmla="*/ 40168 w 92682"/>
              <a:gd name="connsiteY25" fmla="*/ 15287 h 62651"/>
              <a:gd name="connsiteX26" fmla="*/ 7255 w 92682"/>
              <a:gd name="connsiteY26" fmla="*/ 2157 h 6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2682" h="62651">
                <a:moveTo>
                  <a:pt x="37276" y="62488"/>
                </a:moveTo>
                <a:cubicBezTo>
                  <a:pt x="26575" y="62488"/>
                  <a:pt x="14890" y="47680"/>
                  <a:pt x="8354" y="35012"/>
                </a:cubicBezTo>
                <a:cubicBezTo>
                  <a:pt x="1818" y="22344"/>
                  <a:pt x="-2578" y="8577"/>
                  <a:pt x="1413" y="2562"/>
                </a:cubicBezTo>
                <a:cubicBezTo>
                  <a:pt x="2841" y="687"/>
                  <a:pt x="5138" y="-319"/>
                  <a:pt x="7486" y="-99"/>
                </a:cubicBezTo>
                <a:cubicBezTo>
                  <a:pt x="15642" y="-99"/>
                  <a:pt x="29930" y="7305"/>
                  <a:pt x="41441" y="13263"/>
                </a:cubicBezTo>
                <a:cubicBezTo>
                  <a:pt x="46705" y="16433"/>
                  <a:pt x="52339" y="18937"/>
                  <a:pt x="58216" y="20725"/>
                </a:cubicBezTo>
                <a:cubicBezTo>
                  <a:pt x="59778" y="17948"/>
                  <a:pt x="67876" y="17717"/>
                  <a:pt x="70363" y="17717"/>
                </a:cubicBezTo>
                <a:cubicBezTo>
                  <a:pt x="78172" y="17717"/>
                  <a:pt x="88237" y="19568"/>
                  <a:pt x="90840" y="24716"/>
                </a:cubicBezTo>
                <a:cubicBezTo>
                  <a:pt x="92008" y="27539"/>
                  <a:pt x="91395" y="30784"/>
                  <a:pt x="89278" y="32988"/>
                </a:cubicBezTo>
                <a:cubicBezTo>
                  <a:pt x="84188" y="39756"/>
                  <a:pt x="87311" y="42706"/>
                  <a:pt x="90088" y="45309"/>
                </a:cubicBezTo>
                <a:cubicBezTo>
                  <a:pt x="91534" y="46581"/>
                  <a:pt x="92865" y="47854"/>
                  <a:pt x="92518" y="49473"/>
                </a:cubicBezTo>
                <a:cubicBezTo>
                  <a:pt x="92170" y="51093"/>
                  <a:pt x="90435" y="52366"/>
                  <a:pt x="86328" y="53927"/>
                </a:cubicBezTo>
                <a:cubicBezTo>
                  <a:pt x="70699" y="59966"/>
                  <a:pt x="54028" y="62876"/>
                  <a:pt x="37276" y="62488"/>
                </a:cubicBezTo>
                <a:close/>
                <a:moveTo>
                  <a:pt x="7255" y="2157"/>
                </a:moveTo>
                <a:cubicBezTo>
                  <a:pt x="5653" y="1937"/>
                  <a:pt x="4050" y="2573"/>
                  <a:pt x="3032" y="3834"/>
                </a:cubicBezTo>
                <a:cubicBezTo>
                  <a:pt x="82" y="8288"/>
                  <a:pt x="3032" y="20667"/>
                  <a:pt x="10089" y="33913"/>
                </a:cubicBezTo>
                <a:cubicBezTo>
                  <a:pt x="16568" y="46061"/>
                  <a:pt x="27443" y="60232"/>
                  <a:pt x="37276" y="60232"/>
                </a:cubicBezTo>
                <a:cubicBezTo>
                  <a:pt x="53675" y="60585"/>
                  <a:pt x="69981" y="57734"/>
                  <a:pt x="85287" y="51845"/>
                </a:cubicBezTo>
                <a:cubicBezTo>
                  <a:pt x="89567" y="50225"/>
                  <a:pt x="90030" y="49300"/>
                  <a:pt x="90088" y="49068"/>
                </a:cubicBezTo>
                <a:cubicBezTo>
                  <a:pt x="90146" y="48837"/>
                  <a:pt x="89105" y="47680"/>
                  <a:pt x="88295" y="46928"/>
                </a:cubicBezTo>
                <a:cubicBezTo>
                  <a:pt x="85576" y="44325"/>
                  <a:pt x="80949" y="39987"/>
                  <a:pt x="87254" y="31599"/>
                </a:cubicBezTo>
                <a:cubicBezTo>
                  <a:pt x="88729" y="30061"/>
                  <a:pt x="89238" y="27840"/>
                  <a:pt x="88584" y="25815"/>
                </a:cubicBezTo>
                <a:cubicBezTo>
                  <a:pt x="86617" y="21824"/>
                  <a:pt x="77594" y="20031"/>
                  <a:pt x="70132" y="20031"/>
                </a:cubicBezTo>
                <a:cubicBezTo>
                  <a:pt x="63942" y="20031"/>
                  <a:pt x="60472" y="21188"/>
                  <a:pt x="60067" y="21939"/>
                </a:cubicBezTo>
                <a:cubicBezTo>
                  <a:pt x="59645" y="22680"/>
                  <a:pt x="58835" y="23108"/>
                  <a:pt x="57985" y="23039"/>
                </a:cubicBezTo>
                <a:cubicBezTo>
                  <a:pt x="51679" y="21390"/>
                  <a:pt x="45675" y="18775"/>
                  <a:pt x="40168" y="15287"/>
                </a:cubicBezTo>
                <a:cubicBezTo>
                  <a:pt x="28889" y="9445"/>
                  <a:pt x="14833" y="2157"/>
                  <a:pt x="7255" y="215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4" name="Forma libre: forma 453">
            <a:extLst>
              <a:ext uri="{FF2B5EF4-FFF2-40B4-BE49-F238E27FC236}">
                <a16:creationId xmlns:a16="http://schemas.microsoft.com/office/drawing/2014/main" id="{73CD8AD2-1740-E58A-63D6-13D97043910A}"/>
              </a:ext>
            </a:extLst>
          </p:cNvPr>
          <p:cNvSpPr/>
          <p:nvPr/>
        </p:nvSpPr>
        <p:spPr>
          <a:xfrm>
            <a:off x="3524503" y="1493848"/>
            <a:ext cx="315611" cy="211247"/>
          </a:xfrm>
          <a:custGeom>
            <a:avLst/>
            <a:gdLst>
              <a:gd name="connsiteX0" fmla="*/ 165338 w 315611"/>
              <a:gd name="connsiteY0" fmla="*/ 211118 h 211247"/>
              <a:gd name="connsiteX1" fmla="*/ 108535 w 315611"/>
              <a:gd name="connsiteY1" fmla="*/ 191683 h 211247"/>
              <a:gd name="connsiteX2" fmla="*/ 108535 w 315611"/>
              <a:gd name="connsiteY2" fmla="*/ 188675 h 211247"/>
              <a:gd name="connsiteX3" fmla="*/ 108535 w 315611"/>
              <a:gd name="connsiteY3" fmla="*/ 187344 h 211247"/>
              <a:gd name="connsiteX4" fmla="*/ 87537 w 315611"/>
              <a:gd name="connsiteY4" fmla="*/ 172363 h 211247"/>
              <a:gd name="connsiteX5" fmla="*/ 69721 w 315611"/>
              <a:gd name="connsiteY5" fmla="*/ 160794 h 211247"/>
              <a:gd name="connsiteX6" fmla="*/ 68680 w 315611"/>
              <a:gd name="connsiteY6" fmla="*/ 157728 h 211247"/>
              <a:gd name="connsiteX7" fmla="*/ 89677 w 315611"/>
              <a:gd name="connsiteY7" fmla="*/ 149977 h 211247"/>
              <a:gd name="connsiteX8" fmla="*/ 117732 w 315611"/>
              <a:gd name="connsiteY8" fmla="*/ 139796 h 211247"/>
              <a:gd name="connsiteX9" fmla="*/ 117732 w 315611"/>
              <a:gd name="connsiteY9" fmla="*/ 137367 h 211247"/>
              <a:gd name="connsiteX10" fmla="*/ 105295 w 315611"/>
              <a:gd name="connsiteY10" fmla="*/ 133318 h 211247"/>
              <a:gd name="connsiteX11" fmla="*/ 81290 w 315611"/>
              <a:gd name="connsiteY11" fmla="*/ 135458 h 211247"/>
              <a:gd name="connsiteX12" fmla="*/ 53409 w 315611"/>
              <a:gd name="connsiteY12" fmla="*/ 137945 h 211247"/>
              <a:gd name="connsiteX13" fmla="*/ 38370 w 315611"/>
              <a:gd name="connsiteY13" fmla="*/ 135632 h 211247"/>
              <a:gd name="connsiteX14" fmla="*/ 23677 w 315611"/>
              <a:gd name="connsiteY14" fmla="*/ 120187 h 211247"/>
              <a:gd name="connsiteX15" fmla="*/ 11646 w 315611"/>
              <a:gd name="connsiteY15" fmla="*/ 106478 h 211247"/>
              <a:gd name="connsiteX16" fmla="*/ 77 w 315611"/>
              <a:gd name="connsiteY16" fmla="*/ 93289 h 211247"/>
              <a:gd name="connsiteX17" fmla="*/ 10778 w 315611"/>
              <a:gd name="connsiteY17" fmla="*/ 88084 h 211247"/>
              <a:gd name="connsiteX18" fmla="*/ 22347 w 315611"/>
              <a:gd name="connsiteY18" fmla="*/ 89877 h 211247"/>
              <a:gd name="connsiteX19" fmla="*/ 32007 w 315611"/>
              <a:gd name="connsiteY19" fmla="*/ 91207 h 211247"/>
              <a:gd name="connsiteX20" fmla="*/ 48377 w 315611"/>
              <a:gd name="connsiteY20" fmla="*/ 84497 h 211247"/>
              <a:gd name="connsiteX21" fmla="*/ 36403 w 315611"/>
              <a:gd name="connsiteY21" fmla="*/ 78713 h 211247"/>
              <a:gd name="connsiteX22" fmla="*/ 15290 w 315611"/>
              <a:gd name="connsiteY22" fmla="*/ 59335 h 211247"/>
              <a:gd name="connsiteX23" fmla="*/ 31544 w 315611"/>
              <a:gd name="connsiteY23" fmla="*/ 46129 h 211247"/>
              <a:gd name="connsiteX24" fmla="*/ 31717 w 315611"/>
              <a:gd name="connsiteY24" fmla="*/ 46146 h 211247"/>
              <a:gd name="connsiteX25" fmla="*/ 63763 w 315611"/>
              <a:gd name="connsiteY25" fmla="*/ 40940 h 211247"/>
              <a:gd name="connsiteX26" fmla="*/ 54335 w 315611"/>
              <a:gd name="connsiteY26" fmla="*/ 35156 h 211247"/>
              <a:gd name="connsiteX27" fmla="*/ 43344 w 315611"/>
              <a:gd name="connsiteY27" fmla="*/ 27000 h 211247"/>
              <a:gd name="connsiteX28" fmla="*/ 64978 w 315611"/>
              <a:gd name="connsiteY28" fmla="*/ 21794 h 211247"/>
              <a:gd name="connsiteX29" fmla="*/ 73018 w 315611"/>
              <a:gd name="connsiteY29" fmla="*/ 21794 h 211247"/>
              <a:gd name="connsiteX30" fmla="*/ 75563 w 315611"/>
              <a:gd name="connsiteY30" fmla="*/ 21794 h 211247"/>
              <a:gd name="connsiteX31" fmla="*/ 83719 w 315611"/>
              <a:gd name="connsiteY31" fmla="*/ 18844 h 211247"/>
              <a:gd name="connsiteX32" fmla="*/ 70300 w 315611"/>
              <a:gd name="connsiteY32" fmla="*/ 11787 h 211247"/>
              <a:gd name="connsiteX33" fmla="*/ 63705 w 315611"/>
              <a:gd name="connsiteY33" fmla="*/ 6754 h 211247"/>
              <a:gd name="connsiteX34" fmla="*/ 80422 w 315611"/>
              <a:gd name="connsiteY34" fmla="*/ -129 h 211247"/>
              <a:gd name="connsiteX35" fmla="*/ 118484 w 315611"/>
              <a:gd name="connsiteY35" fmla="*/ 15894 h 211247"/>
              <a:gd name="connsiteX36" fmla="*/ 176328 w 315611"/>
              <a:gd name="connsiteY36" fmla="*/ 46841 h 211247"/>
              <a:gd name="connsiteX37" fmla="*/ 205250 w 315611"/>
              <a:gd name="connsiteY37" fmla="*/ 63731 h 211247"/>
              <a:gd name="connsiteX38" fmla="*/ 226190 w 315611"/>
              <a:gd name="connsiteY38" fmla="*/ 81084 h 211247"/>
              <a:gd name="connsiteX39" fmla="*/ 228330 w 315611"/>
              <a:gd name="connsiteY39" fmla="*/ 80275 h 211247"/>
              <a:gd name="connsiteX40" fmla="*/ 228330 w 315611"/>
              <a:gd name="connsiteY40" fmla="*/ 76168 h 211247"/>
              <a:gd name="connsiteX41" fmla="*/ 229256 w 315611"/>
              <a:gd name="connsiteY41" fmla="*/ 70383 h 211247"/>
              <a:gd name="connsiteX42" fmla="*/ 236891 w 315611"/>
              <a:gd name="connsiteY42" fmla="*/ 67491 h 211247"/>
              <a:gd name="connsiteX43" fmla="*/ 252220 w 315611"/>
              <a:gd name="connsiteY43" fmla="*/ 75011 h 211247"/>
              <a:gd name="connsiteX44" fmla="*/ 249501 w 315611"/>
              <a:gd name="connsiteY44" fmla="*/ 81836 h 211247"/>
              <a:gd name="connsiteX45" fmla="*/ 247303 w 315611"/>
              <a:gd name="connsiteY45" fmla="*/ 85133 h 211247"/>
              <a:gd name="connsiteX46" fmla="*/ 254360 w 315611"/>
              <a:gd name="connsiteY46" fmla="*/ 91612 h 211247"/>
              <a:gd name="connsiteX47" fmla="*/ 263731 w 315611"/>
              <a:gd name="connsiteY47" fmla="*/ 101099 h 211247"/>
              <a:gd name="connsiteX48" fmla="*/ 261822 w 315611"/>
              <a:gd name="connsiteY48" fmla="*/ 106883 h 211247"/>
              <a:gd name="connsiteX49" fmla="*/ 259624 w 315611"/>
              <a:gd name="connsiteY49" fmla="*/ 116080 h 211247"/>
              <a:gd name="connsiteX50" fmla="*/ 280390 w 315611"/>
              <a:gd name="connsiteY50" fmla="*/ 123600 h 211247"/>
              <a:gd name="connsiteX51" fmla="*/ 287447 w 315611"/>
              <a:gd name="connsiteY51" fmla="*/ 123195 h 211247"/>
              <a:gd name="connsiteX52" fmla="*/ 294793 w 315611"/>
              <a:gd name="connsiteY52" fmla="*/ 122790 h 211247"/>
              <a:gd name="connsiteX53" fmla="*/ 313303 w 315611"/>
              <a:gd name="connsiteY53" fmla="*/ 128922 h 211247"/>
              <a:gd name="connsiteX54" fmla="*/ 315328 w 315611"/>
              <a:gd name="connsiteY54" fmla="*/ 136615 h 211247"/>
              <a:gd name="connsiteX55" fmla="*/ 291843 w 315611"/>
              <a:gd name="connsiteY55" fmla="*/ 147027 h 211247"/>
              <a:gd name="connsiteX56" fmla="*/ 268706 w 315611"/>
              <a:gd name="connsiteY56" fmla="*/ 153216 h 211247"/>
              <a:gd name="connsiteX57" fmla="*/ 252740 w 315611"/>
              <a:gd name="connsiteY57" fmla="*/ 169355 h 211247"/>
              <a:gd name="connsiteX58" fmla="*/ 244180 w 315611"/>
              <a:gd name="connsiteY58" fmla="*/ 177742 h 211247"/>
              <a:gd name="connsiteX59" fmla="*/ 239783 w 315611"/>
              <a:gd name="connsiteY59" fmla="*/ 176123 h 211247"/>
              <a:gd name="connsiteX60" fmla="*/ 237990 w 315611"/>
              <a:gd name="connsiteY60" fmla="*/ 175486 h 211247"/>
              <a:gd name="connsiteX61" fmla="*/ 230066 w 315611"/>
              <a:gd name="connsiteY61" fmla="*/ 188386 h 211247"/>
              <a:gd name="connsiteX62" fmla="*/ 215431 w 315611"/>
              <a:gd name="connsiteY62" fmla="*/ 207185 h 211247"/>
              <a:gd name="connsiteX63" fmla="*/ 212134 w 315611"/>
              <a:gd name="connsiteY63" fmla="*/ 206549 h 211247"/>
              <a:gd name="connsiteX64" fmla="*/ 188996 w 315611"/>
              <a:gd name="connsiteY64" fmla="*/ 201285 h 211247"/>
              <a:gd name="connsiteX65" fmla="*/ 174940 w 315611"/>
              <a:gd name="connsiteY65" fmla="*/ 207069 h 211247"/>
              <a:gd name="connsiteX66" fmla="*/ 165338 w 315611"/>
              <a:gd name="connsiteY66" fmla="*/ 211118 h 211247"/>
              <a:gd name="connsiteX67" fmla="*/ 105700 w 315611"/>
              <a:gd name="connsiteY67" fmla="*/ 131235 h 211247"/>
              <a:gd name="connsiteX68" fmla="*/ 120219 w 315611"/>
              <a:gd name="connsiteY68" fmla="*/ 137020 h 211247"/>
              <a:gd name="connsiteX69" fmla="*/ 119930 w 315611"/>
              <a:gd name="connsiteY69" fmla="*/ 141300 h 211247"/>
              <a:gd name="connsiteX70" fmla="*/ 90429 w 315611"/>
              <a:gd name="connsiteY70" fmla="*/ 152869 h 211247"/>
              <a:gd name="connsiteX71" fmla="*/ 71052 w 315611"/>
              <a:gd name="connsiteY71" fmla="*/ 159058 h 211247"/>
              <a:gd name="connsiteX72" fmla="*/ 71514 w 315611"/>
              <a:gd name="connsiteY72" fmla="*/ 159926 h 211247"/>
              <a:gd name="connsiteX73" fmla="*/ 88868 w 315611"/>
              <a:gd name="connsiteY73" fmla="*/ 170917 h 211247"/>
              <a:gd name="connsiteX74" fmla="*/ 110964 w 315611"/>
              <a:gd name="connsiteY74" fmla="*/ 187344 h 211247"/>
              <a:gd name="connsiteX75" fmla="*/ 110443 w 315611"/>
              <a:gd name="connsiteY75" fmla="*/ 190410 h 211247"/>
              <a:gd name="connsiteX76" fmla="*/ 110443 w 315611"/>
              <a:gd name="connsiteY76" fmla="*/ 191162 h 211247"/>
              <a:gd name="connsiteX77" fmla="*/ 165280 w 315611"/>
              <a:gd name="connsiteY77" fmla="*/ 209383 h 211247"/>
              <a:gd name="connsiteX78" fmla="*/ 172684 w 315611"/>
              <a:gd name="connsiteY78" fmla="*/ 207358 h 211247"/>
              <a:gd name="connsiteX79" fmla="*/ 188649 w 315611"/>
              <a:gd name="connsiteY79" fmla="*/ 200301 h 211247"/>
              <a:gd name="connsiteX80" fmla="*/ 212828 w 315611"/>
              <a:gd name="connsiteY80" fmla="*/ 205681 h 211247"/>
              <a:gd name="connsiteX81" fmla="*/ 215315 w 315611"/>
              <a:gd name="connsiteY81" fmla="*/ 206202 h 211247"/>
              <a:gd name="connsiteX82" fmla="*/ 227867 w 315611"/>
              <a:gd name="connsiteY82" fmla="*/ 188848 h 211247"/>
              <a:gd name="connsiteX83" fmla="*/ 237874 w 315611"/>
              <a:gd name="connsiteY83" fmla="*/ 174503 h 211247"/>
              <a:gd name="connsiteX84" fmla="*/ 240882 w 315611"/>
              <a:gd name="connsiteY84" fmla="*/ 175544 h 211247"/>
              <a:gd name="connsiteX85" fmla="*/ 244064 w 315611"/>
              <a:gd name="connsiteY85" fmla="*/ 176759 h 211247"/>
              <a:gd name="connsiteX86" fmla="*/ 250716 w 315611"/>
              <a:gd name="connsiteY86" fmla="*/ 169528 h 211247"/>
              <a:gd name="connsiteX87" fmla="*/ 267722 w 315611"/>
              <a:gd name="connsiteY87" fmla="*/ 152175 h 211247"/>
              <a:gd name="connsiteX88" fmla="*/ 291323 w 315611"/>
              <a:gd name="connsiteY88" fmla="*/ 145870 h 211247"/>
              <a:gd name="connsiteX89" fmla="*/ 313072 w 315611"/>
              <a:gd name="connsiteY89" fmla="*/ 137193 h 211247"/>
              <a:gd name="connsiteX90" fmla="*/ 311510 w 315611"/>
              <a:gd name="connsiteY90" fmla="*/ 131409 h 211247"/>
              <a:gd name="connsiteX91" fmla="*/ 287621 w 315611"/>
              <a:gd name="connsiteY91" fmla="*/ 126492 h 211247"/>
              <a:gd name="connsiteX92" fmla="*/ 280332 w 315611"/>
              <a:gd name="connsiteY92" fmla="*/ 126897 h 211247"/>
              <a:gd name="connsiteX93" fmla="*/ 257484 w 315611"/>
              <a:gd name="connsiteY93" fmla="*/ 118105 h 211247"/>
              <a:gd name="connsiteX94" fmla="*/ 259971 w 315611"/>
              <a:gd name="connsiteY94" fmla="*/ 106536 h 211247"/>
              <a:gd name="connsiteX95" fmla="*/ 261475 w 315611"/>
              <a:gd name="connsiteY95" fmla="*/ 102371 h 211247"/>
              <a:gd name="connsiteX96" fmla="*/ 253088 w 315611"/>
              <a:gd name="connsiteY96" fmla="*/ 94389 h 211247"/>
              <a:gd name="connsiteX97" fmla="*/ 244989 w 315611"/>
              <a:gd name="connsiteY97" fmla="*/ 86175 h 211247"/>
              <a:gd name="connsiteX98" fmla="*/ 248055 w 315611"/>
              <a:gd name="connsiteY98" fmla="*/ 80911 h 211247"/>
              <a:gd name="connsiteX99" fmla="*/ 250022 w 315611"/>
              <a:gd name="connsiteY99" fmla="*/ 76630 h 211247"/>
              <a:gd name="connsiteX100" fmla="*/ 236833 w 315611"/>
              <a:gd name="connsiteY100" fmla="*/ 70846 h 211247"/>
              <a:gd name="connsiteX101" fmla="*/ 231049 w 315611"/>
              <a:gd name="connsiteY101" fmla="*/ 72813 h 211247"/>
              <a:gd name="connsiteX102" fmla="*/ 230528 w 315611"/>
              <a:gd name="connsiteY102" fmla="*/ 76862 h 211247"/>
              <a:gd name="connsiteX103" fmla="*/ 229950 w 315611"/>
              <a:gd name="connsiteY103" fmla="*/ 82646 h 211247"/>
              <a:gd name="connsiteX104" fmla="*/ 226016 w 315611"/>
              <a:gd name="connsiteY104" fmla="*/ 84324 h 211247"/>
              <a:gd name="connsiteX105" fmla="*/ 202879 w 315611"/>
              <a:gd name="connsiteY105" fmla="*/ 65061 h 211247"/>
              <a:gd name="connsiteX106" fmla="*/ 175634 w 315611"/>
              <a:gd name="connsiteY106" fmla="*/ 49675 h 211247"/>
              <a:gd name="connsiteX107" fmla="*/ 117211 w 315611"/>
              <a:gd name="connsiteY107" fmla="*/ 18323 h 211247"/>
              <a:gd name="connsiteX108" fmla="*/ 80654 w 315611"/>
              <a:gd name="connsiteY108" fmla="*/ 2879 h 211247"/>
              <a:gd name="connsiteX109" fmla="*/ 66193 w 315611"/>
              <a:gd name="connsiteY109" fmla="*/ 7738 h 211247"/>
              <a:gd name="connsiteX110" fmla="*/ 70936 w 315611"/>
              <a:gd name="connsiteY110" fmla="*/ 10341 h 211247"/>
              <a:gd name="connsiteX111" fmla="*/ 86207 w 315611"/>
              <a:gd name="connsiteY111" fmla="*/ 19827 h 211247"/>
              <a:gd name="connsiteX112" fmla="*/ 75795 w 315611"/>
              <a:gd name="connsiteY112" fmla="*/ 24802 h 211247"/>
              <a:gd name="connsiteX113" fmla="*/ 73076 w 315611"/>
              <a:gd name="connsiteY113" fmla="*/ 24802 h 211247"/>
              <a:gd name="connsiteX114" fmla="*/ 65209 w 315611"/>
              <a:gd name="connsiteY114" fmla="*/ 24513 h 211247"/>
              <a:gd name="connsiteX115" fmla="*/ 45832 w 315611"/>
              <a:gd name="connsiteY115" fmla="*/ 27868 h 211247"/>
              <a:gd name="connsiteX116" fmla="*/ 55376 w 315611"/>
              <a:gd name="connsiteY116" fmla="*/ 33652 h 211247"/>
              <a:gd name="connsiteX117" fmla="*/ 66193 w 315611"/>
              <a:gd name="connsiteY117" fmla="*/ 42097 h 211247"/>
              <a:gd name="connsiteX118" fmla="*/ 31949 w 315611"/>
              <a:gd name="connsiteY118" fmla="*/ 49154 h 211247"/>
              <a:gd name="connsiteX119" fmla="*/ 17800 w 315611"/>
              <a:gd name="connsiteY119" fmla="*/ 60012 h 211247"/>
              <a:gd name="connsiteX120" fmla="*/ 17777 w 315611"/>
              <a:gd name="connsiteY120" fmla="*/ 60203 h 211247"/>
              <a:gd name="connsiteX121" fmla="*/ 36923 w 315611"/>
              <a:gd name="connsiteY121" fmla="*/ 77209 h 211247"/>
              <a:gd name="connsiteX122" fmla="*/ 50864 w 315611"/>
              <a:gd name="connsiteY122" fmla="*/ 85365 h 211247"/>
              <a:gd name="connsiteX123" fmla="*/ 32238 w 315611"/>
              <a:gd name="connsiteY123" fmla="*/ 94157 h 211247"/>
              <a:gd name="connsiteX124" fmla="*/ 21942 w 315611"/>
              <a:gd name="connsiteY124" fmla="*/ 92769 h 211247"/>
              <a:gd name="connsiteX125" fmla="*/ 2506 w 315611"/>
              <a:gd name="connsiteY125" fmla="*/ 94504 h 211247"/>
              <a:gd name="connsiteX126" fmla="*/ 13092 w 315611"/>
              <a:gd name="connsiteY126" fmla="*/ 105148 h 211247"/>
              <a:gd name="connsiteX127" fmla="*/ 26222 w 315611"/>
              <a:gd name="connsiteY127" fmla="*/ 120071 h 211247"/>
              <a:gd name="connsiteX128" fmla="*/ 39642 w 315611"/>
              <a:gd name="connsiteY128" fmla="*/ 134243 h 211247"/>
              <a:gd name="connsiteX129" fmla="*/ 53814 w 315611"/>
              <a:gd name="connsiteY129" fmla="*/ 136383 h 211247"/>
              <a:gd name="connsiteX130" fmla="*/ 81406 w 315611"/>
              <a:gd name="connsiteY130" fmla="*/ 133954 h 211247"/>
              <a:gd name="connsiteX131" fmla="*/ 105700 w 315611"/>
              <a:gd name="connsiteY131" fmla="*/ 131235 h 21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315611" h="211247">
                <a:moveTo>
                  <a:pt x="165338" y="211118"/>
                </a:moveTo>
                <a:cubicBezTo>
                  <a:pt x="147985" y="211118"/>
                  <a:pt x="112410" y="198971"/>
                  <a:pt x="108535" y="191683"/>
                </a:cubicBezTo>
                <a:cubicBezTo>
                  <a:pt x="107956" y="190763"/>
                  <a:pt x="107956" y="189594"/>
                  <a:pt x="108535" y="188675"/>
                </a:cubicBezTo>
                <a:cubicBezTo>
                  <a:pt x="108743" y="188253"/>
                  <a:pt x="108743" y="187761"/>
                  <a:pt x="108535" y="187344"/>
                </a:cubicBezTo>
                <a:cubicBezTo>
                  <a:pt x="107551" y="183469"/>
                  <a:pt x="96966" y="177569"/>
                  <a:pt x="87537" y="172363"/>
                </a:cubicBezTo>
                <a:cubicBezTo>
                  <a:pt x="81180" y="169193"/>
                  <a:pt x="75205" y="165311"/>
                  <a:pt x="69721" y="160794"/>
                </a:cubicBezTo>
                <a:cubicBezTo>
                  <a:pt x="68778" y="160082"/>
                  <a:pt x="68368" y="158868"/>
                  <a:pt x="68680" y="157728"/>
                </a:cubicBezTo>
                <a:cubicBezTo>
                  <a:pt x="69605" y="154489"/>
                  <a:pt x="76894" y="152753"/>
                  <a:pt x="89677" y="149977"/>
                </a:cubicBezTo>
                <a:cubicBezTo>
                  <a:pt x="101246" y="147490"/>
                  <a:pt x="115187" y="144192"/>
                  <a:pt x="117732" y="139796"/>
                </a:cubicBezTo>
                <a:cubicBezTo>
                  <a:pt x="118079" y="139027"/>
                  <a:pt x="118079" y="138142"/>
                  <a:pt x="117732" y="137367"/>
                </a:cubicBezTo>
                <a:cubicBezTo>
                  <a:pt x="116691" y="134648"/>
                  <a:pt x="112642" y="133318"/>
                  <a:pt x="105295" y="133318"/>
                </a:cubicBezTo>
                <a:cubicBezTo>
                  <a:pt x="97261" y="133584"/>
                  <a:pt x="89244" y="134295"/>
                  <a:pt x="81290" y="135458"/>
                </a:cubicBezTo>
                <a:cubicBezTo>
                  <a:pt x="72052" y="136841"/>
                  <a:pt x="62745" y="137673"/>
                  <a:pt x="53409" y="137945"/>
                </a:cubicBezTo>
                <a:cubicBezTo>
                  <a:pt x="48290" y="138182"/>
                  <a:pt x="43176" y="137396"/>
                  <a:pt x="38370" y="135632"/>
                </a:cubicBezTo>
                <a:cubicBezTo>
                  <a:pt x="31301" y="133104"/>
                  <a:pt x="25846" y="127377"/>
                  <a:pt x="23677" y="120187"/>
                </a:cubicBezTo>
                <a:cubicBezTo>
                  <a:pt x="21913" y="114050"/>
                  <a:pt x="17499" y="109023"/>
                  <a:pt x="11646" y="106478"/>
                </a:cubicBezTo>
                <a:cubicBezTo>
                  <a:pt x="3200" y="102255"/>
                  <a:pt x="-1080" y="97454"/>
                  <a:pt x="77" y="93289"/>
                </a:cubicBezTo>
                <a:cubicBezTo>
                  <a:pt x="886" y="89992"/>
                  <a:pt x="4762" y="88084"/>
                  <a:pt x="10778" y="88084"/>
                </a:cubicBezTo>
                <a:cubicBezTo>
                  <a:pt x="14700" y="88153"/>
                  <a:pt x="18593" y="88755"/>
                  <a:pt x="22347" y="89877"/>
                </a:cubicBezTo>
                <a:cubicBezTo>
                  <a:pt x="25494" y="90750"/>
                  <a:pt x="28744" y="91201"/>
                  <a:pt x="32007" y="91207"/>
                </a:cubicBezTo>
                <a:cubicBezTo>
                  <a:pt x="41840" y="91207"/>
                  <a:pt x="48203" y="87274"/>
                  <a:pt x="48377" y="84497"/>
                </a:cubicBezTo>
                <a:cubicBezTo>
                  <a:pt x="48550" y="81721"/>
                  <a:pt x="45427" y="79985"/>
                  <a:pt x="36403" y="78713"/>
                </a:cubicBezTo>
                <a:cubicBezTo>
                  <a:pt x="21132" y="76630"/>
                  <a:pt x="14769" y="67144"/>
                  <a:pt x="15290" y="59335"/>
                </a:cubicBezTo>
                <a:cubicBezTo>
                  <a:pt x="16128" y="51202"/>
                  <a:pt x="23405" y="45285"/>
                  <a:pt x="31544" y="46129"/>
                </a:cubicBezTo>
                <a:cubicBezTo>
                  <a:pt x="31602" y="46135"/>
                  <a:pt x="31660" y="46141"/>
                  <a:pt x="31717" y="46146"/>
                </a:cubicBezTo>
                <a:cubicBezTo>
                  <a:pt x="50922" y="46146"/>
                  <a:pt x="63300" y="43428"/>
                  <a:pt x="63763" y="40940"/>
                </a:cubicBezTo>
                <a:cubicBezTo>
                  <a:pt x="63763" y="40940"/>
                  <a:pt x="63763" y="38627"/>
                  <a:pt x="54335" y="35156"/>
                </a:cubicBezTo>
                <a:cubicBezTo>
                  <a:pt x="46294" y="32090"/>
                  <a:pt x="42766" y="29372"/>
                  <a:pt x="43344" y="27000"/>
                </a:cubicBezTo>
                <a:cubicBezTo>
                  <a:pt x="44212" y="22488"/>
                  <a:pt x="57285" y="21794"/>
                  <a:pt x="64978" y="21794"/>
                </a:cubicBezTo>
                <a:cubicBezTo>
                  <a:pt x="67755" y="21794"/>
                  <a:pt x="70762" y="21794"/>
                  <a:pt x="73018" y="21794"/>
                </a:cubicBezTo>
                <a:cubicBezTo>
                  <a:pt x="73869" y="21852"/>
                  <a:pt x="74713" y="21852"/>
                  <a:pt x="75563" y="21794"/>
                </a:cubicBezTo>
                <a:cubicBezTo>
                  <a:pt x="81001" y="21794"/>
                  <a:pt x="83604" y="20290"/>
                  <a:pt x="83719" y="18844"/>
                </a:cubicBezTo>
                <a:cubicBezTo>
                  <a:pt x="83835" y="17398"/>
                  <a:pt x="80365" y="13696"/>
                  <a:pt x="70300" y="11787"/>
                </a:cubicBezTo>
                <a:cubicBezTo>
                  <a:pt x="64515" y="10688"/>
                  <a:pt x="63590" y="8201"/>
                  <a:pt x="63705" y="6754"/>
                </a:cubicBezTo>
                <a:cubicBezTo>
                  <a:pt x="64052" y="2937"/>
                  <a:pt x="71399" y="-129"/>
                  <a:pt x="80422" y="-129"/>
                </a:cubicBezTo>
                <a:cubicBezTo>
                  <a:pt x="94646" y="345"/>
                  <a:pt x="108199" y="6055"/>
                  <a:pt x="118484" y="15894"/>
                </a:cubicBezTo>
                <a:cubicBezTo>
                  <a:pt x="135837" y="31512"/>
                  <a:pt x="158339" y="40015"/>
                  <a:pt x="176328" y="46841"/>
                </a:cubicBezTo>
                <a:cubicBezTo>
                  <a:pt x="191888" y="52625"/>
                  <a:pt x="203168" y="57079"/>
                  <a:pt x="205250" y="63731"/>
                </a:cubicBezTo>
                <a:cubicBezTo>
                  <a:pt x="208906" y="72639"/>
                  <a:pt x="216755" y="79147"/>
                  <a:pt x="226190" y="81084"/>
                </a:cubicBezTo>
                <a:cubicBezTo>
                  <a:pt x="226994" y="81189"/>
                  <a:pt x="227798" y="80882"/>
                  <a:pt x="228330" y="80275"/>
                </a:cubicBezTo>
                <a:cubicBezTo>
                  <a:pt x="228891" y="78961"/>
                  <a:pt x="228891" y="77481"/>
                  <a:pt x="228330" y="76168"/>
                </a:cubicBezTo>
                <a:cubicBezTo>
                  <a:pt x="227729" y="74201"/>
                  <a:pt x="228070" y="72066"/>
                  <a:pt x="229256" y="70383"/>
                </a:cubicBezTo>
                <a:cubicBezTo>
                  <a:pt x="231222" y="68301"/>
                  <a:pt x="234039" y="67236"/>
                  <a:pt x="236891" y="67491"/>
                </a:cubicBezTo>
                <a:cubicBezTo>
                  <a:pt x="243023" y="67491"/>
                  <a:pt x="250600" y="70557"/>
                  <a:pt x="252220" y="75011"/>
                </a:cubicBezTo>
                <a:cubicBezTo>
                  <a:pt x="252798" y="76688"/>
                  <a:pt x="252798" y="79175"/>
                  <a:pt x="249501" y="81836"/>
                </a:cubicBezTo>
                <a:cubicBezTo>
                  <a:pt x="247997" y="83051"/>
                  <a:pt x="247245" y="84150"/>
                  <a:pt x="247303" y="85133"/>
                </a:cubicBezTo>
                <a:cubicBezTo>
                  <a:pt x="247303" y="87274"/>
                  <a:pt x="250947" y="89472"/>
                  <a:pt x="254360" y="91612"/>
                </a:cubicBezTo>
                <a:cubicBezTo>
                  <a:pt x="257773" y="93752"/>
                  <a:pt x="263037" y="97396"/>
                  <a:pt x="263731" y="101099"/>
                </a:cubicBezTo>
                <a:cubicBezTo>
                  <a:pt x="263945" y="103210"/>
                  <a:pt x="263251" y="105315"/>
                  <a:pt x="261822" y="106883"/>
                </a:cubicBezTo>
                <a:cubicBezTo>
                  <a:pt x="259364" y="109260"/>
                  <a:pt x="258508" y="112847"/>
                  <a:pt x="259624" y="116080"/>
                </a:cubicBezTo>
                <a:cubicBezTo>
                  <a:pt x="261822" y="120708"/>
                  <a:pt x="269805" y="123600"/>
                  <a:pt x="280390" y="123600"/>
                </a:cubicBezTo>
                <a:cubicBezTo>
                  <a:pt x="282750" y="123606"/>
                  <a:pt x="285104" y="123467"/>
                  <a:pt x="287447" y="123195"/>
                </a:cubicBezTo>
                <a:cubicBezTo>
                  <a:pt x="289888" y="122923"/>
                  <a:pt x="292341" y="122790"/>
                  <a:pt x="294793" y="122790"/>
                </a:cubicBezTo>
                <a:cubicBezTo>
                  <a:pt x="305899" y="122790"/>
                  <a:pt x="310990" y="126145"/>
                  <a:pt x="313303" y="128922"/>
                </a:cubicBezTo>
                <a:cubicBezTo>
                  <a:pt x="315126" y="131039"/>
                  <a:pt x="315872" y="133873"/>
                  <a:pt x="315328" y="136615"/>
                </a:cubicBezTo>
                <a:cubicBezTo>
                  <a:pt x="314171" y="142399"/>
                  <a:pt x="304338" y="144482"/>
                  <a:pt x="291843" y="147027"/>
                </a:cubicBezTo>
                <a:cubicBezTo>
                  <a:pt x="283971" y="148444"/>
                  <a:pt x="276231" y="150515"/>
                  <a:pt x="268706" y="153216"/>
                </a:cubicBezTo>
                <a:cubicBezTo>
                  <a:pt x="261649" y="156542"/>
                  <a:pt x="255991" y="162263"/>
                  <a:pt x="252740" y="169355"/>
                </a:cubicBezTo>
                <a:cubicBezTo>
                  <a:pt x="250080" y="174040"/>
                  <a:pt x="247939" y="177742"/>
                  <a:pt x="244180" y="177742"/>
                </a:cubicBezTo>
                <a:cubicBezTo>
                  <a:pt x="242583" y="177679"/>
                  <a:pt x="241044" y="177112"/>
                  <a:pt x="239783" y="176123"/>
                </a:cubicBezTo>
                <a:cubicBezTo>
                  <a:pt x="239257" y="175741"/>
                  <a:pt x="238638" y="175521"/>
                  <a:pt x="237990" y="175486"/>
                </a:cubicBezTo>
                <a:cubicBezTo>
                  <a:pt x="235098" y="175486"/>
                  <a:pt x="232553" y="182023"/>
                  <a:pt x="230066" y="188386"/>
                </a:cubicBezTo>
                <a:cubicBezTo>
                  <a:pt x="226653" y="197178"/>
                  <a:pt x="222777" y="207185"/>
                  <a:pt x="215431" y="207185"/>
                </a:cubicBezTo>
                <a:cubicBezTo>
                  <a:pt x="214303" y="207168"/>
                  <a:pt x="213187" y="206953"/>
                  <a:pt x="212134" y="206549"/>
                </a:cubicBezTo>
                <a:cubicBezTo>
                  <a:pt x="204793" y="203437"/>
                  <a:pt x="196961" y="201655"/>
                  <a:pt x="188996" y="201285"/>
                </a:cubicBezTo>
                <a:cubicBezTo>
                  <a:pt x="183617" y="200591"/>
                  <a:pt x="178272" y="202789"/>
                  <a:pt x="174940" y="207069"/>
                </a:cubicBezTo>
                <a:cubicBezTo>
                  <a:pt x="173378" y="210135"/>
                  <a:pt x="170312" y="211118"/>
                  <a:pt x="165338" y="211118"/>
                </a:cubicBezTo>
                <a:close/>
                <a:moveTo>
                  <a:pt x="105700" y="131235"/>
                </a:moveTo>
                <a:cubicBezTo>
                  <a:pt x="111080" y="131235"/>
                  <a:pt x="118426" y="131756"/>
                  <a:pt x="120219" y="137020"/>
                </a:cubicBezTo>
                <a:cubicBezTo>
                  <a:pt x="120792" y="138414"/>
                  <a:pt x="120688" y="139993"/>
                  <a:pt x="119930" y="141300"/>
                </a:cubicBezTo>
                <a:cubicBezTo>
                  <a:pt x="116864" y="147085"/>
                  <a:pt x="103444" y="149745"/>
                  <a:pt x="90429" y="152869"/>
                </a:cubicBezTo>
                <a:cubicBezTo>
                  <a:pt x="82100" y="154662"/>
                  <a:pt x="71688" y="156918"/>
                  <a:pt x="71052" y="159058"/>
                </a:cubicBezTo>
                <a:cubicBezTo>
                  <a:pt x="71052" y="159058"/>
                  <a:pt x="71341" y="159695"/>
                  <a:pt x="71514" y="159926"/>
                </a:cubicBezTo>
                <a:cubicBezTo>
                  <a:pt x="76906" y="164178"/>
                  <a:pt x="82719" y="167862"/>
                  <a:pt x="88868" y="170917"/>
                </a:cubicBezTo>
                <a:cubicBezTo>
                  <a:pt x="99627" y="176701"/>
                  <a:pt x="109749" y="182485"/>
                  <a:pt x="110964" y="187344"/>
                </a:cubicBezTo>
                <a:cubicBezTo>
                  <a:pt x="111207" y="188397"/>
                  <a:pt x="111016" y="189496"/>
                  <a:pt x="110443" y="190410"/>
                </a:cubicBezTo>
                <a:cubicBezTo>
                  <a:pt x="110443" y="190410"/>
                  <a:pt x="110443" y="190699"/>
                  <a:pt x="110443" y="191162"/>
                </a:cubicBezTo>
                <a:cubicBezTo>
                  <a:pt x="113625" y="196946"/>
                  <a:pt x="148042" y="209383"/>
                  <a:pt x="165280" y="209383"/>
                </a:cubicBezTo>
                <a:cubicBezTo>
                  <a:pt x="169213" y="209383"/>
                  <a:pt x="171874" y="208689"/>
                  <a:pt x="172684" y="207358"/>
                </a:cubicBezTo>
                <a:cubicBezTo>
                  <a:pt x="176351" y="202309"/>
                  <a:pt x="182448" y="199613"/>
                  <a:pt x="188649" y="200301"/>
                </a:cubicBezTo>
                <a:cubicBezTo>
                  <a:pt x="196956" y="200701"/>
                  <a:pt x="205135" y="202523"/>
                  <a:pt x="212828" y="205681"/>
                </a:cubicBezTo>
                <a:cubicBezTo>
                  <a:pt x="213615" y="206016"/>
                  <a:pt x="214459" y="206190"/>
                  <a:pt x="215315" y="206202"/>
                </a:cubicBezTo>
                <a:cubicBezTo>
                  <a:pt x="221100" y="206202"/>
                  <a:pt x="224686" y="196946"/>
                  <a:pt x="227867" y="188848"/>
                </a:cubicBezTo>
                <a:cubicBezTo>
                  <a:pt x="231049" y="180750"/>
                  <a:pt x="233652" y="174503"/>
                  <a:pt x="237874" y="174503"/>
                </a:cubicBezTo>
                <a:cubicBezTo>
                  <a:pt x="238962" y="174532"/>
                  <a:pt x="240009" y="174896"/>
                  <a:pt x="240882" y="175544"/>
                </a:cubicBezTo>
                <a:cubicBezTo>
                  <a:pt x="241808" y="176244"/>
                  <a:pt x="242913" y="176660"/>
                  <a:pt x="244064" y="176759"/>
                </a:cubicBezTo>
                <a:cubicBezTo>
                  <a:pt x="246493" y="176759"/>
                  <a:pt x="248344" y="173520"/>
                  <a:pt x="250716" y="169528"/>
                </a:cubicBezTo>
                <a:cubicBezTo>
                  <a:pt x="254140" y="161904"/>
                  <a:pt x="260173" y="155756"/>
                  <a:pt x="267722" y="152175"/>
                </a:cubicBezTo>
                <a:cubicBezTo>
                  <a:pt x="275387" y="149387"/>
                  <a:pt x="283288" y="147276"/>
                  <a:pt x="291323" y="145870"/>
                </a:cubicBezTo>
                <a:cubicBezTo>
                  <a:pt x="302082" y="143672"/>
                  <a:pt x="312204" y="141532"/>
                  <a:pt x="313072" y="137193"/>
                </a:cubicBezTo>
                <a:cubicBezTo>
                  <a:pt x="313442" y="135128"/>
                  <a:pt x="312870" y="133005"/>
                  <a:pt x="311510" y="131409"/>
                </a:cubicBezTo>
                <a:cubicBezTo>
                  <a:pt x="307866" y="127013"/>
                  <a:pt x="299189" y="125220"/>
                  <a:pt x="287621" y="126492"/>
                </a:cubicBezTo>
                <a:cubicBezTo>
                  <a:pt x="285203" y="126770"/>
                  <a:pt x="282767" y="126903"/>
                  <a:pt x="280332" y="126897"/>
                </a:cubicBezTo>
                <a:cubicBezTo>
                  <a:pt x="268763" y="126897"/>
                  <a:pt x="260145" y="123600"/>
                  <a:pt x="257484" y="118105"/>
                </a:cubicBezTo>
                <a:cubicBezTo>
                  <a:pt x="255881" y="114102"/>
                  <a:pt x="256865" y="109526"/>
                  <a:pt x="259971" y="106536"/>
                </a:cubicBezTo>
                <a:cubicBezTo>
                  <a:pt x="261006" y="105402"/>
                  <a:pt x="261544" y="103904"/>
                  <a:pt x="261475" y="102371"/>
                </a:cubicBezTo>
                <a:cubicBezTo>
                  <a:pt x="260954" y="99363"/>
                  <a:pt x="256963" y="96876"/>
                  <a:pt x="253088" y="94389"/>
                </a:cubicBezTo>
                <a:cubicBezTo>
                  <a:pt x="249212" y="91901"/>
                  <a:pt x="245163" y="89414"/>
                  <a:pt x="244989" y="86175"/>
                </a:cubicBezTo>
                <a:cubicBezTo>
                  <a:pt x="245053" y="84011"/>
                  <a:pt x="246204" y="82033"/>
                  <a:pt x="248055" y="80911"/>
                </a:cubicBezTo>
                <a:cubicBezTo>
                  <a:pt x="249848" y="79465"/>
                  <a:pt x="250485" y="78019"/>
                  <a:pt x="250022" y="76630"/>
                </a:cubicBezTo>
                <a:cubicBezTo>
                  <a:pt x="248923" y="73565"/>
                  <a:pt x="242502" y="70846"/>
                  <a:pt x="236833" y="70846"/>
                </a:cubicBezTo>
                <a:cubicBezTo>
                  <a:pt x="234710" y="70620"/>
                  <a:pt x="232593" y="71343"/>
                  <a:pt x="231049" y="72813"/>
                </a:cubicBezTo>
                <a:cubicBezTo>
                  <a:pt x="230199" y="73987"/>
                  <a:pt x="230008" y="75508"/>
                  <a:pt x="230528" y="76862"/>
                </a:cubicBezTo>
                <a:cubicBezTo>
                  <a:pt x="231182" y="78782"/>
                  <a:pt x="230974" y="80893"/>
                  <a:pt x="229950" y="82646"/>
                </a:cubicBezTo>
                <a:cubicBezTo>
                  <a:pt x="228995" y="83820"/>
                  <a:pt x="227526" y="84451"/>
                  <a:pt x="226016" y="84324"/>
                </a:cubicBezTo>
                <a:cubicBezTo>
                  <a:pt x="215518" y="82276"/>
                  <a:pt x="206795" y="75017"/>
                  <a:pt x="202879" y="65061"/>
                </a:cubicBezTo>
                <a:cubicBezTo>
                  <a:pt x="201375" y="59277"/>
                  <a:pt x="190037" y="55170"/>
                  <a:pt x="175634" y="49675"/>
                </a:cubicBezTo>
                <a:cubicBezTo>
                  <a:pt x="157587" y="42791"/>
                  <a:pt x="135143" y="34231"/>
                  <a:pt x="117211" y="18323"/>
                </a:cubicBezTo>
                <a:cubicBezTo>
                  <a:pt x="107349" y="8843"/>
                  <a:pt x="94328" y="3342"/>
                  <a:pt x="80654" y="2879"/>
                </a:cubicBezTo>
                <a:cubicBezTo>
                  <a:pt x="71456" y="2879"/>
                  <a:pt x="66366" y="6060"/>
                  <a:pt x="66193" y="7738"/>
                </a:cubicBezTo>
                <a:cubicBezTo>
                  <a:pt x="66019" y="9415"/>
                  <a:pt x="67523" y="9705"/>
                  <a:pt x="70936" y="10341"/>
                </a:cubicBezTo>
                <a:cubicBezTo>
                  <a:pt x="80712" y="12192"/>
                  <a:pt x="86612" y="16125"/>
                  <a:pt x="86207" y="19827"/>
                </a:cubicBezTo>
                <a:cubicBezTo>
                  <a:pt x="85918" y="22893"/>
                  <a:pt x="81926" y="24802"/>
                  <a:pt x="75795" y="24802"/>
                </a:cubicBezTo>
                <a:cubicBezTo>
                  <a:pt x="74887" y="24860"/>
                  <a:pt x="73984" y="24860"/>
                  <a:pt x="73076" y="24802"/>
                </a:cubicBezTo>
                <a:cubicBezTo>
                  <a:pt x="70647" y="24802"/>
                  <a:pt x="67928" y="24513"/>
                  <a:pt x="65209" y="24513"/>
                </a:cubicBezTo>
                <a:cubicBezTo>
                  <a:pt x="52426" y="24513"/>
                  <a:pt x="46063" y="26537"/>
                  <a:pt x="45832" y="27868"/>
                </a:cubicBezTo>
                <a:cubicBezTo>
                  <a:pt x="45832" y="27868"/>
                  <a:pt x="45832" y="29834"/>
                  <a:pt x="55376" y="33652"/>
                </a:cubicBezTo>
                <a:cubicBezTo>
                  <a:pt x="63358" y="36718"/>
                  <a:pt x="66945" y="39436"/>
                  <a:pt x="66193" y="42097"/>
                </a:cubicBezTo>
                <a:cubicBezTo>
                  <a:pt x="64978" y="48807"/>
                  <a:pt x="37270" y="49154"/>
                  <a:pt x="31949" y="49154"/>
                </a:cubicBezTo>
                <a:cubicBezTo>
                  <a:pt x="25042" y="48246"/>
                  <a:pt x="18708" y="53105"/>
                  <a:pt x="17800" y="60012"/>
                </a:cubicBezTo>
                <a:cubicBezTo>
                  <a:pt x="17794" y="60075"/>
                  <a:pt x="17783" y="60139"/>
                  <a:pt x="17777" y="60203"/>
                </a:cubicBezTo>
                <a:cubicBezTo>
                  <a:pt x="17314" y="67086"/>
                  <a:pt x="23099" y="75300"/>
                  <a:pt x="36923" y="77209"/>
                </a:cubicBezTo>
                <a:cubicBezTo>
                  <a:pt x="49418" y="78886"/>
                  <a:pt x="51037" y="82993"/>
                  <a:pt x="50864" y="85365"/>
                </a:cubicBezTo>
                <a:cubicBezTo>
                  <a:pt x="50517" y="90224"/>
                  <a:pt x="42187" y="94157"/>
                  <a:pt x="32238" y="94157"/>
                </a:cubicBezTo>
                <a:cubicBezTo>
                  <a:pt x="28762" y="94157"/>
                  <a:pt x="25297" y="93694"/>
                  <a:pt x="21942" y="92769"/>
                </a:cubicBezTo>
                <a:cubicBezTo>
                  <a:pt x="11877" y="89935"/>
                  <a:pt x="3374" y="90918"/>
                  <a:pt x="2506" y="94504"/>
                </a:cubicBezTo>
                <a:cubicBezTo>
                  <a:pt x="1985" y="96702"/>
                  <a:pt x="4473" y="100867"/>
                  <a:pt x="13092" y="105148"/>
                </a:cubicBezTo>
                <a:cubicBezTo>
                  <a:pt x="19420" y="107994"/>
                  <a:pt x="24209" y="113431"/>
                  <a:pt x="26222" y="120071"/>
                </a:cubicBezTo>
                <a:cubicBezTo>
                  <a:pt x="28166" y="126671"/>
                  <a:pt x="33158" y="131947"/>
                  <a:pt x="39642" y="134243"/>
                </a:cubicBezTo>
                <a:cubicBezTo>
                  <a:pt x="44177" y="135892"/>
                  <a:pt x="48996" y="136621"/>
                  <a:pt x="53814" y="136383"/>
                </a:cubicBezTo>
                <a:cubicBezTo>
                  <a:pt x="63052" y="136094"/>
                  <a:pt x="72261" y="135284"/>
                  <a:pt x="81406" y="133954"/>
                </a:cubicBezTo>
                <a:cubicBezTo>
                  <a:pt x="89446" y="132572"/>
                  <a:pt x="97556" y="131663"/>
                  <a:pt x="105700" y="13123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5" name="Forma libre: forma 454">
            <a:extLst>
              <a:ext uri="{FF2B5EF4-FFF2-40B4-BE49-F238E27FC236}">
                <a16:creationId xmlns:a16="http://schemas.microsoft.com/office/drawing/2014/main" id="{850AFB04-DB50-0983-2859-2259F70D45F8}"/>
              </a:ext>
            </a:extLst>
          </p:cNvPr>
          <p:cNvSpPr/>
          <p:nvPr/>
        </p:nvSpPr>
        <p:spPr>
          <a:xfrm>
            <a:off x="3956194" y="1945272"/>
            <a:ext cx="127271" cy="60730"/>
          </a:xfrm>
          <a:custGeom>
            <a:avLst/>
            <a:gdLst>
              <a:gd name="connsiteX0" fmla="*/ 42478 w 127271"/>
              <a:gd name="connsiteY0" fmla="*/ 60601 h 60730"/>
              <a:gd name="connsiteX1" fmla="*/ 18299 w 127271"/>
              <a:gd name="connsiteY1" fmla="*/ 40760 h 60730"/>
              <a:gd name="connsiteX2" fmla="*/ 8003 w 127271"/>
              <a:gd name="connsiteY2" fmla="*/ 24506 h 60730"/>
              <a:gd name="connsiteX3" fmla="*/ 1467 w 127271"/>
              <a:gd name="connsiteY3" fmla="*/ 6343 h 60730"/>
              <a:gd name="connsiteX4" fmla="*/ 12573 w 127271"/>
              <a:gd name="connsiteY4" fmla="*/ -78 h 60730"/>
              <a:gd name="connsiteX5" fmla="*/ 31256 w 127271"/>
              <a:gd name="connsiteY5" fmla="*/ 3971 h 60730"/>
              <a:gd name="connsiteX6" fmla="*/ 52485 w 127271"/>
              <a:gd name="connsiteY6" fmla="*/ 8483 h 60730"/>
              <a:gd name="connsiteX7" fmla="*/ 56766 w 127271"/>
              <a:gd name="connsiteY7" fmla="*/ 8136 h 60730"/>
              <a:gd name="connsiteX8" fmla="*/ 61161 w 127271"/>
              <a:gd name="connsiteY8" fmla="*/ 7731 h 60730"/>
              <a:gd name="connsiteX9" fmla="*/ 127162 w 127271"/>
              <a:gd name="connsiteY9" fmla="*/ 43132 h 60730"/>
              <a:gd name="connsiteX10" fmla="*/ 107669 w 127271"/>
              <a:gd name="connsiteY10" fmla="*/ 51114 h 60730"/>
              <a:gd name="connsiteX11" fmla="*/ 97372 w 127271"/>
              <a:gd name="connsiteY11" fmla="*/ 51114 h 60730"/>
              <a:gd name="connsiteX12" fmla="*/ 85803 w 127271"/>
              <a:gd name="connsiteY12" fmla="*/ 51114 h 60730"/>
              <a:gd name="connsiteX13" fmla="*/ 61104 w 127271"/>
              <a:gd name="connsiteY13" fmla="*/ 55452 h 60730"/>
              <a:gd name="connsiteX14" fmla="*/ 42478 w 127271"/>
              <a:gd name="connsiteY14" fmla="*/ 60601 h 60730"/>
              <a:gd name="connsiteX15" fmla="*/ 12573 w 127271"/>
              <a:gd name="connsiteY15" fmla="*/ 2178 h 60730"/>
              <a:gd name="connsiteX16" fmla="*/ 3491 w 127271"/>
              <a:gd name="connsiteY16" fmla="*/ 7268 h 60730"/>
              <a:gd name="connsiteX17" fmla="*/ 9275 w 127271"/>
              <a:gd name="connsiteY17" fmla="*/ 22770 h 60730"/>
              <a:gd name="connsiteX18" fmla="*/ 20381 w 127271"/>
              <a:gd name="connsiteY18" fmla="*/ 40644 h 60730"/>
              <a:gd name="connsiteX19" fmla="*/ 42305 w 127271"/>
              <a:gd name="connsiteY19" fmla="*/ 58345 h 60730"/>
              <a:gd name="connsiteX20" fmla="*/ 59658 w 127271"/>
              <a:gd name="connsiteY20" fmla="*/ 53081 h 60730"/>
              <a:gd name="connsiteX21" fmla="*/ 85572 w 127271"/>
              <a:gd name="connsiteY21" fmla="*/ 48395 h 60730"/>
              <a:gd name="connsiteX22" fmla="*/ 97141 w 127271"/>
              <a:gd name="connsiteY22" fmla="*/ 48395 h 60730"/>
              <a:gd name="connsiteX23" fmla="*/ 107379 w 127271"/>
              <a:gd name="connsiteY23" fmla="*/ 48395 h 60730"/>
              <a:gd name="connsiteX24" fmla="*/ 124733 w 127271"/>
              <a:gd name="connsiteY24" fmla="*/ 42611 h 60730"/>
              <a:gd name="connsiteX25" fmla="*/ 61104 w 127271"/>
              <a:gd name="connsiteY25" fmla="*/ 9466 h 60730"/>
              <a:gd name="connsiteX26" fmla="*/ 57170 w 127271"/>
              <a:gd name="connsiteY26" fmla="*/ 9813 h 60730"/>
              <a:gd name="connsiteX27" fmla="*/ 52427 w 127271"/>
              <a:gd name="connsiteY27" fmla="*/ 10218 h 60730"/>
              <a:gd name="connsiteX28" fmla="*/ 30562 w 127271"/>
              <a:gd name="connsiteY28" fmla="*/ 5649 h 60730"/>
              <a:gd name="connsiteX29" fmla="*/ 12573 w 127271"/>
              <a:gd name="connsiteY29" fmla="*/ 2178 h 6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271" h="60730">
                <a:moveTo>
                  <a:pt x="42478" y="60601"/>
                </a:moveTo>
                <a:cubicBezTo>
                  <a:pt x="29058" y="60601"/>
                  <a:pt x="19340" y="52445"/>
                  <a:pt x="18299" y="40760"/>
                </a:cubicBezTo>
                <a:cubicBezTo>
                  <a:pt x="17472" y="34073"/>
                  <a:pt x="13695" y="28109"/>
                  <a:pt x="8003" y="24506"/>
                </a:cubicBezTo>
                <a:cubicBezTo>
                  <a:pt x="2218" y="19878"/>
                  <a:pt x="-2756" y="15482"/>
                  <a:pt x="1467" y="6343"/>
                </a:cubicBezTo>
                <a:cubicBezTo>
                  <a:pt x="3421" y="2051"/>
                  <a:pt x="7881" y="-529"/>
                  <a:pt x="12573" y="-78"/>
                </a:cubicBezTo>
                <a:cubicBezTo>
                  <a:pt x="18959" y="414"/>
                  <a:pt x="25240" y="1779"/>
                  <a:pt x="31256" y="3971"/>
                </a:cubicBezTo>
                <a:cubicBezTo>
                  <a:pt x="38088" y="6464"/>
                  <a:pt x="45231" y="7985"/>
                  <a:pt x="52485" y="8483"/>
                </a:cubicBezTo>
                <a:cubicBezTo>
                  <a:pt x="53920" y="8494"/>
                  <a:pt x="55354" y="8379"/>
                  <a:pt x="56766" y="8136"/>
                </a:cubicBezTo>
                <a:cubicBezTo>
                  <a:pt x="58212" y="7847"/>
                  <a:pt x="59687" y="7708"/>
                  <a:pt x="61161" y="7731"/>
                </a:cubicBezTo>
                <a:cubicBezTo>
                  <a:pt x="82159" y="7731"/>
                  <a:pt x="127162" y="29943"/>
                  <a:pt x="127162" y="43132"/>
                </a:cubicBezTo>
                <a:cubicBezTo>
                  <a:pt x="127162" y="50131"/>
                  <a:pt x="117791" y="51114"/>
                  <a:pt x="107669" y="51114"/>
                </a:cubicBezTo>
                <a:cubicBezTo>
                  <a:pt x="104429" y="51114"/>
                  <a:pt x="100958" y="51114"/>
                  <a:pt x="97372" y="51114"/>
                </a:cubicBezTo>
                <a:cubicBezTo>
                  <a:pt x="93786" y="51114"/>
                  <a:pt x="89737" y="51114"/>
                  <a:pt x="85803" y="51114"/>
                </a:cubicBezTo>
                <a:cubicBezTo>
                  <a:pt x="77416" y="51114"/>
                  <a:pt x="67062" y="51577"/>
                  <a:pt x="61104" y="55452"/>
                </a:cubicBezTo>
                <a:cubicBezTo>
                  <a:pt x="55499" y="58877"/>
                  <a:pt x="49043" y="60658"/>
                  <a:pt x="42478" y="60601"/>
                </a:cubicBezTo>
                <a:close/>
                <a:moveTo>
                  <a:pt x="12573" y="2178"/>
                </a:moveTo>
                <a:cubicBezTo>
                  <a:pt x="8766" y="1744"/>
                  <a:pt x="5110" y="3798"/>
                  <a:pt x="3491" y="7268"/>
                </a:cubicBezTo>
                <a:cubicBezTo>
                  <a:pt x="20" y="14846"/>
                  <a:pt x="3954" y="18143"/>
                  <a:pt x="9275" y="22770"/>
                </a:cubicBezTo>
                <a:cubicBezTo>
                  <a:pt x="15459" y="26773"/>
                  <a:pt x="19531" y="33327"/>
                  <a:pt x="20381" y="40644"/>
                </a:cubicBezTo>
                <a:cubicBezTo>
                  <a:pt x="21249" y="52849"/>
                  <a:pt x="31950" y="58345"/>
                  <a:pt x="42305" y="58345"/>
                </a:cubicBezTo>
                <a:cubicBezTo>
                  <a:pt x="48471" y="58258"/>
                  <a:pt x="54486" y="56436"/>
                  <a:pt x="59658" y="53081"/>
                </a:cubicBezTo>
                <a:cubicBezTo>
                  <a:pt x="67750" y="49327"/>
                  <a:pt x="76675" y="47713"/>
                  <a:pt x="85572" y="48395"/>
                </a:cubicBezTo>
                <a:cubicBezTo>
                  <a:pt x="89390" y="48395"/>
                  <a:pt x="93265" y="48395"/>
                  <a:pt x="97141" y="48395"/>
                </a:cubicBezTo>
                <a:lnTo>
                  <a:pt x="107379" y="48395"/>
                </a:lnTo>
                <a:cubicBezTo>
                  <a:pt x="119469" y="48395"/>
                  <a:pt x="124733" y="46718"/>
                  <a:pt x="124733" y="42611"/>
                </a:cubicBezTo>
                <a:cubicBezTo>
                  <a:pt x="124733" y="31447"/>
                  <a:pt x="82449" y="9466"/>
                  <a:pt x="61104" y="9466"/>
                </a:cubicBezTo>
                <a:cubicBezTo>
                  <a:pt x="59785" y="9455"/>
                  <a:pt x="58466" y="9570"/>
                  <a:pt x="57170" y="9813"/>
                </a:cubicBezTo>
                <a:cubicBezTo>
                  <a:pt x="55609" y="10103"/>
                  <a:pt x="54018" y="10236"/>
                  <a:pt x="52427" y="10218"/>
                </a:cubicBezTo>
                <a:cubicBezTo>
                  <a:pt x="44960" y="9727"/>
                  <a:pt x="37602" y="8188"/>
                  <a:pt x="30562" y="5649"/>
                </a:cubicBezTo>
                <a:cubicBezTo>
                  <a:pt x="24749" y="3688"/>
                  <a:pt x="18698" y="2519"/>
                  <a:pt x="12573" y="217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6" name="Forma libre: forma 455">
            <a:extLst>
              <a:ext uri="{FF2B5EF4-FFF2-40B4-BE49-F238E27FC236}">
                <a16:creationId xmlns:a16="http://schemas.microsoft.com/office/drawing/2014/main" id="{EC977B03-337C-345A-B25E-9F2BC8617D83}"/>
              </a:ext>
            </a:extLst>
          </p:cNvPr>
          <p:cNvSpPr/>
          <p:nvPr/>
        </p:nvSpPr>
        <p:spPr>
          <a:xfrm>
            <a:off x="3708223" y="1944571"/>
            <a:ext cx="795138" cy="572166"/>
          </a:xfrm>
          <a:custGeom>
            <a:avLst/>
            <a:gdLst>
              <a:gd name="connsiteX0" fmla="*/ 647869 w 795138"/>
              <a:gd name="connsiteY0" fmla="*/ 571893 h 572166"/>
              <a:gd name="connsiteX1" fmla="*/ 569490 w 795138"/>
              <a:gd name="connsiteY1" fmla="*/ 536550 h 572166"/>
              <a:gd name="connsiteX2" fmla="*/ 535767 w 795138"/>
              <a:gd name="connsiteY2" fmla="*/ 526023 h 572166"/>
              <a:gd name="connsiteX3" fmla="*/ 504068 w 795138"/>
              <a:gd name="connsiteY3" fmla="*/ 515900 h 572166"/>
              <a:gd name="connsiteX4" fmla="*/ 498284 w 795138"/>
              <a:gd name="connsiteY4" fmla="*/ 495828 h 572166"/>
              <a:gd name="connsiteX5" fmla="*/ 488739 w 795138"/>
              <a:gd name="connsiteY5" fmla="*/ 481135 h 572166"/>
              <a:gd name="connsiteX6" fmla="*/ 470055 w 795138"/>
              <a:gd name="connsiteY6" fmla="*/ 465807 h 572166"/>
              <a:gd name="connsiteX7" fmla="*/ 457098 w 795138"/>
              <a:gd name="connsiteY7" fmla="*/ 453255 h 572166"/>
              <a:gd name="connsiteX8" fmla="*/ 454553 w 795138"/>
              <a:gd name="connsiteY8" fmla="*/ 452618 h 572166"/>
              <a:gd name="connsiteX9" fmla="*/ 429217 w 795138"/>
              <a:gd name="connsiteY9" fmla="*/ 448511 h 572166"/>
              <a:gd name="connsiteX10" fmla="*/ 417244 w 795138"/>
              <a:gd name="connsiteY10" fmla="*/ 454759 h 572166"/>
              <a:gd name="connsiteX11" fmla="*/ 410534 w 795138"/>
              <a:gd name="connsiteY11" fmla="*/ 463146 h 572166"/>
              <a:gd name="connsiteX12" fmla="*/ 404749 w 795138"/>
              <a:gd name="connsiteY12" fmla="*/ 462394 h 572166"/>
              <a:gd name="connsiteX13" fmla="*/ 365878 w 795138"/>
              <a:gd name="connsiteY13" fmla="*/ 462394 h 572166"/>
              <a:gd name="connsiteX14" fmla="*/ 347021 w 795138"/>
              <a:gd name="connsiteY14" fmla="*/ 464303 h 572166"/>
              <a:gd name="connsiteX15" fmla="*/ 328279 w 795138"/>
              <a:gd name="connsiteY15" fmla="*/ 457651 h 572166"/>
              <a:gd name="connsiteX16" fmla="*/ 325387 w 795138"/>
              <a:gd name="connsiteY16" fmla="*/ 436480 h 572166"/>
              <a:gd name="connsiteX17" fmla="*/ 344881 w 795138"/>
              <a:gd name="connsiteY17" fmla="*/ 421787 h 572166"/>
              <a:gd name="connsiteX18" fmla="*/ 352516 w 795138"/>
              <a:gd name="connsiteY18" fmla="*/ 417333 h 572166"/>
              <a:gd name="connsiteX19" fmla="*/ 364490 w 795138"/>
              <a:gd name="connsiteY19" fmla="*/ 411086 h 572166"/>
              <a:gd name="connsiteX20" fmla="*/ 381843 w 795138"/>
              <a:gd name="connsiteY20" fmla="*/ 414615 h 572166"/>
              <a:gd name="connsiteX21" fmla="*/ 408104 w 795138"/>
              <a:gd name="connsiteY21" fmla="*/ 418837 h 572166"/>
              <a:gd name="connsiteX22" fmla="*/ 443447 w 795138"/>
              <a:gd name="connsiteY22" fmla="*/ 407847 h 572166"/>
              <a:gd name="connsiteX23" fmla="*/ 444604 w 795138"/>
              <a:gd name="connsiteY23" fmla="*/ 402699 h 572166"/>
              <a:gd name="connsiteX24" fmla="*/ 440150 w 795138"/>
              <a:gd name="connsiteY24" fmla="*/ 393791 h 572166"/>
              <a:gd name="connsiteX25" fmla="*/ 433903 w 795138"/>
              <a:gd name="connsiteY25" fmla="*/ 370132 h 572166"/>
              <a:gd name="connsiteX26" fmla="*/ 452529 w 795138"/>
              <a:gd name="connsiteY26" fmla="*/ 355266 h 572166"/>
              <a:gd name="connsiteX27" fmla="*/ 472080 w 795138"/>
              <a:gd name="connsiteY27" fmla="*/ 351738 h 572166"/>
              <a:gd name="connsiteX28" fmla="*/ 521768 w 795138"/>
              <a:gd name="connsiteY28" fmla="*/ 374876 h 572166"/>
              <a:gd name="connsiteX29" fmla="*/ 523041 w 795138"/>
              <a:gd name="connsiteY29" fmla="*/ 382569 h 572166"/>
              <a:gd name="connsiteX30" fmla="*/ 523041 w 795138"/>
              <a:gd name="connsiteY30" fmla="*/ 383147 h 572166"/>
              <a:gd name="connsiteX31" fmla="*/ 525586 w 795138"/>
              <a:gd name="connsiteY31" fmla="*/ 383668 h 572166"/>
              <a:gd name="connsiteX32" fmla="*/ 562491 w 795138"/>
              <a:gd name="connsiteY32" fmla="*/ 367182 h 572166"/>
              <a:gd name="connsiteX33" fmla="*/ 561450 w 795138"/>
              <a:gd name="connsiteY33" fmla="*/ 363480 h 572166"/>
              <a:gd name="connsiteX34" fmla="*/ 555665 w 795138"/>
              <a:gd name="connsiteY34" fmla="*/ 358158 h 572166"/>
              <a:gd name="connsiteX35" fmla="*/ 528073 w 795138"/>
              <a:gd name="connsiteY35" fmla="*/ 340805 h 572166"/>
              <a:gd name="connsiteX36" fmla="*/ 520264 w 795138"/>
              <a:gd name="connsiteY36" fmla="*/ 342830 h 572166"/>
              <a:gd name="connsiteX37" fmla="*/ 486946 w 795138"/>
              <a:gd name="connsiteY37" fmla="*/ 350928 h 572166"/>
              <a:gd name="connsiteX38" fmla="*/ 473758 w 795138"/>
              <a:gd name="connsiteY38" fmla="*/ 345664 h 572166"/>
              <a:gd name="connsiteX39" fmla="*/ 475956 w 795138"/>
              <a:gd name="connsiteY39" fmla="*/ 335889 h 572166"/>
              <a:gd name="connsiteX40" fmla="*/ 473931 w 795138"/>
              <a:gd name="connsiteY40" fmla="*/ 298868 h 572166"/>
              <a:gd name="connsiteX41" fmla="*/ 441538 w 795138"/>
              <a:gd name="connsiteY41" fmla="*/ 270987 h 572166"/>
              <a:gd name="connsiteX42" fmla="*/ 434134 w 795138"/>
              <a:gd name="connsiteY42" fmla="*/ 272607 h 572166"/>
              <a:gd name="connsiteX43" fmla="*/ 431589 w 795138"/>
              <a:gd name="connsiteY43" fmla="*/ 273185 h 572166"/>
              <a:gd name="connsiteX44" fmla="*/ 421640 w 795138"/>
              <a:gd name="connsiteY44" fmla="*/ 260865 h 572166"/>
              <a:gd name="connsiteX45" fmla="*/ 409030 w 795138"/>
              <a:gd name="connsiteY45" fmla="*/ 245998 h 572166"/>
              <a:gd name="connsiteX46" fmla="*/ 408336 w 795138"/>
              <a:gd name="connsiteY46" fmla="*/ 245998 h 572166"/>
              <a:gd name="connsiteX47" fmla="*/ 390346 w 795138"/>
              <a:gd name="connsiteY47" fmla="*/ 253287 h 572166"/>
              <a:gd name="connsiteX48" fmla="*/ 372183 w 795138"/>
              <a:gd name="connsiteY48" fmla="*/ 260228 h 572166"/>
              <a:gd name="connsiteX49" fmla="*/ 365126 w 795138"/>
              <a:gd name="connsiteY49" fmla="*/ 257856 h 572166"/>
              <a:gd name="connsiteX50" fmla="*/ 362812 w 795138"/>
              <a:gd name="connsiteY50" fmla="*/ 253518 h 572166"/>
              <a:gd name="connsiteX51" fmla="*/ 376637 w 795138"/>
              <a:gd name="connsiteY51" fmla="*/ 244205 h 572166"/>
              <a:gd name="connsiteX52" fmla="*/ 391387 w 795138"/>
              <a:gd name="connsiteY52" fmla="*/ 234083 h 572166"/>
              <a:gd name="connsiteX53" fmla="*/ 370332 w 795138"/>
              <a:gd name="connsiteY53" fmla="*/ 220084 h 572166"/>
              <a:gd name="connsiteX54" fmla="*/ 350202 w 795138"/>
              <a:gd name="connsiteY54" fmla="*/ 206259 h 572166"/>
              <a:gd name="connsiteX55" fmla="*/ 344418 w 795138"/>
              <a:gd name="connsiteY55" fmla="*/ 200822 h 572166"/>
              <a:gd name="connsiteX56" fmla="*/ 335683 w 795138"/>
              <a:gd name="connsiteY56" fmla="*/ 193071 h 572166"/>
              <a:gd name="connsiteX57" fmla="*/ 314397 w 795138"/>
              <a:gd name="connsiteY57" fmla="*/ 178089 h 572166"/>
              <a:gd name="connsiteX58" fmla="*/ 303522 w 795138"/>
              <a:gd name="connsiteY58" fmla="*/ 173173 h 572166"/>
              <a:gd name="connsiteX59" fmla="*/ 299415 w 795138"/>
              <a:gd name="connsiteY59" fmla="*/ 171958 h 572166"/>
              <a:gd name="connsiteX60" fmla="*/ 294614 w 795138"/>
              <a:gd name="connsiteY60" fmla="*/ 176412 h 572166"/>
              <a:gd name="connsiteX61" fmla="*/ 298432 w 795138"/>
              <a:gd name="connsiteY61" fmla="*/ 184452 h 572166"/>
              <a:gd name="connsiteX62" fmla="*/ 309653 w 795138"/>
              <a:gd name="connsiteY62" fmla="*/ 198393 h 572166"/>
              <a:gd name="connsiteX63" fmla="*/ 301729 w 795138"/>
              <a:gd name="connsiteY63" fmla="*/ 203541 h 572166"/>
              <a:gd name="connsiteX64" fmla="*/ 271534 w 795138"/>
              <a:gd name="connsiteY64" fmla="*/ 198566 h 572166"/>
              <a:gd name="connsiteX65" fmla="*/ 244521 w 795138"/>
              <a:gd name="connsiteY65" fmla="*/ 193707 h 572166"/>
              <a:gd name="connsiteX66" fmla="*/ 240819 w 795138"/>
              <a:gd name="connsiteY66" fmla="*/ 194517 h 572166"/>
              <a:gd name="connsiteX67" fmla="*/ 211896 w 795138"/>
              <a:gd name="connsiteY67" fmla="*/ 207185 h 572166"/>
              <a:gd name="connsiteX68" fmla="*/ 194543 w 795138"/>
              <a:gd name="connsiteY68" fmla="*/ 203714 h 572166"/>
              <a:gd name="connsiteX69" fmla="*/ 151160 w 795138"/>
              <a:gd name="connsiteY69" fmla="*/ 196310 h 572166"/>
              <a:gd name="connsiteX70" fmla="*/ 134790 w 795138"/>
              <a:gd name="connsiteY70" fmla="*/ 196310 h 572166"/>
              <a:gd name="connsiteX71" fmla="*/ 133517 w 795138"/>
              <a:gd name="connsiteY71" fmla="*/ 196310 h 572166"/>
              <a:gd name="connsiteX72" fmla="*/ 95803 w 795138"/>
              <a:gd name="connsiteY72" fmla="*/ 187691 h 572166"/>
              <a:gd name="connsiteX73" fmla="*/ 84581 w 795138"/>
              <a:gd name="connsiteY73" fmla="*/ 178957 h 572166"/>
              <a:gd name="connsiteX74" fmla="*/ 69137 w 795138"/>
              <a:gd name="connsiteY74" fmla="*/ 182023 h 572166"/>
              <a:gd name="connsiteX75" fmla="*/ 62543 w 795138"/>
              <a:gd name="connsiteY75" fmla="*/ 182775 h 572166"/>
              <a:gd name="connsiteX76" fmla="*/ 14416 w 795138"/>
              <a:gd name="connsiteY76" fmla="*/ 154431 h 572166"/>
              <a:gd name="connsiteX77" fmla="*/ 15804 w 795138"/>
              <a:gd name="connsiteY77" fmla="*/ 149745 h 572166"/>
              <a:gd name="connsiteX78" fmla="*/ 28646 w 795138"/>
              <a:gd name="connsiteY78" fmla="*/ 146333 h 572166"/>
              <a:gd name="connsiteX79" fmla="*/ 53808 w 795138"/>
              <a:gd name="connsiteY79" fmla="*/ 149051 h 572166"/>
              <a:gd name="connsiteX80" fmla="*/ 56874 w 795138"/>
              <a:gd name="connsiteY80" fmla="*/ 149514 h 572166"/>
              <a:gd name="connsiteX81" fmla="*/ 62138 w 795138"/>
              <a:gd name="connsiteY81" fmla="*/ 149919 h 572166"/>
              <a:gd name="connsiteX82" fmla="*/ 72954 w 795138"/>
              <a:gd name="connsiteY82" fmla="*/ 146159 h 572166"/>
              <a:gd name="connsiteX83" fmla="*/ 62485 w 795138"/>
              <a:gd name="connsiteY83" fmla="*/ 139565 h 572166"/>
              <a:gd name="connsiteX84" fmla="*/ 32811 w 795138"/>
              <a:gd name="connsiteY84" fmla="*/ 135921 h 572166"/>
              <a:gd name="connsiteX85" fmla="*/ 3541 w 795138"/>
              <a:gd name="connsiteY85" fmla="*/ 127880 h 572166"/>
              <a:gd name="connsiteX86" fmla="*/ 29340 w 795138"/>
              <a:gd name="connsiteY86" fmla="*/ 32264 h 572166"/>
              <a:gd name="connsiteX87" fmla="*/ 118073 w 795138"/>
              <a:gd name="connsiteY87" fmla="*/ -129 h 572166"/>
              <a:gd name="connsiteX88" fmla="*/ 139013 w 795138"/>
              <a:gd name="connsiteY88" fmla="*/ 6465 h 572166"/>
              <a:gd name="connsiteX89" fmla="*/ 129873 w 795138"/>
              <a:gd name="connsiteY89" fmla="*/ 17166 h 572166"/>
              <a:gd name="connsiteX90" fmla="*/ 110843 w 795138"/>
              <a:gd name="connsiteY90" fmla="*/ 31512 h 572166"/>
              <a:gd name="connsiteX91" fmla="*/ 96324 w 795138"/>
              <a:gd name="connsiteY91" fmla="*/ 68706 h 572166"/>
              <a:gd name="connsiteX92" fmla="*/ 100488 w 795138"/>
              <a:gd name="connsiteY92" fmla="*/ 86984 h 572166"/>
              <a:gd name="connsiteX93" fmla="*/ 102571 w 795138"/>
              <a:gd name="connsiteY93" fmla="*/ 104338 h 572166"/>
              <a:gd name="connsiteX94" fmla="*/ 141500 w 795138"/>
              <a:gd name="connsiteY94" fmla="*/ 127475 h 572166"/>
              <a:gd name="connsiteX95" fmla="*/ 145665 w 795138"/>
              <a:gd name="connsiteY95" fmla="*/ 126203 h 572166"/>
              <a:gd name="connsiteX96" fmla="*/ 146475 w 795138"/>
              <a:gd name="connsiteY96" fmla="*/ 123021 h 572166"/>
              <a:gd name="connsiteX97" fmla="*/ 132476 w 795138"/>
              <a:gd name="connsiteY97" fmla="*/ 110238 h 572166"/>
              <a:gd name="connsiteX98" fmla="*/ 117784 w 795138"/>
              <a:gd name="connsiteY98" fmla="*/ 103181 h 572166"/>
              <a:gd name="connsiteX99" fmla="*/ 115181 w 795138"/>
              <a:gd name="connsiteY99" fmla="*/ 97859 h 572166"/>
              <a:gd name="connsiteX100" fmla="*/ 125709 w 795138"/>
              <a:gd name="connsiteY100" fmla="*/ 85885 h 572166"/>
              <a:gd name="connsiteX101" fmla="*/ 132997 w 795138"/>
              <a:gd name="connsiteY101" fmla="*/ 78886 h 572166"/>
              <a:gd name="connsiteX102" fmla="*/ 132361 w 795138"/>
              <a:gd name="connsiteY102" fmla="*/ 77787 h 572166"/>
              <a:gd name="connsiteX103" fmla="*/ 116453 w 795138"/>
              <a:gd name="connsiteY103" fmla="*/ 52856 h 572166"/>
              <a:gd name="connsiteX104" fmla="*/ 123800 w 795138"/>
              <a:gd name="connsiteY104" fmla="*/ 36139 h 572166"/>
              <a:gd name="connsiteX105" fmla="*/ 159605 w 795138"/>
              <a:gd name="connsiteY105" fmla="*/ 21331 h 572166"/>
              <a:gd name="connsiteX106" fmla="*/ 181875 w 795138"/>
              <a:gd name="connsiteY106" fmla="*/ 13175 h 572166"/>
              <a:gd name="connsiteX107" fmla="*/ 214268 w 795138"/>
              <a:gd name="connsiteY107" fmla="*/ 1606 h 572166"/>
              <a:gd name="connsiteX108" fmla="*/ 237059 w 795138"/>
              <a:gd name="connsiteY108" fmla="*/ 13175 h 572166"/>
              <a:gd name="connsiteX109" fmla="*/ 249091 w 795138"/>
              <a:gd name="connsiteY109" fmla="*/ 34115 h 572166"/>
              <a:gd name="connsiteX110" fmla="*/ 256437 w 795138"/>
              <a:gd name="connsiteY110" fmla="*/ 45684 h 572166"/>
              <a:gd name="connsiteX111" fmla="*/ 254586 w 795138"/>
              <a:gd name="connsiteY111" fmla="*/ 71193 h 572166"/>
              <a:gd name="connsiteX112" fmla="*/ 252908 w 795138"/>
              <a:gd name="connsiteY112" fmla="*/ 90513 h 572166"/>
              <a:gd name="connsiteX113" fmla="*/ 254181 w 795138"/>
              <a:gd name="connsiteY113" fmla="*/ 91091 h 572166"/>
              <a:gd name="connsiteX114" fmla="*/ 271823 w 795138"/>
              <a:gd name="connsiteY114" fmla="*/ 82878 h 572166"/>
              <a:gd name="connsiteX115" fmla="*/ 294614 w 795138"/>
              <a:gd name="connsiteY115" fmla="*/ 72928 h 572166"/>
              <a:gd name="connsiteX116" fmla="*/ 300387 w 795138"/>
              <a:gd name="connsiteY116" fmla="*/ 77365 h 572166"/>
              <a:gd name="connsiteX117" fmla="*/ 300398 w 795138"/>
              <a:gd name="connsiteY117" fmla="*/ 77440 h 572166"/>
              <a:gd name="connsiteX118" fmla="*/ 311967 w 795138"/>
              <a:gd name="connsiteY118" fmla="*/ 89530 h 572166"/>
              <a:gd name="connsiteX119" fmla="*/ 314455 w 795138"/>
              <a:gd name="connsiteY119" fmla="*/ 88546 h 572166"/>
              <a:gd name="connsiteX120" fmla="*/ 315033 w 795138"/>
              <a:gd name="connsiteY120" fmla="*/ 83977 h 572166"/>
              <a:gd name="connsiteX121" fmla="*/ 318561 w 795138"/>
              <a:gd name="connsiteY121" fmla="*/ 72408 h 572166"/>
              <a:gd name="connsiteX122" fmla="*/ 346442 w 795138"/>
              <a:gd name="connsiteY122" fmla="*/ 59682 h 572166"/>
              <a:gd name="connsiteX123" fmla="*/ 403766 w 795138"/>
              <a:gd name="connsiteY123" fmla="*/ 75184 h 572166"/>
              <a:gd name="connsiteX124" fmla="*/ 405675 w 795138"/>
              <a:gd name="connsiteY124" fmla="*/ 84150 h 572166"/>
              <a:gd name="connsiteX125" fmla="*/ 406196 w 795138"/>
              <a:gd name="connsiteY125" fmla="*/ 89935 h 572166"/>
              <a:gd name="connsiteX126" fmla="*/ 423549 w 795138"/>
              <a:gd name="connsiteY126" fmla="*/ 95719 h 572166"/>
              <a:gd name="connsiteX127" fmla="*/ 439687 w 795138"/>
              <a:gd name="connsiteY127" fmla="*/ 103354 h 572166"/>
              <a:gd name="connsiteX128" fmla="*/ 449000 w 795138"/>
              <a:gd name="connsiteY128" fmla="*/ 120708 h 572166"/>
              <a:gd name="connsiteX129" fmla="*/ 464387 w 795138"/>
              <a:gd name="connsiteY129" fmla="*/ 131178 h 572166"/>
              <a:gd name="connsiteX130" fmla="*/ 468494 w 795138"/>
              <a:gd name="connsiteY130" fmla="*/ 128285 h 572166"/>
              <a:gd name="connsiteX131" fmla="*/ 490995 w 795138"/>
              <a:gd name="connsiteY131" fmla="*/ 117989 h 572166"/>
              <a:gd name="connsiteX132" fmla="*/ 511761 w 795138"/>
              <a:gd name="connsiteY132" fmla="*/ 127186 h 572166"/>
              <a:gd name="connsiteX133" fmla="*/ 510084 w 795138"/>
              <a:gd name="connsiteY133" fmla="*/ 138235 h 572166"/>
              <a:gd name="connsiteX134" fmla="*/ 487814 w 795138"/>
              <a:gd name="connsiteY134" fmla="*/ 150498 h 572166"/>
              <a:gd name="connsiteX135" fmla="*/ 483707 w 795138"/>
              <a:gd name="connsiteY135" fmla="*/ 153216 h 572166"/>
              <a:gd name="connsiteX136" fmla="*/ 491574 w 795138"/>
              <a:gd name="connsiteY136" fmla="*/ 159001 h 572166"/>
              <a:gd name="connsiteX137" fmla="*/ 496722 w 795138"/>
              <a:gd name="connsiteY137" fmla="*/ 157207 h 572166"/>
              <a:gd name="connsiteX138" fmla="*/ 526743 w 795138"/>
              <a:gd name="connsiteY138" fmla="*/ 145639 h 572166"/>
              <a:gd name="connsiteX139" fmla="*/ 533626 w 795138"/>
              <a:gd name="connsiteY139" fmla="*/ 150845 h 572166"/>
              <a:gd name="connsiteX140" fmla="*/ 536114 w 795138"/>
              <a:gd name="connsiteY140" fmla="*/ 160505 h 572166"/>
              <a:gd name="connsiteX141" fmla="*/ 551558 w 795138"/>
              <a:gd name="connsiteY141" fmla="*/ 163108 h 572166"/>
              <a:gd name="connsiteX142" fmla="*/ 561623 w 795138"/>
              <a:gd name="connsiteY142" fmla="*/ 161777 h 572166"/>
              <a:gd name="connsiteX143" fmla="*/ 595578 w 795138"/>
              <a:gd name="connsiteY143" fmla="*/ 173346 h 572166"/>
              <a:gd name="connsiteX144" fmla="*/ 595231 w 795138"/>
              <a:gd name="connsiteY144" fmla="*/ 178321 h 572166"/>
              <a:gd name="connsiteX145" fmla="*/ 587017 w 795138"/>
              <a:gd name="connsiteY145" fmla="*/ 197294 h 572166"/>
              <a:gd name="connsiteX146" fmla="*/ 589446 w 795138"/>
              <a:gd name="connsiteY146" fmla="*/ 198335 h 572166"/>
              <a:gd name="connsiteX147" fmla="*/ 597487 w 795138"/>
              <a:gd name="connsiteY147" fmla="*/ 192955 h 572166"/>
              <a:gd name="connsiteX148" fmla="*/ 605527 w 795138"/>
              <a:gd name="connsiteY148" fmla="*/ 187634 h 572166"/>
              <a:gd name="connsiteX149" fmla="*/ 609403 w 795138"/>
              <a:gd name="connsiteY149" fmla="*/ 188790 h 572166"/>
              <a:gd name="connsiteX150" fmla="*/ 626756 w 795138"/>
              <a:gd name="connsiteY150" fmla="*/ 207821 h 572166"/>
              <a:gd name="connsiteX151" fmla="*/ 624269 w 795138"/>
              <a:gd name="connsiteY151" fmla="*/ 213606 h 572166"/>
              <a:gd name="connsiteX152" fmla="*/ 615071 w 795138"/>
              <a:gd name="connsiteY152" fmla="*/ 217828 h 572166"/>
              <a:gd name="connsiteX153" fmla="*/ 608940 w 795138"/>
              <a:gd name="connsiteY153" fmla="*/ 224654 h 572166"/>
              <a:gd name="connsiteX154" fmla="*/ 623979 w 795138"/>
              <a:gd name="connsiteY154" fmla="*/ 229918 h 572166"/>
              <a:gd name="connsiteX155" fmla="*/ 640465 w 795138"/>
              <a:gd name="connsiteY155" fmla="*/ 235413 h 572166"/>
              <a:gd name="connsiteX156" fmla="*/ 640465 w 795138"/>
              <a:gd name="connsiteY156" fmla="*/ 241197 h 572166"/>
              <a:gd name="connsiteX157" fmla="*/ 630805 w 795138"/>
              <a:gd name="connsiteY157" fmla="*/ 246461 h 572166"/>
              <a:gd name="connsiteX158" fmla="*/ 620161 w 795138"/>
              <a:gd name="connsiteY158" fmla="*/ 244957 h 572166"/>
              <a:gd name="connsiteX159" fmla="*/ 610328 w 795138"/>
              <a:gd name="connsiteY159" fmla="*/ 243569 h 572166"/>
              <a:gd name="connsiteX160" fmla="*/ 602982 w 795138"/>
              <a:gd name="connsiteY160" fmla="*/ 249353 h 572166"/>
              <a:gd name="connsiteX161" fmla="*/ 607262 w 795138"/>
              <a:gd name="connsiteY161" fmla="*/ 263178 h 572166"/>
              <a:gd name="connsiteX162" fmla="*/ 638267 w 795138"/>
              <a:gd name="connsiteY162" fmla="*/ 278333 h 572166"/>
              <a:gd name="connsiteX163" fmla="*/ 662099 w 795138"/>
              <a:gd name="connsiteY163" fmla="*/ 287589 h 572166"/>
              <a:gd name="connsiteX164" fmla="*/ 683385 w 795138"/>
              <a:gd name="connsiteY164" fmla="*/ 295745 h 572166"/>
              <a:gd name="connsiteX165" fmla="*/ 686335 w 795138"/>
              <a:gd name="connsiteY165" fmla="*/ 295340 h 572166"/>
              <a:gd name="connsiteX166" fmla="*/ 690037 w 795138"/>
              <a:gd name="connsiteY166" fmla="*/ 294877 h 572166"/>
              <a:gd name="connsiteX167" fmla="*/ 736313 w 795138"/>
              <a:gd name="connsiteY167" fmla="*/ 321832 h 572166"/>
              <a:gd name="connsiteX168" fmla="*/ 739899 w 795138"/>
              <a:gd name="connsiteY168" fmla="*/ 334616 h 572166"/>
              <a:gd name="connsiteX169" fmla="*/ 755806 w 795138"/>
              <a:gd name="connsiteY169" fmla="*/ 341442 h 572166"/>
              <a:gd name="connsiteX170" fmla="*/ 758120 w 795138"/>
              <a:gd name="connsiteY170" fmla="*/ 341442 h 572166"/>
              <a:gd name="connsiteX171" fmla="*/ 794909 w 795138"/>
              <a:gd name="connsiteY171" fmla="*/ 356481 h 572166"/>
              <a:gd name="connsiteX172" fmla="*/ 790166 w 795138"/>
              <a:gd name="connsiteY172" fmla="*/ 362960 h 572166"/>
              <a:gd name="connsiteX173" fmla="*/ 755459 w 795138"/>
              <a:gd name="connsiteY173" fmla="*/ 396914 h 572166"/>
              <a:gd name="connsiteX174" fmla="*/ 751410 w 795138"/>
              <a:gd name="connsiteY174" fmla="*/ 404318 h 572166"/>
              <a:gd name="connsiteX175" fmla="*/ 742155 w 795138"/>
              <a:gd name="connsiteY175" fmla="*/ 406054 h 572166"/>
              <a:gd name="connsiteX176" fmla="*/ 727578 w 795138"/>
              <a:gd name="connsiteY176" fmla="*/ 413111 h 572166"/>
              <a:gd name="connsiteX177" fmla="*/ 727115 w 795138"/>
              <a:gd name="connsiteY177" fmla="*/ 414672 h 572166"/>
              <a:gd name="connsiteX178" fmla="*/ 715547 w 795138"/>
              <a:gd name="connsiteY178" fmla="*/ 430927 h 572166"/>
              <a:gd name="connsiteX179" fmla="*/ 696921 w 795138"/>
              <a:gd name="connsiteY179" fmla="*/ 420977 h 572166"/>
              <a:gd name="connsiteX180" fmla="*/ 675345 w 795138"/>
              <a:gd name="connsiteY180" fmla="*/ 396972 h 572166"/>
              <a:gd name="connsiteX181" fmla="*/ 657587 w 795138"/>
              <a:gd name="connsiteY181" fmla="*/ 382395 h 572166"/>
              <a:gd name="connsiteX182" fmla="*/ 640234 w 795138"/>
              <a:gd name="connsiteY182" fmla="*/ 373025 h 572166"/>
              <a:gd name="connsiteX183" fmla="*/ 626293 w 795138"/>
              <a:gd name="connsiteY183" fmla="*/ 365215 h 572166"/>
              <a:gd name="connsiteX184" fmla="*/ 619583 w 795138"/>
              <a:gd name="connsiteY184" fmla="*/ 368744 h 572166"/>
              <a:gd name="connsiteX185" fmla="*/ 617443 w 795138"/>
              <a:gd name="connsiteY185" fmla="*/ 384709 h 572166"/>
              <a:gd name="connsiteX186" fmla="*/ 611659 w 795138"/>
              <a:gd name="connsiteY186" fmla="*/ 399286 h 572166"/>
              <a:gd name="connsiteX187" fmla="*/ 609113 w 795138"/>
              <a:gd name="connsiteY187" fmla="*/ 404434 h 572166"/>
              <a:gd name="connsiteX188" fmla="*/ 656025 w 795138"/>
              <a:gd name="connsiteY188" fmla="*/ 438273 h 572166"/>
              <a:gd name="connsiteX189" fmla="*/ 684947 w 795138"/>
              <a:gd name="connsiteY189" fmla="*/ 477029 h 572166"/>
              <a:gd name="connsiteX190" fmla="*/ 695012 w 795138"/>
              <a:gd name="connsiteY190" fmla="*/ 487961 h 572166"/>
              <a:gd name="connsiteX191" fmla="*/ 704267 w 795138"/>
              <a:gd name="connsiteY191" fmla="*/ 496233 h 572166"/>
              <a:gd name="connsiteX192" fmla="*/ 699235 w 795138"/>
              <a:gd name="connsiteY192" fmla="*/ 509190 h 572166"/>
              <a:gd name="connsiteX193" fmla="*/ 670312 w 795138"/>
              <a:gd name="connsiteY193" fmla="*/ 522610 h 572166"/>
              <a:gd name="connsiteX194" fmla="*/ 670312 w 795138"/>
              <a:gd name="connsiteY194" fmla="*/ 522610 h 572166"/>
              <a:gd name="connsiteX195" fmla="*/ 624037 w 795138"/>
              <a:gd name="connsiteY195" fmla="*/ 504505 h 572166"/>
              <a:gd name="connsiteX196" fmla="*/ 587884 w 795138"/>
              <a:gd name="connsiteY196" fmla="*/ 492531 h 572166"/>
              <a:gd name="connsiteX197" fmla="*/ 579902 w 795138"/>
              <a:gd name="connsiteY197" fmla="*/ 493746 h 572166"/>
              <a:gd name="connsiteX198" fmla="*/ 583835 w 795138"/>
              <a:gd name="connsiteY198" fmla="*/ 495307 h 572166"/>
              <a:gd name="connsiteX199" fmla="*/ 656430 w 795138"/>
              <a:gd name="connsiteY199" fmla="*/ 562002 h 572166"/>
              <a:gd name="connsiteX200" fmla="*/ 655851 w 795138"/>
              <a:gd name="connsiteY200" fmla="*/ 569753 h 572166"/>
              <a:gd name="connsiteX201" fmla="*/ 647869 w 795138"/>
              <a:gd name="connsiteY201" fmla="*/ 571893 h 572166"/>
              <a:gd name="connsiteX202" fmla="*/ 429680 w 795138"/>
              <a:gd name="connsiteY202" fmla="*/ 446255 h 572166"/>
              <a:gd name="connsiteX203" fmla="*/ 455536 w 795138"/>
              <a:gd name="connsiteY203" fmla="*/ 450420 h 572166"/>
              <a:gd name="connsiteX204" fmla="*/ 458024 w 795138"/>
              <a:gd name="connsiteY204" fmla="*/ 450999 h 572166"/>
              <a:gd name="connsiteX205" fmla="*/ 472485 w 795138"/>
              <a:gd name="connsiteY205" fmla="*/ 464708 h 572166"/>
              <a:gd name="connsiteX206" fmla="*/ 489434 w 795138"/>
              <a:gd name="connsiteY206" fmla="*/ 478879 h 572166"/>
              <a:gd name="connsiteX207" fmla="*/ 501002 w 795138"/>
              <a:gd name="connsiteY207" fmla="*/ 495886 h 572166"/>
              <a:gd name="connsiteX208" fmla="*/ 505919 w 795138"/>
              <a:gd name="connsiteY208" fmla="*/ 514396 h 572166"/>
              <a:gd name="connsiteX209" fmla="*/ 536229 w 795138"/>
              <a:gd name="connsiteY209" fmla="*/ 523767 h 572166"/>
              <a:gd name="connsiteX210" fmla="*/ 571283 w 795138"/>
              <a:gd name="connsiteY210" fmla="*/ 534931 h 572166"/>
              <a:gd name="connsiteX211" fmla="*/ 648042 w 795138"/>
              <a:gd name="connsiteY211" fmla="*/ 569637 h 572166"/>
              <a:gd name="connsiteX212" fmla="*/ 654405 w 795138"/>
              <a:gd name="connsiteY212" fmla="*/ 567728 h 572166"/>
              <a:gd name="connsiteX213" fmla="*/ 654405 w 795138"/>
              <a:gd name="connsiteY213" fmla="*/ 561944 h 572166"/>
              <a:gd name="connsiteX214" fmla="*/ 583373 w 795138"/>
              <a:gd name="connsiteY214" fmla="*/ 496696 h 572166"/>
              <a:gd name="connsiteX215" fmla="*/ 577588 w 795138"/>
              <a:gd name="connsiteY215" fmla="*/ 492646 h 572166"/>
              <a:gd name="connsiteX216" fmla="*/ 588000 w 795138"/>
              <a:gd name="connsiteY216" fmla="*/ 489465 h 572166"/>
              <a:gd name="connsiteX217" fmla="*/ 625541 w 795138"/>
              <a:gd name="connsiteY217" fmla="*/ 501959 h 572166"/>
              <a:gd name="connsiteX218" fmla="*/ 670428 w 795138"/>
              <a:gd name="connsiteY218" fmla="*/ 519313 h 572166"/>
              <a:gd name="connsiteX219" fmla="*/ 670428 w 795138"/>
              <a:gd name="connsiteY219" fmla="*/ 519313 h 572166"/>
              <a:gd name="connsiteX220" fmla="*/ 697846 w 795138"/>
              <a:gd name="connsiteY220" fmla="*/ 506760 h 572166"/>
              <a:gd name="connsiteX221" fmla="*/ 702474 w 795138"/>
              <a:gd name="connsiteY221" fmla="*/ 495712 h 572166"/>
              <a:gd name="connsiteX222" fmla="*/ 694376 w 795138"/>
              <a:gd name="connsiteY222" fmla="*/ 488945 h 572166"/>
              <a:gd name="connsiteX223" fmla="*/ 682807 w 795138"/>
              <a:gd name="connsiteY223" fmla="*/ 475987 h 572166"/>
              <a:gd name="connsiteX224" fmla="*/ 656083 w 795138"/>
              <a:gd name="connsiteY224" fmla="*/ 439488 h 572166"/>
              <a:gd name="connsiteX225" fmla="*/ 606973 w 795138"/>
              <a:gd name="connsiteY225" fmla="*/ 403856 h 572166"/>
              <a:gd name="connsiteX226" fmla="*/ 610791 w 795138"/>
              <a:gd name="connsiteY226" fmla="*/ 396220 h 572166"/>
              <a:gd name="connsiteX227" fmla="*/ 615071 w 795138"/>
              <a:gd name="connsiteY227" fmla="*/ 384362 h 572166"/>
              <a:gd name="connsiteX228" fmla="*/ 617732 w 795138"/>
              <a:gd name="connsiteY228" fmla="*/ 366141 h 572166"/>
              <a:gd name="connsiteX229" fmla="*/ 626351 w 795138"/>
              <a:gd name="connsiteY229" fmla="*/ 362555 h 572166"/>
              <a:gd name="connsiteX230" fmla="*/ 641737 w 795138"/>
              <a:gd name="connsiteY230" fmla="*/ 370826 h 572166"/>
              <a:gd name="connsiteX231" fmla="*/ 657702 w 795138"/>
              <a:gd name="connsiteY231" fmla="*/ 379792 h 572166"/>
              <a:gd name="connsiteX232" fmla="*/ 677138 w 795138"/>
              <a:gd name="connsiteY232" fmla="*/ 395237 h 572166"/>
              <a:gd name="connsiteX233" fmla="*/ 698309 w 795138"/>
              <a:gd name="connsiteY233" fmla="*/ 418837 h 572166"/>
              <a:gd name="connsiteX234" fmla="*/ 715662 w 795138"/>
              <a:gd name="connsiteY234" fmla="*/ 428266 h 572166"/>
              <a:gd name="connsiteX235" fmla="*/ 725322 w 795138"/>
              <a:gd name="connsiteY235" fmla="*/ 413689 h 572166"/>
              <a:gd name="connsiteX236" fmla="*/ 725727 w 795138"/>
              <a:gd name="connsiteY236" fmla="*/ 412069 h 572166"/>
              <a:gd name="connsiteX237" fmla="*/ 742329 w 795138"/>
              <a:gd name="connsiteY237" fmla="*/ 403393 h 572166"/>
              <a:gd name="connsiteX238" fmla="*/ 750832 w 795138"/>
              <a:gd name="connsiteY238" fmla="*/ 401831 h 572166"/>
              <a:gd name="connsiteX239" fmla="*/ 753550 w 795138"/>
              <a:gd name="connsiteY239" fmla="*/ 396741 h 572166"/>
              <a:gd name="connsiteX240" fmla="*/ 789414 w 795138"/>
              <a:gd name="connsiteY240" fmla="*/ 360472 h 572166"/>
              <a:gd name="connsiteX241" fmla="*/ 792827 w 795138"/>
              <a:gd name="connsiteY241" fmla="*/ 356539 h 572166"/>
              <a:gd name="connsiteX242" fmla="*/ 758120 w 795138"/>
              <a:gd name="connsiteY242" fmla="*/ 343235 h 572166"/>
              <a:gd name="connsiteX243" fmla="*/ 755633 w 795138"/>
              <a:gd name="connsiteY243" fmla="*/ 343235 h 572166"/>
              <a:gd name="connsiteX244" fmla="*/ 737932 w 795138"/>
              <a:gd name="connsiteY244" fmla="*/ 335426 h 572166"/>
              <a:gd name="connsiteX245" fmla="*/ 733884 w 795138"/>
              <a:gd name="connsiteY245" fmla="*/ 321370 h 572166"/>
              <a:gd name="connsiteX246" fmla="*/ 689922 w 795138"/>
              <a:gd name="connsiteY246" fmla="*/ 296670 h 572166"/>
              <a:gd name="connsiteX247" fmla="*/ 686856 w 795138"/>
              <a:gd name="connsiteY247" fmla="*/ 297075 h 572166"/>
              <a:gd name="connsiteX248" fmla="*/ 683270 w 795138"/>
              <a:gd name="connsiteY248" fmla="*/ 297538 h 572166"/>
              <a:gd name="connsiteX249" fmla="*/ 660942 w 795138"/>
              <a:gd name="connsiteY249" fmla="*/ 289150 h 572166"/>
              <a:gd name="connsiteX250" fmla="*/ 637804 w 795138"/>
              <a:gd name="connsiteY250" fmla="*/ 280127 h 572166"/>
              <a:gd name="connsiteX251" fmla="*/ 605238 w 795138"/>
              <a:gd name="connsiteY251" fmla="*/ 264162 h 572166"/>
              <a:gd name="connsiteX252" fmla="*/ 600437 w 795138"/>
              <a:gd name="connsiteY252" fmla="*/ 248544 h 572166"/>
              <a:gd name="connsiteX253" fmla="*/ 609472 w 795138"/>
              <a:gd name="connsiteY253" fmla="*/ 240729 h 572166"/>
              <a:gd name="connsiteX254" fmla="*/ 610039 w 795138"/>
              <a:gd name="connsiteY254" fmla="*/ 240793 h 572166"/>
              <a:gd name="connsiteX255" fmla="*/ 620335 w 795138"/>
              <a:gd name="connsiteY255" fmla="*/ 242239 h 572166"/>
              <a:gd name="connsiteX256" fmla="*/ 630515 w 795138"/>
              <a:gd name="connsiteY256" fmla="*/ 243685 h 572166"/>
              <a:gd name="connsiteX257" fmla="*/ 638093 w 795138"/>
              <a:gd name="connsiteY257" fmla="*/ 239751 h 572166"/>
              <a:gd name="connsiteX258" fmla="*/ 638093 w 795138"/>
              <a:gd name="connsiteY258" fmla="*/ 236223 h 572166"/>
              <a:gd name="connsiteX259" fmla="*/ 623285 w 795138"/>
              <a:gd name="connsiteY259" fmla="*/ 231827 h 572166"/>
              <a:gd name="connsiteX260" fmla="*/ 606279 w 795138"/>
              <a:gd name="connsiteY260" fmla="*/ 224596 h 572166"/>
              <a:gd name="connsiteX261" fmla="*/ 614088 w 795138"/>
              <a:gd name="connsiteY261" fmla="*/ 215283 h 572166"/>
              <a:gd name="connsiteX262" fmla="*/ 622417 w 795138"/>
              <a:gd name="connsiteY262" fmla="*/ 211523 h 572166"/>
              <a:gd name="connsiteX263" fmla="*/ 624095 w 795138"/>
              <a:gd name="connsiteY263" fmla="*/ 207590 h 572166"/>
              <a:gd name="connsiteX264" fmla="*/ 608072 w 795138"/>
              <a:gd name="connsiteY264" fmla="*/ 190237 h 572166"/>
              <a:gd name="connsiteX265" fmla="*/ 605295 w 795138"/>
              <a:gd name="connsiteY265" fmla="*/ 189369 h 572166"/>
              <a:gd name="connsiteX266" fmla="*/ 598933 w 795138"/>
              <a:gd name="connsiteY266" fmla="*/ 193939 h 572166"/>
              <a:gd name="connsiteX267" fmla="*/ 589215 w 795138"/>
              <a:gd name="connsiteY267" fmla="*/ 200070 h 572166"/>
              <a:gd name="connsiteX268" fmla="*/ 584761 w 795138"/>
              <a:gd name="connsiteY268" fmla="*/ 197814 h 572166"/>
              <a:gd name="connsiteX269" fmla="*/ 593148 w 795138"/>
              <a:gd name="connsiteY269" fmla="*/ 176470 h 572166"/>
              <a:gd name="connsiteX270" fmla="*/ 593148 w 795138"/>
              <a:gd name="connsiteY270" fmla="*/ 173867 h 572166"/>
              <a:gd name="connsiteX271" fmla="*/ 561218 w 795138"/>
              <a:gd name="connsiteY271" fmla="*/ 163628 h 572166"/>
              <a:gd name="connsiteX272" fmla="*/ 551847 w 795138"/>
              <a:gd name="connsiteY272" fmla="*/ 164843 h 572166"/>
              <a:gd name="connsiteX273" fmla="*/ 533800 w 795138"/>
              <a:gd name="connsiteY273" fmla="*/ 161372 h 572166"/>
              <a:gd name="connsiteX274" fmla="*/ 530966 w 795138"/>
              <a:gd name="connsiteY274" fmla="*/ 150440 h 572166"/>
              <a:gd name="connsiteX275" fmla="*/ 526338 w 795138"/>
              <a:gd name="connsiteY275" fmla="*/ 147490 h 572166"/>
              <a:gd name="connsiteX276" fmla="*/ 497416 w 795138"/>
              <a:gd name="connsiteY276" fmla="*/ 158654 h 572166"/>
              <a:gd name="connsiteX277" fmla="*/ 490938 w 795138"/>
              <a:gd name="connsiteY277" fmla="*/ 160910 h 572166"/>
              <a:gd name="connsiteX278" fmla="*/ 480872 w 795138"/>
              <a:gd name="connsiteY278" fmla="*/ 153216 h 572166"/>
              <a:gd name="connsiteX279" fmla="*/ 486657 w 795138"/>
              <a:gd name="connsiteY279" fmla="*/ 148126 h 572166"/>
              <a:gd name="connsiteX280" fmla="*/ 507307 w 795138"/>
              <a:gd name="connsiteY280" fmla="*/ 136904 h 572166"/>
              <a:gd name="connsiteX281" fmla="*/ 508695 w 795138"/>
              <a:gd name="connsiteY281" fmla="*/ 127765 h 572166"/>
              <a:gd name="connsiteX282" fmla="*/ 490070 w 795138"/>
              <a:gd name="connsiteY282" fmla="*/ 120129 h 572166"/>
              <a:gd name="connsiteX283" fmla="*/ 469593 w 795138"/>
              <a:gd name="connsiteY283" fmla="*/ 129095 h 572166"/>
              <a:gd name="connsiteX284" fmla="*/ 463461 w 795138"/>
              <a:gd name="connsiteY284" fmla="*/ 133318 h 572166"/>
              <a:gd name="connsiteX285" fmla="*/ 446108 w 795138"/>
              <a:gd name="connsiteY285" fmla="*/ 121749 h 572166"/>
              <a:gd name="connsiteX286" fmla="*/ 436159 w 795138"/>
              <a:gd name="connsiteY286" fmla="*/ 103181 h 572166"/>
              <a:gd name="connsiteX287" fmla="*/ 422103 w 795138"/>
              <a:gd name="connsiteY287" fmla="*/ 97801 h 572166"/>
              <a:gd name="connsiteX288" fmla="*/ 403187 w 795138"/>
              <a:gd name="connsiteY288" fmla="*/ 91265 h 572166"/>
              <a:gd name="connsiteX289" fmla="*/ 402320 w 795138"/>
              <a:gd name="connsiteY289" fmla="*/ 83514 h 572166"/>
              <a:gd name="connsiteX290" fmla="*/ 400816 w 795138"/>
              <a:gd name="connsiteY290" fmla="*/ 76457 h 572166"/>
              <a:gd name="connsiteX291" fmla="*/ 345285 w 795138"/>
              <a:gd name="connsiteY291" fmla="*/ 61880 h 572166"/>
              <a:gd name="connsiteX292" fmla="*/ 319140 w 795138"/>
              <a:gd name="connsiteY292" fmla="*/ 73738 h 572166"/>
              <a:gd name="connsiteX293" fmla="*/ 316074 w 795138"/>
              <a:gd name="connsiteY293" fmla="*/ 83572 h 572166"/>
              <a:gd name="connsiteX294" fmla="*/ 315091 w 795138"/>
              <a:gd name="connsiteY294" fmla="*/ 89992 h 572166"/>
              <a:gd name="connsiteX295" fmla="*/ 310810 w 795138"/>
              <a:gd name="connsiteY295" fmla="*/ 91843 h 572166"/>
              <a:gd name="connsiteX296" fmla="*/ 296870 w 795138"/>
              <a:gd name="connsiteY296" fmla="*/ 77903 h 572166"/>
              <a:gd name="connsiteX297" fmla="*/ 293781 w 795138"/>
              <a:gd name="connsiteY297" fmla="*/ 75219 h 572166"/>
              <a:gd name="connsiteX298" fmla="*/ 293572 w 795138"/>
              <a:gd name="connsiteY298" fmla="*/ 75242 h 572166"/>
              <a:gd name="connsiteX299" fmla="*/ 271881 w 795138"/>
              <a:gd name="connsiteY299" fmla="*/ 84902 h 572166"/>
              <a:gd name="connsiteX300" fmla="*/ 250132 w 795138"/>
              <a:gd name="connsiteY300" fmla="*/ 92017 h 572166"/>
              <a:gd name="connsiteX301" fmla="*/ 251346 w 795138"/>
              <a:gd name="connsiteY301" fmla="*/ 70788 h 572166"/>
              <a:gd name="connsiteX302" fmla="*/ 253371 w 795138"/>
              <a:gd name="connsiteY302" fmla="*/ 46667 h 572166"/>
              <a:gd name="connsiteX303" fmla="*/ 246256 w 795138"/>
              <a:gd name="connsiteY303" fmla="*/ 35098 h 572166"/>
              <a:gd name="connsiteX304" fmla="*/ 233935 w 795138"/>
              <a:gd name="connsiteY304" fmla="*/ 13638 h 572166"/>
              <a:gd name="connsiteX305" fmla="*/ 213227 w 795138"/>
              <a:gd name="connsiteY305" fmla="*/ 3284 h 572166"/>
              <a:gd name="connsiteX306" fmla="*/ 182512 w 795138"/>
              <a:gd name="connsiteY306" fmla="*/ 13985 h 572166"/>
              <a:gd name="connsiteX307" fmla="*/ 159027 w 795138"/>
              <a:gd name="connsiteY307" fmla="*/ 22893 h 572166"/>
              <a:gd name="connsiteX308" fmla="*/ 124320 w 795138"/>
              <a:gd name="connsiteY308" fmla="*/ 37065 h 572166"/>
              <a:gd name="connsiteX309" fmla="*/ 117668 w 795138"/>
              <a:gd name="connsiteY309" fmla="*/ 52047 h 572166"/>
              <a:gd name="connsiteX310" fmla="*/ 132766 w 795138"/>
              <a:gd name="connsiteY310" fmla="*/ 75184 h 572166"/>
              <a:gd name="connsiteX311" fmla="*/ 134212 w 795138"/>
              <a:gd name="connsiteY311" fmla="*/ 78077 h 572166"/>
              <a:gd name="connsiteX312" fmla="*/ 125998 w 795138"/>
              <a:gd name="connsiteY312" fmla="*/ 86869 h 572166"/>
              <a:gd name="connsiteX313" fmla="*/ 116396 w 795138"/>
              <a:gd name="connsiteY313" fmla="*/ 97107 h 572166"/>
              <a:gd name="connsiteX314" fmla="*/ 118247 w 795138"/>
              <a:gd name="connsiteY314" fmla="*/ 100636 h 572166"/>
              <a:gd name="connsiteX315" fmla="*/ 132129 w 795138"/>
              <a:gd name="connsiteY315" fmla="*/ 107230 h 572166"/>
              <a:gd name="connsiteX316" fmla="*/ 147689 w 795138"/>
              <a:gd name="connsiteY316" fmla="*/ 121980 h 572166"/>
              <a:gd name="connsiteX317" fmla="*/ 146243 w 795138"/>
              <a:gd name="connsiteY317" fmla="*/ 126897 h 572166"/>
              <a:gd name="connsiteX318" fmla="*/ 140459 w 795138"/>
              <a:gd name="connsiteY318" fmla="*/ 128864 h 572166"/>
              <a:gd name="connsiteX319" fmla="*/ 99505 w 795138"/>
              <a:gd name="connsiteY319" fmla="*/ 104396 h 572166"/>
              <a:gd name="connsiteX320" fmla="*/ 97191 w 795138"/>
              <a:gd name="connsiteY320" fmla="*/ 86175 h 572166"/>
              <a:gd name="connsiteX321" fmla="*/ 93605 w 795138"/>
              <a:gd name="connsiteY321" fmla="*/ 69515 h 572166"/>
              <a:gd name="connsiteX322" fmla="*/ 108182 w 795138"/>
              <a:gd name="connsiteY322" fmla="*/ 29024 h 572166"/>
              <a:gd name="connsiteX323" fmla="*/ 127733 w 795138"/>
              <a:gd name="connsiteY323" fmla="*/ 14216 h 572166"/>
              <a:gd name="connsiteX324" fmla="*/ 135716 w 795138"/>
              <a:gd name="connsiteY324" fmla="*/ 5540 h 572166"/>
              <a:gd name="connsiteX325" fmla="*/ 117032 w 795138"/>
              <a:gd name="connsiteY325" fmla="*/ 1201 h 572166"/>
              <a:gd name="connsiteX326" fmla="*/ 29803 w 795138"/>
              <a:gd name="connsiteY326" fmla="*/ 33016 h 572166"/>
              <a:gd name="connsiteX327" fmla="*/ 4698 w 795138"/>
              <a:gd name="connsiteY327" fmla="*/ 126376 h 572166"/>
              <a:gd name="connsiteX328" fmla="*/ 31943 w 795138"/>
              <a:gd name="connsiteY328" fmla="*/ 132739 h 572166"/>
              <a:gd name="connsiteX329" fmla="*/ 62080 w 795138"/>
              <a:gd name="connsiteY329" fmla="*/ 136499 h 572166"/>
              <a:gd name="connsiteX330" fmla="*/ 74169 w 795138"/>
              <a:gd name="connsiteY330" fmla="*/ 145523 h 572166"/>
              <a:gd name="connsiteX331" fmla="*/ 61096 w 795138"/>
              <a:gd name="connsiteY331" fmla="*/ 151307 h 572166"/>
              <a:gd name="connsiteX332" fmla="*/ 55312 w 795138"/>
              <a:gd name="connsiteY332" fmla="*/ 150902 h 572166"/>
              <a:gd name="connsiteX333" fmla="*/ 52188 w 795138"/>
              <a:gd name="connsiteY333" fmla="*/ 150382 h 572166"/>
              <a:gd name="connsiteX334" fmla="*/ 27373 w 795138"/>
              <a:gd name="connsiteY334" fmla="*/ 147721 h 572166"/>
              <a:gd name="connsiteX335" fmla="*/ 16209 w 795138"/>
              <a:gd name="connsiteY335" fmla="*/ 150382 h 572166"/>
              <a:gd name="connsiteX336" fmla="*/ 15400 w 795138"/>
              <a:gd name="connsiteY336" fmla="*/ 153274 h 572166"/>
              <a:gd name="connsiteX337" fmla="*/ 61270 w 795138"/>
              <a:gd name="connsiteY337" fmla="*/ 179651 h 572166"/>
              <a:gd name="connsiteX338" fmla="*/ 67054 w 795138"/>
              <a:gd name="connsiteY338" fmla="*/ 178957 h 572166"/>
              <a:gd name="connsiteX339" fmla="*/ 83077 w 795138"/>
              <a:gd name="connsiteY339" fmla="*/ 175833 h 572166"/>
              <a:gd name="connsiteX340" fmla="*/ 96092 w 795138"/>
              <a:gd name="connsiteY340" fmla="*/ 185436 h 572166"/>
              <a:gd name="connsiteX341" fmla="*/ 132014 w 795138"/>
              <a:gd name="connsiteY341" fmla="*/ 193187 h 572166"/>
              <a:gd name="connsiteX342" fmla="*/ 134674 w 795138"/>
              <a:gd name="connsiteY342" fmla="*/ 193187 h 572166"/>
              <a:gd name="connsiteX343" fmla="*/ 151160 w 795138"/>
              <a:gd name="connsiteY343" fmla="*/ 193476 h 572166"/>
              <a:gd name="connsiteX344" fmla="*/ 194948 w 795138"/>
              <a:gd name="connsiteY344" fmla="*/ 200938 h 572166"/>
              <a:gd name="connsiteX345" fmla="*/ 211839 w 795138"/>
              <a:gd name="connsiteY345" fmla="*/ 204351 h 572166"/>
              <a:gd name="connsiteX346" fmla="*/ 238563 w 795138"/>
              <a:gd name="connsiteY346" fmla="*/ 192782 h 572166"/>
              <a:gd name="connsiteX347" fmla="*/ 244347 w 795138"/>
              <a:gd name="connsiteY347" fmla="*/ 190873 h 572166"/>
              <a:gd name="connsiteX348" fmla="*/ 271823 w 795138"/>
              <a:gd name="connsiteY348" fmla="*/ 195790 h 572166"/>
              <a:gd name="connsiteX349" fmla="*/ 301382 w 795138"/>
              <a:gd name="connsiteY349" fmla="*/ 200706 h 572166"/>
              <a:gd name="connsiteX350" fmla="*/ 307166 w 795138"/>
              <a:gd name="connsiteY350" fmla="*/ 197409 h 572166"/>
              <a:gd name="connsiteX351" fmla="*/ 297333 w 795138"/>
              <a:gd name="connsiteY351" fmla="*/ 185840 h 572166"/>
              <a:gd name="connsiteX352" fmla="*/ 292184 w 795138"/>
              <a:gd name="connsiteY352" fmla="*/ 175255 h 572166"/>
              <a:gd name="connsiteX353" fmla="*/ 299184 w 795138"/>
              <a:gd name="connsiteY353" fmla="*/ 168950 h 572166"/>
              <a:gd name="connsiteX354" fmla="*/ 304390 w 795138"/>
              <a:gd name="connsiteY354" fmla="*/ 170512 h 572166"/>
              <a:gd name="connsiteX355" fmla="*/ 315033 w 795138"/>
              <a:gd name="connsiteY355" fmla="*/ 175313 h 572166"/>
              <a:gd name="connsiteX356" fmla="*/ 337592 w 795138"/>
              <a:gd name="connsiteY356" fmla="*/ 191683 h 572166"/>
              <a:gd name="connsiteX357" fmla="*/ 344938 w 795138"/>
              <a:gd name="connsiteY357" fmla="*/ 197988 h 572166"/>
              <a:gd name="connsiteX358" fmla="*/ 352227 w 795138"/>
              <a:gd name="connsiteY358" fmla="*/ 205218 h 572166"/>
              <a:gd name="connsiteX359" fmla="*/ 371084 w 795138"/>
              <a:gd name="connsiteY359" fmla="*/ 217308 h 572166"/>
              <a:gd name="connsiteX360" fmla="*/ 393412 w 795138"/>
              <a:gd name="connsiteY360" fmla="*/ 233157 h 572166"/>
              <a:gd name="connsiteX361" fmla="*/ 377273 w 795138"/>
              <a:gd name="connsiteY361" fmla="*/ 245594 h 572166"/>
              <a:gd name="connsiteX362" fmla="*/ 364837 w 795138"/>
              <a:gd name="connsiteY362" fmla="*/ 253113 h 572166"/>
              <a:gd name="connsiteX363" fmla="*/ 366283 w 795138"/>
              <a:gd name="connsiteY363" fmla="*/ 255427 h 572166"/>
              <a:gd name="connsiteX364" fmla="*/ 372067 w 795138"/>
              <a:gd name="connsiteY364" fmla="*/ 257278 h 572166"/>
              <a:gd name="connsiteX365" fmla="*/ 389421 w 795138"/>
              <a:gd name="connsiteY365" fmla="*/ 250626 h 572166"/>
              <a:gd name="connsiteX366" fmla="*/ 408336 w 795138"/>
              <a:gd name="connsiteY366" fmla="*/ 243048 h 572166"/>
              <a:gd name="connsiteX367" fmla="*/ 423896 w 795138"/>
              <a:gd name="connsiteY367" fmla="*/ 259245 h 572166"/>
              <a:gd name="connsiteX368" fmla="*/ 431763 w 795138"/>
              <a:gd name="connsiteY368" fmla="*/ 270177 h 572166"/>
              <a:gd name="connsiteX369" fmla="*/ 433382 w 795138"/>
              <a:gd name="connsiteY369" fmla="*/ 269830 h 572166"/>
              <a:gd name="connsiteX370" fmla="*/ 441712 w 795138"/>
              <a:gd name="connsiteY370" fmla="*/ 267922 h 572166"/>
              <a:gd name="connsiteX371" fmla="*/ 475956 w 795138"/>
              <a:gd name="connsiteY371" fmla="*/ 296844 h 572166"/>
              <a:gd name="connsiteX372" fmla="*/ 478212 w 795138"/>
              <a:gd name="connsiteY372" fmla="*/ 335889 h 572166"/>
              <a:gd name="connsiteX373" fmla="*/ 475956 w 795138"/>
              <a:gd name="connsiteY373" fmla="*/ 345201 h 572166"/>
              <a:gd name="connsiteX374" fmla="*/ 486888 w 795138"/>
              <a:gd name="connsiteY374" fmla="*/ 348614 h 572166"/>
              <a:gd name="connsiteX375" fmla="*/ 519108 w 795138"/>
              <a:gd name="connsiteY375" fmla="*/ 340805 h 572166"/>
              <a:gd name="connsiteX376" fmla="*/ 528016 w 795138"/>
              <a:gd name="connsiteY376" fmla="*/ 338491 h 572166"/>
              <a:gd name="connsiteX377" fmla="*/ 556938 w 795138"/>
              <a:gd name="connsiteY377" fmla="*/ 356192 h 572166"/>
              <a:gd name="connsiteX378" fmla="*/ 562722 w 795138"/>
              <a:gd name="connsiteY378" fmla="*/ 361514 h 572166"/>
              <a:gd name="connsiteX379" fmla="*/ 564399 w 795138"/>
              <a:gd name="connsiteY379" fmla="*/ 367703 h 572166"/>
              <a:gd name="connsiteX380" fmla="*/ 525355 w 795138"/>
              <a:gd name="connsiteY380" fmla="*/ 385635 h 572166"/>
              <a:gd name="connsiteX381" fmla="*/ 520901 w 795138"/>
              <a:gd name="connsiteY381" fmla="*/ 384073 h 572166"/>
              <a:gd name="connsiteX382" fmla="*/ 520901 w 795138"/>
              <a:gd name="connsiteY382" fmla="*/ 381238 h 572166"/>
              <a:gd name="connsiteX383" fmla="*/ 519744 w 795138"/>
              <a:gd name="connsiteY383" fmla="*/ 375801 h 572166"/>
              <a:gd name="connsiteX384" fmla="*/ 471964 w 795138"/>
              <a:gd name="connsiteY384" fmla="*/ 353994 h 572166"/>
              <a:gd name="connsiteX385" fmla="*/ 453223 w 795138"/>
              <a:gd name="connsiteY385" fmla="*/ 357349 h 572166"/>
              <a:gd name="connsiteX386" fmla="*/ 435870 w 795138"/>
              <a:gd name="connsiteY386" fmla="*/ 370884 h 572166"/>
              <a:gd name="connsiteX387" fmla="*/ 441654 w 795138"/>
              <a:gd name="connsiteY387" fmla="*/ 392692 h 572166"/>
              <a:gd name="connsiteX388" fmla="*/ 446282 w 795138"/>
              <a:gd name="connsiteY388" fmla="*/ 402005 h 572166"/>
              <a:gd name="connsiteX389" fmla="*/ 444778 w 795138"/>
              <a:gd name="connsiteY389" fmla="*/ 409177 h 572166"/>
              <a:gd name="connsiteX390" fmla="*/ 407642 w 795138"/>
              <a:gd name="connsiteY390" fmla="*/ 421093 h 572166"/>
              <a:gd name="connsiteX391" fmla="*/ 380686 w 795138"/>
              <a:gd name="connsiteY391" fmla="*/ 416755 h 572166"/>
              <a:gd name="connsiteX392" fmla="*/ 364316 w 795138"/>
              <a:gd name="connsiteY392" fmla="*/ 413342 h 572166"/>
              <a:gd name="connsiteX393" fmla="*/ 354136 w 795138"/>
              <a:gd name="connsiteY393" fmla="*/ 418721 h 572166"/>
              <a:gd name="connsiteX394" fmla="*/ 344707 w 795138"/>
              <a:gd name="connsiteY394" fmla="*/ 424043 h 572166"/>
              <a:gd name="connsiteX395" fmla="*/ 327354 w 795138"/>
              <a:gd name="connsiteY395" fmla="*/ 437347 h 572166"/>
              <a:gd name="connsiteX396" fmla="*/ 329783 w 795138"/>
              <a:gd name="connsiteY396" fmla="*/ 456089 h 572166"/>
              <a:gd name="connsiteX397" fmla="*/ 347136 w 795138"/>
              <a:gd name="connsiteY397" fmla="*/ 461873 h 572166"/>
              <a:gd name="connsiteX398" fmla="*/ 365705 w 795138"/>
              <a:gd name="connsiteY398" fmla="*/ 459964 h 572166"/>
              <a:gd name="connsiteX399" fmla="*/ 405212 w 795138"/>
              <a:gd name="connsiteY399" fmla="*/ 459964 h 572166"/>
              <a:gd name="connsiteX400" fmla="*/ 410997 w 795138"/>
              <a:gd name="connsiteY400" fmla="*/ 460716 h 572166"/>
              <a:gd name="connsiteX401" fmla="*/ 415508 w 795138"/>
              <a:gd name="connsiteY401" fmla="*/ 454180 h 572166"/>
              <a:gd name="connsiteX402" fmla="*/ 429680 w 795138"/>
              <a:gd name="connsiteY402" fmla="*/ 446255 h 57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Lst>
            <a:rect l="l" t="t" r="r" b="b"/>
            <a:pathLst>
              <a:path w="795138" h="572166">
                <a:moveTo>
                  <a:pt x="647869" y="571893"/>
                </a:moveTo>
                <a:cubicBezTo>
                  <a:pt x="628144" y="571893"/>
                  <a:pt x="581522" y="548756"/>
                  <a:pt x="569490" y="536550"/>
                </a:cubicBezTo>
                <a:cubicBezTo>
                  <a:pt x="562375" y="529436"/>
                  <a:pt x="548839" y="527700"/>
                  <a:pt x="535767" y="526023"/>
                </a:cubicBezTo>
                <a:cubicBezTo>
                  <a:pt x="522694" y="524345"/>
                  <a:pt x="510257" y="522726"/>
                  <a:pt x="504068" y="515900"/>
                </a:cubicBezTo>
                <a:cubicBezTo>
                  <a:pt x="499510" y="510266"/>
                  <a:pt x="497422" y="503024"/>
                  <a:pt x="498284" y="495828"/>
                </a:cubicBezTo>
                <a:cubicBezTo>
                  <a:pt x="498284" y="488019"/>
                  <a:pt x="498284" y="482350"/>
                  <a:pt x="488739" y="481135"/>
                </a:cubicBezTo>
                <a:cubicBezTo>
                  <a:pt x="477807" y="479747"/>
                  <a:pt x="473642" y="472343"/>
                  <a:pt x="470055" y="465807"/>
                </a:cubicBezTo>
                <a:cubicBezTo>
                  <a:pt x="466469" y="459270"/>
                  <a:pt x="463924" y="454816"/>
                  <a:pt x="457098" y="453255"/>
                </a:cubicBezTo>
                <a:lnTo>
                  <a:pt x="454553" y="452618"/>
                </a:lnTo>
                <a:cubicBezTo>
                  <a:pt x="446270" y="450385"/>
                  <a:pt x="437779" y="449009"/>
                  <a:pt x="429217" y="448511"/>
                </a:cubicBezTo>
                <a:cubicBezTo>
                  <a:pt x="421987" y="448511"/>
                  <a:pt x="418111" y="450536"/>
                  <a:pt x="417244" y="454759"/>
                </a:cubicBezTo>
                <a:cubicBezTo>
                  <a:pt x="416145" y="460543"/>
                  <a:pt x="414814" y="463146"/>
                  <a:pt x="410534" y="463146"/>
                </a:cubicBezTo>
                <a:cubicBezTo>
                  <a:pt x="408590" y="463030"/>
                  <a:pt x="406658" y="462781"/>
                  <a:pt x="404749" y="462394"/>
                </a:cubicBezTo>
                <a:cubicBezTo>
                  <a:pt x="391931" y="459739"/>
                  <a:pt x="378696" y="459739"/>
                  <a:pt x="365878" y="462394"/>
                </a:cubicBezTo>
                <a:cubicBezTo>
                  <a:pt x="359648" y="463476"/>
                  <a:pt x="353343" y="464112"/>
                  <a:pt x="347021" y="464303"/>
                </a:cubicBezTo>
                <a:cubicBezTo>
                  <a:pt x="340102" y="464945"/>
                  <a:pt x="333248" y="462515"/>
                  <a:pt x="328279" y="457651"/>
                </a:cubicBezTo>
                <a:cubicBezTo>
                  <a:pt x="323027" y="451872"/>
                  <a:pt x="321876" y="443456"/>
                  <a:pt x="325387" y="436480"/>
                </a:cubicBezTo>
                <a:cubicBezTo>
                  <a:pt x="328638" y="428335"/>
                  <a:pt x="336152" y="422672"/>
                  <a:pt x="344881" y="421787"/>
                </a:cubicBezTo>
                <a:cubicBezTo>
                  <a:pt x="348062" y="421857"/>
                  <a:pt x="351012" y="420139"/>
                  <a:pt x="352516" y="417333"/>
                </a:cubicBezTo>
                <a:cubicBezTo>
                  <a:pt x="355003" y="413151"/>
                  <a:pt x="359637" y="410733"/>
                  <a:pt x="364490" y="411086"/>
                </a:cubicBezTo>
                <a:cubicBezTo>
                  <a:pt x="370424" y="411352"/>
                  <a:pt x="376278" y="412544"/>
                  <a:pt x="381843" y="414615"/>
                </a:cubicBezTo>
                <a:cubicBezTo>
                  <a:pt x="390317" y="417397"/>
                  <a:pt x="399185" y="418826"/>
                  <a:pt x="408104" y="418837"/>
                </a:cubicBezTo>
                <a:cubicBezTo>
                  <a:pt x="425920" y="418837"/>
                  <a:pt x="439340" y="413053"/>
                  <a:pt x="443447" y="407847"/>
                </a:cubicBezTo>
                <a:cubicBezTo>
                  <a:pt x="444639" y="406418"/>
                  <a:pt x="445067" y="404503"/>
                  <a:pt x="444604" y="402699"/>
                </a:cubicBezTo>
                <a:cubicBezTo>
                  <a:pt x="443442" y="399581"/>
                  <a:pt x="441943" y="396596"/>
                  <a:pt x="440150" y="393791"/>
                </a:cubicBezTo>
                <a:cubicBezTo>
                  <a:pt x="435870" y="386502"/>
                  <a:pt x="431011" y="378230"/>
                  <a:pt x="433903" y="370132"/>
                </a:cubicBezTo>
                <a:cubicBezTo>
                  <a:pt x="436043" y="364059"/>
                  <a:pt x="442117" y="359200"/>
                  <a:pt x="452529" y="355266"/>
                </a:cubicBezTo>
                <a:cubicBezTo>
                  <a:pt x="458782" y="352918"/>
                  <a:pt x="465405" y="351721"/>
                  <a:pt x="472080" y="351738"/>
                </a:cubicBezTo>
                <a:cubicBezTo>
                  <a:pt x="495218" y="351738"/>
                  <a:pt x="515810" y="365042"/>
                  <a:pt x="521768" y="374876"/>
                </a:cubicBezTo>
                <a:cubicBezTo>
                  <a:pt x="523492" y="377051"/>
                  <a:pt x="523972" y="379954"/>
                  <a:pt x="523041" y="382569"/>
                </a:cubicBezTo>
                <a:cubicBezTo>
                  <a:pt x="523041" y="382974"/>
                  <a:pt x="523041" y="383147"/>
                  <a:pt x="523041" y="383147"/>
                </a:cubicBezTo>
                <a:cubicBezTo>
                  <a:pt x="523041" y="383147"/>
                  <a:pt x="523735" y="383668"/>
                  <a:pt x="525586" y="383668"/>
                </a:cubicBezTo>
                <a:cubicBezTo>
                  <a:pt x="535420" y="383668"/>
                  <a:pt x="559714" y="374413"/>
                  <a:pt x="562491" y="367182"/>
                </a:cubicBezTo>
                <a:cubicBezTo>
                  <a:pt x="563011" y="365852"/>
                  <a:pt x="562589" y="364342"/>
                  <a:pt x="561450" y="363480"/>
                </a:cubicBezTo>
                <a:lnTo>
                  <a:pt x="555665" y="358158"/>
                </a:lnTo>
                <a:cubicBezTo>
                  <a:pt x="547336" y="350118"/>
                  <a:pt x="537849" y="340805"/>
                  <a:pt x="528073" y="340805"/>
                </a:cubicBezTo>
                <a:cubicBezTo>
                  <a:pt x="525343" y="340823"/>
                  <a:pt x="522659" y="341523"/>
                  <a:pt x="520264" y="342830"/>
                </a:cubicBezTo>
                <a:cubicBezTo>
                  <a:pt x="509893" y="347955"/>
                  <a:pt x="498515" y="350720"/>
                  <a:pt x="486946" y="350928"/>
                </a:cubicBezTo>
                <a:cubicBezTo>
                  <a:pt x="478906" y="350928"/>
                  <a:pt x="474336" y="349077"/>
                  <a:pt x="473758" y="345664"/>
                </a:cubicBezTo>
                <a:cubicBezTo>
                  <a:pt x="473769" y="342286"/>
                  <a:pt x="474515" y="338948"/>
                  <a:pt x="475956" y="335889"/>
                </a:cubicBezTo>
                <a:cubicBezTo>
                  <a:pt x="479311" y="326228"/>
                  <a:pt x="483880" y="312751"/>
                  <a:pt x="473931" y="298868"/>
                </a:cubicBezTo>
                <a:cubicBezTo>
                  <a:pt x="461784" y="281515"/>
                  <a:pt x="452124" y="270987"/>
                  <a:pt x="441538" y="270987"/>
                </a:cubicBezTo>
                <a:cubicBezTo>
                  <a:pt x="438987" y="271010"/>
                  <a:pt x="436465" y="271560"/>
                  <a:pt x="434134" y="272607"/>
                </a:cubicBezTo>
                <a:cubicBezTo>
                  <a:pt x="433342" y="272989"/>
                  <a:pt x="432468" y="273191"/>
                  <a:pt x="431589" y="273185"/>
                </a:cubicBezTo>
                <a:cubicBezTo>
                  <a:pt x="426904" y="273185"/>
                  <a:pt x="424359" y="267401"/>
                  <a:pt x="421640" y="260865"/>
                </a:cubicBezTo>
                <a:cubicBezTo>
                  <a:pt x="418516" y="253576"/>
                  <a:pt x="415277" y="245998"/>
                  <a:pt x="409030" y="245998"/>
                </a:cubicBezTo>
                <a:lnTo>
                  <a:pt x="408336" y="245998"/>
                </a:lnTo>
                <a:cubicBezTo>
                  <a:pt x="401921" y="247230"/>
                  <a:pt x="395807" y="249706"/>
                  <a:pt x="390346" y="253287"/>
                </a:cubicBezTo>
                <a:cubicBezTo>
                  <a:pt x="384926" y="257006"/>
                  <a:pt x="378702" y="259384"/>
                  <a:pt x="372183" y="260228"/>
                </a:cubicBezTo>
                <a:cubicBezTo>
                  <a:pt x="369632" y="260240"/>
                  <a:pt x="367151" y="259401"/>
                  <a:pt x="365126" y="257856"/>
                </a:cubicBezTo>
                <a:cubicBezTo>
                  <a:pt x="363628" y="256937"/>
                  <a:pt x="362743" y="255277"/>
                  <a:pt x="362812" y="253518"/>
                </a:cubicBezTo>
                <a:cubicBezTo>
                  <a:pt x="363275" y="249874"/>
                  <a:pt x="369465" y="247271"/>
                  <a:pt x="376637" y="244205"/>
                </a:cubicBezTo>
                <a:cubicBezTo>
                  <a:pt x="383810" y="241140"/>
                  <a:pt x="391850" y="237785"/>
                  <a:pt x="391387" y="234083"/>
                </a:cubicBezTo>
                <a:cubicBezTo>
                  <a:pt x="390925" y="230380"/>
                  <a:pt x="379819" y="224596"/>
                  <a:pt x="370332" y="220084"/>
                </a:cubicBezTo>
                <a:cubicBezTo>
                  <a:pt x="359862" y="215167"/>
                  <a:pt x="350838" y="210945"/>
                  <a:pt x="350202" y="206259"/>
                </a:cubicBezTo>
                <a:cubicBezTo>
                  <a:pt x="349682" y="202673"/>
                  <a:pt x="347483" y="201921"/>
                  <a:pt x="344418" y="200822"/>
                </a:cubicBezTo>
                <a:cubicBezTo>
                  <a:pt x="340374" y="199897"/>
                  <a:pt x="337083" y="196975"/>
                  <a:pt x="335683" y="193071"/>
                </a:cubicBezTo>
                <a:cubicBezTo>
                  <a:pt x="333254" y="185840"/>
                  <a:pt x="323709" y="181907"/>
                  <a:pt x="314397" y="178089"/>
                </a:cubicBezTo>
                <a:cubicBezTo>
                  <a:pt x="310677" y="176666"/>
                  <a:pt x="307045" y="175023"/>
                  <a:pt x="303522" y="173173"/>
                </a:cubicBezTo>
                <a:cubicBezTo>
                  <a:pt x="302272" y="172438"/>
                  <a:pt x="300861" y="172021"/>
                  <a:pt x="299415" y="171958"/>
                </a:cubicBezTo>
                <a:cubicBezTo>
                  <a:pt x="296916" y="172004"/>
                  <a:pt x="294851" y="173925"/>
                  <a:pt x="294614" y="176412"/>
                </a:cubicBezTo>
                <a:cubicBezTo>
                  <a:pt x="293821" y="179657"/>
                  <a:pt x="295418" y="183012"/>
                  <a:pt x="298432" y="184452"/>
                </a:cubicBezTo>
                <a:cubicBezTo>
                  <a:pt x="304216" y="186997"/>
                  <a:pt x="310405" y="193476"/>
                  <a:pt x="309653" y="198393"/>
                </a:cubicBezTo>
                <a:cubicBezTo>
                  <a:pt x="309306" y="200417"/>
                  <a:pt x="307687" y="203020"/>
                  <a:pt x="301729" y="203541"/>
                </a:cubicBezTo>
                <a:cubicBezTo>
                  <a:pt x="291502" y="203072"/>
                  <a:pt x="281367" y="201406"/>
                  <a:pt x="271534" y="198566"/>
                </a:cubicBezTo>
                <a:cubicBezTo>
                  <a:pt x="262684" y="196183"/>
                  <a:pt x="253648" y="194558"/>
                  <a:pt x="244521" y="193707"/>
                </a:cubicBezTo>
                <a:cubicBezTo>
                  <a:pt x="241571" y="193707"/>
                  <a:pt x="240934" y="194344"/>
                  <a:pt x="240819" y="194517"/>
                </a:cubicBezTo>
                <a:cubicBezTo>
                  <a:pt x="233767" y="203136"/>
                  <a:pt x="223008" y="207844"/>
                  <a:pt x="211896" y="207185"/>
                </a:cubicBezTo>
                <a:cubicBezTo>
                  <a:pt x="206054" y="206329"/>
                  <a:pt x="200264" y="205166"/>
                  <a:pt x="194543" y="203714"/>
                </a:cubicBezTo>
                <a:cubicBezTo>
                  <a:pt x="180319" y="200030"/>
                  <a:pt x="165806" y="197554"/>
                  <a:pt x="151160" y="196310"/>
                </a:cubicBezTo>
                <a:cubicBezTo>
                  <a:pt x="145376" y="196310"/>
                  <a:pt x="139591" y="196310"/>
                  <a:pt x="134790" y="196310"/>
                </a:cubicBezTo>
                <a:lnTo>
                  <a:pt x="133517" y="196310"/>
                </a:lnTo>
                <a:cubicBezTo>
                  <a:pt x="117553" y="196310"/>
                  <a:pt x="102513" y="196310"/>
                  <a:pt x="95803" y="187691"/>
                </a:cubicBezTo>
                <a:cubicBezTo>
                  <a:pt x="90771" y="181155"/>
                  <a:pt x="89035" y="178957"/>
                  <a:pt x="84581" y="178957"/>
                </a:cubicBezTo>
                <a:cubicBezTo>
                  <a:pt x="79341" y="179454"/>
                  <a:pt x="74169" y="180484"/>
                  <a:pt x="69137" y="182023"/>
                </a:cubicBezTo>
                <a:cubicBezTo>
                  <a:pt x="66979" y="182549"/>
                  <a:pt x="64764" y="182803"/>
                  <a:pt x="62543" y="182775"/>
                </a:cubicBezTo>
                <a:cubicBezTo>
                  <a:pt x="42702" y="182775"/>
                  <a:pt x="15631" y="165421"/>
                  <a:pt x="14416" y="154431"/>
                </a:cubicBezTo>
                <a:cubicBezTo>
                  <a:pt x="14162" y="152742"/>
                  <a:pt x="14671" y="151024"/>
                  <a:pt x="15804" y="149745"/>
                </a:cubicBezTo>
                <a:cubicBezTo>
                  <a:pt x="19460" y="146952"/>
                  <a:pt x="24082" y="145720"/>
                  <a:pt x="28646" y="146333"/>
                </a:cubicBezTo>
                <a:cubicBezTo>
                  <a:pt x="37085" y="146645"/>
                  <a:pt x="45496" y="147553"/>
                  <a:pt x="53808" y="149051"/>
                </a:cubicBezTo>
                <a:lnTo>
                  <a:pt x="56874" y="149514"/>
                </a:lnTo>
                <a:cubicBezTo>
                  <a:pt x="58615" y="149786"/>
                  <a:pt x="60373" y="149925"/>
                  <a:pt x="62138" y="149919"/>
                </a:cubicBezTo>
                <a:cubicBezTo>
                  <a:pt x="68558" y="149919"/>
                  <a:pt x="72665" y="148010"/>
                  <a:pt x="72954" y="146159"/>
                </a:cubicBezTo>
                <a:cubicBezTo>
                  <a:pt x="73244" y="144308"/>
                  <a:pt x="70583" y="141994"/>
                  <a:pt x="62485" y="139565"/>
                </a:cubicBezTo>
                <a:cubicBezTo>
                  <a:pt x="52750" y="137321"/>
                  <a:pt x="42800" y="136100"/>
                  <a:pt x="32811" y="135921"/>
                </a:cubicBezTo>
                <a:cubicBezTo>
                  <a:pt x="17366" y="135053"/>
                  <a:pt x="5161" y="134359"/>
                  <a:pt x="3541" y="127880"/>
                </a:cubicBezTo>
                <a:cubicBezTo>
                  <a:pt x="-5945" y="89992"/>
                  <a:pt x="3194" y="56038"/>
                  <a:pt x="29340" y="32264"/>
                </a:cubicBezTo>
                <a:cubicBezTo>
                  <a:pt x="53982" y="9878"/>
                  <a:pt x="91638" y="-129"/>
                  <a:pt x="118073" y="-129"/>
                </a:cubicBezTo>
                <a:cubicBezTo>
                  <a:pt x="122990" y="-129"/>
                  <a:pt x="139013" y="334"/>
                  <a:pt x="139013" y="6465"/>
                </a:cubicBezTo>
                <a:cubicBezTo>
                  <a:pt x="139013" y="12597"/>
                  <a:pt x="135195" y="14274"/>
                  <a:pt x="129873" y="17166"/>
                </a:cubicBezTo>
                <a:cubicBezTo>
                  <a:pt x="122730" y="20782"/>
                  <a:pt x="116286" y="25641"/>
                  <a:pt x="110843" y="31512"/>
                </a:cubicBezTo>
                <a:cubicBezTo>
                  <a:pt x="93142" y="50543"/>
                  <a:pt x="89209" y="60434"/>
                  <a:pt x="96324" y="68706"/>
                </a:cubicBezTo>
                <a:cubicBezTo>
                  <a:pt x="100228" y="73941"/>
                  <a:pt x="101744" y="80575"/>
                  <a:pt x="100488" y="86984"/>
                </a:cubicBezTo>
                <a:cubicBezTo>
                  <a:pt x="99713" y="92850"/>
                  <a:pt x="100425" y="98819"/>
                  <a:pt x="102571" y="104338"/>
                </a:cubicBezTo>
                <a:cubicBezTo>
                  <a:pt x="106851" y="113651"/>
                  <a:pt x="130105" y="127475"/>
                  <a:pt x="141500" y="127475"/>
                </a:cubicBezTo>
                <a:cubicBezTo>
                  <a:pt x="142998" y="127609"/>
                  <a:pt x="144496" y="127152"/>
                  <a:pt x="145665" y="126203"/>
                </a:cubicBezTo>
                <a:cubicBezTo>
                  <a:pt x="146365" y="125301"/>
                  <a:pt x="146660" y="124149"/>
                  <a:pt x="146475" y="123021"/>
                </a:cubicBezTo>
                <a:cubicBezTo>
                  <a:pt x="145781" y="114229"/>
                  <a:pt x="139938" y="112494"/>
                  <a:pt x="132476" y="110238"/>
                </a:cubicBezTo>
                <a:cubicBezTo>
                  <a:pt x="127108" y="109017"/>
                  <a:pt x="122088" y="106605"/>
                  <a:pt x="117784" y="103181"/>
                </a:cubicBezTo>
                <a:cubicBezTo>
                  <a:pt x="116106" y="101931"/>
                  <a:pt x="115140" y="99947"/>
                  <a:pt x="115181" y="97859"/>
                </a:cubicBezTo>
                <a:cubicBezTo>
                  <a:pt x="115181" y="93463"/>
                  <a:pt x="120618" y="89645"/>
                  <a:pt x="125709" y="85885"/>
                </a:cubicBezTo>
                <a:cubicBezTo>
                  <a:pt x="129121" y="83456"/>
                  <a:pt x="132939" y="80622"/>
                  <a:pt x="132997" y="78886"/>
                </a:cubicBezTo>
                <a:cubicBezTo>
                  <a:pt x="132974" y="78441"/>
                  <a:pt x="132737" y="78030"/>
                  <a:pt x="132361" y="77787"/>
                </a:cubicBezTo>
                <a:cubicBezTo>
                  <a:pt x="122180" y="69342"/>
                  <a:pt x="116801" y="60955"/>
                  <a:pt x="116453" y="52856"/>
                </a:cubicBezTo>
                <a:cubicBezTo>
                  <a:pt x="116349" y="46482"/>
                  <a:pt x="119028" y="40374"/>
                  <a:pt x="123800" y="36139"/>
                </a:cubicBezTo>
                <a:cubicBezTo>
                  <a:pt x="133402" y="26537"/>
                  <a:pt x="147342" y="23761"/>
                  <a:pt x="159605" y="21331"/>
                </a:cubicBezTo>
                <a:cubicBezTo>
                  <a:pt x="169381" y="19422"/>
                  <a:pt x="177826" y="17745"/>
                  <a:pt x="181875" y="13175"/>
                </a:cubicBezTo>
                <a:cubicBezTo>
                  <a:pt x="187660" y="6754"/>
                  <a:pt x="201832" y="1606"/>
                  <a:pt x="214268" y="1606"/>
                </a:cubicBezTo>
                <a:cubicBezTo>
                  <a:pt x="226705" y="1606"/>
                  <a:pt x="234051" y="5771"/>
                  <a:pt x="237059" y="13175"/>
                </a:cubicBezTo>
                <a:cubicBezTo>
                  <a:pt x="240032" y="20701"/>
                  <a:pt x="244087" y="27758"/>
                  <a:pt x="249091" y="34115"/>
                </a:cubicBezTo>
                <a:cubicBezTo>
                  <a:pt x="251983" y="37672"/>
                  <a:pt x="254447" y="41554"/>
                  <a:pt x="256437" y="45684"/>
                </a:cubicBezTo>
                <a:cubicBezTo>
                  <a:pt x="258808" y="51063"/>
                  <a:pt x="256437" y="61302"/>
                  <a:pt x="254586" y="71193"/>
                </a:cubicBezTo>
                <a:cubicBezTo>
                  <a:pt x="252908" y="79118"/>
                  <a:pt x="250999" y="88199"/>
                  <a:pt x="252908" y="90513"/>
                </a:cubicBezTo>
                <a:cubicBezTo>
                  <a:pt x="253197" y="90924"/>
                  <a:pt x="253683" y="91143"/>
                  <a:pt x="254181" y="91091"/>
                </a:cubicBezTo>
                <a:cubicBezTo>
                  <a:pt x="260491" y="89391"/>
                  <a:pt x="266461" y="86608"/>
                  <a:pt x="271823" y="82878"/>
                </a:cubicBezTo>
                <a:cubicBezTo>
                  <a:pt x="280326" y="77961"/>
                  <a:pt x="289177" y="72928"/>
                  <a:pt x="294614" y="72928"/>
                </a:cubicBezTo>
                <a:cubicBezTo>
                  <a:pt x="297431" y="72558"/>
                  <a:pt x="300016" y="74542"/>
                  <a:pt x="300387" y="77365"/>
                </a:cubicBezTo>
                <a:cubicBezTo>
                  <a:pt x="300392" y="77388"/>
                  <a:pt x="300398" y="77411"/>
                  <a:pt x="300398" y="77440"/>
                </a:cubicBezTo>
                <a:cubicBezTo>
                  <a:pt x="301191" y="83566"/>
                  <a:pt x="305882" y="88465"/>
                  <a:pt x="311967" y="89530"/>
                </a:cubicBezTo>
                <a:cubicBezTo>
                  <a:pt x="312904" y="89593"/>
                  <a:pt x="313812" y="89229"/>
                  <a:pt x="314455" y="88546"/>
                </a:cubicBezTo>
                <a:cubicBezTo>
                  <a:pt x="315316" y="87181"/>
                  <a:pt x="315525" y="85509"/>
                  <a:pt x="315033" y="83977"/>
                </a:cubicBezTo>
                <a:cubicBezTo>
                  <a:pt x="314350" y="79783"/>
                  <a:pt x="315658" y="75508"/>
                  <a:pt x="318561" y="72408"/>
                </a:cubicBezTo>
                <a:cubicBezTo>
                  <a:pt x="325792" y="64622"/>
                  <a:pt x="335828" y="60046"/>
                  <a:pt x="346442" y="59682"/>
                </a:cubicBezTo>
                <a:cubicBezTo>
                  <a:pt x="355466" y="59682"/>
                  <a:pt x="393990" y="62458"/>
                  <a:pt x="403766" y="75184"/>
                </a:cubicBezTo>
                <a:cubicBezTo>
                  <a:pt x="405831" y="77677"/>
                  <a:pt x="406543" y="81027"/>
                  <a:pt x="405675" y="84150"/>
                </a:cubicBezTo>
                <a:cubicBezTo>
                  <a:pt x="404969" y="86059"/>
                  <a:pt x="405160" y="88182"/>
                  <a:pt x="406196" y="89935"/>
                </a:cubicBezTo>
                <a:cubicBezTo>
                  <a:pt x="408799" y="93752"/>
                  <a:pt x="416607" y="94678"/>
                  <a:pt x="423549" y="95719"/>
                </a:cubicBezTo>
                <a:cubicBezTo>
                  <a:pt x="431820" y="96702"/>
                  <a:pt x="439687" y="97628"/>
                  <a:pt x="439687" y="103354"/>
                </a:cubicBezTo>
                <a:cubicBezTo>
                  <a:pt x="440972" y="109943"/>
                  <a:pt x="444217" y="115993"/>
                  <a:pt x="449000" y="120708"/>
                </a:cubicBezTo>
                <a:cubicBezTo>
                  <a:pt x="452748" y="125885"/>
                  <a:pt x="458192" y="129587"/>
                  <a:pt x="464387" y="131178"/>
                </a:cubicBezTo>
                <a:cubicBezTo>
                  <a:pt x="466238" y="131201"/>
                  <a:pt x="467892" y="130038"/>
                  <a:pt x="468494" y="128285"/>
                </a:cubicBezTo>
                <a:cubicBezTo>
                  <a:pt x="471964" y="120650"/>
                  <a:pt x="482376" y="117989"/>
                  <a:pt x="490995" y="117989"/>
                </a:cubicBezTo>
                <a:cubicBezTo>
                  <a:pt x="499614" y="117989"/>
                  <a:pt x="509679" y="120823"/>
                  <a:pt x="511761" y="127186"/>
                </a:cubicBezTo>
                <a:cubicBezTo>
                  <a:pt x="512965" y="130929"/>
                  <a:pt x="512340" y="135018"/>
                  <a:pt x="510084" y="138235"/>
                </a:cubicBezTo>
                <a:cubicBezTo>
                  <a:pt x="504676" y="145228"/>
                  <a:pt x="496612" y="149670"/>
                  <a:pt x="487814" y="150498"/>
                </a:cubicBezTo>
                <a:cubicBezTo>
                  <a:pt x="486252" y="150498"/>
                  <a:pt x="483649" y="151192"/>
                  <a:pt x="483707" y="153216"/>
                </a:cubicBezTo>
                <a:cubicBezTo>
                  <a:pt x="484673" y="156733"/>
                  <a:pt x="487930" y="159128"/>
                  <a:pt x="491574" y="159001"/>
                </a:cubicBezTo>
                <a:cubicBezTo>
                  <a:pt x="493436" y="158960"/>
                  <a:pt x="495235" y="158330"/>
                  <a:pt x="496722" y="157207"/>
                </a:cubicBezTo>
                <a:cubicBezTo>
                  <a:pt x="505595" y="150891"/>
                  <a:pt x="515920" y="146911"/>
                  <a:pt x="526743" y="145639"/>
                </a:cubicBezTo>
                <a:cubicBezTo>
                  <a:pt x="532528" y="145639"/>
                  <a:pt x="533626" y="148936"/>
                  <a:pt x="533626" y="150845"/>
                </a:cubicBezTo>
                <a:cubicBezTo>
                  <a:pt x="533470" y="154240"/>
                  <a:pt x="534332" y="157607"/>
                  <a:pt x="536114" y="160505"/>
                </a:cubicBezTo>
                <a:cubicBezTo>
                  <a:pt x="538948" y="164669"/>
                  <a:pt x="544270" y="165537"/>
                  <a:pt x="551558" y="163108"/>
                </a:cubicBezTo>
                <a:cubicBezTo>
                  <a:pt x="554826" y="162147"/>
                  <a:pt x="558222" y="161702"/>
                  <a:pt x="561623" y="161777"/>
                </a:cubicBezTo>
                <a:cubicBezTo>
                  <a:pt x="574580" y="161777"/>
                  <a:pt x="592223" y="166810"/>
                  <a:pt x="595578" y="173346"/>
                </a:cubicBezTo>
                <a:cubicBezTo>
                  <a:pt x="596457" y="174925"/>
                  <a:pt x="596318" y="176874"/>
                  <a:pt x="595231" y="178321"/>
                </a:cubicBezTo>
                <a:cubicBezTo>
                  <a:pt x="588983" y="187055"/>
                  <a:pt x="585686" y="194691"/>
                  <a:pt x="587017" y="197294"/>
                </a:cubicBezTo>
                <a:cubicBezTo>
                  <a:pt x="587017" y="197294"/>
                  <a:pt x="587537" y="198335"/>
                  <a:pt x="589446" y="198335"/>
                </a:cubicBezTo>
                <a:cubicBezTo>
                  <a:pt x="592743" y="198335"/>
                  <a:pt x="595231" y="195732"/>
                  <a:pt x="597487" y="192955"/>
                </a:cubicBezTo>
                <a:cubicBezTo>
                  <a:pt x="599743" y="190179"/>
                  <a:pt x="602172" y="187634"/>
                  <a:pt x="605527" y="187634"/>
                </a:cubicBezTo>
                <a:cubicBezTo>
                  <a:pt x="606898" y="187674"/>
                  <a:pt x="608234" y="188073"/>
                  <a:pt x="609403" y="188790"/>
                </a:cubicBezTo>
                <a:cubicBezTo>
                  <a:pt x="615707" y="192377"/>
                  <a:pt x="625946" y="200706"/>
                  <a:pt x="626756" y="207821"/>
                </a:cubicBezTo>
                <a:cubicBezTo>
                  <a:pt x="626958" y="210048"/>
                  <a:pt x="626021" y="212223"/>
                  <a:pt x="624269" y="213606"/>
                </a:cubicBezTo>
                <a:cubicBezTo>
                  <a:pt x="621550" y="215676"/>
                  <a:pt x="618409" y="217117"/>
                  <a:pt x="615071" y="217828"/>
                </a:cubicBezTo>
                <a:cubicBezTo>
                  <a:pt x="610733" y="219043"/>
                  <a:pt x="608303" y="219679"/>
                  <a:pt x="608940" y="224654"/>
                </a:cubicBezTo>
                <a:cubicBezTo>
                  <a:pt x="609345" y="228182"/>
                  <a:pt x="617153" y="229108"/>
                  <a:pt x="623979" y="229918"/>
                </a:cubicBezTo>
                <a:cubicBezTo>
                  <a:pt x="630805" y="230728"/>
                  <a:pt x="638383" y="231653"/>
                  <a:pt x="640465" y="235413"/>
                </a:cubicBezTo>
                <a:cubicBezTo>
                  <a:pt x="641500" y="237200"/>
                  <a:pt x="641500" y="239410"/>
                  <a:pt x="640465" y="241197"/>
                </a:cubicBezTo>
                <a:cubicBezTo>
                  <a:pt x="638706" y="244842"/>
                  <a:pt x="634819" y="246964"/>
                  <a:pt x="630805" y="246461"/>
                </a:cubicBezTo>
                <a:cubicBezTo>
                  <a:pt x="627219" y="246299"/>
                  <a:pt x="623655" y="245796"/>
                  <a:pt x="620161" y="244957"/>
                </a:cubicBezTo>
                <a:cubicBezTo>
                  <a:pt x="616934" y="244188"/>
                  <a:pt x="613642" y="243725"/>
                  <a:pt x="610328" y="243569"/>
                </a:cubicBezTo>
                <a:cubicBezTo>
                  <a:pt x="605758" y="243569"/>
                  <a:pt x="603560" y="245304"/>
                  <a:pt x="602982" y="249353"/>
                </a:cubicBezTo>
                <a:cubicBezTo>
                  <a:pt x="602328" y="254363"/>
                  <a:pt x="603890" y="259413"/>
                  <a:pt x="607262" y="263178"/>
                </a:cubicBezTo>
                <a:cubicBezTo>
                  <a:pt x="615349" y="271918"/>
                  <a:pt x="626403" y="277321"/>
                  <a:pt x="638267" y="278333"/>
                </a:cubicBezTo>
                <a:cubicBezTo>
                  <a:pt x="646729" y="279878"/>
                  <a:pt x="654816" y="283019"/>
                  <a:pt x="662099" y="287589"/>
                </a:cubicBezTo>
                <a:cubicBezTo>
                  <a:pt x="668537" y="291788"/>
                  <a:pt x="675790" y="294570"/>
                  <a:pt x="683385" y="295745"/>
                </a:cubicBezTo>
                <a:cubicBezTo>
                  <a:pt x="684386" y="295768"/>
                  <a:pt x="685381" y="295635"/>
                  <a:pt x="686335" y="295340"/>
                </a:cubicBezTo>
                <a:cubicBezTo>
                  <a:pt x="687544" y="295022"/>
                  <a:pt x="688788" y="294865"/>
                  <a:pt x="690037" y="294877"/>
                </a:cubicBezTo>
                <a:cubicBezTo>
                  <a:pt x="704730" y="294877"/>
                  <a:pt x="736313" y="313271"/>
                  <a:pt x="736313" y="321832"/>
                </a:cubicBezTo>
                <a:cubicBezTo>
                  <a:pt x="736209" y="326356"/>
                  <a:pt x="737458" y="330804"/>
                  <a:pt x="739899" y="334616"/>
                </a:cubicBezTo>
                <a:cubicBezTo>
                  <a:pt x="743740" y="339394"/>
                  <a:pt x="749698" y="341950"/>
                  <a:pt x="755806" y="341442"/>
                </a:cubicBezTo>
                <a:lnTo>
                  <a:pt x="758120" y="341442"/>
                </a:lnTo>
                <a:cubicBezTo>
                  <a:pt x="773218" y="340458"/>
                  <a:pt x="793405" y="349019"/>
                  <a:pt x="794909" y="356481"/>
                </a:cubicBezTo>
                <a:cubicBezTo>
                  <a:pt x="795314" y="358390"/>
                  <a:pt x="794909" y="361051"/>
                  <a:pt x="790166" y="362960"/>
                </a:cubicBezTo>
                <a:cubicBezTo>
                  <a:pt x="775358" y="369091"/>
                  <a:pt x="754592" y="384709"/>
                  <a:pt x="755459" y="396914"/>
                </a:cubicBezTo>
                <a:cubicBezTo>
                  <a:pt x="756003" y="400026"/>
                  <a:pt x="754320" y="403098"/>
                  <a:pt x="751410" y="404318"/>
                </a:cubicBezTo>
                <a:cubicBezTo>
                  <a:pt x="748425" y="405348"/>
                  <a:pt x="745308" y="405932"/>
                  <a:pt x="742155" y="406054"/>
                </a:cubicBezTo>
                <a:cubicBezTo>
                  <a:pt x="735792" y="406632"/>
                  <a:pt x="729140" y="407211"/>
                  <a:pt x="727578" y="413111"/>
                </a:cubicBezTo>
                <a:lnTo>
                  <a:pt x="727115" y="414672"/>
                </a:lnTo>
                <a:cubicBezTo>
                  <a:pt x="724975" y="422655"/>
                  <a:pt x="722777" y="430927"/>
                  <a:pt x="715547" y="430927"/>
                </a:cubicBezTo>
                <a:cubicBezTo>
                  <a:pt x="710977" y="430927"/>
                  <a:pt x="704903" y="427687"/>
                  <a:pt x="696921" y="420977"/>
                </a:cubicBezTo>
                <a:cubicBezTo>
                  <a:pt x="688747" y="413915"/>
                  <a:pt x="681500" y="405851"/>
                  <a:pt x="675345" y="396972"/>
                </a:cubicBezTo>
                <a:cubicBezTo>
                  <a:pt x="669213" y="388585"/>
                  <a:pt x="665107" y="383032"/>
                  <a:pt x="657587" y="382395"/>
                </a:cubicBezTo>
                <a:cubicBezTo>
                  <a:pt x="651016" y="381013"/>
                  <a:pt x="644988" y="377762"/>
                  <a:pt x="640234" y="373025"/>
                </a:cubicBezTo>
                <a:cubicBezTo>
                  <a:pt x="636497" y="369056"/>
                  <a:pt x="631626" y="366332"/>
                  <a:pt x="626293" y="365215"/>
                </a:cubicBezTo>
                <a:cubicBezTo>
                  <a:pt x="623650" y="365349"/>
                  <a:pt x="621191" y="366638"/>
                  <a:pt x="619583" y="368744"/>
                </a:cubicBezTo>
                <a:cubicBezTo>
                  <a:pt x="615522" y="373059"/>
                  <a:pt x="614661" y="379480"/>
                  <a:pt x="617443" y="384709"/>
                </a:cubicBezTo>
                <a:cubicBezTo>
                  <a:pt x="619178" y="389857"/>
                  <a:pt x="620971" y="395121"/>
                  <a:pt x="611659" y="399286"/>
                </a:cubicBezTo>
                <a:cubicBezTo>
                  <a:pt x="609576" y="400049"/>
                  <a:pt x="608454" y="402311"/>
                  <a:pt x="609113" y="404434"/>
                </a:cubicBezTo>
                <a:cubicBezTo>
                  <a:pt x="611716" y="416003"/>
                  <a:pt x="642374" y="438273"/>
                  <a:pt x="656025" y="438273"/>
                </a:cubicBezTo>
                <a:cubicBezTo>
                  <a:pt x="674014" y="438273"/>
                  <a:pt x="684947" y="460832"/>
                  <a:pt x="684947" y="477029"/>
                </a:cubicBezTo>
                <a:cubicBezTo>
                  <a:pt x="684947" y="482813"/>
                  <a:pt x="689806" y="485358"/>
                  <a:pt x="695012" y="487961"/>
                </a:cubicBezTo>
                <a:cubicBezTo>
                  <a:pt x="699292" y="490101"/>
                  <a:pt x="703342" y="492126"/>
                  <a:pt x="704267" y="496233"/>
                </a:cubicBezTo>
                <a:cubicBezTo>
                  <a:pt x="705193" y="500340"/>
                  <a:pt x="703457" y="503753"/>
                  <a:pt x="699235" y="509190"/>
                </a:cubicBezTo>
                <a:cubicBezTo>
                  <a:pt x="692265" y="517988"/>
                  <a:pt x="681534" y="522968"/>
                  <a:pt x="670312" y="522610"/>
                </a:cubicBezTo>
                <a:lnTo>
                  <a:pt x="670312" y="522610"/>
                </a:lnTo>
                <a:cubicBezTo>
                  <a:pt x="653335" y="521731"/>
                  <a:pt x="637098" y="515379"/>
                  <a:pt x="624037" y="504505"/>
                </a:cubicBezTo>
                <a:cubicBezTo>
                  <a:pt x="613561" y="496777"/>
                  <a:pt x="600899" y="492583"/>
                  <a:pt x="587884" y="492531"/>
                </a:cubicBezTo>
                <a:cubicBezTo>
                  <a:pt x="585166" y="492323"/>
                  <a:pt x="582436" y="492739"/>
                  <a:pt x="579902" y="493746"/>
                </a:cubicBezTo>
                <a:cubicBezTo>
                  <a:pt x="581117" y="494486"/>
                  <a:pt x="582447" y="495012"/>
                  <a:pt x="583835" y="495307"/>
                </a:cubicBezTo>
                <a:cubicBezTo>
                  <a:pt x="599511" y="499472"/>
                  <a:pt x="649836" y="541930"/>
                  <a:pt x="656430" y="562002"/>
                </a:cubicBezTo>
                <a:cubicBezTo>
                  <a:pt x="657627" y="564506"/>
                  <a:pt x="657408" y="567457"/>
                  <a:pt x="655851" y="569753"/>
                </a:cubicBezTo>
                <a:cubicBezTo>
                  <a:pt x="653636" y="571604"/>
                  <a:pt x="650715" y="572385"/>
                  <a:pt x="647869" y="571893"/>
                </a:cubicBezTo>
                <a:close/>
                <a:moveTo>
                  <a:pt x="429680" y="446255"/>
                </a:moveTo>
                <a:cubicBezTo>
                  <a:pt x="438420" y="446736"/>
                  <a:pt x="447085" y="448130"/>
                  <a:pt x="455536" y="450420"/>
                </a:cubicBezTo>
                <a:lnTo>
                  <a:pt x="458024" y="450999"/>
                </a:lnTo>
                <a:cubicBezTo>
                  <a:pt x="464664" y="453150"/>
                  <a:pt x="469980" y="458189"/>
                  <a:pt x="472485" y="464708"/>
                </a:cubicBezTo>
                <a:cubicBezTo>
                  <a:pt x="476187" y="471360"/>
                  <a:pt x="479658" y="477665"/>
                  <a:pt x="489434" y="478879"/>
                </a:cubicBezTo>
                <a:cubicBezTo>
                  <a:pt x="501002" y="480326"/>
                  <a:pt x="501002" y="487903"/>
                  <a:pt x="501002" y="495886"/>
                </a:cubicBezTo>
                <a:cubicBezTo>
                  <a:pt x="500106" y="502463"/>
                  <a:pt x="501876" y="509132"/>
                  <a:pt x="505919" y="514396"/>
                </a:cubicBezTo>
                <a:cubicBezTo>
                  <a:pt x="511703" y="520585"/>
                  <a:pt x="523561" y="522147"/>
                  <a:pt x="536229" y="523767"/>
                </a:cubicBezTo>
                <a:cubicBezTo>
                  <a:pt x="548897" y="525386"/>
                  <a:pt x="563590" y="527237"/>
                  <a:pt x="571283" y="534931"/>
                </a:cubicBezTo>
                <a:cubicBezTo>
                  <a:pt x="582852" y="546499"/>
                  <a:pt x="628722" y="569637"/>
                  <a:pt x="648042" y="569637"/>
                </a:cubicBezTo>
                <a:cubicBezTo>
                  <a:pt x="650339" y="569938"/>
                  <a:pt x="652653" y="569244"/>
                  <a:pt x="654405" y="567728"/>
                </a:cubicBezTo>
                <a:cubicBezTo>
                  <a:pt x="655383" y="565924"/>
                  <a:pt x="655383" y="563749"/>
                  <a:pt x="654405" y="561944"/>
                </a:cubicBezTo>
                <a:cubicBezTo>
                  <a:pt x="648621" y="543897"/>
                  <a:pt x="599569" y="500976"/>
                  <a:pt x="583373" y="496696"/>
                </a:cubicBezTo>
                <a:cubicBezTo>
                  <a:pt x="579150" y="495539"/>
                  <a:pt x="577588" y="494324"/>
                  <a:pt x="577588" y="492646"/>
                </a:cubicBezTo>
                <a:cubicBezTo>
                  <a:pt x="577993" y="489870"/>
                  <a:pt x="584298" y="489465"/>
                  <a:pt x="588000" y="489465"/>
                </a:cubicBezTo>
                <a:cubicBezTo>
                  <a:pt x="601524" y="489534"/>
                  <a:pt x="614672" y="493913"/>
                  <a:pt x="625541" y="501959"/>
                </a:cubicBezTo>
                <a:cubicBezTo>
                  <a:pt x="638255" y="512406"/>
                  <a:pt x="653995" y="518491"/>
                  <a:pt x="670428" y="519313"/>
                </a:cubicBezTo>
                <a:lnTo>
                  <a:pt x="670428" y="519313"/>
                </a:lnTo>
                <a:cubicBezTo>
                  <a:pt x="681048" y="519752"/>
                  <a:pt x="691235" y="515084"/>
                  <a:pt x="697846" y="506760"/>
                </a:cubicBezTo>
                <a:cubicBezTo>
                  <a:pt x="701548" y="501959"/>
                  <a:pt x="703110" y="498315"/>
                  <a:pt x="702474" y="495712"/>
                </a:cubicBezTo>
                <a:cubicBezTo>
                  <a:pt x="701838" y="493109"/>
                  <a:pt x="698193" y="490853"/>
                  <a:pt x="694376" y="488945"/>
                </a:cubicBezTo>
                <a:cubicBezTo>
                  <a:pt x="689112" y="486284"/>
                  <a:pt x="682807" y="483160"/>
                  <a:pt x="682807" y="475987"/>
                </a:cubicBezTo>
                <a:cubicBezTo>
                  <a:pt x="682807" y="461121"/>
                  <a:pt x="672395" y="439488"/>
                  <a:pt x="656083" y="439488"/>
                </a:cubicBezTo>
                <a:cubicBezTo>
                  <a:pt x="641448" y="439488"/>
                  <a:pt x="609807" y="416350"/>
                  <a:pt x="606973" y="403856"/>
                </a:cubicBezTo>
                <a:cubicBezTo>
                  <a:pt x="606065" y="400703"/>
                  <a:pt x="607725" y="397389"/>
                  <a:pt x="610791" y="396220"/>
                </a:cubicBezTo>
                <a:cubicBezTo>
                  <a:pt x="617905" y="392923"/>
                  <a:pt x="616575" y="389510"/>
                  <a:pt x="615071" y="384362"/>
                </a:cubicBezTo>
                <a:cubicBezTo>
                  <a:pt x="612011" y="378335"/>
                  <a:pt x="613081" y="371041"/>
                  <a:pt x="617732" y="366141"/>
                </a:cubicBezTo>
                <a:cubicBezTo>
                  <a:pt x="619930" y="363723"/>
                  <a:pt x="623088" y="362410"/>
                  <a:pt x="626351" y="362555"/>
                </a:cubicBezTo>
                <a:cubicBezTo>
                  <a:pt x="632228" y="363613"/>
                  <a:pt x="637613" y="366511"/>
                  <a:pt x="641737" y="370826"/>
                </a:cubicBezTo>
                <a:cubicBezTo>
                  <a:pt x="646111" y="375257"/>
                  <a:pt x="651646" y="378364"/>
                  <a:pt x="657702" y="379792"/>
                </a:cubicBezTo>
                <a:cubicBezTo>
                  <a:pt x="666264" y="380486"/>
                  <a:pt x="670833" y="386676"/>
                  <a:pt x="677138" y="395237"/>
                </a:cubicBezTo>
                <a:cubicBezTo>
                  <a:pt x="683171" y="403965"/>
                  <a:pt x="690286" y="411896"/>
                  <a:pt x="698309" y="418837"/>
                </a:cubicBezTo>
                <a:cubicBezTo>
                  <a:pt x="702989" y="423690"/>
                  <a:pt x="709045" y="426982"/>
                  <a:pt x="715662" y="428266"/>
                </a:cubicBezTo>
                <a:cubicBezTo>
                  <a:pt x="721447" y="428266"/>
                  <a:pt x="723182" y="421498"/>
                  <a:pt x="725322" y="413689"/>
                </a:cubicBezTo>
                <a:lnTo>
                  <a:pt x="725727" y="412069"/>
                </a:lnTo>
                <a:cubicBezTo>
                  <a:pt x="727752" y="404723"/>
                  <a:pt x="735503" y="404029"/>
                  <a:pt x="742329" y="403393"/>
                </a:cubicBezTo>
                <a:cubicBezTo>
                  <a:pt x="745227" y="403312"/>
                  <a:pt x="748096" y="402785"/>
                  <a:pt x="750832" y="401831"/>
                </a:cubicBezTo>
                <a:cubicBezTo>
                  <a:pt x="752880" y="401050"/>
                  <a:pt x="754042" y="398881"/>
                  <a:pt x="753550" y="396741"/>
                </a:cubicBezTo>
                <a:cubicBezTo>
                  <a:pt x="752278" y="382685"/>
                  <a:pt x="774201" y="366777"/>
                  <a:pt x="789414" y="360472"/>
                </a:cubicBezTo>
                <a:cubicBezTo>
                  <a:pt x="791959" y="359373"/>
                  <a:pt x="793116" y="358043"/>
                  <a:pt x="792827" y="356539"/>
                </a:cubicBezTo>
                <a:cubicBezTo>
                  <a:pt x="791670" y="350754"/>
                  <a:pt x="772986" y="342425"/>
                  <a:pt x="758120" y="343235"/>
                </a:cubicBezTo>
                <a:lnTo>
                  <a:pt x="755633" y="343235"/>
                </a:lnTo>
                <a:cubicBezTo>
                  <a:pt x="748790" y="343790"/>
                  <a:pt x="742132" y="340851"/>
                  <a:pt x="737932" y="335426"/>
                </a:cubicBezTo>
                <a:cubicBezTo>
                  <a:pt x="735156" y="331273"/>
                  <a:pt x="733739" y="326362"/>
                  <a:pt x="733884" y="321370"/>
                </a:cubicBezTo>
                <a:cubicBezTo>
                  <a:pt x="733884" y="314660"/>
                  <a:pt x="704209" y="296670"/>
                  <a:pt x="689922" y="296670"/>
                </a:cubicBezTo>
                <a:cubicBezTo>
                  <a:pt x="688886" y="296641"/>
                  <a:pt x="687851" y="296774"/>
                  <a:pt x="686856" y="297075"/>
                </a:cubicBezTo>
                <a:cubicBezTo>
                  <a:pt x="685687" y="297382"/>
                  <a:pt x="684479" y="297538"/>
                  <a:pt x="683270" y="297538"/>
                </a:cubicBezTo>
                <a:cubicBezTo>
                  <a:pt x="675310" y="296369"/>
                  <a:pt x="667698" y="293512"/>
                  <a:pt x="660942" y="289150"/>
                </a:cubicBezTo>
                <a:cubicBezTo>
                  <a:pt x="653867" y="284714"/>
                  <a:pt x="646018" y="281648"/>
                  <a:pt x="637804" y="280127"/>
                </a:cubicBezTo>
                <a:cubicBezTo>
                  <a:pt x="625344" y="279028"/>
                  <a:pt x="613741" y="273336"/>
                  <a:pt x="605238" y="264162"/>
                </a:cubicBezTo>
                <a:cubicBezTo>
                  <a:pt x="601490" y="259875"/>
                  <a:pt x="599743" y="254195"/>
                  <a:pt x="600437" y="248544"/>
                </a:cubicBezTo>
                <a:cubicBezTo>
                  <a:pt x="600772" y="243893"/>
                  <a:pt x="604821" y="240393"/>
                  <a:pt x="609472" y="240729"/>
                </a:cubicBezTo>
                <a:cubicBezTo>
                  <a:pt x="609663" y="240746"/>
                  <a:pt x="609848" y="240764"/>
                  <a:pt x="610039" y="240793"/>
                </a:cubicBezTo>
                <a:cubicBezTo>
                  <a:pt x="613510" y="240960"/>
                  <a:pt x="616951" y="241446"/>
                  <a:pt x="620335" y="242239"/>
                </a:cubicBezTo>
                <a:cubicBezTo>
                  <a:pt x="623679" y="243025"/>
                  <a:pt x="627086" y="243511"/>
                  <a:pt x="630515" y="243685"/>
                </a:cubicBezTo>
                <a:cubicBezTo>
                  <a:pt x="634565" y="243685"/>
                  <a:pt x="636879" y="242470"/>
                  <a:pt x="638093" y="239751"/>
                </a:cubicBezTo>
                <a:cubicBezTo>
                  <a:pt x="638689" y="238652"/>
                  <a:pt x="638689" y="237322"/>
                  <a:pt x="638093" y="236223"/>
                </a:cubicBezTo>
                <a:cubicBezTo>
                  <a:pt x="636531" y="233388"/>
                  <a:pt x="629532" y="232579"/>
                  <a:pt x="623285" y="231827"/>
                </a:cubicBezTo>
                <a:cubicBezTo>
                  <a:pt x="614898" y="230843"/>
                  <a:pt x="606915" y="229860"/>
                  <a:pt x="606279" y="224596"/>
                </a:cubicBezTo>
                <a:cubicBezTo>
                  <a:pt x="605411" y="217713"/>
                  <a:pt x="609807" y="216498"/>
                  <a:pt x="614088" y="215283"/>
                </a:cubicBezTo>
                <a:cubicBezTo>
                  <a:pt x="617107" y="214658"/>
                  <a:pt x="619953" y="213374"/>
                  <a:pt x="622417" y="211523"/>
                </a:cubicBezTo>
                <a:cubicBezTo>
                  <a:pt x="623626" y="210598"/>
                  <a:pt x="624269" y="209105"/>
                  <a:pt x="624095" y="207590"/>
                </a:cubicBezTo>
                <a:cubicBezTo>
                  <a:pt x="623574" y="201805"/>
                  <a:pt x="614204" y="193823"/>
                  <a:pt x="608072" y="190237"/>
                </a:cubicBezTo>
                <a:cubicBezTo>
                  <a:pt x="607233" y="189716"/>
                  <a:pt x="606279" y="189415"/>
                  <a:pt x="605295" y="189369"/>
                </a:cubicBezTo>
                <a:cubicBezTo>
                  <a:pt x="602982" y="189369"/>
                  <a:pt x="601015" y="191567"/>
                  <a:pt x="598933" y="193939"/>
                </a:cubicBezTo>
                <a:cubicBezTo>
                  <a:pt x="596758" y="197317"/>
                  <a:pt x="593200" y="199561"/>
                  <a:pt x="589215" y="200070"/>
                </a:cubicBezTo>
                <a:cubicBezTo>
                  <a:pt x="587416" y="200267"/>
                  <a:pt x="585669" y="199382"/>
                  <a:pt x="584761" y="197814"/>
                </a:cubicBezTo>
                <a:cubicBezTo>
                  <a:pt x="582158" y="192724"/>
                  <a:pt x="589793" y="181213"/>
                  <a:pt x="593148" y="176470"/>
                </a:cubicBezTo>
                <a:cubicBezTo>
                  <a:pt x="593698" y="175689"/>
                  <a:pt x="593698" y="174648"/>
                  <a:pt x="593148" y="173867"/>
                </a:cubicBezTo>
                <a:cubicBezTo>
                  <a:pt x="590545" y="168776"/>
                  <a:pt x="574407" y="163628"/>
                  <a:pt x="561218" y="163628"/>
                </a:cubicBezTo>
                <a:cubicBezTo>
                  <a:pt x="558048" y="163547"/>
                  <a:pt x="554890" y="163958"/>
                  <a:pt x="551847" y="164843"/>
                </a:cubicBezTo>
                <a:cubicBezTo>
                  <a:pt x="543576" y="167619"/>
                  <a:pt x="537271" y="166347"/>
                  <a:pt x="533800" y="161372"/>
                </a:cubicBezTo>
                <a:cubicBezTo>
                  <a:pt x="531793" y="158093"/>
                  <a:pt x="530804" y="154286"/>
                  <a:pt x="530966" y="150440"/>
                </a:cubicBezTo>
                <a:cubicBezTo>
                  <a:pt x="530966" y="149630"/>
                  <a:pt x="530966" y="147490"/>
                  <a:pt x="526338" y="147490"/>
                </a:cubicBezTo>
                <a:cubicBezTo>
                  <a:pt x="515926" y="148768"/>
                  <a:pt x="505989" y="152603"/>
                  <a:pt x="497416" y="158654"/>
                </a:cubicBezTo>
                <a:cubicBezTo>
                  <a:pt x="495553" y="160077"/>
                  <a:pt x="493280" y="160869"/>
                  <a:pt x="490938" y="160910"/>
                </a:cubicBezTo>
                <a:cubicBezTo>
                  <a:pt x="486165" y="161112"/>
                  <a:pt x="481931" y="157873"/>
                  <a:pt x="480872" y="153216"/>
                </a:cubicBezTo>
                <a:cubicBezTo>
                  <a:pt x="480872" y="152175"/>
                  <a:pt x="480872" y="148704"/>
                  <a:pt x="486657" y="148126"/>
                </a:cubicBezTo>
                <a:cubicBezTo>
                  <a:pt x="494790" y="147374"/>
                  <a:pt x="502252" y="143319"/>
                  <a:pt x="507307" y="136904"/>
                </a:cubicBezTo>
                <a:cubicBezTo>
                  <a:pt x="509187" y="134249"/>
                  <a:pt x="509702" y="130859"/>
                  <a:pt x="508695" y="127765"/>
                </a:cubicBezTo>
                <a:cubicBezTo>
                  <a:pt x="507192" y="123253"/>
                  <a:pt x="499556" y="120129"/>
                  <a:pt x="490070" y="120129"/>
                </a:cubicBezTo>
                <a:cubicBezTo>
                  <a:pt x="482550" y="120129"/>
                  <a:pt x="472716" y="122443"/>
                  <a:pt x="469593" y="129095"/>
                </a:cubicBezTo>
                <a:cubicBezTo>
                  <a:pt x="468656" y="131663"/>
                  <a:pt x="466197" y="133358"/>
                  <a:pt x="463461" y="133318"/>
                </a:cubicBezTo>
                <a:cubicBezTo>
                  <a:pt x="458834" y="133318"/>
                  <a:pt x="452240" y="128979"/>
                  <a:pt x="446108" y="121749"/>
                </a:cubicBezTo>
                <a:cubicBezTo>
                  <a:pt x="441041" y="116670"/>
                  <a:pt x="437582" y="110215"/>
                  <a:pt x="436159" y="103181"/>
                </a:cubicBezTo>
                <a:cubicBezTo>
                  <a:pt x="436159" y="99479"/>
                  <a:pt x="429333" y="98611"/>
                  <a:pt x="422103" y="97801"/>
                </a:cubicBezTo>
                <a:cubicBezTo>
                  <a:pt x="414872" y="96992"/>
                  <a:pt x="406369" y="95892"/>
                  <a:pt x="403187" y="91265"/>
                </a:cubicBezTo>
                <a:cubicBezTo>
                  <a:pt x="401770" y="88934"/>
                  <a:pt x="401452" y="86099"/>
                  <a:pt x="402320" y="83514"/>
                </a:cubicBezTo>
                <a:cubicBezTo>
                  <a:pt x="403020" y="81055"/>
                  <a:pt x="402459" y="78412"/>
                  <a:pt x="400816" y="76457"/>
                </a:cubicBezTo>
                <a:cubicBezTo>
                  <a:pt x="392371" y="65466"/>
                  <a:pt x="356623" y="61880"/>
                  <a:pt x="345285" y="61880"/>
                </a:cubicBezTo>
                <a:cubicBezTo>
                  <a:pt x="335342" y="62198"/>
                  <a:pt x="325931" y="66467"/>
                  <a:pt x="319140" y="73738"/>
                </a:cubicBezTo>
                <a:cubicBezTo>
                  <a:pt x="316635" y="76353"/>
                  <a:pt x="315501" y="79997"/>
                  <a:pt x="316074" y="83572"/>
                </a:cubicBezTo>
                <a:cubicBezTo>
                  <a:pt x="316745" y="85752"/>
                  <a:pt x="316381" y="88112"/>
                  <a:pt x="315091" y="89992"/>
                </a:cubicBezTo>
                <a:cubicBezTo>
                  <a:pt x="314026" y="91236"/>
                  <a:pt x="312447" y="91919"/>
                  <a:pt x="310810" y="91843"/>
                </a:cubicBezTo>
                <a:cubicBezTo>
                  <a:pt x="303609" y="90756"/>
                  <a:pt x="297957" y="85105"/>
                  <a:pt x="296870" y="77903"/>
                </a:cubicBezTo>
                <a:cubicBezTo>
                  <a:pt x="296760" y="76312"/>
                  <a:pt x="295377" y="75109"/>
                  <a:pt x="293781" y="75219"/>
                </a:cubicBezTo>
                <a:cubicBezTo>
                  <a:pt x="293712" y="75225"/>
                  <a:pt x="293642" y="75231"/>
                  <a:pt x="293572" y="75242"/>
                </a:cubicBezTo>
                <a:cubicBezTo>
                  <a:pt x="288714" y="75242"/>
                  <a:pt x="279806" y="80390"/>
                  <a:pt x="271881" y="84902"/>
                </a:cubicBezTo>
                <a:cubicBezTo>
                  <a:pt x="261527" y="90687"/>
                  <a:pt x="253197" y="95777"/>
                  <a:pt x="250132" y="92017"/>
                </a:cubicBezTo>
                <a:cubicBezTo>
                  <a:pt x="247066" y="88257"/>
                  <a:pt x="249322" y="80448"/>
                  <a:pt x="251346" y="70788"/>
                </a:cubicBezTo>
                <a:cubicBezTo>
                  <a:pt x="253371" y="61128"/>
                  <a:pt x="255453" y="51410"/>
                  <a:pt x="253371" y="46667"/>
                </a:cubicBezTo>
                <a:cubicBezTo>
                  <a:pt x="251456" y="42548"/>
                  <a:pt x="249067" y="38667"/>
                  <a:pt x="246256" y="35098"/>
                </a:cubicBezTo>
                <a:cubicBezTo>
                  <a:pt x="241143" y="28568"/>
                  <a:pt x="236995" y="21343"/>
                  <a:pt x="233935" y="13638"/>
                </a:cubicBezTo>
                <a:cubicBezTo>
                  <a:pt x="230349" y="4614"/>
                  <a:pt x="219416" y="3284"/>
                  <a:pt x="213227" y="3284"/>
                </a:cubicBezTo>
                <a:cubicBezTo>
                  <a:pt x="201658" y="3284"/>
                  <a:pt x="187833" y="7969"/>
                  <a:pt x="182512" y="13985"/>
                </a:cubicBezTo>
                <a:cubicBezTo>
                  <a:pt x="177942" y="19133"/>
                  <a:pt x="169150" y="20868"/>
                  <a:pt x="159027" y="22893"/>
                </a:cubicBezTo>
                <a:cubicBezTo>
                  <a:pt x="147053" y="25207"/>
                  <a:pt x="133460" y="27925"/>
                  <a:pt x="124320" y="37065"/>
                </a:cubicBezTo>
                <a:cubicBezTo>
                  <a:pt x="120051" y="40871"/>
                  <a:pt x="117628" y="46332"/>
                  <a:pt x="117668" y="52047"/>
                </a:cubicBezTo>
                <a:cubicBezTo>
                  <a:pt x="118015" y="59393"/>
                  <a:pt x="123453" y="67433"/>
                  <a:pt x="132766" y="75184"/>
                </a:cubicBezTo>
                <a:cubicBezTo>
                  <a:pt x="133697" y="75849"/>
                  <a:pt x="134235" y="76931"/>
                  <a:pt x="134212" y="78077"/>
                </a:cubicBezTo>
                <a:cubicBezTo>
                  <a:pt x="134212" y="80969"/>
                  <a:pt x="130336" y="83861"/>
                  <a:pt x="125998" y="86869"/>
                </a:cubicBezTo>
                <a:cubicBezTo>
                  <a:pt x="121659" y="89877"/>
                  <a:pt x="116511" y="93810"/>
                  <a:pt x="116396" y="97107"/>
                </a:cubicBezTo>
                <a:cubicBezTo>
                  <a:pt x="116384" y="98519"/>
                  <a:pt x="117078" y="99843"/>
                  <a:pt x="118247" y="100636"/>
                </a:cubicBezTo>
                <a:cubicBezTo>
                  <a:pt x="122313" y="103858"/>
                  <a:pt x="127062" y="106114"/>
                  <a:pt x="132129" y="107230"/>
                </a:cubicBezTo>
                <a:cubicBezTo>
                  <a:pt x="139707" y="109486"/>
                  <a:pt x="146879" y="111626"/>
                  <a:pt x="147689" y="121980"/>
                </a:cubicBezTo>
                <a:cubicBezTo>
                  <a:pt x="147909" y="123750"/>
                  <a:pt x="147389" y="125532"/>
                  <a:pt x="146243" y="126897"/>
                </a:cubicBezTo>
                <a:cubicBezTo>
                  <a:pt x="144682" y="128343"/>
                  <a:pt x="142576" y="129055"/>
                  <a:pt x="140459" y="128864"/>
                </a:cubicBezTo>
                <a:cubicBezTo>
                  <a:pt x="128196" y="128864"/>
                  <a:pt x="104075" y="114461"/>
                  <a:pt x="99505" y="104396"/>
                </a:cubicBezTo>
                <a:cubicBezTo>
                  <a:pt x="97209" y="98617"/>
                  <a:pt x="96410" y="92347"/>
                  <a:pt x="97191" y="86175"/>
                </a:cubicBezTo>
                <a:cubicBezTo>
                  <a:pt x="98383" y="80367"/>
                  <a:pt x="97081" y="74322"/>
                  <a:pt x="93605" y="69515"/>
                </a:cubicBezTo>
                <a:cubicBezTo>
                  <a:pt x="84408" y="58988"/>
                  <a:pt x="92737" y="45799"/>
                  <a:pt x="108182" y="29024"/>
                </a:cubicBezTo>
                <a:cubicBezTo>
                  <a:pt x="113781" y="22986"/>
                  <a:pt x="120399" y="17970"/>
                  <a:pt x="127733" y="14216"/>
                </a:cubicBezTo>
                <a:cubicBezTo>
                  <a:pt x="133055" y="11324"/>
                  <a:pt x="135716" y="9878"/>
                  <a:pt x="135716" y="5540"/>
                </a:cubicBezTo>
                <a:cubicBezTo>
                  <a:pt x="135716" y="3747"/>
                  <a:pt x="129931" y="1201"/>
                  <a:pt x="117032" y="1201"/>
                </a:cubicBezTo>
                <a:cubicBezTo>
                  <a:pt x="91060" y="1201"/>
                  <a:pt x="53982" y="11035"/>
                  <a:pt x="29803" y="33016"/>
                </a:cubicBezTo>
                <a:cubicBezTo>
                  <a:pt x="4293" y="56153"/>
                  <a:pt x="-4615" y="89356"/>
                  <a:pt x="4698" y="126376"/>
                </a:cubicBezTo>
                <a:cubicBezTo>
                  <a:pt x="5913" y="131235"/>
                  <a:pt x="18523" y="132161"/>
                  <a:pt x="31943" y="132739"/>
                </a:cubicBezTo>
                <a:cubicBezTo>
                  <a:pt x="42095" y="132942"/>
                  <a:pt x="52194" y="134203"/>
                  <a:pt x="62080" y="136499"/>
                </a:cubicBezTo>
                <a:cubicBezTo>
                  <a:pt x="72665" y="139623"/>
                  <a:pt x="74458" y="143151"/>
                  <a:pt x="74169" y="145523"/>
                </a:cubicBezTo>
                <a:cubicBezTo>
                  <a:pt x="73649" y="148993"/>
                  <a:pt x="68385" y="151307"/>
                  <a:pt x="61096" y="151307"/>
                </a:cubicBezTo>
                <a:cubicBezTo>
                  <a:pt x="59159" y="151325"/>
                  <a:pt x="57227" y="151192"/>
                  <a:pt x="55312" y="150902"/>
                </a:cubicBezTo>
                <a:lnTo>
                  <a:pt x="52188" y="150382"/>
                </a:lnTo>
                <a:cubicBezTo>
                  <a:pt x="43986" y="148936"/>
                  <a:pt x="35697" y="148045"/>
                  <a:pt x="27373" y="147721"/>
                </a:cubicBezTo>
                <a:cubicBezTo>
                  <a:pt x="21589" y="147721"/>
                  <a:pt x="17771" y="148589"/>
                  <a:pt x="16209" y="150382"/>
                </a:cubicBezTo>
                <a:cubicBezTo>
                  <a:pt x="15492" y="151157"/>
                  <a:pt x="15191" y="152239"/>
                  <a:pt x="15400" y="153274"/>
                </a:cubicBezTo>
                <a:cubicBezTo>
                  <a:pt x="16383" y="162008"/>
                  <a:pt x="41950" y="179651"/>
                  <a:pt x="61270" y="179651"/>
                </a:cubicBezTo>
                <a:cubicBezTo>
                  <a:pt x="63219" y="179651"/>
                  <a:pt x="65163" y="179420"/>
                  <a:pt x="67054" y="178957"/>
                </a:cubicBezTo>
                <a:cubicBezTo>
                  <a:pt x="72278" y="177389"/>
                  <a:pt x="77646" y="176342"/>
                  <a:pt x="83077" y="175833"/>
                </a:cubicBezTo>
                <a:cubicBezTo>
                  <a:pt x="88862" y="175833"/>
                  <a:pt x="91002" y="178841"/>
                  <a:pt x="96092" y="185436"/>
                </a:cubicBezTo>
                <a:cubicBezTo>
                  <a:pt x="101877" y="193187"/>
                  <a:pt x="116627" y="193187"/>
                  <a:pt x="132014" y="193187"/>
                </a:cubicBezTo>
                <a:lnTo>
                  <a:pt x="134674" y="193187"/>
                </a:lnTo>
                <a:cubicBezTo>
                  <a:pt x="139418" y="193187"/>
                  <a:pt x="145376" y="193187"/>
                  <a:pt x="151160" y="193476"/>
                </a:cubicBezTo>
                <a:cubicBezTo>
                  <a:pt x="165945" y="194702"/>
                  <a:pt x="180591" y="197201"/>
                  <a:pt x="194948" y="200938"/>
                </a:cubicBezTo>
                <a:cubicBezTo>
                  <a:pt x="200519" y="202361"/>
                  <a:pt x="206153" y="203500"/>
                  <a:pt x="211839" y="204351"/>
                </a:cubicBezTo>
                <a:cubicBezTo>
                  <a:pt x="222077" y="204958"/>
                  <a:pt x="231997" y="200666"/>
                  <a:pt x="238563" y="192782"/>
                </a:cubicBezTo>
                <a:cubicBezTo>
                  <a:pt x="239372" y="191451"/>
                  <a:pt x="241166" y="190873"/>
                  <a:pt x="244347" y="190873"/>
                </a:cubicBezTo>
                <a:cubicBezTo>
                  <a:pt x="253637" y="191683"/>
                  <a:pt x="262834" y="193325"/>
                  <a:pt x="271823" y="195790"/>
                </a:cubicBezTo>
                <a:cubicBezTo>
                  <a:pt x="281466" y="198520"/>
                  <a:pt x="291380" y="200168"/>
                  <a:pt x="301382" y="200706"/>
                </a:cubicBezTo>
                <a:cubicBezTo>
                  <a:pt x="303869" y="200706"/>
                  <a:pt x="307166" y="199781"/>
                  <a:pt x="307166" y="197409"/>
                </a:cubicBezTo>
                <a:cubicBezTo>
                  <a:pt x="307744" y="193996"/>
                  <a:pt x="302828" y="188328"/>
                  <a:pt x="297333" y="185840"/>
                </a:cubicBezTo>
                <a:cubicBezTo>
                  <a:pt x="293307" y="184001"/>
                  <a:pt x="291149" y="179559"/>
                  <a:pt x="292184" y="175255"/>
                </a:cubicBezTo>
                <a:cubicBezTo>
                  <a:pt x="292641" y="171715"/>
                  <a:pt x="295615" y="169037"/>
                  <a:pt x="299184" y="168950"/>
                </a:cubicBezTo>
                <a:cubicBezTo>
                  <a:pt x="301023" y="169013"/>
                  <a:pt x="302816" y="169551"/>
                  <a:pt x="304390" y="170512"/>
                </a:cubicBezTo>
                <a:cubicBezTo>
                  <a:pt x="307455" y="172189"/>
                  <a:pt x="311157" y="173693"/>
                  <a:pt x="315033" y="175313"/>
                </a:cubicBezTo>
                <a:cubicBezTo>
                  <a:pt x="324809" y="179304"/>
                  <a:pt x="334873" y="183469"/>
                  <a:pt x="337592" y="191683"/>
                </a:cubicBezTo>
                <a:cubicBezTo>
                  <a:pt x="338755" y="194934"/>
                  <a:pt x="341549" y="197328"/>
                  <a:pt x="344938" y="197988"/>
                </a:cubicBezTo>
                <a:cubicBezTo>
                  <a:pt x="348004" y="199087"/>
                  <a:pt x="351475" y="200359"/>
                  <a:pt x="352227" y="205218"/>
                </a:cubicBezTo>
                <a:cubicBezTo>
                  <a:pt x="352690" y="208689"/>
                  <a:pt x="362465" y="213259"/>
                  <a:pt x="371084" y="217308"/>
                </a:cubicBezTo>
                <a:cubicBezTo>
                  <a:pt x="382190" y="222571"/>
                  <a:pt x="392660" y="227488"/>
                  <a:pt x="393412" y="233157"/>
                </a:cubicBezTo>
                <a:cubicBezTo>
                  <a:pt x="394164" y="238826"/>
                  <a:pt x="385545" y="242123"/>
                  <a:pt x="377273" y="245594"/>
                </a:cubicBezTo>
                <a:cubicBezTo>
                  <a:pt x="371489" y="248023"/>
                  <a:pt x="365126" y="250742"/>
                  <a:pt x="364837" y="253113"/>
                </a:cubicBezTo>
                <a:cubicBezTo>
                  <a:pt x="364837" y="253807"/>
                  <a:pt x="365242" y="254559"/>
                  <a:pt x="366283" y="255427"/>
                </a:cubicBezTo>
                <a:cubicBezTo>
                  <a:pt x="367937" y="256694"/>
                  <a:pt x="369985" y="257348"/>
                  <a:pt x="372067" y="257278"/>
                </a:cubicBezTo>
                <a:cubicBezTo>
                  <a:pt x="378292" y="256434"/>
                  <a:pt x="384232" y="254160"/>
                  <a:pt x="389421" y="250626"/>
                </a:cubicBezTo>
                <a:cubicBezTo>
                  <a:pt x="395159" y="246860"/>
                  <a:pt x="401585" y="244286"/>
                  <a:pt x="408336" y="243048"/>
                </a:cubicBezTo>
                <a:cubicBezTo>
                  <a:pt x="416781" y="242354"/>
                  <a:pt x="420541" y="251378"/>
                  <a:pt x="423896" y="259245"/>
                </a:cubicBezTo>
                <a:cubicBezTo>
                  <a:pt x="426325" y="265029"/>
                  <a:pt x="428581" y="270177"/>
                  <a:pt x="431763" y="270177"/>
                </a:cubicBezTo>
                <a:cubicBezTo>
                  <a:pt x="432318" y="270166"/>
                  <a:pt x="432868" y="270050"/>
                  <a:pt x="433382" y="269830"/>
                </a:cubicBezTo>
                <a:cubicBezTo>
                  <a:pt x="435991" y="268604"/>
                  <a:pt x="438831" y="267950"/>
                  <a:pt x="441712" y="267922"/>
                </a:cubicBezTo>
                <a:cubicBezTo>
                  <a:pt x="453281" y="267922"/>
                  <a:pt x="463404" y="278970"/>
                  <a:pt x="475956" y="296844"/>
                </a:cubicBezTo>
                <a:cubicBezTo>
                  <a:pt x="486599" y="311883"/>
                  <a:pt x="481740" y="326286"/>
                  <a:pt x="478212" y="335889"/>
                </a:cubicBezTo>
                <a:cubicBezTo>
                  <a:pt x="476783" y="338786"/>
                  <a:pt x="476014" y="341968"/>
                  <a:pt x="475956" y="345201"/>
                </a:cubicBezTo>
                <a:cubicBezTo>
                  <a:pt x="476303" y="347284"/>
                  <a:pt x="480468" y="348614"/>
                  <a:pt x="486888" y="348614"/>
                </a:cubicBezTo>
                <a:cubicBezTo>
                  <a:pt x="498075" y="348429"/>
                  <a:pt x="509077" y="345762"/>
                  <a:pt x="519108" y="340805"/>
                </a:cubicBezTo>
                <a:cubicBezTo>
                  <a:pt x="521838" y="339301"/>
                  <a:pt x="524898" y="338503"/>
                  <a:pt x="528016" y="338491"/>
                </a:cubicBezTo>
                <a:cubicBezTo>
                  <a:pt x="538717" y="338491"/>
                  <a:pt x="548550" y="347862"/>
                  <a:pt x="556938" y="356192"/>
                </a:cubicBezTo>
                <a:cubicBezTo>
                  <a:pt x="558905" y="358043"/>
                  <a:pt x="560755" y="359894"/>
                  <a:pt x="562722" y="361514"/>
                </a:cubicBezTo>
                <a:cubicBezTo>
                  <a:pt x="564602" y="362971"/>
                  <a:pt x="565285" y="365499"/>
                  <a:pt x="564399" y="367703"/>
                </a:cubicBezTo>
                <a:cubicBezTo>
                  <a:pt x="560987" y="376437"/>
                  <a:pt x="535477" y="385635"/>
                  <a:pt x="525355" y="385635"/>
                </a:cubicBezTo>
                <a:cubicBezTo>
                  <a:pt x="522983" y="385635"/>
                  <a:pt x="521537" y="385114"/>
                  <a:pt x="520901" y="384073"/>
                </a:cubicBezTo>
                <a:cubicBezTo>
                  <a:pt x="520368" y="383205"/>
                  <a:pt x="520368" y="382106"/>
                  <a:pt x="520901" y="381238"/>
                </a:cubicBezTo>
                <a:cubicBezTo>
                  <a:pt x="521467" y="379347"/>
                  <a:pt x="521034" y="377299"/>
                  <a:pt x="519744" y="375801"/>
                </a:cubicBezTo>
                <a:cubicBezTo>
                  <a:pt x="513959" y="366893"/>
                  <a:pt x="494061" y="353994"/>
                  <a:pt x="471964" y="353994"/>
                </a:cubicBezTo>
                <a:cubicBezTo>
                  <a:pt x="465567" y="353982"/>
                  <a:pt x="459221" y="355122"/>
                  <a:pt x="453223" y="357349"/>
                </a:cubicBezTo>
                <a:cubicBezTo>
                  <a:pt x="443447" y="361051"/>
                  <a:pt x="437836" y="365505"/>
                  <a:pt x="435870" y="370884"/>
                </a:cubicBezTo>
                <a:cubicBezTo>
                  <a:pt x="433324" y="377999"/>
                  <a:pt x="437894" y="385808"/>
                  <a:pt x="441654" y="392692"/>
                </a:cubicBezTo>
                <a:cubicBezTo>
                  <a:pt x="443540" y="395613"/>
                  <a:pt x="445096" y="398736"/>
                  <a:pt x="446282" y="402005"/>
                </a:cubicBezTo>
                <a:cubicBezTo>
                  <a:pt x="447016" y="404498"/>
                  <a:pt x="446449" y="407187"/>
                  <a:pt x="444778" y="409177"/>
                </a:cubicBezTo>
                <a:cubicBezTo>
                  <a:pt x="439572" y="416176"/>
                  <a:pt x="424301" y="421093"/>
                  <a:pt x="407642" y="421093"/>
                </a:cubicBezTo>
                <a:cubicBezTo>
                  <a:pt x="398485" y="421099"/>
                  <a:pt x="389380" y="419630"/>
                  <a:pt x="380686" y="416755"/>
                </a:cubicBezTo>
                <a:cubicBezTo>
                  <a:pt x="375440" y="414782"/>
                  <a:pt x="369916" y="413631"/>
                  <a:pt x="364316" y="413342"/>
                </a:cubicBezTo>
                <a:cubicBezTo>
                  <a:pt x="360169" y="413030"/>
                  <a:pt x="356212" y="415124"/>
                  <a:pt x="354136" y="418721"/>
                </a:cubicBezTo>
                <a:cubicBezTo>
                  <a:pt x="352204" y="422088"/>
                  <a:pt x="348588" y="424130"/>
                  <a:pt x="344707" y="424043"/>
                </a:cubicBezTo>
                <a:cubicBezTo>
                  <a:pt x="336904" y="424917"/>
                  <a:pt x="330223" y="430036"/>
                  <a:pt x="327354" y="437347"/>
                </a:cubicBezTo>
                <a:cubicBezTo>
                  <a:pt x="324219" y="443496"/>
                  <a:pt x="325179" y="450941"/>
                  <a:pt x="329783" y="456089"/>
                </a:cubicBezTo>
                <a:cubicBezTo>
                  <a:pt x="334434" y="460479"/>
                  <a:pt x="340779" y="462596"/>
                  <a:pt x="347136" y="461873"/>
                </a:cubicBezTo>
                <a:cubicBezTo>
                  <a:pt x="353361" y="461677"/>
                  <a:pt x="359567" y="461035"/>
                  <a:pt x="365705" y="459964"/>
                </a:cubicBezTo>
                <a:cubicBezTo>
                  <a:pt x="378737" y="457310"/>
                  <a:pt x="392174" y="457310"/>
                  <a:pt x="405212" y="459964"/>
                </a:cubicBezTo>
                <a:cubicBezTo>
                  <a:pt x="407121" y="460358"/>
                  <a:pt x="409053" y="460606"/>
                  <a:pt x="410997" y="460716"/>
                </a:cubicBezTo>
                <a:cubicBezTo>
                  <a:pt x="413252" y="460716"/>
                  <a:pt x="414294" y="460138"/>
                  <a:pt x="415508" y="454180"/>
                </a:cubicBezTo>
                <a:cubicBezTo>
                  <a:pt x="416723" y="448222"/>
                  <a:pt x="421177" y="446255"/>
                  <a:pt x="429680" y="44625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7" name="Forma libre: forma 456">
            <a:extLst>
              <a:ext uri="{FF2B5EF4-FFF2-40B4-BE49-F238E27FC236}">
                <a16:creationId xmlns:a16="http://schemas.microsoft.com/office/drawing/2014/main" id="{D7021E72-F458-6753-4BDD-7724ACEAAAC8}"/>
              </a:ext>
            </a:extLst>
          </p:cNvPr>
          <p:cNvSpPr/>
          <p:nvPr/>
        </p:nvSpPr>
        <p:spPr>
          <a:xfrm>
            <a:off x="4050155" y="2220835"/>
            <a:ext cx="71742" cy="55587"/>
          </a:xfrm>
          <a:custGeom>
            <a:avLst/>
            <a:gdLst>
              <a:gd name="connsiteX0" fmla="*/ 24119 w 71742"/>
              <a:gd name="connsiteY0" fmla="*/ 55402 h 55587"/>
              <a:gd name="connsiteX1" fmla="*/ 24119 w 71742"/>
              <a:gd name="connsiteY1" fmla="*/ 55402 h 55587"/>
              <a:gd name="connsiteX2" fmla="*/ 3469 w 71742"/>
              <a:gd name="connsiteY2" fmla="*/ 44411 h 55587"/>
              <a:gd name="connsiteX3" fmla="*/ 3006 w 71742"/>
              <a:gd name="connsiteY3" fmla="*/ 19596 h 55587"/>
              <a:gd name="connsiteX4" fmla="*/ 28573 w 71742"/>
              <a:gd name="connsiteY4" fmla="*/ 334 h 55587"/>
              <a:gd name="connsiteX5" fmla="*/ 37192 w 71742"/>
              <a:gd name="connsiteY5" fmla="*/ -129 h 55587"/>
              <a:gd name="connsiteX6" fmla="*/ 64668 w 71742"/>
              <a:gd name="connsiteY6" fmla="*/ 9242 h 55587"/>
              <a:gd name="connsiteX7" fmla="*/ 70106 w 71742"/>
              <a:gd name="connsiteY7" fmla="*/ 39494 h 55587"/>
              <a:gd name="connsiteX8" fmla="*/ 60330 w 71742"/>
              <a:gd name="connsiteY8" fmla="*/ 47361 h 55587"/>
              <a:gd name="connsiteX9" fmla="*/ 48761 w 71742"/>
              <a:gd name="connsiteY9" fmla="*/ 50369 h 55587"/>
              <a:gd name="connsiteX10" fmla="*/ 24119 w 71742"/>
              <a:gd name="connsiteY10" fmla="*/ 55402 h 55587"/>
              <a:gd name="connsiteX11" fmla="*/ 37192 w 71742"/>
              <a:gd name="connsiteY11" fmla="*/ 2127 h 55587"/>
              <a:gd name="connsiteX12" fmla="*/ 28747 w 71742"/>
              <a:gd name="connsiteY12" fmla="*/ 2532 h 55587"/>
              <a:gd name="connsiteX13" fmla="*/ 5031 w 71742"/>
              <a:gd name="connsiteY13" fmla="*/ 20579 h 55587"/>
              <a:gd name="connsiteX14" fmla="*/ 5378 w 71742"/>
              <a:gd name="connsiteY14" fmla="*/ 43254 h 55587"/>
              <a:gd name="connsiteX15" fmla="*/ 24119 w 71742"/>
              <a:gd name="connsiteY15" fmla="*/ 53146 h 55587"/>
              <a:gd name="connsiteX16" fmla="*/ 24119 w 71742"/>
              <a:gd name="connsiteY16" fmla="*/ 53146 h 55587"/>
              <a:gd name="connsiteX17" fmla="*/ 48298 w 71742"/>
              <a:gd name="connsiteY17" fmla="*/ 48229 h 55587"/>
              <a:gd name="connsiteX18" fmla="*/ 59867 w 71742"/>
              <a:gd name="connsiteY18" fmla="*/ 45105 h 55587"/>
              <a:gd name="connsiteX19" fmla="*/ 67907 w 71742"/>
              <a:gd name="connsiteY19" fmla="*/ 38627 h 55587"/>
              <a:gd name="connsiteX20" fmla="*/ 62759 w 71742"/>
              <a:gd name="connsiteY20" fmla="*/ 10572 h 55587"/>
              <a:gd name="connsiteX21" fmla="*/ 37018 w 71742"/>
              <a:gd name="connsiteY21" fmla="*/ 2127 h 5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742" h="55587">
                <a:moveTo>
                  <a:pt x="24119" y="55402"/>
                </a:moveTo>
                <a:lnTo>
                  <a:pt x="24119" y="55402"/>
                </a:lnTo>
                <a:cubicBezTo>
                  <a:pt x="15697" y="56009"/>
                  <a:pt x="7668" y="51740"/>
                  <a:pt x="3469" y="44411"/>
                </a:cubicBezTo>
                <a:cubicBezTo>
                  <a:pt x="-1130" y="36822"/>
                  <a:pt x="-1309" y="27353"/>
                  <a:pt x="3006" y="19596"/>
                </a:cubicBezTo>
                <a:cubicBezTo>
                  <a:pt x="8160" y="9624"/>
                  <a:pt x="17566" y="2538"/>
                  <a:pt x="28573" y="334"/>
                </a:cubicBezTo>
                <a:cubicBezTo>
                  <a:pt x="31524" y="45"/>
                  <a:pt x="34358" y="-129"/>
                  <a:pt x="37192" y="-129"/>
                </a:cubicBezTo>
                <a:cubicBezTo>
                  <a:pt x="46679" y="-129"/>
                  <a:pt x="59173" y="1491"/>
                  <a:pt x="64668" y="9242"/>
                </a:cubicBezTo>
                <a:cubicBezTo>
                  <a:pt x="70163" y="16993"/>
                  <a:pt x="73865" y="30528"/>
                  <a:pt x="70106" y="39494"/>
                </a:cubicBezTo>
                <a:cubicBezTo>
                  <a:pt x="68526" y="43705"/>
                  <a:pt x="64778" y="46719"/>
                  <a:pt x="60330" y="47361"/>
                </a:cubicBezTo>
                <a:cubicBezTo>
                  <a:pt x="56414" y="48131"/>
                  <a:pt x="52556" y="49137"/>
                  <a:pt x="48761" y="50369"/>
                </a:cubicBezTo>
                <a:cubicBezTo>
                  <a:pt x="40825" y="53198"/>
                  <a:pt x="32530" y="54887"/>
                  <a:pt x="24119" y="55402"/>
                </a:cubicBezTo>
                <a:close/>
                <a:moveTo>
                  <a:pt x="37192" y="2127"/>
                </a:moveTo>
                <a:cubicBezTo>
                  <a:pt x="34473" y="2127"/>
                  <a:pt x="31408" y="2127"/>
                  <a:pt x="28747" y="2532"/>
                </a:cubicBezTo>
                <a:cubicBezTo>
                  <a:pt x="18531" y="4672"/>
                  <a:pt x="9820" y="11301"/>
                  <a:pt x="5031" y="20579"/>
                </a:cubicBezTo>
                <a:cubicBezTo>
                  <a:pt x="1086" y="27659"/>
                  <a:pt x="1219" y="36301"/>
                  <a:pt x="5378" y="43254"/>
                </a:cubicBezTo>
                <a:cubicBezTo>
                  <a:pt x="9213" y="49872"/>
                  <a:pt x="16495" y="53713"/>
                  <a:pt x="24119" y="53146"/>
                </a:cubicBezTo>
                <a:lnTo>
                  <a:pt x="24119" y="53146"/>
                </a:lnTo>
                <a:cubicBezTo>
                  <a:pt x="32368" y="52648"/>
                  <a:pt x="40507" y="50994"/>
                  <a:pt x="48298" y="48229"/>
                </a:cubicBezTo>
                <a:cubicBezTo>
                  <a:pt x="52093" y="46962"/>
                  <a:pt x="55951" y="45921"/>
                  <a:pt x="59867" y="45105"/>
                </a:cubicBezTo>
                <a:cubicBezTo>
                  <a:pt x="63546" y="44614"/>
                  <a:pt x="66646" y="42115"/>
                  <a:pt x="67907" y="38627"/>
                </a:cubicBezTo>
                <a:cubicBezTo>
                  <a:pt x="71320" y="30528"/>
                  <a:pt x="67907" y="17745"/>
                  <a:pt x="62759" y="10572"/>
                </a:cubicBezTo>
                <a:cubicBezTo>
                  <a:pt x="57611" y="3400"/>
                  <a:pt x="45985" y="2127"/>
                  <a:pt x="37018" y="212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8" name="Forma libre: forma 457">
            <a:extLst>
              <a:ext uri="{FF2B5EF4-FFF2-40B4-BE49-F238E27FC236}">
                <a16:creationId xmlns:a16="http://schemas.microsoft.com/office/drawing/2014/main" id="{64AE7349-AC53-E8AF-6F94-6C27350EB18C}"/>
              </a:ext>
            </a:extLst>
          </p:cNvPr>
          <p:cNvSpPr/>
          <p:nvPr/>
        </p:nvSpPr>
        <p:spPr>
          <a:xfrm>
            <a:off x="3523569" y="1765848"/>
            <a:ext cx="471576" cy="145115"/>
          </a:xfrm>
          <a:custGeom>
            <a:avLst/>
            <a:gdLst>
              <a:gd name="connsiteX0" fmla="*/ 316610 w 471576"/>
              <a:gd name="connsiteY0" fmla="*/ 144986 h 145115"/>
              <a:gd name="connsiteX1" fmla="*/ 312734 w 471576"/>
              <a:gd name="connsiteY1" fmla="*/ 144986 h 145115"/>
              <a:gd name="connsiteX2" fmla="*/ 220819 w 471576"/>
              <a:gd name="connsiteY2" fmla="*/ 127286 h 145115"/>
              <a:gd name="connsiteX3" fmla="*/ 217985 w 471576"/>
              <a:gd name="connsiteY3" fmla="*/ 124278 h 145115"/>
              <a:gd name="connsiteX4" fmla="*/ 208672 w 471576"/>
              <a:gd name="connsiteY4" fmla="*/ 131161 h 145115"/>
              <a:gd name="connsiteX5" fmla="*/ 203235 w 471576"/>
              <a:gd name="connsiteY5" fmla="*/ 136194 h 145115"/>
              <a:gd name="connsiteX6" fmla="*/ 187906 w 471576"/>
              <a:gd name="connsiteY6" fmla="*/ 141400 h 145115"/>
              <a:gd name="connsiteX7" fmla="*/ 157017 w 471576"/>
              <a:gd name="connsiteY7" fmla="*/ 130178 h 145115"/>
              <a:gd name="connsiteX8" fmla="*/ 147068 w 471576"/>
              <a:gd name="connsiteY8" fmla="*/ 127054 h 145115"/>
              <a:gd name="connsiteX9" fmla="*/ 143482 w 471576"/>
              <a:gd name="connsiteY9" fmla="*/ 127054 h 145115"/>
              <a:gd name="connsiteX10" fmla="*/ 140127 w 471576"/>
              <a:gd name="connsiteY10" fmla="*/ 127054 h 145115"/>
              <a:gd name="connsiteX11" fmla="*/ 140127 w 471576"/>
              <a:gd name="connsiteY11" fmla="*/ 127054 h 145115"/>
              <a:gd name="connsiteX12" fmla="*/ 125087 w 471576"/>
              <a:gd name="connsiteY12" fmla="*/ 112362 h 145115"/>
              <a:gd name="connsiteX13" fmla="*/ 125550 w 471576"/>
              <a:gd name="connsiteY13" fmla="*/ 85927 h 145115"/>
              <a:gd name="connsiteX14" fmla="*/ 124104 w 471576"/>
              <a:gd name="connsiteY14" fmla="*/ 70251 h 145115"/>
              <a:gd name="connsiteX15" fmla="*/ 119071 w 471576"/>
              <a:gd name="connsiteY15" fmla="*/ 63946 h 145115"/>
              <a:gd name="connsiteX16" fmla="*/ 93389 w 471576"/>
              <a:gd name="connsiteY16" fmla="*/ 39767 h 145115"/>
              <a:gd name="connsiteX17" fmla="*/ 89571 w 471576"/>
              <a:gd name="connsiteY17" fmla="*/ 42313 h 145115"/>
              <a:gd name="connsiteX18" fmla="*/ 78927 w 471576"/>
              <a:gd name="connsiteY18" fmla="*/ 46015 h 145115"/>
              <a:gd name="connsiteX19" fmla="*/ 1647 w 471576"/>
              <a:gd name="connsiteY19" fmla="*/ 17092 h 145115"/>
              <a:gd name="connsiteX20" fmla="*/ 606 w 471576"/>
              <a:gd name="connsiteY20" fmla="*/ 9341 h 145115"/>
              <a:gd name="connsiteX21" fmla="*/ 35891 w 471576"/>
              <a:gd name="connsiteY21" fmla="*/ -87 h 145115"/>
              <a:gd name="connsiteX22" fmla="*/ 72102 w 471576"/>
              <a:gd name="connsiteY22" fmla="*/ 5697 h 145115"/>
              <a:gd name="connsiteX23" fmla="*/ 86389 w 471576"/>
              <a:gd name="connsiteY23" fmla="*/ 12754 h 145115"/>
              <a:gd name="connsiteX24" fmla="*/ 119650 w 471576"/>
              <a:gd name="connsiteY24" fmla="*/ 23687 h 145115"/>
              <a:gd name="connsiteX25" fmla="*/ 129599 w 471576"/>
              <a:gd name="connsiteY25" fmla="*/ 22588 h 145115"/>
              <a:gd name="connsiteX26" fmla="*/ 138391 w 471576"/>
              <a:gd name="connsiteY26" fmla="*/ 21836 h 145115"/>
              <a:gd name="connsiteX27" fmla="*/ 203755 w 471576"/>
              <a:gd name="connsiteY27" fmla="*/ 42775 h 145115"/>
              <a:gd name="connsiteX28" fmla="*/ 203351 w 471576"/>
              <a:gd name="connsiteY28" fmla="*/ 46246 h 145115"/>
              <a:gd name="connsiteX29" fmla="*/ 194500 w 471576"/>
              <a:gd name="connsiteY29" fmla="*/ 53419 h 145115"/>
              <a:gd name="connsiteX30" fmla="*/ 181485 w 471576"/>
              <a:gd name="connsiteY30" fmla="*/ 66491 h 145115"/>
              <a:gd name="connsiteX31" fmla="*/ 194038 w 471576"/>
              <a:gd name="connsiteY31" fmla="*/ 69846 h 145115"/>
              <a:gd name="connsiteX32" fmla="*/ 222960 w 471576"/>
              <a:gd name="connsiteY32" fmla="*/ 81126 h 145115"/>
              <a:gd name="connsiteX33" fmla="*/ 231000 w 471576"/>
              <a:gd name="connsiteY33" fmla="*/ 85638 h 145115"/>
              <a:gd name="connsiteX34" fmla="*/ 238346 w 471576"/>
              <a:gd name="connsiteY34" fmla="*/ 83266 h 145115"/>
              <a:gd name="connsiteX35" fmla="*/ 252865 w 471576"/>
              <a:gd name="connsiteY35" fmla="*/ 80316 h 145115"/>
              <a:gd name="connsiteX36" fmla="*/ 272764 w 471576"/>
              <a:gd name="connsiteY36" fmla="*/ 82283 h 145115"/>
              <a:gd name="connsiteX37" fmla="*/ 295034 w 471576"/>
              <a:gd name="connsiteY37" fmla="*/ 84365 h 145115"/>
              <a:gd name="connsiteX38" fmla="*/ 315800 w 471576"/>
              <a:gd name="connsiteY38" fmla="*/ 79680 h 145115"/>
              <a:gd name="connsiteX39" fmla="*/ 363868 w 471576"/>
              <a:gd name="connsiteY39" fmla="*/ 73491 h 145115"/>
              <a:gd name="connsiteX40" fmla="*/ 471343 w 471576"/>
              <a:gd name="connsiteY40" fmla="*/ 91422 h 145115"/>
              <a:gd name="connsiteX41" fmla="*/ 446239 w 471576"/>
              <a:gd name="connsiteY41" fmla="*/ 136252 h 145115"/>
              <a:gd name="connsiteX42" fmla="*/ 419630 w 471576"/>
              <a:gd name="connsiteY42" fmla="*/ 138508 h 145115"/>
              <a:gd name="connsiteX43" fmla="*/ 372776 w 471576"/>
              <a:gd name="connsiteY43" fmla="*/ 130120 h 145115"/>
              <a:gd name="connsiteX44" fmla="*/ 366992 w 471576"/>
              <a:gd name="connsiteY44" fmla="*/ 128038 h 145115"/>
              <a:gd name="connsiteX45" fmla="*/ 362017 w 471576"/>
              <a:gd name="connsiteY45" fmla="*/ 131219 h 145115"/>
              <a:gd name="connsiteX46" fmla="*/ 316610 w 471576"/>
              <a:gd name="connsiteY46" fmla="*/ 144986 h 145115"/>
              <a:gd name="connsiteX47" fmla="*/ 218274 w 471576"/>
              <a:gd name="connsiteY47" fmla="*/ 121848 h 145115"/>
              <a:gd name="connsiteX48" fmla="*/ 223191 w 471576"/>
              <a:gd name="connsiteY48" fmla="*/ 126302 h 145115"/>
              <a:gd name="connsiteX49" fmla="*/ 313023 w 471576"/>
              <a:gd name="connsiteY49" fmla="*/ 142614 h 145115"/>
              <a:gd name="connsiteX50" fmla="*/ 360860 w 471576"/>
              <a:gd name="connsiteY50" fmla="*/ 129657 h 145115"/>
              <a:gd name="connsiteX51" fmla="*/ 374165 w 471576"/>
              <a:gd name="connsiteY51" fmla="*/ 128211 h 145115"/>
              <a:gd name="connsiteX52" fmla="*/ 419920 w 471576"/>
              <a:gd name="connsiteY52" fmla="*/ 136309 h 145115"/>
              <a:gd name="connsiteX53" fmla="*/ 446065 w 471576"/>
              <a:gd name="connsiteY53" fmla="*/ 134111 h 145115"/>
              <a:gd name="connsiteX54" fmla="*/ 469203 w 471576"/>
              <a:gd name="connsiteY54" fmla="*/ 91711 h 145115"/>
              <a:gd name="connsiteX55" fmla="*/ 363984 w 471576"/>
              <a:gd name="connsiteY55" fmla="*/ 75804 h 145115"/>
              <a:gd name="connsiteX56" fmla="*/ 317072 w 471576"/>
              <a:gd name="connsiteY56" fmla="*/ 81589 h 145115"/>
              <a:gd name="connsiteX57" fmla="*/ 295149 w 471576"/>
              <a:gd name="connsiteY57" fmla="*/ 86563 h 145115"/>
              <a:gd name="connsiteX58" fmla="*/ 272532 w 471576"/>
              <a:gd name="connsiteY58" fmla="*/ 84423 h 145115"/>
              <a:gd name="connsiteX59" fmla="*/ 252981 w 471576"/>
              <a:gd name="connsiteY59" fmla="*/ 82514 h 145115"/>
              <a:gd name="connsiteX60" fmla="*/ 239503 w 471576"/>
              <a:gd name="connsiteY60" fmla="*/ 85233 h 145115"/>
              <a:gd name="connsiteX61" fmla="*/ 231116 w 471576"/>
              <a:gd name="connsiteY61" fmla="*/ 87836 h 145115"/>
              <a:gd name="connsiteX62" fmla="*/ 221571 w 471576"/>
              <a:gd name="connsiteY62" fmla="*/ 82746 h 145115"/>
              <a:gd name="connsiteX63" fmla="*/ 194095 w 471576"/>
              <a:gd name="connsiteY63" fmla="*/ 72044 h 145115"/>
              <a:gd name="connsiteX64" fmla="*/ 179403 w 471576"/>
              <a:gd name="connsiteY64" fmla="*/ 67070 h 145115"/>
              <a:gd name="connsiteX65" fmla="*/ 193286 w 471576"/>
              <a:gd name="connsiteY65" fmla="*/ 51568 h 145115"/>
              <a:gd name="connsiteX66" fmla="*/ 201789 w 471576"/>
              <a:gd name="connsiteY66" fmla="*/ 44742 h 145115"/>
              <a:gd name="connsiteX67" fmla="*/ 201789 w 471576"/>
              <a:gd name="connsiteY67" fmla="*/ 43701 h 145115"/>
              <a:gd name="connsiteX68" fmla="*/ 138507 w 471576"/>
              <a:gd name="connsiteY68" fmla="*/ 24034 h 145115"/>
              <a:gd name="connsiteX69" fmla="*/ 130177 w 471576"/>
              <a:gd name="connsiteY69" fmla="*/ 24786 h 145115"/>
              <a:gd name="connsiteX70" fmla="*/ 119766 w 471576"/>
              <a:gd name="connsiteY70" fmla="*/ 25885 h 145115"/>
              <a:gd name="connsiteX71" fmla="*/ 85464 w 471576"/>
              <a:gd name="connsiteY71" fmla="*/ 14663 h 145115"/>
              <a:gd name="connsiteX72" fmla="*/ 71292 w 471576"/>
              <a:gd name="connsiteY72" fmla="*/ 7722 h 145115"/>
              <a:gd name="connsiteX73" fmla="*/ 36007 w 471576"/>
              <a:gd name="connsiteY73" fmla="*/ 1937 h 145115"/>
              <a:gd name="connsiteX74" fmla="*/ 2689 w 471576"/>
              <a:gd name="connsiteY74" fmla="*/ 10151 h 145115"/>
              <a:gd name="connsiteX75" fmla="*/ 3614 w 471576"/>
              <a:gd name="connsiteY75" fmla="*/ 15588 h 145115"/>
              <a:gd name="connsiteX76" fmla="*/ 78812 w 471576"/>
              <a:gd name="connsiteY76" fmla="*/ 43701 h 145115"/>
              <a:gd name="connsiteX77" fmla="*/ 87546 w 471576"/>
              <a:gd name="connsiteY77" fmla="*/ 41098 h 145115"/>
              <a:gd name="connsiteX78" fmla="*/ 93331 w 471576"/>
              <a:gd name="connsiteY78" fmla="*/ 37454 h 145115"/>
              <a:gd name="connsiteX79" fmla="*/ 120807 w 471576"/>
              <a:gd name="connsiteY79" fmla="*/ 62500 h 145115"/>
              <a:gd name="connsiteX80" fmla="*/ 125781 w 471576"/>
              <a:gd name="connsiteY80" fmla="*/ 68805 h 145115"/>
              <a:gd name="connsiteX81" fmla="*/ 127632 w 471576"/>
              <a:gd name="connsiteY81" fmla="*/ 86621 h 145115"/>
              <a:gd name="connsiteX82" fmla="*/ 127170 w 471576"/>
              <a:gd name="connsiteY82" fmla="*/ 111552 h 145115"/>
              <a:gd name="connsiteX83" fmla="*/ 140069 w 471576"/>
              <a:gd name="connsiteY83" fmla="*/ 124741 h 145115"/>
              <a:gd name="connsiteX84" fmla="*/ 143250 w 471576"/>
              <a:gd name="connsiteY84" fmla="*/ 124741 h 145115"/>
              <a:gd name="connsiteX85" fmla="*/ 147010 w 471576"/>
              <a:gd name="connsiteY85" fmla="*/ 124741 h 145115"/>
              <a:gd name="connsiteX86" fmla="*/ 158290 w 471576"/>
              <a:gd name="connsiteY86" fmla="*/ 128327 h 145115"/>
              <a:gd name="connsiteX87" fmla="*/ 187848 w 471576"/>
              <a:gd name="connsiteY87" fmla="*/ 139028 h 145115"/>
              <a:gd name="connsiteX88" fmla="*/ 201731 w 471576"/>
              <a:gd name="connsiteY88" fmla="*/ 134458 h 145115"/>
              <a:gd name="connsiteX89" fmla="*/ 207110 w 471576"/>
              <a:gd name="connsiteY89" fmla="*/ 129426 h 145115"/>
              <a:gd name="connsiteX90" fmla="*/ 217985 w 471576"/>
              <a:gd name="connsiteY90" fmla="*/ 121964 h 14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71576" h="145115">
                <a:moveTo>
                  <a:pt x="316610" y="144986"/>
                </a:moveTo>
                <a:lnTo>
                  <a:pt x="312734" y="144986"/>
                </a:lnTo>
                <a:cubicBezTo>
                  <a:pt x="253559" y="143714"/>
                  <a:pt x="227009" y="141689"/>
                  <a:pt x="220819" y="127286"/>
                </a:cubicBezTo>
                <a:cubicBezTo>
                  <a:pt x="219663" y="124567"/>
                  <a:pt x="218679" y="124278"/>
                  <a:pt x="217985" y="124278"/>
                </a:cubicBezTo>
                <a:cubicBezTo>
                  <a:pt x="216018" y="124278"/>
                  <a:pt x="212779" y="127286"/>
                  <a:pt x="208672" y="131161"/>
                </a:cubicBezTo>
                <a:cubicBezTo>
                  <a:pt x="207053" y="132665"/>
                  <a:pt x="205259" y="134401"/>
                  <a:pt x="203235" y="136194"/>
                </a:cubicBezTo>
                <a:cubicBezTo>
                  <a:pt x="198949" y="139774"/>
                  <a:pt x="193488" y="141631"/>
                  <a:pt x="187906" y="141400"/>
                </a:cubicBezTo>
                <a:cubicBezTo>
                  <a:pt x="176719" y="140839"/>
                  <a:pt x="165960" y="136928"/>
                  <a:pt x="157017" y="130178"/>
                </a:cubicBezTo>
                <a:cubicBezTo>
                  <a:pt x="154142" y="128061"/>
                  <a:pt x="150637" y="126962"/>
                  <a:pt x="147068" y="127054"/>
                </a:cubicBezTo>
                <a:cubicBezTo>
                  <a:pt x="145853" y="127054"/>
                  <a:pt x="144638" y="127054"/>
                  <a:pt x="143482" y="127054"/>
                </a:cubicBezTo>
                <a:lnTo>
                  <a:pt x="140127" y="127054"/>
                </a:lnTo>
                <a:lnTo>
                  <a:pt x="140127" y="127054"/>
                </a:lnTo>
                <a:cubicBezTo>
                  <a:pt x="134342" y="127054"/>
                  <a:pt x="129368" y="124567"/>
                  <a:pt x="125087" y="112362"/>
                </a:cubicBezTo>
                <a:cubicBezTo>
                  <a:pt x="121749" y="103836"/>
                  <a:pt x="121912" y="94332"/>
                  <a:pt x="125550" y="85927"/>
                </a:cubicBezTo>
                <a:cubicBezTo>
                  <a:pt x="128540" y="80947"/>
                  <a:pt x="127956" y="74601"/>
                  <a:pt x="124104" y="70251"/>
                </a:cubicBezTo>
                <a:cubicBezTo>
                  <a:pt x="122542" y="68400"/>
                  <a:pt x="120865" y="66260"/>
                  <a:pt x="119071" y="63946"/>
                </a:cubicBezTo>
                <a:cubicBezTo>
                  <a:pt x="111031" y="53766"/>
                  <a:pt x="100041" y="39767"/>
                  <a:pt x="93389" y="39767"/>
                </a:cubicBezTo>
                <a:cubicBezTo>
                  <a:pt x="91734" y="39819"/>
                  <a:pt x="90253" y="40803"/>
                  <a:pt x="89571" y="42313"/>
                </a:cubicBezTo>
                <a:cubicBezTo>
                  <a:pt x="88067" y="44742"/>
                  <a:pt x="84538" y="46015"/>
                  <a:pt x="78927" y="46015"/>
                </a:cubicBezTo>
                <a:cubicBezTo>
                  <a:pt x="58219" y="46015"/>
                  <a:pt x="9109" y="27562"/>
                  <a:pt x="1647" y="17092"/>
                </a:cubicBezTo>
                <a:cubicBezTo>
                  <a:pt x="-232" y="14952"/>
                  <a:pt x="-643" y="11898"/>
                  <a:pt x="606" y="9341"/>
                </a:cubicBezTo>
                <a:cubicBezTo>
                  <a:pt x="4193" y="2400"/>
                  <a:pt x="21199" y="-87"/>
                  <a:pt x="35891" y="-87"/>
                </a:cubicBezTo>
                <a:cubicBezTo>
                  <a:pt x="48218" y="-446"/>
                  <a:pt x="60498" y="1515"/>
                  <a:pt x="72102" y="5697"/>
                </a:cubicBezTo>
                <a:cubicBezTo>
                  <a:pt x="77250" y="8011"/>
                  <a:pt x="81935" y="10382"/>
                  <a:pt x="86389" y="12754"/>
                </a:cubicBezTo>
                <a:cubicBezTo>
                  <a:pt x="97958" y="18538"/>
                  <a:pt x="107503" y="23687"/>
                  <a:pt x="119650" y="23687"/>
                </a:cubicBezTo>
                <a:cubicBezTo>
                  <a:pt x="122999" y="23681"/>
                  <a:pt x="126331" y="23311"/>
                  <a:pt x="129599" y="22588"/>
                </a:cubicBezTo>
                <a:cubicBezTo>
                  <a:pt x="132497" y="22038"/>
                  <a:pt x="135441" y="21789"/>
                  <a:pt x="138391" y="21836"/>
                </a:cubicBezTo>
                <a:cubicBezTo>
                  <a:pt x="160719" y="21836"/>
                  <a:pt x="199764" y="34388"/>
                  <a:pt x="203755" y="42775"/>
                </a:cubicBezTo>
                <a:cubicBezTo>
                  <a:pt x="204340" y="43909"/>
                  <a:pt x="204178" y="45280"/>
                  <a:pt x="203351" y="46246"/>
                </a:cubicBezTo>
                <a:cubicBezTo>
                  <a:pt x="200632" y="48912"/>
                  <a:pt x="197670" y="51313"/>
                  <a:pt x="194500" y="53419"/>
                </a:cubicBezTo>
                <a:cubicBezTo>
                  <a:pt x="188716" y="57468"/>
                  <a:pt x="180560" y="63541"/>
                  <a:pt x="181485" y="66491"/>
                </a:cubicBezTo>
                <a:cubicBezTo>
                  <a:pt x="181775" y="67590"/>
                  <a:pt x="183857" y="69441"/>
                  <a:pt x="194038" y="69846"/>
                </a:cubicBezTo>
                <a:cubicBezTo>
                  <a:pt x="204820" y="69459"/>
                  <a:pt x="215284" y="73543"/>
                  <a:pt x="222960" y="81126"/>
                </a:cubicBezTo>
                <a:cubicBezTo>
                  <a:pt x="225794" y="83729"/>
                  <a:pt x="227876" y="85638"/>
                  <a:pt x="231000" y="85638"/>
                </a:cubicBezTo>
                <a:cubicBezTo>
                  <a:pt x="233609" y="85459"/>
                  <a:pt x="236131" y="84643"/>
                  <a:pt x="238346" y="83266"/>
                </a:cubicBezTo>
                <a:cubicBezTo>
                  <a:pt x="242875" y="81120"/>
                  <a:pt x="247856" y="80102"/>
                  <a:pt x="252865" y="80316"/>
                </a:cubicBezTo>
                <a:cubicBezTo>
                  <a:pt x="259535" y="80501"/>
                  <a:pt x="266187" y="81155"/>
                  <a:pt x="272764" y="82283"/>
                </a:cubicBezTo>
                <a:cubicBezTo>
                  <a:pt x="280133" y="83492"/>
                  <a:pt x="287572" y="84186"/>
                  <a:pt x="295034" y="84365"/>
                </a:cubicBezTo>
                <a:cubicBezTo>
                  <a:pt x="302253" y="84683"/>
                  <a:pt x="309419" y="83064"/>
                  <a:pt x="315800" y="79680"/>
                </a:cubicBezTo>
                <a:cubicBezTo>
                  <a:pt x="324708" y="74532"/>
                  <a:pt x="346862" y="73491"/>
                  <a:pt x="363868" y="73491"/>
                </a:cubicBezTo>
                <a:cubicBezTo>
                  <a:pt x="406037" y="73491"/>
                  <a:pt x="470418" y="80663"/>
                  <a:pt x="471343" y="91422"/>
                </a:cubicBezTo>
                <a:cubicBezTo>
                  <a:pt x="472616" y="105074"/>
                  <a:pt x="464055" y="132492"/>
                  <a:pt x="446239" y="136252"/>
                </a:cubicBezTo>
                <a:cubicBezTo>
                  <a:pt x="437464" y="137871"/>
                  <a:pt x="428550" y="138629"/>
                  <a:pt x="419630" y="138508"/>
                </a:cubicBezTo>
                <a:cubicBezTo>
                  <a:pt x="409970" y="138508"/>
                  <a:pt x="386080" y="137698"/>
                  <a:pt x="372776" y="130120"/>
                </a:cubicBezTo>
                <a:cubicBezTo>
                  <a:pt x="371058" y="128934"/>
                  <a:pt x="369069" y="128217"/>
                  <a:pt x="366992" y="128038"/>
                </a:cubicBezTo>
                <a:cubicBezTo>
                  <a:pt x="365257" y="128038"/>
                  <a:pt x="364158" y="129079"/>
                  <a:pt x="362017" y="131219"/>
                </a:cubicBezTo>
                <a:cubicBezTo>
                  <a:pt x="357158" y="136367"/>
                  <a:pt x="348713" y="144986"/>
                  <a:pt x="316610" y="144986"/>
                </a:cubicBezTo>
                <a:close/>
                <a:moveTo>
                  <a:pt x="218274" y="121848"/>
                </a:moveTo>
                <a:cubicBezTo>
                  <a:pt x="221282" y="121848"/>
                  <a:pt x="222728" y="125203"/>
                  <a:pt x="223191" y="126302"/>
                </a:cubicBezTo>
                <a:cubicBezTo>
                  <a:pt x="228976" y="139433"/>
                  <a:pt x="256220" y="141400"/>
                  <a:pt x="313023" y="142614"/>
                </a:cubicBezTo>
                <a:cubicBezTo>
                  <a:pt x="347325" y="143251"/>
                  <a:pt x="355886" y="134748"/>
                  <a:pt x="360860" y="129657"/>
                </a:cubicBezTo>
                <a:cubicBezTo>
                  <a:pt x="364389" y="126129"/>
                  <a:pt x="366934" y="123873"/>
                  <a:pt x="374165" y="128211"/>
                </a:cubicBezTo>
                <a:cubicBezTo>
                  <a:pt x="383073" y="133302"/>
                  <a:pt x="400194" y="136309"/>
                  <a:pt x="419920" y="136309"/>
                </a:cubicBezTo>
                <a:cubicBezTo>
                  <a:pt x="428683" y="136425"/>
                  <a:pt x="437441" y="135685"/>
                  <a:pt x="446065" y="134111"/>
                </a:cubicBezTo>
                <a:cubicBezTo>
                  <a:pt x="462377" y="130641"/>
                  <a:pt x="470591" y="104322"/>
                  <a:pt x="469203" y="91711"/>
                </a:cubicBezTo>
                <a:cubicBezTo>
                  <a:pt x="468566" y="84250"/>
                  <a:pt x="412515" y="75804"/>
                  <a:pt x="363984" y="75804"/>
                </a:cubicBezTo>
                <a:cubicBezTo>
                  <a:pt x="340326" y="75804"/>
                  <a:pt x="323493" y="77887"/>
                  <a:pt x="317072" y="81589"/>
                </a:cubicBezTo>
                <a:cubicBezTo>
                  <a:pt x="310334" y="85152"/>
                  <a:pt x="302767" y="86870"/>
                  <a:pt x="295149" y="86563"/>
                </a:cubicBezTo>
                <a:cubicBezTo>
                  <a:pt x="287566" y="86396"/>
                  <a:pt x="280012" y="85678"/>
                  <a:pt x="272532" y="84423"/>
                </a:cubicBezTo>
                <a:cubicBezTo>
                  <a:pt x="266065" y="83347"/>
                  <a:pt x="259535" y="82711"/>
                  <a:pt x="252981" y="82514"/>
                </a:cubicBezTo>
                <a:cubicBezTo>
                  <a:pt x="248330" y="82289"/>
                  <a:pt x="243703" y="83220"/>
                  <a:pt x="239503" y="85233"/>
                </a:cubicBezTo>
                <a:cubicBezTo>
                  <a:pt x="236964" y="86777"/>
                  <a:pt x="234083" y="87668"/>
                  <a:pt x="231116" y="87836"/>
                </a:cubicBezTo>
                <a:cubicBezTo>
                  <a:pt x="227385" y="87483"/>
                  <a:pt x="223949" y="85649"/>
                  <a:pt x="221571" y="82746"/>
                </a:cubicBezTo>
                <a:cubicBezTo>
                  <a:pt x="214272" y="75556"/>
                  <a:pt x="204334" y="71686"/>
                  <a:pt x="194095" y="72044"/>
                </a:cubicBezTo>
                <a:cubicBezTo>
                  <a:pt x="185014" y="71697"/>
                  <a:pt x="180328" y="70136"/>
                  <a:pt x="179403" y="67070"/>
                </a:cubicBezTo>
                <a:cubicBezTo>
                  <a:pt x="178015" y="62558"/>
                  <a:pt x="185824" y="56947"/>
                  <a:pt x="193286" y="51568"/>
                </a:cubicBezTo>
                <a:cubicBezTo>
                  <a:pt x="196311" y="49543"/>
                  <a:pt x="199157" y="47258"/>
                  <a:pt x="201789" y="44742"/>
                </a:cubicBezTo>
                <a:cubicBezTo>
                  <a:pt x="202003" y="44430"/>
                  <a:pt x="202003" y="44013"/>
                  <a:pt x="201789" y="43701"/>
                </a:cubicBezTo>
                <a:cubicBezTo>
                  <a:pt x="198839" y="37338"/>
                  <a:pt x="162281" y="24034"/>
                  <a:pt x="138507" y="24034"/>
                </a:cubicBezTo>
                <a:cubicBezTo>
                  <a:pt x="135713" y="23987"/>
                  <a:pt x="132919" y="24236"/>
                  <a:pt x="130177" y="24786"/>
                </a:cubicBezTo>
                <a:cubicBezTo>
                  <a:pt x="126753" y="25509"/>
                  <a:pt x="123265" y="25879"/>
                  <a:pt x="119766" y="25885"/>
                </a:cubicBezTo>
                <a:cubicBezTo>
                  <a:pt x="107040" y="25885"/>
                  <a:pt x="97033" y="20679"/>
                  <a:pt x="85464" y="14663"/>
                </a:cubicBezTo>
                <a:cubicBezTo>
                  <a:pt x="81010" y="12407"/>
                  <a:pt x="76382" y="9977"/>
                  <a:pt x="71292" y="7722"/>
                </a:cubicBezTo>
                <a:cubicBezTo>
                  <a:pt x="59995" y="3603"/>
                  <a:pt x="48027" y="1636"/>
                  <a:pt x="36007" y="1937"/>
                </a:cubicBezTo>
                <a:cubicBezTo>
                  <a:pt x="18654" y="1937"/>
                  <a:pt x="5292" y="5234"/>
                  <a:pt x="2689" y="10151"/>
                </a:cubicBezTo>
                <a:cubicBezTo>
                  <a:pt x="1902" y="11991"/>
                  <a:pt x="2266" y="14113"/>
                  <a:pt x="3614" y="15588"/>
                </a:cubicBezTo>
                <a:cubicBezTo>
                  <a:pt x="10093" y="24786"/>
                  <a:pt x="57756" y="43701"/>
                  <a:pt x="78812" y="43701"/>
                </a:cubicBezTo>
                <a:cubicBezTo>
                  <a:pt x="83497" y="43701"/>
                  <a:pt x="86505" y="42775"/>
                  <a:pt x="87546" y="41098"/>
                </a:cubicBezTo>
                <a:cubicBezTo>
                  <a:pt x="88622" y="38882"/>
                  <a:pt x="90866" y="37471"/>
                  <a:pt x="93331" y="37454"/>
                </a:cubicBezTo>
                <a:cubicBezTo>
                  <a:pt x="101082" y="37454"/>
                  <a:pt x="111552" y="50758"/>
                  <a:pt x="120807" y="62500"/>
                </a:cubicBezTo>
                <a:cubicBezTo>
                  <a:pt x="122542" y="64756"/>
                  <a:pt x="124219" y="66896"/>
                  <a:pt x="125781" y="68805"/>
                </a:cubicBezTo>
                <a:cubicBezTo>
                  <a:pt x="130166" y="73728"/>
                  <a:pt x="130912" y="80900"/>
                  <a:pt x="127632" y="86621"/>
                </a:cubicBezTo>
                <a:cubicBezTo>
                  <a:pt x="124121" y="94529"/>
                  <a:pt x="123953" y="103518"/>
                  <a:pt x="127170" y="111552"/>
                </a:cubicBezTo>
                <a:cubicBezTo>
                  <a:pt x="131450" y="123699"/>
                  <a:pt x="135846" y="124741"/>
                  <a:pt x="140069" y="124741"/>
                </a:cubicBezTo>
                <a:lnTo>
                  <a:pt x="143250" y="124741"/>
                </a:lnTo>
                <a:cubicBezTo>
                  <a:pt x="144465" y="124741"/>
                  <a:pt x="145738" y="124741"/>
                  <a:pt x="147010" y="124741"/>
                </a:cubicBezTo>
                <a:cubicBezTo>
                  <a:pt x="151065" y="124636"/>
                  <a:pt x="155039" y="125903"/>
                  <a:pt x="158290" y="128327"/>
                </a:cubicBezTo>
                <a:cubicBezTo>
                  <a:pt x="166862" y="134748"/>
                  <a:pt x="177153" y="138473"/>
                  <a:pt x="187848" y="139028"/>
                </a:cubicBezTo>
                <a:cubicBezTo>
                  <a:pt x="192881" y="139283"/>
                  <a:pt x="197832" y="137651"/>
                  <a:pt x="201731" y="134458"/>
                </a:cubicBezTo>
                <a:lnTo>
                  <a:pt x="207110" y="129426"/>
                </a:lnTo>
                <a:cubicBezTo>
                  <a:pt x="211911" y="124798"/>
                  <a:pt x="215209" y="121964"/>
                  <a:pt x="217985" y="12196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59" name="Forma libre: forma 458">
            <a:extLst>
              <a:ext uri="{FF2B5EF4-FFF2-40B4-BE49-F238E27FC236}">
                <a16:creationId xmlns:a16="http://schemas.microsoft.com/office/drawing/2014/main" id="{11226EFD-02C5-A921-339E-5B72149AD148}"/>
              </a:ext>
            </a:extLst>
          </p:cNvPr>
          <p:cNvSpPr/>
          <p:nvPr/>
        </p:nvSpPr>
        <p:spPr>
          <a:xfrm>
            <a:off x="3651741" y="1376330"/>
            <a:ext cx="856124" cy="439793"/>
          </a:xfrm>
          <a:custGeom>
            <a:avLst/>
            <a:gdLst>
              <a:gd name="connsiteX0" fmla="*/ 318760 w 856124"/>
              <a:gd name="connsiteY0" fmla="*/ 439640 h 439793"/>
              <a:gd name="connsiteX1" fmla="*/ 301407 w 856124"/>
              <a:gd name="connsiteY1" fmla="*/ 433856 h 439793"/>
              <a:gd name="connsiteX2" fmla="*/ 260916 w 856124"/>
              <a:gd name="connsiteY2" fmla="*/ 420841 h 439793"/>
              <a:gd name="connsiteX3" fmla="*/ 243563 w 856124"/>
              <a:gd name="connsiteY3" fmla="*/ 420262 h 439793"/>
              <a:gd name="connsiteX4" fmla="*/ 228755 w 856124"/>
              <a:gd name="connsiteY4" fmla="*/ 419742 h 439793"/>
              <a:gd name="connsiteX5" fmla="*/ 206369 w 856124"/>
              <a:gd name="connsiteY5" fmla="*/ 426394 h 439793"/>
              <a:gd name="connsiteX6" fmla="*/ 186702 w 856124"/>
              <a:gd name="connsiteY6" fmla="*/ 433566 h 439793"/>
              <a:gd name="connsiteX7" fmla="*/ 156218 w 856124"/>
              <a:gd name="connsiteY7" fmla="*/ 424196 h 439793"/>
              <a:gd name="connsiteX8" fmla="*/ 138344 w 856124"/>
              <a:gd name="connsiteY8" fmla="*/ 421072 h 439793"/>
              <a:gd name="connsiteX9" fmla="*/ 120991 w 856124"/>
              <a:gd name="connsiteY9" fmla="*/ 421593 h 439793"/>
              <a:gd name="connsiteX10" fmla="*/ 100745 w 856124"/>
              <a:gd name="connsiteY10" fmla="*/ 422171 h 439793"/>
              <a:gd name="connsiteX11" fmla="*/ 66039 w 856124"/>
              <a:gd name="connsiteY11" fmla="*/ 414478 h 439793"/>
              <a:gd name="connsiteX12" fmla="*/ 63320 w 856124"/>
              <a:gd name="connsiteY12" fmla="*/ 405512 h 439793"/>
              <a:gd name="connsiteX13" fmla="*/ 122553 w 856124"/>
              <a:gd name="connsiteY13" fmla="*/ 384630 h 439793"/>
              <a:gd name="connsiteX14" fmla="*/ 137476 w 856124"/>
              <a:gd name="connsiteY14" fmla="*/ 378383 h 439793"/>
              <a:gd name="connsiteX15" fmla="*/ 123651 w 856124"/>
              <a:gd name="connsiteY15" fmla="*/ 369938 h 439793"/>
              <a:gd name="connsiteX16" fmla="*/ 105315 w 856124"/>
              <a:gd name="connsiteY16" fmla="*/ 354378 h 439793"/>
              <a:gd name="connsiteX17" fmla="*/ 127354 w 856124"/>
              <a:gd name="connsiteY17" fmla="*/ 341016 h 439793"/>
              <a:gd name="connsiteX18" fmla="*/ 134642 w 856124"/>
              <a:gd name="connsiteY18" fmla="*/ 340726 h 439793"/>
              <a:gd name="connsiteX19" fmla="*/ 175769 w 856124"/>
              <a:gd name="connsiteY19" fmla="*/ 366062 h 439793"/>
              <a:gd name="connsiteX20" fmla="*/ 197981 w 856124"/>
              <a:gd name="connsiteY20" fmla="*/ 377631 h 439793"/>
              <a:gd name="connsiteX21" fmla="*/ 209897 w 856124"/>
              <a:gd name="connsiteY21" fmla="*/ 369938 h 439793"/>
              <a:gd name="connsiteX22" fmla="*/ 192023 w 856124"/>
              <a:gd name="connsiteY22" fmla="*/ 353163 h 439793"/>
              <a:gd name="connsiteX23" fmla="*/ 175943 w 856124"/>
              <a:gd name="connsiteY23" fmla="*/ 338702 h 439793"/>
              <a:gd name="connsiteX24" fmla="*/ 178719 w 856124"/>
              <a:gd name="connsiteY24" fmla="*/ 332917 h 439793"/>
              <a:gd name="connsiteX25" fmla="*/ 197692 w 856124"/>
              <a:gd name="connsiteY25" fmla="*/ 312267 h 439793"/>
              <a:gd name="connsiteX26" fmla="*/ 186123 w 856124"/>
              <a:gd name="connsiteY26" fmla="*/ 318051 h 439793"/>
              <a:gd name="connsiteX27" fmla="*/ 141699 w 856124"/>
              <a:gd name="connsiteY27" fmla="*/ 330777 h 439793"/>
              <a:gd name="connsiteX28" fmla="*/ 122090 w 856124"/>
              <a:gd name="connsiteY28" fmla="*/ 324993 h 439793"/>
              <a:gd name="connsiteX29" fmla="*/ 119024 w 856124"/>
              <a:gd name="connsiteY29" fmla="*/ 316027 h 439793"/>
              <a:gd name="connsiteX30" fmla="*/ 180455 w 856124"/>
              <a:gd name="connsiteY30" fmla="*/ 282593 h 439793"/>
              <a:gd name="connsiteX31" fmla="*/ 190577 w 856124"/>
              <a:gd name="connsiteY31" fmla="*/ 283461 h 439793"/>
              <a:gd name="connsiteX32" fmla="*/ 223954 w 856124"/>
              <a:gd name="connsiteY32" fmla="*/ 292831 h 439793"/>
              <a:gd name="connsiteX33" fmla="*/ 258660 w 856124"/>
              <a:gd name="connsiteY33" fmla="*/ 301566 h 439793"/>
              <a:gd name="connsiteX34" fmla="*/ 263287 w 856124"/>
              <a:gd name="connsiteY34" fmla="*/ 299078 h 439793"/>
              <a:gd name="connsiteX35" fmla="*/ 248595 w 856124"/>
              <a:gd name="connsiteY35" fmla="*/ 290691 h 439793"/>
              <a:gd name="connsiteX36" fmla="*/ 210187 w 856124"/>
              <a:gd name="connsiteY36" fmla="*/ 266975 h 439793"/>
              <a:gd name="connsiteX37" fmla="*/ 160209 w 856124"/>
              <a:gd name="connsiteY37" fmla="*/ 234813 h 439793"/>
              <a:gd name="connsiteX38" fmla="*/ 143319 w 856124"/>
              <a:gd name="connsiteY38" fmla="*/ 209940 h 439793"/>
              <a:gd name="connsiteX39" fmla="*/ 158937 w 856124"/>
              <a:gd name="connsiteY39" fmla="*/ 188943 h 439793"/>
              <a:gd name="connsiteX40" fmla="*/ 174497 w 856124"/>
              <a:gd name="connsiteY40" fmla="*/ 188480 h 439793"/>
              <a:gd name="connsiteX41" fmla="*/ 245877 w 856124"/>
              <a:gd name="connsiteY41" fmla="*/ 208726 h 439793"/>
              <a:gd name="connsiteX42" fmla="*/ 291573 w 856124"/>
              <a:gd name="connsiteY42" fmla="*/ 229839 h 439793"/>
              <a:gd name="connsiteX43" fmla="*/ 295044 w 856124"/>
              <a:gd name="connsiteY43" fmla="*/ 228971 h 439793"/>
              <a:gd name="connsiteX44" fmla="*/ 290416 w 856124"/>
              <a:gd name="connsiteY44" fmla="*/ 223707 h 439793"/>
              <a:gd name="connsiteX45" fmla="*/ 272196 w 856124"/>
              <a:gd name="connsiteY45" fmla="*/ 211387 h 439793"/>
              <a:gd name="connsiteX46" fmla="*/ 249694 w 856124"/>
              <a:gd name="connsiteY46" fmla="*/ 190968 h 439793"/>
              <a:gd name="connsiteX47" fmla="*/ 256867 w 856124"/>
              <a:gd name="connsiteY47" fmla="*/ 185183 h 439793"/>
              <a:gd name="connsiteX48" fmla="*/ 285789 w 856124"/>
              <a:gd name="connsiteY48" fmla="*/ 180729 h 439793"/>
              <a:gd name="connsiteX49" fmla="*/ 345889 w 856124"/>
              <a:gd name="connsiteY49" fmla="*/ 165921 h 439793"/>
              <a:gd name="connsiteX50" fmla="*/ 355318 w 856124"/>
              <a:gd name="connsiteY50" fmla="*/ 146312 h 439793"/>
              <a:gd name="connsiteX51" fmla="*/ 349881 w 856124"/>
              <a:gd name="connsiteY51" fmla="*/ 140238 h 439793"/>
              <a:gd name="connsiteX52" fmla="*/ 347625 w 856124"/>
              <a:gd name="connsiteY52" fmla="*/ 143940 h 439793"/>
              <a:gd name="connsiteX53" fmla="*/ 264734 w 856124"/>
              <a:gd name="connsiteY53" fmla="*/ 173383 h 439793"/>
              <a:gd name="connsiteX54" fmla="*/ 258949 w 856124"/>
              <a:gd name="connsiteY54" fmla="*/ 172804 h 439793"/>
              <a:gd name="connsiteX55" fmla="*/ 253512 w 856124"/>
              <a:gd name="connsiteY55" fmla="*/ 171416 h 439793"/>
              <a:gd name="connsiteX56" fmla="*/ 240034 w 856124"/>
              <a:gd name="connsiteY56" fmla="*/ 168755 h 439793"/>
              <a:gd name="connsiteX57" fmla="*/ 231242 w 856124"/>
              <a:gd name="connsiteY57" fmla="*/ 175697 h 439793"/>
              <a:gd name="connsiteX58" fmla="*/ 206080 w 856124"/>
              <a:gd name="connsiteY58" fmla="*/ 182464 h 439793"/>
              <a:gd name="connsiteX59" fmla="*/ 152516 w 856124"/>
              <a:gd name="connsiteY59" fmla="*/ 171995 h 439793"/>
              <a:gd name="connsiteX60" fmla="*/ 151475 w 856124"/>
              <a:gd name="connsiteY60" fmla="*/ 169218 h 439793"/>
              <a:gd name="connsiteX61" fmla="*/ 152458 w 856124"/>
              <a:gd name="connsiteY61" fmla="*/ 163434 h 439793"/>
              <a:gd name="connsiteX62" fmla="*/ 153152 w 856124"/>
              <a:gd name="connsiteY62" fmla="*/ 151865 h 439793"/>
              <a:gd name="connsiteX63" fmla="*/ 152574 w 856124"/>
              <a:gd name="connsiteY63" fmla="*/ 151865 h 439793"/>
              <a:gd name="connsiteX64" fmla="*/ 144938 w 856124"/>
              <a:gd name="connsiteY64" fmla="*/ 157013 h 439793"/>
              <a:gd name="connsiteX65" fmla="*/ 110232 w 856124"/>
              <a:gd name="connsiteY65" fmla="*/ 166268 h 439793"/>
              <a:gd name="connsiteX66" fmla="*/ 73963 w 856124"/>
              <a:gd name="connsiteY66" fmla="*/ 153831 h 439793"/>
              <a:gd name="connsiteX67" fmla="*/ 61758 w 856124"/>
              <a:gd name="connsiteY67" fmla="*/ 146370 h 439793"/>
              <a:gd name="connsiteX68" fmla="*/ 48512 w 856124"/>
              <a:gd name="connsiteY68" fmla="*/ 136767 h 439793"/>
              <a:gd name="connsiteX69" fmla="*/ 60775 w 856124"/>
              <a:gd name="connsiteY69" fmla="*/ 121901 h 439793"/>
              <a:gd name="connsiteX70" fmla="*/ 63840 w 856124"/>
              <a:gd name="connsiteY70" fmla="*/ 119703 h 439793"/>
              <a:gd name="connsiteX71" fmla="*/ 58056 w 856124"/>
              <a:gd name="connsiteY71" fmla="*/ 119703 h 439793"/>
              <a:gd name="connsiteX72" fmla="*/ 37695 w 856124"/>
              <a:gd name="connsiteY72" fmla="*/ 115539 h 439793"/>
              <a:gd name="connsiteX73" fmla="*/ 46603 w 856124"/>
              <a:gd name="connsiteY73" fmla="*/ 106688 h 439793"/>
              <a:gd name="connsiteX74" fmla="*/ 52387 w 856124"/>
              <a:gd name="connsiteY74" fmla="*/ 101425 h 439793"/>
              <a:gd name="connsiteX75" fmla="*/ 47586 w 856124"/>
              <a:gd name="connsiteY75" fmla="*/ 99631 h 439793"/>
              <a:gd name="connsiteX76" fmla="*/ 32200 w 856124"/>
              <a:gd name="connsiteY76" fmla="*/ 105011 h 439793"/>
              <a:gd name="connsiteX77" fmla="*/ 11896 w 856124"/>
              <a:gd name="connsiteY77" fmla="*/ 110795 h 439793"/>
              <a:gd name="connsiteX78" fmla="*/ 11896 w 856124"/>
              <a:gd name="connsiteY78" fmla="*/ 110795 h 439793"/>
              <a:gd name="connsiteX79" fmla="*/ -77 w 856124"/>
              <a:gd name="connsiteY79" fmla="*/ 105994 h 439793"/>
              <a:gd name="connsiteX80" fmla="*/ 10566 w 856124"/>
              <a:gd name="connsiteY80" fmla="*/ 97144 h 439793"/>
              <a:gd name="connsiteX81" fmla="*/ 53718 w 856124"/>
              <a:gd name="connsiteY81" fmla="*/ 87947 h 439793"/>
              <a:gd name="connsiteX82" fmla="*/ 70030 w 856124"/>
              <a:gd name="connsiteY82" fmla="*/ 92574 h 439793"/>
              <a:gd name="connsiteX83" fmla="*/ 72575 w 856124"/>
              <a:gd name="connsiteY83" fmla="*/ 94252 h 439793"/>
              <a:gd name="connsiteX84" fmla="*/ 79690 w 856124"/>
              <a:gd name="connsiteY84" fmla="*/ 87368 h 439793"/>
              <a:gd name="connsiteX85" fmla="*/ 90507 w 856124"/>
              <a:gd name="connsiteY85" fmla="*/ 74701 h 439793"/>
              <a:gd name="connsiteX86" fmla="*/ 106240 w 856124"/>
              <a:gd name="connsiteY86" fmla="*/ 69784 h 439793"/>
              <a:gd name="connsiteX87" fmla="*/ 134816 w 856124"/>
              <a:gd name="connsiteY87" fmla="*/ 81353 h 439793"/>
              <a:gd name="connsiteX88" fmla="*/ 135336 w 856124"/>
              <a:gd name="connsiteY88" fmla="*/ 81873 h 439793"/>
              <a:gd name="connsiteX89" fmla="*/ 137939 w 856124"/>
              <a:gd name="connsiteY89" fmla="*/ 82278 h 439793"/>
              <a:gd name="connsiteX90" fmla="*/ 154309 w 856124"/>
              <a:gd name="connsiteY90" fmla="*/ 74758 h 439793"/>
              <a:gd name="connsiteX91" fmla="*/ 151185 w 856124"/>
              <a:gd name="connsiteY91" fmla="*/ 68974 h 439793"/>
              <a:gd name="connsiteX92" fmla="*/ 148351 w 856124"/>
              <a:gd name="connsiteY92" fmla="*/ 64173 h 439793"/>
              <a:gd name="connsiteX93" fmla="*/ 164721 w 856124"/>
              <a:gd name="connsiteY93" fmla="*/ 59025 h 439793"/>
              <a:gd name="connsiteX94" fmla="*/ 179471 w 856124"/>
              <a:gd name="connsiteY94" fmla="*/ 55438 h 439793"/>
              <a:gd name="connsiteX95" fmla="*/ 177794 w 856124"/>
              <a:gd name="connsiteY95" fmla="*/ 53182 h 439793"/>
              <a:gd name="connsiteX96" fmla="*/ 175133 w 856124"/>
              <a:gd name="connsiteY96" fmla="*/ 47976 h 439793"/>
              <a:gd name="connsiteX97" fmla="*/ 185776 w 856124"/>
              <a:gd name="connsiteY97" fmla="*/ 44679 h 439793"/>
              <a:gd name="connsiteX98" fmla="*/ 226267 w 856124"/>
              <a:gd name="connsiteY98" fmla="*/ 56248 h 439793"/>
              <a:gd name="connsiteX99" fmla="*/ 241480 w 856124"/>
              <a:gd name="connsiteY99" fmla="*/ 62033 h 439793"/>
              <a:gd name="connsiteX100" fmla="*/ 257069 w 856124"/>
              <a:gd name="connsiteY100" fmla="*/ 48919 h 439793"/>
              <a:gd name="connsiteX101" fmla="*/ 257098 w 856124"/>
              <a:gd name="connsiteY101" fmla="*/ 48497 h 439793"/>
              <a:gd name="connsiteX102" fmla="*/ 272196 w 856124"/>
              <a:gd name="connsiteY102" fmla="*/ 41614 h 439793"/>
              <a:gd name="connsiteX103" fmla="*/ 284170 w 856124"/>
              <a:gd name="connsiteY103" fmla="*/ 42134 h 439793"/>
              <a:gd name="connsiteX104" fmla="*/ 294581 w 856124"/>
              <a:gd name="connsiteY104" fmla="*/ 42597 h 439793"/>
              <a:gd name="connsiteX105" fmla="*/ 302332 w 856124"/>
              <a:gd name="connsiteY105" fmla="*/ 41093 h 439793"/>
              <a:gd name="connsiteX106" fmla="*/ 302332 w 856124"/>
              <a:gd name="connsiteY106" fmla="*/ 39300 h 439793"/>
              <a:gd name="connsiteX107" fmla="*/ 301754 w 856124"/>
              <a:gd name="connsiteY107" fmla="*/ 27731 h 439793"/>
              <a:gd name="connsiteX108" fmla="*/ 312745 w 856124"/>
              <a:gd name="connsiteY108" fmla="*/ 22930 h 439793"/>
              <a:gd name="connsiteX109" fmla="*/ 320669 w 856124"/>
              <a:gd name="connsiteY109" fmla="*/ 24145 h 439793"/>
              <a:gd name="connsiteX110" fmla="*/ 326974 w 856124"/>
              <a:gd name="connsiteY110" fmla="*/ 25128 h 439793"/>
              <a:gd name="connsiteX111" fmla="*/ 336750 w 856124"/>
              <a:gd name="connsiteY111" fmla="*/ 21310 h 439793"/>
              <a:gd name="connsiteX112" fmla="*/ 334436 w 856124"/>
              <a:gd name="connsiteY112" fmla="*/ 18996 h 439793"/>
              <a:gd name="connsiteX113" fmla="*/ 332296 w 856124"/>
              <a:gd name="connsiteY113" fmla="*/ 16278 h 439793"/>
              <a:gd name="connsiteX114" fmla="*/ 349649 w 856124"/>
              <a:gd name="connsiteY114" fmla="*/ 12055 h 439793"/>
              <a:gd name="connsiteX115" fmla="*/ 385165 w 856124"/>
              <a:gd name="connsiteY115" fmla="*/ 19343 h 439793"/>
              <a:gd name="connsiteX116" fmla="*/ 397544 w 856124"/>
              <a:gd name="connsiteY116" fmla="*/ 22698 h 439793"/>
              <a:gd name="connsiteX117" fmla="*/ 406915 w 856124"/>
              <a:gd name="connsiteY117" fmla="*/ 17608 h 439793"/>
              <a:gd name="connsiteX118" fmla="*/ 421955 w 856124"/>
              <a:gd name="connsiteY118" fmla="*/ 11072 h 439793"/>
              <a:gd name="connsiteX119" fmla="*/ 427045 w 856124"/>
              <a:gd name="connsiteY119" fmla="*/ 11419 h 439793"/>
              <a:gd name="connsiteX120" fmla="*/ 436705 w 856124"/>
              <a:gd name="connsiteY120" fmla="*/ 12113 h 439793"/>
              <a:gd name="connsiteX121" fmla="*/ 458339 w 856124"/>
              <a:gd name="connsiteY121" fmla="*/ 10262 h 439793"/>
              <a:gd name="connsiteX122" fmla="*/ 476733 w 856124"/>
              <a:gd name="connsiteY122" fmla="*/ 8642 h 439793"/>
              <a:gd name="connsiteX123" fmla="*/ 495417 w 856124"/>
              <a:gd name="connsiteY123" fmla="*/ 14138 h 439793"/>
              <a:gd name="connsiteX124" fmla="*/ 512770 w 856124"/>
              <a:gd name="connsiteY124" fmla="*/ 23103 h 439793"/>
              <a:gd name="connsiteX125" fmla="*/ 515200 w 856124"/>
              <a:gd name="connsiteY125" fmla="*/ 22178 h 439793"/>
              <a:gd name="connsiteX126" fmla="*/ 514448 w 856124"/>
              <a:gd name="connsiteY126" fmla="*/ 16683 h 439793"/>
              <a:gd name="connsiteX127" fmla="*/ 515142 w 856124"/>
              <a:gd name="connsiteY127" fmla="*/ 10435 h 439793"/>
              <a:gd name="connsiteX128" fmla="*/ 543196 w 856124"/>
              <a:gd name="connsiteY128" fmla="*/ -92 h 439793"/>
              <a:gd name="connsiteX129" fmla="*/ 563557 w 856124"/>
              <a:gd name="connsiteY129" fmla="*/ 6907 h 439793"/>
              <a:gd name="connsiteX130" fmla="*/ 572234 w 856124"/>
              <a:gd name="connsiteY130" fmla="*/ 10725 h 439793"/>
              <a:gd name="connsiteX131" fmla="*/ 586984 w 856124"/>
              <a:gd name="connsiteY131" fmla="*/ 5808 h 439793"/>
              <a:gd name="connsiteX132" fmla="*/ 603238 w 856124"/>
              <a:gd name="connsiteY132" fmla="*/ 428 h 439793"/>
              <a:gd name="connsiteX133" fmla="*/ 611857 w 856124"/>
              <a:gd name="connsiteY133" fmla="*/ 3147 h 439793"/>
              <a:gd name="connsiteX134" fmla="*/ 681791 w 856124"/>
              <a:gd name="connsiteY134" fmla="*/ 11014 h 439793"/>
              <a:gd name="connsiteX135" fmla="*/ 709325 w 856124"/>
              <a:gd name="connsiteY135" fmla="*/ 13906 h 439793"/>
              <a:gd name="connsiteX136" fmla="*/ 707300 w 856124"/>
              <a:gd name="connsiteY136" fmla="*/ 16046 h 439793"/>
              <a:gd name="connsiteX137" fmla="*/ 683006 w 856124"/>
              <a:gd name="connsiteY137" fmla="*/ 34094 h 439793"/>
              <a:gd name="connsiteX138" fmla="*/ 683873 w 856124"/>
              <a:gd name="connsiteY138" fmla="*/ 34094 h 439793"/>
              <a:gd name="connsiteX139" fmla="*/ 695442 w 856124"/>
              <a:gd name="connsiteY139" fmla="*/ 30855 h 439793"/>
              <a:gd name="connsiteX140" fmla="*/ 747502 w 856124"/>
              <a:gd name="connsiteY140" fmla="*/ 18534 h 439793"/>
              <a:gd name="connsiteX141" fmla="*/ 759071 w 856124"/>
              <a:gd name="connsiteY141" fmla="*/ 23219 h 439793"/>
              <a:gd name="connsiteX142" fmla="*/ 764508 w 856124"/>
              <a:gd name="connsiteY142" fmla="*/ 24781 h 439793"/>
              <a:gd name="connsiteX143" fmla="*/ 771103 w 856124"/>
              <a:gd name="connsiteY143" fmla="*/ 24781 h 439793"/>
              <a:gd name="connsiteX144" fmla="*/ 778796 w 856124"/>
              <a:gd name="connsiteY144" fmla="*/ 24376 h 439793"/>
              <a:gd name="connsiteX145" fmla="*/ 789150 w 856124"/>
              <a:gd name="connsiteY145" fmla="*/ 27268 h 439793"/>
              <a:gd name="connsiteX146" fmla="*/ 790596 w 856124"/>
              <a:gd name="connsiteY146" fmla="*/ 32243 h 439793"/>
              <a:gd name="connsiteX147" fmla="*/ 793488 w 856124"/>
              <a:gd name="connsiteY147" fmla="*/ 40110 h 439793"/>
              <a:gd name="connsiteX148" fmla="*/ 821138 w 856124"/>
              <a:gd name="connsiteY148" fmla="*/ 48960 h 439793"/>
              <a:gd name="connsiteX149" fmla="*/ 831665 w 856124"/>
              <a:gd name="connsiteY149" fmla="*/ 48034 h 439793"/>
              <a:gd name="connsiteX150" fmla="*/ 842425 w 856124"/>
              <a:gd name="connsiteY150" fmla="*/ 47051 h 439793"/>
              <a:gd name="connsiteX151" fmla="*/ 855902 w 856124"/>
              <a:gd name="connsiteY151" fmla="*/ 52315 h 439793"/>
              <a:gd name="connsiteX152" fmla="*/ 825129 w 856124"/>
              <a:gd name="connsiteY152" fmla="*/ 76783 h 439793"/>
              <a:gd name="connsiteX153" fmla="*/ 751031 w 856124"/>
              <a:gd name="connsiteY153" fmla="*/ 102350 h 439793"/>
              <a:gd name="connsiteX154" fmla="*/ 740734 w 856124"/>
              <a:gd name="connsiteY154" fmla="*/ 101135 h 439793"/>
              <a:gd name="connsiteX155" fmla="*/ 734140 w 856124"/>
              <a:gd name="connsiteY155" fmla="*/ 100557 h 439793"/>
              <a:gd name="connsiteX156" fmla="*/ 676296 w 856124"/>
              <a:gd name="connsiteY156" fmla="*/ 113051 h 439793"/>
              <a:gd name="connsiteX157" fmla="*/ 676296 w 856124"/>
              <a:gd name="connsiteY157" fmla="*/ 113051 h 439793"/>
              <a:gd name="connsiteX158" fmla="*/ 677164 w 856124"/>
              <a:gd name="connsiteY158" fmla="*/ 113514 h 439793"/>
              <a:gd name="connsiteX159" fmla="*/ 685262 w 856124"/>
              <a:gd name="connsiteY159" fmla="*/ 114382 h 439793"/>
              <a:gd name="connsiteX160" fmla="*/ 709036 w 856124"/>
              <a:gd name="connsiteY160" fmla="*/ 112878 h 439793"/>
              <a:gd name="connsiteX161" fmla="*/ 738710 w 856124"/>
              <a:gd name="connsiteY161" fmla="*/ 111085 h 439793"/>
              <a:gd name="connsiteX162" fmla="*/ 757856 w 856124"/>
              <a:gd name="connsiteY162" fmla="*/ 115307 h 439793"/>
              <a:gd name="connsiteX163" fmla="*/ 759013 w 856124"/>
              <a:gd name="connsiteY163" fmla="*/ 119588 h 439793"/>
              <a:gd name="connsiteX164" fmla="*/ 730091 w 856124"/>
              <a:gd name="connsiteY164" fmla="*/ 135379 h 439793"/>
              <a:gd name="connsiteX165" fmla="*/ 667388 w 856124"/>
              <a:gd name="connsiteY165" fmla="*/ 159153 h 439793"/>
              <a:gd name="connsiteX166" fmla="*/ 632681 w 856124"/>
              <a:gd name="connsiteY166" fmla="*/ 179109 h 439793"/>
              <a:gd name="connsiteX167" fmla="*/ 580969 w 856124"/>
              <a:gd name="connsiteY167" fmla="*/ 204098 h 439793"/>
              <a:gd name="connsiteX168" fmla="*/ 573506 w 856124"/>
              <a:gd name="connsiteY168" fmla="*/ 212081 h 439793"/>
              <a:gd name="connsiteX169" fmla="*/ 558178 w 856124"/>
              <a:gd name="connsiteY169" fmla="*/ 228335 h 439793"/>
              <a:gd name="connsiteX170" fmla="*/ 548518 w 856124"/>
              <a:gd name="connsiteY170" fmla="*/ 229318 h 439793"/>
              <a:gd name="connsiteX171" fmla="*/ 524628 w 856124"/>
              <a:gd name="connsiteY171" fmla="*/ 225327 h 439793"/>
              <a:gd name="connsiteX172" fmla="*/ 505366 w 856124"/>
              <a:gd name="connsiteY172" fmla="*/ 224459 h 439793"/>
              <a:gd name="connsiteX173" fmla="*/ 503399 w 856124"/>
              <a:gd name="connsiteY173" fmla="*/ 232847 h 439793"/>
              <a:gd name="connsiteX174" fmla="*/ 500334 w 856124"/>
              <a:gd name="connsiteY174" fmla="*/ 244763 h 439793"/>
              <a:gd name="connsiteX175" fmla="*/ 477774 w 856124"/>
              <a:gd name="connsiteY175" fmla="*/ 250547 h 439793"/>
              <a:gd name="connsiteX176" fmla="*/ 470659 w 856124"/>
              <a:gd name="connsiteY176" fmla="*/ 250547 h 439793"/>
              <a:gd name="connsiteX177" fmla="*/ 462156 w 856124"/>
              <a:gd name="connsiteY177" fmla="*/ 250547 h 439793"/>
              <a:gd name="connsiteX178" fmla="*/ 402750 w 856124"/>
              <a:gd name="connsiteY178" fmla="*/ 263446 h 439793"/>
              <a:gd name="connsiteX179" fmla="*/ 402750 w 856124"/>
              <a:gd name="connsiteY179" fmla="*/ 263446 h 439793"/>
              <a:gd name="connsiteX180" fmla="*/ 408940 w 856124"/>
              <a:gd name="connsiteY180" fmla="*/ 264314 h 439793"/>
              <a:gd name="connsiteX181" fmla="*/ 421145 w 856124"/>
              <a:gd name="connsiteY181" fmla="*/ 264314 h 439793"/>
              <a:gd name="connsiteX182" fmla="*/ 437572 w 856124"/>
              <a:gd name="connsiteY182" fmla="*/ 264025 h 439793"/>
              <a:gd name="connsiteX183" fmla="*/ 479683 w 856124"/>
              <a:gd name="connsiteY183" fmla="*/ 272817 h 439793"/>
              <a:gd name="connsiteX184" fmla="*/ 482749 w 856124"/>
              <a:gd name="connsiteY184" fmla="*/ 281494 h 439793"/>
              <a:gd name="connsiteX185" fmla="*/ 427103 w 856124"/>
              <a:gd name="connsiteY185" fmla="*/ 338297 h 439793"/>
              <a:gd name="connsiteX186" fmla="*/ 407147 w 856124"/>
              <a:gd name="connsiteY186" fmla="*/ 337256 h 439793"/>
              <a:gd name="connsiteX187" fmla="*/ 390198 w 856124"/>
              <a:gd name="connsiteY187" fmla="*/ 336388 h 439793"/>
              <a:gd name="connsiteX188" fmla="*/ 377357 w 856124"/>
              <a:gd name="connsiteY188" fmla="*/ 340726 h 439793"/>
              <a:gd name="connsiteX189" fmla="*/ 380712 w 856124"/>
              <a:gd name="connsiteY189" fmla="*/ 349461 h 439793"/>
              <a:gd name="connsiteX190" fmla="*/ 383662 w 856124"/>
              <a:gd name="connsiteY190" fmla="*/ 361030 h 439793"/>
              <a:gd name="connsiteX191" fmla="*/ 371688 w 856124"/>
              <a:gd name="connsiteY191" fmla="*/ 368318 h 439793"/>
              <a:gd name="connsiteX192" fmla="*/ 327668 w 856124"/>
              <a:gd name="connsiteY192" fmla="*/ 374103 h 439793"/>
              <a:gd name="connsiteX193" fmla="*/ 299614 w 856124"/>
              <a:gd name="connsiteY193" fmla="*/ 370516 h 439793"/>
              <a:gd name="connsiteX194" fmla="*/ 293829 w 856124"/>
              <a:gd name="connsiteY194" fmla="*/ 369649 h 439793"/>
              <a:gd name="connsiteX195" fmla="*/ 280467 w 856124"/>
              <a:gd name="connsiteY195" fmla="*/ 376185 h 439793"/>
              <a:gd name="connsiteX196" fmla="*/ 280120 w 856124"/>
              <a:gd name="connsiteY196" fmla="*/ 380986 h 439793"/>
              <a:gd name="connsiteX197" fmla="*/ 291168 w 856124"/>
              <a:gd name="connsiteY197" fmla="*/ 384630 h 439793"/>
              <a:gd name="connsiteX198" fmla="*/ 298573 w 856124"/>
              <a:gd name="connsiteY198" fmla="*/ 384052 h 439793"/>
              <a:gd name="connsiteX199" fmla="*/ 324140 w 856124"/>
              <a:gd name="connsiteY199" fmla="*/ 382027 h 439793"/>
              <a:gd name="connsiteX200" fmla="*/ 356764 w 856124"/>
              <a:gd name="connsiteY200" fmla="*/ 395794 h 439793"/>
              <a:gd name="connsiteX201" fmla="*/ 358708 w 856124"/>
              <a:gd name="connsiteY201" fmla="*/ 397425 h 439793"/>
              <a:gd name="connsiteX202" fmla="*/ 358788 w 856124"/>
              <a:gd name="connsiteY202" fmla="*/ 397414 h 439793"/>
              <a:gd name="connsiteX203" fmla="*/ 367060 w 856124"/>
              <a:gd name="connsiteY203" fmla="*/ 394695 h 439793"/>
              <a:gd name="connsiteX204" fmla="*/ 380596 w 856124"/>
              <a:gd name="connsiteY204" fmla="*/ 390704 h 439793"/>
              <a:gd name="connsiteX205" fmla="*/ 389330 w 856124"/>
              <a:gd name="connsiteY205" fmla="*/ 395505 h 439793"/>
              <a:gd name="connsiteX206" fmla="*/ 392512 w 856124"/>
              <a:gd name="connsiteY206" fmla="*/ 414420 h 439793"/>
              <a:gd name="connsiteX207" fmla="*/ 376258 w 856124"/>
              <a:gd name="connsiteY207" fmla="*/ 421477 h 439793"/>
              <a:gd name="connsiteX208" fmla="*/ 346641 w 856124"/>
              <a:gd name="connsiteY208" fmla="*/ 430906 h 439793"/>
              <a:gd name="connsiteX209" fmla="*/ 318760 w 856124"/>
              <a:gd name="connsiteY209" fmla="*/ 439640 h 439793"/>
              <a:gd name="connsiteX210" fmla="*/ 228523 w 856124"/>
              <a:gd name="connsiteY210" fmla="*/ 417254 h 439793"/>
              <a:gd name="connsiteX211" fmla="*/ 243447 w 856124"/>
              <a:gd name="connsiteY211" fmla="*/ 417775 h 439793"/>
              <a:gd name="connsiteX212" fmla="*/ 260800 w 856124"/>
              <a:gd name="connsiteY212" fmla="*/ 418353 h 439793"/>
              <a:gd name="connsiteX213" fmla="*/ 302737 w 856124"/>
              <a:gd name="connsiteY213" fmla="*/ 431947 h 439793"/>
              <a:gd name="connsiteX214" fmla="*/ 318644 w 856124"/>
              <a:gd name="connsiteY214" fmla="*/ 437326 h 439793"/>
              <a:gd name="connsiteX215" fmla="*/ 344906 w 856124"/>
              <a:gd name="connsiteY215" fmla="*/ 428245 h 439793"/>
              <a:gd name="connsiteX216" fmla="*/ 375853 w 856124"/>
              <a:gd name="connsiteY216" fmla="*/ 418353 h 439793"/>
              <a:gd name="connsiteX217" fmla="*/ 390140 w 856124"/>
              <a:gd name="connsiteY217" fmla="*/ 412569 h 439793"/>
              <a:gd name="connsiteX218" fmla="*/ 387016 w 856124"/>
              <a:gd name="connsiteY218" fmla="*/ 395910 h 439793"/>
              <a:gd name="connsiteX219" fmla="*/ 380191 w 856124"/>
              <a:gd name="connsiteY219" fmla="*/ 392150 h 439793"/>
              <a:gd name="connsiteX220" fmla="*/ 367523 w 856124"/>
              <a:gd name="connsiteY220" fmla="*/ 395910 h 439793"/>
              <a:gd name="connsiteX221" fmla="*/ 358383 w 856124"/>
              <a:gd name="connsiteY221" fmla="*/ 398860 h 439793"/>
              <a:gd name="connsiteX222" fmla="*/ 354161 w 856124"/>
              <a:gd name="connsiteY222" fmla="*/ 395563 h 439793"/>
              <a:gd name="connsiteX223" fmla="*/ 323735 w 856124"/>
              <a:gd name="connsiteY223" fmla="*/ 383473 h 439793"/>
              <a:gd name="connsiteX224" fmla="*/ 298515 w 856124"/>
              <a:gd name="connsiteY224" fmla="*/ 385498 h 439793"/>
              <a:gd name="connsiteX225" fmla="*/ 290764 w 856124"/>
              <a:gd name="connsiteY225" fmla="*/ 386076 h 439793"/>
              <a:gd name="connsiteX226" fmla="*/ 277806 w 856124"/>
              <a:gd name="connsiteY226" fmla="*/ 381275 h 439793"/>
              <a:gd name="connsiteX227" fmla="*/ 277806 w 856124"/>
              <a:gd name="connsiteY227" fmla="*/ 374218 h 439793"/>
              <a:gd name="connsiteX228" fmla="*/ 293135 w 856124"/>
              <a:gd name="connsiteY228" fmla="*/ 366583 h 439793"/>
              <a:gd name="connsiteX229" fmla="*/ 299614 w 856124"/>
              <a:gd name="connsiteY229" fmla="*/ 367566 h 439793"/>
              <a:gd name="connsiteX230" fmla="*/ 327032 w 856124"/>
              <a:gd name="connsiteY230" fmla="*/ 371037 h 439793"/>
              <a:gd name="connsiteX231" fmla="*/ 370473 w 856124"/>
              <a:gd name="connsiteY231" fmla="*/ 365252 h 439793"/>
              <a:gd name="connsiteX232" fmla="*/ 380943 w 856124"/>
              <a:gd name="connsiteY232" fmla="*/ 359468 h 439793"/>
              <a:gd name="connsiteX233" fmla="*/ 378109 w 856124"/>
              <a:gd name="connsiteY233" fmla="*/ 349692 h 439793"/>
              <a:gd name="connsiteX234" fmla="*/ 374464 w 856124"/>
              <a:gd name="connsiteY234" fmla="*/ 339859 h 439793"/>
              <a:gd name="connsiteX235" fmla="*/ 389562 w 856124"/>
              <a:gd name="connsiteY235" fmla="*/ 333264 h 439793"/>
              <a:gd name="connsiteX236" fmla="*/ 406915 w 856124"/>
              <a:gd name="connsiteY236" fmla="*/ 334132 h 439793"/>
              <a:gd name="connsiteX237" fmla="*/ 426698 w 856124"/>
              <a:gd name="connsiteY237" fmla="*/ 335116 h 439793"/>
              <a:gd name="connsiteX238" fmla="*/ 480088 w 856124"/>
              <a:gd name="connsiteY238" fmla="*/ 280453 h 439793"/>
              <a:gd name="connsiteX239" fmla="*/ 477601 w 856124"/>
              <a:gd name="connsiteY239" fmla="*/ 273454 h 439793"/>
              <a:gd name="connsiteX240" fmla="*/ 437110 w 856124"/>
              <a:gd name="connsiteY240" fmla="*/ 265413 h 439793"/>
              <a:gd name="connsiteX241" fmla="*/ 420740 w 856124"/>
              <a:gd name="connsiteY241" fmla="*/ 265413 h 439793"/>
              <a:gd name="connsiteX242" fmla="*/ 408477 w 856124"/>
              <a:gd name="connsiteY242" fmla="*/ 265413 h 439793"/>
              <a:gd name="connsiteX243" fmla="*/ 402692 w 856124"/>
              <a:gd name="connsiteY243" fmla="*/ 264835 h 439793"/>
              <a:gd name="connsiteX244" fmla="*/ 400089 w 856124"/>
              <a:gd name="connsiteY244" fmla="*/ 262290 h 439793"/>
              <a:gd name="connsiteX245" fmla="*/ 461752 w 856124"/>
              <a:gd name="connsiteY245" fmla="*/ 247192 h 439793"/>
              <a:gd name="connsiteX246" fmla="*/ 470370 w 856124"/>
              <a:gd name="connsiteY246" fmla="*/ 247192 h 439793"/>
              <a:gd name="connsiteX247" fmla="*/ 477369 w 856124"/>
              <a:gd name="connsiteY247" fmla="*/ 247192 h 439793"/>
              <a:gd name="connsiteX248" fmla="*/ 498309 w 856124"/>
              <a:gd name="connsiteY248" fmla="*/ 242218 h 439793"/>
              <a:gd name="connsiteX249" fmla="*/ 500739 w 856124"/>
              <a:gd name="connsiteY249" fmla="*/ 231979 h 439793"/>
              <a:gd name="connsiteX250" fmla="*/ 503515 w 856124"/>
              <a:gd name="connsiteY250" fmla="*/ 221799 h 439793"/>
              <a:gd name="connsiteX251" fmla="*/ 510572 w 856124"/>
              <a:gd name="connsiteY251" fmla="*/ 219600 h 439793"/>
              <a:gd name="connsiteX252" fmla="*/ 524802 w 856124"/>
              <a:gd name="connsiteY252" fmla="*/ 222261 h 439793"/>
              <a:gd name="connsiteX253" fmla="*/ 547939 w 856124"/>
              <a:gd name="connsiteY253" fmla="*/ 226137 h 439793"/>
              <a:gd name="connsiteX254" fmla="*/ 557137 w 856124"/>
              <a:gd name="connsiteY254" fmla="*/ 225211 h 439793"/>
              <a:gd name="connsiteX255" fmla="*/ 570730 w 856124"/>
              <a:gd name="connsiteY255" fmla="*/ 210808 h 439793"/>
              <a:gd name="connsiteX256" fmla="*/ 580390 w 856124"/>
              <a:gd name="connsiteY256" fmla="*/ 200917 h 439793"/>
              <a:gd name="connsiteX257" fmla="*/ 630946 w 856124"/>
              <a:gd name="connsiteY257" fmla="*/ 176217 h 439793"/>
              <a:gd name="connsiteX258" fmla="*/ 665653 w 856124"/>
              <a:gd name="connsiteY258" fmla="*/ 156261 h 439793"/>
              <a:gd name="connsiteX259" fmla="*/ 729455 w 856124"/>
              <a:gd name="connsiteY259" fmla="*/ 132545 h 439793"/>
              <a:gd name="connsiteX260" fmla="*/ 756526 w 856124"/>
              <a:gd name="connsiteY260" fmla="*/ 118604 h 439793"/>
              <a:gd name="connsiteX261" fmla="*/ 755832 w 856124"/>
              <a:gd name="connsiteY261" fmla="*/ 116117 h 439793"/>
              <a:gd name="connsiteX262" fmla="*/ 738478 w 856124"/>
              <a:gd name="connsiteY262" fmla="*/ 112704 h 439793"/>
              <a:gd name="connsiteX263" fmla="*/ 708978 w 856124"/>
              <a:gd name="connsiteY263" fmla="*/ 114497 h 439793"/>
              <a:gd name="connsiteX264" fmla="*/ 685030 w 856124"/>
              <a:gd name="connsiteY264" fmla="*/ 116001 h 439793"/>
              <a:gd name="connsiteX265" fmla="*/ 676065 w 856124"/>
              <a:gd name="connsiteY265" fmla="*/ 114960 h 439793"/>
              <a:gd name="connsiteX266" fmla="*/ 673866 w 856124"/>
              <a:gd name="connsiteY266" fmla="*/ 112068 h 439793"/>
              <a:gd name="connsiteX267" fmla="*/ 733851 w 856124"/>
              <a:gd name="connsiteY267" fmla="*/ 97607 h 439793"/>
              <a:gd name="connsiteX268" fmla="*/ 741024 w 856124"/>
              <a:gd name="connsiteY268" fmla="*/ 98301 h 439793"/>
              <a:gd name="connsiteX269" fmla="*/ 750741 w 856124"/>
              <a:gd name="connsiteY269" fmla="*/ 99458 h 439793"/>
              <a:gd name="connsiteX270" fmla="*/ 823857 w 856124"/>
              <a:gd name="connsiteY270" fmla="*/ 74122 h 439793"/>
              <a:gd name="connsiteX271" fmla="*/ 853415 w 856124"/>
              <a:gd name="connsiteY271" fmla="*/ 52199 h 439793"/>
              <a:gd name="connsiteX272" fmla="*/ 841846 w 856124"/>
              <a:gd name="connsiteY272" fmla="*/ 48671 h 439793"/>
              <a:gd name="connsiteX273" fmla="*/ 831492 w 856124"/>
              <a:gd name="connsiteY273" fmla="*/ 49654 h 439793"/>
              <a:gd name="connsiteX274" fmla="*/ 820559 w 856124"/>
              <a:gd name="connsiteY274" fmla="*/ 50579 h 439793"/>
              <a:gd name="connsiteX275" fmla="*/ 791232 w 856124"/>
              <a:gd name="connsiteY275" fmla="*/ 41035 h 439793"/>
              <a:gd name="connsiteX276" fmla="*/ 787762 w 856124"/>
              <a:gd name="connsiteY276" fmla="*/ 31433 h 439793"/>
              <a:gd name="connsiteX277" fmla="*/ 786952 w 856124"/>
              <a:gd name="connsiteY277" fmla="*/ 28425 h 439793"/>
              <a:gd name="connsiteX278" fmla="*/ 778275 w 856124"/>
              <a:gd name="connsiteY278" fmla="*/ 26285 h 439793"/>
              <a:gd name="connsiteX279" fmla="*/ 770756 w 856124"/>
              <a:gd name="connsiteY279" fmla="*/ 26690 h 439793"/>
              <a:gd name="connsiteX280" fmla="*/ 763988 w 856124"/>
              <a:gd name="connsiteY280" fmla="*/ 26979 h 439793"/>
              <a:gd name="connsiteX281" fmla="*/ 756352 w 856124"/>
              <a:gd name="connsiteY281" fmla="*/ 23508 h 439793"/>
              <a:gd name="connsiteX282" fmla="*/ 747213 w 856124"/>
              <a:gd name="connsiteY282" fmla="*/ 20732 h 439793"/>
              <a:gd name="connsiteX283" fmla="*/ 696078 w 856124"/>
              <a:gd name="connsiteY283" fmla="*/ 32879 h 439793"/>
              <a:gd name="connsiteX284" fmla="*/ 683526 w 856124"/>
              <a:gd name="connsiteY284" fmla="*/ 36292 h 439793"/>
              <a:gd name="connsiteX285" fmla="*/ 680461 w 856124"/>
              <a:gd name="connsiteY285" fmla="*/ 34383 h 439793"/>
              <a:gd name="connsiteX286" fmla="*/ 705102 w 856124"/>
              <a:gd name="connsiteY286" fmla="*/ 14253 h 439793"/>
              <a:gd name="connsiteX287" fmla="*/ 681328 w 856124"/>
              <a:gd name="connsiteY287" fmla="*/ 13154 h 439793"/>
              <a:gd name="connsiteX288" fmla="*/ 610238 w 856124"/>
              <a:gd name="connsiteY288" fmla="*/ 4882 h 439793"/>
              <a:gd name="connsiteX289" fmla="*/ 602891 w 856124"/>
              <a:gd name="connsiteY289" fmla="*/ 2569 h 439793"/>
              <a:gd name="connsiteX290" fmla="*/ 587620 w 856124"/>
              <a:gd name="connsiteY290" fmla="*/ 7717 h 439793"/>
              <a:gd name="connsiteX291" fmla="*/ 571887 w 856124"/>
              <a:gd name="connsiteY291" fmla="*/ 12865 h 439793"/>
              <a:gd name="connsiteX292" fmla="*/ 561591 w 856124"/>
              <a:gd name="connsiteY292" fmla="*/ 8353 h 439793"/>
              <a:gd name="connsiteX293" fmla="*/ 542849 w 856124"/>
              <a:gd name="connsiteY293" fmla="*/ 2048 h 439793"/>
              <a:gd name="connsiteX294" fmla="*/ 516704 w 856124"/>
              <a:gd name="connsiteY294" fmla="*/ 11535 h 439793"/>
              <a:gd name="connsiteX295" fmla="*/ 516183 w 856124"/>
              <a:gd name="connsiteY295" fmla="*/ 15641 h 439793"/>
              <a:gd name="connsiteX296" fmla="*/ 516704 w 856124"/>
              <a:gd name="connsiteY296" fmla="*/ 23277 h 439793"/>
              <a:gd name="connsiteX297" fmla="*/ 512423 w 856124"/>
              <a:gd name="connsiteY297" fmla="*/ 25244 h 439793"/>
              <a:gd name="connsiteX298" fmla="*/ 493855 w 856124"/>
              <a:gd name="connsiteY298" fmla="*/ 15757 h 439793"/>
              <a:gd name="connsiteX299" fmla="*/ 476502 w 856124"/>
              <a:gd name="connsiteY299" fmla="*/ 10783 h 439793"/>
              <a:gd name="connsiteX300" fmla="*/ 458396 w 856124"/>
              <a:gd name="connsiteY300" fmla="*/ 12402 h 439793"/>
              <a:gd name="connsiteX301" fmla="*/ 436473 w 856124"/>
              <a:gd name="connsiteY301" fmla="*/ 14253 h 439793"/>
              <a:gd name="connsiteX302" fmla="*/ 426466 w 856124"/>
              <a:gd name="connsiteY302" fmla="*/ 13559 h 439793"/>
              <a:gd name="connsiteX303" fmla="*/ 421723 w 856124"/>
              <a:gd name="connsiteY303" fmla="*/ 13212 h 439793"/>
              <a:gd name="connsiteX304" fmla="*/ 408072 w 856124"/>
              <a:gd name="connsiteY304" fmla="*/ 19691 h 439793"/>
              <a:gd name="connsiteX305" fmla="*/ 397081 w 856124"/>
              <a:gd name="connsiteY305" fmla="*/ 25475 h 439793"/>
              <a:gd name="connsiteX306" fmla="*/ 383777 w 856124"/>
              <a:gd name="connsiteY306" fmla="*/ 21947 h 439793"/>
              <a:gd name="connsiteX307" fmla="*/ 349071 w 856124"/>
              <a:gd name="connsiteY307" fmla="*/ 14832 h 439793"/>
              <a:gd name="connsiteX308" fmla="*/ 334320 w 856124"/>
              <a:gd name="connsiteY308" fmla="*/ 17145 h 439793"/>
              <a:gd name="connsiteX309" fmla="*/ 334899 w 856124"/>
              <a:gd name="connsiteY309" fmla="*/ 17435 h 439793"/>
              <a:gd name="connsiteX310" fmla="*/ 338543 w 856124"/>
              <a:gd name="connsiteY310" fmla="*/ 22294 h 439793"/>
              <a:gd name="connsiteX311" fmla="*/ 326569 w 856124"/>
              <a:gd name="connsiteY311" fmla="*/ 28078 h 439793"/>
              <a:gd name="connsiteX312" fmla="*/ 319628 w 856124"/>
              <a:gd name="connsiteY312" fmla="*/ 27037 h 439793"/>
              <a:gd name="connsiteX313" fmla="*/ 312340 w 856124"/>
              <a:gd name="connsiteY313" fmla="*/ 25880 h 439793"/>
              <a:gd name="connsiteX314" fmla="*/ 303258 w 856124"/>
              <a:gd name="connsiteY314" fmla="*/ 29640 h 439793"/>
              <a:gd name="connsiteX315" fmla="*/ 303952 w 856124"/>
              <a:gd name="connsiteY315" fmla="*/ 38721 h 439793"/>
              <a:gd name="connsiteX316" fmla="*/ 303952 w 856124"/>
              <a:gd name="connsiteY316" fmla="*/ 42713 h 439793"/>
              <a:gd name="connsiteX317" fmla="*/ 294292 w 856124"/>
              <a:gd name="connsiteY317" fmla="*/ 45316 h 439793"/>
              <a:gd name="connsiteX318" fmla="*/ 283707 w 856124"/>
              <a:gd name="connsiteY318" fmla="*/ 44853 h 439793"/>
              <a:gd name="connsiteX319" fmla="*/ 272138 w 856124"/>
              <a:gd name="connsiteY319" fmla="*/ 44332 h 439793"/>
              <a:gd name="connsiteX320" fmla="*/ 259297 w 856124"/>
              <a:gd name="connsiteY320" fmla="*/ 48960 h 439793"/>
              <a:gd name="connsiteX321" fmla="*/ 241955 w 856124"/>
              <a:gd name="connsiteY321" fmla="*/ 64786 h 439793"/>
              <a:gd name="connsiteX322" fmla="*/ 241423 w 856124"/>
              <a:gd name="connsiteY322" fmla="*/ 64751 h 439793"/>
              <a:gd name="connsiteX323" fmla="*/ 224763 w 856124"/>
              <a:gd name="connsiteY323" fmla="*/ 58331 h 439793"/>
              <a:gd name="connsiteX324" fmla="*/ 185487 w 856124"/>
              <a:gd name="connsiteY324" fmla="*/ 47224 h 439793"/>
              <a:gd name="connsiteX325" fmla="*/ 176984 w 856124"/>
              <a:gd name="connsiteY325" fmla="*/ 49018 h 439793"/>
              <a:gd name="connsiteX326" fmla="*/ 178951 w 856124"/>
              <a:gd name="connsiteY326" fmla="*/ 51736 h 439793"/>
              <a:gd name="connsiteX327" fmla="*/ 181380 w 856124"/>
              <a:gd name="connsiteY327" fmla="*/ 56364 h 439793"/>
              <a:gd name="connsiteX328" fmla="*/ 164663 w 856124"/>
              <a:gd name="connsiteY328" fmla="*/ 61570 h 439793"/>
              <a:gd name="connsiteX329" fmla="*/ 150260 w 856124"/>
              <a:gd name="connsiteY329" fmla="*/ 65041 h 439793"/>
              <a:gd name="connsiteX330" fmla="*/ 152284 w 856124"/>
              <a:gd name="connsiteY330" fmla="*/ 67470 h 439793"/>
              <a:gd name="connsiteX331" fmla="*/ 156160 w 856124"/>
              <a:gd name="connsiteY331" fmla="*/ 75742 h 439793"/>
              <a:gd name="connsiteX332" fmla="*/ 134121 w 856124"/>
              <a:gd name="connsiteY332" fmla="*/ 84245 h 439793"/>
              <a:gd name="connsiteX333" fmla="*/ 132270 w 856124"/>
              <a:gd name="connsiteY333" fmla="*/ 81642 h 439793"/>
              <a:gd name="connsiteX334" fmla="*/ 105951 w 856124"/>
              <a:gd name="connsiteY334" fmla="*/ 72098 h 439793"/>
              <a:gd name="connsiteX335" fmla="*/ 91779 w 856124"/>
              <a:gd name="connsiteY335" fmla="*/ 76436 h 439793"/>
              <a:gd name="connsiteX336" fmla="*/ 81541 w 856124"/>
              <a:gd name="connsiteY336" fmla="*/ 88005 h 439793"/>
              <a:gd name="connsiteX337" fmla="*/ 72633 w 856124"/>
              <a:gd name="connsiteY337" fmla="*/ 95756 h 439793"/>
              <a:gd name="connsiteX338" fmla="*/ 68352 w 856124"/>
              <a:gd name="connsiteY338" fmla="*/ 93269 h 439793"/>
              <a:gd name="connsiteX339" fmla="*/ 53776 w 856124"/>
              <a:gd name="connsiteY339" fmla="*/ 89451 h 439793"/>
              <a:gd name="connsiteX340" fmla="*/ 11434 w 856124"/>
              <a:gd name="connsiteY340" fmla="*/ 98475 h 439793"/>
              <a:gd name="connsiteX341" fmla="*/ 2178 w 856124"/>
              <a:gd name="connsiteY341" fmla="*/ 104837 h 439793"/>
              <a:gd name="connsiteX342" fmla="*/ 11954 w 856124"/>
              <a:gd name="connsiteY342" fmla="*/ 107787 h 439793"/>
              <a:gd name="connsiteX343" fmla="*/ 31043 w 856124"/>
              <a:gd name="connsiteY343" fmla="*/ 102524 h 439793"/>
              <a:gd name="connsiteX344" fmla="*/ 47644 w 856124"/>
              <a:gd name="connsiteY344" fmla="*/ 96739 h 439793"/>
              <a:gd name="connsiteX345" fmla="*/ 54643 w 856124"/>
              <a:gd name="connsiteY345" fmla="*/ 100268 h 439793"/>
              <a:gd name="connsiteX346" fmla="*/ 47876 w 856124"/>
              <a:gd name="connsiteY346" fmla="*/ 108077 h 439793"/>
              <a:gd name="connsiteX347" fmla="*/ 40124 w 856124"/>
              <a:gd name="connsiteY347" fmla="*/ 114382 h 439793"/>
              <a:gd name="connsiteX348" fmla="*/ 52445 w 856124"/>
              <a:gd name="connsiteY348" fmla="*/ 116985 h 439793"/>
              <a:gd name="connsiteX349" fmla="*/ 58230 w 856124"/>
              <a:gd name="connsiteY349" fmla="*/ 116985 h 439793"/>
              <a:gd name="connsiteX350" fmla="*/ 61990 w 856124"/>
              <a:gd name="connsiteY350" fmla="*/ 116985 h 439793"/>
              <a:gd name="connsiteX351" fmla="*/ 66733 w 856124"/>
              <a:gd name="connsiteY351" fmla="*/ 118489 h 439793"/>
              <a:gd name="connsiteX352" fmla="*/ 62221 w 856124"/>
              <a:gd name="connsiteY352" fmla="*/ 123405 h 439793"/>
              <a:gd name="connsiteX353" fmla="*/ 50941 w 856124"/>
              <a:gd name="connsiteY353" fmla="*/ 136420 h 439793"/>
              <a:gd name="connsiteX354" fmla="*/ 62510 w 856124"/>
              <a:gd name="connsiteY354" fmla="*/ 143824 h 439793"/>
              <a:gd name="connsiteX355" fmla="*/ 76508 w 856124"/>
              <a:gd name="connsiteY355" fmla="*/ 153253 h 439793"/>
              <a:gd name="connsiteX356" fmla="*/ 110521 w 856124"/>
              <a:gd name="connsiteY356" fmla="*/ 163665 h 439793"/>
              <a:gd name="connsiteX357" fmla="*/ 143666 w 856124"/>
              <a:gd name="connsiteY357" fmla="*/ 154988 h 439793"/>
              <a:gd name="connsiteX358" fmla="*/ 155235 w 856124"/>
              <a:gd name="connsiteY358" fmla="*/ 150303 h 439793"/>
              <a:gd name="connsiteX359" fmla="*/ 155235 w 856124"/>
              <a:gd name="connsiteY359" fmla="*/ 163723 h 439793"/>
              <a:gd name="connsiteX360" fmla="*/ 154309 w 856124"/>
              <a:gd name="connsiteY360" fmla="*/ 169507 h 439793"/>
              <a:gd name="connsiteX361" fmla="*/ 154772 w 856124"/>
              <a:gd name="connsiteY361" fmla="*/ 170549 h 439793"/>
              <a:gd name="connsiteX362" fmla="*/ 206832 w 856124"/>
              <a:gd name="connsiteY362" fmla="*/ 180266 h 439793"/>
              <a:gd name="connsiteX363" fmla="*/ 229969 w 856124"/>
              <a:gd name="connsiteY363" fmla="*/ 175118 h 439793"/>
              <a:gd name="connsiteX364" fmla="*/ 240960 w 856124"/>
              <a:gd name="connsiteY364" fmla="*/ 166557 h 439793"/>
              <a:gd name="connsiteX365" fmla="*/ 255016 w 856124"/>
              <a:gd name="connsiteY365" fmla="*/ 169276 h 439793"/>
              <a:gd name="connsiteX366" fmla="*/ 260453 w 856124"/>
              <a:gd name="connsiteY366" fmla="*/ 170664 h 439793"/>
              <a:gd name="connsiteX367" fmla="*/ 265601 w 856124"/>
              <a:gd name="connsiteY367" fmla="*/ 171185 h 439793"/>
              <a:gd name="connsiteX368" fmla="*/ 346583 w 856124"/>
              <a:gd name="connsiteY368" fmla="*/ 143824 h 439793"/>
              <a:gd name="connsiteX369" fmla="*/ 351038 w 856124"/>
              <a:gd name="connsiteY369" fmla="*/ 138040 h 439793"/>
              <a:gd name="connsiteX370" fmla="*/ 358615 w 856124"/>
              <a:gd name="connsiteY370" fmla="*/ 145675 h 439793"/>
              <a:gd name="connsiteX371" fmla="*/ 348319 w 856124"/>
              <a:gd name="connsiteY371" fmla="*/ 167830 h 439793"/>
              <a:gd name="connsiteX372" fmla="*/ 287177 w 856124"/>
              <a:gd name="connsiteY372" fmla="*/ 183043 h 439793"/>
              <a:gd name="connsiteX373" fmla="*/ 258255 w 856124"/>
              <a:gd name="connsiteY373" fmla="*/ 187381 h 439793"/>
              <a:gd name="connsiteX374" fmla="*/ 252471 w 856124"/>
              <a:gd name="connsiteY374" fmla="*/ 191141 h 439793"/>
              <a:gd name="connsiteX375" fmla="*/ 273989 w 856124"/>
              <a:gd name="connsiteY375" fmla="*/ 209362 h 439793"/>
              <a:gd name="connsiteX376" fmla="*/ 292325 w 856124"/>
              <a:gd name="connsiteY376" fmla="*/ 221799 h 439793"/>
              <a:gd name="connsiteX377" fmla="*/ 297705 w 856124"/>
              <a:gd name="connsiteY377" fmla="*/ 229608 h 439793"/>
              <a:gd name="connsiteX378" fmla="*/ 291920 w 856124"/>
              <a:gd name="connsiteY378" fmla="*/ 231979 h 439793"/>
              <a:gd name="connsiteX379" fmla="*/ 244546 w 856124"/>
              <a:gd name="connsiteY379" fmla="*/ 210114 h 439793"/>
              <a:gd name="connsiteX380" fmla="*/ 174844 w 856124"/>
              <a:gd name="connsiteY380" fmla="*/ 190620 h 439793"/>
              <a:gd name="connsiteX381" fmla="*/ 159399 w 856124"/>
              <a:gd name="connsiteY381" fmla="*/ 191083 h 439793"/>
              <a:gd name="connsiteX382" fmla="*/ 145922 w 856124"/>
              <a:gd name="connsiteY382" fmla="*/ 209709 h 439793"/>
              <a:gd name="connsiteX383" fmla="*/ 160556 w 856124"/>
              <a:gd name="connsiteY383" fmla="*/ 232442 h 439793"/>
              <a:gd name="connsiteX384" fmla="*/ 212616 w 856124"/>
              <a:gd name="connsiteY384" fmla="*/ 265644 h 439793"/>
              <a:gd name="connsiteX385" fmla="*/ 249752 w 856124"/>
              <a:gd name="connsiteY385" fmla="*/ 288377 h 439793"/>
              <a:gd name="connsiteX386" fmla="*/ 266064 w 856124"/>
              <a:gd name="connsiteY386" fmla="*/ 298963 h 439793"/>
              <a:gd name="connsiteX387" fmla="*/ 259181 w 856124"/>
              <a:gd name="connsiteY387" fmla="*/ 303706 h 439793"/>
              <a:gd name="connsiteX388" fmla="*/ 223896 w 856124"/>
              <a:gd name="connsiteY388" fmla="*/ 294856 h 439793"/>
              <a:gd name="connsiteX389" fmla="*/ 190809 w 856124"/>
              <a:gd name="connsiteY389" fmla="*/ 285601 h 439793"/>
              <a:gd name="connsiteX390" fmla="*/ 181091 w 856124"/>
              <a:gd name="connsiteY390" fmla="*/ 284733 h 439793"/>
              <a:gd name="connsiteX391" fmla="*/ 121916 w 856124"/>
              <a:gd name="connsiteY391" fmla="*/ 316027 h 439793"/>
              <a:gd name="connsiteX392" fmla="*/ 124346 w 856124"/>
              <a:gd name="connsiteY392" fmla="*/ 323315 h 439793"/>
              <a:gd name="connsiteX393" fmla="*/ 142335 w 856124"/>
              <a:gd name="connsiteY393" fmla="*/ 328637 h 439793"/>
              <a:gd name="connsiteX394" fmla="*/ 185603 w 856124"/>
              <a:gd name="connsiteY394" fmla="*/ 316200 h 439793"/>
              <a:gd name="connsiteX395" fmla="*/ 198502 w 856124"/>
              <a:gd name="connsiteY395" fmla="*/ 310416 h 439793"/>
              <a:gd name="connsiteX396" fmla="*/ 200527 w 856124"/>
              <a:gd name="connsiteY396" fmla="*/ 311573 h 439793"/>
              <a:gd name="connsiteX397" fmla="*/ 180917 w 856124"/>
              <a:gd name="connsiteY397" fmla="*/ 335000 h 439793"/>
              <a:gd name="connsiteX398" fmla="*/ 178777 w 856124"/>
              <a:gd name="connsiteY398" fmla="*/ 339165 h 439793"/>
              <a:gd name="connsiteX399" fmla="*/ 193817 w 856124"/>
              <a:gd name="connsiteY399" fmla="*/ 351890 h 439793"/>
              <a:gd name="connsiteX400" fmla="*/ 212790 w 856124"/>
              <a:gd name="connsiteY400" fmla="*/ 370574 h 439793"/>
              <a:gd name="connsiteX401" fmla="*/ 198618 w 856124"/>
              <a:gd name="connsiteY401" fmla="*/ 380523 h 439793"/>
              <a:gd name="connsiteX402" fmla="*/ 174207 w 856124"/>
              <a:gd name="connsiteY402" fmla="*/ 367219 h 439793"/>
              <a:gd name="connsiteX403" fmla="*/ 135278 w 856124"/>
              <a:gd name="connsiteY403" fmla="*/ 343503 h 439793"/>
              <a:gd name="connsiteX404" fmla="*/ 128163 w 856124"/>
              <a:gd name="connsiteY404" fmla="*/ 343503 h 439793"/>
              <a:gd name="connsiteX405" fmla="*/ 108207 w 856124"/>
              <a:gd name="connsiteY405" fmla="*/ 354667 h 439793"/>
              <a:gd name="connsiteX406" fmla="*/ 124519 w 856124"/>
              <a:gd name="connsiteY406" fmla="*/ 367913 h 439793"/>
              <a:gd name="connsiteX407" fmla="*/ 140369 w 856124"/>
              <a:gd name="connsiteY407" fmla="*/ 378730 h 439793"/>
              <a:gd name="connsiteX408" fmla="*/ 123015 w 856124"/>
              <a:gd name="connsiteY408" fmla="*/ 387118 h 439793"/>
              <a:gd name="connsiteX409" fmla="*/ 65865 w 856124"/>
              <a:gd name="connsiteY409" fmla="*/ 406611 h 439793"/>
              <a:gd name="connsiteX410" fmla="*/ 68063 w 856124"/>
              <a:gd name="connsiteY410" fmla="*/ 413032 h 439793"/>
              <a:gd name="connsiteX411" fmla="*/ 100977 w 856124"/>
              <a:gd name="connsiteY411" fmla="*/ 420147 h 439793"/>
              <a:gd name="connsiteX412" fmla="*/ 121106 w 856124"/>
              <a:gd name="connsiteY412" fmla="*/ 419568 h 439793"/>
              <a:gd name="connsiteX413" fmla="*/ 138460 w 856124"/>
              <a:gd name="connsiteY413" fmla="*/ 419048 h 439793"/>
              <a:gd name="connsiteX414" fmla="*/ 157780 w 856124"/>
              <a:gd name="connsiteY414" fmla="*/ 422750 h 439793"/>
              <a:gd name="connsiteX415" fmla="*/ 186702 w 856124"/>
              <a:gd name="connsiteY415" fmla="*/ 431542 h 439793"/>
              <a:gd name="connsiteX416" fmla="*/ 204460 w 856124"/>
              <a:gd name="connsiteY416" fmla="*/ 425353 h 439793"/>
              <a:gd name="connsiteX417" fmla="*/ 228523 w 856124"/>
              <a:gd name="connsiteY417" fmla="*/ 417254 h 43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856124" h="439793">
                <a:moveTo>
                  <a:pt x="318760" y="439640"/>
                </a:moveTo>
                <a:cubicBezTo>
                  <a:pt x="312461" y="439918"/>
                  <a:pt x="306277" y="437859"/>
                  <a:pt x="301407" y="433856"/>
                </a:cubicBezTo>
                <a:cubicBezTo>
                  <a:pt x="290532" y="424196"/>
                  <a:pt x="284574" y="420841"/>
                  <a:pt x="260916" y="420841"/>
                </a:cubicBezTo>
                <a:cubicBezTo>
                  <a:pt x="255132" y="420841"/>
                  <a:pt x="249347" y="420552"/>
                  <a:pt x="243563" y="420262"/>
                </a:cubicBezTo>
                <a:cubicBezTo>
                  <a:pt x="237778" y="419973"/>
                  <a:pt x="233324" y="419742"/>
                  <a:pt x="228755" y="419742"/>
                </a:cubicBezTo>
                <a:cubicBezTo>
                  <a:pt x="216145" y="419742"/>
                  <a:pt x="209435" y="421708"/>
                  <a:pt x="206369" y="426394"/>
                </a:cubicBezTo>
                <a:cubicBezTo>
                  <a:pt x="203303" y="431079"/>
                  <a:pt x="196304" y="433566"/>
                  <a:pt x="186702" y="433566"/>
                </a:cubicBezTo>
                <a:cubicBezTo>
                  <a:pt x="175792" y="433838"/>
                  <a:pt x="165091" y="430547"/>
                  <a:pt x="156218" y="424196"/>
                </a:cubicBezTo>
                <a:cubicBezTo>
                  <a:pt x="153036" y="421361"/>
                  <a:pt x="144649" y="421072"/>
                  <a:pt x="138344" y="421072"/>
                </a:cubicBezTo>
                <a:cubicBezTo>
                  <a:pt x="133138" y="421072"/>
                  <a:pt x="127354" y="421072"/>
                  <a:pt x="120991" y="421593"/>
                </a:cubicBezTo>
                <a:cubicBezTo>
                  <a:pt x="114628" y="422113"/>
                  <a:pt x="107397" y="422171"/>
                  <a:pt x="100745" y="422171"/>
                </a:cubicBezTo>
                <a:cubicBezTo>
                  <a:pt x="82698" y="422171"/>
                  <a:pt x="71823" y="419800"/>
                  <a:pt x="66039" y="414478"/>
                </a:cubicBezTo>
                <a:cubicBezTo>
                  <a:pt x="63222" y="412436"/>
                  <a:pt x="62111" y="408774"/>
                  <a:pt x="63320" y="405512"/>
                </a:cubicBezTo>
                <a:cubicBezTo>
                  <a:pt x="68063" y="393480"/>
                  <a:pt x="105083" y="384630"/>
                  <a:pt x="122553" y="384630"/>
                </a:cubicBezTo>
                <a:cubicBezTo>
                  <a:pt x="132617" y="384630"/>
                  <a:pt x="137303" y="381507"/>
                  <a:pt x="137476" y="378383"/>
                </a:cubicBezTo>
                <a:cubicBezTo>
                  <a:pt x="137650" y="375259"/>
                  <a:pt x="132964" y="371095"/>
                  <a:pt x="123651" y="369938"/>
                </a:cubicBezTo>
                <a:cubicBezTo>
                  <a:pt x="113182" y="368607"/>
                  <a:pt x="105141" y="361782"/>
                  <a:pt x="105315" y="354378"/>
                </a:cubicBezTo>
                <a:cubicBezTo>
                  <a:pt x="105488" y="346974"/>
                  <a:pt x="113760" y="342057"/>
                  <a:pt x="127354" y="341016"/>
                </a:cubicBezTo>
                <a:cubicBezTo>
                  <a:pt x="129841" y="341016"/>
                  <a:pt x="132270" y="340726"/>
                  <a:pt x="134642" y="340726"/>
                </a:cubicBezTo>
                <a:cubicBezTo>
                  <a:pt x="164374" y="340726"/>
                  <a:pt x="173166" y="356634"/>
                  <a:pt x="175769" y="366062"/>
                </a:cubicBezTo>
                <a:cubicBezTo>
                  <a:pt x="177620" y="373061"/>
                  <a:pt x="188784" y="377631"/>
                  <a:pt x="197981" y="377631"/>
                </a:cubicBezTo>
                <a:cubicBezTo>
                  <a:pt x="200758" y="377631"/>
                  <a:pt x="209897" y="377053"/>
                  <a:pt x="209897" y="369938"/>
                </a:cubicBezTo>
                <a:cubicBezTo>
                  <a:pt x="209897" y="363864"/>
                  <a:pt x="200353" y="358369"/>
                  <a:pt x="192023" y="353163"/>
                </a:cubicBezTo>
                <a:cubicBezTo>
                  <a:pt x="183694" y="347957"/>
                  <a:pt x="176463" y="343908"/>
                  <a:pt x="175943" y="338702"/>
                </a:cubicBezTo>
                <a:cubicBezTo>
                  <a:pt x="175896" y="336440"/>
                  <a:pt x="176926" y="334294"/>
                  <a:pt x="178719" y="332917"/>
                </a:cubicBezTo>
                <a:cubicBezTo>
                  <a:pt x="186037" y="327017"/>
                  <a:pt x="192428" y="320059"/>
                  <a:pt x="197692" y="312267"/>
                </a:cubicBezTo>
                <a:cubicBezTo>
                  <a:pt x="193539" y="313540"/>
                  <a:pt x="189635" y="315495"/>
                  <a:pt x="186123" y="318051"/>
                </a:cubicBezTo>
                <a:cubicBezTo>
                  <a:pt x="172611" y="325947"/>
                  <a:pt x="157340" y="330320"/>
                  <a:pt x="141699" y="330777"/>
                </a:cubicBezTo>
                <a:cubicBezTo>
                  <a:pt x="134653" y="331529"/>
                  <a:pt x="127596" y="329447"/>
                  <a:pt x="122090" y="324993"/>
                </a:cubicBezTo>
                <a:cubicBezTo>
                  <a:pt x="119834" y="322581"/>
                  <a:pt x="118717" y="319318"/>
                  <a:pt x="119024" y="316027"/>
                </a:cubicBezTo>
                <a:cubicBezTo>
                  <a:pt x="120123" y="298037"/>
                  <a:pt x="153731" y="282593"/>
                  <a:pt x="180455" y="282593"/>
                </a:cubicBezTo>
                <a:cubicBezTo>
                  <a:pt x="183850" y="282576"/>
                  <a:pt x="187234" y="282865"/>
                  <a:pt x="190577" y="283461"/>
                </a:cubicBezTo>
                <a:cubicBezTo>
                  <a:pt x="201880" y="285913"/>
                  <a:pt x="213027" y="289043"/>
                  <a:pt x="223954" y="292831"/>
                </a:cubicBezTo>
                <a:cubicBezTo>
                  <a:pt x="235135" y="297100"/>
                  <a:pt x="246785" y="300033"/>
                  <a:pt x="258660" y="301566"/>
                </a:cubicBezTo>
                <a:cubicBezTo>
                  <a:pt x="263287" y="301566"/>
                  <a:pt x="263287" y="299830"/>
                  <a:pt x="263287" y="299078"/>
                </a:cubicBezTo>
                <a:cubicBezTo>
                  <a:pt x="263287" y="294798"/>
                  <a:pt x="257156" y="293294"/>
                  <a:pt x="248595" y="290691"/>
                </a:cubicBezTo>
                <a:cubicBezTo>
                  <a:pt x="236564" y="287278"/>
                  <a:pt x="220136" y="282651"/>
                  <a:pt x="210187" y="266975"/>
                </a:cubicBezTo>
                <a:cubicBezTo>
                  <a:pt x="192023" y="238516"/>
                  <a:pt x="173918" y="234813"/>
                  <a:pt x="160209" y="234813"/>
                </a:cubicBezTo>
                <a:cubicBezTo>
                  <a:pt x="150202" y="234813"/>
                  <a:pt x="143666" y="221914"/>
                  <a:pt x="143319" y="209940"/>
                </a:cubicBezTo>
                <a:cubicBezTo>
                  <a:pt x="143319" y="200165"/>
                  <a:pt x="147079" y="189579"/>
                  <a:pt x="158937" y="188943"/>
                </a:cubicBezTo>
                <a:cubicBezTo>
                  <a:pt x="164432" y="188654"/>
                  <a:pt x="169522" y="188480"/>
                  <a:pt x="174497" y="188480"/>
                </a:cubicBezTo>
                <a:cubicBezTo>
                  <a:pt x="209203" y="188480"/>
                  <a:pt x="233266" y="195306"/>
                  <a:pt x="245877" y="208726"/>
                </a:cubicBezTo>
                <a:cubicBezTo>
                  <a:pt x="258411" y="220538"/>
                  <a:pt x="274452" y="227953"/>
                  <a:pt x="291573" y="229839"/>
                </a:cubicBezTo>
                <a:cubicBezTo>
                  <a:pt x="294061" y="229839"/>
                  <a:pt x="294928" y="229260"/>
                  <a:pt x="295044" y="228971"/>
                </a:cubicBezTo>
                <a:cubicBezTo>
                  <a:pt x="295160" y="228682"/>
                  <a:pt x="295449" y="227583"/>
                  <a:pt x="290416" y="223707"/>
                </a:cubicBezTo>
                <a:cubicBezTo>
                  <a:pt x="285384" y="219832"/>
                  <a:pt x="278443" y="215378"/>
                  <a:pt x="272196" y="211387"/>
                </a:cubicBezTo>
                <a:cubicBezTo>
                  <a:pt x="259181" y="203057"/>
                  <a:pt x="249058" y="196521"/>
                  <a:pt x="249694" y="190968"/>
                </a:cubicBezTo>
                <a:cubicBezTo>
                  <a:pt x="250041" y="188480"/>
                  <a:pt x="252355" y="186687"/>
                  <a:pt x="256867" y="185183"/>
                </a:cubicBezTo>
                <a:cubicBezTo>
                  <a:pt x="266377" y="182956"/>
                  <a:pt x="276048" y="181469"/>
                  <a:pt x="285789" y="180729"/>
                </a:cubicBezTo>
                <a:cubicBezTo>
                  <a:pt x="307076" y="178531"/>
                  <a:pt x="331197" y="175986"/>
                  <a:pt x="345889" y="165921"/>
                </a:cubicBezTo>
                <a:cubicBezTo>
                  <a:pt x="357458" y="158054"/>
                  <a:pt x="356301" y="149551"/>
                  <a:pt x="355318" y="146312"/>
                </a:cubicBezTo>
                <a:cubicBezTo>
                  <a:pt x="354335" y="143073"/>
                  <a:pt x="351558" y="140238"/>
                  <a:pt x="349881" y="140238"/>
                </a:cubicBezTo>
                <a:cubicBezTo>
                  <a:pt x="348203" y="140238"/>
                  <a:pt x="347740" y="142841"/>
                  <a:pt x="347625" y="143940"/>
                </a:cubicBezTo>
                <a:cubicBezTo>
                  <a:pt x="346410" y="158401"/>
                  <a:pt x="285442" y="173383"/>
                  <a:pt x="264734" y="173383"/>
                </a:cubicBezTo>
                <a:cubicBezTo>
                  <a:pt x="262790" y="173418"/>
                  <a:pt x="260846" y="173221"/>
                  <a:pt x="258949" y="172804"/>
                </a:cubicBezTo>
                <a:lnTo>
                  <a:pt x="253512" y="171416"/>
                </a:lnTo>
                <a:cubicBezTo>
                  <a:pt x="249145" y="169982"/>
                  <a:pt x="244621" y="169085"/>
                  <a:pt x="240034" y="168755"/>
                </a:cubicBezTo>
                <a:cubicBezTo>
                  <a:pt x="235742" y="168431"/>
                  <a:pt x="231924" y="171451"/>
                  <a:pt x="231242" y="175697"/>
                </a:cubicBezTo>
                <a:cubicBezTo>
                  <a:pt x="229565" y="181481"/>
                  <a:pt x="216607" y="182464"/>
                  <a:pt x="206080" y="182464"/>
                </a:cubicBezTo>
                <a:cubicBezTo>
                  <a:pt x="185603" y="182464"/>
                  <a:pt x="157722" y="177895"/>
                  <a:pt x="152516" y="171995"/>
                </a:cubicBezTo>
                <a:cubicBezTo>
                  <a:pt x="151770" y="171272"/>
                  <a:pt x="151388" y="170253"/>
                  <a:pt x="151475" y="169218"/>
                </a:cubicBezTo>
                <a:cubicBezTo>
                  <a:pt x="151475" y="167483"/>
                  <a:pt x="152053" y="165516"/>
                  <a:pt x="152458" y="163434"/>
                </a:cubicBezTo>
                <a:cubicBezTo>
                  <a:pt x="153210" y="159095"/>
                  <a:pt x="154309" y="153195"/>
                  <a:pt x="153152" y="151865"/>
                </a:cubicBezTo>
                <a:cubicBezTo>
                  <a:pt x="152973" y="151772"/>
                  <a:pt x="152753" y="151772"/>
                  <a:pt x="152574" y="151865"/>
                </a:cubicBezTo>
                <a:cubicBezTo>
                  <a:pt x="151822" y="151865"/>
                  <a:pt x="149739" y="152501"/>
                  <a:pt x="144938" y="157013"/>
                </a:cubicBezTo>
                <a:cubicBezTo>
                  <a:pt x="138517" y="162797"/>
                  <a:pt x="125907" y="166268"/>
                  <a:pt x="110232" y="166268"/>
                </a:cubicBezTo>
                <a:cubicBezTo>
                  <a:pt x="93225" y="166268"/>
                  <a:pt x="74773" y="161930"/>
                  <a:pt x="73963" y="153831"/>
                </a:cubicBezTo>
                <a:cubicBezTo>
                  <a:pt x="73443" y="148626"/>
                  <a:pt x="67774" y="147526"/>
                  <a:pt x="61758" y="146370"/>
                </a:cubicBezTo>
                <a:cubicBezTo>
                  <a:pt x="55742" y="145213"/>
                  <a:pt x="48512" y="143767"/>
                  <a:pt x="48512" y="136767"/>
                </a:cubicBezTo>
                <a:cubicBezTo>
                  <a:pt x="48512" y="129768"/>
                  <a:pt x="55916" y="125199"/>
                  <a:pt x="60775" y="121901"/>
                </a:cubicBezTo>
                <a:cubicBezTo>
                  <a:pt x="61874" y="121149"/>
                  <a:pt x="63146" y="120282"/>
                  <a:pt x="63840" y="119703"/>
                </a:cubicBezTo>
                <a:cubicBezTo>
                  <a:pt x="61914" y="119541"/>
                  <a:pt x="59982" y="119541"/>
                  <a:pt x="58056" y="119703"/>
                </a:cubicBezTo>
                <a:cubicBezTo>
                  <a:pt x="45330" y="120513"/>
                  <a:pt x="38505" y="119009"/>
                  <a:pt x="37695" y="115539"/>
                </a:cubicBezTo>
                <a:cubicBezTo>
                  <a:pt x="36885" y="112068"/>
                  <a:pt x="39951" y="109754"/>
                  <a:pt x="46603" y="106688"/>
                </a:cubicBezTo>
                <a:cubicBezTo>
                  <a:pt x="50826" y="104548"/>
                  <a:pt x="52387" y="102524"/>
                  <a:pt x="52387" y="101425"/>
                </a:cubicBezTo>
                <a:cubicBezTo>
                  <a:pt x="52387" y="100325"/>
                  <a:pt x="50594" y="99631"/>
                  <a:pt x="47586" y="99631"/>
                </a:cubicBezTo>
                <a:cubicBezTo>
                  <a:pt x="42062" y="99996"/>
                  <a:pt x="36746" y="101853"/>
                  <a:pt x="32200" y="105011"/>
                </a:cubicBezTo>
                <a:cubicBezTo>
                  <a:pt x="26091" y="108771"/>
                  <a:pt x="19069" y="110772"/>
                  <a:pt x="11896" y="110795"/>
                </a:cubicBezTo>
                <a:lnTo>
                  <a:pt x="11896" y="110795"/>
                </a:lnTo>
                <a:cubicBezTo>
                  <a:pt x="6517" y="110795"/>
                  <a:pt x="328" y="109523"/>
                  <a:pt x="-77" y="105994"/>
                </a:cubicBezTo>
                <a:cubicBezTo>
                  <a:pt x="-482" y="102466"/>
                  <a:pt x="2930" y="100210"/>
                  <a:pt x="10566" y="97144"/>
                </a:cubicBezTo>
                <a:cubicBezTo>
                  <a:pt x="24316" y="91632"/>
                  <a:pt x="38915" y="88525"/>
                  <a:pt x="53718" y="87947"/>
                </a:cubicBezTo>
                <a:cubicBezTo>
                  <a:pt x="59502" y="87947"/>
                  <a:pt x="66849" y="88757"/>
                  <a:pt x="70030" y="92574"/>
                </a:cubicBezTo>
                <a:cubicBezTo>
                  <a:pt x="70955" y="93731"/>
                  <a:pt x="71765" y="94252"/>
                  <a:pt x="72575" y="94252"/>
                </a:cubicBezTo>
                <a:cubicBezTo>
                  <a:pt x="74426" y="94252"/>
                  <a:pt x="76740" y="91244"/>
                  <a:pt x="79690" y="87368"/>
                </a:cubicBezTo>
                <a:cubicBezTo>
                  <a:pt x="82877" y="82805"/>
                  <a:pt x="86504" y="78565"/>
                  <a:pt x="90507" y="74701"/>
                </a:cubicBezTo>
                <a:cubicBezTo>
                  <a:pt x="94972" y="71184"/>
                  <a:pt x="100572" y="69437"/>
                  <a:pt x="106240" y="69784"/>
                </a:cubicBezTo>
                <a:cubicBezTo>
                  <a:pt x="119082" y="69784"/>
                  <a:pt x="134816" y="76320"/>
                  <a:pt x="134816" y="81353"/>
                </a:cubicBezTo>
                <a:cubicBezTo>
                  <a:pt x="134816" y="81353"/>
                  <a:pt x="134816" y="81642"/>
                  <a:pt x="135336" y="81873"/>
                </a:cubicBezTo>
                <a:cubicBezTo>
                  <a:pt x="136169" y="82186"/>
                  <a:pt x="137054" y="82324"/>
                  <a:pt x="137939" y="82278"/>
                </a:cubicBezTo>
                <a:cubicBezTo>
                  <a:pt x="143376" y="82278"/>
                  <a:pt x="152863" y="79039"/>
                  <a:pt x="154309" y="74758"/>
                </a:cubicBezTo>
                <a:cubicBezTo>
                  <a:pt x="154888" y="72907"/>
                  <a:pt x="153846" y="70941"/>
                  <a:pt x="151185" y="68974"/>
                </a:cubicBezTo>
                <a:cubicBezTo>
                  <a:pt x="150318" y="68338"/>
                  <a:pt x="147773" y="66371"/>
                  <a:pt x="148351" y="64173"/>
                </a:cubicBezTo>
                <a:cubicBezTo>
                  <a:pt x="149161" y="61049"/>
                  <a:pt x="155119" y="60182"/>
                  <a:pt x="164721" y="59025"/>
                </a:cubicBezTo>
                <a:cubicBezTo>
                  <a:pt x="170505" y="58388"/>
                  <a:pt x="178951" y="57347"/>
                  <a:pt x="179471" y="55438"/>
                </a:cubicBezTo>
                <a:cubicBezTo>
                  <a:pt x="179471" y="55091"/>
                  <a:pt x="179182" y="54339"/>
                  <a:pt x="177794" y="53182"/>
                </a:cubicBezTo>
                <a:cubicBezTo>
                  <a:pt x="176406" y="52026"/>
                  <a:pt x="174323" y="50348"/>
                  <a:pt x="175133" y="47976"/>
                </a:cubicBezTo>
                <a:cubicBezTo>
                  <a:pt x="175943" y="45605"/>
                  <a:pt x="179529" y="44679"/>
                  <a:pt x="185776" y="44679"/>
                </a:cubicBezTo>
                <a:cubicBezTo>
                  <a:pt x="196998" y="44679"/>
                  <a:pt x="217417" y="48728"/>
                  <a:pt x="226267" y="56248"/>
                </a:cubicBezTo>
                <a:cubicBezTo>
                  <a:pt x="230496" y="59916"/>
                  <a:pt x="235887" y="61963"/>
                  <a:pt x="241480" y="62033"/>
                </a:cubicBezTo>
                <a:cubicBezTo>
                  <a:pt x="249405" y="62715"/>
                  <a:pt x="256387" y="56844"/>
                  <a:pt x="257069" y="48919"/>
                </a:cubicBezTo>
                <a:cubicBezTo>
                  <a:pt x="257081" y="48780"/>
                  <a:pt x="257092" y="48636"/>
                  <a:pt x="257098" y="48497"/>
                </a:cubicBezTo>
                <a:cubicBezTo>
                  <a:pt x="257098" y="42713"/>
                  <a:pt x="265196" y="41614"/>
                  <a:pt x="272196" y="41614"/>
                </a:cubicBezTo>
                <a:cubicBezTo>
                  <a:pt x="275955" y="41614"/>
                  <a:pt x="280120" y="41903"/>
                  <a:pt x="284170" y="42134"/>
                </a:cubicBezTo>
                <a:cubicBezTo>
                  <a:pt x="288219" y="42366"/>
                  <a:pt x="291516" y="42597"/>
                  <a:pt x="294581" y="42597"/>
                </a:cubicBezTo>
                <a:cubicBezTo>
                  <a:pt x="300366" y="42597"/>
                  <a:pt x="301870" y="41787"/>
                  <a:pt x="302332" y="41093"/>
                </a:cubicBezTo>
                <a:cubicBezTo>
                  <a:pt x="302795" y="40399"/>
                  <a:pt x="302332" y="40110"/>
                  <a:pt x="302332" y="39300"/>
                </a:cubicBezTo>
                <a:cubicBezTo>
                  <a:pt x="300082" y="35823"/>
                  <a:pt x="299863" y="31416"/>
                  <a:pt x="301754" y="27731"/>
                </a:cubicBezTo>
                <a:cubicBezTo>
                  <a:pt x="304351" y="24353"/>
                  <a:pt x="308499" y="22542"/>
                  <a:pt x="312745" y="22930"/>
                </a:cubicBezTo>
                <a:cubicBezTo>
                  <a:pt x="315429" y="22947"/>
                  <a:pt x="318101" y="23358"/>
                  <a:pt x="320669" y="24145"/>
                </a:cubicBezTo>
                <a:cubicBezTo>
                  <a:pt x="322711" y="24781"/>
                  <a:pt x="324834" y="25111"/>
                  <a:pt x="326974" y="25128"/>
                </a:cubicBezTo>
                <a:cubicBezTo>
                  <a:pt x="332759" y="25128"/>
                  <a:pt x="336403" y="22872"/>
                  <a:pt x="336750" y="21310"/>
                </a:cubicBezTo>
                <a:cubicBezTo>
                  <a:pt x="337097" y="19748"/>
                  <a:pt x="335188" y="19343"/>
                  <a:pt x="334436" y="18996"/>
                </a:cubicBezTo>
                <a:cubicBezTo>
                  <a:pt x="332411" y="18129"/>
                  <a:pt x="332180" y="17030"/>
                  <a:pt x="332296" y="16278"/>
                </a:cubicBezTo>
                <a:cubicBezTo>
                  <a:pt x="333163" y="12171"/>
                  <a:pt x="347798" y="12055"/>
                  <a:pt x="349649" y="12055"/>
                </a:cubicBezTo>
                <a:cubicBezTo>
                  <a:pt x="361854" y="12107"/>
                  <a:pt x="373926" y="14583"/>
                  <a:pt x="385165" y="19343"/>
                </a:cubicBezTo>
                <a:cubicBezTo>
                  <a:pt x="389030" y="21270"/>
                  <a:pt x="393235" y="22409"/>
                  <a:pt x="397544" y="22698"/>
                </a:cubicBezTo>
                <a:cubicBezTo>
                  <a:pt x="401293" y="22571"/>
                  <a:pt x="404769" y="20686"/>
                  <a:pt x="406915" y="17608"/>
                </a:cubicBezTo>
                <a:cubicBezTo>
                  <a:pt x="410634" y="13206"/>
                  <a:pt x="416199" y="10788"/>
                  <a:pt x="421955" y="11072"/>
                </a:cubicBezTo>
                <a:cubicBezTo>
                  <a:pt x="423655" y="11078"/>
                  <a:pt x="425356" y="11193"/>
                  <a:pt x="427045" y="11419"/>
                </a:cubicBezTo>
                <a:cubicBezTo>
                  <a:pt x="430244" y="11899"/>
                  <a:pt x="433471" y="12130"/>
                  <a:pt x="436705" y="12113"/>
                </a:cubicBezTo>
                <a:cubicBezTo>
                  <a:pt x="443947" y="11968"/>
                  <a:pt x="451178" y="11349"/>
                  <a:pt x="458339" y="10262"/>
                </a:cubicBezTo>
                <a:cubicBezTo>
                  <a:pt x="464429" y="9354"/>
                  <a:pt x="470573" y="8816"/>
                  <a:pt x="476733" y="8642"/>
                </a:cubicBezTo>
                <a:cubicBezTo>
                  <a:pt x="483420" y="8145"/>
                  <a:pt x="490066" y="10094"/>
                  <a:pt x="495417" y="14138"/>
                </a:cubicBezTo>
                <a:cubicBezTo>
                  <a:pt x="500160" y="18811"/>
                  <a:pt x="506211" y="21935"/>
                  <a:pt x="512770" y="23103"/>
                </a:cubicBezTo>
                <a:cubicBezTo>
                  <a:pt x="513684" y="23236"/>
                  <a:pt x="514604" y="22889"/>
                  <a:pt x="515200" y="22178"/>
                </a:cubicBezTo>
                <a:cubicBezTo>
                  <a:pt x="515784" y="20327"/>
                  <a:pt x="515506" y="18308"/>
                  <a:pt x="514448" y="16683"/>
                </a:cubicBezTo>
                <a:cubicBezTo>
                  <a:pt x="513574" y="14623"/>
                  <a:pt x="513834" y="12252"/>
                  <a:pt x="515142" y="10435"/>
                </a:cubicBezTo>
                <a:cubicBezTo>
                  <a:pt x="519017" y="4651"/>
                  <a:pt x="531338" y="-92"/>
                  <a:pt x="543196" y="-92"/>
                </a:cubicBezTo>
                <a:cubicBezTo>
                  <a:pt x="550629" y="-468"/>
                  <a:pt x="557923" y="2042"/>
                  <a:pt x="563557" y="6907"/>
                </a:cubicBezTo>
                <a:cubicBezTo>
                  <a:pt x="565773" y="9360"/>
                  <a:pt x="568931" y="10748"/>
                  <a:pt x="572234" y="10725"/>
                </a:cubicBezTo>
                <a:cubicBezTo>
                  <a:pt x="577451" y="10175"/>
                  <a:pt x="582484" y="8498"/>
                  <a:pt x="586984" y="5808"/>
                </a:cubicBezTo>
                <a:cubicBezTo>
                  <a:pt x="591930" y="2817"/>
                  <a:pt x="597483" y="984"/>
                  <a:pt x="603238" y="428"/>
                </a:cubicBezTo>
                <a:cubicBezTo>
                  <a:pt x="606322" y="423"/>
                  <a:pt x="609335" y="1371"/>
                  <a:pt x="611857" y="3147"/>
                </a:cubicBezTo>
                <a:cubicBezTo>
                  <a:pt x="620823" y="9336"/>
                  <a:pt x="657496" y="10378"/>
                  <a:pt x="681791" y="11014"/>
                </a:cubicBezTo>
                <a:cubicBezTo>
                  <a:pt x="706086" y="11650"/>
                  <a:pt x="709036" y="11997"/>
                  <a:pt x="709325" y="13906"/>
                </a:cubicBezTo>
                <a:cubicBezTo>
                  <a:pt x="709614" y="15815"/>
                  <a:pt x="707994" y="15815"/>
                  <a:pt x="707300" y="16046"/>
                </a:cubicBezTo>
                <a:cubicBezTo>
                  <a:pt x="697640" y="19575"/>
                  <a:pt x="682832" y="31607"/>
                  <a:pt x="683006" y="34094"/>
                </a:cubicBezTo>
                <a:cubicBezTo>
                  <a:pt x="683006" y="34094"/>
                  <a:pt x="683006" y="34094"/>
                  <a:pt x="683873" y="34094"/>
                </a:cubicBezTo>
                <a:cubicBezTo>
                  <a:pt x="687870" y="33614"/>
                  <a:pt x="691775" y="32520"/>
                  <a:pt x="695442" y="30855"/>
                </a:cubicBezTo>
                <a:cubicBezTo>
                  <a:pt x="712015" y="23948"/>
                  <a:pt x="729593" y="19789"/>
                  <a:pt x="747502" y="18534"/>
                </a:cubicBezTo>
                <a:cubicBezTo>
                  <a:pt x="754501" y="18534"/>
                  <a:pt x="758319" y="20095"/>
                  <a:pt x="759071" y="23219"/>
                </a:cubicBezTo>
                <a:cubicBezTo>
                  <a:pt x="759071" y="24260"/>
                  <a:pt x="761096" y="24781"/>
                  <a:pt x="764508" y="24781"/>
                </a:cubicBezTo>
                <a:cubicBezTo>
                  <a:pt x="766475" y="24781"/>
                  <a:pt x="768731" y="24781"/>
                  <a:pt x="771103" y="24781"/>
                </a:cubicBezTo>
                <a:cubicBezTo>
                  <a:pt x="773474" y="24781"/>
                  <a:pt x="776308" y="24376"/>
                  <a:pt x="778796" y="24376"/>
                </a:cubicBezTo>
                <a:cubicBezTo>
                  <a:pt x="782498" y="23884"/>
                  <a:pt x="786241" y="24931"/>
                  <a:pt x="789150" y="27268"/>
                </a:cubicBezTo>
                <a:cubicBezTo>
                  <a:pt x="790324" y="28645"/>
                  <a:pt x="790851" y="30455"/>
                  <a:pt x="790596" y="32243"/>
                </a:cubicBezTo>
                <a:cubicBezTo>
                  <a:pt x="790353" y="35164"/>
                  <a:pt x="791412" y="38039"/>
                  <a:pt x="793488" y="40110"/>
                </a:cubicBezTo>
                <a:cubicBezTo>
                  <a:pt x="798347" y="45489"/>
                  <a:pt x="809222" y="48960"/>
                  <a:pt x="821138" y="48960"/>
                </a:cubicBezTo>
                <a:cubicBezTo>
                  <a:pt x="824667" y="48948"/>
                  <a:pt x="828189" y="48636"/>
                  <a:pt x="831665" y="48034"/>
                </a:cubicBezTo>
                <a:cubicBezTo>
                  <a:pt x="835217" y="47410"/>
                  <a:pt x="838815" y="47080"/>
                  <a:pt x="842425" y="47051"/>
                </a:cubicBezTo>
                <a:cubicBezTo>
                  <a:pt x="850349" y="47051"/>
                  <a:pt x="855093" y="48902"/>
                  <a:pt x="855902" y="52315"/>
                </a:cubicBezTo>
                <a:cubicBezTo>
                  <a:pt x="857233" y="58099"/>
                  <a:pt x="846821" y="66197"/>
                  <a:pt x="825129" y="76783"/>
                </a:cubicBezTo>
                <a:cubicBezTo>
                  <a:pt x="788398" y="94715"/>
                  <a:pt x="766244" y="102350"/>
                  <a:pt x="751031" y="102350"/>
                </a:cubicBezTo>
                <a:cubicBezTo>
                  <a:pt x="747560" y="102362"/>
                  <a:pt x="744107" y="101951"/>
                  <a:pt x="740734" y="101135"/>
                </a:cubicBezTo>
                <a:cubicBezTo>
                  <a:pt x="738565" y="100684"/>
                  <a:pt x="736356" y="100487"/>
                  <a:pt x="734140" y="100557"/>
                </a:cubicBezTo>
                <a:cubicBezTo>
                  <a:pt x="713258" y="100557"/>
                  <a:pt x="677684" y="109465"/>
                  <a:pt x="676296" y="113051"/>
                </a:cubicBezTo>
                <a:lnTo>
                  <a:pt x="676296" y="113051"/>
                </a:lnTo>
                <a:cubicBezTo>
                  <a:pt x="676574" y="113225"/>
                  <a:pt x="676863" y="113381"/>
                  <a:pt x="677164" y="113514"/>
                </a:cubicBezTo>
                <a:cubicBezTo>
                  <a:pt x="679801" y="114237"/>
                  <a:pt x="682531" y="114526"/>
                  <a:pt x="685262" y="114382"/>
                </a:cubicBezTo>
                <a:cubicBezTo>
                  <a:pt x="691509" y="114382"/>
                  <a:pt x="700012" y="113630"/>
                  <a:pt x="709036" y="112878"/>
                </a:cubicBezTo>
                <a:cubicBezTo>
                  <a:pt x="719274" y="112010"/>
                  <a:pt x="729860" y="111085"/>
                  <a:pt x="738710" y="111085"/>
                </a:cubicBezTo>
                <a:cubicBezTo>
                  <a:pt x="749295" y="111085"/>
                  <a:pt x="755369" y="112415"/>
                  <a:pt x="757856" y="115307"/>
                </a:cubicBezTo>
                <a:cubicBezTo>
                  <a:pt x="758909" y="116464"/>
                  <a:pt x="759337" y="118061"/>
                  <a:pt x="759013" y="119588"/>
                </a:cubicBezTo>
                <a:cubicBezTo>
                  <a:pt x="757683" y="128206"/>
                  <a:pt x="746808" y="131157"/>
                  <a:pt x="730091" y="135379"/>
                </a:cubicBezTo>
                <a:cubicBezTo>
                  <a:pt x="708214" y="140435"/>
                  <a:pt x="687119" y="148435"/>
                  <a:pt x="667388" y="159153"/>
                </a:cubicBezTo>
                <a:cubicBezTo>
                  <a:pt x="654084" y="166615"/>
                  <a:pt x="642630" y="173267"/>
                  <a:pt x="632681" y="179109"/>
                </a:cubicBezTo>
                <a:cubicBezTo>
                  <a:pt x="604800" y="195248"/>
                  <a:pt x="589471" y="204098"/>
                  <a:pt x="580969" y="204098"/>
                </a:cubicBezTo>
                <a:cubicBezTo>
                  <a:pt x="574779" y="204098"/>
                  <a:pt x="574258" y="207280"/>
                  <a:pt x="573506" y="212081"/>
                </a:cubicBezTo>
                <a:cubicBezTo>
                  <a:pt x="573350" y="220642"/>
                  <a:pt x="566716" y="227681"/>
                  <a:pt x="558178" y="228335"/>
                </a:cubicBezTo>
                <a:cubicBezTo>
                  <a:pt x="555002" y="228994"/>
                  <a:pt x="551763" y="229318"/>
                  <a:pt x="548518" y="229318"/>
                </a:cubicBezTo>
                <a:cubicBezTo>
                  <a:pt x="540414" y="229017"/>
                  <a:pt x="532385" y="227676"/>
                  <a:pt x="524628" y="225327"/>
                </a:cubicBezTo>
                <a:cubicBezTo>
                  <a:pt x="515720" y="223071"/>
                  <a:pt x="508663" y="221625"/>
                  <a:pt x="505366" y="224459"/>
                </a:cubicBezTo>
                <a:cubicBezTo>
                  <a:pt x="503226" y="226310"/>
                  <a:pt x="503341" y="229318"/>
                  <a:pt x="503399" y="232847"/>
                </a:cubicBezTo>
                <a:cubicBezTo>
                  <a:pt x="504099" y="237075"/>
                  <a:pt x="502989" y="241402"/>
                  <a:pt x="500334" y="244763"/>
                </a:cubicBezTo>
                <a:cubicBezTo>
                  <a:pt x="496574" y="248580"/>
                  <a:pt x="489401" y="250547"/>
                  <a:pt x="477774" y="250547"/>
                </a:cubicBezTo>
                <a:cubicBezTo>
                  <a:pt x="475576" y="250547"/>
                  <a:pt x="473263" y="250547"/>
                  <a:pt x="470659" y="250547"/>
                </a:cubicBezTo>
                <a:cubicBezTo>
                  <a:pt x="468056" y="250547"/>
                  <a:pt x="464875" y="250547"/>
                  <a:pt x="462156" y="250547"/>
                </a:cubicBezTo>
                <a:cubicBezTo>
                  <a:pt x="428491" y="250547"/>
                  <a:pt x="403213" y="260323"/>
                  <a:pt x="402750" y="263446"/>
                </a:cubicBezTo>
                <a:lnTo>
                  <a:pt x="402750" y="263446"/>
                </a:lnTo>
                <a:cubicBezTo>
                  <a:pt x="402750" y="263446"/>
                  <a:pt x="403676" y="264314"/>
                  <a:pt x="408940" y="264314"/>
                </a:cubicBezTo>
                <a:cubicBezTo>
                  <a:pt x="412526" y="264314"/>
                  <a:pt x="416691" y="264314"/>
                  <a:pt x="421145" y="264314"/>
                </a:cubicBezTo>
                <a:cubicBezTo>
                  <a:pt x="425599" y="264314"/>
                  <a:pt x="431962" y="264025"/>
                  <a:pt x="437572" y="264025"/>
                </a:cubicBezTo>
                <a:cubicBezTo>
                  <a:pt x="453306" y="264025"/>
                  <a:pt x="472279" y="265066"/>
                  <a:pt x="479683" y="272817"/>
                </a:cubicBezTo>
                <a:cubicBezTo>
                  <a:pt x="481928" y="275119"/>
                  <a:pt x="483044" y="278295"/>
                  <a:pt x="482749" y="281494"/>
                </a:cubicBezTo>
                <a:cubicBezTo>
                  <a:pt x="481534" y="302549"/>
                  <a:pt x="449662" y="338297"/>
                  <a:pt x="427103" y="338297"/>
                </a:cubicBezTo>
                <a:cubicBezTo>
                  <a:pt x="420798" y="338297"/>
                  <a:pt x="413856" y="337776"/>
                  <a:pt x="407147" y="337256"/>
                </a:cubicBezTo>
                <a:cubicBezTo>
                  <a:pt x="400436" y="336735"/>
                  <a:pt x="395173" y="336388"/>
                  <a:pt x="390198" y="336388"/>
                </a:cubicBezTo>
                <a:cubicBezTo>
                  <a:pt x="381464" y="336388"/>
                  <a:pt x="377357" y="337776"/>
                  <a:pt x="377357" y="340726"/>
                </a:cubicBezTo>
                <a:cubicBezTo>
                  <a:pt x="377779" y="343862"/>
                  <a:pt x="378930" y="346852"/>
                  <a:pt x="380712" y="349461"/>
                </a:cubicBezTo>
                <a:cubicBezTo>
                  <a:pt x="382967" y="353394"/>
                  <a:pt x="385223" y="357443"/>
                  <a:pt x="383662" y="361030"/>
                </a:cubicBezTo>
                <a:cubicBezTo>
                  <a:pt x="382100" y="364616"/>
                  <a:pt x="378514" y="366525"/>
                  <a:pt x="371688" y="368318"/>
                </a:cubicBezTo>
                <a:cubicBezTo>
                  <a:pt x="357313" y="372084"/>
                  <a:pt x="342529" y="374027"/>
                  <a:pt x="327668" y="374103"/>
                </a:cubicBezTo>
                <a:cubicBezTo>
                  <a:pt x="318193" y="374247"/>
                  <a:pt x="308747" y="373038"/>
                  <a:pt x="299614" y="370516"/>
                </a:cubicBezTo>
                <a:cubicBezTo>
                  <a:pt x="297734" y="369955"/>
                  <a:pt x="295790" y="369660"/>
                  <a:pt x="293829" y="369649"/>
                </a:cubicBezTo>
                <a:cubicBezTo>
                  <a:pt x="288560" y="369452"/>
                  <a:pt x="283545" y="371905"/>
                  <a:pt x="280467" y="376185"/>
                </a:cubicBezTo>
                <a:cubicBezTo>
                  <a:pt x="279501" y="377608"/>
                  <a:pt x="279368" y="379442"/>
                  <a:pt x="280120" y="380986"/>
                </a:cubicBezTo>
                <a:cubicBezTo>
                  <a:pt x="280930" y="382316"/>
                  <a:pt x="283418" y="384630"/>
                  <a:pt x="291168" y="384630"/>
                </a:cubicBezTo>
                <a:cubicBezTo>
                  <a:pt x="293650" y="384624"/>
                  <a:pt x="296120" y="384428"/>
                  <a:pt x="298573" y="384052"/>
                </a:cubicBezTo>
                <a:cubicBezTo>
                  <a:pt x="307041" y="382802"/>
                  <a:pt x="315579" y="382126"/>
                  <a:pt x="324140" y="382027"/>
                </a:cubicBezTo>
                <a:cubicBezTo>
                  <a:pt x="343518" y="382027"/>
                  <a:pt x="354508" y="386655"/>
                  <a:pt x="356764" y="395794"/>
                </a:cubicBezTo>
                <a:cubicBezTo>
                  <a:pt x="356851" y="396783"/>
                  <a:pt x="357724" y="397512"/>
                  <a:pt x="358708" y="397425"/>
                </a:cubicBezTo>
                <a:cubicBezTo>
                  <a:pt x="358737" y="397420"/>
                  <a:pt x="358759" y="397420"/>
                  <a:pt x="358788" y="397414"/>
                </a:cubicBezTo>
                <a:cubicBezTo>
                  <a:pt x="361675" y="396963"/>
                  <a:pt x="364469" y="396043"/>
                  <a:pt x="367060" y="394695"/>
                </a:cubicBezTo>
                <a:cubicBezTo>
                  <a:pt x="371266" y="392486"/>
                  <a:pt x="375864" y="391126"/>
                  <a:pt x="380596" y="390704"/>
                </a:cubicBezTo>
                <a:cubicBezTo>
                  <a:pt x="384165" y="390600"/>
                  <a:pt x="387508" y="392439"/>
                  <a:pt x="389330" y="395505"/>
                </a:cubicBezTo>
                <a:cubicBezTo>
                  <a:pt x="394074" y="402851"/>
                  <a:pt x="395115" y="409619"/>
                  <a:pt x="392512" y="414420"/>
                </a:cubicBezTo>
                <a:cubicBezTo>
                  <a:pt x="390777" y="417659"/>
                  <a:pt x="386727" y="421477"/>
                  <a:pt x="376258" y="421477"/>
                </a:cubicBezTo>
                <a:cubicBezTo>
                  <a:pt x="359714" y="421477"/>
                  <a:pt x="359714" y="421477"/>
                  <a:pt x="346641" y="430906"/>
                </a:cubicBezTo>
                <a:cubicBezTo>
                  <a:pt x="338456" y="436592"/>
                  <a:pt x="328727" y="439640"/>
                  <a:pt x="318760" y="439640"/>
                </a:cubicBezTo>
                <a:close/>
                <a:moveTo>
                  <a:pt x="228523" y="417254"/>
                </a:moveTo>
                <a:cubicBezTo>
                  <a:pt x="233151" y="417254"/>
                  <a:pt x="238183" y="417254"/>
                  <a:pt x="243447" y="417775"/>
                </a:cubicBezTo>
                <a:cubicBezTo>
                  <a:pt x="248711" y="418296"/>
                  <a:pt x="255016" y="418353"/>
                  <a:pt x="260800" y="418353"/>
                </a:cubicBezTo>
                <a:cubicBezTo>
                  <a:pt x="285095" y="418353"/>
                  <a:pt x="291573" y="422056"/>
                  <a:pt x="302737" y="431947"/>
                </a:cubicBezTo>
                <a:cubicBezTo>
                  <a:pt x="307197" y="435632"/>
                  <a:pt x="312860" y="437552"/>
                  <a:pt x="318644" y="437326"/>
                </a:cubicBezTo>
                <a:cubicBezTo>
                  <a:pt x="328119" y="437037"/>
                  <a:pt x="337276" y="433867"/>
                  <a:pt x="344906" y="428245"/>
                </a:cubicBezTo>
                <a:cubicBezTo>
                  <a:pt x="358441" y="418411"/>
                  <a:pt x="358731" y="418353"/>
                  <a:pt x="375853" y="418353"/>
                </a:cubicBezTo>
                <a:cubicBezTo>
                  <a:pt x="383141" y="418353"/>
                  <a:pt x="388058" y="416329"/>
                  <a:pt x="390140" y="412569"/>
                </a:cubicBezTo>
                <a:cubicBezTo>
                  <a:pt x="392223" y="408809"/>
                  <a:pt x="391297" y="402562"/>
                  <a:pt x="387016" y="395910"/>
                </a:cubicBezTo>
                <a:cubicBezTo>
                  <a:pt x="385628" y="393475"/>
                  <a:pt x="382991" y="392023"/>
                  <a:pt x="380191" y="392150"/>
                </a:cubicBezTo>
                <a:cubicBezTo>
                  <a:pt x="375772" y="392619"/>
                  <a:pt x="371480" y="393891"/>
                  <a:pt x="367523" y="395910"/>
                </a:cubicBezTo>
                <a:cubicBezTo>
                  <a:pt x="364689" y="397460"/>
                  <a:pt x="361588" y="398461"/>
                  <a:pt x="358383" y="398860"/>
                </a:cubicBezTo>
                <a:cubicBezTo>
                  <a:pt x="356347" y="398981"/>
                  <a:pt x="354537" y="397570"/>
                  <a:pt x="354161" y="395563"/>
                </a:cubicBezTo>
                <a:cubicBezTo>
                  <a:pt x="352194" y="387638"/>
                  <a:pt x="341667" y="383473"/>
                  <a:pt x="323735" y="383473"/>
                </a:cubicBezTo>
                <a:cubicBezTo>
                  <a:pt x="315290" y="383572"/>
                  <a:pt x="306868" y="384249"/>
                  <a:pt x="298515" y="385498"/>
                </a:cubicBezTo>
                <a:cubicBezTo>
                  <a:pt x="295947" y="385874"/>
                  <a:pt x="293355" y="386065"/>
                  <a:pt x="290764" y="386076"/>
                </a:cubicBezTo>
                <a:cubicBezTo>
                  <a:pt x="282318" y="386076"/>
                  <a:pt x="279195" y="383473"/>
                  <a:pt x="277806" y="381275"/>
                </a:cubicBezTo>
                <a:cubicBezTo>
                  <a:pt x="276511" y="379100"/>
                  <a:pt x="276511" y="376393"/>
                  <a:pt x="277806" y="374218"/>
                </a:cubicBezTo>
                <a:cubicBezTo>
                  <a:pt x="281277" y="369221"/>
                  <a:pt x="287056" y="366346"/>
                  <a:pt x="293135" y="366583"/>
                </a:cubicBezTo>
                <a:cubicBezTo>
                  <a:pt x="295333" y="366600"/>
                  <a:pt x="297514" y="366930"/>
                  <a:pt x="299614" y="367566"/>
                </a:cubicBezTo>
                <a:cubicBezTo>
                  <a:pt x="308539" y="370025"/>
                  <a:pt x="317771" y="371193"/>
                  <a:pt x="327032" y="371037"/>
                </a:cubicBezTo>
                <a:cubicBezTo>
                  <a:pt x="341696" y="370910"/>
                  <a:pt x="356284" y="368966"/>
                  <a:pt x="370473" y="365252"/>
                </a:cubicBezTo>
                <a:cubicBezTo>
                  <a:pt x="376258" y="363633"/>
                  <a:pt x="379902" y="361724"/>
                  <a:pt x="380943" y="359468"/>
                </a:cubicBezTo>
                <a:cubicBezTo>
                  <a:pt x="381984" y="357212"/>
                  <a:pt x="380133" y="353336"/>
                  <a:pt x="378109" y="349692"/>
                </a:cubicBezTo>
                <a:cubicBezTo>
                  <a:pt x="376095" y="346771"/>
                  <a:pt x="374840" y="343387"/>
                  <a:pt x="374464" y="339859"/>
                </a:cubicBezTo>
                <a:cubicBezTo>
                  <a:pt x="374464" y="334074"/>
                  <a:pt x="382563" y="333264"/>
                  <a:pt x="389562" y="333264"/>
                </a:cubicBezTo>
                <a:cubicBezTo>
                  <a:pt x="394594" y="333264"/>
                  <a:pt x="400494" y="333669"/>
                  <a:pt x="406915" y="334132"/>
                </a:cubicBezTo>
                <a:cubicBezTo>
                  <a:pt x="413336" y="334595"/>
                  <a:pt x="420451" y="335116"/>
                  <a:pt x="426698" y="335116"/>
                </a:cubicBezTo>
                <a:cubicBezTo>
                  <a:pt x="447869" y="335116"/>
                  <a:pt x="478757" y="300409"/>
                  <a:pt x="480088" y="280453"/>
                </a:cubicBezTo>
                <a:cubicBezTo>
                  <a:pt x="480319" y="277867"/>
                  <a:pt x="479411" y="275310"/>
                  <a:pt x="477601" y="273454"/>
                </a:cubicBezTo>
                <a:cubicBezTo>
                  <a:pt x="470775" y="266281"/>
                  <a:pt x="451281" y="265413"/>
                  <a:pt x="437110" y="265413"/>
                </a:cubicBezTo>
                <a:cubicBezTo>
                  <a:pt x="431325" y="265413"/>
                  <a:pt x="426003" y="265413"/>
                  <a:pt x="420740" y="265413"/>
                </a:cubicBezTo>
                <a:cubicBezTo>
                  <a:pt x="415476" y="265413"/>
                  <a:pt x="412063" y="265413"/>
                  <a:pt x="408477" y="265413"/>
                </a:cubicBezTo>
                <a:cubicBezTo>
                  <a:pt x="406533" y="265483"/>
                  <a:pt x="404584" y="265286"/>
                  <a:pt x="402692" y="264835"/>
                </a:cubicBezTo>
                <a:cubicBezTo>
                  <a:pt x="400552" y="264198"/>
                  <a:pt x="400089" y="263099"/>
                  <a:pt x="400089" y="262290"/>
                </a:cubicBezTo>
                <a:cubicBezTo>
                  <a:pt x="400089" y="256505"/>
                  <a:pt x="429937" y="247192"/>
                  <a:pt x="461752" y="247192"/>
                </a:cubicBezTo>
                <a:cubicBezTo>
                  <a:pt x="464644" y="247192"/>
                  <a:pt x="467536" y="247192"/>
                  <a:pt x="470370" y="247192"/>
                </a:cubicBezTo>
                <a:cubicBezTo>
                  <a:pt x="473205" y="247192"/>
                  <a:pt x="475229" y="247192"/>
                  <a:pt x="477369" y="247192"/>
                </a:cubicBezTo>
                <a:cubicBezTo>
                  <a:pt x="488186" y="247192"/>
                  <a:pt x="495070" y="245573"/>
                  <a:pt x="498309" y="242218"/>
                </a:cubicBezTo>
                <a:cubicBezTo>
                  <a:pt x="500496" y="239285"/>
                  <a:pt x="501375" y="235583"/>
                  <a:pt x="500739" y="231979"/>
                </a:cubicBezTo>
                <a:cubicBezTo>
                  <a:pt x="500027" y="228341"/>
                  <a:pt x="501057" y="224575"/>
                  <a:pt x="503515" y="221799"/>
                </a:cubicBezTo>
                <a:cubicBezTo>
                  <a:pt x="505516" y="220219"/>
                  <a:pt x="508027" y="219433"/>
                  <a:pt x="510572" y="219600"/>
                </a:cubicBezTo>
                <a:cubicBezTo>
                  <a:pt x="515402" y="219924"/>
                  <a:pt x="520180" y="220821"/>
                  <a:pt x="524802" y="222261"/>
                </a:cubicBezTo>
                <a:cubicBezTo>
                  <a:pt x="532321" y="224517"/>
                  <a:pt x="540096" y="225819"/>
                  <a:pt x="547939" y="226137"/>
                </a:cubicBezTo>
                <a:cubicBezTo>
                  <a:pt x="551028" y="226131"/>
                  <a:pt x="554111" y="225825"/>
                  <a:pt x="557137" y="225211"/>
                </a:cubicBezTo>
                <a:cubicBezTo>
                  <a:pt x="564749" y="224725"/>
                  <a:pt x="570684" y="218432"/>
                  <a:pt x="570730" y="210808"/>
                </a:cubicBezTo>
                <a:cubicBezTo>
                  <a:pt x="571482" y="205949"/>
                  <a:pt x="572234" y="200917"/>
                  <a:pt x="580390" y="200917"/>
                </a:cubicBezTo>
                <a:cubicBezTo>
                  <a:pt x="588546" y="200917"/>
                  <a:pt x="604338" y="191662"/>
                  <a:pt x="630946" y="176217"/>
                </a:cubicBezTo>
                <a:cubicBezTo>
                  <a:pt x="641069" y="170433"/>
                  <a:pt x="652522" y="163723"/>
                  <a:pt x="665653" y="156261"/>
                </a:cubicBezTo>
                <a:cubicBezTo>
                  <a:pt x="685742" y="145496"/>
                  <a:pt x="707208" y="137514"/>
                  <a:pt x="729455" y="132545"/>
                </a:cubicBezTo>
                <a:cubicBezTo>
                  <a:pt x="745073" y="128438"/>
                  <a:pt x="755427" y="125777"/>
                  <a:pt x="756526" y="118604"/>
                </a:cubicBezTo>
                <a:cubicBezTo>
                  <a:pt x="756700" y="117714"/>
                  <a:pt x="756439" y="116794"/>
                  <a:pt x="755832" y="116117"/>
                </a:cubicBezTo>
                <a:cubicBezTo>
                  <a:pt x="753923" y="113861"/>
                  <a:pt x="748023" y="112704"/>
                  <a:pt x="738478" y="112704"/>
                </a:cubicBezTo>
                <a:cubicBezTo>
                  <a:pt x="728934" y="112704"/>
                  <a:pt x="719159" y="113572"/>
                  <a:pt x="708978" y="114497"/>
                </a:cubicBezTo>
                <a:cubicBezTo>
                  <a:pt x="699954" y="115249"/>
                  <a:pt x="691625" y="116001"/>
                  <a:pt x="685030" y="116001"/>
                </a:cubicBezTo>
                <a:cubicBezTo>
                  <a:pt x="682005" y="116163"/>
                  <a:pt x="678974" y="115810"/>
                  <a:pt x="676065" y="114960"/>
                </a:cubicBezTo>
                <a:cubicBezTo>
                  <a:pt x="673924" y="114092"/>
                  <a:pt x="673693" y="112878"/>
                  <a:pt x="673866" y="112068"/>
                </a:cubicBezTo>
                <a:cubicBezTo>
                  <a:pt x="675023" y="105879"/>
                  <a:pt x="715861" y="97607"/>
                  <a:pt x="733851" y="97607"/>
                </a:cubicBezTo>
                <a:cubicBezTo>
                  <a:pt x="736263" y="97543"/>
                  <a:pt x="738669" y="97775"/>
                  <a:pt x="741024" y="98301"/>
                </a:cubicBezTo>
                <a:cubicBezTo>
                  <a:pt x="744205" y="99070"/>
                  <a:pt x="747468" y="99464"/>
                  <a:pt x="750741" y="99458"/>
                </a:cubicBezTo>
                <a:cubicBezTo>
                  <a:pt x="765607" y="99458"/>
                  <a:pt x="787473" y="91880"/>
                  <a:pt x="823857" y="74122"/>
                </a:cubicBezTo>
                <a:cubicBezTo>
                  <a:pt x="852779" y="60066"/>
                  <a:pt x="853762" y="53761"/>
                  <a:pt x="853415" y="52199"/>
                </a:cubicBezTo>
                <a:cubicBezTo>
                  <a:pt x="853068" y="50637"/>
                  <a:pt x="848556" y="48671"/>
                  <a:pt x="841846" y="48671"/>
                </a:cubicBezTo>
                <a:cubicBezTo>
                  <a:pt x="838376" y="48700"/>
                  <a:pt x="834911" y="49029"/>
                  <a:pt x="831492" y="49654"/>
                </a:cubicBezTo>
                <a:cubicBezTo>
                  <a:pt x="827877" y="50256"/>
                  <a:pt x="824221" y="50568"/>
                  <a:pt x="820559" y="50579"/>
                </a:cubicBezTo>
                <a:cubicBezTo>
                  <a:pt x="807834" y="50579"/>
                  <a:pt x="796612" y="46877"/>
                  <a:pt x="791232" y="41035"/>
                </a:cubicBezTo>
                <a:cubicBezTo>
                  <a:pt x="788745" y="38484"/>
                  <a:pt x="787484" y="34985"/>
                  <a:pt x="787762" y="31433"/>
                </a:cubicBezTo>
                <a:cubicBezTo>
                  <a:pt x="787930" y="30363"/>
                  <a:pt x="787634" y="29270"/>
                  <a:pt x="786952" y="28425"/>
                </a:cubicBezTo>
                <a:cubicBezTo>
                  <a:pt x="784441" y="26632"/>
                  <a:pt x="781335" y="25863"/>
                  <a:pt x="778275" y="26285"/>
                </a:cubicBezTo>
                <a:cubicBezTo>
                  <a:pt x="775904" y="26285"/>
                  <a:pt x="773243" y="26285"/>
                  <a:pt x="770756" y="26690"/>
                </a:cubicBezTo>
                <a:cubicBezTo>
                  <a:pt x="768268" y="27095"/>
                  <a:pt x="766012" y="26979"/>
                  <a:pt x="763988" y="26979"/>
                </a:cubicBezTo>
                <a:cubicBezTo>
                  <a:pt x="761963" y="26979"/>
                  <a:pt x="756931" y="26979"/>
                  <a:pt x="756352" y="23508"/>
                </a:cubicBezTo>
                <a:cubicBezTo>
                  <a:pt x="756352" y="21773"/>
                  <a:pt x="752650" y="20732"/>
                  <a:pt x="747213" y="20732"/>
                </a:cubicBezTo>
                <a:cubicBezTo>
                  <a:pt x="729634" y="22051"/>
                  <a:pt x="712373" y="26152"/>
                  <a:pt x="696078" y="32879"/>
                </a:cubicBezTo>
                <a:cubicBezTo>
                  <a:pt x="692099" y="34666"/>
                  <a:pt x="687865" y="35823"/>
                  <a:pt x="683526" y="36292"/>
                </a:cubicBezTo>
                <a:cubicBezTo>
                  <a:pt x="681155" y="36292"/>
                  <a:pt x="680576" y="35077"/>
                  <a:pt x="680461" y="34383"/>
                </a:cubicBezTo>
                <a:cubicBezTo>
                  <a:pt x="679593" y="29640"/>
                  <a:pt x="696599" y="17782"/>
                  <a:pt x="705102" y="14253"/>
                </a:cubicBezTo>
                <a:cubicBezTo>
                  <a:pt x="700880" y="13675"/>
                  <a:pt x="690988" y="13443"/>
                  <a:pt x="681328" y="13154"/>
                </a:cubicBezTo>
                <a:cubicBezTo>
                  <a:pt x="655356" y="12460"/>
                  <a:pt x="619724" y="11477"/>
                  <a:pt x="610238" y="4882"/>
                </a:cubicBezTo>
                <a:cubicBezTo>
                  <a:pt x="608086" y="3378"/>
                  <a:pt x="605517" y="2569"/>
                  <a:pt x="602891" y="2569"/>
                </a:cubicBezTo>
                <a:cubicBezTo>
                  <a:pt x="597483" y="3147"/>
                  <a:pt x="592271" y="4900"/>
                  <a:pt x="587620" y="7717"/>
                </a:cubicBezTo>
                <a:cubicBezTo>
                  <a:pt x="582814" y="10563"/>
                  <a:pt x="577446" y="12321"/>
                  <a:pt x="571887" y="12865"/>
                </a:cubicBezTo>
                <a:cubicBezTo>
                  <a:pt x="567971" y="12871"/>
                  <a:pt x="564240" y="11234"/>
                  <a:pt x="561591" y="8353"/>
                </a:cubicBezTo>
                <a:cubicBezTo>
                  <a:pt x="556396" y="3905"/>
                  <a:pt x="549675" y="1649"/>
                  <a:pt x="542849" y="2048"/>
                </a:cubicBezTo>
                <a:cubicBezTo>
                  <a:pt x="531859" y="2048"/>
                  <a:pt x="520116" y="6329"/>
                  <a:pt x="516704" y="11535"/>
                </a:cubicBezTo>
                <a:cubicBezTo>
                  <a:pt x="515801" y="12709"/>
                  <a:pt x="515605" y="14276"/>
                  <a:pt x="516183" y="15641"/>
                </a:cubicBezTo>
                <a:cubicBezTo>
                  <a:pt x="517658" y="17926"/>
                  <a:pt x="517855" y="20813"/>
                  <a:pt x="516704" y="23277"/>
                </a:cubicBezTo>
                <a:cubicBezTo>
                  <a:pt x="515743" y="24665"/>
                  <a:pt x="514101" y="25417"/>
                  <a:pt x="512423" y="25244"/>
                </a:cubicBezTo>
                <a:cubicBezTo>
                  <a:pt x="505407" y="24058"/>
                  <a:pt x="498928" y="20749"/>
                  <a:pt x="493855" y="15757"/>
                </a:cubicBezTo>
                <a:cubicBezTo>
                  <a:pt x="488863" y="12049"/>
                  <a:pt x="482697" y="10279"/>
                  <a:pt x="476502" y="10783"/>
                </a:cubicBezTo>
                <a:cubicBezTo>
                  <a:pt x="470439" y="10933"/>
                  <a:pt x="464389" y="11471"/>
                  <a:pt x="458396" y="12402"/>
                </a:cubicBezTo>
                <a:cubicBezTo>
                  <a:pt x="451131" y="13467"/>
                  <a:pt x="443814" y="14080"/>
                  <a:pt x="436473" y="14253"/>
                </a:cubicBezTo>
                <a:cubicBezTo>
                  <a:pt x="433124" y="14265"/>
                  <a:pt x="429781" y="14033"/>
                  <a:pt x="426466" y="13559"/>
                </a:cubicBezTo>
                <a:cubicBezTo>
                  <a:pt x="424893" y="13334"/>
                  <a:pt x="423308" y="13218"/>
                  <a:pt x="421723" y="13212"/>
                </a:cubicBezTo>
                <a:cubicBezTo>
                  <a:pt x="416396" y="13038"/>
                  <a:pt x="411306" y="15451"/>
                  <a:pt x="408072" y="19691"/>
                </a:cubicBezTo>
                <a:cubicBezTo>
                  <a:pt x="405509" y="23225"/>
                  <a:pt x="401449" y="25365"/>
                  <a:pt x="397081" y="25475"/>
                </a:cubicBezTo>
                <a:cubicBezTo>
                  <a:pt x="392460" y="25186"/>
                  <a:pt x="387936" y="23983"/>
                  <a:pt x="383777" y="21947"/>
                </a:cubicBezTo>
                <a:cubicBezTo>
                  <a:pt x="372804" y="17267"/>
                  <a:pt x="360998" y="14849"/>
                  <a:pt x="349071" y="14832"/>
                </a:cubicBezTo>
                <a:cubicBezTo>
                  <a:pt x="344038" y="14433"/>
                  <a:pt x="338989" y="15225"/>
                  <a:pt x="334320" y="17145"/>
                </a:cubicBezTo>
                <a:lnTo>
                  <a:pt x="334899" y="17435"/>
                </a:lnTo>
                <a:cubicBezTo>
                  <a:pt x="338601" y="19054"/>
                  <a:pt x="338775" y="21195"/>
                  <a:pt x="338543" y="22294"/>
                </a:cubicBezTo>
                <a:cubicBezTo>
                  <a:pt x="337849" y="25475"/>
                  <a:pt x="332759" y="28078"/>
                  <a:pt x="326569" y="28078"/>
                </a:cubicBezTo>
                <a:cubicBezTo>
                  <a:pt x="324215" y="28078"/>
                  <a:pt x="321878" y="27725"/>
                  <a:pt x="319628" y="27037"/>
                </a:cubicBezTo>
                <a:cubicBezTo>
                  <a:pt x="317268" y="26302"/>
                  <a:pt x="314810" y="25915"/>
                  <a:pt x="312340" y="25880"/>
                </a:cubicBezTo>
                <a:cubicBezTo>
                  <a:pt x="308869" y="25515"/>
                  <a:pt x="305450" y="26927"/>
                  <a:pt x="303258" y="29640"/>
                </a:cubicBezTo>
                <a:cubicBezTo>
                  <a:pt x="301893" y="32584"/>
                  <a:pt x="302153" y="36020"/>
                  <a:pt x="303952" y="38721"/>
                </a:cubicBezTo>
                <a:cubicBezTo>
                  <a:pt x="304704" y="39948"/>
                  <a:pt x="304704" y="41486"/>
                  <a:pt x="303952" y="42713"/>
                </a:cubicBezTo>
                <a:cubicBezTo>
                  <a:pt x="302853" y="44564"/>
                  <a:pt x="299903" y="45316"/>
                  <a:pt x="294292" y="45316"/>
                </a:cubicBezTo>
                <a:cubicBezTo>
                  <a:pt x="291111" y="45316"/>
                  <a:pt x="287524" y="45316"/>
                  <a:pt x="283707" y="44853"/>
                </a:cubicBezTo>
                <a:cubicBezTo>
                  <a:pt x="279889" y="44390"/>
                  <a:pt x="275608" y="44332"/>
                  <a:pt x="272138" y="44332"/>
                </a:cubicBezTo>
                <a:cubicBezTo>
                  <a:pt x="263403" y="44332"/>
                  <a:pt x="259297" y="45836"/>
                  <a:pt x="259297" y="48960"/>
                </a:cubicBezTo>
                <a:cubicBezTo>
                  <a:pt x="258880" y="58117"/>
                  <a:pt x="251111" y="65202"/>
                  <a:pt x="241955" y="64786"/>
                </a:cubicBezTo>
                <a:cubicBezTo>
                  <a:pt x="241775" y="64774"/>
                  <a:pt x="241602" y="64763"/>
                  <a:pt x="241423" y="64751"/>
                </a:cubicBezTo>
                <a:cubicBezTo>
                  <a:pt x="235285" y="64647"/>
                  <a:pt x="229385" y="62374"/>
                  <a:pt x="224763" y="58331"/>
                </a:cubicBezTo>
                <a:cubicBezTo>
                  <a:pt x="216781" y="51679"/>
                  <a:pt x="198039" y="47224"/>
                  <a:pt x="185487" y="47224"/>
                </a:cubicBezTo>
                <a:cubicBezTo>
                  <a:pt x="179298" y="47224"/>
                  <a:pt x="177215" y="48381"/>
                  <a:pt x="176984" y="49018"/>
                </a:cubicBezTo>
                <a:cubicBezTo>
                  <a:pt x="176753" y="49654"/>
                  <a:pt x="176984" y="50348"/>
                  <a:pt x="178951" y="51736"/>
                </a:cubicBezTo>
                <a:cubicBezTo>
                  <a:pt x="179703" y="52315"/>
                  <a:pt x="182017" y="54224"/>
                  <a:pt x="181380" y="56364"/>
                </a:cubicBezTo>
                <a:cubicBezTo>
                  <a:pt x="180455" y="59487"/>
                  <a:pt x="174439" y="60413"/>
                  <a:pt x="164663" y="61570"/>
                </a:cubicBezTo>
                <a:cubicBezTo>
                  <a:pt x="158879" y="62264"/>
                  <a:pt x="150723" y="63247"/>
                  <a:pt x="150260" y="65041"/>
                </a:cubicBezTo>
                <a:cubicBezTo>
                  <a:pt x="150260" y="65041"/>
                  <a:pt x="150260" y="65850"/>
                  <a:pt x="152284" y="67470"/>
                </a:cubicBezTo>
                <a:cubicBezTo>
                  <a:pt x="156623" y="70767"/>
                  <a:pt x="156796" y="73775"/>
                  <a:pt x="156160" y="75742"/>
                </a:cubicBezTo>
                <a:cubicBezTo>
                  <a:pt x="153846" y="82567"/>
                  <a:pt x="138807" y="86269"/>
                  <a:pt x="134121" y="84245"/>
                </a:cubicBezTo>
                <a:cubicBezTo>
                  <a:pt x="133017" y="83857"/>
                  <a:pt x="132276" y="82810"/>
                  <a:pt x="132270" y="81642"/>
                </a:cubicBezTo>
                <a:cubicBezTo>
                  <a:pt x="132270" y="78634"/>
                  <a:pt x="119082" y="72098"/>
                  <a:pt x="105951" y="72098"/>
                </a:cubicBezTo>
                <a:cubicBezTo>
                  <a:pt x="100855" y="71762"/>
                  <a:pt x="95811" y="73306"/>
                  <a:pt x="91779" y="76436"/>
                </a:cubicBezTo>
                <a:cubicBezTo>
                  <a:pt x="88002" y="79953"/>
                  <a:pt x="84572" y="83828"/>
                  <a:pt x="81541" y="88005"/>
                </a:cubicBezTo>
                <a:cubicBezTo>
                  <a:pt x="78070" y="92517"/>
                  <a:pt x="75756" y="95756"/>
                  <a:pt x="72633" y="95756"/>
                </a:cubicBezTo>
                <a:cubicBezTo>
                  <a:pt x="70903" y="95611"/>
                  <a:pt x="69336" y="94697"/>
                  <a:pt x="68352" y="93269"/>
                </a:cubicBezTo>
                <a:cubicBezTo>
                  <a:pt x="64164" y="90174"/>
                  <a:pt x="58947" y="88809"/>
                  <a:pt x="53776" y="89451"/>
                </a:cubicBezTo>
                <a:cubicBezTo>
                  <a:pt x="39257" y="90058"/>
                  <a:pt x="24940" y="93112"/>
                  <a:pt x="11434" y="98475"/>
                </a:cubicBezTo>
                <a:cubicBezTo>
                  <a:pt x="4261" y="101193"/>
                  <a:pt x="1947" y="103623"/>
                  <a:pt x="2178" y="104837"/>
                </a:cubicBezTo>
                <a:cubicBezTo>
                  <a:pt x="2410" y="106052"/>
                  <a:pt x="6170" y="107787"/>
                  <a:pt x="11954" y="107787"/>
                </a:cubicBezTo>
                <a:cubicBezTo>
                  <a:pt x="18682" y="107811"/>
                  <a:pt x="25282" y="105994"/>
                  <a:pt x="31043" y="102524"/>
                </a:cubicBezTo>
                <a:cubicBezTo>
                  <a:pt x="35942" y="99105"/>
                  <a:pt x="41686" y="97104"/>
                  <a:pt x="47644" y="96739"/>
                </a:cubicBezTo>
                <a:cubicBezTo>
                  <a:pt x="51520" y="96739"/>
                  <a:pt x="54123" y="98012"/>
                  <a:pt x="54643" y="100268"/>
                </a:cubicBezTo>
                <a:cubicBezTo>
                  <a:pt x="55164" y="102524"/>
                  <a:pt x="54643" y="104722"/>
                  <a:pt x="47876" y="108077"/>
                </a:cubicBezTo>
                <a:cubicBezTo>
                  <a:pt x="39835" y="112068"/>
                  <a:pt x="40124" y="113861"/>
                  <a:pt x="40124" y="114382"/>
                </a:cubicBezTo>
                <a:cubicBezTo>
                  <a:pt x="40124" y="114902"/>
                  <a:pt x="43248" y="116985"/>
                  <a:pt x="52445" y="116985"/>
                </a:cubicBezTo>
                <a:cubicBezTo>
                  <a:pt x="54181" y="116985"/>
                  <a:pt x="56147" y="116985"/>
                  <a:pt x="58230" y="116985"/>
                </a:cubicBezTo>
                <a:lnTo>
                  <a:pt x="61990" y="116985"/>
                </a:lnTo>
                <a:cubicBezTo>
                  <a:pt x="64708" y="116985"/>
                  <a:pt x="66328" y="116985"/>
                  <a:pt x="66733" y="118489"/>
                </a:cubicBezTo>
                <a:cubicBezTo>
                  <a:pt x="67138" y="119993"/>
                  <a:pt x="65518" y="121149"/>
                  <a:pt x="62221" y="123405"/>
                </a:cubicBezTo>
                <a:cubicBezTo>
                  <a:pt x="57709" y="126471"/>
                  <a:pt x="50941" y="131041"/>
                  <a:pt x="50941" y="136420"/>
                </a:cubicBezTo>
                <a:cubicBezTo>
                  <a:pt x="50941" y="141800"/>
                  <a:pt x="55280" y="142205"/>
                  <a:pt x="62510" y="143824"/>
                </a:cubicBezTo>
                <a:cubicBezTo>
                  <a:pt x="68757" y="145039"/>
                  <a:pt x="75814" y="146427"/>
                  <a:pt x="76508" y="153253"/>
                </a:cubicBezTo>
                <a:cubicBezTo>
                  <a:pt x="77029" y="159038"/>
                  <a:pt x="92647" y="163665"/>
                  <a:pt x="110521" y="163665"/>
                </a:cubicBezTo>
                <a:cubicBezTo>
                  <a:pt x="125387" y="163665"/>
                  <a:pt x="137765" y="160426"/>
                  <a:pt x="143666" y="154988"/>
                </a:cubicBezTo>
                <a:cubicBezTo>
                  <a:pt x="149566" y="149551"/>
                  <a:pt x="153326" y="148105"/>
                  <a:pt x="155235" y="150303"/>
                </a:cubicBezTo>
                <a:cubicBezTo>
                  <a:pt x="157143" y="152501"/>
                  <a:pt x="156102" y="157938"/>
                  <a:pt x="155235" y="163723"/>
                </a:cubicBezTo>
                <a:cubicBezTo>
                  <a:pt x="154888" y="165690"/>
                  <a:pt x="154540" y="167656"/>
                  <a:pt x="154309" y="169507"/>
                </a:cubicBezTo>
                <a:cubicBezTo>
                  <a:pt x="154309" y="169906"/>
                  <a:pt x="154477" y="170282"/>
                  <a:pt x="154772" y="170549"/>
                </a:cubicBezTo>
                <a:cubicBezTo>
                  <a:pt x="159052" y="175407"/>
                  <a:pt x="185198" y="180266"/>
                  <a:pt x="206832" y="180266"/>
                </a:cubicBezTo>
                <a:cubicBezTo>
                  <a:pt x="222623" y="180266"/>
                  <a:pt x="229044" y="177605"/>
                  <a:pt x="229969" y="175118"/>
                </a:cubicBezTo>
                <a:cubicBezTo>
                  <a:pt x="230953" y="169901"/>
                  <a:pt x="235661" y="166233"/>
                  <a:pt x="240960" y="166557"/>
                </a:cubicBezTo>
                <a:cubicBezTo>
                  <a:pt x="245738" y="166887"/>
                  <a:pt x="250458" y="167801"/>
                  <a:pt x="255016" y="169276"/>
                </a:cubicBezTo>
                <a:lnTo>
                  <a:pt x="260453" y="170664"/>
                </a:lnTo>
                <a:cubicBezTo>
                  <a:pt x="262137" y="171063"/>
                  <a:pt x="263872" y="171237"/>
                  <a:pt x="265601" y="171185"/>
                </a:cubicBezTo>
                <a:cubicBezTo>
                  <a:pt x="287177" y="171185"/>
                  <a:pt x="345253" y="155972"/>
                  <a:pt x="346583" y="143824"/>
                </a:cubicBezTo>
                <a:cubicBezTo>
                  <a:pt x="346988" y="138445"/>
                  <a:pt x="350054" y="138040"/>
                  <a:pt x="351038" y="138040"/>
                </a:cubicBezTo>
                <a:cubicBezTo>
                  <a:pt x="354045" y="138040"/>
                  <a:pt x="357227" y="141221"/>
                  <a:pt x="358615" y="145675"/>
                </a:cubicBezTo>
                <a:cubicBezTo>
                  <a:pt x="359540" y="148626"/>
                  <a:pt x="361449" y="158864"/>
                  <a:pt x="348319" y="167830"/>
                </a:cubicBezTo>
                <a:cubicBezTo>
                  <a:pt x="333163" y="178242"/>
                  <a:pt x="308753" y="180787"/>
                  <a:pt x="287177" y="183043"/>
                </a:cubicBezTo>
                <a:cubicBezTo>
                  <a:pt x="277436" y="183720"/>
                  <a:pt x="267765" y="185172"/>
                  <a:pt x="258255" y="187381"/>
                </a:cubicBezTo>
                <a:cubicBezTo>
                  <a:pt x="255826" y="188133"/>
                  <a:pt x="252933" y="189348"/>
                  <a:pt x="252471" y="191141"/>
                </a:cubicBezTo>
                <a:cubicBezTo>
                  <a:pt x="251892" y="195306"/>
                  <a:pt x="263114" y="202710"/>
                  <a:pt x="273989" y="209362"/>
                </a:cubicBezTo>
                <a:cubicBezTo>
                  <a:pt x="280236" y="213353"/>
                  <a:pt x="286715" y="217518"/>
                  <a:pt x="292325" y="221799"/>
                </a:cubicBezTo>
                <a:cubicBezTo>
                  <a:pt x="296722" y="225153"/>
                  <a:pt x="298399" y="227583"/>
                  <a:pt x="297705" y="229608"/>
                </a:cubicBezTo>
                <a:cubicBezTo>
                  <a:pt x="297011" y="231632"/>
                  <a:pt x="295333" y="231979"/>
                  <a:pt x="291920" y="231979"/>
                </a:cubicBezTo>
                <a:cubicBezTo>
                  <a:pt x="274174" y="230030"/>
                  <a:pt x="257544" y="222354"/>
                  <a:pt x="244546" y="210114"/>
                </a:cubicBezTo>
                <a:cubicBezTo>
                  <a:pt x="232572" y="197388"/>
                  <a:pt x="208451" y="190620"/>
                  <a:pt x="174844" y="190620"/>
                </a:cubicBezTo>
                <a:cubicBezTo>
                  <a:pt x="169927" y="190620"/>
                  <a:pt x="164837" y="190620"/>
                  <a:pt x="159399" y="191083"/>
                </a:cubicBezTo>
                <a:cubicBezTo>
                  <a:pt x="149161" y="191604"/>
                  <a:pt x="145690" y="201090"/>
                  <a:pt x="145922" y="209709"/>
                </a:cubicBezTo>
                <a:cubicBezTo>
                  <a:pt x="146211" y="220700"/>
                  <a:pt x="152169" y="232442"/>
                  <a:pt x="160556" y="232442"/>
                </a:cubicBezTo>
                <a:cubicBezTo>
                  <a:pt x="174844" y="232442"/>
                  <a:pt x="193701" y="236260"/>
                  <a:pt x="212616" y="265644"/>
                </a:cubicBezTo>
                <a:cubicBezTo>
                  <a:pt x="222103" y="280568"/>
                  <a:pt x="238067" y="285080"/>
                  <a:pt x="249752" y="288377"/>
                </a:cubicBezTo>
                <a:cubicBezTo>
                  <a:pt x="258892" y="290923"/>
                  <a:pt x="266064" y="292947"/>
                  <a:pt x="266064" y="298963"/>
                </a:cubicBezTo>
                <a:cubicBezTo>
                  <a:pt x="266064" y="301161"/>
                  <a:pt x="264849" y="303706"/>
                  <a:pt x="259181" y="303706"/>
                </a:cubicBezTo>
                <a:cubicBezTo>
                  <a:pt x="247114" y="302150"/>
                  <a:pt x="235268" y="299183"/>
                  <a:pt x="223896" y="294856"/>
                </a:cubicBezTo>
                <a:cubicBezTo>
                  <a:pt x="213061" y="291119"/>
                  <a:pt x="202013" y="288030"/>
                  <a:pt x="190809" y="285601"/>
                </a:cubicBezTo>
                <a:cubicBezTo>
                  <a:pt x="187604" y="285005"/>
                  <a:pt x="184348" y="284716"/>
                  <a:pt x="181091" y="284733"/>
                </a:cubicBezTo>
                <a:cubicBezTo>
                  <a:pt x="155813" y="284733"/>
                  <a:pt x="122900" y="299483"/>
                  <a:pt x="121916" y="316027"/>
                </a:cubicBezTo>
                <a:cubicBezTo>
                  <a:pt x="121656" y="318694"/>
                  <a:pt x="122535" y="321343"/>
                  <a:pt x="124346" y="323315"/>
                </a:cubicBezTo>
                <a:cubicBezTo>
                  <a:pt x="129430" y="327347"/>
                  <a:pt x="135874" y="329256"/>
                  <a:pt x="142335" y="328637"/>
                </a:cubicBezTo>
                <a:cubicBezTo>
                  <a:pt x="157571" y="328186"/>
                  <a:pt x="172449" y="323911"/>
                  <a:pt x="185603" y="316200"/>
                </a:cubicBezTo>
                <a:cubicBezTo>
                  <a:pt x="194511" y="310937"/>
                  <a:pt x="197172" y="310416"/>
                  <a:pt x="198502" y="310416"/>
                </a:cubicBezTo>
                <a:cubicBezTo>
                  <a:pt x="199352" y="310335"/>
                  <a:pt x="200162" y="310798"/>
                  <a:pt x="200527" y="311573"/>
                </a:cubicBezTo>
                <a:cubicBezTo>
                  <a:pt x="201973" y="315333"/>
                  <a:pt x="187280" y="329215"/>
                  <a:pt x="180917" y="335000"/>
                </a:cubicBezTo>
                <a:cubicBezTo>
                  <a:pt x="179587" y="335972"/>
                  <a:pt x="178789" y="337516"/>
                  <a:pt x="178777" y="339165"/>
                </a:cubicBezTo>
                <a:cubicBezTo>
                  <a:pt x="179240" y="343156"/>
                  <a:pt x="186644" y="347610"/>
                  <a:pt x="193817" y="351890"/>
                </a:cubicBezTo>
                <a:cubicBezTo>
                  <a:pt x="203130" y="357675"/>
                  <a:pt x="212790" y="363459"/>
                  <a:pt x="212790" y="370574"/>
                </a:cubicBezTo>
                <a:cubicBezTo>
                  <a:pt x="212790" y="376706"/>
                  <a:pt x="207352" y="380523"/>
                  <a:pt x="198618" y="380523"/>
                </a:cubicBezTo>
                <a:cubicBezTo>
                  <a:pt x="188611" y="380523"/>
                  <a:pt x="176463" y="375433"/>
                  <a:pt x="174207" y="367219"/>
                </a:cubicBezTo>
                <a:cubicBezTo>
                  <a:pt x="171257" y="356402"/>
                  <a:pt x="162118" y="343503"/>
                  <a:pt x="135278" y="343503"/>
                </a:cubicBezTo>
                <a:cubicBezTo>
                  <a:pt x="132964" y="343503"/>
                  <a:pt x="130593" y="343503"/>
                  <a:pt x="128163" y="343503"/>
                </a:cubicBezTo>
                <a:cubicBezTo>
                  <a:pt x="115843" y="344428"/>
                  <a:pt x="108381" y="348651"/>
                  <a:pt x="108207" y="354667"/>
                </a:cubicBezTo>
                <a:cubicBezTo>
                  <a:pt x="108034" y="360683"/>
                  <a:pt x="114281" y="366641"/>
                  <a:pt x="124519" y="367913"/>
                </a:cubicBezTo>
                <a:cubicBezTo>
                  <a:pt x="135799" y="369301"/>
                  <a:pt x="140600" y="374507"/>
                  <a:pt x="140369" y="378730"/>
                </a:cubicBezTo>
                <a:cubicBezTo>
                  <a:pt x="140137" y="382953"/>
                  <a:pt x="135510" y="387118"/>
                  <a:pt x="123015" y="387118"/>
                </a:cubicBezTo>
                <a:cubicBezTo>
                  <a:pt x="104389" y="387118"/>
                  <a:pt x="69798" y="396546"/>
                  <a:pt x="65865" y="406611"/>
                </a:cubicBezTo>
                <a:cubicBezTo>
                  <a:pt x="65136" y="409000"/>
                  <a:pt x="66021" y="411591"/>
                  <a:pt x="68063" y="413032"/>
                </a:cubicBezTo>
                <a:cubicBezTo>
                  <a:pt x="74947" y="419453"/>
                  <a:pt x="90160" y="420147"/>
                  <a:pt x="100977" y="420147"/>
                </a:cubicBezTo>
                <a:cubicBezTo>
                  <a:pt x="107571" y="420147"/>
                  <a:pt x="114454" y="420147"/>
                  <a:pt x="121106" y="419568"/>
                </a:cubicBezTo>
                <a:cubicBezTo>
                  <a:pt x="127759" y="418990"/>
                  <a:pt x="133080" y="419048"/>
                  <a:pt x="138460" y="419048"/>
                </a:cubicBezTo>
                <a:cubicBezTo>
                  <a:pt x="149103" y="419048"/>
                  <a:pt x="154888" y="420147"/>
                  <a:pt x="157780" y="422750"/>
                </a:cubicBezTo>
                <a:cubicBezTo>
                  <a:pt x="166248" y="428667"/>
                  <a:pt x="176377" y="431744"/>
                  <a:pt x="186702" y="431542"/>
                </a:cubicBezTo>
                <a:cubicBezTo>
                  <a:pt x="195379" y="431542"/>
                  <a:pt x="201857" y="429286"/>
                  <a:pt x="204460" y="425353"/>
                </a:cubicBezTo>
                <a:cubicBezTo>
                  <a:pt x="208509" y="418180"/>
                  <a:pt x="219037" y="417254"/>
                  <a:pt x="228523" y="417254"/>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0" name="Forma libre: forma 459">
            <a:extLst>
              <a:ext uri="{FF2B5EF4-FFF2-40B4-BE49-F238E27FC236}">
                <a16:creationId xmlns:a16="http://schemas.microsoft.com/office/drawing/2014/main" id="{63A99D61-4B95-E4C3-796F-32292D37E046}"/>
              </a:ext>
            </a:extLst>
          </p:cNvPr>
          <p:cNvSpPr/>
          <p:nvPr/>
        </p:nvSpPr>
        <p:spPr>
          <a:xfrm>
            <a:off x="3876427" y="2465054"/>
            <a:ext cx="53171" cy="37367"/>
          </a:xfrm>
          <a:custGeom>
            <a:avLst/>
            <a:gdLst>
              <a:gd name="connsiteX0" fmla="*/ 15348 w 53171"/>
              <a:gd name="connsiteY0" fmla="*/ 37238 h 37367"/>
              <a:gd name="connsiteX1" fmla="*/ 15348 w 53171"/>
              <a:gd name="connsiteY1" fmla="*/ 37238 h 37367"/>
              <a:gd name="connsiteX2" fmla="*/ 5341 w 53171"/>
              <a:gd name="connsiteY2" fmla="*/ 34404 h 37367"/>
              <a:gd name="connsiteX3" fmla="*/ 135 w 53171"/>
              <a:gd name="connsiteY3" fmla="*/ 24166 h 37367"/>
              <a:gd name="connsiteX4" fmla="*/ 46815 w 53171"/>
              <a:gd name="connsiteY4" fmla="*/ -129 h 37367"/>
              <a:gd name="connsiteX5" fmla="*/ 53062 w 53171"/>
              <a:gd name="connsiteY5" fmla="*/ 2879 h 37367"/>
              <a:gd name="connsiteX6" fmla="*/ 46700 w 53171"/>
              <a:gd name="connsiteY6" fmla="*/ 18208 h 37367"/>
              <a:gd name="connsiteX7" fmla="*/ 15348 w 53171"/>
              <a:gd name="connsiteY7" fmla="*/ 37238 h 37367"/>
              <a:gd name="connsiteX8" fmla="*/ 46815 w 53171"/>
              <a:gd name="connsiteY8" fmla="*/ 2127 h 37367"/>
              <a:gd name="connsiteX9" fmla="*/ 2333 w 53171"/>
              <a:gd name="connsiteY9" fmla="*/ 24744 h 37367"/>
              <a:gd name="connsiteX10" fmla="*/ 6498 w 53171"/>
              <a:gd name="connsiteY10" fmla="*/ 32495 h 37367"/>
              <a:gd name="connsiteX11" fmla="*/ 15348 w 53171"/>
              <a:gd name="connsiteY11" fmla="*/ 34983 h 37367"/>
              <a:gd name="connsiteX12" fmla="*/ 15348 w 53171"/>
              <a:gd name="connsiteY12" fmla="*/ 34983 h 37367"/>
              <a:gd name="connsiteX13" fmla="*/ 44906 w 53171"/>
              <a:gd name="connsiteY13" fmla="*/ 16819 h 37367"/>
              <a:gd name="connsiteX14" fmla="*/ 50691 w 53171"/>
              <a:gd name="connsiteY14" fmla="*/ 3400 h 37367"/>
              <a:gd name="connsiteX15" fmla="*/ 46815 w 53171"/>
              <a:gd name="connsiteY15" fmla="*/ 2127 h 3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71" h="37367">
                <a:moveTo>
                  <a:pt x="15348" y="37238"/>
                </a:moveTo>
                <a:lnTo>
                  <a:pt x="15348" y="37238"/>
                </a:lnTo>
                <a:cubicBezTo>
                  <a:pt x="11814" y="37256"/>
                  <a:pt x="8343" y="36272"/>
                  <a:pt x="5341" y="34404"/>
                </a:cubicBezTo>
                <a:cubicBezTo>
                  <a:pt x="-443" y="30818"/>
                  <a:pt x="-443" y="26826"/>
                  <a:pt x="135" y="24166"/>
                </a:cubicBezTo>
                <a:cubicBezTo>
                  <a:pt x="3606" y="12018"/>
                  <a:pt x="34321" y="-129"/>
                  <a:pt x="46815" y="-129"/>
                </a:cubicBezTo>
                <a:cubicBezTo>
                  <a:pt x="50460" y="-129"/>
                  <a:pt x="52600" y="854"/>
                  <a:pt x="53062" y="2879"/>
                </a:cubicBezTo>
                <a:cubicBezTo>
                  <a:pt x="53068" y="8634"/>
                  <a:pt x="50778" y="14153"/>
                  <a:pt x="46700" y="18208"/>
                </a:cubicBezTo>
                <a:cubicBezTo>
                  <a:pt x="39816" y="27174"/>
                  <a:pt x="27495" y="37238"/>
                  <a:pt x="15348" y="37238"/>
                </a:cubicBezTo>
                <a:close/>
                <a:moveTo>
                  <a:pt x="46815" y="2127"/>
                </a:moveTo>
                <a:cubicBezTo>
                  <a:pt x="34263" y="2127"/>
                  <a:pt x="5225" y="14563"/>
                  <a:pt x="2333" y="24744"/>
                </a:cubicBezTo>
                <a:cubicBezTo>
                  <a:pt x="1523" y="27694"/>
                  <a:pt x="2854" y="30181"/>
                  <a:pt x="6498" y="32495"/>
                </a:cubicBezTo>
                <a:cubicBezTo>
                  <a:pt x="9159" y="34138"/>
                  <a:pt x="12224" y="34994"/>
                  <a:pt x="15348" y="34983"/>
                </a:cubicBezTo>
                <a:lnTo>
                  <a:pt x="15348" y="34983"/>
                </a:lnTo>
                <a:cubicBezTo>
                  <a:pt x="25991" y="34983"/>
                  <a:pt x="37850" y="25843"/>
                  <a:pt x="44906" y="16819"/>
                </a:cubicBezTo>
                <a:cubicBezTo>
                  <a:pt x="48400" y="13198"/>
                  <a:pt x="50460" y="8426"/>
                  <a:pt x="50691" y="3400"/>
                </a:cubicBezTo>
                <a:cubicBezTo>
                  <a:pt x="50691" y="2590"/>
                  <a:pt x="49187" y="2127"/>
                  <a:pt x="46815" y="212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1" name="Forma libre: forma 460">
            <a:extLst>
              <a:ext uri="{FF2B5EF4-FFF2-40B4-BE49-F238E27FC236}">
                <a16:creationId xmlns:a16="http://schemas.microsoft.com/office/drawing/2014/main" id="{22531930-FD0C-F090-4172-6EB3D4FCF529}"/>
              </a:ext>
            </a:extLst>
          </p:cNvPr>
          <p:cNvSpPr/>
          <p:nvPr/>
        </p:nvSpPr>
        <p:spPr>
          <a:xfrm>
            <a:off x="3783027" y="2337291"/>
            <a:ext cx="188288" cy="121285"/>
          </a:xfrm>
          <a:custGeom>
            <a:avLst/>
            <a:gdLst>
              <a:gd name="connsiteX0" fmla="*/ 51251 w 188288"/>
              <a:gd name="connsiteY0" fmla="*/ 121155 h 121285"/>
              <a:gd name="connsiteX1" fmla="*/ 49574 w 188288"/>
              <a:gd name="connsiteY1" fmla="*/ 121155 h 121285"/>
              <a:gd name="connsiteX2" fmla="*/ 41476 w 188288"/>
              <a:gd name="connsiteY2" fmla="*/ 117800 h 121285"/>
              <a:gd name="connsiteX3" fmla="*/ 39914 w 188288"/>
              <a:gd name="connsiteY3" fmla="*/ 107504 h 121285"/>
              <a:gd name="connsiteX4" fmla="*/ 39220 w 188288"/>
              <a:gd name="connsiteY4" fmla="*/ 100620 h 121285"/>
              <a:gd name="connsiteX5" fmla="*/ 35113 w 188288"/>
              <a:gd name="connsiteY5" fmla="*/ 99406 h 121285"/>
              <a:gd name="connsiteX6" fmla="*/ 19379 w 188288"/>
              <a:gd name="connsiteY6" fmla="*/ 102876 h 121285"/>
              <a:gd name="connsiteX7" fmla="*/ 7810 w 188288"/>
              <a:gd name="connsiteY7" fmla="*/ 105364 h 121285"/>
              <a:gd name="connsiteX8" fmla="*/ 233 w 188288"/>
              <a:gd name="connsiteY8" fmla="*/ 100042 h 121285"/>
              <a:gd name="connsiteX9" fmla="*/ 9893 w 188288"/>
              <a:gd name="connsiteY9" fmla="*/ 86507 h 121285"/>
              <a:gd name="connsiteX10" fmla="*/ 23255 w 188288"/>
              <a:gd name="connsiteY10" fmla="*/ 63658 h 121285"/>
              <a:gd name="connsiteX11" fmla="*/ 25048 w 188288"/>
              <a:gd name="connsiteY11" fmla="*/ 43123 h 121285"/>
              <a:gd name="connsiteX12" fmla="*/ 30485 w 188288"/>
              <a:gd name="connsiteY12" fmla="*/ 25770 h 121285"/>
              <a:gd name="connsiteX13" fmla="*/ 55069 w 188288"/>
              <a:gd name="connsiteY13" fmla="*/ -86 h 121285"/>
              <a:gd name="connsiteX14" fmla="*/ 62976 w 188288"/>
              <a:gd name="connsiteY14" fmla="*/ 6265 h 121285"/>
              <a:gd name="connsiteX15" fmla="*/ 62994 w 188288"/>
              <a:gd name="connsiteY15" fmla="*/ 7665 h 121285"/>
              <a:gd name="connsiteX16" fmla="*/ 85090 w 188288"/>
              <a:gd name="connsiteY16" fmla="*/ 26985 h 121285"/>
              <a:gd name="connsiteX17" fmla="*/ 96659 w 188288"/>
              <a:gd name="connsiteY17" fmla="*/ 32133 h 121285"/>
              <a:gd name="connsiteX18" fmla="*/ 112740 w 188288"/>
              <a:gd name="connsiteY18" fmla="*/ 38959 h 121285"/>
              <a:gd name="connsiteX19" fmla="*/ 150512 w 188288"/>
              <a:gd name="connsiteY19" fmla="*/ 64815 h 121285"/>
              <a:gd name="connsiteX20" fmla="*/ 169311 w 188288"/>
              <a:gd name="connsiteY20" fmla="*/ 79450 h 121285"/>
              <a:gd name="connsiteX21" fmla="*/ 188053 w 188288"/>
              <a:gd name="connsiteY21" fmla="*/ 95125 h 121285"/>
              <a:gd name="connsiteX22" fmla="*/ 166246 w 188288"/>
              <a:gd name="connsiteY22" fmla="*/ 104554 h 121285"/>
              <a:gd name="connsiteX23" fmla="*/ 166246 w 188288"/>
              <a:gd name="connsiteY23" fmla="*/ 104554 h 121285"/>
              <a:gd name="connsiteX24" fmla="*/ 130556 w 188288"/>
              <a:gd name="connsiteY24" fmla="*/ 94605 h 121285"/>
              <a:gd name="connsiteX25" fmla="*/ 111583 w 188288"/>
              <a:gd name="connsiteY25" fmla="*/ 87143 h 121285"/>
              <a:gd name="connsiteX26" fmla="*/ 97064 w 188288"/>
              <a:gd name="connsiteY26" fmla="*/ 95530 h 121285"/>
              <a:gd name="connsiteX27" fmla="*/ 51251 w 188288"/>
              <a:gd name="connsiteY27" fmla="*/ 121155 h 121285"/>
              <a:gd name="connsiteX28" fmla="*/ 35113 w 188288"/>
              <a:gd name="connsiteY28" fmla="*/ 97092 h 121285"/>
              <a:gd name="connsiteX29" fmla="*/ 40897 w 188288"/>
              <a:gd name="connsiteY29" fmla="*/ 99059 h 121285"/>
              <a:gd name="connsiteX30" fmla="*/ 42112 w 188288"/>
              <a:gd name="connsiteY30" fmla="*/ 107677 h 121285"/>
              <a:gd name="connsiteX31" fmla="*/ 43211 w 188288"/>
              <a:gd name="connsiteY31" fmla="*/ 116296 h 121285"/>
              <a:gd name="connsiteX32" fmla="*/ 49747 w 188288"/>
              <a:gd name="connsiteY32" fmla="*/ 118842 h 121285"/>
              <a:gd name="connsiteX33" fmla="*/ 51251 w 188288"/>
              <a:gd name="connsiteY33" fmla="*/ 118842 h 121285"/>
              <a:gd name="connsiteX34" fmla="*/ 94750 w 188288"/>
              <a:gd name="connsiteY34" fmla="*/ 93911 h 121285"/>
              <a:gd name="connsiteX35" fmla="*/ 111178 w 188288"/>
              <a:gd name="connsiteY35" fmla="*/ 84482 h 121285"/>
              <a:gd name="connsiteX36" fmla="*/ 131481 w 188288"/>
              <a:gd name="connsiteY36" fmla="*/ 92349 h 121285"/>
              <a:gd name="connsiteX37" fmla="*/ 165841 w 188288"/>
              <a:gd name="connsiteY37" fmla="*/ 101893 h 121285"/>
              <a:gd name="connsiteX38" fmla="*/ 165841 w 188288"/>
              <a:gd name="connsiteY38" fmla="*/ 101893 h 121285"/>
              <a:gd name="connsiteX39" fmla="*/ 185450 w 188288"/>
              <a:gd name="connsiteY39" fmla="*/ 94258 h 121285"/>
              <a:gd name="connsiteX40" fmla="*/ 168097 w 188288"/>
              <a:gd name="connsiteY40" fmla="*/ 81127 h 121285"/>
              <a:gd name="connsiteX41" fmla="*/ 148025 w 188288"/>
              <a:gd name="connsiteY41" fmla="*/ 63774 h 121285"/>
              <a:gd name="connsiteX42" fmla="*/ 111641 w 188288"/>
              <a:gd name="connsiteY42" fmla="*/ 40636 h 121285"/>
              <a:gd name="connsiteX43" fmla="*/ 95271 w 188288"/>
              <a:gd name="connsiteY43" fmla="*/ 33695 h 121285"/>
              <a:gd name="connsiteX44" fmla="*/ 84223 w 188288"/>
              <a:gd name="connsiteY44" fmla="*/ 28662 h 121285"/>
              <a:gd name="connsiteX45" fmla="*/ 60738 w 188288"/>
              <a:gd name="connsiteY45" fmla="*/ 7260 h 121285"/>
              <a:gd name="connsiteX46" fmla="*/ 56590 w 188288"/>
              <a:gd name="connsiteY46" fmla="*/ 1475 h 121285"/>
              <a:gd name="connsiteX47" fmla="*/ 54953 w 188288"/>
              <a:gd name="connsiteY47" fmla="*/ 1475 h 121285"/>
              <a:gd name="connsiteX48" fmla="*/ 32626 w 188288"/>
              <a:gd name="connsiteY48" fmla="*/ 25192 h 121285"/>
              <a:gd name="connsiteX49" fmla="*/ 26841 w 188288"/>
              <a:gd name="connsiteY49" fmla="*/ 43644 h 121285"/>
              <a:gd name="connsiteX50" fmla="*/ 25222 w 188288"/>
              <a:gd name="connsiteY50" fmla="*/ 62385 h 121285"/>
              <a:gd name="connsiteX51" fmla="*/ 11050 w 188288"/>
              <a:gd name="connsiteY51" fmla="*/ 87721 h 121285"/>
              <a:gd name="connsiteX52" fmla="*/ 2199 w 188288"/>
              <a:gd name="connsiteY52" fmla="*/ 98712 h 121285"/>
              <a:gd name="connsiteX53" fmla="*/ 7637 w 188288"/>
              <a:gd name="connsiteY53" fmla="*/ 102472 h 121285"/>
              <a:gd name="connsiteX54" fmla="*/ 18454 w 188288"/>
              <a:gd name="connsiteY54" fmla="*/ 100042 h 121285"/>
              <a:gd name="connsiteX55" fmla="*/ 35113 w 188288"/>
              <a:gd name="connsiteY55" fmla="*/ 97092 h 121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88288" h="121285">
                <a:moveTo>
                  <a:pt x="51251" y="121155"/>
                </a:moveTo>
                <a:lnTo>
                  <a:pt x="49574" y="121155"/>
                </a:lnTo>
                <a:cubicBezTo>
                  <a:pt x="46525" y="121202"/>
                  <a:pt x="43599" y="119987"/>
                  <a:pt x="41476" y="117800"/>
                </a:cubicBezTo>
                <a:cubicBezTo>
                  <a:pt x="39602" y="114711"/>
                  <a:pt x="39040" y="111009"/>
                  <a:pt x="39914" y="107504"/>
                </a:cubicBezTo>
                <a:cubicBezTo>
                  <a:pt x="39914" y="104670"/>
                  <a:pt x="40435" y="101719"/>
                  <a:pt x="39220" y="100620"/>
                </a:cubicBezTo>
                <a:cubicBezTo>
                  <a:pt x="38074" y="99672"/>
                  <a:pt x="36588" y="99232"/>
                  <a:pt x="35113" y="99406"/>
                </a:cubicBezTo>
                <a:cubicBezTo>
                  <a:pt x="29728" y="99793"/>
                  <a:pt x="24429" y="100962"/>
                  <a:pt x="19379" y="102876"/>
                </a:cubicBezTo>
                <a:cubicBezTo>
                  <a:pt x="15654" y="104218"/>
                  <a:pt x="11761" y="105057"/>
                  <a:pt x="7810" y="105364"/>
                </a:cubicBezTo>
                <a:cubicBezTo>
                  <a:pt x="4328" y="105653"/>
                  <a:pt x="1141" y="103414"/>
                  <a:pt x="233" y="100042"/>
                </a:cubicBezTo>
                <a:cubicBezTo>
                  <a:pt x="-1560" y="94662"/>
                  <a:pt x="3993" y="90671"/>
                  <a:pt x="9893" y="86507"/>
                </a:cubicBezTo>
                <a:cubicBezTo>
                  <a:pt x="17702" y="81011"/>
                  <a:pt x="26494" y="74938"/>
                  <a:pt x="23255" y="63658"/>
                </a:cubicBezTo>
                <a:cubicBezTo>
                  <a:pt x="20015" y="52378"/>
                  <a:pt x="22098" y="47924"/>
                  <a:pt x="25048" y="43123"/>
                </a:cubicBezTo>
                <a:cubicBezTo>
                  <a:pt x="28518" y="37998"/>
                  <a:pt x="30410" y="31959"/>
                  <a:pt x="30485" y="25770"/>
                </a:cubicBezTo>
                <a:cubicBezTo>
                  <a:pt x="31480" y="12396"/>
                  <a:pt x="41765" y="1585"/>
                  <a:pt x="55069" y="-86"/>
                </a:cubicBezTo>
                <a:cubicBezTo>
                  <a:pt x="59008" y="-514"/>
                  <a:pt x="62548" y="2326"/>
                  <a:pt x="62976" y="6265"/>
                </a:cubicBezTo>
                <a:cubicBezTo>
                  <a:pt x="63028" y="6728"/>
                  <a:pt x="63034" y="7196"/>
                  <a:pt x="62994" y="7665"/>
                </a:cubicBezTo>
                <a:cubicBezTo>
                  <a:pt x="62994" y="17730"/>
                  <a:pt x="73695" y="22241"/>
                  <a:pt x="85090" y="26985"/>
                </a:cubicBezTo>
                <a:cubicBezTo>
                  <a:pt x="89041" y="28483"/>
                  <a:pt x="92905" y="30201"/>
                  <a:pt x="96659" y="32133"/>
                </a:cubicBezTo>
                <a:cubicBezTo>
                  <a:pt x="101888" y="34701"/>
                  <a:pt x="107256" y="36980"/>
                  <a:pt x="112740" y="38959"/>
                </a:cubicBezTo>
                <a:cubicBezTo>
                  <a:pt x="131366" y="46131"/>
                  <a:pt x="152421" y="54287"/>
                  <a:pt x="150512" y="64815"/>
                </a:cubicBezTo>
                <a:cubicBezTo>
                  <a:pt x="149471" y="70599"/>
                  <a:pt x="159536" y="75169"/>
                  <a:pt x="169311" y="79450"/>
                </a:cubicBezTo>
                <a:cubicBezTo>
                  <a:pt x="179087" y="83730"/>
                  <a:pt x="189442" y="88300"/>
                  <a:pt x="188053" y="95125"/>
                </a:cubicBezTo>
                <a:cubicBezTo>
                  <a:pt x="186896" y="100910"/>
                  <a:pt x="178740" y="104554"/>
                  <a:pt x="166246" y="104554"/>
                </a:cubicBezTo>
                <a:lnTo>
                  <a:pt x="166246" y="104554"/>
                </a:lnTo>
                <a:cubicBezTo>
                  <a:pt x="153642" y="104728"/>
                  <a:pt x="141251" y="101274"/>
                  <a:pt x="130556" y="94605"/>
                </a:cubicBezTo>
                <a:cubicBezTo>
                  <a:pt x="125159" y="90209"/>
                  <a:pt x="118530" y="87600"/>
                  <a:pt x="111583" y="87143"/>
                </a:cubicBezTo>
                <a:cubicBezTo>
                  <a:pt x="105585" y="87108"/>
                  <a:pt x="100031" y="90319"/>
                  <a:pt x="97064" y="95530"/>
                </a:cubicBezTo>
                <a:cubicBezTo>
                  <a:pt x="90528" y="104959"/>
                  <a:pt x="66291" y="121155"/>
                  <a:pt x="51251" y="121155"/>
                </a:cubicBezTo>
                <a:close/>
                <a:moveTo>
                  <a:pt x="35113" y="97092"/>
                </a:moveTo>
                <a:cubicBezTo>
                  <a:pt x="37236" y="96890"/>
                  <a:pt x="39336" y="97607"/>
                  <a:pt x="40897" y="99059"/>
                </a:cubicBezTo>
                <a:cubicBezTo>
                  <a:pt x="42482" y="101639"/>
                  <a:pt x="42922" y="104762"/>
                  <a:pt x="42112" y="107677"/>
                </a:cubicBezTo>
                <a:cubicBezTo>
                  <a:pt x="41395" y="110587"/>
                  <a:pt x="41788" y="113659"/>
                  <a:pt x="43211" y="116296"/>
                </a:cubicBezTo>
                <a:cubicBezTo>
                  <a:pt x="44958" y="117991"/>
                  <a:pt x="47312" y="118911"/>
                  <a:pt x="49747" y="118842"/>
                </a:cubicBezTo>
                <a:lnTo>
                  <a:pt x="51251" y="118842"/>
                </a:lnTo>
                <a:cubicBezTo>
                  <a:pt x="65365" y="118842"/>
                  <a:pt x="89024" y="103050"/>
                  <a:pt x="94750" y="93911"/>
                </a:cubicBezTo>
                <a:cubicBezTo>
                  <a:pt x="98134" y="88045"/>
                  <a:pt x="104405" y="84447"/>
                  <a:pt x="111178" y="84482"/>
                </a:cubicBezTo>
                <a:cubicBezTo>
                  <a:pt x="118594" y="84951"/>
                  <a:pt x="125685" y="87698"/>
                  <a:pt x="131481" y="92349"/>
                </a:cubicBezTo>
                <a:cubicBezTo>
                  <a:pt x="141778" y="98770"/>
                  <a:pt x="153711" y="102078"/>
                  <a:pt x="165841" y="101893"/>
                </a:cubicBezTo>
                <a:lnTo>
                  <a:pt x="165841" y="101893"/>
                </a:lnTo>
                <a:cubicBezTo>
                  <a:pt x="177005" y="101893"/>
                  <a:pt x="184525" y="98943"/>
                  <a:pt x="185450" y="94258"/>
                </a:cubicBezTo>
                <a:cubicBezTo>
                  <a:pt x="186376" y="89572"/>
                  <a:pt x="177063" y="85118"/>
                  <a:pt x="168097" y="81127"/>
                </a:cubicBezTo>
                <a:cubicBezTo>
                  <a:pt x="157511" y="76442"/>
                  <a:pt x="146637" y="71698"/>
                  <a:pt x="148025" y="63774"/>
                </a:cubicBezTo>
                <a:cubicBezTo>
                  <a:pt x="149587" y="55097"/>
                  <a:pt x="127664" y="46420"/>
                  <a:pt x="111641" y="40636"/>
                </a:cubicBezTo>
                <a:cubicBezTo>
                  <a:pt x="106053" y="38652"/>
                  <a:pt x="100587" y="36332"/>
                  <a:pt x="95271" y="33695"/>
                </a:cubicBezTo>
                <a:cubicBezTo>
                  <a:pt x="91679" y="31821"/>
                  <a:pt x="87994" y="30143"/>
                  <a:pt x="84223" y="28662"/>
                </a:cubicBezTo>
                <a:cubicBezTo>
                  <a:pt x="72654" y="23803"/>
                  <a:pt x="60738" y="18829"/>
                  <a:pt x="60738" y="7260"/>
                </a:cubicBezTo>
                <a:cubicBezTo>
                  <a:pt x="61189" y="4518"/>
                  <a:pt x="59332" y="1927"/>
                  <a:pt x="56590" y="1475"/>
                </a:cubicBezTo>
                <a:cubicBezTo>
                  <a:pt x="56047" y="1389"/>
                  <a:pt x="55497" y="1389"/>
                  <a:pt x="54953" y="1475"/>
                </a:cubicBezTo>
                <a:cubicBezTo>
                  <a:pt x="42818" y="3066"/>
                  <a:pt x="33482" y="12986"/>
                  <a:pt x="32626" y="25192"/>
                </a:cubicBezTo>
                <a:cubicBezTo>
                  <a:pt x="32487" y="31768"/>
                  <a:pt x="30480" y="38166"/>
                  <a:pt x="26841" y="43644"/>
                </a:cubicBezTo>
                <a:cubicBezTo>
                  <a:pt x="24065" y="48214"/>
                  <a:pt x="22040" y="51453"/>
                  <a:pt x="25222" y="62385"/>
                </a:cubicBezTo>
                <a:cubicBezTo>
                  <a:pt x="28981" y="74995"/>
                  <a:pt x="19032" y="82052"/>
                  <a:pt x="11050" y="87721"/>
                </a:cubicBezTo>
                <a:cubicBezTo>
                  <a:pt x="5612" y="91539"/>
                  <a:pt x="927" y="94894"/>
                  <a:pt x="2199" y="98712"/>
                </a:cubicBezTo>
                <a:cubicBezTo>
                  <a:pt x="2795" y="101164"/>
                  <a:pt x="5132" y="102778"/>
                  <a:pt x="7637" y="102472"/>
                </a:cubicBezTo>
                <a:cubicBezTo>
                  <a:pt x="11333" y="102148"/>
                  <a:pt x="14971" y="101326"/>
                  <a:pt x="18454" y="100042"/>
                </a:cubicBezTo>
                <a:cubicBezTo>
                  <a:pt x="23833" y="98260"/>
                  <a:pt x="29444" y="97266"/>
                  <a:pt x="35113" y="9709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2" name="Forma libre: forma 461">
            <a:extLst>
              <a:ext uri="{FF2B5EF4-FFF2-40B4-BE49-F238E27FC236}">
                <a16:creationId xmlns:a16="http://schemas.microsoft.com/office/drawing/2014/main" id="{1E95DD12-49C0-E6C5-63C4-396AAB82FB9D}"/>
              </a:ext>
            </a:extLst>
          </p:cNvPr>
          <p:cNvSpPr/>
          <p:nvPr/>
        </p:nvSpPr>
        <p:spPr>
          <a:xfrm>
            <a:off x="3538170" y="1722160"/>
            <a:ext cx="83621" cy="25622"/>
          </a:xfrm>
          <a:custGeom>
            <a:avLst/>
            <a:gdLst>
              <a:gd name="connsiteX0" fmla="*/ 26033 w 83621"/>
              <a:gd name="connsiteY0" fmla="*/ 25438 h 25622"/>
              <a:gd name="connsiteX1" fmla="*/ 26033 w 83621"/>
              <a:gd name="connsiteY1" fmla="*/ 25438 h 25622"/>
              <a:gd name="connsiteX2" fmla="*/ 1854 w 83621"/>
              <a:gd name="connsiteY2" fmla="*/ 18786 h 25622"/>
              <a:gd name="connsiteX3" fmla="*/ 61 w 83621"/>
              <a:gd name="connsiteY3" fmla="*/ 14563 h 25622"/>
              <a:gd name="connsiteX4" fmla="*/ 69474 w 83621"/>
              <a:gd name="connsiteY4" fmla="*/ -129 h 25622"/>
              <a:gd name="connsiteX5" fmla="*/ 83415 w 83621"/>
              <a:gd name="connsiteY5" fmla="*/ 2995 h 25622"/>
              <a:gd name="connsiteX6" fmla="*/ 82605 w 83621"/>
              <a:gd name="connsiteY6" fmla="*/ 6176 h 25622"/>
              <a:gd name="connsiteX7" fmla="*/ 26033 w 83621"/>
              <a:gd name="connsiteY7" fmla="*/ 25438 h 25622"/>
              <a:gd name="connsiteX8" fmla="*/ 69648 w 83621"/>
              <a:gd name="connsiteY8" fmla="*/ 2300 h 25622"/>
              <a:gd name="connsiteX9" fmla="*/ 2202 w 83621"/>
              <a:gd name="connsiteY9" fmla="*/ 15489 h 25622"/>
              <a:gd name="connsiteX10" fmla="*/ 3243 w 83621"/>
              <a:gd name="connsiteY10" fmla="*/ 17166 h 25622"/>
              <a:gd name="connsiteX11" fmla="*/ 26033 w 83621"/>
              <a:gd name="connsiteY11" fmla="*/ 23356 h 25622"/>
              <a:gd name="connsiteX12" fmla="*/ 26033 w 83621"/>
              <a:gd name="connsiteY12" fmla="*/ 23356 h 25622"/>
              <a:gd name="connsiteX13" fmla="*/ 80928 w 83621"/>
              <a:gd name="connsiteY13" fmla="*/ 5077 h 25622"/>
              <a:gd name="connsiteX14" fmla="*/ 81448 w 83621"/>
              <a:gd name="connsiteY14" fmla="*/ 3862 h 25622"/>
              <a:gd name="connsiteX15" fmla="*/ 81448 w 83621"/>
              <a:gd name="connsiteY15" fmla="*/ 3862 h 25622"/>
              <a:gd name="connsiteX16" fmla="*/ 69648 w 83621"/>
              <a:gd name="connsiteY16" fmla="*/ 2127 h 2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621" h="25622">
                <a:moveTo>
                  <a:pt x="26033" y="25438"/>
                </a:moveTo>
                <a:lnTo>
                  <a:pt x="26033" y="25438"/>
                </a:lnTo>
                <a:cubicBezTo>
                  <a:pt x="17466" y="25889"/>
                  <a:pt x="8986" y="23552"/>
                  <a:pt x="1854" y="18786"/>
                </a:cubicBezTo>
                <a:cubicBezTo>
                  <a:pt x="-286" y="17166"/>
                  <a:pt x="-286" y="15605"/>
                  <a:pt x="61" y="14563"/>
                </a:cubicBezTo>
                <a:cubicBezTo>
                  <a:pt x="2838" y="6234"/>
                  <a:pt x="48072" y="-129"/>
                  <a:pt x="69474" y="-129"/>
                </a:cubicBezTo>
                <a:cubicBezTo>
                  <a:pt x="81043" y="-129"/>
                  <a:pt x="82894" y="1548"/>
                  <a:pt x="83415" y="2995"/>
                </a:cubicBezTo>
                <a:cubicBezTo>
                  <a:pt x="83687" y="4123"/>
                  <a:pt x="83380" y="5314"/>
                  <a:pt x="82605" y="6176"/>
                </a:cubicBezTo>
                <a:cubicBezTo>
                  <a:pt x="77573" y="13464"/>
                  <a:pt x="48882" y="25438"/>
                  <a:pt x="26033" y="25438"/>
                </a:cubicBezTo>
                <a:close/>
                <a:moveTo>
                  <a:pt x="69648" y="2300"/>
                </a:moveTo>
                <a:cubicBezTo>
                  <a:pt x="45353" y="2300"/>
                  <a:pt x="4168" y="9473"/>
                  <a:pt x="2202" y="15489"/>
                </a:cubicBezTo>
                <a:cubicBezTo>
                  <a:pt x="2202" y="15489"/>
                  <a:pt x="2202" y="16183"/>
                  <a:pt x="3243" y="17166"/>
                </a:cubicBezTo>
                <a:cubicBezTo>
                  <a:pt x="9970" y="21644"/>
                  <a:pt x="17964" y="23813"/>
                  <a:pt x="26033" y="23356"/>
                </a:cubicBezTo>
                <a:lnTo>
                  <a:pt x="26033" y="23356"/>
                </a:lnTo>
                <a:cubicBezTo>
                  <a:pt x="48882" y="23356"/>
                  <a:pt x="76474" y="11266"/>
                  <a:pt x="80928" y="5077"/>
                </a:cubicBezTo>
                <a:cubicBezTo>
                  <a:pt x="81390" y="4441"/>
                  <a:pt x="81506" y="4036"/>
                  <a:pt x="81448" y="3862"/>
                </a:cubicBezTo>
                <a:lnTo>
                  <a:pt x="81448" y="3862"/>
                </a:lnTo>
                <a:cubicBezTo>
                  <a:pt x="81448" y="3862"/>
                  <a:pt x="80407" y="2127"/>
                  <a:pt x="69648" y="212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3" name="Forma libre: forma 462">
            <a:extLst>
              <a:ext uri="{FF2B5EF4-FFF2-40B4-BE49-F238E27FC236}">
                <a16:creationId xmlns:a16="http://schemas.microsoft.com/office/drawing/2014/main" id="{8A352933-9383-1520-36CF-226B0C97011F}"/>
              </a:ext>
            </a:extLst>
          </p:cNvPr>
          <p:cNvSpPr/>
          <p:nvPr/>
        </p:nvSpPr>
        <p:spPr>
          <a:xfrm>
            <a:off x="2654937" y="2945716"/>
            <a:ext cx="149638" cy="92574"/>
          </a:xfrm>
          <a:custGeom>
            <a:avLst/>
            <a:gdLst>
              <a:gd name="connsiteX0" fmla="*/ 128195 w 149638"/>
              <a:gd name="connsiteY0" fmla="*/ 92446 h 92574"/>
              <a:gd name="connsiteX1" fmla="*/ 128195 w 149638"/>
              <a:gd name="connsiteY1" fmla="*/ 92446 h 92574"/>
              <a:gd name="connsiteX2" fmla="*/ 101760 w 149638"/>
              <a:gd name="connsiteY2" fmla="*/ 90305 h 92574"/>
              <a:gd name="connsiteX3" fmla="*/ 100834 w 149638"/>
              <a:gd name="connsiteY3" fmla="*/ 89611 h 92574"/>
              <a:gd name="connsiteX4" fmla="*/ 94645 w 149638"/>
              <a:gd name="connsiteY4" fmla="*/ 82207 h 92574"/>
              <a:gd name="connsiteX5" fmla="*/ 88861 w 149638"/>
              <a:gd name="connsiteY5" fmla="*/ 73762 h 92574"/>
              <a:gd name="connsiteX6" fmla="*/ 84465 w 149638"/>
              <a:gd name="connsiteY6" fmla="*/ 71853 h 92574"/>
              <a:gd name="connsiteX7" fmla="*/ 75152 w 149638"/>
              <a:gd name="connsiteY7" fmla="*/ 68382 h 92574"/>
              <a:gd name="connsiteX8" fmla="*/ 71797 w 149638"/>
              <a:gd name="connsiteY8" fmla="*/ 62598 h 92574"/>
              <a:gd name="connsiteX9" fmla="*/ 61500 w 149638"/>
              <a:gd name="connsiteY9" fmla="*/ 53401 h 92574"/>
              <a:gd name="connsiteX10" fmla="*/ 50626 w 149638"/>
              <a:gd name="connsiteY10" fmla="*/ 46691 h 92574"/>
              <a:gd name="connsiteX11" fmla="*/ 43222 w 149638"/>
              <a:gd name="connsiteY11" fmla="*/ 41311 h 92574"/>
              <a:gd name="connsiteX12" fmla="*/ 33446 w 149638"/>
              <a:gd name="connsiteY12" fmla="*/ 33444 h 92574"/>
              <a:gd name="connsiteX13" fmla="*/ 24711 w 149638"/>
              <a:gd name="connsiteY13" fmla="*/ 26734 h 92574"/>
              <a:gd name="connsiteX14" fmla="*/ 12738 w 149638"/>
              <a:gd name="connsiteY14" fmla="*/ 23495 h 92574"/>
              <a:gd name="connsiteX15" fmla="*/ 10713 w 149638"/>
              <a:gd name="connsiteY15" fmla="*/ 17075 h 92574"/>
              <a:gd name="connsiteX16" fmla="*/ 5218 w 149638"/>
              <a:gd name="connsiteY16" fmla="*/ 12158 h 92574"/>
              <a:gd name="connsiteX17" fmla="*/ -104 w 149638"/>
              <a:gd name="connsiteY17" fmla="*/ 7357 h 92574"/>
              <a:gd name="connsiteX18" fmla="*/ 2731 w 149638"/>
              <a:gd name="connsiteY18" fmla="*/ 3481 h 92574"/>
              <a:gd name="connsiteX19" fmla="*/ 32462 w 149638"/>
              <a:gd name="connsiteY19" fmla="*/ 7762 h 92574"/>
              <a:gd name="connsiteX20" fmla="*/ 59302 w 149638"/>
              <a:gd name="connsiteY20" fmla="*/ 15744 h 92574"/>
              <a:gd name="connsiteX21" fmla="*/ 67458 w 149638"/>
              <a:gd name="connsiteY21" fmla="*/ 15455 h 92574"/>
              <a:gd name="connsiteX22" fmla="*/ 67863 w 149638"/>
              <a:gd name="connsiteY22" fmla="*/ 15455 h 92574"/>
              <a:gd name="connsiteX23" fmla="*/ 100719 w 149638"/>
              <a:gd name="connsiteY23" fmla="*/ 51955 h 92574"/>
              <a:gd name="connsiteX24" fmla="*/ 114254 w 149638"/>
              <a:gd name="connsiteY24" fmla="*/ 58375 h 92574"/>
              <a:gd name="connsiteX25" fmla="*/ 131955 w 149638"/>
              <a:gd name="connsiteY25" fmla="*/ 66126 h 92574"/>
              <a:gd name="connsiteX26" fmla="*/ 143524 w 149638"/>
              <a:gd name="connsiteY26" fmla="*/ 71390 h 92574"/>
              <a:gd name="connsiteX27" fmla="*/ 149308 w 149638"/>
              <a:gd name="connsiteY27" fmla="*/ 73993 h 92574"/>
              <a:gd name="connsiteX28" fmla="*/ 148614 w 149638"/>
              <a:gd name="connsiteY28" fmla="*/ 78332 h 92574"/>
              <a:gd name="connsiteX29" fmla="*/ 145895 w 149638"/>
              <a:gd name="connsiteY29" fmla="*/ 89149 h 92574"/>
              <a:gd name="connsiteX30" fmla="*/ 145085 w 149638"/>
              <a:gd name="connsiteY30" fmla="*/ 90190 h 92574"/>
              <a:gd name="connsiteX31" fmla="*/ 128195 w 149638"/>
              <a:gd name="connsiteY31" fmla="*/ 92446 h 92574"/>
              <a:gd name="connsiteX32" fmla="*/ 102686 w 149638"/>
              <a:gd name="connsiteY32" fmla="*/ 88107 h 92574"/>
              <a:gd name="connsiteX33" fmla="*/ 128195 w 149638"/>
              <a:gd name="connsiteY33" fmla="*/ 90190 h 92574"/>
              <a:gd name="connsiteX34" fmla="*/ 128195 w 149638"/>
              <a:gd name="connsiteY34" fmla="*/ 90190 h 92574"/>
              <a:gd name="connsiteX35" fmla="*/ 143986 w 149638"/>
              <a:gd name="connsiteY35" fmla="*/ 88397 h 92574"/>
              <a:gd name="connsiteX36" fmla="*/ 146936 w 149638"/>
              <a:gd name="connsiteY36" fmla="*/ 77406 h 92574"/>
              <a:gd name="connsiteX37" fmla="*/ 147573 w 149638"/>
              <a:gd name="connsiteY37" fmla="*/ 75150 h 92574"/>
              <a:gd name="connsiteX38" fmla="*/ 143234 w 149638"/>
              <a:gd name="connsiteY38" fmla="*/ 73762 h 92574"/>
              <a:gd name="connsiteX39" fmla="*/ 130162 w 149638"/>
              <a:gd name="connsiteY39" fmla="*/ 67978 h 92574"/>
              <a:gd name="connsiteX40" fmla="*/ 113560 w 149638"/>
              <a:gd name="connsiteY40" fmla="*/ 60863 h 92574"/>
              <a:gd name="connsiteX41" fmla="*/ 98405 w 149638"/>
              <a:gd name="connsiteY41" fmla="*/ 52996 h 92574"/>
              <a:gd name="connsiteX42" fmla="*/ 67690 w 149638"/>
              <a:gd name="connsiteY42" fmla="*/ 18000 h 92574"/>
              <a:gd name="connsiteX43" fmla="*/ 59129 w 149638"/>
              <a:gd name="connsiteY43" fmla="*/ 18347 h 92574"/>
              <a:gd name="connsiteX44" fmla="*/ 31074 w 149638"/>
              <a:gd name="connsiteY44" fmla="*/ 9844 h 92574"/>
              <a:gd name="connsiteX45" fmla="*/ 13721 w 149638"/>
              <a:gd name="connsiteY45" fmla="*/ 2324 h 92574"/>
              <a:gd name="connsiteX46" fmla="*/ 3714 w 149638"/>
              <a:gd name="connsiteY46" fmla="*/ 5621 h 92574"/>
              <a:gd name="connsiteX47" fmla="*/ 1921 w 149638"/>
              <a:gd name="connsiteY47" fmla="*/ 7472 h 92574"/>
              <a:gd name="connsiteX48" fmla="*/ 6028 w 149638"/>
              <a:gd name="connsiteY48" fmla="*/ 10423 h 92574"/>
              <a:gd name="connsiteX49" fmla="*/ 12680 w 149638"/>
              <a:gd name="connsiteY49" fmla="*/ 17537 h 92574"/>
              <a:gd name="connsiteX50" fmla="*/ 14184 w 149638"/>
              <a:gd name="connsiteY50" fmla="*/ 22223 h 92574"/>
              <a:gd name="connsiteX51" fmla="*/ 24133 w 149638"/>
              <a:gd name="connsiteY51" fmla="*/ 24768 h 92574"/>
              <a:gd name="connsiteX52" fmla="*/ 35008 w 149638"/>
              <a:gd name="connsiteY52" fmla="*/ 32288 h 92574"/>
              <a:gd name="connsiteX53" fmla="*/ 43164 w 149638"/>
              <a:gd name="connsiteY53" fmla="*/ 39287 h 92574"/>
              <a:gd name="connsiteX54" fmla="*/ 52130 w 149638"/>
              <a:gd name="connsiteY54" fmla="*/ 45418 h 92574"/>
              <a:gd name="connsiteX55" fmla="*/ 61269 w 149638"/>
              <a:gd name="connsiteY55" fmla="*/ 51203 h 92574"/>
              <a:gd name="connsiteX56" fmla="*/ 73532 w 149638"/>
              <a:gd name="connsiteY56" fmla="*/ 61615 h 92574"/>
              <a:gd name="connsiteX57" fmla="*/ 76656 w 149638"/>
              <a:gd name="connsiteY57" fmla="*/ 66821 h 92574"/>
              <a:gd name="connsiteX58" fmla="*/ 84349 w 149638"/>
              <a:gd name="connsiteY58" fmla="*/ 69424 h 92574"/>
              <a:gd name="connsiteX59" fmla="*/ 90885 w 149638"/>
              <a:gd name="connsiteY59" fmla="*/ 73588 h 92574"/>
              <a:gd name="connsiteX60" fmla="*/ 96091 w 149638"/>
              <a:gd name="connsiteY60" fmla="*/ 80356 h 92574"/>
              <a:gd name="connsiteX61" fmla="*/ 102686 w 149638"/>
              <a:gd name="connsiteY61" fmla="*/ 88107 h 92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49638" h="92574">
                <a:moveTo>
                  <a:pt x="128195" y="92446"/>
                </a:moveTo>
                <a:lnTo>
                  <a:pt x="128195" y="92446"/>
                </a:lnTo>
                <a:cubicBezTo>
                  <a:pt x="119350" y="92226"/>
                  <a:pt x="110523" y="91514"/>
                  <a:pt x="101760" y="90305"/>
                </a:cubicBezTo>
                <a:cubicBezTo>
                  <a:pt x="101361" y="90236"/>
                  <a:pt x="101014" y="89976"/>
                  <a:pt x="100834" y="89611"/>
                </a:cubicBezTo>
                <a:cubicBezTo>
                  <a:pt x="99342" y="86719"/>
                  <a:pt x="97225" y="84191"/>
                  <a:pt x="94645" y="82207"/>
                </a:cubicBezTo>
                <a:cubicBezTo>
                  <a:pt x="91579" y="79431"/>
                  <a:pt x="88861" y="76828"/>
                  <a:pt x="88861" y="73762"/>
                </a:cubicBezTo>
                <a:cubicBezTo>
                  <a:pt x="88861" y="72316"/>
                  <a:pt x="88167" y="72027"/>
                  <a:pt x="84465" y="71853"/>
                </a:cubicBezTo>
                <a:cubicBezTo>
                  <a:pt x="80994" y="72154"/>
                  <a:pt x="77575" y="70881"/>
                  <a:pt x="75152" y="68382"/>
                </a:cubicBezTo>
                <a:cubicBezTo>
                  <a:pt x="73873" y="66549"/>
                  <a:pt x="72751" y="64617"/>
                  <a:pt x="71797" y="62598"/>
                </a:cubicBezTo>
                <a:cubicBezTo>
                  <a:pt x="69252" y="57855"/>
                  <a:pt x="66880" y="53401"/>
                  <a:pt x="61500" y="53401"/>
                </a:cubicBezTo>
                <a:cubicBezTo>
                  <a:pt x="57052" y="52915"/>
                  <a:pt x="53055" y="50451"/>
                  <a:pt x="50626" y="46691"/>
                </a:cubicBezTo>
                <a:cubicBezTo>
                  <a:pt x="48370" y="44030"/>
                  <a:pt x="46172" y="41543"/>
                  <a:pt x="43222" y="41311"/>
                </a:cubicBezTo>
                <a:cubicBezTo>
                  <a:pt x="39230" y="40964"/>
                  <a:pt x="36280" y="37147"/>
                  <a:pt x="33446" y="33444"/>
                </a:cubicBezTo>
                <a:cubicBezTo>
                  <a:pt x="30612" y="29743"/>
                  <a:pt x="27662" y="26214"/>
                  <a:pt x="24711" y="26734"/>
                </a:cubicBezTo>
                <a:cubicBezTo>
                  <a:pt x="20431" y="27683"/>
                  <a:pt x="15954" y="26474"/>
                  <a:pt x="12738" y="23495"/>
                </a:cubicBezTo>
                <a:cubicBezTo>
                  <a:pt x="11159" y="21754"/>
                  <a:pt x="10418" y="19406"/>
                  <a:pt x="10713" y="17075"/>
                </a:cubicBezTo>
                <a:cubicBezTo>
                  <a:pt x="10713" y="15108"/>
                  <a:pt x="7879" y="13546"/>
                  <a:pt x="5218" y="12158"/>
                </a:cubicBezTo>
                <a:cubicBezTo>
                  <a:pt x="2557" y="10770"/>
                  <a:pt x="12" y="9439"/>
                  <a:pt x="-104" y="7357"/>
                </a:cubicBezTo>
                <a:cubicBezTo>
                  <a:pt x="-219" y="5274"/>
                  <a:pt x="1458" y="4291"/>
                  <a:pt x="2731" y="3481"/>
                </a:cubicBezTo>
                <a:cubicBezTo>
                  <a:pt x="12159" y="-2303"/>
                  <a:pt x="20084" y="-1320"/>
                  <a:pt x="32462" y="7762"/>
                </a:cubicBezTo>
                <a:cubicBezTo>
                  <a:pt x="40289" y="13303"/>
                  <a:pt x="49723" y="16109"/>
                  <a:pt x="59302" y="15744"/>
                </a:cubicBezTo>
                <a:cubicBezTo>
                  <a:pt x="62137" y="15744"/>
                  <a:pt x="64797" y="15744"/>
                  <a:pt x="67458" y="15455"/>
                </a:cubicBezTo>
                <a:lnTo>
                  <a:pt x="67863" y="15455"/>
                </a:lnTo>
                <a:cubicBezTo>
                  <a:pt x="79143" y="15455"/>
                  <a:pt x="98000" y="44898"/>
                  <a:pt x="100719" y="51955"/>
                </a:cubicBezTo>
                <a:cubicBezTo>
                  <a:pt x="102049" y="55425"/>
                  <a:pt x="108007" y="56872"/>
                  <a:pt x="114254" y="58375"/>
                </a:cubicBezTo>
                <a:cubicBezTo>
                  <a:pt x="120750" y="59307"/>
                  <a:pt x="126864" y="61985"/>
                  <a:pt x="131955" y="66126"/>
                </a:cubicBezTo>
                <a:cubicBezTo>
                  <a:pt x="135136" y="69094"/>
                  <a:pt x="139197" y="70939"/>
                  <a:pt x="143524" y="71390"/>
                </a:cubicBezTo>
                <a:cubicBezTo>
                  <a:pt x="146358" y="71853"/>
                  <a:pt x="148614" y="72258"/>
                  <a:pt x="149308" y="73993"/>
                </a:cubicBezTo>
                <a:cubicBezTo>
                  <a:pt x="149765" y="75468"/>
                  <a:pt x="149505" y="77071"/>
                  <a:pt x="148614" y="78332"/>
                </a:cubicBezTo>
                <a:cubicBezTo>
                  <a:pt x="146942" y="81698"/>
                  <a:pt x="146017" y="85389"/>
                  <a:pt x="145895" y="89149"/>
                </a:cubicBezTo>
                <a:cubicBezTo>
                  <a:pt x="145889" y="89635"/>
                  <a:pt x="145560" y="90062"/>
                  <a:pt x="145085" y="90190"/>
                </a:cubicBezTo>
                <a:cubicBezTo>
                  <a:pt x="139584" y="91694"/>
                  <a:pt x="133898" y="92457"/>
                  <a:pt x="128195" y="92446"/>
                </a:cubicBezTo>
                <a:close/>
                <a:moveTo>
                  <a:pt x="102686" y="88107"/>
                </a:moveTo>
                <a:cubicBezTo>
                  <a:pt x="111142" y="89293"/>
                  <a:pt x="119657" y="89993"/>
                  <a:pt x="128195" y="90190"/>
                </a:cubicBezTo>
                <a:lnTo>
                  <a:pt x="128195" y="90190"/>
                </a:lnTo>
                <a:cubicBezTo>
                  <a:pt x="133516" y="90277"/>
                  <a:pt x="138821" y="89675"/>
                  <a:pt x="143986" y="88397"/>
                </a:cubicBezTo>
                <a:cubicBezTo>
                  <a:pt x="144189" y="84567"/>
                  <a:pt x="145195" y="80825"/>
                  <a:pt x="146936" y="77406"/>
                </a:cubicBezTo>
                <a:cubicBezTo>
                  <a:pt x="147746" y="75902"/>
                  <a:pt x="147630" y="75324"/>
                  <a:pt x="147573" y="75150"/>
                </a:cubicBezTo>
                <a:cubicBezTo>
                  <a:pt x="147515" y="74977"/>
                  <a:pt x="145201" y="74109"/>
                  <a:pt x="143234" y="73762"/>
                </a:cubicBezTo>
                <a:cubicBezTo>
                  <a:pt x="138352" y="73351"/>
                  <a:pt x="133748" y="71309"/>
                  <a:pt x="130162" y="67978"/>
                </a:cubicBezTo>
                <a:cubicBezTo>
                  <a:pt x="125372" y="64148"/>
                  <a:pt x="119634" y="61690"/>
                  <a:pt x="113560" y="60863"/>
                </a:cubicBezTo>
                <a:cubicBezTo>
                  <a:pt x="106677" y="59185"/>
                  <a:pt x="100198" y="57623"/>
                  <a:pt x="98405" y="52996"/>
                </a:cubicBezTo>
                <a:cubicBezTo>
                  <a:pt x="95224" y="44724"/>
                  <a:pt x="77003" y="18000"/>
                  <a:pt x="67690" y="18000"/>
                </a:cubicBezTo>
                <a:cubicBezTo>
                  <a:pt x="64682" y="18000"/>
                  <a:pt x="61905" y="18347"/>
                  <a:pt x="59129" y="18347"/>
                </a:cubicBezTo>
                <a:cubicBezTo>
                  <a:pt x="49093" y="18694"/>
                  <a:pt x="39225" y="15704"/>
                  <a:pt x="31074" y="9844"/>
                </a:cubicBezTo>
                <a:cubicBezTo>
                  <a:pt x="26256" y="5529"/>
                  <a:pt x="20165" y="2885"/>
                  <a:pt x="13721" y="2324"/>
                </a:cubicBezTo>
                <a:cubicBezTo>
                  <a:pt x="10129" y="2405"/>
                  <a:pt x="6647" y="3551"/>
                  <a:pt x="3714" y="5621"/>
                </a:cubicBezTo>
                <a:cubicBezTo>
                  <a:pt x="1979" y="6720"/>
                  <a:pt x="1921" y="7357"/>
                  <a:pt x="1921" y="7472"/>
                </a:cubicBezTo>
                <a:cubicBezTo>
                  <a:pt x="1921" y="7588"/>
                  <a:pt x="4292" y="9497"/>
                  <a:pt x="6028" y="10423"/>
                </a:cubicBezTo>
                <a:cubicBezTo>
                  <a:pt x="9325" y="12100"/>
                  <a:pt x="13027" y="14067"/>
                  <a:pt x="12680" y="17537"/>
                </a:cubicBezTo>
                <a:cubicBezTo>
                  <a:pt x="12460" y="19244"/>
                  <a:pt x="13010" y="20962"/>
                  <a:pt x="14184" y="22223"/>
                </a:cubicBezTo>
                <a:cubicBezTo>
                  <a:pt x="16891" y="24635"/>
                  <a:pt x="20599" y="25584"/>
                  <a:pt x="24133" y="24768"/>
                </a:cubicBezTo>
                <a:cubicBezTo>
                  <a:pt x="28761" y="24016"/>
                  <a:pt x="31826" y="28239"/>
                  <a:pt x="35008" y="32288"/>
                </a:cubicBezTo>
                <a:cubicBezTo>
                  <a:pt x="38189" y="36337"/>
                  <a:pt x="40214" y="39055"/>
                  <a:pt x="43164" y="39287"/>
                </a:cubicBezTo>
                <a:cubicBezTo>
                  <a:pt x="46837" y="40085"/>
                  <a:pt x="50053" y="42283"/>
                  <a:pt x="52130" y="45418"/>
                </a:cubicBezTo>
                <a:cubicBezTo>
                  <a:pt x="54790" y="48484"/>
                  <a:pt x="57278" y="51203"/>
                  <a:pt x="61269" y="51203"/>
                </a:cubicBezTo>
                <a:cubicBezTo>
                  <a:pt x="67979" y="51203"/>
                  <a:pt x="70929" y="56987"/>
                  <a:pt x="73532" y="61615"/>
                </a:cubicBezTo>
                <a:cubicBezTo>
                  <a:pt x="74463" y="63414"/>
                  <a:pt x="75504" y="65155"/>
                  <a:pt x="76656" y="66821"/>
                </a:cubicBezTo>
                <a:cubicBezTo>
                  <a:pt x="78726" y="68758"/>
                  <a:pt x="81532" y="69707"/>
                  <a:pt x="84349" y="69424"/>
                </a:cubicBezTo>
                <a:cubicBezTo>
                  <a:pt x="87241" y="69424"/>
                  <a:pt x="90885" y="69713"/>
                  <a:pt x="90885" y="73588"/>
                </a:cubicBezTo>
                <a:cubicBezTo>
                  <a:pt x="90885" y="75671"/>
                  <a:pt x="93373" y="77927"/>
                  <a:pt x="96091" y="80356"/>
                </a:cubicBezTo>
                <a:cubicBezTo>
                  <a:pt x="98764" y="82496"/>
                  <a:pt x="101002" y="85123"/>
                  <a:pt x="102686" y="8810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4" name="Forma libre: forma 463">
            <a:extLst>
              <a:ext uri="{FF2B5EF4-FFF2-40B4-BE49-F238E27FC236}">
                <a16:creationId xmlns:a16="http://schemas.microsoft.com/office/drawing/2014/main" id="{E2E94EF8-F3F5-7814-0355-5F94AF6701E2}"/>
              </a:ext>
            </a:extLst>
          </p:cNvPr>
          <p:cNvSpPr/>
          <p:nvPr/>
        </p:nvSpPr>
        <p:spPr>
          <a:xfrm>
            <a:off x="2523983" y="2827622"/>
            <a:ext cx="50953" cy="66992"/>
          </a:xfrm>
          <a:custGeom>
            <a:avLst/>
            <a:gdLst>
              <a:gd name="connsiteX0" fmla="*/ 45704 w 50953"/>
              <a:gd name="connsiteY0" fmla="*/ 66855 h 66992"/>
              <a:gd name="connsiteX1" fmla="*/ 817 w 50953"/>
              <a:gd name="connsiteY1" fmla="*/ 19364 h 66992"/>
              <a:gd name="connsiteX2" fmla="*/ 5965 w 50953"/>
              <a:gd name="connsiteY2" fmla="*/ 4152 h 66992"/>
              <a:gd name="connsiteX3" fmla="*/ 20137 w 50953"/>
              <a:gd name="connsiteY3" fmla="*/ -129 h 66992"/>
              <a:gd name="connsiteX4" fmla="*/ 36217 w 50953"/>
              <a:gd name="connsiteY4" fmla="*/ 23009 h 66992"/>
              <a:gd name="connsiteX5" fmla="*/ 44431 w 50953"/>
              <a:gd name="connsiteY5" fmla="*/ 45337 h 66992"/>
              <a:gd name="connsiteX6" fmla="*/ 48654 w 50953"/>
              <a:gd name="connsiteY6" fmla="*/ 66161 h 66992"/>
              <a:gd name="connsiteX7" fmla="*/ 45704 w 50953"/>
              <a:gd name="connsiteY7" fmla="*/ 66855 h 66992"/>
              <a:gd name="connsiteX8" fmla="*/ 20137 w 50953"/>
              <a:gd name="connsiteY8" fmla="*/ 2127 h 66992"/>
              <a:gd name="connsiteX9" fmla="*/ 7064 w 50953"/>
              <a:gd name="connsiteY9" fmla="*/ 6118 h 66992"/>
              <a:gd name="connsiteX10" fmla="*/ 3015 w 50953"/>
              <a:gd name="connsiteY10" fmla="*/ 18786 h 66992"/>
              <a:gd name="connsiteX11" fmla="*/ 45704 w 50953"/>
              <a:gd name="connsiteY11" fmla="*/ 64599 h 66992"/>
              <a:gd name="connsiteX12" fmla="*/ 47439 w 50953"/>
              <a:gd name="connsiteY12" fmla="*/ 64136 h 66992"/>
              <a:gd name="connsiteX13" fmla="*/ 42407 w 50953"/>
              <a:gd name="connsiteY13" fmla="*/ 46204 h 66992"/>
              <a:gd name="connsiteX14" fmla="*/ 33961 w 50953"/>
              <a:gd name="connsiteY14" fmla="*/ 23067 h 66992"/>
              <a:gd name="connsiteX15" fmla="*/ 20137 w 50953"/>
              <a:gd name="connsiteY15" fmla="*/ 2127 h 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953" h="66992">
                <a:moveTo>
                  <a:pt x="45704" y="66855"/>
                </a:moveTo>
                <a:cubicBezTo>
                  <a:pt x="34135" y="66855"/>
                  <a:pt x="5560" y="38453"/>
                  <a:pt x="817" y="19364"/>
                </a:cubicBezTo>
                <a:cubicBezTo>
                  <a:pt x="-1515" y="13719"/>
                  <a:pt x="684" y="7217"/>
                  <a:pt x="5965" y="4152"/>
                </a:cubicBezTo>
                <a:cubicBezTo>
                  <a:pt x="10274" y="1601"/>
                  <a:pt x="15139" y="137"/>
                  <a:pt x="20137" y="-129"/>
                </a:cubicBezTo>
                <a:cubicBezTo>
                  <a:pt x="31705" y="-129"/>
                  <a:pt x="36217" y="11729"/>
                  <a:pt x="36217" y="23009"/>
                </a:cubicBezTo>
                <a:cubicBezTo>
                  <a:pt x="37432" y="30928"/>
                  <a:pt x="40226" y="38517"/>
                  <a:pt x="44431" y="45337"/>
                </a:cubicBezTo>
                <a:cubicBezTo>
                  <a:pt x="49348" y="54823"/>
                  <a:pt x="53571" y="63037"/>
                  <a:pt x="48654" y="66161"/>
                </a:cubicBezTo>
                <a:cubicBezTo>
                  <a:pt x="47757" y="66670"/>
                  <a:pt x="46733" y="66913"/>
                  <a:pt x="45704" y="66855"/>
                </a:cubicBezTo>
                <a:close/>
                <a:moveTo>
                  <a:pt x="20137" y="2127"/>
                </a:moveTo>
                <a:cubicBezTo>
                  <a:pt x="15526" y="2416"/>
                  <a:pt x="11049" y="3781"/>
                  <a:pt x="7064" y="6118"/>
                </a:cubicBezTo>
                <a:cubicBezTo>
                  <a:pt x="2841" y="8374"/>
                  <a:pt x="1279" y="12655"/>
                  <a:pt x="3015" y="18786"/>
                </a:cubicBezTo>
                <a:cubicBezTo>
                  <a:pt x="7469" y="36776"/>
                  <a:pt x="35234" y="64599"/>
                  <a:pt x="45704" y="64599"/>
                </a:cubicBezTo>
                <a:cubicBezTo>
                  <a:pt x="46317" y="64610"/>
                  <a:pt x="46919" y="64448"/>
                  <a:pt x="47439" y="64136"/>
                </a:cubicBezTo>
                <a:cubicBezTo>
                  <a:pt x="50621" y="62169"/>
                  <a:pt x="46456" y="54071"/>
                  <a:pt x="42407" y="46204"/>
                </a:cubicBezTo>
                <a:cubicBezTo>
                  <a:pt x="38028" y="39153"/>
                  <a:pt x="35153" y="31281"/>
                  <a:pt x="33961" y="23067"/>
                </a:cubicBezTo>
                <a:cubicBezTo>
                  <a:pt x="33961" y="18034"/>
                  <a:pt x="32978" y="2127"/>
                  <a:pt x="20137" y="212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5" name="Forma libre: forma 464">
            <a:extLst>
              <a:ext uri="{FF2B5EF4-FFF2-40B4-BE49-F238E27FC236}">
                <a16:creationId xmlns:a16="http://schemas.microsoft.com/office/drawing/2014/main" id="{C9334E54-1572-8C28-164A-3C2477263731}"/>
              </a:ext>
            </a:extLst>
          </p:cNvPr>
          <p:cNvSpPr/>
          <p:nvPr/>
        </p:nvSpPr>
        <p:spPr>
          <a:xfrm>
            <a:off x="3431924" y="1581251"/>
            <a:ext cx="41780" cy="26087"/>
          </a:xfrm>
          <a:custGeom>
            <a:avLst/>
            <a:gdLst>
              <a:gd name="connsiteX0" fmla="*/ 31688 w 41780"/>
              <a:gd name="connsiteY0" fmla="*/ 25959 h 26087"/>
              <a:gd name="connsiteX1" fmla="*/ 31688 w 41780"/>
              <a:gd name="connsiteY1" fmla="*/ 25959 h 26087"/>
              <a:gd name="connsiteX2" fmla="*/ 6063 w 41780"/>
              <a:gd name="connsiteY2" fmla="*/ 10341 h 26087"/>
              <a:gd name="connsiteX3" fmla="*/ 2650 w 41780"/>
              <a:gd name="connsiteY3" fmla="*/ 7275 h 26087"/>
              <a:gd name="connsiteX4" fmla="*/ 47 w 41780"/>
              <a:gd name="connsiteY4" fmla="*/ 2243 h 26087"/>
              <a:gd name="connsiteX5" fmla="*/ 6410 w 41780"/>
              <a:gd name="connsiteY5" fmla="*/ -129 h 26087"/>
              <a:gd name="connsiteX6" fmla="*/ 40712 w 41780"/>
              <a:gd name="connsiteY6" fmla="*/ 13407 h 26087"/>
              <a:gd name="connsiteX7" fmla="*/ 40712 w 41780"/>
              <a:gd name="connsiteY7" fmla="*/ 20348 h 26087"/>
              <a:gd name="connsiteX8" fmla="*/ 31688 w 41780"/>
              <a:gd name="connsiteY8" fmla="*/ 25959 h 26087"/>
              <a:gd name="connsiteX9" fmla="*/ 6410 w 41780"/>
              <a:gd name="connsiteY9" fmla="*/ 2127 h 26087"/>
              <a:gd name="connsiteX10" fmla="*/ 2130 w 41780"/>
              <a:gd name="connsiteY10" fmla="*/ 3052 h 26087"/>
              <a:gd name="connsiteX11" fmla="*/ 4097 w 41780"/>
              <a:gd name="connsiteY11" fmla="*/ 5540 h 26087"/>
              <a:gd name="connsiteX12" fmla="*/ 7625 w 41780"/>
              <a:gd name="connsiteY12" fmla="*/ 8663 h 26087"/>
              <a:gd name="connsiteX13" fmla="*/ 31688 w 41780"/>
              <a:gd name="connsiteY13" fmla="*/ 23703 h 26087"/>
              <a:gd name="connsiteX14" fmla="*/ 31688 w 41780"/>
              <a:gd name="connsiteY14" fmla="*/ 23703 h 26087"/>
              <a:gd name="connsiteX15" fmla="*/ 38745 w 41780"/>
              <a:gd name="connsiteY15" fmla="*/ 19249 h 26087"/>
              <a:gd name="connsiteX16" fmla="*/ 38745 w 41780"/>
              <a:gd name="connsiteY16" fmla="*/ 14563 h 26087"/>
              <a:gd name="connsiteX17" fmla="*/ 6410 w 41780"/>
              <a:gd name="connsiteY17" fmla="*/ 1838 h 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780" h="26087">
                <a:moveTo>
                  <a:pt x="31688" y="25959"/>
                </a:moveTo>
                <a:lnTo>
                  <a:pt x="31688" y="25959"/>
                </a:lnTo>
                <a:cubicBezTo>
                  <a:pt x="23301" y="25959"/>
                  <a:pt x="12947" y="16588"/>
                  <a:pt x="6063" y="10341"/>
                </a:cubicBezTo>
                <a:lnTo>
                  <a:pt x="2650" y="7275"/>
                </a:lnTo>
                <a:cubicBezTo>
                  <a:pt x="1783" y="6581"/>
                  <a:pt x="-762" y="4383"/>
                  <a:pt x="47" y="2243"/>
                </a:cubicBezTo>
                <a:cubicBezTo>
                  <a:pt x="857" y="102"/>
                  <a:pt x="2708" y="-129"/>
                  <a:pt x="6410" y="-129"/>
                </a:cubicBezTo>
                <a:cubicBezTo>
                  <a:pt x="15492" y="-129"/>
                  <a:pt x="35911" y="5135"/>
                  <a:pt x="40712" y="13407"/>
                </a:cubicBezTo>
                <a:cubicBezTo>
                  <a:pt x="41990" y="15547"/>
                  <a:pt x="41990" y="18208"/>
                  <a:pt x="40712" y="20348"/>
                </a:cubicBezTo>
                <a:cubicBezTo>
                  <a:pt x="39006" y="23772"/>
                  <a:pt x="35518" y="25947"/>
                  <a:pt x="31688" y="25959"/>
                </a:cubicBezTo>
                <a:close/>
                <a:moveTo>
                  <a:pt x="6410" y="2127"/>
                </a:moveTo>
                <a:cubicBezTo>
                  <a:pt x="3229" y="2127"/>
                  <a:pt x="2245" y="2821"/>
                  <a:pt x="2130" y="3052"/>
                </a:cubicBezTo>
                <a:cubicBezTo>
                  <a:pt x="2014" y="3284"/>
                  <a:pt x="2130" y="3747"/>
                  <a:pt x="4097" y="5540"/>
                </a:cubicBezTo>
                <a:lnTo>
                  <a:pt x="7625" y="8663"/>
                </a:lnTo>
                <a:cubicBezTo>
                  <a:pt x="14219" y="14448"/>
                  <a:pt x="24169" y="23703"/>
                  <a:pt x="31688" y="23703"/>
                </a:cubicBezTo>
                <a:lnTo>
                  <a:pt x="31688" y="23703"/>
                </a:lnTo>
                <a:cubicBezTo>
                  <a:pt x="34696" y="23680"/>
                  <a:pt x="37426" y="21950"/>
                  <a:pt x="38745" y="19249"/>
                </a:cubicBezTo>
                <a:cubicBezTo>
                  <a:pt x="39607" y="17809"/>
                  <a:pt x="39607" y="16004"/>
                  <a:pt x="38745" y="14563"/>
                </a:cubicBezTo>
                <a:cubicBezTo>
                  <a:pt x="34985" y="7506"/>
                  <a:pt x="16128" y="1838"/>
                  <a:pt x="6410" y="183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6" name="Forma libre: forma 465">
            <a:extLst>
              <a:ext uri="{FF2B5EF4-FFF2-40B4-BE49-F238E27FC236}">
                <a16:creationId xmlns:a16="http://schemas.microsoft.com/office/drawing/2014/main" id="{52656CC3-42CF-AAEA-C039-BAF9D5E95004}"/>
              </a:ext>
            </a:extLst>
          </p:cNvPr>
          <p:cNvSpPr/>
          <p:nvPr/>
        </p:nvSpPr>
        <p:spPr>
          <a:xfrm>
            <a:off x="2908185" y="1820872"/>
            <a:ext cx="46159" cy="32131"/>
          </a:xfrm>
          <a:custGeom>
            <a:avLst/>
            <a:gdLst>
              <a:gd name="connsiteX0" fmla="*/ 6311 w 46159"/>
              <a:gd name="connsiteY0" fmla="*/ 32002 h 32131"/>
              <a:gd name="connsiteX1" fmla="*/ 6311 w 46159"/>
              <a:gd name="connsiteY1" fmla="*/ 32002 h 32131"/>
              <a:gd name="connsiteX2" fmla="*/ 2378 w 46159"/>
              <a:gd name="connsiteY2" fmla="*/ 32002 h 32131"/>
              <a:gd name="connsiteX3" fmla="*/ -110 w 46159"/>
              <a:gd name="connsiteY3" fmla="*/ 29515 h 32131"/>
              <a:gd name="connsiteX4" fmla="*/ 42290 w 46159"/>
              <a:gd name="connsiteY4" fmla="*/ -101 h 32131"/>
              <a:gd name="connsiteX5" fmla="*/ 46044 w 46159"/>
              <a:gd name="connsiteY5" fmla="*/ 2803 h 32131"/>
              <a:gd name="connsiteX6" fmla="*/ 46050 w 46159"/>
              <a:gd name="connsiteY6" fmla="*/ 2849 h 32131"/>
              <a:gd name="connsiteX7" fmla="*/ 39861 w 46159"/>
              <a:gd name="connsiteY7" fmla="*/ 16674 h 32131"/>
              <a:gd name="connsiteX8" fmla="*/ 6311 w 46159"/>
              <a:gd name="connsiteY8" fmla="*/ 32002 h 32131"/>
              <a:gd name="connsiteX9" fmla="*/ 2146 w 46159"/>
              <a:gd name="connsiteY9" fmla="*/ 29457 h 32131"/>
              <a:gd name="connsiteX10" fmla="*/ 2609 w 46159"/>
              <a:gd name="connsiteY10" fmla="*/ 29457 h 32131"/>
              <a:gd name="connsiteX11" fmla="*/ 6311 w 46159"/>
              <a:gd name="connsiteY11" fmla="*/ 29457 h 32131"/>
              <a:gd name="connsiteX12" fmla="*/ 38183 w 46159"/>
              <a:gd name="connsiteY12" fmla="*/ 14649 h 32131"/>
              <a:gd name="connsiteX13" fmla="*/ 43968 w 46159"/>
              <a:gd name="connsiteY13" fmla="*/ 2618 h 32131"/>
              <a:gd name="connsiteX14" fmla="*/ 42464 w 46159"/>
              <a:gd name="connsiteY14" fmla="*/ 1634 h 32131"/>
              <a:gd name="connsiteX15" fmla="*/ 3824 w 46159"/>
              <a:gd name="connsiteY15" fmla="*/ 26565 h 32131"/>
              <a:gd name="connsiteX16" fmla="*/ 2320 w 46159"/>
              <a:gd name="connsiteY16" fmla="*/ 29168 h 3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59" h="32131">
                <a:moveTo>
                  <a:pt x="6311" y="32002"/>
                </a:moveTo>
                <a:lnTo>
                  <a:pt x="6311" y="32002"/>
                </a:lnTo>
                <a:cubicBezTo>
                  <a:pt x="4981" y="32002"/>
                  <a:pt x="3650" y="32002"/>
                  <a:pt x="2378" y="32002"/>
                </a:cubicBezTo>
                <a:cubicBezTo>
                  <a:pt x="-52" y="31713"/>
                  <a:pt x="-110" y="30036"/>
                  <a:pt x="-110" y="29515"/>
                </a:cubicBezTo>
                <a:cubicBezTo>
                  <a:pt x="295" y="22574"/>
                  <a:pt x="32746" y="-101"/>
                  <a:pt x="42290" y="-101"/>
                </a:cubicBezTo>
                <a:cubicBezTo>
                  <a:pt x="44130" y="-338"/>
                  <a:pt x="45807" y="963"/>
                  <a:pt x="46044" y="2803"/>
                </a:cubicBezTo>
                <a:cubicBezTo>
                  <a:pt x="46044" y="2814"/>
                  <a:pt x="46050" y="2832"/>
                  <a:pt x="46050" y="2849"/>
                </a:cubicBezTo>
                <a:cubicBezTo>
                  <a:pt x="45987" y="8113"/>
                  <a:pt x="43748" y="13122"/>
                  <a:pt x="39861" y="16674"/>
                </a:cubicBezTo>
                <a:cubicBezTo>
                  <a:pt x="31190" y="26085"/>
                  <a:pt x="19100" y="31609"/>
                  <a:pt x="6311" y="32002"/>
                </a:cubicBezTo>
                <a:close/>
                <a:moveTo>
                  <a:pt x="2146" y="29457"/>
                </a:moveTo>
                <a:lnTo>
                  <a:pt x="2609" y="29457"/>
                </a:lnTo>
                <a:cubicBezTo>
                  <a:pt x="3824" y="29457"/>
                  <a:pt x="5039" y="29457"/>
                  <a:pt x="6311" y="29457"/>
                </a:cubicBezTo>
                <a:cubicBezTo>
                  <a:pt x="18499" y="29029"/>
                  <a:pt x="29998" y="23690"/>
                  <a:pt x="38183" y="14649"/>
                </a:cubicBezTo>
                <a:cubicBezTo>
                  <a:pt x="41637" y="11572"/>
                  <a:pt x="43719" y="7239"/>
                  <a:pt x="43968" y="2618"/>
                </a:cubicBezTo>
                <a:cubicBezTo>
                  <a:pt x="43968" y="2213"/>
                  <a:pt x="43968" y="1634"/>
                  <a:pt x="42464" y="1634"/>
                </a:cubicBezTo>
                <a:cubicBezTo>
                  <a:pt x="34944" y="1634"/>
                  <a:pt x="10707" y="17946"/>
                  <a:pt x="3824" y="26565"/>
                </a:cubicBezTo>
                <a:cubicBezTo>
                  <a:pt x="2378" y="28300"/>
                  <a:pt x="2320" y="28995"/>
                  <a:pt x="2320" y="29168"/>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7" name="Forma libre: forma 466">
            <a:extLst>
              <a:ext uri="{FF2B5EF4-FFF2-40B4-BE49-F238E27FC236}">
                <a16:creationId xmlns:a16="http://schemas.microsoft.com/office/drawing/2014/main" id="{3613D1A7-C94E-DED5-8F38-3D392AB5AD91}"/>
              </a:ext>
            </a:extLst>
          </p:cNvPr>
          <p:cNvSpPr/>
          <p:nvPr/>
        </p:nvSpPr>
        <p:spPr>
          <a:xfrm>
            <a:off x="2725297" y="1903849"/>
            <a:ext cx="288282" cy="191240"/>
          </a:xfrm>
          <a:custGeom>
            <a:avLst/>
            <a:gdLst>
              <a:gd name="connsiteX0" fmla="*/ 78775 w 288282"/>
              <a:gd name="connsiteY0" fmla="*/ 191104 h 191240"/>
              <a:gd name="connsiteX1" fmla="*/ 62173 w 288282"/>
              <a:gd name="connsiteY1" fmla="*/ 172652 h 191240"/>
              <a:gd name="connsiteX2" fmla="*/ 39788 w 288282"/>
              <a:gd name="connsiteY2" fmla="*/ 147432 h 191240"/>
              <a:gd name="connsiteX3" fmla="*/ 25963 w 288282"/>
              <a:gd name="connsiteY3" fmla="*/ 145002 h 191240"/>
              <a:gd name="connsiteX4" fmla="*/ 280 w 288282"/>
              <a:gd name="connsiteY4" fmla="*/ 135342 h 191240"/>
              <a:gd name="connsiteX5" fmla="*/ 5254 w 288282"/>
              <a:gd name="connsiteY5" fmla="*/ 122559 h 191240"/>
              <a:gd name="connsiteX6" fmla="*/ 8031 w 288282"/>
              <a:gd name="connsiteY6" fmla="*/ 119435 h 191240"/>
              <a:gd name="connsiteX7" fmla="*/ 31169 w 288282"/>
              <a:gd name="connsiteY7" fmla="*/ 85943 h 191240"/>
              <a:gd name="connsiteX8" fmla="*/ 29665 w 288282"/>
              <a:gd name="connsiteY8" fmla="*/ 82993 h 191240"/>
              <a:gd name="connsiteX9" fmla="*/ 28334 w 288282"/>
              <a:gd name="connsiteY9" fmla="*/ 80448 h 191240"/>
              <a:gd name="connsiteX10" fmla="*/ 38573 w 288282"/>
              <a:gd name="connsiteY10" fmla="*/ 64136 h 191240"/>
              <a:gd name="connsiteX11" fmla="*/ 50604 w 288282"/>
              <a:gd name="connsiteY11" fmla="*/ 44527 h 191240"/>
              <a:gd name="connsiteX12" fmla="*/ 49100 w 288282"/>
              <a:gd name="connsiteY12" fmla="*/ 41866 h 191240"/>
              <a:gd name="connsiteX13" fmla="*/ 30359 w 288282"/>
              <a:gd name="connsiteY13" fmla="*/ 17745 h 191240"/>
              <a:gd name="connsiteX14" fmla="*/ 37647 w 288282"/>
              <a:gd name="connsiteY14" fmla="*/ 14390 h 191240"/>
              <a:gd name="connsiteX15" fmla="*/ 74321 w 288282"/>
              <a:gd name="connsiteY15" fmla="*/ 7738 h 191240"/>
              <a:gd name="connsiteX16" fmla="*/ 118629 w 288282"/>
              <a:gd name="connsiteY16" fmla="*/ -129 h 191240"/>
              <a:gd name="connsiteX17" fmla="*/ 124414 w 288282"/>
              <a:gd name="connsiteY17" fmla="*/ 1491 h 191240"/>
              <a:gd name="connsiteX18" fmla="*/ 170342 w 288282"/>
              <a:gd name="connsiteY18" fmla="*/ 18208 h 191240"/>
              <a:gd name="connsiteX19" fmla="*/ 177630 w 288282"/>
              <a:gd name="connsiteY19" fmla="*/ 16935 h 191240"/>
              <a:gd name="connsiteX20" fmla="*/ 181795 w 288282"/>
              <a:gd name="connsiteY20" fmla="*/ 15778 h 191240"/>
              <a:gd name="connsiteX21" fmla="*/ 186249 w 288282"/>
              <a:gd name="connsiteY21" fmla="*/ 21910 h 191240"/>
              <a:gd name="connsiteX22" fmla="*/ 188100 w 288282"/>
              <a:gd name="connsiteY22" fmla="*/ 25843 h 191240"/>
              <a:gd name="connsiteX23" fmla="*/ 194405 w 288282"/>
              <a:gd name="connsiteY23" fmla="*/ 23067 h 191240"/>
              <a:gd name="connsiteX24" fmla="*/ 215808 w 288282"/>
              <a:gd name="connsiteY24" fmla="*/ 16472 h 191240"/>
              <a:gd name="connsiteX25" fmla="*/ 251324 w 288282"/>
              <a:gd name="connsiteY25" fmla="*/ 29082 h 191240"/>
              <a:gd name="connsiteX26" fmla="*/ 263356 w 288282"/>
              <a:gd name="connsiteY26" fmla="*/ 36139 h 191240"/>
              <a:gd name="connsiteX27" fmla="*/ 288171 w 288282"/>
              <a:gd name="connsiteY27" fmla="*/ 56154 h 191240"/>
              <a:gd name="connsiteX28" fmla="*/ 285394 w 288282"/>
              <a:gd name="connsiteY28" fmla="*/ 61244 h 191240"/>
              <a:gd name="connsiteX29" fmla="*/ 197702 w 288282"/>
              <a:gd name="connsiteY29" fmla="*/ 97801 h 191240"/>
              <a:gd name="connsiteX30" fmla="*/ 185150 w 288282"/>
              <a:gd name="connsiteY30" fmla="*/ 112147 h 191240"/>
              <a:gd name="connsiteX31" fmla="*/ 175953 w 288282"/>
              <a:gd name="connsiteY31" fmla="*/ 124410 h 191240"/>
              <a:gd name="connsiteX32" fmla="*/ 151311 w 288282"/>
              <a:gd name="connsiteY32" fmla="*/ 149977 h 191240"/>
              <a:gd name="connsiteX33" fmla="*/ 127653 w 288282"/>
              <a:gd name="connsiteY33" fmla="*/ 171900 h 191240"/>
              <a:gd name="connsiteX34" fmla="*/ 123488 w 288282"/>
              <a:gd name="connsiteY34" fmla="*/ 171900 h 191240"/>
              <a:gd name="connsiteX35" fmla="*/ 111225 w 288282"/>
              <a:gd name="connsiteY35" fmla="*/ 174908 h 191240"/>
              <a:gd name="connsiteX36" fmla="*/ 96880 w 288282"/>
              <a:gd name="connsiteY36" fmla="*/ 179130 h 191240"/>
              <a:gd name="connsiteX37" fmla="*/ 86121 w 288282"/>
              <a:gd name="connsiteY37" fmla="*/ 185609 h 191240"/>
              <a:gd name="connsiteX38" fmla="*/ 78775 w 288282"/>
              <a:gd name="connsiteY38" fmla="*/ 191104 h 191240"/>
              <a:gd name="connsiteX39" fmla="*/ 118571 w 288282"/>
              <a:gd name="connsiteY39" fmla="*/ 2127 h 191240"/>
              <a:gd name="connsiteX40" fmla="*/ 74725 w 288282"/>
              <a:gd name="connsiteY40" fmla="*/ 9936 h 191240"/>
              <a:gd name="connsiteX41" fmla="*/ 37589 w 288282"/>
              <a:gd name="connsiteY41" fmla="*/ 16646 h 191240"/>
              <a:gd name="connsiteX42" fmla="*/ 32441 w 288282"/>
              <a:gd name="connsiteY42" fmla="*/ 18497 h 191240"/>
              <a:gd name="connsiteX43" fmla="*/ 50431 w 288282"/>
              <a:gd name="connsiteY43" fmla="*/ 40073 h 191240"/>
              <a:gd name="connsiteX44" fmla="*/ 52802 w 288282"/>
              <a:gd name="connsiteY44" fmla="*/ 44295 h 191240"/>
              <a:gd name="connsiteX45" fmla="*/ 40250 w 288282"/>
              <a:gd name="connsiteY45" fmla="*/ 65582 h 191240"/>
              <a:gd name="connsiteX46" fmla="*/ 30532 w 288282"/>
              <a:gd name="connsiteY46" fmla="*/ 80275 h 191240"/>
              <a:gd name="connsiteX47" fmla="*/ 31053 w 288282"/>
              <a:gd name="connsiteY47" fmla="*/ 81258 h 191240"/>
              <a:gd name="connsiteX48" fmla="*/ 33367 w 288282"/>
              <a:gd name="connsiteY48" fmla="*/ 85712 h 191240"/>
              <a:gd name="connsiteX49" fmla="*/ 9708 w 288282"/>
              <a:gd name="connsiteY49" fmla="*/ 120881 h 191240"/>
              <a:gd name="connsiteX50" fmla="*/ 6932 w 288282"/>
              <a:gd name="connsiteY50" fmla="*/ 124063 h 191240"/>
              <a:gd name="connsiteX51" fmla="*/ 2420 w 288282"/>
              <a:gd name="connsiteY51" fmla="*/ 134533 h 191240"/>
              <a:gd name="connsiteX52" fmla="*/ 26310 w 288282"/>
              <a:gd name="connsiteY52" fmla="*/ 142804 h 191240"/>
              <a:gd name="connsiteX53" fmla="*/ 40250 w 288282"/>
              <a:gd name="connsiteY53" fmla="*/ 145234 h 191240"/>
              <a:gd name="connsiteX54" fmla="*/ 64198 w 288282"/>
              <a:gd name="connsiteY54" fmla="*/ 171669 h 191240"/>
              <a:gd name="connsiteX55" fmla="*/ 78775 w 288282"/>
              <a:gd name="connsiteY55" fmla="*/ 189022 h 191240"/>
              <a:gd name="connsiteX56" fmla="*/ 84096 w 288282"/>
              <a:gd name="connsiteY56" fmla="*/ 184741 h 191240"/>
              <a:gd name="connsiteX57" fmla="*/ 96938 w 288282"/>
              <a:gd name="connsiteY57" fmla="*/ 176875 h 191240"/>
              <a:gd name="connsiteX58" fmla="*/ 110010 w 288282"/>
              <a:gd name="connsiteY58" fmla="*/ 173057 h 191240"/>
              <a:gd name="connsiteX59" fmla="*/ 123719 w 288282"/>
              <a:gd name="connsiteY59" fmla="*/ 169644 h 191240"/>
              <a:gd name="connsiteX60" fmla="*/ 127711 w 288282"/>
              <a:gd name="connsiteY60" fmla="*/ 169644 h 191240"/>
              <a:gd name="connsiteX61" fmla="*/ 149113 w 288282"/>
              <a:gd name="connsiteY61" fmla="*/ 149977 h 191240"/>
              <a:gd name="connsiteX62" fmla="*/ 175432 w 288282"/>
              <a:gd name="connsiteY62" fmla="*/ 122212 h 191240"/>
              <a:gd name="connsiteX63" fmla="*/ 182952 w 288282"/>
              <a:gd name="connsiteY63" fmla="*/ 111742 h 191240"/>
              <a:gd name="connsiteX64" fmla="*/ 197240 w 288282"/>
              <a:gd name="connsiteY64" fmla="*/ 95603 h 191240"/>
              <a:gd name="connsiteX65" fmla="*/ 284006 w 288282"/>
              <a:gd name="connsiteY65" fmla="*/ 59451 h 191240"/>
              <a:gd name="connsiteX66" fmla="*/ 285915 w 288282"/>
              <a:gd name="connsiteY66" fmla="*/ 56327 h 191240"/>
              <a:gd name="connsiteX67" fmla="*/ 262199 w 288282"/>
              <a:gd name="connsiteY67" fmla="*/ 38106 h 191240"/>
              <a:gd name="connsiteX68" fmla="*/ 250167 w 288282"/>
              <a:gd name="connsiteY68" fmla="*/ 30991 h 191240"/>
              <a:gd name="connsiteX69" fmla="*/ 215808 w 288282"/>
              <a:gd name="connsiteY69" fmla="*/ 18728 h 191240"/>
              <a:gd name="connsiteX70" fmla="*/ 195678 w 288282"/>
              <a:gd name="connsiteY70" fmla="*/ 24975 h 191240"/>
              <a:gd name="connsiteX71" fmla="*/ 188100 w 288282"/>
              <a:gd name="connsiteY71" fmla="*/ 28099 h 191240"/>
              <a:gd name="connsiteX72" fmla="*/ 183993 w 288282"/>
              <a:gd name="connsiteY72" fmla="*/ 22315 h 191240"/>
              <a:gd name="connsiteX73" fmla="*/ 181795 w 288282"/>
              <a:gd name="connsiteY73" fmla="*/ 18150 h 191240"/>
              <a:gd name="connsiteX74" fmla="*/ 178556 w 288282"/>
              <a:gd name="connsiteY74" fmla="*/ 19075 h 191240"/>
              <a:gd name="connsiteX75" fmla="*/ 170342 w 288282"/>
              <a:gd name="connsiteY75" fmla="*/ 20579 h 191240"/>
              <a:gd name="connsiteX76" fmla="*/ 122678 w 288282"/>
              <a:gd name="connsiteY76" fmla="*/ 3226 h 191240"/>
              <a:gd name="connsiteX77" fmla="*/ 118571 w 288282"/>
              <a:gd name="connsiteY77" fmla="*/ 2127 h 19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88282" h="191240">
                <a:moveTo>
                  <a:pt x="78775" y="191104"/>
                </a:moveTo>
                <a:cubicBezTo>
                  <a:pt x="71313" y="191104"/>
                  <a:pt x="67206" y="182543"/>
                  <a:pt x="62173" y="172652"/>
                </a:cubicBezTo>
                <a:cubicBezTo>
                  <a:pt x="57141" y="162761"/>
                  <a:pt x="50951" y="149919"/>
                  <a:pt x="39788" y="147432"/>
                </a:cubicBezTo>
                <a:cubicBezTo>
                  <a:pt x="35333" y="146449"/>
                  <a:pt x="30590" y="145754"/>
                  <a:pt x="25963" y="145002"/>
                </a:cubicBezTo>
                <a:cubicBezTo>
                  <a:pt x="13353" y="143094"/>
                  <a:pt x="2478" y="141416"/>
                  <a:pt x="280" y="135342"/>
                </a:cubicBezTo>
                <a:cubicBezTo>
                  <a:pt x="-935" y="131987"/>
                  <a:pt x="685" y="127823"/>
                  <a:pt x="5254" y="122559"/>
                </a:cubicBezTo>
                <a:lnTo>
                  <a:pt x="8031" y="119435"/>
                </a:lnTo>
                <a:cubicBezTo>
                  <a:pt x="20699" y="104974"/>
                  <a:pt x="31631" y="92538"/>
                  <a:pt x="31169" y="85943"/>
                </a:cubicBezTo>
                <a:cubicBezTo>
                  <a:pt x="31105" y="84792"/>
                  <a:pt x="30556" y="83722"/>
                  <a:pt x="29665" y="82993"/>
                </a:cubicBezTo>
                <a:cubicBezTo>
                  <a:pt x="28884" y="82369"/>
                  <a:pt x="28404" y="81443"/>
                  <a:pt x="28334" y="80448"/>
                </a:cubicBezTo>
                <a:cubicBezTo>
                  <a:pt x="27987" y="76573"/>
                  <a:pt x="32904" y="70788"/>
                  <a:pt x="38573" y="64136"/>
                </a:cubicBezTo>
                <a:cubicBezTo>
                  <a:pt x="44241" y="57484"/>
                  <a:pt x="51125" y="49328"/>
                  <a:pt x="50604" y="44527"/>
                </a:cubicBezTo>
                <a:cubicBezTo>
                  <a:pt x="50523" y="43463"/>
                  <a:pt x="49974" y="42485"/>
                  <a:pt x="49100" y="41866"/>
                </a:cubicBezTo>
                <a:cubicBezTo>
                  <a:pt x="46902" y="40131"/>
                  <a:pt x="27871" y="25091"/>
                  <a:pt x="30359" y="17745"/>
                </a:cubicBezTo>
                <a:cubicBezTo>
                  <a:pt x="31111" y="15547"/>
                  <a:pt x="33598" y="14390"/>
                  <a:pt x="37647" y="14390"/>
                </a:cubicBezTo>
                <a:cubicBezTo>
                  <a:pt x="50014" y="13048"/>
                  <a:pt x="62272" y="10827"/>
                  <a:pt x="74321" y="7738"/>
                </a:cubicBezTo>
                <a:cubicBezTo>
                  <a:pt x="88862" y="3955"/>
                  <a:pt x="103676" y="1323"/>
                  <a:pt x="118629" y="-129"/>
                </a:cubicBezTo>
                <a:cubicBezTo>
                  <a:pt x="121811" y="-129"/>
                  <a:pt x="123662" y="392"/>
                  <a:pt x="124414" y="1491"/>
                </a:cubicBezTo>
                <a:cubicBezTo>
                  <a:pt x="128405" y="6465"/>
                  <a:pt x="154840" y="18208"/>
                  <a:pt x="170342" y="18208"/>
                </a:cubicBezTo>
                <a:cubicBezTo>
                  <a:pt x="172835" y="18283"/>
                  <a:pt x="175311" y="17849"/>
                  <a:pt x="177630" y="16935"/>
                </a:cubicBezTo>
                <a:cubicBezTo>
                  <a:pt x="178926" y="16276"/>
                  <a:pt x="180343" y="15882"/>
                  <a:pt x="181795" y="15778"/>
                </a:cubicBezTo>
                <a:cubicBezTo>
                  <a:pt x="185497" y="15778"/>
                  <a:pt x="185902" y="19365"/>
                  <a:pt x="186249" y="21910"/>
                </a:cubicBezTo>
                <a:cubicBezTo>
                  <a:pt x="186596" y="24455"/>
                  <a:pt x="186885" y="25843"/>
                  <a:pt x="188100" y="25843"/>
                </a:cubicBezTo>
                <a:cubicBezTo>
                  <a:pt x="190402" y="25456"/>
                  <a:pt x="192566" y="24501"/>
                  <a:pt x="194405" y="23067"/>
                </a:cubicBezTo>
                <a:cubicBezTo>
                  <a:pt x="200733" y="18809"/>
                  <a:pt x="208178" y="16513"/>
                  <a:pt x="215808" y="16472"/>
                </a:cubicBezTo>
                <a:cubicBezTo>
                  <a:pt x="225930" y="16472"/>
                  <a:pt x="237210" y="20464"/>
                  <a:pt x="251324" y="29082"/>
                </a:cubicBezTo>
                <a:cubicBezTo>
                  <a:pt x="255431" y="31570"/>
                  <a:pt x="259480" y="33941"/>
                  <a:pt x="263356" y="36139"/>
                </a:cubicBezTo>
                <a:cubicBezTo>
                  <a:pt x="277007" y="44122"/>
                  <a:pt x="287824" y="50369"/>
                  <a:pt x="288171" y="56154"/>
                </a:cubicBezTo>
                <a:cubicBezTo>
                  <a:pt x="288223" y="58224"/>
                  <a:pt x="287164" y="60168"/>
                  <a:pt x="285394" y="61244"/>
                </a:cubicBezTo>
                <a:cubicBezTo>
                  <a:pt x="275503" y="68648"/>
                  <a:pt x="218815" y="92827"/>
                  <a:pt x="197702" y="97801"/>
                </a:cubicBezTo>
                <a:cubicBezTo>
                  <a:pt x="190524" y="98785"/>
                  <a:pt x="185168" y="104905"/>
                  <a:pt x="185150" y="112147"/>
                </a:cubicBezTo>
                <a:cubicBezTo>
                  <a:pt x="184225" y="117295"/>
                  <a:pt x="183299" y="122617"/>
                  <a:pt x="175953" y="124410"/>
                </a:cubicBezTo>
                <a:cubicBezTo>
                  <a:pt x="163169" y="127649"/>
                  <a:pt x="151311" y="132913"/>
                  <a:pt x="151311" y="149977"/>
                </a:cubicBezTo>
                <a:cubicBezTo>
                  <a:pt x="151311" y="164091"/>
                  <a:pt x="142924" y="171900"/>
                  <a:pt x="127653" y="171900"/>
                </a:cubicBezTo>
                <a:cubicBezTo>
                  <a:pt x="126265" y="171900"/>
                  <a:pt x="124876" y="171900"/>
                  <a:pt x="123488" y="171900"/>
                </a:cubicBezTo>
                <a:cubicBezTo>
                  <a:pt x="119161" y="171131"/>
                  <a:pt x="114707" y="172224"/>
                  <a:pt x="111225" y="174908"/>
                </a:cubicBezTo>
                <a:cubicBezTo>
                  <a:pt x="107095" y="177974"/>
                  <a:pt x="102011" y="179466"/>
                  <a:pt x="96880" y="179130"/>
                </a:cubicBezTo>
                <a:cubicBezTo>
                  <a:pt x="88839" y="179130"/>
                  <a:pt x="87509" y="182254"/>
                  <a:pt x="86121" y="185609"/>
                </a:cubicBezTo>
                <a:cubicBezTo>
                  <a:pt x="85293" y="188958"/>
                  <a:pt x="82222" y="191260"/>
                  <a:pt x="78775" y="191104"/>
                </a:cubicBezTo>
                <a:close/>
                <a:moveTo>
                  <a:pt x="118571" y="2127"/>
                </a:moveTo>
                <a:cubicBezTo>
                  <a:pt x="103781" y="3608"/>
                  <a:pt x="89123" y="6217"/>
                  <a:pt x="74725" y="9936"/>
                </a:cubicBezTo>
                <a:cubicBezTo>
                  <a:pt x="62532" y="13088"/>
                  <a:pt x="50118" y="15333"/>
                  <a:pt x="37589" y="16646"/>
                </a:cubicBezTo>
                <a:cubicBezTo>
                  <a:pt x="35507" y="16646"/>
                  <a:pt x="32962" y="16993"/>
                  <a:pt x="32441" y="18497"/>
                </a:cubicBezTo>
                <a:cubicBezTo>
                  <a:pt x="31169" y="22257"/>
                  <a:pt x="40539" y="32437"/>
                  <a:pt x="50431" y="40073"/>
                </a:cubicBezTo>
                <a:cubicBezTo>
                  <a:pt x="51802" y="41068"/>
                  <a:pt x="52669" y="42606"/>
                  <a:pt x="52802" y="44295"/>
                </a:cubicBezTo>
                <a:cubicBezTo>
                  <a:pt x="53381" y="50080"/>
                  <a:pt x="46729" y="57947"/>
                  <a:pt x="40250" y="65582"/>
                </a:cubicBezTo>
                <a:cubicBezTo>
                  <a:pt x="35333" y="71367"/>
                  <a:pt x="30301" y="77151"/>
                  <a:pt x="30532" y="80275"/>
                </a:cubicBezTo>
                <a:cubicBezTo>
                  <a:pt x="30544" y="80662"/>
                  <a:pt x="30735" y="81027"/>
                  <a:pt x="31053" y="81258"/>
                </a:cubicBezTo>
                <a:cubicBezTo>
                  <a:pt x="32401" y="82363"/>
                  <a:pt x="33239" y="83971"/>
                  <a:pt x="33367" y="85712"/>
                </a:cubicBezTo>
                <a:cubicBezTo>
                  <a:pt x="33945" y="93290"/>
                  <a:pt x="23244" y="105495"/>
                  <a:pt x="9708" y="120881"/>
                </a:cubicBezTo>
                <a:lnTo>
                  <a:pt x="6932" y="124063"/>
                </a:lnTo>
                <a:cubicBezTo>
                  <a:pt x="3056" y="128575"/>
                  <a:pt x="1494" y="132103"/>
                  <a:pt x="2420" y="134533"/>
                </a:cubicBezTo>
                <a:cubicBezTo>
                  <a:pt x="4155" y="139391"/>
                  <a:pt x="14914" y="141069"/>
                  <a:pt x="26310" y="142804"/>
                </a:cubicBezTo>
                <a:cubicBezTo>
                  <a:pt x="30937" y="143498"/>
                  <a:pt x="35738" y="144250"/>
                  <a:pt x="40250" y="145234"/>
                </a:cubicBezTo>
                <a:cubicBezTo>
                  <a:pt x="52455" y="147952"/>
                  <a:pt x="58703" y="160562"/>
                  <a:pt x="64198" y="171669"/>
                </a:cubicBezTo>
                <a:cubicBezTo>
                  <a:pt x="68767" y="180866"/>
                  <a:pt x="72701" y="189022"/>
                  <a:pt x="78775" y="189022"/>
                </a:cubicBezTo>
                <a:cubicBezTo>
                  <a:pt x="82303" y="189022"/>
                  <a:pt x="82997" y="187287"/>
                  <a:pt x="84096" y="184741"/>
                </a:cubicBezTo>
                <a:cubicBezTo>
                  <a:pt x="85542" y="181213"/>
                  <a:pt x="87393" y="176875"/>
                  <a:pt x="96938" y="176875"/>
                </a:cubicBezTo>
                <a:cubicBezTo>
                  <a:pt x="101617" y="177239"/>
                  <a:pt x="106262" y="175880"/>
                  <a:pt x="110010" y="173057"/>
                </a:cubicBezTo>
                <a:cubicBezTo>
                  <a:pt x="113892" y="170026"/>
                  <a:pt x="118872" y="168788"/>
                  <a:pt x="123719" y="169644"/>
                </a:cubicBezTo>
                <a:lnTo>
                  <a:pt x="127711" y="169644"/>
                </a:lnTo>
                <a:cubicBezTo>
                  <a:pt x="137486" y="169644"/>
                  <a:pt x="149113" y="166231"/>
                  <a:pt x="149113" y="149977"/>
                </a:cubicBezTo>
                <a:cubicBezTo>
                  <a:pt x="149113" y="131351"/>
                  <a:pt x="162417" y="125509"/>
                  <a:pt x="175432" y="122212"/>
                </a:cubicBezTo>
                <a:cubicBezTo>
                  <a:pt x="181217" y="120766"/>
                  <a:pt x="182084" y="116774"/>
                  <a:pt x="182952" y="111742"/>
                </a:cubicBezTo>
                <a:cubicBezTo>
                  <a:pt x="183149" y="103603"/>
                  <a:pt x="189182" y="96783"/>
                  <a:pt x="197240" y="95603"/>
                </a:cubicBezTo>
                <a:cubicBezTo>
                  <a:pt x="217601" y="90802"/>
                  <a:pt x="274577" y="66681"/>
                  <a:pt x="284006" y="59451"/>
                </a:cubicBezTo>
                <a:cubicBezTo>
                  <a:pt x="285140" y="58809"/>
                  <a:pt x="285863" y="57629"/>
                  <a:pt x="285915" y="56327"/>
                </a:cubicBezTo>
                <a:cubicBezTo>
                  <a:pt x="285915" y="51700"/>
                  <a:pt x="274346" y="45105"/>
                  <a:pt x="262199" y="38106"/>
                </a:cubicBezTo>
                <a:cubicBezTo>
                  <a:pt x="258323" y="35850"/>
                  <a:pt x="254274" y="33479"/>
                  <a:pt x="250167" y="30991"/>
                </a:cubicBezTo>
                <a:cubicBezTo>
                  <a:pt x="236400" y="22604"/>
                  <a:pt x="225525" y="18728"/>
                  <a:pt x="215808" y="18728"/>
                </a:cubicBezTo>
                <a:cubicBezTo>
                  <a:pt x="208623" y="18757"/>
                  <a:pt x="201613" y="20932"/>
                  <a:pt x="195678" y="24975"/>
                </a:cubicBezTo>
                <a:cubicBezTo>
                  <a:pt x="193468" y="26664"/>
                  <a:pt x="190859" y="27740"/>
                  <a:pt x="188100" y="28099"/>
                </a:cubicBezTo>
                <a:cubicBezTo>
                  <a:pt x="184687" y="28099"/>
                  <a:pt x="184282" y="24686"/>
                  <a:pt x="183993" y="22315"/>
                </a:cubicBezTo>
                <a:cubicBezTo>
                  <a:pt x="183704" y="19943"/>
                  <a:pt x="183241" y="18150"/>
                  <a:pt x="181795" y="18150"/>
                </a:cubicBezTo>
                <a:cubicBezTo>
                  <a:pt x="180667" y="18254"/>
                  <a:pt x="179568" y="18566"/>
                  <a:pt x="178556" y="19075"/>
                </a:cubicBezTo>
                <a:cubicBezTo>
                  <a:pt x="175953" y="20151"/>
                  <a:pt x="173153" y="20666"/>
                  <a:pt x="170342" y="20579"/>
                </a:cubicBezTo>
                <a:cubicBezTo>
                  <a:pt x="153972" y="20579"/>
                  <a:pt x="126959" y="8374"/>
                  <a:pt x="122678" y="3226"/>
                </a:cubicBezTo>
                <a:cubicBezTo>
                  <a:pt x="122678" y="2763"/>
                  <a:pt x="121984" y="2127"/>
                  <a:pt x="118571" y="212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8" name="Forma libre: forma 467">
            <a:extLst>
              <a:ext uri="{FF2B5EF4-FFF2-40B4-BE49-F238E27FC236}">
                <a16:creationId xmlns:a16="http://schemas.microsoft.com/office/drawing/2014/main" id="{4CE4AFB6-25E1-34ED-CEAB-E1CD2822D7C7}"/>
              </a:ext>
            </a:extLst>
          </p:cNvPr>
          <p:cNvSpPr/>
          <p:nvPr/>
        </p:nvSpPr>
        <p:spPr>
          <a:xfrm>
            <a:off x="2304464" y="1926408"/>
            <a:ext cx="2350693" cy="1320064"/>
          </a:xfrm>
          <a:custGeom>
            <a:avLst/>
            <a:gdLst>
              <a:gd name="connsiteX0" fmla="*/ 1613110 w 2350693"/>
              <a:gd name="connsiteY0" fmla="*/ 1318837 h 1320064"/>
              <a:gd name="connsiteX1" fmla="*/ 1612300 w 2350693"/>
              <a:gd name="connsiteY1" fmla="*/ 1318547 h 1320064"/>
              <a:gd name="connsiteX2" fmla="*/ 1607557 w 2350693"/>
              <a:gd name="connsiteY2" fmla="*/ 1296104 h 1320064"/>
              <a:gd name="connsiteX3" fmla="*/ 1608135 w 2350693"/>
              <a:gd name="connsiteY3" fmla="*/ 1295294 h 1320064"/>
              <a:gd name="connsiteX4" fmla="*/ 1609118 w 2350693"/>
              <a:gd name="connsiteY4" fmla="*/ 1295294 h 1320064"/>
              <a:gd name="connsiteX5" fmla="*/ 1609118 w 2350693"/>
              <a:gd name="connsiteY5" fmla="*/ 1295294 h 1320064"/>
              <a:gd name="connsiteX6" fmla="*/ 1609581 w 2350693"/>
              <a:gd name="connsiteY6" fmla="*/ 1295294 h 1320064"/>
              <a:gd name="connsiteX7" fmla="*/ 1627339 w 2350693"/>
              <a:gd name="connsiteY7" fmla="*/ 1253993 h 1320064"/>
              <a:gd name="connsiteX8" fmla="*/ 1633124 w 2350693"/>
              <a:gd name="connsiteY8" fmla="*/ 1238317 h 1320064"/>
              <a:gd name="connsiteX9" fmla="*/ 1636074 w 2350693"/>
              <a:gd name="connsiteY9" fmla="*/ 1229872 h 1320064"/>
              <a:gd name="connsiteX10" fmla="*/ 1636942 w 2350693"/>
              <a:gd name="connsiteY10" fmla="*/ 1225881 h 1320064"/>
              <a:gd name="connsiteX11" fmla="*/ 1639255 w 2350693"/>
              <a:gd name="connsiteY11" fmla="*/ 1224955 h 1320064"/>
              <a:gd name="connsiteX12" fmla="*/ 1649783 w 2350693"/>
              <a:gd name="connsiteY12" fmla="*/ 1229351 h 1320064"/>
              <a:gd name="connsiteX13" fmla="*/ 1672227 w 2350693"/>
              <a:gd name="connsiteY13" fmla="*/ 1237103 h 1320064"/>
              <a:gd name="connsiteX14" fmla="*/ 1678589 w 2350693"/>
              <a:gd name="connsiteY14" fmla="*/ 1234673 h 1320064"/>
              <a:gd name="connsiteX15" fmla="*/ 1672053 w 2350693"/>
              <a:gd name="connsiteY15" fmla="*/ 1219865 h 1320064"/>
              <a:gd name="connsiteX16" fmla="*/ 1661583 w 2350693"/>
              <a:gd name="connsiteY16" fmla="*/ 1201123 h 1320064"/>
              <a:gd name="connsiteX17" fmla="*/ 1640354 w 2350693"/>
              <a:gd name="connsiteY17" fmla="*/ 1189554 h 1320064"/>
              <a:gd name="connsiteX18" fmla="*/ 1632488 w 2350693"/>
              <a:gd name="connsiteY18" fmla="*/ 1189554 h 1320064"/>
              <a:gd name="connsiteX19" fmla="*/ 1624331 w 2350693"/>
              <a:gd name="connsiteY19" fmla="*/ 1189844 h 1320064"/>
              <a:gd name="connsiteX20" fmla="*/ 1611374 w 2350693"/>
              <a:gd name="connsiteY20" fmla="*/ 1188051 h 1320064"/>
              <a:gd name="connsiteX21" fmla="*/ 1577536 w 2350693"/>
              <a:gd name="connsiteY21" fmla="*/ 1181630 h 1320064"/>
              <a:gd name="connsiteX22" fmla="*/ 1570363 w 2350693"/>
              <a:gd name="connsiteY22" fmla="*/ 1182497 h 1320064"/>
              <a:gd name="connsiteX23" fmla="*/ 1569322 w 2350693"/>
              <a:gd name="connsiteY23" fmla="*/ 1182497 h 1320064"/>
              <a:gd name="connsiteX24" fmla="*/ 1553819 w 2350693"/>
              <a:gd name="connsiteY24" fmla="*/ 1171739 h 1320064"/>
              <a:gd name="connsiteX25" fmla="*/ 1553356 w 2350693"/>
              <a:gd name="connsiteY25" fmla="*/ 1170408 h 1320064"/>
              <a:gd name="connsiteX26" fmla="*/ 1547572 w 2350693"/>
              <a:gd name="connsiteY26" fmla="*/ 1155195 h 1320064"/>
              <a:gd name="connsiteX27" fmla="*/ 1537970 w 2350693"/>
              <a:gd name="connsiteY27" fmla="*/ 1132809 h 1320064"/>
              <a:gd name="connsiteX28" fmla="*/ 1524782 w 2350693"/>
              <a:gd name="connsiteY28" fmla="*/ 1123901 h 1320064"/>
              <a:gd name="connsiteX29" fmla="*/ 1508874 w 2350693"/>
              <a:gd name="connsiteY29" fmla="*/ 1112333 h 1320064"/>
              <a:gd name="connsiteX30" fmla="*/ 1451840 w 2350693"/>
              <a:gd name="connsiteY30" fmla="*/ 1089195 h 1320064"/>
              <a:gd name="connsiteX31" fmla="*/ 1431536 w 2350693"/>
              <a:gd name="connsiteY31" fmla="*/ 1106548 h 1320064"/>
              <a:gd name="connsiteX32" fmla="*/ 1416902 w 2350693"/>
              <a:gd name="connsiteY32" fmla="*/ 1122513 h 1320064"/>
              <a:gd name="connsiteX33" fmla="*/ 1415803 w 2350693"/>
              <a:gd name="connsiteY33" fmla="*/ 1122513 h 1320064"/>
              <a:gd name="connsiteX34" fmla="*/ 1413952 w 2350693"/>
              <a:gd name="connsiteY34" fmla="*/ 1121819 h 1320064"/>
              <a:gd name="connsiteX35" fmla="*/ 1385030 w 2350693"/>
              <a:gd name="connsiteY35" fmla="*/ 1114299 h 1320064"/>
              <a:gd name="connsiteX36" fmla="*/ 1377857 w 2350693"/>
              <a:gd name="connsiteY36" fmla="*/ 1116671 h 1320064"/>
              <a:gd name="connsiteX37" fmla="*/ 1368139 w 2350693"/>
              <a:gd name="connsiteY37" fmla="*/ 1121645 h 1320064"/>
              <a:gd name="connsiteX38" fmla="*/ 1352695 w 2350693"/>
              <a:gd name="connsiteY38" fmla="*/ 1112622 h 1320064"/>
              <a:gd name="connsiteX39" fmla="*/ 1345059 w 2350693"/>
              <a:gd name="connsiteY39" fmla="*/ 1110076 h 1320064"/>
              <a:gd name="connsiteX40" fmla="*/ 1330193 w 2350693"/>
              <a:gd name="connsiteY40" fmla="*/ 1103771 h 1320064"/>
              <a:gd name="connsiteX41" fmla="*/ 1319955 w 2350693"/>
              <a:gd name="connsiteY41" fmla="*/ 1098276 h 1320064"/>
              <a:gd name="connsiteX42" fmla="*/ 1309369 w 2350693"/>
              <a:gd name="connsiteY42" fmla="*/ 1101805 h 1320064"/>
              <a:gd name="connsiteX43" fmla="*/ 1306419 w 2350693"/>
              <a:gd name="connsiteY43" fmla="*/ 1103251 h 1320064"/>
              <a:gd name="connsiteX44" fmla="*/ 1303296 w 2350693"/>
              <a:gd name="connsiteY44" fmla="*/ 1103887 h 1320064"/>
              <a:gd name="connsiteX45" fmla="*/ 1291727 w 2350693"/>
              <a:gd name="connsiteY45" fmla="*/ 1099665 h 1320064"/>
              <a:gd name="connsiteX46" fmla="*/ 1282240 w 2350693"/>
              <a:gd name="connsiteY46" fmla="*/ 1095210 h 1320064"/>
              <a:gd name="connsiteX47" fmla="*/ 1275183 w 2350693"/>
              <a:gd name="connsiteY47" fmla="*/ 1084047 h 1320064"/>
              <a:gd name="connsiteX48" fmla="*/ 1270672 w 2350693"/>
              <a:gd name="connsiteY48" fmla="*/ 1074039 h 1320064"/>
              <a:gd name="connsiteX49" fmla="*/ 1267895 w 2350693"/>
              <a:gd name="connsiteY49" fmla="*/ 1072883 h 1320064"/>
              <a:gd name="connsiteX50" fmla="*/ 1263036 w 2350693"/>
              <a:gd name="connsiteY50" fmla="*/ 1085435 h 1320064"/>
              <a:gd name="connsiteX51" fmla="*/ 1261937 w 2350693"/>
              <a:gd name="connsiteY51" fmla="*/ 1086476 h 1320064"/>
              <a:gd name="connsiteX52" fmla="*/ 509036 w 2350693"/>
              <a:gd name="connsiteY52" fmla="*/ 1090583 h 1320064"/>
              <a:gd name="connsiteX53" fmla="*/ 509036 w 2350693"/>
              <a:gd name="connsiteY53" fmla="*/ 1090583 h 1320064"/>
              <a:gd name="connsiteX54" fmla="*/ 508052 w 2350693"/>
              <a:gd name="connsiteY54" fmla="*/ 1090062 h 1320064"/>
              <a:gd name="connsiteX55" fmla="*/ 502268 w 2350693"/>
              <a:gd name="connsiteY55" fmla="*/ 1079072 h 1320064"/>
              <a:gd name="connsiteX56" fmla="*/ 490699 w 2350693"/>
              <a:gd name="connsiteY56" fmla="*/ 1064437 h 1320064"/>
              <a:gd name="connsiteX57" fmla="*/ 488270 w 2350693"/>
              <a:gd name="connsiteY57" fmla="*/ 1064900 h 1320064"/>
              <a:gd name="connsiteX58" fmla="*/ 486708 w 2350693"/>
              <a:gd name="connsiteY58" fmla="*/ 1065189 h 1320064"/>
              <a:gd name="connsiteX59" fmla="*/ 480114 w 2350693"/>
              <a:gd name="connsiteY59" fmla="*/ 1061429 h 1320064"/>
              <a:gd name="connsiteX60" fmla="*/ 471611 w 2350693"/>
              <a:gd name="connsiteY60" fmla="*/ 1057091 h 1320064"/>
              <a:gd name="connsiteX61" fmla="*/ 466173 w 2350693"/>
              <a:gd name="connsiteY61" fmla="*/ 1057959 h 1320064"/>
              <a:gd name="connsiteX62" fmla="*/ 457844 w 2350693"/>
              <a:gd name="connsiteY62" fmla="*/ 1059000 h 1320064"/>
              <a:gd name="connsiteX63" fmla="*/ 449803 w 2350693"/>
              <a:gd name="connsiteY63" fmla="*/ 1053216 h 1320064"/>
              <a:gd name="connsiteX64" fmla="*/ 442862 w 2350693"/>
              <a:gd name="connsiteY64" fmla="*/ 1036961 h 1320064"/>
              <a:gd name="connsiteX65" fmla="*/ 441300 w 2350693"/>
              <a:gd name="connsiteY65" fmla="*/ 1037598 h 1320064"/>
              <a:gd name="connsiteX66" fmla="*/ 434879 w 2350693"/>
              <a:gd name="connsiteY66" fmla="*/ 1039449 h 1320064"/>
              <a:gd name="connsiteX67" fmla="*/ 416022 w 2350693"/>
              <a:gd name="connsiteY67" fmla="*/ 1030020 h 1320064"/>
              <a:gd name="connsiteX68" fmla="*/ 401388 w 2350693"/>
              <a:gd name="connsiteY68" fmla="*/ 1018451 h 1320064"/>
              <a:gd name="connsiteX69" fmla="*/ 398553 w 2350693"/>
              <a:gd name="connsiteY69" fmla="*/ 1018914 h 1320064"/>
              <a:gd name="connsiteX70" fmla="*/ 394678 w 2350693"/>
              <a:gd name="connsiteY70" fmla="*/ 1019377 h 1320064"/>
              <a:gd name="connsiteX71" fmla="*/ 368012 w 2350693"/>
              <a:gd name="connsiteY71" fmla="*/ 1006940 h 1320064"/>
              <a:gd name="connsiteX72" fmla="*/ 368012 w 2350693"/>
              <a:gd name="connsiteY72" fmla="*/ 1005610 h 1320064"/>
              <a:gd name="connsiteX73" fmla="*/ 362979 w 2350693"/>
              <a:gd name="connsiteY73" fmla="*/ 993520 h 1320064"/>
              <a:gd name="connsiteX74" fmla="*/ 356674 w 2350693"/>
              <a:gd name="connsiteY74" fmla="*/ 983398 h 1320064"/>
              <a:gd name="connsiteX75" fmla="*/ 363876 w 2350693"/>
              <a:gd name="connsiteY75" fmla="*/ 974918 h 1320064"/>
              <a:gd name="connsiteX76" fmla="*/ 364309 w 2350693"/>
              <a:gd name="connsiteY76" fmla="*/ 974894 h 1320064"/>
              <a:gd name="connsiteX77" fmla="*/ 367954 w 2350693"/>
              <a:gd name="connsiteY77" fmla="*/ 973333 h 1320064"/>
              <a:gd name="connsiteX78" fmla="*/ 362169 w 2350693"/>
              <a:gd name="connsiteY78" fmla="*/ 964887 h 1320064"/>
              <a:gd name="connsiteX79" fmla="*/ 355344 w 2350693"/>
              <a:gd name="connsiteY79" fmla="*/ 958698 h 1320064"/>
              <a:gd name="connsiteX80" fmla="*/ 341172 w 2350693"/>
              <a:gd name="connsiteY80" fmla="*/ 950658 h 1320064"/>
              <a:gd name="connsiteX81" fmla="*/ 334751 w 2350693"/>
              <a:gd name="connsiteY81" fmla="*/ 953781 h 1320064"/>
              <a:gd name="connsiteX82" fmla="*/ 327289 w 2350693"/>
              <a:gd name="connsiteY82" fmla="*/ 949501 h 1320064"/>
              <a:gd name="connsiteX83" fmla="*/ 327810 w 2350693"/>
              <a:gd name="connsiteY83" fmla="*/ 940303 h 1320064"/>
              <a:gd name="connsiteX84" fmla="*/ 328793 w 2350693"/>
              <a:gd name="connsiteY84" fmla="*/ 926941 h 1320064"/>
              <a:gd name="connsiteX85" fmla="*/ 325959 w 2350693"/>
              <a:gd name="connsiteY85" fmla="*/ 924917 h 1320064"/>
              <a:gd name="connsiteX86" fmla="*/ 323471 w 2350693"/>
              <a:gd name="connsiteY86" fmla="*/ 926016 h 1320064"/>
              <a:gd name="connsiteX87" fmla="*/ 308837 w 2350693"/>
              <a:gd name="connsiteY87" fmla="*/ 931511 h 1320064"/>
              <a:gd name="connsiteX88" fmla="*/ 298309 w 2350693"/>
              <a:gd name="connsiteY88" fmla="*/ 927115 h 1320064"/>
              <a:gd name="connsiteX89" fmla="*/ 295591 w 2350693"/>
              <a:gd name="connsiteY89" fmla="*/ 915546 h 1320064"/>
              <a:gd name="connsiteX90" fmla="*/ 293508 w 2350693"/>
              <a:gd name="connsiteY90" fmla="*/ 906638 h 1320064"/>
              <a:gd name="connsiteX91" fmla="*/ 292062 w 2350693"/>
              <a:gd name="connsiteY91" fmla="*/ 903515 h 1320064"/>
              <a:gd name="connsiteX92" fmla="*/ 297846 w 2350693"/>
              <a:gd name="connsiteY92" fmla="*/ 899350 h 1320064"/>
              <a:gd name="connsiteX93" fmla="*/ 302243 w 2350693"/>
              <a:gd name="connsiteY93" fmla="*/ 896747 h 1320064"/>
              <a:gd name="connsiteX94" fmla="*/ 301086 w 2350693"/>
              <a:gd name="connsiteY94" fmla="*/ 895127 h 1320064"/>
              <a:gd name="connsiteX95" fmla="*/ 299292 w 2350693"/>
              <a:gd name="connsiteY95" fmla="*/ 893623 h 1320064"/>
              <a:gd name="connsiteX96" fmla="*/ 289112 w 2350693"/>
              <a:gd name="connsiteY96" fmla="*/ 880550 h 1320064"/>
              <a:gd name="connsiteX97" fmla="*/ 289575 w 2350693"/>
              <a:gd name="connsiteY97" fmla="*/ 879509 h 1320064"/>
              <a:gd name="connsiteX98" fmla="*/ 308258 w 2350693"/>
              <a:gd name="connsiteY98" fmla="*/ 866321 h 1320064"/>
              <a:gd name="connsiteX99" fmla="*/ 311787 w 2350693"/>
              <a:gd name="connsiteY99" fmla="*/ 861924 h 1320064"/>
              <a:gd name="connsiteX100" fmla="*/ 307449 w 2350693"/>
              <a:gd name="connsiteY100" fmla="*/ 854867 h 1320064"/>
              <a:gd name="connsiteX101" fmla="*/ 302185 w 2350693"/>
              <a:gd name="connsiteY101" fmla="*/ 841795 h 1320064"/>
              <a:gd name="connsiteX102" fmla="*/ 276965 w 2350693"/>
              <a:gd name="connsiteY102" fmla="*/ 814203 h 1320064"/>
              <a:gd name="connsiteX103" fmla="*/ 239250 w 2350693"/>
              <a:gd name="connsiteY103" fmla="*/ 777645 h 1320064"/>
              <a:gd name="connsiteX104" fmla="*/ 227681 w 2350693"/>
              <a:gd name="connsiteY104" fmla="*/ 756301 h 1320064"/>
              <a:gd name="connsiteX105" fmla="*/ 187595 w 2350693"/>
              <a:gd name="connsiteY105" fmla="*/ 711818 h 1320064"/>
              <a:gd name="connsiteX106" fmla="*/ 168564 w 2350693"/>
              <a:gd name="connsiteY106" fmla="*/ 688681 h 1320064"/>
              <a:gd name="connsiteX107" fmla="*/ 151211 w 2350693"/>
              <a:gd name="connsiteY107" fmla="*/ 679946 h 1320064"/>
              <a:gd name="connsiteX108" fmla="*/ 133858 w 2350693"/>
              <a:gd name="connsiteY108" fmla="*/ 687061 h 1320064"/>
              <a:gd name="connsiteX109" fmla="*/ 116852 w 2350693"/>
              <a:gd name="connsiteY109" fmla="*/ 703084 h 1320064"/>
              <a:gd name="connsiteX110" fmla="*/ 108349 w 2350693"/>
              <a:gd name="connsiteY110" fmla="*/ 707365 h 1320064"/>
              <a:gd name="connsiteX111" fmla="*/ 102564 w 2350693"/>
              <a:gd name="connsiteY111" fmla="*/ 709331 h 1320064"/>
              <a:gd name="connsiteX112" fmla="*/ 89318 w 2350693"/>
              <a:gd name="connsiteY112" fmla="*/ 698167 h 1320064"/>
              <a:gd name="connsiteX113" fmla="*/ 85847 w 2350693"/>
              <a:gd name="connsiteY113" fmla="*/ 693424 h 1320064"/>
              <a:gd name="connsiteX114" fmla="*/ 71386 w 2350693"/>
              <a:gd name="connsiteY114" fmla="*/ 680062 h 1320064"/>
              <a:gd name="connsiteX115" fmla="*/ 58140 w 2350693"/>
              <a:gd name="connsiteY115" fmla="*/ 665254 h 1320064"/>
              <a:gd name="connsiteX116" fmla="*/ 47381 w 2350693"/>
              <a:gd name="connsiteY116" fmla="*/ 650966 h 1320064"/>
              <a:gd name="connsiteX117" fmla="*/ 41191 w 2350693"/>
              <a:gd name="connsiteY117" fmla="*/ 652528 h 1320064"/>
              <a:gd name="connsiteX118" fmla="*/ 27077 w 2350693"/>
              <a:gd name="connsiteY118" fmla="*/ 655767 h 1320064"/>
              <a:gd name="connsiteX119" fmla="*/ 23433 w 2350693"/>
              <a:gd name="connsiteY119" fmla="*/ 655767 h 1320064"/>
              <a:gd name="connsiteX120" fmla="*/ 20888 w 2350693"/>
              <a:gd name="connsiteY120" fmla="*/ 655767 h 1320064"/>
              <a:gd name="connsiteX121" fmla="*/ 16492 w 2350693"/>
              <a:gd name="connsiteY121" fmla="*/ 657329 h 1320064"/>
              <a:gd name="connsiteX122" fmla="*/ 11922 w 2350693"/>
              <a:gd name="connsiteY122" fmla="*/ 659296 h 1320064"/>
              <a:gd name="connsiteX123" fmla="*/ 353 w 2350693"/>
              <a:gd name="connsiteY123" fmla="*/ 654495 h 1320064"/>
              <a:gd name="connsiteX124" fmla="*/ -110 w 2350693"/>
              <a:gd name="connsiteY124" fmla="*/ 653627 h 1320064"/>
              <a:gd name="connsiteX125" fmla="*/ -110 w 2350693"/>
              <a:gd name="connsiteY125" fmla="*/ 234834 h 1320064"/>
              <a:gd name="connsiteX126" fmla="*/ 295 w 2350693"/>
              <a:gd name="connsiteY126" fmla="*/ 233967 h 1320064"/>
              <a:gd name="connsiteX127" fmla="*/ 1163 w 2350693"/>
              <a:gd name="connsiteY127" fmla="*/ 233678 h 1320064"/>
              <a:gd name="connsiteX128" fmla="*/ 27482 w 2350693"/>
              <a:gd name="connsiteY128" fmla="*/ 234661 h 1320064"/>
              <a:gd name="connsiteX129" fmla="*/ 52644 w 2350693"/>
              <a:gd name="connsiteY129" fmla="*/ 238884 h 1320064"/>
              <a:gd name="connsiteX130" fmla="*/ 74567 w 2350693"/>
              <a:gd name="connsiteY130" fmla="*/ 254964 h 1320064"/>
              <a:gd name="connsiteX131" fmla="*/ 112860 w 2350693"/>
              <a:gd name="connsiteY131" fmla="*/ 267574 h 1320064"/>
              <a:gd name="connsiteX132" fmla="*/ 115058 w 2350693"/>
              <a:gd name="connsiteY132" fmla="*/ 267574 h 1320064"/>
              <a:gd name="connsiteX133" fmla="*/ 145195 w 2350693"/>
              <a:gd name="connsiteY133" fmla="*/ 275730 h 1320064"/>
              <a:gd name="connsiteX134" fmla="*/ 155549 w 2350693"/>
              <a:gd name="connsiteY134" fmla="*/ 278796 h 1320064"/>
              <a:gd name="connsiteX135" fmla="*/ 156880 w 2350693"/>
              <a:gd name="connsiteY135" fmla="*/ 276078 h 1320064"/>
              <a:gd name="connsiteX136" fmla="*/ 147336 w 2350693"/>
              <a:gd name="connsiteY136" fmla="*/ 266707 h 1320064"/>
              <a:gd name="connsiteX137" fmla="*/ 144733 w 2350693"/>
              <a:gd name="connsiteY137" fmla="*/ 264798 h 1320064"/>
              <a:gd name="connsiteX138" fmla="*/ 141493 w 2350693"/>
              <a:gd name="connsiteY138" fmla="*/ 256526 h 1320064"/>
              <a:gd name="connsiteX139" fmla="*/ 164631 w 2350693"/>
              <a:gd name="connsiteY139" fmla="*/ 244957 h 1320064"/>
              <a:gd name="connsiteX140" fmla="*/ 181695 w 2350693"/>
              <a:gd name="connsiteY140" fmla="*/ 236396 h 1320064"/>
              <a:gd name="connsiteX141" fmla="*/ 185455 w 2350693"/>
              <a:gd name="connsiteY141" fmla="*/ 233909 h 1320064"/>
              <a:gd name="connsiteX142" fmla="*/ 199511 w 2350693"/>
              <a:gd name="connsiteY142" fmla="*/ 240272 h 1320064"/>
              <a:gd name="connsiteX143" fmla="*/ 197891 w 2350693"/>
              <a:gd name="connsiteY143" fmla="*/ 243453 h 1320064"/>
              <a:gd name="connsiteX144" fmla="*/ 196330 w 2350693"/>
              <a:gd name="connsiteY144" fmla="*/ 246288 h 1320064"/>
              <a:gd name="connsiteX145" fmla="*/ 199164 w 2350693"/>
              <a:gd name="connsiteY145" fmla="*/ 248312 h 1320064"/>
              <a:gd name="connsiteX146" fmla="*/ 202461 w 2350693"/>
              <a:gd name="connsiteY146" fmla="*/ 246114 h 1320064"/>
              <a:gd name="connsiteX147" fmla="*/ 209402 w 2350693"/>
              <a:gd name="connsiteY147" fmla="*/ 243280 h 1320064"/>
              <a:gd name="connsiteX148" fmla="*/ 215881 w 2350693"/>
              <a:gd name="connsiteY148" fmla="*/ 243916 h 1320064"/>
              <a:gd name="connsiteX149" fmla="*/ 220566 w 2350693"/>
              <a:gd name="connsiteY149" fmla="*/ 244379 h 1320064"/>
              <a:gd name="connsiteX150" fmla="*/ 222360 w 2350693"/>
              <a:gd name="connsiteY150" fmla="*/ 244032 h 1320064"/>
              <a:gd name="connsiteX151" fmla="*/ 221781 w 2350693"/>
              <a:gd name="connsiteY151" fmla="*/ 241776 h 1320064"/>
              <a:gd name="connsiteX152" fmla="*/ 221318 w 2350693"/>
              <a:gd name="connsiteY152" fmla="*/ 236570 h 1320064"/>
              <a:gd name="connsiteX153" fmla="*/ 234854 w 2350693"/>
              <a:gd name="connsiteY153" fmla="*/ 230785 h 1320064"/>
              <a:gd name="connsiteX154" fmla="*/ 252612 w 2350693"/>
              <a:gd name="connsiteY154" fmla="*/ 225579 h 1320064"/>
              <a:gd name="connsiteX155" fmla="*/ 265743 w 2350693"/>
              <a:gd name="connsiteY155" fmla="*/ 219274 h 1320064"/>
              <a:gd name="connsiteX156" fmla="*/ 296285 w 2350693"/>
              <a:gd name="connsiteY156" fmla="*/ 209152 h 1320064"/>
              <a:gd name="connsiteX157" fmla="*/ 308258 w 2350693"/>
              <a:gd name="connsiteY157" fmla="*/ 209152 h 1320064"/>
              <a:gd name="connsiteX158" fmla="*/ 314043 w 2350693"/>
              <a:gd name="connsiteY158" fmla="*/ 208805 h 1320064"/>
              <a:gd name="connsiteX159" fmla="*/ 319827 w 2350693"/>
              <a:gd name="connsiteY159" fmla="*/ 210424 h 1320064"/>
              <a:gd name="connsiteX160" fmla="*/ 320695 w 2350693"/>
              <a:gd name="connsiteY160" fmla="*/ 213432 h 1320064"/>
              <a:gd name="connsiteX161" fmla="*/ 276791 w 2350693"/>
              <a:gd name="connsiteY161" fmla="*/ 235066 h 1320064"/>
              <a:gd name="connsiteX162" fmla="*/ 238267 w 2350693"/>
              <a:gd name="connsiteY162" fmla="*/ 256237 h 1320064"/>
              <a:gd name="connsiteX163" fmla="*/ 224384 w 2350693"/>
              <a:gd name="connsiteY163" fmla="*/ 265203 h 1320064"/>
              <a:gd name="connsiteX164" fmla="*/ 212815 w 2350693"/>
              <a:gd name="connsiteY164" fmla="*/ 276772 h 1320064"/>
              <a:gd name="connsiteX165" fmla="*/ 217096 w 2350693"/>
              <a:gd name="connsiteY165" fmla="*/ 278449 h 1320064"/>
              <a:gd name="connsiteX166" fmla="*/ 232887 w 2350693"/>
              <a:gd name="connsiteY166" fmla="*/ 273417 h 1320064"/>
              <a:gd name="connsiteX167" fmla="*/ 234102 w 2350693"/>
              <a:gd name="connsiteY167" fmla="*/ 267632 h 1320064"/>
              <a:gd name="connsiteX168" fmla="*/ 235548 w 2350693"/>
              <a:gd name="connsiteY168" fmla="*/ 263410 h 1320064"/>
              <a:gd name="connsiteX169" fmla="*/ 275576 w 2350693"/>
              <a:gd name="connsiteY169" fmla="*/ 242181 h 1320064"/>
              <a:gd name="connsiteX170" fmla="*/ 278758 w 2350693"/>
              <a:gd name="connsiteY170" fmla="*/ 244148 h 1320064"/>
              <a:gd name="connsiteX171" fmla="*/ 283848 w 2350693"/>
              <a:gd name="connsiteY171" fmla="*/ 247792 h 1320064"/>
              <a:gd name="connsiteX172" fmla="*/ 302821 w 2350693"/>
              <a:gd name="connsiteY172" fmla="*/ 235124 h 1320064"/>
              <a:gd name="connsiteX173" fmla="*/ 321910 w 2350693"/>
              <a:gd name="connsiteY173" fmla="*/ 223960 h 1320064"/>
              <a:gd name="connsiteX174" fmla="*/ 329776 w 2350693"/>
              <a:gd name="connsiteY174" fmla="*/ 227083 h 1320064"/>
              <a:gd name="connsiteX175" fmla="*/ 331454 w 2350693"/>
              <a:gd name="connsiteY175" fmla="*/ 231769 h 1320064"/>
              <a:gd name="connsiteX176" fmla="*/ 331859 w 2350693"/>
              <a:gd name="connsiteY176" fmla="*/ 232058 h 1320064"/>
              <a:gd name="connsiteX177" fmla="*/ 344989 w 2350693"/>
              <a:gd name="connsiteY177" fmla="*/ 223728 h 1320064"/>
              <a:gd name="connsiteX178" fmla="*/ 349212 w 2350693"/>
              <a:gd name="connsiteY178" fmla="*/ 214184 h 1320064"/>
              <a:gd name="connsiteX179" fmla="*/ 350195 w 2350693"/>
              <a:gd name="connsiteY179" fmla="*/ 209962 h 1320064"/>
              <a:gd name="connsiteX180" fmla="*/ 358409 w 2350693"/>
              <a:gd name="connsiteY180" fmla="*/ 207185 h 1320064"/>
              <a:gd name="connsiteX181" fmla="*/ 363153 w 2350693"/>
              <a:gd name="connsiteY181" fmla="*/ 205797 h 1320064"/>
              <a:gd name="connsiteX182" fmla="*/ 359682 w 2350693"/>
              <a:gd name="connsiteY182" fmla="*/ 198913 h 1320064"/>
              <a:gd name="connsiteX183" fmla="*/ 354881 w 2350693"/>
              <a:gd name="connsiteY183" fmla="*/ 186534 h 1320064"/>
              <a:gd name="connsiteX184" fmla="*/ 359277 w 2350693"/>
              <a:gd name="connsiteY184" fmla="*/ 184336 h 1320064"/>
              <a:gd name="connsiteX185" fmla="*/ 377614 w 2350693"/>
              <a:gd name="connsiteY185" fmla="*/ 192435 h 1320064"/>
              <a:gd name="connsiteX186" fmla="*/ 394967 w 2350693"/>
              <a:gd name="connsiteY186" fmla="*/ 218407 h 1320064"/>
              <a:gd name="connsiteX187" fmla="*/ 418452 w 2350693"/>
              <a:gd name="connsiteY187" fmla="*/ 246750 h 1320064"/>
              <a:gd name="connsiteX188" fmla="*/ 441589 w 2350693"/>
              <a:gd name="connsiteY188" fmla="*/ 223613 h 1320064"/>
              <a:gd name="connsiteX189" fmla="*/ 454951 w 2350693"/>
              <a:gd name="connsiteY189" fmla="*/ 207995 h 1320064"/>
              <a:gd name="connsiteX190" fmla="*/ 455530 w 2350693"/>
              <a:gd name="connsiteY190" fmla="*/ 207995 h 1320064"/>
              <a:gd name="connsiteX191" fmla="*/ 462356 w 2350693"/>
              <a:gd name="connsiteY191" fmla="*/ 220373 h 1320064"/>
              <a:gd name="connsiteX192" fmla="*/ 465016 w 2350693"/>
              <a:gd name="connsiteY192" fmla="*/ 229339 h 1320064"/>
              <a:gd name="connsiteX193" fmla="*/ 466289 w 2350693"/>
              <a:gd name="connsiteY193" fmla="*/ 230959 h 1320064"/>
              <a:gd name="connsiteX194" fmla="*/ 462992 w 2350693"/>
              <a:gd name="connsiteY194" fmla="*/ 238537 h 1320064"/>
              <a:gd name="connsiteX195" fmla="*/ 459752 w 2350693"/>
              <a:gd name="connsiteY195" fmla="*/ 245767 h 1320064"/>
              <a:gd name="connsiteX196" fmla="*/ 463223 w 2350693"/>
              <a:gd name="connsiteY196" fmla="*/ 246750 h 1320064"/>
              <a:gd name="connsiteX197" fmla="*/ 466867 w 2350693"/>
              <a:gd name="connsiteY197" fmla="*/ 246750 h 1320064"/>
              <a:gd name="connsiteX198" fmla="*/ 493707 w 2350693"/>
              <a:gd name="connsiteY198" fmla="*/ 235934 h 1320064"/>
              <a:gd name="connsiteX199" fmla="*/ 525579 w 2350693"/>
              <a:gd name="connsiteY199" fmla="*/ 224365 h 1320064"/>
              <a:gd name="connsiteX200" fmla="*/ 557220 w 2350693"/>
              <a:gd name="connsiteY200" fmla="*/ 233099 h 1320064"/>
              <a:gd name="connsiteX201" fmla="*/ 609916 w 2350693"/>
              <a:gd name="connsiteY201" fmla="*/ 250973 h 1320064"/>
              <a:gd name="connsiteX202" fmla="*/ 627270 w 2350693"/>
              <a:gd name="connsiteY202" fmla="*/ 256063 h 1320064"/>
              <a:gd name="connsiteX203" fmla="*/ 650002 w 2350693"/>
              <a:gd name="connsiteY203" fmla="*/ 263757 h 1320064"/>
              <a:gd name="connsiteX204" fmla="*/ 665389 w 2350693"/>
              <a:gd name="connsiteY204" fmla="*/ 266938 h 1320064"/>
              <a:gd name="connsiteX205" fmla="*/ 684998 w 2350693"/>
              <a:gd name="connsiteY205" fmla="*/ 270293 h 1320064"/>
              <a:gd name="connsiteX206" fmla="*/ 688411 w 2350693"/>
              <a:gd name="connsiteY206" fmla="*/ 269541 h 1320064"/>
              <a:gd name="connsiteX207" fmla="*/ 688411 w 2350693"/>
              <a:gd name="connsiteY207" fmla="*/ 268558 h 1320064"/>
              <a:gd name="connsiteX208" fmla="*/ 689105 w 2350693"/>
              <a:gd name="connsiteY208" fmla="*/ 266360 h 1320064"/>
              <a:gd name="connsiteX209" fmla="*/ 695179 w 2350693"/>
              <a:gd name="connsiteY209" fmla="*/ 264682 h 1320064"/>
              <a:gd name="connsiteX210" fmla="*/ 734455 w 2350693"/>
              <a:gd name="connsiteY210" fmla="*/ 278507 h 1320064"/>
              <a:gd name="connsiteX211" fmla="*/ 749321 w 2350693"/>
              <a:gd name="connsiteY211" fmla="*/ 299331 h 1320064"/>
              <a:gd name="connsiteX212" fmla="*/ 745966 w 2350693"/>
              <a:gd name="connsiteY212" fmla="*/ 301355 h 1320064"/>
              <a:gd name="connsiteX213" fmla="*/ 743768 w 2350693"/>
              <a:gd name="connsiteY213" fmla="*/ 301066 h 1320064"/>
              <a:gd name="connsiteX214" fmla="*/ 741743 w 2350693"/>
              <a:gd name="connsiteY214" fmla="*/ 301066 h 1320064"/>
              <a:gd name="connsiteX215" fmla="*/ 713168 w 2350693"/>
              <a:gd name="connsiteY215" fmla="*/ 316395 h 1320064"/>
              <a:gd name="connsiteX216" fmla="*/ 713920 w 2350693"/>
              <a:gd name="connsiteY216" fmla="*/ 320618 h 1320064"/>
              <a:gd name="connsiteX217" fmla="*/ 760196 w 2350693"/>
              <a:gd name="connsiteY217" fmla="*/ 328079 h 1320064"/>
              <a:gd name="connsiteX218" fmla="*/ 793514 w 2350693"/>
              <a:gd name="connsiteY218" fmla="*/ 325766 h 1320064"/>
              <a:gd name="connsiteX219" fmla="*/ 817924 w 2350693"/>
              <a:gd name="connsiteY219" fmla="*/ 322758 h 1320064"/>
              <a:gd name="connsiteX220" fmla="*/ 843491 w 2350693"/>
              <a:gd name="connsiteY220" fmla="*/ 317378 h 1320064"/>
              <a:gd name="connsiteX221" fmla="*/ 852804 w 2350693"/>
              <a:gd name="connsiteY221" fmla="*/ 314602 h 1320064"/>
              <a:gd name="connsiteX222" fmla="*/ 866166 w 2350693"/>
              <a:gd name="connsiteY222" fmla="*/ 321370 h 1320064"/>
              <a:gd name="connsiteX223" fmla="*/ 868943 w 2350693"/>
              <a:gd name="connsiteY223" fmla="*/ 323568 h 1320064"/>
              <a:gd name="connsiteX224" fmla="*/ 877157 w 2350693"/>
              <a:gd name="connsiteY224" fmla="*/ 326055 h 1320064"/>
              <a:gd name="connsiteX225" fmla="*/ 880685 w 2350693"/>
              <a:gd name="connsiteY225" fmla="*/ 326055 h 1320064"/>
              <a:gd name="connsiteX226" fmla="*/ 883288 w 2350693"/>
              <a:gd name="connsiteY226" fmla="*/ 326055 h 1320064"/>
              <a:gd name="connsiteX227" fmla="*/ 887667 w 2350693"/>
              <a:gd name="connsiteY227" fmla="*/ 328924 h 1320064"/>
              <a:gd name="connsiteX228" fmla="*/ 887511 w 2350693"/>
              <a:gd name="connsiteY228" fmla="*/ 330972 h 1320064"/>
              <a:gd name="connsiteX229" fmla="*/ 887511 w 2350693"/>
              <a:gd name="connsiteY229" fmla="*/ 333517 h 1320064"/>
              <a:gd name="connsiteX230" fmla="*/ 889709 w 2350693"/>
              <a:gd name="connsiteY230" fmla="*/ 333806 h 1320064"/>
              <a:gd name="connsiteX231" fmla="*/ 900989 w 2350693"/>
              <a:gd name="connsiteY231" fmla="*/ 337797 h 1320064"/>
              <a:gd name="connsiteX232" fmla="*/ 910822 w 2350693"/>
              <a:gd name="connsiteY232" fmla="*/ 355151 h 1320064"/>
              <a:gd name="connsiteX233" fmla="*/ 903650 w 2350693"/>
              <a:gd name="connsiteY233" fmla="*/ 362034 h 1320064"/>
              <a:gd name="connsiteX234" fmla="*/ 901683 w 2350693"/>
              <a:gd name="connsiteY234" fmla="*/ 363769 h 1320064"/>
              <a:gd name="connsiteX235" fmla="*/ 915566 w 2350693"/>
              <a:gd name="connsiteY235" fmla="*/ 371116 h 1320064"/>
              <a:gd name="connsiteX236" fmla="*/ 919094 w 2350693"/>
              <a:gd name="connsiteY236" fmla="*/ 368281 h 1320064"/>
              <a:gd name="connsiteX237" fmla="*/ 926729 w 2350693"/>
              <a:gd name="connsiteY237" fmla="*/ 361687 h 1320064"/>
              <a:gd name="connsiteX238" fmla="*/ 931010 w 2350693"/>
              <a:gd name="connsiteY238" fmla="*/ 359894 h 1320064"/>
              <a:gd name="connsiteX239" fmla="*/ 925977 w 2350693"/>
              <a:gd name="connsiteY239" fmla="*/ 348325 h 1320064"/>
              <a:gd name="connsiteX240" fmla="*/ 913367 w 2350693"/>
              <a:gd name="connsiteY240" fmla="*/ 315296 h 1320064"/>
              <a:gd name="connsiteX241" fmla="*/ 923722 w 2350693"/>
              <a:gd name="connsiteY241" fmla="*/ 308991 h 1320064"/>
              <a:gd name="connsiteX242" fmla="*/ 968435 w 2350693"/>
              <a:gd name="connsiteY242" fmla="*/ 289208 h 1320064"/>
              <a:gd name="connsiteX243" fmla="*/ 967915 w 2350693"/>
              <a:gd name="connsiteY243" fmla="*/ 287299 h 1320064"/>
              <a:gd name="connsiteX244" fmla="*/ 955189 w 2350693"/>
              <a:gd name="connsiteY244" fmla="*/ 290481 h 1320064"/>
              <a:gd name="connsiteX245" fmla="*/ 935290 w 2350693"/>
              <a:gd name="connsiteY245" fmla="*/ 298116 h 1320064"/>
              <a:gd name="connsiteX246" fmla="*/ 932225 w 2350693"/>
              <a:gd name="connsiteY246" fmla="*/ 298116 h 1320064"/>
              <a:gd name="connsiteX247" fmla="*/ 927828 w 2350693"/>
              <a:gd name="connsiteY247" fmla="*/ 297769 h 1320064"/>
              <a:gd name="connsiteX248" fmla="*/ 915855 w 2350693"/>
              <a:gd name="connsiteY248" fmla="*/ 302570 h 1320064"/>
              <a:gd name="connsiteX249" fmla="*/ 906947 w 2350693"/>
              <a:gd name="connsiteY249" fmla="*/ 306677 h 1320064"/>
              <a:gd name="connsiteX250" fmla="*/ 904749 w 2350693"/>
              <a:gd name="connsiteY250" fmla="*/ 306677 h 1320064"/>
              <a:gd name="connsiteX251" fmla="*/ 892890 w 2350693"/>
              <a:gd name="connsiteY251" fmla="*/ 303611 h 1320064"/>
              <a:gd name="connsiteX252" fmla="*/ 893758 w 2350693"/>
              <a:gd name="connsiteY252" fmla="*/ 293546 h 1320064"/>
              <a:gd name="connsiteX253" fmla="*/ 917764 w 2350693"/>
              <a:gd name="connsiteY253" fmla="*/ 280705 h 1320064"/>
              <a:gd name="connsiteX254" fmla="*/ 934191 w 2350693"/>
              <a:gd name="connsiteY254" fmla="*/ 275441 h 1320064"/>
              <a:gd name="connsiteX255" fmla="*/ 964675 w 2350693"/>
              <a:gd name="connsiteY255" fmla="*/ 268616 h 1320064"/>
              <a:gd name="connsiteX256" fmla="*/ 980698 w 2350693"/>
              <a:gd name="connsiteY256" fmla="*/ 274400 h 1320064"/>
              <a:gd name="connsiteX257" fmla="*/ 981450 w 2350693"/>
              <a:gd name="connsiteY257" fmla="*/ 280474 h 1320064"/>
              <a:gd name="connsiteX258" fmla="*/ 993597 w 2350693"/>
              <a:gd name="connsiteY258" fmla="*/ 295340 h 1320064"/>
              <a:gd name="connsiteX259" fmla="*/ 1008348 w 2350693"/>
              <a:gd name="connsiteY259" fmla="*/ 302512 h 1320064"/>
              <a:gd name="connsiteX260" fmla="*/ 1017776 w 2350693"/>
              <a:gd name="connsiteY260" fmla="*/ 307487 h 1320064"/>
              <a:gd name="connsiteX261" fmla="*/ 1025932 w 2350693"/>
              <a:gd name="connsiteY261" fmla="*/ 307487 h 1320064"/>
              <a:gd name="connsiteX262" fmla="*/ 1047682 w 2350693"/>
              <a:gd name="connsiteY262" fmla="*/ 314544 h 1320064"/>
              <a:gd name="connsiteX263" fmla="*/ 1079381 w 2350693"/>
              <a:gd name="connsiteY263" fmla="*/ 325534 h 1320064"/>
              <a:gd name="connsiteX264" fmla="*/ 1089619 w 2350693"/>
              <a:gd name="connsiteY264" fmla="*/ 324493 h 1320064"/>
              <a:gd name="connsiteX265" fmla="*/ 1138324 w 2350693"/>
              <a:gd name="connsiteY265" fmla="*/ 317610 h 1320064"/>
              <a:gd name="connsiteX266" fmla="*/ 1143298 w 2350693"/>
              <a:gd name="connsiteY266" fmla="*/ 317610 h 1320064"/>
              <a:gd name="connsiteX267" fmla="*/ 1155793 w 2350693"/>
              <a:gd name="connsiteY267" fmla="*/ 319981 h 1320064"/>
              <a:gd name="connsiteX268" fmla="*/ 1164932 w 2350693"/>
              <a:gd name="connsiteY268" fmla="*/ 321601 h 1320064"/>
              <a:gd name="connsiteX269" fmla="*/ 1167188 w 2350693"/>
              <a:gd name="connsiteY269" fmla="*/ 321022 h 1320064"/>
              <a:gd name="connsiteX270" fmla="*/ 1167477 w 2350693"/>
              <a:gd name="connsiteY270" fmla="*/ 319519 h 1320064"/>
              <a:gd name="connsiteX271" fmla="*/ 1169791 w 2350693"/>
              <a:gd name="connsiteY271" fmla="*/ 311536 h 1320064"/>
              <a:gd name="connsiteX272" fmla="*/ 1169791 w 2350693"/>
              <a:gd name="connsiteY272" fmla="*/ 302512 h 1320064"/>
              <a:gd name="connsiteX273" fmla="*/ 1167940 w 2350693"/>
              <a:gd name="connsiteY273" fmla="*/ 295224 h 1320064"/>
              <a:gd name="connsiteX274" fmla="*/ 1174881 w 2350693"/>
              <a:gd name="connsiteY274" fmla="*/ 291753 h 1320064"/>
              <a:gd name="connsiteX275" fmla="*/ 1182054 w 2350693"/>
              <a:gd name="connsiteY275" fmla="*/ 293546 h 1320064"/>
              <a:gd name="connsiteX276" fmla="*/ 1184715 w 2350693"/>
              <a:gd name="connsiteY276" fmla="*/ 294356 h 1320064"/>
              <a:gd name="connsiteX277" fmla="*/ 1187376 w 2350693"/>
              <a:gd name="connsiteY277" fmla="*/ 291522 h 1320064"/>
              <a:gd name="connsiteX278" fmla="*/ 1194317 w 2350693"/>
              <a:gd name="connsiteY278" fmla="*/ 286142 h 1320064"/>
              <a:gd name="connsiteX279" fmla="*/ 1195647 w 2350693"/>
              <a:gd name="connsiteY279" fmla="*/ 285506 h 1320064"/>
              <a:gd name="connsiteX280" fmla="*/ 1173667 w 2350693"/>
              <a:gd name="connsiteY280" fmla="*/ 272665 h 1320064"/>
              <a:gd name="connsiteX281" fmla="*/ 1147174 w 2350693"/>
              <a:gd name="connsiteY281" fmla="*/ 263583 h 1320064"/>
              <a:gd name="connsiteX282" fmla="*/ 1148620 w 2350693"/>
              <a:gd name="connsiteY282" fmla="*/ 256873 h 1320064"/>
              <a:gd name="connsiteX283" fmla="*/ 1159668 w 2350693"/>
              <a:gd name="connsiteY283" fmla="*/ 253287 h 1320064"/>
              <a:gd name="connsiteX284" fmla="*/ 1176212 w 2350693"/>
              <a:gd name="connsiteY284" fmla="*/ 238594 h 1320064"/>
              <a:gd name="connsiteX285" fmla="*/ 1191367 w 2350693"/>
              <a:gd name="connsiteY285" fmla="*/ 221241 h 1320064"/>
              <a:gd name="connsiteX286" fmla="*/ 1209646 w 2350693"/>
              <a:gd name="connsiteY286" fmla="*/ 230728 h 1320064"/>
              <a:gd name="connsiteX287" fmla="*/ 1226710 w 2350693"/>
              <a:gd name="connsiteY287" fmla="*/ 238999 h 1320064"/>
              <a:gd name="connsiteX288" fmla="*/ 1238857 w 2350693"/>
              <a:gd name="connsiteY288" fmla="*/ 237033 h 1320064"/>
              <a:gd name="connsiteX289" fmla="*/ 1243485 w 2350693"/>
              <a:gd name="connsiteY289" fmla="*/ 236512 h 1320064"/>
              <a:gd name="connsiteX290" fmla="*/ 1259103 w 2350693"/>
              <a:gd name="connsiteY290" fmla="*/ 245189 h 1320064"/>
              <a:gd name="connsiteX291" fmla="*/ 1255748 w 2350693"/>
              <a:gd name="connsiteY291" fmla="*/ 248949 h 1320064"/>
              <a:gd name="connsiteX292" fmla="*/ 1245394 w 2350693"/>
              <a:gd name="connsiteY292" fmla="*/ 248949 h 1320064"/>
              <a:gd name="connsiteX293" fmla="*/ 1239609 w 2350693"/>
              <a:gd name="connsiteY293" fmla="*/ 248544 h 1320064"/>
              <a:gd name="connsiteX294" fmla="*/ 1233825 w 2350693"/>
              <a:gd name="connsiteY294" fmla="*/ 252072 h 1320064"/>
              <a:gd name="connsiteX295" fmla="*/ 1235213 w 2350693"/>
              <a:gd name="connsiteY295" fmla="*/ 255254 h 1320064"/>
              <a:gd name="connsiteX296" fmla="*/ 1254070 w 2350693"/>
              <a:gd name="connsiteY296" fmla="*/ 252824 h 1320064"/>
              <a:gd name="connsiteX297" fmla="*/ 1256615 w 2350693"/>
              <a:gd name="connsiteY297" fmla="*/ 252419 h 1320064"/>
              <a:gd name="connsiteX298" fmla="*/ 1273043 w 2350693"/>
              <a:gd name="connsiteY298" fmla="*/ 265781 h 1320064"/>
              <a:gd name="connsiteX299" fmla="*/ 1270382 w 2350693"/>
              <a:gd name="connsiteY299" fmla="*/ 278391 h 1320064"/>
              <a:gd name="connsiteX300" fmla="*/ 1257425 w 2350693"/>
              <a:gd name="connsiteY300" fmla="*/ 283424 h 1320064"/>
              <a:gd name="connsiteX301" fmla="*/ 1248459 w 2350693"/>
              <a:gd name="connsiteY301" fmla="*/ 282325 h 1320064"/>
              <a:gd name="connsiteX302" fmla="*/ 1238105 w 2350693"/>
              <a:gd name="connsiteY302" fmla="*/ 281052 h 1320064"/>
              <a:gd name="connsiteX303" fmla="*/ 1233593 w 2350693"/>
              <a:gd name="connsiteY303" fmla="*/ 285448 h 1320064"/>
              <a:gd name="connsiteX304" fmla="*/ 1226479 w 2350693"/>
              <a:gd name="connsiteY304" fmla="*/ 292158 h 1320064"/>
              <a:gd name="connsiteX305" fmla="*/ 1223471 w 2350693"/>
              <a:gd name="connsiteY305" fmla="*/ 292158 h 1320064"/>
              <a:gd name="connsiteX306" fmla="*/ 1213464 w 2350693"/>
              <a:gd name="connsiteY306" fmla="*/ 290770 h 1320064"/>
              <a:gd name="connsiteX307" fmla="*/ 1205076 w 2350693"/>
              <a:gd name="connsiteY307" fmla="*/ 289787 h 1320064"/>
              <a:gd name="connsiteX308" fmla="*/ 1203167 w 2350693"/>
              <a:gd name="connsiteY308" fmla="*/ 290134 h 1320064"/>
              <a:gd name="connsiteX309" fmla="*/ 1204556 w 2350693"/>
              <a:gd name="connsiteY309" fmla="*/ 293431 h 1320064"/>
              <a:gd name="connsiteX310" fmla="*/ 1229949 w 2350693"/>
              <a:gd name="connsiteY310" fmla="*/ 302339 h 1320064"/>
              <a:gd name="connsiteX311" fmla="*/ 1234924 w 2350693"/>
              <a:gd name="connsiteY311" fmla="*/ 302339 h 1320064"/>
              <a:gd name="connsiteX312" fmla="*/ 1239725 w 2350693"/>
              <a:gd name="connsiteY312" fmla="*/ 304132 h 1320064"/>
              <a:gd name="connsiteX313" fmla="*/ 1232379 w 2350693"/>
              <a:gd name="connsiteY313" fmla="*/ 325245 h 1320064"/>
              <a:gd name="connsiteX314" fmla="*/ 1230759 w 2350693"/>
              <a:gd name="connsiteY314" fmla="*/ 335194 h 1320064"/>
              <a:gd name="connsiteX315" fmla="*/ 1246261 w 2350693"/>
              <a:gd name="connsiteY315" fmla="*/ 345953 h 1320064"/>
              <a:gd name="connsiteX316" fmla="*/ 1254649 w 2350693"/>
              <a:gd name="connsiteY316" fmla="*/ 347284 h 1320064"/>
              <a:gd name="connsiteX317" fmla="*/ 1260433 w 2350693"/>
              <a:gd name="connsiteY317" fmla="*/ 345144 h 1320064"/>
              <a:gd name="connsiteX318" fmla="*/ 1259508 w 2350693"/>
              <a:gd name="connsiteY318" fmla="*/ 337219 h 1320064"/>
              <a:gd name="connsiteX319" fmla="*/ 1254128 w 2350693"/>
              <a:gd name="connsiteY319" fmla="*/ 311016 h 1320064"/>
              <a:gd name="connsiteX320" fmla="*/ 1260780 w 2350693"/>
              <a:gd name="connsiteY320" fmla="*/ 308991 h 1320064"/>
              <a:gd name="connsiteX321" fmla="*/ 1268300 w 2350693"/>
              <a:gd name="connsiteY321" fmla="*/ 309859 h 1320064"/>
              <a:gd name="connsiteX322" fmla="*/ 1286232 w 2350693"/>
              <a:gd name="connsiteY322" fmla="*/ 298290 h 1320064"/>
              <a:gd name="connsiteX323" fmla="*/ 1298263 w 2350693"/>
              <a:gd name="connsiteY323" fmla="*/ 289960 h 1320064"/>
              <a:gd name="connsiteX324" fmla="*/ 1304858 w 2350693"/>
              <a:gd name="connsiteY324" fmla="*/ 282556 h 1320064"/>
              <a:gd name="connsiteX325" fmla="*/ 1300693 w 2350693"/>
              <a:gd name="connsiteY325" fmla="*/ 264567 h 1320064"/>
              <a:gd name="connsiteX326" fmla="*/ 1299073 w 2350693"/>
              <a:gd name="connsiteY326" fmla="*/ 263699 h 1320064"/>
              <a:gd name="connsiteX327" fmla="*/ 1294851 w 2350693"/>
              <a:gd name="connsiteY327" fmla="*/ 267979 h 1320064"/>
              <a:gd name="connsiteX328" fmla="*/ 1282703 w 2350693"/>
              <a:gd name="connsiteY328" fmla="*/ 282209 h 1320064"/>
              <a:gd name="connsiteX329" fmla="*/ 1279406 w 2350693"/>
              <a:gd name="connsiteY329" fmla="*/ 277234 h 1320064"/>
              <a:gd name="connsiteX330" fmla="*/ 1284381 w 2350693"/>
              <a:gd name="connsiteY330" fmla="*/ 267864 h 1320064"/>
              <a:gd name="connsiteX331" fmla="*/ 1288025 w 2350693"/>
              <a:gd name="connsiteY331" fmla="*/ 255890 h 1320064"/>
              <a:gd name="connsiteX332" fmla="*/ 1287157 w 2350693"/>
              <a:gd name="connsiteY332" fmla="*/ 250626 h 1320064"/>
              <a:gd name="connsiteX333" fmla="*/ 1291727 w 2350693"/>
              <a:gd name="connsiteY333" fmla="*/ 246982 h 1320064"/>
              <a:gd name="connsiteX334" fmla="*/ 1293520 w 2350693"/>
              <a:gd name="connsiteY334" fmla="*/ 246056 h 1320064"/>
              <a:gd name="connsiteX335" fmla="*/ 1289008 w 2350693"/>
              <a:gd name="connsiteY335" fmla="*/ 242354 h 1320064"/>
              <a:gd name="connsiteX336" fmla="*/ 1264482 w 2350693"/>
              <a:gd name="connsiteY336" fmla="*/ 234256 h 1320064"/>
              <a:gd name="connsiteX337" fmla="*/ 1233767 w 2350693"/>
              <a:gd name="connsiteY337" fmla="*/ 222687 h 1320064"/>
              <a:gd name="connsiteX338" fmla="*/ 1231800 w 2350693"/>
              <a:gd name="connsiteY338" fmla="*/ 190237 h 1320064"/>
              <a:gd name="connsiteX339" fmla="*/ 1234750 w 2350693"/>
              <a:gd name="connsiteY339" fmla="*/ 184915 h 1320064"/>
              <a:gd name="connsiteX340" fmla="*/ 1231569 w 2350693"/>
              <a:gd name="connsiteY340" fmla="*/ 181907 h 1320064"/>
              <a:gd name="connsiteX341" fmla="*/ 1227115 w 2350693"/>
              <a:gd name="connsiteY341" fmla="*/ 178436 h 1320064"/>
              <a:gd name="connsiteX342" fmla="*/ 1223528 w 2350693"/>
              <a:gd name="connsiteY342" fmla="*/ 162009 h 1320064"/>
              <a:gd name="connsiteX343" fmla="*/ 1232899 w 2350693"/>
              <a:gd name="connsiteY343" fmla="*/ 146795 h 1320064"/>
              <a:gd name="connsiteX344" fmla="*/ 1245047 w 2350693"/>
              <a:gd name="connsiteY344" fmla="*/ 149572 h 1320064"/>
              <a:gd name="connsiteX345" fmla="*/ 1252219 w 2350693"/>
              <a:gd name="connsiteY345" fmla="*/ 152059 h 1320064"/>
              <a:gd name="connsiteX346" fmla="*/ 1254591 w 2350693"/>
              <a:gd name="connsiteY346" fmla="*/ 149977 h 1320064"/>
              <a:gd name="connsiteX347" fmla="*/ 1248806 w 2350693"/>
              <a:gd name="connsiteY347" fmla="*/ 140086 h 1320064"/>
              <a:gd name="connsiteX348" fmla="*/ 1245104 w 2350693"/>
              <a:gd name="connsiteY348" fmla="*/ 135053 h 1320064"/>
              <a:gd name="connsiteX349" fmla="*/ 1246319 w 2350693"/>
              <a:gd name="connsiteY349" fmla="*/ 133029 h 1320064"/>
              <a:gd name="connsiteX350" fmla="*/ 1251294 w 2350693"/>
              <a:gd name="connsiteY350" fmla="*/ 130946 h 1320064"/>
              <a:gd name="connsiteX351" fmla="*/ 1262863 w 2350693"/>
              <a:gd name="connsiteY351" fmla="*/ 118220 h 1320064"/>
              <a:gd name="connsiteX352" fmla="*/ 1262863 w 2350693"/>
              <a:gd name="connsiteY352" fmla="*/ 112436 h 1320064"/>
              <a:gd name="connsiteX353" fmla="*/ 1258177 w 2350693"/>
              <a:gd name="connsiteY353" fmla="*/ 87274 h 1320064"/>
              <a:gd name="connsiteX354" fmla="*/ 1254880 w 2350693"/>
              <a:gd name="connsiteY354" fmla="*/ 83456 h 1320064"/>
              <a:gd name="connsiteX355" fmla="*/ 1247650 w 2350693"/>
              <a:gd name="connsiteY355" fmla="*/ 56211 h 1320064"/>
              <a:gd name="connsiteX356" fmla="*/ 1246493 w 2350693"/>
              <a:gd name="connsiteY356" fmla="*/ 33594 h 1320064"/>
              <a:gd name="connsiteX357" fmla="*/ 1248286 w 2350693"/>
              <a:gd name="connsiteY357" fmla="*/ 23819 h 1320064"/>
              <a:gd name="connsiteX358" fmla="*/ 1258062 w 2350693"/>
              <a:gd name="connsiteY358" fmla="*/ 25554 h 1320064"/>
              <a:gd name="connsiteX359" fmla="*/ 1263846 w 2350693"/>
              <a:gd name="connsiteY359" fmla="*/ 27463 h 1320064"/>
              <a:gd name="connsiteX360" fmla="*/ 1265350 w 2350693"/>
              <a:gd name="connsiteY360" fmla="*/ 26306 h 1320064"/>
              <a:gd name="connsiteX361" fmla="*/ 1261359 w 2350693"/>
              <a:gd name="connsiteY361" fmla="*/ 19538 h 1320064"/>
              <a:gd name="connsiteX362" fmla="*/ 1258293 w 2350693"/>
              <a:gd name="connsiteY362" fmla="*/ 9531 h 1320064"/>
              <a:gd name="connsiteX363" fmla="*/ 1309890 w 2350693"/>
              <a:gd name="connsiteY363" fmla="*/ -129 h 1320064"/>
              <a:gd name="connsiteX364" fmla="*/ 1316137 w 2350693"/>
              <a:gd name="connsiteY364" fmla="*/ -129 h 1320064"/>
              <a:gd name="connsiteX365" fmla="*/ 1335052 w 2350693"/>
              <a:gd name="connsiteY365" fmla="*/ 4903 h 1320064"/>
              <a:gd name="connsiteX366" fmla="*/ 1355934 w 2350693"/>
              <a:gd name="connsiteY366" fmla="*/ 9762 h 1320064"/>
              <a:gd name="connsiteX367" fmla="*/ 1360851 w 2350693"/>
              <a:gd name="connsiteY367" fmla="*/ 9762 h 1320064"/>
              <a:gd name="connsiteX368" fmla="*/ 1374618 w 2350693"/>
              <a:gd name="connsiteY368" fmla="*/ 9068 h 1320064"/>
              <a:gd name="connsiteX369" fmla="*/ 1392549 w 2350693"/>
              <a:gd name="connsiteY369" fmla="*/ 14216 h 1320064"/>
              <a:gd name="connsiteX370" fmla="*/ 1390294 w 2350693"/>
              <a:gd name="connsiteY370" fmla="*/ 23645 h 1320064"/>
              <a:gd name="connsiteX371" fmla="*/ 1380923 w 2350693"/>
              <a:gd name="connsiteY371" fmla="*/ 37296 h 1320064"/>
              <a:gd name="connsiteX372" fmla="*/ 1350670 w 2350693"/>
              <a:gd name="connsiteY372" fmla="*/ 77787 h 1320064"/>
              <a:gd name="connsiteX373" fmla="*/ 1342456 w 2350693"/>
              <a:gd name="connsiteY373" fmla="*/ 79870 h 1320064"/>
              <a:gd name="connsiteX374" fmla="*/ 1323310 w 2350693"/>
              <a:gd name="connsiteY374" fmla="*/ 76977 h 1320064"/>
              <a:gd name="connsiteX375" fmla="*/ 1307518 w 2350693"/>
              <a:gd name="connsiteY375" fmla="*/ 74374 h 1320064"/>
              <a:gd name="connsiteX376" fmla="*/ 1300346 w 2350693"/>
              <a:gd name="connsiteY376" fmla="*/ 76225 h 1320064"/>
              <a:gd name="connsiteX377" fmla="*/ 1306130 w 2350693"/>
              <a:gd name="connsiteY377" fmla="*/ 81258 h 1320064"/>
              <a:gd name="connsiteX378" fmla="*/ 1311394 w 2350693"/>
              <a:gd name="connsiteY378" fmla="*/ 85423 h 1320064"/>
              <a:gd name="connsiteX379" fmla="*/ 1302370 w 2350693"/>
              <a:gd name="connsiteY379" fmla="*/ 100694 h 1320064"/>
              <a:gd name="connsiteX380" fmla="*/ 1281431 w 2350693"/>
              <a:gd name="connsiteY380" fmla="*/ 115560 h 1320064"/>
              <a:gd name="connsiteX381" fmla="*/ 1281431 w 2350693"/>
              <a:gd name="connsiteY381" fmla="*/ 115560 h 1320064"/>
              <a:gd name="connsiteX382" fmla="*/ 1280274 w 2350693"/>
              <a:gd name="connsiteY382" fmla="*/ 116196 h 1320064"/>
              <a:gd name="connsiteX383" fmla="*/ 1281026 w 2350693"/>
              <a:gd name="connsiteY383" fmla="*/ 121980 h 1320064"/>
              <a:gd name="connsiteX384" fmla="*/ 1288083 w 2350693"/>
              <a:gd name="connsiteY384" fmla="*/ 125277 h 1320064"/>
              <a:gd name="connsiteX385" fmla="*/ 1324409 w 2350693"/>
              <a:gd name="connsiteY385" fmla="*/ 150093 h 1320064"/>
              <a:gd name="connsiteX386" fmla="*/ 1323136 w 2350693"/>
              <a:gd name="connsiteY386" fmla="*/ 162818 h 1320064"/>
              <a:gd name="connsiteX387" fmla="*/ 1322731 w 2350693"/>
              <a:gd name="connsiteY387" fmla="*/ 173867 h 1320064"/>
              <a:gd name="connsiteX388" fmla="*/ 1329210 w 2350693"/>
              <a:gd name="connsiteY388" fmla="*/ 176123 h 1320064"/>
              <a:gd name="connsiteX389" fmla="*/ 1347547 w 2350693"/>
              <a:gd name="connsiteY389" fmla="*/ 189369 h 1320064"/>
              <a:gd name="connsiteX390" fmla="*/ 1356859 w 2350693"/>
              <a:gd name="connsiteY390" fmla="*/ 197062 h 1320064"/>
              <a:gd name="connsiteX391" fmla="*/ 1365420 w 2350693"/>
              <a:gd name="connsiteY391" fmla="*/ 203252 h 1320064"/>
              <a:gd name="connsiteX392" fmla="*/ 1364321 w 2350693"/>
              <a:gd name="connsiteY392" fmla="*/ 207648 h 1320064"/>
              <a:gd name="connsiteX393" fmla="*/ 1356455 w 2350693"/>
              <a:gd name="connsiteY393" fmla="*/ 211812 h 1320064"/>
              <a:gd name="connsiteX394" fmla="*/ 1352463 w 2350693"/>
              <a:gd name="connsiteY394" fmla="*/ 211350 h 1320064"/>
              <a:gd name="connsiteX395" fmla="*/ 1350092 w 2350693"/>
              <a:gd name="connsiteY395" fmla="*/ 211061 h 1320064"/>
              <a:gd name="connsiteX396" fmla="*/ 1348761 w 2350693"/>
              <a:gd name="connsiteY396" fmla="*/ 212507 h 1320064"/>
              <a:gd name="connsiteX397" fmla="*/ 1347084 w 2350693"/>
              <a:gd name="connsiteY397" fmla="*/ 219737 h 1320064"/>
              <a:gd name="connsiteX398" fmla="*/ 1347084 w 2350693"/>
              <a:gd name="connsiteY398" fmla="*/ 235182 h 1320064"/>
              <a:gd name="connsiteX399" fmla="*/ 1357380 w 2350693"/>
              <a:gd name="connsiteY399" fmla="*/ 232579 h 1320064"/>
              <a:gd name="connsiteX400" fmla="*/ 1365420 w 2350693"/>
              <a:gd name="connsiteY400" fmla="*/ 229166 h 1320064"/>
              <a:gd name="connsiteX401" fmla="*/ 1367445 w 2350693"/>
              <a:gd name="connsiteY401" fmla="*/ 229571 h 1320064"/>
              <a:gd name="connsiteX402" fmla="*/ 1372767 w 2350693"/>
              <a:gd name="connsiteY402" fmla="*/ 232231 h 1320064"/>
              <a:gd name="connsiteX403" fmla="*/ 1394227 w 2350693"/>
              <a:gd name="connsiteY403" fmla="*/ 240387 h 1320064"/>
              <a:gd name="connsiteX404" fmla="*/ 1399144 w 2350693"/>
              <a:gd name="connsiteY404" fmla="*/ 243858 h 1320064"/>
              <a:gd name="connsiteX405" fmla="*/ 1387575 w 2350693"/>
              <a:gd name="connsiteY405" fmla="*/ 253518 h 1320064"/>
              <a:gd name="connsiteX406" fmla="*/ 1381039 w 2350693"/>
              <a:gd name="connsiteY406" fmla="*/ 257914 h 1320064"/>
              <a:gd name="connsiteX407" fmla="*/ 1384335 w 2350693"/>
              <a:gd name="connsiteY407" fmla="*/ 262889 h 1320064"/>
              <a:gd name="connsiteX408" fmla="*/ 1388905 w 2350693"/>
              <a:gd name="connsiteY408" fmla="*/ 280242 h 1320064"/>
              <a:gd name="connsiteX409" fmla="*/ 1392492 w 2350693"/>
              <a:gd name="connsiteY409" fmla="*/ 295397 h 1320064"/>
              <a:gd name="connsiteX410" fmla="*/ 1397350 w 2350693"/>
              <a:gd name="connsiteY410" fmla="*/ 286605 h 1320064"/>
              <a:gd name="connsiteX411" fmla="*/ 1404581 w 2350693"/>
              <a:gd name="connsiteY411" fmla="*/ 273706 h 1320064"/>
              <a:gd name="connsiteX412" fmla="*/ 1410365 w 2350693"/>
              <a:gd name="connsiteY412" fmla="*/ 263872 h 1320064"/>
              <a:gd name="connsiteX413" fmla="*/ 1414357 w 2350693"/>
              <a:gd name="connsiteY413" fmla="*/ 254502 h 1320064"/>
              <a:gd name="connsiteX414" fmla="*/ 1423843 w 2350693"/>
              <a:gd name="connsiteY414" fmla="*/ 250626 h 1320064"/>
              <a:gd name="connsiteX415" fmla="*/ 1441197 w 2350693"/>
              <a:gd name="connsiteY415" fmla="*/ 260633 h 1320064"/>
              <a:gd name="connsiteX416" fmla="*/ 1452013 w 2350693"/>
              <a:gd name="connsiteY416" fmla="*/ 269194 h 1320064"/>
              <a:gd name="connsiteX417" fmla="*/ 1459649 w 2350693"/>
              <a:gd name="connsiteY417" fmla="*/ 280069 h 1320064"/>
              <a:gd name="connsiteX418" fmla="*/ 1461963 w 2350693"/>
              <a:gd name="connsiteY418" fmla="*/ 290481 h 1320064"/>
              <a:gd name="connsiteX419" fmla="*/ 1462715 w 2350693"/>
              <a:gd name="connsiteY419" fmla="*/ 297480 h 1320064"/>
              <a:gd name="connsiteX420" fmla="*/ 1459360 w 2350693"/>
              <a:gd name="connsiteY420" fmla="*/ 299447 h 1320064"/>
              <a:gd name="connsiteX421" fmla="*/ 1448774 w 2350693"/>
              <a:gd name="connsiteY421" fmla="*/ 310495 h 1320064"/>
              <a:gd name="connsiteX422" fmla="*/ 1466532 w 2350693"/>
              <a:gd name="connsiteY422" fmla="*/ 338087 h 1320064"/>
              <a:gd name="connsiteX423" fmla="*/ 1473936 w 2350693"/>
              <a:gd name="connsiteY423" fmla="*/ 348730 h 1320064"/>
              <a:gd name="connsiteX424" fmla="*/ 1477291 w 2350693"/>
              <a:gd name="connsiteY424" fmla="*/ 353647 h 1320064"/>
              <a:gd name="connsiteX425" fmla="*/ 1479952 w 2350693"/>
              <a:gd name="connsiteY425" fmla="*/ 350465 h 1320064"/>
              <a:gd name="connsiteX426" fmla="*/ 1493488 w 2350693"/>
              <a:gd name="connsiteY426" fmla="*/ 342541 h 1320064"/>
              <a:gd name="connsiteX427" fmla="*/ 1499272 w 2350693"/>
              <a:gd name="connsiteY427" fmla="*/ 340516 h 1320064"/>
              <a:gd name="connsiteX428" fmla="*/ 1499272 w 2350693"/>
              <a:gd name="connsiteY428" fmla="*/ 337913 h 1320064"/>
              <a:gd name="connsiteX429" fmla="*/ 1489786 w 2350693"/>
              <a:gd name="connsiteY429" fmla="*/ 321832 h 1320064"/>
              <a:gd name="connsiteX430" fmla="*/ 1484348 w 2350693"/>
              <a:gd name="connsiteY430" fmla="*/ 310264 h 1320064"/>
              <a:gd name="connsiteX431" fmla="*/ 1493661 w 2350693"/>
              <a:gd name="connsiteY431" fmla="*/ 298695 h 1320064"/>
              <a:gd name="connsiteX432" fmla="*/ 1494066 w 2350693"/>
              <a:gd name="connsiteY432" fmla="*/ 298695 h 1320064"/>
              <a:gd name="connsiteX433" fmla="*/ 1500603 w 2350693"/>
              <a:gd name="connsiteY433" fmla="*/ 309627 h 1320064"/>
              <a:gd name="connsiteX434" fmla="*/ 1503148 w 2350693"/>
              <a:gd name="connsiteY434" fmla="*/ 316511 h 1320064"/>
              <a:gd name="connsiteX435" fmla="*/ 1505288 w 2350693"/>
              <a:gd name="connsiteY435" fmla="*/ 315817 h 1320064"/>
              <a:gd name="connsiteX436" fmla="*/ 1518014 w 2350693"/>
              <a:gd name="connsiteY436" fmla="*/ 289382 h 1320064"/>
              <a:gd name="connsiteX437" fmla="*/ 1530219 w 2350693"/>
              <a:gd name="connsiteY437" fmla="*/ 275673 h 1320064"/>
              <a:gd name="connsiteX438" fmla="*/ 1534962 w 2350693"/>
              <a:gd name="connsiteY438" fmla="*/ 276078 h 1320064"/>
              <a:gd name="connsiteX439" fmla="*/ 1536813 w 2350693"/>
              <a:gd name="connsiteY439" fmla="*/ 276078 h 1320064"/>
              <a:gd name="connsiteX440" fmla="*/ 1537797 w 2350693"/>
              <a:gd name="connsiteY440" fmla="*/ 276078 h 1320064"/>
              <a:gd name="connsiteX441" fmla="*/ 1537507 w 2350693"/>
              <a:gd name="connsiteY441" fmla="*/ 273532 h 1320064"/>
              <a:gd name="connsiteX442" fmla="*/ 1541151 w 2350693"/>
              <a:gd name="connsiteY442" fmla="*/ 264162 h 1320064"/>
              <a:gd name="connsiteX443" fmla="*/ 1543755 w 2350693"/>
              <a:gd name="connsiteY443" fmla="*/ 260575 h 1320064"/>
              <a:gd name="connsiteX444" fmla="*/ 1532995 w 2350693"/>
              <a:gd name="connsiteY444" fmla="*/ 252998 h 1320064"/>
              <a:gd name="connsiteX445" fmla="*/ 1525071 w 2350693"/>
              <a:gd name="connsiteY445" fmla="*/ 238247 h 1320064"/>
              <a:gd name="connsiteX446" fmla="*/ 1530566 w 2350693"/>
              <a:gd name="connsiteY446" fmla="*/ 224654 h 1320064"/>
              <a:gd name="connsiteX447" fmla="*/ 1544391 w 2350693"/>
              <a:gd name="connsiteY447" fmla="*/ 224133 h 1320064"/>
              <a:gd name="connsiteX448" fmla="*/ 1574180 w 2350693"/>
              <a:gd name="connsiteY448" fmla="*/ 228414 h 1320064"/>
              <a:gd name="connsiteX449" fmla="*/ 1590493 w 2350693"/>
              <a:gd name="connsiteY449" fmla="*/ 231075 h 1320064"/>
              <a:gd name="connsiteX450" fmla="*/ 1605706 w 2350693"/>
              <a:gd name="connsiteY450" fmla="*/ 237842 h 1320064"/>
              <a:gd name="connsiteX451" fmla="*/ 1625199 w 2350693"/>
              <a:gd name="connsiteY451" fmla="*/ 251320 h 1320064"/>
              <a:gd name="connsiteX452" fmla="*/ 1640181 w 2350693"/>
              <a:gd name="connsiteY452" fmla="*/ 257914 h 1320064"/>
              <a:gd name="connsiteX453" fmla="*/ 1634801 w 2350693"/>
              <a:gd name="connsiteY453" fmla="*/ 265550 h 1320064"/>
              <a:gd name="connsiteX454" fmla="*/ 1632488 w 2350693"/>
              <a:gd name="connsiteY454" fmla="*/ 267632 h 1320064"/>
              <a:gd name="connsiteX455" fmla="*/ 1636594 w 2350693"/>
              <a:gd name="connsiteY455" fmla="*/ 270987 h 1320064"/>
              <a:gd name="connsiteX456" fmla="*/ 1643362 w 2350693"/>
              <a:gd name="connsiteY456" fmla="*/ 277408 h 1320064"/>
              <a:gd name="connsiteX457" fmla="*/ 1642437 w 2350693"/>
              <a:gd name="connsiteY457" fmla="*/ 281515 h 1320064"/>
              <a:gd name="connsiteX458" fmla="*/ 1614035 w 2350693"/>
              <a:gd name="connsiteY458" fmla="*/ 291753 h 1320064"/>
              <a:gd name="connsiteX459" fmla="*/ 1610622 w 2350693"/>
              <a:gd name="connsiteY459" fmla="*/ 291348 h 1320064"/>
              <a:gd name="connsiteX460" fmla="*/ 1606978 w 2350693"/>
              <a:gd name="connsiteY460" fmla="*/ 292968 h 1320064"/>
              <a:gd name="connsiteX461" fmla="*/ 1614151 w 2350693"/>
              <a:gd name="connsiteY461" fmla="*/ 301124 h 1320064"/>
              <a:gd name="connsiteX462" fmla="*/ 1619357 w 2350693"/>
              <a:gd name="connsiteY462" fmla="*/ 310958 h 1320064"/>
              <a:gd name="connsiteX463" fmla="*/ 1623406 w 2350693"/>
              <a:gd name="connsiteY463" fmla="*/ 320618 h 1320064"/>
              <a:gd name="connsiteX464" fmla="*/ 1636999 w 2350693"/>
              <a:gd name="connsiteY464" fmla="*/ 351854 h 1320064"/>
              <a:gd name="connsiteX465" fmla="*/ 1627108 w 2350693"/>
              <a:gd name="connsiteY465" fmla="*/ 359142 h 1320064"/>
              <a:gd name="connsiteX466" fmla="*/ 1621324 w 2350693"/>
              <a:gd name="connsiteY466" fmla="*/ 362265 h 1320064"/>
              <a:gd name="connsiteX467" fmla="*/ 1619993 w 2350693"/>
              <a:gd name="connsiteY467" fmla="*/ 363712 h 1320064"/>
              <a:gd name="connsiteX468" fmla="*/ 1596046 w 2350693"/>
              <a:gd name="connsiteY468" fmla="*/ 381354 h 1320064"/>
              <a:gd name="connsiteX469" fmla="*/ 1587774 w 2350693"/>
              <a:gd name="connsiteY469" fmla="*/ 385288 h 1320064"/>
              <a:gd name="connsiteX470" fmla="*/ 1579849 w 2350693"/>
              <a:gd name="connsiteY470" fmla="*/ 388353 h 1320064"/>
              <a:gd name="connsiteX471" fmla="*/ 1571057 w 2350693"/>
              <a:gd name="connsiteY471" fmla="*/ 380197 h 1320064"/>
              <a:gd name="connsiteX472" fmla="*/ 1561570 w 2350693"/>
              <a:gd name="connsiteY472" fmla="*/ 371868 h 1320064"/>
              <a:gd name="connsiteX473" fmla="*/ 1552258 w 2350693"/>
              <a:gd name="connsiteY473" fmla="*/ 363827 h 1320064"/>
              <a:gd name="connsiteX474" fmla="*/ 1548266 w 2350693"/>
              <a:gd name="connsiteY474" fmla="*/ 361224 h 1320064"/>
              <a:gd name="connsiteX475" fmla="*/ 1543697 w 2350693"/>
              <a:gd name="connsiteY475" fmla="*/ 364348 h 1320064"/>
              <a:gd name="connsiteX476" fmla="*/ 1548845 w 2350693"/>
              <a:gd name="connsiteY476" fmla="*/ 369554 h 1320064"/>
              <a:gd name="connsiteX477" fmla="*/ 1567818 w 2350693"/>
              <a:gd name="connsiteY477" fmla="*/ 388295 h 1320064"/>
              <a:gd name="connsiteX478" fmla="*/ 1563537 w 2350693"/>
              <a:gd name="connsiteY478" fmla="*/ 391130 h 1320064"/>
              <a:gd name="connsiteX479" fmla="*/ 1551448 w 2350693"/>
              <a:gd name="connsiteY479" fmla="*/ 393212 h 1320064"/>
              <a:gd name="connsiteX480" fmla="*/ 1538780 w 2350693"/>
              <a:gd name="connsiteY480" fmla="*/ 395410 h 1320064"/>
              <a:gd name="connsiteX481" fmla="*/ 1533632 w 2350693"/>
              <a:gd name="connsiteY481" fmla="*/ 393733 h 1320064"/>
              <a:gd name="connsiteX482" fmla="*/ 1531549 w 2350693"/>
              <a:gd name="connsiteY482" fmla="*/ 391014 h 1320064"/>
              <a:gd name="connsiteX483" fmla="*/ 1516915 w 2350693"/>
              <a:gd name="connsiteY483" fmla="*/ 381412 h 1320064"/>
              <a:gd name="connsiteX484" fmla="*/ 1495454 w 2350693"/>
              <a:gd name="connsiteY484" fmla="*/ 386791 h 1320064"/>
              <a:gd name="connsiteX485" fmla="*/ 1496438 w 2350693"/>
              <a:gd name="connsiteY485" fmla="*/ 388469 h 1320064"/>
              <a:gd name="connsiteX486" fmla="*/ 1504825 w 2350693"/>
              <a:gd name="connsiteY486" fmla="*/ 392981 h 1320064"/>
              <a:gd name="connsiteX487" fmla="*/ 1515295 w 2350693"/>
              <a:gd name="connsiteY487" fmla="*/ 400848 h 1320064"/>
              <a:gd name="connsiteX488" fmla="*/ 1512114 w 2350693"/>
              <a:gd name="connsiteY488" fmla="*/ 405996 h 1320064"/>
              <a:gd name="connsiteX489" fmla="*/ 1502049 w 2350693"/>
              <a:gd name="connsiteY489" fmla="*/ 414904 h 1320064"/>
              <a:gd name="connsiteX490" fmla="*/ 1470755 w 2350693"/>
              <a:gd name="connsiteY490" fmla="*/ 435901 h 1320064"/>
              <a:gd name="connsiteX491" fmla="*/ 1470177 w 2350693"/>
              <a:gd name="connsiteY491" fmla="*/ 435901 h 1320064"/>
              <a:gd name="connsiteX492" fmla="*/ 1442990 w 2350693"/>
              <a:gd name="connsiteY492" fmla="*/ 422713 h 1320064"/>
              <a:gd name="connsiteX493" fmla="*/ 1415629 w 2350693"/>
              <a:gd name="connsiteY493" fmla="*/ 409235 h 1320064"/>
              <a:gd name="connsiteX494" fmla="*/ 1406721 w 2350693"/>
              <a:gd name="connsiteY494" fmla="*/ 411549 h 1320064"/>
              <a:gd name="connsiteX495" fmla="*/ 1414588 w 2350693"/>
              <a:gd name="connsiteY495" fmla="*/ 422366 h 1320064"/>
              <a:gd name="connsiteX496" fmla="*/ 1455079 w 2350693"/>
              <a:gd name="connsiteY496" fmla="*/ 438157 h 1320064"/>
              <a:gd name="connsiteX497" fmla="*/ 1460864 w 2350693"/>
              <a:gd name="connsiteY497" fmla="*/ 438157 h 1320064"/>
              <a:gd name="connsiteX498" fmla="*/ 1467631 w 2350693"/>
              <a:gd name="connsiteY498" fmla="*/ 437868 h 1320064"/>
              <a:gd name="connsiteX499" fmla="*/ 1487819 w 2350693"/>
              <a:gd name="connsiteY499" fmla="*/ 444867 h 1320064"/>
              <a:gd name="connsiteX500" fmla="*/ 1482787 w 2350693"/>
              <a:gd name="connsiteY500" fmla="*/ 453544 h 1320064"/>
              <a:gd name="connsiteX501" fmla="*/ 1467863 w 2350693"/>
              <a:gd name="connsiteY501" fmla="*/ 470434 h 1320064"/>
              <a:gd name="connsiteX502" fmla="*/ 1443684 w 2350693"/>
              <a:gd name="connsiteY502" fmla="*/ 493572 h 1320064"/>
              <a:gd name="connsiteX503" fmla="*/ 1438941 w 2350693"/>
              <a:gd name="connsiteY503" fmla="*/ 494093 h 1320064"/>
              <a:gd name="connsiteX504" fmla="*/ 1417480 w 2350693"/>
              <a:gd name="connsiteY504" fmla="*/ 488713 h 1320064"/>
              <a:gd name="connsiteX505" fmla="*/ 1405911 w 2350693"/>
              <a:gd name="connsiteY505" fmla="*/ 485358 h 1320064"/>
              <a:gd name="connsiteX506" fmla="*/ 1404118 w 2350693"/>
              <a:gd name="connsiteY506" fmla="*/ 486168 h 1320064"/>
              <a:gd name="connsiteX507" fmla="*/ 1404118 w 2350693"/>
              <a:gd name="connsiteY507" fmla="*/ 494671 h 1320064"/>
              <a:gd name="connsiteX508" fmla="*/ 1402730 w 2350693"/>
              <a:gd name="connsiteY508" fmla="*/ 507860 h 1320064"/>
              <a:gd name="connsiteX509" fmla="*/ 1396367 w 2350693"/>
              <a:gd name="connsiteY509" fmla="*/ 510578 h 1320064"/>
              <a:gd name="connsiteX510" fmla="*/ 1394343 w 2350693"/>
              <a:gd name="connsiteY510" fmla="*/ 510578 h 1320064"/>
              <a:gd name="connsiteX511" fmla="*/ 1386592 w 2350693"/>
              <a:gd name="connsiteY511" fmla="*/ 510867 h 1320064"/>
              <a:gd name="connsiteX512" fmla="*/ 1363165 w 2350693"/>
              <a:gd name="connsiteY512" fmla="*/ 505546 h 1320064"/>
              <a:gd name="connsiteX513" fmla="*/ 1308502 w 2350693"/>
              <a:gd name="connsiteY513" fmla="*/ 492704 h 1320064"/>
              <a:gd name="connsiteX514" fmla="*/ 1302717 w 2350693"/>
              <a:gd name="connsiteY514" fmla="*/ 494093 h 1320064"/>
              <a:gd name="connsiteX515" fmla="*/ 1318509 w 2350693"/>
              <a:gd name="connsiteY515" fmla="*/ 499241 h 1320064"/>
              <a:gd name="connsiteX516" fmla="*/ 1345811 w 2350693"/>
              <a:gd name="connsiteY516" fmla="*/ 512371 h 1320064"/>
              <a:gd name="connsiteX517" fmla="*/ 1362123 w 2350693"/>
              <a:gd name="connsiteY517" fmla="*/ 518156 h 1320064"/>
              <a:gd name="connsiteX518" fmla="*/ 1385261 w 2350693"/>
              <a:gd name="connsiteY518" fmla="*/ 527585 h 1320064"/>
              <a:gd name="connsiteX519" fmla="*/ 1382889 w 2350693"/>
              <a:gd name="connsiteY519" fmla="*/ 537939 h 1320064"/>
              <a:gd name="connsiteX520" fmla="*/ 1352637 w 2350693"/>
              <a:gd name="connsiteY520" fmla="*/ 547714 h 1320064"/>
              <a:gd name="connsiteX521" fmla="*/ 1338523 w 2350693"/>
              <a:gd name="connsiteY521" fmla="*/ 549970 h 1320064"/>
              <a:gd name="connsiteX522" fmla="*/ 1340721 w 2350693"/>
              <a:gd name="connsiteY522" fmla="*/ 553672 h 1320064"/>
              <a:gd name="connsiteX523" fmla="*/ 1342803 w 2350693"/>
              <a:gd name="connsiteY523" fmla="*/ 557606 h 1320064"/>
              <a:gd name="connsiteX524" fmla="*/ 1339680 w 2350693"/>
              <a:gd name="connsiteY524" fmla="*/ 559399 h 1320064"/>
              <a:gd name="connsiteX525" fmla="*/ 1334358 w 2350693"/>
              <a:gd name="connsiteY525" fmla="*/ 563216 h 1320064"/>
              <a:gd name="connsiteX526" fmla="*/ 1334358 w 2350693"/>
              <a:gd name="connsiteY526" fmla="*/ 563911 h 1320064"/>
              <a:gd name="connsiteX527" fmla="*/ 1322095 w 2350693"/>
              <a:gd name="connsiteY527" fmla="*/ 576231 h 1320064"/>
              <a:gd name="connsiteX528" fmla="*/ 1317583 w 2350693"/>
              <a:gd name="connsiteY528" fmla="*/ 585371 h 1320064"/>
              <a:gd name="connsiteX529" fmla="*/ 1311278 w 2350693"/>
              <a:gd name="connsiteY529" fmla="*/ 597402 h 1320064"/>
              <a:gd name="connsiteX530" fmla="*/ 1292768 w 2350693"/>
              <a:gd name="connsiteY530" fmla="*/ 612037 h 1320064"/>
              <a:gd name="connsiteX531" fmla="*/ 1284207 w 2350693"/>
              <a:gd name="connsiteY531" fmla="*/ 633497 h 1320064"/>
              <a:gd name="connsiteX532" fmla="*/ 1273969 w 2350693"/>
              <a:gd name="connsiteY532" fmla="*/ 657676 h 1320064"/>
              <a:gd name="connsiteX533" fmla="*/ 1274663 w 2350693"/>
              <a:gd name="connsiteY533" fmla="*/ 708001 h 1320064"/>
              <a:gd name="connsiteX534" fmla="*/ 1299825 w 2350693"/>
              <a:gd name="connsiteY534" fmla="*/ 715405 h 1320064"/>
              <a:gd name="connsiteX535" fmla="*/ 1304163 w 2350693"/>
              <a:gd name="connsiteY535" fmla="*/ 715058 h 1320064"/>
              <a:gd name="connsiteX536" fmla="*/ 1325450 w 2350693"/>
              <a:gd name="connsiteY536" fmla="*/ 739526 h 1320064"/>
              <a:gd name="connsiteX537" fmla="*/ 1332160 w 2350693"/>
              <a:gd name="connsiteY537" fmla="*/ 756359 h 1320064"/>
              <a:gd name="connsiteX538" fmla="*/ 1337366 w 2350693"/>
              <a:gd name="connsiteY538" fmla="*/ 775042 h 1320064"/>
              <a:gd name="connsiteX539" fmla="*/ 1332334 w 2350693"/>
              <a:gd name="connsiteY539" fmla="*/ 786611 h 1320064"/>
              <a:gd name="connsiteX540" fmla="*/ 1332681 w 2350693"/>
              <a:gd name="connsiteY540" fmla="*/ 786611 h 1320064"/>
              <a:gd name="connsiteX541" fmla="*/ 1342861 w 2350693"/>
              <a:gd name="connsiteY541" fmla="*/ 783198 h 1320064"/>
              <a:gd name="connsiteX542" fmla="*/ 1373345 w 2350693"/>
              <a:gd name="connsiteY542" fmla="*/ 774464 h 1320064"/>
              <a:gd name="connsiteX543" fmla="*/ 1394748 w 2350693"/>
              <a:gd name="connsiteY543" fmla="*/ 782794 h 1320064"/>
              <a:gd name="connsiteX544" fmla="*/ 1409556 w 2350693"/>
              <a:gd name="connsiteY544" fmla="*/ 789041 h 1320064"/>
              <a:gd name="connsiteX545" fmla="*/ 1413547 w 2350693"/>
              <a:gd name="connsiteY545" fmla="*/ 788751 h 1320064"/>
              <a:gd name="connsiteX546" fmla="*/ 1440329 w 2350693"/>
              <a:gd name="connsiteY546" fmla="*/ 796676 h 1320064"/>
              <a:gd name="connsiteX547" fmla="*/ 1451898 w 2350693"/>
              <a:gd name="connsiteY547" fmla="*/ 803502 h 1320064"/>
              <a:gd name="connsiteX548" fmla="*/ 1465028 w 2350693"/>
              <a:gd name="connsiteY548" fmla="*/ 812178 h 1320064"/>
              <a:gd name="connsiteX549" fmla="*/ 1493314 w 2350693"/>
              <a:gd name="connsiteY549" fmla="*/ 831441 h 1320064"/>
              <a:gd name="connsiteX550" fmla="*/ 1531376 w 2350693"/>
              <a:gd name="connsiteY550" fmla="*/ 849835 h 1320064"/>
              <a:gd name="connsiteX551" fmla="*/ 1559025 w 2350693"/>
              <a:gd name="connsiteY551" fmla="*/ 855041 h 1320064"/>
              <a:gd name="connsiteX552" fmla="*/ 1565562 w 2350693"/>
              <a:gd name="connsiteY552" fmla="*/ 855041 h 1320064"/>
              <a:gd name="connsiteX553" fmla="*/ 1585807 w 2350693"/>
              <a:gd name="connsiteY553" fmla="*/ 856545 h 1320064"/>
              <a:gd name="connsiteX554" fmla="*/ 1600268 w 2350693"/>
              <a:gd name="connsiteY554" fmla="*/ 857702 h 1320064"/>
              <a:gd name="connsiteX555" fmla="*/ 1615655 w 2350693"/>
              <a:gd name="connsiteY555" fmla="*/ 866147 h 1320064"/>
              <a:gd name="connsiteX556" fmla="*/ 1616407 w 2350693"/>
              <a:gd name="connsiteY556" fmla="*/ 876328 h 1320064"/>
              <a:gd name="connsiteX557" fmla="*/ 1613399 w 2350693"/>
              <a:gd name="connsiteY557" fmla="*/ 897036 h 1320064"/>
              <a:gd name="connsiteX558" fmla="*/ 1615597 w 2350693"/>
              <a:gd name="connsiteY558" fmla="*/ 930644 h 1320064"/>
              <a:gd name="connsiteX559" fmla="*/ 1615308 w 2350693"/>
              <a:gd name="connsiteY559" fmla="*/ 939378 h 1320064"/>
              <a:gd name="connsiteX560" fmla="*/ 1624794 w 2350693"/>
              <a:gd name="connsiteY560" fmla="*/ 951468 h 1320064"/>
              <a:gd name="connsiteX561" fmla="*/ 1634107 w 2350693"/>
              <a:gd name="connsiteY561" fmla="*/ 963615 h 1320064"/>
              <a:gd name="connsiteX562" fmla="*/ 1644056 w 2350693"/>
              <a:gd name="connsiteY562" fmla="*/ 975184 h 1320064"/>
              <a:gd name="connsiteX563" fmla="*/ 1653080 w 2350693"/>
              <a:gd name="connsiteY563" fmla="*/ 981373 h 1320064"/>
              <a:gd name="connsiteX564" fmla="*/ 1661121 w 2350693"/>
              <a:gd name="connsiteY564" fmla="*/ 997107 h 1320064"/>
              <a:gd name="connsiteX565" fmla="*/ 1661641 w 2350693"/>
              <a:gd name="connsiteY565" fmla="*/ 999941 h 1320064"/>
              <a:gd name="connsiteX566" fmla="*/ 1662335 w 2350693"/>
              <a:gd name="connsiteY566" fmla="*/ 999941 h 1320064"/>
              <a:gd name="connsiteX567" fmla="*/ 1672747 w 2350693"/>
              <a:gd name="connsiteY567" fmla="*/ 1004916 h 1320064"/>
              <a:gd name="connsiteX568" fmla="*/ 1683506 w 2350693"/>
              <a:gd name="connsiteY568" fmla="*/ 1010122 h 1320064"/>
              <a:gd name="connsiteX569" fmla="*/ 1683853 w 2350693"/>
              <a:gd name="connsiteY569" fmla="*/ 1010122 h 1320064"/>
              <a:gd name="connsiteX570" fmla="*/ 1683853 w 2350693"/>
              <a:gd name="connsiteY570" fmla="*/ 1009659 h 1320064"/>
              <a:gd name="connsiteX571" fmla="*/ 1696753 w 2350693"/>
              <a:gd name="connsiteY571" fmla="*/ 990455 h 1320064"/>
              <a:gd name="connsiteX572" fmla="*/ 1700744 w 2350693"/>
              <a:gd name="connsiteY572" fmla="*/ 991785 h 1320064"/>
              <a:gd name="connsiteX573" fmla="*/ 1705024 w 2350693"/>
              <a:gd name="connsiteY573" fmla="*/ 994908 h 1320064"/>
              <a:gd name="connsiteX574" fmla="*/ 1710809 w 2350693"/>
              <a:gd name="connsiteY574" fmla="*/ 998379 h 1320064"/>
              <a:gd name="connsiteX575" fmla="*/ 1711387 w 2350693"/>
              <a:gd name="connsiteY575" fmla="*/ 993983 h 1320064"/>
              <a:gd name="connsiteX576" fmla="*/ 1706644 w 2350693"/>
              <a:gd name="connsiteY576" fmla="*/ 987273 h 1320064"/>
              <a:gd name="connsiteX577" fmla="*/ 1703925 w 2350693"/>
              <a:gd name="connsiteY577" fmla="*/ 984381 h 1320064"/>
              <a:gd name="connsiteX578" fmla="*/ 1707511 w 2350693"/>
              <a:gd name="connsiteY578" fmla="*/ 979117 h 1320064"/>
              <a:gd name="connsiteX579" fmla="*/ 1713296 w 2350693"/>
              <a:gd name="connsiteY579" fmla="*/ 957599 h 1320064"/>
              <a:gd name="connsiteX580" fmla="*/ 1708148 w 2350693"/>
              <a:gd name="connsiteY580" fmla="*/ 939436 h 1320064"/>
              <a:gd name="connsiteX581" fmla="*/ 1705313 w 2350693"/>
              <a:gd name="connsiteY581" fmla="*/ 924686 h 1320064"/>
              <a:gd name="connsiteX582" fmla="*/ 1703289 w 2350693"/>
              <a:gd name="connsiteY582" fmla="*/ 911960 h 1320064"/>
              <a:gd name="connsiteX583" fmla="*/ 1698257 w 2350693"/>
              <a:gd name="connsiteY583" fmla="*/ 897730 h 1320064"/>
              <a:gd name="connsiteX584" fmla="*/ 1687555 w 2350693"/>
              <a:gd name="connsiteY584" fmla="*/ 872279 h 1320064"/>
              <a:gd name="connsiteX585" fmla="*/ 1691720 w 2350693"/>
              <a:gd name="connsiteY585" fmla="*/ 869213 h 1320064"/>
              <a:gd name="connsiteX586" fmla="*/ 1695653 w 2350693"/>
              <a:gd name="connsiteY586" fmla="*/ 869213 h 1320064"/>
              <a:gd name="connsiteX587" fmla="*/ 1729145 w 2350693"/>
              <a:gd name="connsiteY587" fmla="*/ 855793 h 1320064"/>
              <a:gd name="connsiteX588" fmla="*/ 1747250 w 2350693"/>
              <a:gd name="connsiteY588" fmla="*/ 841563 h 1320064"/>
              <a:gd name="connsiteX589" fmla="*/ 1767612 w 2350693"/>
              <a:gd name="connsiteY589" fmla="*/ 818426 h 1320064"/>
              <a:gd name="connsiteX590" fmla="*/ 1761827 w 2350693"/>
              <a:gd name="connsiteY590" fmla="*/ 759193 h 1320064"/>
              <a:gd name="connsiteX591" fmla="*/ 1731286 w 2350693"/>
              <a:gd name="connsiteY591" fmla="*/ 733684 h 1320064"/>
              <a:gd name="connsiteX592" fmla="*/ 1720816 w 2350693"/>
              <a:gd name="connsiteY592" fmla="*/ 726685 h 1320064"/>
              <a:gd name="connsiteX593" fmla="*/ 1729840 w 2350693"/>
              <a:gd name="connsiteY593" fmla="*/ 699093 h 1320064"/>
              <a:gd name="connsiteX594" fmla="*/ 1734467 w 2350693"/>
              <a:gd name="connsiteY594" fmla="*/ 686714 h 1320064"/>
              <a:gd name="connsiteX595" fmla="*/ 1738227 w 2350693"/>
              <a:gd name="connsiteY595" fmla="*/ 680004 h 1320064"/>
              <a:gd name="connsiteX596" fmla="*/ 1742218 w 2350693"/>
              <a:gd name="connsiteY596" fmla="*/ 679252 h 1320064"/>
              <a:gd name="connsiteX597" fmla="*/ 1748350 w 2350693"/>
              <a:gd name="connsiteY597" fmla="*/ 667683 h 1320064"/>
              <a:gd name="connsiteX598" fmla="*/ 1742565 w 2350693"/>
              <a:gd name="connsiteY598" fmla="*/ 653164 h 1320064"/>
              <a:gd name="connsiteX599" fmla="*/ 1737417 w 2350693"/>
              <a:gd name="connsiteY599" fmla="*/ 643042 h 1320064"/>
              <a:gd name="connsiteX600" fmla="*/ 1731633 w 2350693"/>
              <a:gd name="connsiteY600" fmla="*/ 633440 h 1320064"/>
              <a:gd name="connsiteX601" fmla="*/ 1730262 w 2350693"/>
              <a:gd name="connsiteY601" fmla="*/ 623884 h 1320064"/>
              <a:gd name="connsiteX602" fmla="*/ 1732674 w 2350693"/>
              <a:gd name="connsiteY602" fmla="*/ 621871 h 1320064"/>
              <a:gd name="connsiteX603" fmla="*/ 1737128 w 2350693"/>
              <a:gd name="connsiteY603" fmla="*/ 615045 h 1320064"/>
              <a:gd name="connsiteX604" fmla="*/ 1741871 w 2350693"/>
              <a:gd name="connsiteY604" fmla="*/ 608046 h 1320064"/>
              <a:gd name="connsiteX605" fmla="*/ 1743896 w 2350693"/>
              <a:gd name="connsiteY605" fmla="*/ 602261 h 1320064"/>
              <a:gd name="connsiteX606" fmla="*/ 1736723 w 2350693"/>
              <a:gd name="connsiteY606" fmla="*/ 595841 h 1320064"/>
              <a:gd name="connsiteX607" fmla="*/ 1726907 w 2350693"/>
              <a:gd name="connsiteY607" fmla="*/ 575873 h 1320064"/>
              <a:gd name="connsiteX608" fmla="*/ 1733831 w 2350693"/>
              <a:gd name="connsiteY608" fmla="*/ 567381 h 1320064"/>
              <a:gd name="connsiteX609" fmla="*/ 1737764 w 2350693"/>
              <a:gd name="connsiteY609" fmla="*/ 562869 h 1320064"/>
              <a:gd name="connsiteX610" fmla="*/ 1750548 w 2350693"/>
              <a:gd name="connsiteY610" fmla="*/ 558300 h 1320064"/>
              <a:gd name="connsiteX611" fmla="*/ 1775536 w 2350693"/>
              <a:gd name="connsiteY611" fmla="*/ 562002 h 1320064"/>
              <a:gd name="connsiteX612" fmla="*/ 1789593 w 2350693"/>
              <a:gd name="connsiteY612" fmla="*/ 568480 h 1320064"/>
              <a:gd name="connsiteX613" fmla="*/ 1793931 w 2350693"/>
              <a:gd name="connsiteY613" fmla="*/ 570505 h 1320064"/>
              <a:gd name="connsiteX614" fmla="*/ 1796361 w 2350693"/>
              <a:gd name="connsiteY614" fmla="*/ 569464 h 1320064"/>
              <a:gd name="connsiteX615" fmla="*/ 1800352 w 2350693"/>
              <a:gd name="connsiteY615" fmla="*/ 568249 h 1320064"/>
              <a:gd name="connsiteX616" fmla="*/ 1811053 w 2350693"/>
              <a:gd name="connsiteY616" fmla="*/ 571199 h 1320064"/>
              <a:gd name="connsiteX617" fmla="*/ 1821407 w 2350693"/>
              <a:gd name="connsiteY617" fmla="*/ 573571 h 1320064"/>
              <a:gd name="connsiteX618" fmla="*/ 1825456 w 2350693"/>
              <a:gd name="connsiteY618" fmla="*/ 571546 h 1320064"/>
              <a:gd name="connsiteX619" fmla="*/ 1849288 w 2350693"/>
              <a:gd name="connsiteY619" fmla="*/ 564431 h 1320064"/>
              <a:gd name="connsiteX620" fmla="*/ 1860857 w 2350693"/>
              <a:gd name="connsiteY620" fmla="*/ 570216 h 1320064"/>
              <a:gd name="connsiteX621" fmla="*/ 1868550 w 2350693"/>
              <a:gd name="connsiteY621" fmla="*/ 574207 h 1320064"/>
              <a:gd name="connsiteX622" fmla="*/ 1881102 w 2350693"/>
              <a:gd name="connsiteY622" fmla="*/ 586239 h 1320064"/>
              <a:gd name="connsiteX623" fmla="*/ 1884631 w 2350693"/>
              <a:gd name="connsiteY623" fmla="*/ 588784 h 1320064"/>
              <a:gd name="connsiteX624" fmla="*/ 1894349 w 2350693"/>
              <a:gd name="connsiteY624" fmla="*/ 595552 h 1320064"/>
              <a:gd name="connsiteX625" fmla="*/ 1900712 w 2350693"/>
              <a:gd name="connsiteY625" fmla="*/ 602377 h 1320064"/>
              <a:gd name="connsiteX626" fmla="*/ 1907132 w 2350693"/>
              <a:gd name="connsiteY626" fmla="*/ 611517 h 1320064"/>
              <a:gd name="connsiteX627" fmla="*/ 1934897 w 2350693"/>
              <a:gd name="connsiteY627" fmla="*/ 622160 h 1320064"/>
              <a:gd name="connsiteX628" fmla="*/ 1938657 w 2350693"/>
              <a:gd name="connsiteY628" fmla="*/ 622160 h 1320064"/>
              <a:gd name="connsiteX629" fmla="*/ 1946929 w 2350693"/>
              <a:gd name="connsiteY629" fmla="*/ 626672 h 1320064"/>
              <a:gd name="connsiteX630" fmla="*/ 1953234 w 2350693"/>
              <a:gd name="connsiteY630" fmla="*/ 628465 h 1320064"/>
              <a:gd name="connsiteX631" fmla="*/ 1963415 w 2350693"/>
              <a:gd name="connsiteY631" fmla="*/ 624763 h 1320064"/>
              <a:gd name="connsiteX632" fmla="*/ 1969535 w 2350693"/>
              <a:gd name="connsiteY632" fmla="*/ 630189 h 1320064"/>
              <a:gd name="connsiteX633" fmla="*/ 1969546 w 2350693"/>
              <a:gd name="connsiteY633" fmla="*/ 630547 h 1320064"/>
              <a:gd name="connsiteX634" fmla="*/ 1966075 w 2350693"/>
              <a:gd name="connsiteY634" fmla="*/ 637026 h 1320064"/>
              <a:gd name="connsiteX635" fmla="*/ 1960291 w 2350693"/>
              <a:gd name="connsiteY635" fmla="*/ 653454 h 1320064"/>
              <a:gd name="connsiteX636" fmla="*/ 1963704 w 2350693"/>
              <a:gd name="connsiteY636" fmla="*/ 669245 h 1320064"/>
              <a:gd name="connsiteX637" fmla="*/ 1962894 w 2350693"/>
              <a:gd name="connsiteY637" fmla="*/ 685268 h 1320064"/>
              <a:gd name="connsiteX638" fmla="*/ 1961968 w 2350693"/>
              <a:gd name="connsiteY638" fmla="*/ 686714 h 1320064"/>
              <a:gd name="connsiteX639" fmla="*/ 1966654 w 2350693"/>
              <a:gd name="connsiteY639" fmla="*/ 691342 h 1320064"/>
              <a:gd name="connsiteX640" fmla="*/ 1974174 w 2350693"/>
              <a:gd name="connsiteY640" fmla="*/ 703547 h 1320064"/>
              <a:gd name="connsiteX641" fmla="*/ 1974174 w 2350693"/>
              <a:gd name="connsiteY641" fmla="*/ 709331 h 1320064"/>
              <a:gd name="connsiteX642" fmla="*/ 1983545 w 2350693"/>
              <a:gd name="connsiteY642" fmla="*/ 711876 h 1320064"/>
              <a:gd name="connsiteX643" fmla="*/ 1987478 w 2350693"/>
              <a:gd name="connsiteY643" fmla="*/ 711876 h 1320064"/>
              <a:gd name="connsiteX644" fmla="*/ 1998064 w 2350693"/>
              <a:gd name="connsiteY644" fmla="*/ 721363 h 1320064"/>
              <a:gd name="connsiteX645" fmla="*/ 2001303 w 2350693"/>
              <a:gd name="connsiteY645" fmla="*/ 725990 h 1320064"/>
              <a:gd name="connsiteX646" fmla="*/ 2002633 w 2350693"/>
              <a:gd name="connsiteY646" fmla="*/ 725412 h 1320064"/>
              <a:gd name="connsiteX647" fmla="*/ 2005583 w 2350693"/>
              <a:gd name="connsiteY647" fmla="*/ 724313 h 1320064"/>
              <a:gd name="connsiteX648" fmla="*/ 2011368 w 2350693"/>
              <a:gd name="connsiteY648" fmla="*/ 730097 h 1320064"/>
              <a:gd name="connsiteX649" fmla="*/ 2017962 w 2350693"/>
              <a:gd name="connsiteY649" fmla="*/ 737096 h 1320064"/>
              <a:gd name="connsiteX650" fmla="*/ 2018714 w 2350693"/>
              <a:gd name="connsiteY650" fmla="*/ 737096 h 1320064"/>
              <a:gd name="connsiteX651" fmla="*/ 2043992 w 2350693"/>
              <a:gd name="connsiteY651" fmla="*/ 722404 h 1320064"/>
              <a:gd name="connsiteX652" fmla="*/ 2052547 w 2350693"/>
              <a:gd name="connsiteY652" fmla="*/ 713606 h 1320064"/>
              <a:gd name="connsiteX653" fmla="*/ 2052958 w 2350693"/>
              <a:gd name="connsiteY653" fmla="*/ 713612 h 1320064"/>
              <a:gd name="connsiteX654" fmla="*/ 2062444 w 2350693"/>
              <a:gd name="connsiteY654" fmla="*/ 719396 h 1320064"/>
              <a:gd name="connsiteX655" fmla="*/ 2063080 w 2350693"/>
              <a:gd name="connsiteY655" fmla="*/ 720437 h 1320064"/>
              <a:gd name="connsiteX656" fmla="*/ 2063428 w 2350693"/>
              <a:gd name="connsiteY656" fmla="*/ 718702 h 1320064"/>
              <a:gd name="connsiteX657" fmla="*/ 2071178 w 2350693"/>
              <a:gd name="connsiteY657" fmla="*/ 708521 h 1320064"/>
              <a:gd name="connsiteX658" fmla="*/ 2073955 w 2350693"/>
              <a:gd name="connsiteY658" fmla="*/ 707769 h 1320064"/>
              <a:gd name="connsiteX659" fmla="*/ 2073955 w 2350693"/>
              <a:gd name="connsiteY659" fmla="*/ 703720 h 1320064"/>
              <a:gd name="connsiteX660" fmla="*/ 2075748 w 2350693"/>
              <a:gd name="connsiteY660" fmla="*/ 693771 h 1320064"/>
              <a:gd name="connsiteX661" fmla="*/ 2079277 w 2350693"/>
              <a:gd name="connsiteY661" fmla="*/ 690358 h 1320064"/>
              <a:gd name="connsiteX662" fmla="*/ 2079277 w 2350693"/>
              <a:gd name="connsiteY662" fmla="*/ 678789 h 1320064"/>
              <a:gd name="connsiteX663" fmla="*/ 2078409 w 2350693"/>
              <a:gd name="connsiteY663" fmla="*/ 676129 h 1320064"/>
              <a:gd name="connsiteX664" fmla="*/ 2082053 w 2350693"/>
              <a:gd name="connsiteY664" fmla="*/ 672253 h 1320064"/>
              <a:gd name="connsiteX665" fmla="*/ 2091771 w 2350693"/>
              <a:gd name="connsiteY665" fmla="*/ 659065 h 1320064"/>
              <a:gd name="connsiteX666" fmla="*/ 2100679 w 2350693"/>
              <a:gd name="connsiteY666" fmla="*/ 643678 h 1320064"/>
              <a:gd name="connsiteX667" fmla="*/ 2106059 w 2350693"/>
              <a:gd name="connsiteY667" fmla="*/ 649925 h 1320064"/>
              <a:gd name="connsiteX668" fmla="*/ 2113289 w 2350693"/>
              <a:gd name="connsiteY668" fmla="*/ 661494 h 1320064"/>
              <a:gd name="connsiteX669" fmla="*/ 2120057 w 2350693"/>
              <a:gd name="connsiteY669" fmla="*/ 674798 h 1320064"/>
              <a:gd name="connsiteX670" fmla="*/ 2129601 w 2350693"/>
              <a:gd name="connsiteY670" fmla="*/ 689953 h 1320064"/>
              <a:gd name="connsiteX671" fmla="*/ 2138856 w 2350693"/>
              <a:gd name="connsiteY671" fmla="*/ 705166 h 1320064"/>
              <a:gd name="connsiteX672" fmla="*/ 2144294 w 2350693"/>
              <a:gd name="connsiteY672" fmla="*/ 715868 h 1320064"/>
              <a:gd name="connsiteX673" fmla="*/ 2149153 w 2350693"/>
              <a:gd name="connsiteY673" fmla="*/ 725875 h 1320064"/>
              <a:gd name="connsiteX674" fmla="*/ 2153722 w 2350693"/>
              <a:gd name="connsiteY674" fmla="*/ 732758 h 1320064"/>
              <a:gd name="connsiteX675" fmla="*/ 2159507 w 2350693"/>
              <a:gd name="connsiteY675" fmla="*/ 741377 h 1320064"/>
              <a:gd name="connsiteX676" fmla="*/ 2167779 w 2350693"/>
              <a:gd name="connsiteY676" fmla="*/ 749996 h 1320064"/>
              <a:gd name="connsiteX677" fmla="*/ 2177091 w 2350693"/>
              <a:gd name="connsiteY677" fmla="*/ 761565 h 1320064"/>
              <a:gd name="connsiteX678" fmla="*/ 2177728 w 2350693"/>
              <a:gd name="connsiteY678" fmla="*/ 773538 h 1320064"/>
              <a:gd name="connsiteX679" fmla="*/ 2179752 w 2350693"/>
              <a:gd name="connsiteY679" fmla="*/ 774753 h 1320064"/>
              <a:gd name="connsiteX680" fmla="*/ 2191726 w 2350693"/>
              <a:gd name="connsiteY680" fmla="*/ 782446 h 1320064"/>
              <a:gd name="connsiteX681" fmla="*/ 2191726 w 2350693"/>
              <a:gd name="connsiteY681" fmla="*/ 788578 h 1320064"/>
              <a:gd name="connsiteX682" fmla="*/ 2173910 w 2350693"/>
              <a:gd name="connsiteY682" fmla="*/ 802923 h 1320064"/>
              <a:gd name="connsiteX683" fmla="*/ 2168126 w 2350693"/>
              <a:gd name="connsiteY683" fmla="*/ 801014 h 1320064"/>
              <a:gd name="connsiteX684" fmla="*/ 2162630 w 2350693"/>
              <a:gd name="connsiteY684" fmla="*/ 799163 h 1320064"/>
              <a:gd name="connsiteX685" fmla="*/ 2158697 w 2350693"/>
              <a:gd name="connsiteY685" fmla="*/ 801130 h 1320064"/>
              <a:gd name="connsiteX686" fmla="*/ 2166101 w 2350693"/>
              <a:gd name="connsiteY686" fmla="*/ 806336 h 1320064"/>
              <a:gd name="connsiteX687" fmla="*/ 2212897 w 2350693"/>
              <a:gd name="connsiteY687" fmla="*/ 842142 h 1320064"/>
              <a:gd name="connsiteX688" fmla="*/ 2230597 w 2350693"/>
              <a:gd name="connsiteY688" fmla="*/ 854867 h 1320064"/>
              <a:gd name="connsiteX689" fmla="*/ 2235283 w 2350693"/>
              <a:gd name="connsiteY689" fmla="*/ 853248 h 1320064"/>
              <a:gd name="connsiteX690" fmla="*/ 2241067 w 2350693"/>
              <a:gd name="connsiteY690" fmla="*/ 856834 h 1320064"/>
              <a:gd name="connsiteX691" fmla="*/ 2246852 w 2350693"/>
              <a:gd name="connsiteY691" fmla="*/ 857991 h 1320064"/>
              <a:gd name="connsiteX692" fmla="*/ 2250727 w 2350693"/>
              <a:gd name="connsiteY692" fmla="*/ 856661 h 1320064"/>
              <a:gd name="connsiteX693" fmla="*/ 2261544 w 2350693"/>
              <a:gd name="connsiteY693" fmla="*/ 862734 h 1320064"/>
              <a:gd name="connsiteX694" fmla="*/ 2275774 w 2350693"/>
              <a:gd name="connsiteY694" fmla="*/ 870196 h 1320064"/>
              <a:gd name="connsiteX695" fmla="*/ 2278146 w 2350693"/>
              <a:gd name="connsiteY695" fmla="*/ 869907 h 1320064"/>
              <a:gd name="connsiteX696" fmla="*/ 2299432 w 2350693"/>
              <a:gd name="connsiteY696" fmla="*/ 876906 h 1320064"/>
              <a:gd name="connsiteX697" fmla="*/ 2299432 w 2350693"/>
              <a:gd name="connsiteY697" fmla="*/ 884310 h 1320064"/>
              <a:gd name="connsiteX698" fmla="*/ 2287863 w 2350693"/>
              <a:gd name="connsiteY698" fmla="*/ 889632 h 1320064"/>
              <a:gd name="connsiteX699" fmla="*/ 2269064 w 2350693"/>
              <a:gd name="connsiteY699" fmla="*/ 896168 h 1320064"/>
              <a:gd name="connsiteX700" fmla="*/ 2252405 w 2350693"/>
              <a:gd name="connsiteY700" fmla="*/ 901606 h 1320064"/>
              <a:gd name="connsiteX701" fmla="*/ 2244538 w 2350693"/>
              <a:gd name="connsiteY701" fmla="*/ 905019 h 1320064"/>
              <a:gd name="connsiteX702" fmla="*/ 2235225 w 2350693"/>
              <a:gd name="connsiteY702" fmla="*/ 909704 h 1320064"/>
              <a:gd name="connsiteX703" fmla="*/ 2228573 w 2350693"/>
              <a:gd name="connsiteY703" fmla="*/ 911844 h 1320064"/>
              <a:gd name="connsiteX704" fmla="*/ 2225392 w 2350693"/>
              <a:gd name="connsiteY704" fmla="*/ 923124 h 1320064"/>
              <a:gd name="connsiteX705" fmla="*/ 2227416 w 2350693"/>
              <a:gd name="connsiteY705" fmla="*/ 924859 h 1320064"/>
              <a:gd name="connsiteX706" fmla="*/ 2233721 w 2350693"/>
              <a:gd name="connsiteY706" fmla="*/ 921041 h 1320064"/>
              <a:gd name="connsiteX707" fmla="*/ 2246909 w 2350693"/>
              <a:gd name="connsiteY707" fmla="*/ 915257 h 1320064"/>
              <a:gd name="connsiteX708" fmla="*/ 2259809 w 2350693"/>
              <a:gd name="connsiteY708" fmla="*/ 909473 h 1320064"/>
              <a:gd name="connsiteX709" fmla="*/ 2292028 w 2350693"/>
              <a:gd name="connsiteY709" fmla="*/ 896168 h 1320064"/>
              <a:gd name="connsiteX710" fmla="*/ 2303597 w 2350693"/>
              <a:gd name="connsiteY710" fmla="*/ 899060 h 1320064"/>
              <a:gd name="connsiteX711" fmla="*/ 2304175 w 2350693"/>
              <a:gd name="connsiteY711" fmla="*/ 913348 h 1320064"/>
              <a:gd name="connsiteX712" fmla="*/ 2302382 w 2350693"/>
              <a:gd name="connsiteY712" fmla="*/ 919653 h 1320064"/>
              <a:gd name="connsiteX713" fmla="*/ 2304985 w 2350693"/>
              <a:gd name="connsiteY713" fmla="*/ 920694 h 1320064"/>
              <a:gd name="connsiteX714" fmla="*/ 2305853 w 2350693"/>
              <a:gd name="connsiteY714" fmla="*/ 920694 h 1320064"/>
              <a:gd name="connsiteX715" fmla="*/ 2315860 w 2350693"/>
              <a:gd name="connsiteY715" fmla="*/ 915893 h 1320064"/>
              <a:gd name="connsiteX716" fmla="*/ 2325404 w 2350693"/>
              <a:gd name="connsiteY716" fmla="*/ 911324 h 1320064"/>
              <a:gd name="connsiteX717" fmla="*/ 2334833 w 2350693"/>
              <a:gd name="connsiteY717" fmla="*/ 917455 h 1320064"/>
              <a:gd name="connsiteX718" fmla="*/ 2346055 w 2350693"/>
              <a:gd name="connsiteY718" fmla="*/ 928330 h 1320064"/>
              <a:gd name="connsiteX719" fmla="*/ 2349525 w 2350693"/>
              <a:gd name="connsiteY719" fmla="*/ 939899 h 1320064"/>
              <a:gd name="connsiteX720" fmla="*/ 2332172 w 2350693"/>
              <a:gd name="connsiteY720" fmla="*/ 957252 h 1320064"/>
              <a:gd name="connsiteX721" fmla="*/ 2329569 w 2350693"/>
              <a:gd name="connsiteY721" fmla="*/ 957830 h 1320064"/>
              <a:gd name="connsiteX722" fmla="*/ 2340212 w 2350693"/>
              <a:gd name="connsiteY722" fmla="*/ 962863 h 1320064"/>
              <a:gd name="connsiteX723" fmla="*/ 2349236 w 2350693"/>
              <a:gd name="connsiteY723" fmla="*/ 968127 h 1320064"/>
              <a:gd name="connsiteX724" fmla="*/ 2343047 w 2350693"/>
              <a:gd name="connsiteY724" fmla="*/ 976398 h 1320064"/>
              <a:gd name="connsiteX725" fmla="*/ 2334891 w 2350693"/>
              <a:gd name="connsiteY725" fmla="*/ 983802 h 1320064"/>
              <a:gd name="connsiteX726" fmla="*/ 2304175 w 2350693"/>
              <a:gd name="connsiteY726" fmla="*/ 999652 h 1320064"/>
              <a:gd name="connsiteX727" fmla="*/ 2291739 w 2350693"/>
              <a:gd name="connsiteY727" fmla="*/ 999131 h 1320064"/>
              <a:gd name="connsiteX728" fmla="*/ 2267618 w 2350693"/>
              <a:gd name="connsiteY728" fmla="*/ 1010006 h 1320064"/>
              <a:gd name="connsiteX729" fmla="*/ 2218277 w 2350693"/>
              <a:gd name="connsiteY729" fmla="*/ 1040837 h 1320064"/>
              <a:gd name="connsiteX730" fmla="*/ 2217525 w 2350693"/>
              <a:gd name="connsiteY730" fmla="*/ 1040837 h 1320064"/>
              <a:gd name="connsiteX731" fmla="*/ 2174084 w 2350693"/>
              <a:gd name="connsiteY731" fmla="*/ 1040316 h 1320064"/>
              <a:gd name="connsiteX732" fmla="*/ 2047520 w 2350693"/>
              <a:gd name="connsiteY732" fmla="*/ 1048993 h 1320064"/>
              <a:gd name="connsiteX733" fmla="*/ 2027911 w 2350693"/>
              <a:gd name="connsiteY733" fmla="*/ 1072651 h 1320064"/>
              <a:gd name="connsiteX734" fmla="*/ 2019581 w 2350693"/>
              <a:gd name="connsiteY734" fmla="*/ 1077105 h 1320064"/>
              <a:gd name="connsiteX735" fmla="*/ 2015127 w 2350693"/>
              <a:gd name="connsiteY735" fmla="*/ 1077105 h 1320064"/>
              <a:gd name="connsiteX736" fmla="*/ 1998989 w 2350693"/>
              <a:gd name="connsiteY736" fmla="*/ 1081791 h 1320064"/>
              <a:gd name="connsiteX737" fmla="*/ 1981636 w 2350693"/>
              <a:gd name="connsiteY737" fmla="*/ 1099607 h 1320064"/>
              <a:gd name="connsiteX738" fmla="*/ 1960985 w 2350693"/>
              <a:gd name="connsiteY738" fmla="*/ 1117943 h 1320064"/>
              <a:gd name="connsiteX739" fmla="*/ 1959481 w 2350693"/>
              <a:gd name="connsiteY739" fmla="*/ 1117654 h 1320064"/>
              <a:gd name="connsiteX740" fmla="*/ 1957688 w 2350693"/>
              <a:gd name="connsiteY740" fmla="*/ 1117076 h 1320064"/>
              <a:gd name="connsiteX741" fmla="*/ 1957688 w 2350693"/>
              <a:gd name="connsiteY741" fmla="*/ 1119332 h 1320064"/>
              <a:gd name="connsiteX742" fmla="*/ 1955432 w 2350693"/>
              <a:gd name="connsiteY742" fmla="*/ 1129917 h 1320064"/>
              <a:gd name="connsiteX743" fmla="*/ 1941781 w 2350693"/>
              <a:gd name="connsiteY743" fmla="*/ 1142990 h 1320064"/>
              <a:gd name="connsiteX744" fmla="*/ 1928245 w 2350693"/>
              <a:gd name="connsiteY744" fmla="*/ 1156525 h 1320064"/>
              <a:gd name="connsiteX745" fmla="*/ 1928245 w 2350693"/>
              <a:gd name="connsiteY745" fmla="*/ 1156525 h 1320064"/>
              <a:gd name="connsiteX746" fmla="*/ 1929634 w 2350693"/>
              <a:gd name="connsiteY746" fmla="*/ 1156525 h 1320064"/>
              <a:gd name="connsiteX747" fmla="*/ 1956358 w 2350693"/>
              <a:gd name="connsiteY747" fmla="*/ 1134429 h 1320064"/>
              <a:gd name="connsiteX748" fmla="*/ 1988461 w 2350693"/>
              <a:gd name="connsiteY748" fmla="*/ 1105796 h 1320064"/>
              <a:gd name="connsiteX749" fmla="*/ 2084251 w 2350693"/>
              <a:gd name="connsiteY749" fmla="*/ 1077337 h 1320064"/>
              <a:gd name="connsiteX750" fmla="*/ 2108141 w 2350693"/>
              <a:gd name="connsiteY750" fmla="*/ 1086823 h 1320064"/>
              <a:gd name="connsiteX751" fmla="*/ 2110975 w 2350693"/>
              <a:gd name="connsiteY751" fmla="*/ 1104928 h 1320064"/>
              <a:gd name="connsiteX752" fmla="*/ 2086160 w 2350693"/>
              <a:gd name="connsiteY752" fmla="*/ 1121645 h 1320064"/>
              <a:gd name="connsiteX753" fmla="*/ 2080897 w 2350693"/>
              <a:gd name="connsiteY753" fmla="*/ 1123612 h 1320064"/>
              <a:gd name="connsiteX754" fmla="*/ 2073550 w 2350693"/>
              <a:gd name="connsiteY754" fmla="*/ 1132752 h 1320064"/>
              <a:gd name="connsiteX755" fmla="*/ 2082111 w 2350693"/>
              <a:gd name="connsiteY755" fmla="*/ 1132752 h 1320064"/>
              <a:gd name="connsiteX756" fmla="*/ 2093217 w 2350693"/>
              <a:gd name="connsiteY756" fmla="*/ 1127661 h 1320064"/>
              <a:gd name="connsiteX757" fmla="*/ 2099754 w 2350693"/>
              <a:gd name="connsiteY757" fmla="*/ 1131248 h 1320064"/>
              <a:gd name="connsiteX758" fmla="*/ 2095878 w 2350693"/>
              <a:gd name="connsiteY758" fmla="*/ 1143395 h 1320064"/>
              <a:gd name="connsiteX759" fmla="*/ 2095184 w 2350693"/>
              <a:gd name="connsiteY759" fmla="*/ 1159649 h 1320064"/>
              <a:gd name="connsiteX760" fmla="*/ 2099754 w 2350693"/>
              <a:gd name="connsiteY760" fmla="*/ 1170408 h 1320064"/>
              <a:gd name="connsiteX761" fmla="*/ 2115719 w 2350693"/>
              <a:gd name="connsiteY761" fmla="*/ 1183597 h 1320064"/>
              <a:gd name="connsiteX762" fmla="*/ 2129428 w 2350693"/>
              <a:gd name="connsiteY762" fmla="*/ 1194587 h 1320064"/>
              <a:gd name="connsiteX763" fmla="*/ 2164134 w 2350693"/>
              <a:gd name="connsiteY763" fmla="*/ 1204016 h 1320064"/>
              <a:gd name="connsiteX764" fmla="*/ 2176513 w 2350693"/>
              <a:gd name="connsiteY764" fmla="*/ 1202222 h 1320064"/>
              <a:gd name="connsiteX765" fmla="*/ 2184496 w 2350693"/>
              <a:gd name="connsiteY765" fmla="*/ 1200082 h 1320064"/>
              <a:gd name="connsiteX766" fmla="*/ 2187446 w 2350693"/>
              <a:gd name="connsiteY766" fmla="*/ 1191753 h 1320064"/>
              <a:gd name="connsiteX767" fmla="*/ 2193577 w 2350693"/>
              <a:gd name="connsiteY767" fmla="*/ 1184811 h 1320064"/>
              <a:gd name="connsiteX768" fmla="*/ 2201328 w 2350693"/>
              <a:gd name="connsiteY768" fmla="*/ 1175903 h 1320064"/>
              <a:gd name="connsiteX769" fmla="*/ 2219202 w 2350693"/>
              <a:gd name="connsiteY769" fmla="*/ 1161731 h 1320064"/>
              <a:gd name="connsiteX770" fmla="*/ 2221805 w 2350693"/>
              <a:gd name="connsiteY770" fmla="*/ 1162773 h 1320064"/>
              <a:gd name="connsiteX771" fmla="*/ 2222326 w 2350693"/>
              <a:gd name="connsiteY771" fmla="*/ 1165318 h 1320064"/>
              <a:gd name="connsiteX772" fmla="*/ 2220764 w 2350693"/>
              <a:gd name="connsiteY772" fmla="*/ 1171102 h 1320064"/>
              <a:gd name="connsiteX773" fmla="*/ 2219202 w 2350693"/>
              <a:gd name="connsiteY773" fmla="*/ 1182150 h 1320064"/>
              <a:gd name="connsiteX774" fmla="*/ 2221689 w 2350693"/>
              <a:gd name="connsiteY774" fmla="*/ 1182671 h 1320064"/>
              <a:gd name="connsiteX775" fmla="*/ 2236787 w 2350693"/>
              <a:gd name="connsiteY775" fmla="*/ 1188456 h 1320064"/>
              <a:gd name="connsiteX776" fmla="*/ 2232795 w 2350693"/>
              <a:gd name="connsiteY776" fmla="*/ 1195686 h 1320064"/>
              <a:gd name="connsiteX777" fmla="*/ 2212724 w 2350693"/>
              <a:gd name="connsiteY777" fmla="*/ 1202107 h 1320064"/>
              <a:gd name="connsiteX778" fmla="*/ 2196932 w 2350693"/>
              <a:gd name="connsiteY778" fmla="*/ 1207891 h 1320064"/>
              <a:gd name="connsiteX779" fmla="*/ 2198610 w 2350693"/>
              <a:gd name="connsiteY779" fmla="*/ 1212634 h 1320064"/>
              <a:gd name="connsiteX780" fmla="*/ 2199767 w 2350693"/>
              <a:gd name="connsiteY780" fmla="*/ 1217551 h 1320064"/>
              <a:gd name="connsiteX781" fmla="*/ 2190685 w 2350693"/>
              <a:gd name="connsiteY781" fmla="*/ 1222931 h 1320064"/>
              <a:gd name="connsiteX782" fmla="*/ 2180678 w 2350693"/>
              <a:gd name="connsiteY782" fmla="*/ 1226228 h 1320064"/>
              <a:gd name="connsiteX783" fmla="*/ 2128271 w 2350693"/>
              <a:gd name="connsiteY783" fmla="*/ 1239995 h 1320064"/>
              <a:gd name="connsiteX784" fmla="*/ 2127288 w 2350693"/>
              <a:gd name="connsiteY784" fmla="*/ 1239995 h 1320064"/>
              <a:gd name="connsiteX785" fmla="*/ 2113000 w 2350693"/>
              <a:gd name="connsiteY785" fmla="*/ 1249308 h 1320064"/>
              <a:gd name="connsiteX786" fmla="*/ 2102068 w 2350693"/>
              <a:gd name="connsiteY786" fmla="*/ 1262149 h 1320064"/>
              <a:gd name="connsiteX787" fmla="*/ 2064816 w 2350693"/>
              <a:gd name="connsiteY787" fmla="*/ 1268743 h 1320064"/>
              <a:gd name="connsiteX788" fmla="*/ 2055965 w 2350693"/>
              <a:gd name="connsiteY788" fmla="*/ 1256018 h 1320064"/>
              <a:gd name="connsiteX789" fmla="*/ 2067534 w 2350693"/>
              <a:gd name="connsiteY789" fmla="*/ 1236871 h 1320064"/>
              <a:gd name="connsiteX790" fmla="*/ 2103572 w 2350693"/>
              <a:gd name="connsiteY790" fmla="*/ 1218361 h 1320064"/>
              <a:gd name="connsiteX791" fmla="*/ 2105249 w 2350693"/>
              <a:gd name="connsiteY791" fmla="*/ 1218361 h 1320064"/>
              <a:gd name="connsiteX792" fmla="*/ 2126478 w 2350693"/>
              <a:gd name="connsiteY792" fmla="*/ 1215122 h 1320064"/>
              <a:gd name="connsiteX793" fmla="*/ 2122660 w 2350693"/>
              <a:gd name="connsiteY793" fmla="*/ 1215122 h 1320064"/>
              <a:gd name="connsiteX794" fmla="*/ 2095936 w 2350693"/>
              <a:gd name="connsiteY794" fmla="*/ 1206850 h 1320064"/>
              <a:gd name="connsiteX795" fmla="*/ 2099464 w 2350693"/>
              <a:gd name="connsiteY795" fmla="*/ 1203206 h 1320064"/>
              <a:gd name="connsiteX796" fmla="*/ 2103572 w 2350693"/>
              <a:gd name="connsiteY796" fmla="*/ 1195512 h 1320064"/>
              <a:gd name="connsiteX797" fmla="*/ 2101026 w 2350693"/>
              <a:gd name="connsiteY797" fmla="*/ 1191348 h 1320064"/>
              <a:gd name="connsiteX798" fmla="*/ 2099002 w 2350693"/>
              <a:gd name="connsiteY798" fmla="*/ 1193315 h 1320064"/>
              <a:gd name="connsiteX799" fmla="*/ 2066609 w 2350693"/>
              <a:gd name="connsiteY799" fmla="*/ 1216973 h 1320064"/>
              <a:gd name="connsiteX800" fmla="*/ 2065857 w 2350693"/>
              <a:gd name="connsiteY800" fmla="*/ 1216973 h 1320064"/>
              <a:gd name="connsiteX801" fmla="*/ 2037860 w 2350693"/>
              <a:gd name="connsiteY801" fmla="*/ 1228542 h 1320064"/>
              <a:gd name="connsiteX802" fmla="*/ 2036356 w 2350693"/>
              <a:gd name="connsiteY802" fmla="*/ 1228252 h 1320064"/>
              <a:gd name="connsiteX803" fmla="*/ 2013219 w 2350693"/>
              <a:gd name="connsiteY803" fmla="*/ 1156757 h 1320064"/>
              <a:gd name="connsiteX804" fmla="*/ 2013219 w 2350693"/>
              <a:gd name="connsiteY804" fmla="*/ 1151724 h 1320064"/>
              <a:gd name="connsiteX805" fmla="*/ 2000088 w 2350693"/>
              <a:gd name="connsiteY805" fmla="*/ 1147791 h 1320064"/>
              <a:gd name="connsiteX806" fmla="*/ 1977297 w 2350693"/>
              <a:gd name="connsiteY806" fmla="*/ 1142006 h 1320064"/>
              <a:gd name="connsiteX807" fmla="*/ 1944384 w 2350693"/>
              <a:gd name="connsiteY807" fmla="*/ 1189844 h 1320064"/>
              <a:gd name="connsiteX808" fmla="*/ 1909677 w 2350693"/>
              <a:gd name="connsiteY808" fmla="*/ 1226054 h 1320064"/>
              <a:gd name="connsiteX809" fmla="*/ 1909099 w 2350693"/>
              <a:gd name="connsiteY809" fmla="*/ 1226054 h 1320064"/>
              <a:gd name="connsiteX810" fmla="*/ 1815391 w 2350693"/>
              <a:gd name="connsiteY810" fmla="*/ 1226864 h 1320064"/>
              <a:gd name="connsiteX811" fmla="*/ 1779586 w 2350693"/>
              <a:gd name="connsiteY811" fmla="*/ 1254167 h 1320064"/>
              <a:gd name="connsiteX812" fmla="*/ 1778776 w 2350693"/>
              <a:gd name="connsiteY812" fmla="*/ 1254456 h 1320064"/>
              <a:gd name="connsiteX813" fmla="*/ 1777966 w 2350693"/>
              <a:gd name="connsiteY813" fmla="*/ 1254051 h 1320064"/>
              <a:gd name="connsiteX814" fmla="*/ 1773107 w 2350693"/>
              <a:gd name="connsiteY814" fmla="*/ 1251853 h 1320064"/>
              <a:gd name="connsiteX815" fmla="*/ 1763736 w 2350693"/>
              <a:gd name="connsiteY815" fmla="*/ 1253993 h 1320064"/>
              <a:gd name="connsiteX816" fmla="*/ 1745631 w 2350693"/>
              <a:gd name="connsiteY816" fmla="*/ 1257464 h 1320064"/>
              <a:gd name="connsiteX817" fmla="*/ 1740946 w 2350693"/>
              <a:gd name="connsiteY817" fmla="*/ 1257464 h 1320064"/>
              <a:gd name="connsiteX818" fmla="*/ 1735566 w 2350693"/>
              <a:gd name="connsiteY818" fmla="*/ 1257117 h 1320064"/>
              <a:gd name="connsiteX819" fmla="*/ 1687151 w 2350693"/>
              <a:gd name="connsiteY819" fmla="*/ 1273082 h 1320064"/>
              <a:gd name="connsiteX820" fmla="*/ 1686399 w 2350693"/>
              <a:gd name="connsiteY820" fmla="*/ 1277709 h 1320064"/>
              <a:gd name="connsiteX821" fmla="*/ 1694381 w 2350693"/>
              <a:gd name="connsiteY821" fmla="*/ 1283899 h 1320064"/>
              <a:gd name="connsiteX822" fmla="*/ 1703405 w 2350693"/>
              <a:gd name="connsiteY822" fmla="*/ 1282915 h 1320064"/>
              <a:gd name="connsiteX823" fmla="*/ 1704677 w 2350693"/>
              <a:gd name="connsiteY823" fmla="*/ 1282915 h 1320064"/>
              <a:gd name="connsiteX824" fmla="*/ 1705892 w 2350693"/>
              <a:gd name="connsiteY824" fmla="*/ 1283725 h 1320064"/>
              <a:gd name="connsiteX825" fmla="*/ 1707511 w 2350693"/>
              <a:gd name="connsiteY825" fmla="*/ 1294947 h 1320064"/>
              <a:gd name="connsiteX826" fmla="*/ 1698835 w 2350693"/>
              <a:gd name="connsiteY826" fmla="*/ 1302640 h 1320064"/>
              <a:gd name="connsiteX827" fmla="*/ 1697505 w 2350693"/>
              <a:gd name="connsiteY827" fmla="*/ 1302640 h 1320064"/>
              <a:gd name="connsiteX828" fmla="*/ 1697505 w 2350693"/>
              <a:gd name="connsiteY828" fmla="*/ 1301310 h 1320064"/>
              <a:gd name="connsiteX829" fmla="*/ 1697909 w 2350693"/>
              <a:gd name="connsiteY829" fmla="*/ 1299459 h 1320064"/>
              <a:gd name="connsiteX830" fmla="*/ 1696058 w 2350693"/>
              <a:gd name="connsiteY830" fmla="*/ 1297203 h 1320064"/>
              <a:gd name="connsiteX831" fmla="*/ 1688539 w 2350693"/>
              <a:gd name="connsiteY831" fmla="*/ 1301773 h 1320064"/>
              <a:gd name="connsiteX832" fmla="*/ 1682754 w 2350693"/>
              <a:gd name="connsiteY832" fmla="*/ 1306053 h 1320064"/>
              <a:gd name="connsiteX833" fmla="*/ 1673326 w 2350693"/>
              <a:gd name="connsiteY833" fmla="*/ 1309466 h 1320064"/>
              <a:gd name="connsiteX834" fmla="*/ 1663376 w 2350693"/>
              <a:gd name="connsiteY834" fmla="*/ 1306805 h 1320064"/>
              <a:gd name="connsiteX835" fmla="*/ 1646891 w 2350693"/>
              <a:gd name="connsiteY835" fmla="*/ 1302640 h 1320064"/>
              <a:gd name="connsiteX836" fmla="*/ 1617969 w 2350693"/>
              <a:gd name="connsiteY836" fmla="*/ 1316812 h 1320064"/>
              <a:gd name="connsiteX837" fmla="*/ 1613804 w 2350693"/>
              <a:gd name="connsiteY837" fmla="*/ 1319936 h 1320064"/>
              <a:gd name="connsiteX838" fmla="*/ 1613110 w 2350693"/>
              <a:gd name="connsiteY838" fmla="*/ 1318837 h 1320064"/>
              <a:gd name="connsiteX839" fmla="*/ 1609581 w 2350693"/>
              <a:gd name="connsiteY839" fmla="*/ 1297723 h 1320064"/>
              <a:gd name="connsiteX840" fmla="*/ 1613225 w 2350693"/>
              <a:gd name="connsiteY840" fmla="*/ 1316234 h 1320064"/>
              <a:gd name="connsiteX841" fmla="*/ 1616580 w 2350693"/>
              <a:gd name="connsiteY841" fmla="*/ 1313746 h 1320064"/>
              <a:gd name="connsiteX842" fmla="*/ 1647007 w 2350693"/>
              <a:gd name="connsiteY842" fmla="*/ 1299112 h 1320064"/>
              <a:gd name="connsiteX843" fmla="*/ 1664360 w 2350693"/>
              <a:gd name="connsiteY843" fmla="*/ 1303450 h 1320064"/>
              <a:gd name="connsiteX844" fmla="*/ 1673499 w 2350693"/>
              <a:gd name="connsiteY844" fmla="*/ 1305937 h 1320064"/>
              <a:gd name="connsiteX845" fmla="*/ 1681597 w 2350693"/>
              <a:gd name="connsiteY845" fmla="*/ 1302929 h 1320064"/>
              <a:gd name="connsiteX846" fmla="*/ 1687382 w 2350693"/>
              <a:gd name="connsiteY846" fmla="*/ 1298707 h 1320064"/>
              <a:gd name="connsiteX847" fmla="*/ 1696232 w 2350693"/>
              <a:gd name="connsiteY847" fmla="*/ 1293674 h 1320064"/>
              <a:gd name="connsiteX848" fmla="*/ 1700165 w 2350693"/>
              <a:gd name="connsiteY848" fmla="*/ 1297376 h 1320064"/>
              <a:gd name="connsiteX849" fmla="*/ 1700165 w 2350693"/>
              <a:gd name="connsiteY849" fmla="*/ 1298302 h 1320064"/>
              <a:gd name="connsiteX850" fmla="*/ 1705487 w 2350693"/>
              <a:gd name="connsiteY850" fmla="*/ 1293616 h 1320064"/>
              <a:gd name="connsiteX851" fmla="*/ 1704214 w 2350693"/>
              <a:gd name="connsiteY851" fmla="*/ 1284188 h 1320064"/>
              <a:gd name="connsiteX852" fmla="*/ 1704214 w 2350693"/>
              <a:gd name="connsiteY852" fmla="*/ 1284188 h 1320064"/>
              <a:gd name="connsiteX853" fmla="*/ 1694844 w 2350693"/>
              <a:gd name="connsiteY853" fmla="*/ 1285229 h 1320064"/>
              <a:gd name="connsiteX854" fmla="*/ 1684779 w 2350693"/>
              <a:gd name="connsiteY854" fmla="*/ 1277594 h 1320064"/>
              <a:gd name="connsiteX855" fmla="*/ 1685762 w 2350693"/>
              <a:gd name="connsiteY855" fmla="*/ 1270884 h 1320064"/>
              <a:gd name="connsiteX856" fmla="*/ 1736029 w 2350693"/>
              <a:gd name="connsiteY856" fmla="*/ 1253935 h 1320064"/>
              <a:gd name="connsiteX857" fmla="*/ 1741813 w 2350693"/>
              <a:gd name="connsiteY857" fmla="*/ 1254282 h 1320064"/>
              <a:gd name="connsiteX858" fmla="*/ 1746209 w 2350693"/>
              <a:gd name="connsiteY858" fmla="*/ 1254572 h 1320064"/>
              <a:gd name="connsiteX859" fmla="*/ 1763563 w 2350693"/>
              <a:gd name="connsiteY859" fmla="*/ 1251159 h 1320064"/>
              <a:gd name="connsiteX860" fmla="*/ 1773570 w 2350693"/>
              <a:gd name="connsiteY860" fmla="*/ 1248961 h 1320064"/>
              <a:gd name="connsiteX861" fmla="*/ 1779354 w 2350693"/>
              <a:gd name="connsiteY861" fmla="*/ 1251101 h 1320064"/>
              <a:gd name="connsiteX862" fmla="*/ 1815854 w 2350693"/>
              <a:gd name="connsiteY862" fmla="*/ 1223972 h 1320064"/>
              <a:gd name="connsiteX863" fmla="*/ 1909214 w 2350693"/>
              <a:gd name="connsiteY863" fmla="*/ 1223162 h 1320064"/>
              <a:gd name="connsiteX864" fmla="*/ 1942417 w 2350693"/>
              <a:gd name="connsiteY864" fmla="*/ 1188456 h 1320064"/>
              <a:gd name="connsiteX865" fmla="*/ 1974694 w 2350693"/>
              <a:gd name="connsiteY865" fmla="*/ 1137842 h 1320064"/>
              <a:gd name="connsiteX866" fmla="*/ 1978917 w 2350693"/>
              <a:gd name="connsiteY866" fmla="*/ 1139346 h 1320064"/>
              <a:gd name="connsiteX867" fmla="*/ 2000435 w 2350693"/>
              <a:gd name="connsiteY867" fmla="*/ 1144667 h 1320064"/>
              <a:gd name="connsiteX868" fmla="*/ 2015706 w 2350693"/>
              <a:gd name="connsiteY868" fmla="*/ 1150452 h 1320064"/>
              <a:gd name="connsiteX869" fmla="*/ 2015706 w 2350693"/>
              <a:gd name="connsiteY869" fmla="*/ 1155947 h 1320064"/>
              <a:gd name="connsiteX870" fmla="*/ 2038034 w 2350693"/>
              <a:gd name="connsiteY870" fmla="*/ 1225013 h 1320064"/>
              <a:gd name="connsiteX871" fmla="*/ 2065799 w 2350693"/>
              <a:gd name="connsiteY871" fmla="*/ 1213444 h 1320064"/>
              <a:gd name="connsiteX872" fmla="*/ 2067130 w 2350693"/>
              <a:gd name="connsiteY872" fmla="*/ 1213444 h 1320064"/>
              <a:gd name="connsiteX873" fmla="*/ 2097556 w 2350693"/>
              <a:gd name="connsiteY873" fmla="*/ 1191001 h 1320064"/>
              <a:gd name="connsiteX874" fmla="*/ 2101547 w 2350693"/>
              <a:gd name="connsiteY874" fmla="*/ 1187819 h 1320064"/>
              <a:gd name="connsiteX875" fmla="*/ 2106290 w 2350693"/>
              <a:gd name="connsiteY875" fmla="*/ 1193893 h 1320064"/>
              <a:gd name="connsiteX876" fmla="*/ 2100506 w 2350693"/>
              <a:gd name="connsiteY876" fmla="*/ 1204073 h 1320064"/>
              <a:gd name="connsiteX877" fmla="*/ 2098539 w 2350693"/>
              <a:gd name="connsiteY877" fmla="*/ 1205230 h 1320064"/>
              <a:gd name="connsiteX878" fmla="*/ 2123007 w 2350693"/>
              <a:gd name="connsiteY878" fmla="*/ 1211593 h 1320064"/>
              <a:gd name="connsiteX879" fmla="*/ 2126998 w 2350693"/>
              <a:gd name="connsiteY879" fmla="*/ 1211593 h 1320064"/>
              <a:gd name="connsiteX880" fmla="*/ 2131857 w 2350693"/>
              <a:gd name="connsiteY880" fmla="*/ 1213386 h 1320064"/>
              <a:gd name="connsiteX881" fmla="*/ 2122371 w 2350693"/>
              <a:gd name="connsiteY881" fmla="*/ 1217435 h 1320064"/>
              <a:gd name="connsiteX882" fmla="*/ 2106175 w 2350693"/>
              <a:gd name="connsiteY882" fmla="*/ 1219344 h 1320064"/>
              <a:gd name="connsiteX883" fmla="*/ 2104381 w 2350693"/>
              <a:gd name="connsiteY883" fmla="*/ 1219344 h 1320064"/>
              <a:gd name="connsiteX884" fmla="*/ 2070079 w 2350693"/>
              <a:gd name="connsiteY884" fmla="*/ 1237218 h 1320064"/>
              <a:gd name="connsiteX885" fmla="*/ 2058915 w 2350693"/>
              <a:gd name="connsiteY885" fmla="*/ 1254572 h 1320064"/>
              <a:gd name="connsiteX886" fmla="*/ 2067014 w 2350693"/>
              <a:gd name="connsiteY886" fmla="*/ 1265678 h 1320064"/>
              <a:gd name="connsiteX887" fmla="*/ 2101258 w 2350693"/>
              <a:gd name="connsiteY887" fmla="*/ 1259026 h 1320064"/>
              <a:gd name="connsiteX888" fmla="*/ 2111843 w 2350693"/>
              <a:gd name="connsiteY888" fmla="*/ 1246647 h 1320064"/>
              <a:gd name="connsiteX889" fmla="*/ 2128097 w 2350693"/>
              <a:gd name="connsiteY889" fmla="*/ 1236351 h 1320064"/>
              <a:gd name="connsiteX890" fmla="*/ 2128965 w 2350693"/>
              <a:gd name="connsiteY890" fmla="*/ 1236351 h 1320064"/>
              <a:gd name="connsiteX891" fmla="*/ 2180678 w 2350693"/>
              <a:gd name="connsiteY891" fmla="*/ 1222699 h 1320064"/>
              <a:gd name="connsiteX892" fmla="*/ 2190685 w 2350693"/>
              <a:gd name="connsiteY892" fmla="*/ 1219402 h 1320064"/>
              <a:gd name="connsiteX893" fmla="*/ 2198320 w 2350693"/>
              <a:gd name="connsiteY893" fmla="*/ 1215353 h 1320064"/>
              <a:gd name="connsiteX894" fmla="*/ 2197337 w 2350693"/>
              <a:gd name="connsiteY894" fmla="*/ 1212345 h 1320064"/>
              <a:gd name="connsiteX895" fmla="*/ 2195370 w 2350693"/>
              <a:gd name="connsiteY895" fmla="*/ 1206561 h 1320064"/>
              <a:gd name="connsiteX896" fmla="*/ 2212724 w 2350693"/>
              <a:gd name="connsiteY896" fmla="*/ 1198347 h 1320064"/>
              <a:gd name="connsiteX897" fmla="*/ 2231986 w 2350693"/>
              <a:gd name="connsiteY897" fmla="*/ 1192563 h 1320064"/>
              <a:gd name="connsiteX898" fmla="*/ 2235051 w 2350693"/>
              <a:gd name="connsiteY898" fmla="*/ 1187819 h 1320064"/>
              <a:gd name="connsiteX899" fmla="*/ 2222441 w 2350693"/>
              <a:gd name="connsiteY899" fmla="*/ 1183712 h 1320064"/>
              <a:gd name="connsiteX900" fmla="*/ 2217872 w 2350693"/>
              <a:gd name="connsiteY900" fmla="*/ 1182266 h 1320064"/>
              <a:gd name="connsiteX901" fmla="*/ 2219086 w 2350693"/>
              <a:gd name="connsiteY901" fmla="*/ 1169193 h 1320064"/>
              <a:gd name="connsiteX902" fmla="*/ 2220590 w 2350693"/>
              <a:gd name="connsiteY902" fmla="*/ 1163409 h 1320064"/>
              <a:gd name="connsiteX903" fmla="*/ 2220590 w 2350693"/>
              <a:gd name="connsiteY903" fmla="*/ 1162715 h 1320064"/>
              <a:gd name="connsiteX904" fmla="*/ 2219723 w 2350693"/>
              <a:gd name="connsiteY904" fmla="*/ 1162715 h 1320064"/>
              <a:gd name="connsiteX905" fmla="*/ 2204105 w 2350693"/>
              <a:gd name="connsiteY905" fmla="*/ 1174804 h 1320064"/>
              <a:gd name="connsiteX906" fmla="*/ 2195370 w 2350693"/>
              <a:gd name="connsiteY906" fmla="*/ 1185390 h 1320064"/>
              <a:gd name="connsiteX907" fmla="*/ 2190222 w 2350693"/>
              <a:gd name="connsiteY907" fmla="*/ 1190480 h 1320064"/>
              <a:gd name="connsiteX908" fmla="*/ 2185190 w 2350693"/>
              <a:gd name="connsiteY908" fmla="*/ 1201066 h 1320064"/>
              <a:gd name="connsiteX909" fmla="*/ 2178075 w 2350693"/>
              <a:gd name="connsiteY909" fmla="*/ 1202974 h 1320064"/>
              <a:gd name="connsiteX910" fmla="*/ 2164655 w 2350693"/>
              <a:gd name="connsiteY910" fmla="*/ 1205057 h 1320064"/>
              <a:gd name="connsiteX911" fmla="*/ 2127982 w 2350693"/>
              <a:gd name="connsiteY911" fmla="*/ 1193488 h 1320064"/>
              <a:gd name="connsiteX912" fmla="*/ 2115487 w 2350693"/>
              <a:gd name="connsiteY912" fmla="*/ 1184291 h 1320064"/>
              <a:gd name="connsiteX913" fmla="*/ 2098134 w 2350693"/>
              <a:gd name="connsiteY913" fmla="*/ 1169251 h 1320064"/>
              <a:gd name="connsiteX914" fmla="*/ 2093969 w 2350693"/>
              <a:gd name="connsiteY914" fmla="*/ 1159476 h 1320064"/>
              <a:gd name="connsiteX915" fmla="*/ 2094137 w 2350693"/>
              <a:gd name="connsiteY915" fmla="*/ 1141151 h 1320064"/>
              <a:gd name="connsiteX916" fmla="*/ 2094779 w 2350693"/>
              <a:gd name="connsiteY916" fmla="*/ 1140560 h 1320064"/>
              <a:gd name="connsiteX917" fmla="*/ 2098365 w 2350693"/>
              <a:gd name="connsiteY917" fmla="*/ 1130843 h 1320064"/>
              <a:gd name="connsiteX918" fmla="*/ 2093854 w 2350693"/>
              <a:gd name="connsiteY918" fmla="*/ 1128529 h 1320064"/>
              <a:gd name="connsiteX919" fmla="*/ 2084309 w 2350693"/>
              <a:gd name="connsiteY919" fmla="*/ 1132983 h 1320064"/>
              <a:gd name="connsiteX920" fmla="*/ 2077252 w 2350693"/>
              <a:gd name="connsiteY920" fmla="*/ 1136453 h 1320064"/>
              <a:gd name="connsiteX921" fmla="*/ 2071930 w 2350693"/>
              <a:gd name="connsiteY921" fmla="*/ 1131942 h 1320064"/>
              <a:gd name="connsiteX922" fmla="*/ 2080665 w 2350693"/>
              <a:gd name="connsiteY922" fmla="*/ 1120373 h 1320064"/>
              <a:gd name="connsiteX923" fmla="*/ 2086044 w 2350693"/>
              <a:gd name="connsiteY923" fmla="*/ 1118406 h 1320064"/>
              <a:gd name="connsiteX924" fmla="*/ 2109182 w 2350693"/>
              <a:gd name="connsiteY924" fmla="*/ 1103019 h 1320064"/>
              <a:gd name="connsiteX925" fmla="*/ 2106522 w 2350693"/>
              <a:gd name="connsiteY925" fmla="*/ 1086823 h 1320064"/>
              <a:gd name="connsiteX926" fmla="*/ 2084598 w 2350693"/>
              <a:gd name="connsiteY926" fmla="*/ 1078494 h 1320064"/>
              <a:gd name="connsiteX927" fmla="*/ 1989907 w 2350693"/>
              <a:gd name="connsiteY927" fmla="*/ 1106664 h 1320064"/>
              <a:gd name="connsiteX928" fmla="*/ 1958325 w 2350693"/>
              <a:gd name="connsiteY928" fmla="*/ 1134892 h 1320064"/>
              <a:gd name="connsiteX929" fmla="*/ 1929981 w 2350693"/>
              <a:gd name="connsiteY929" fmla="*/ 1157682 h 1320064"/>
              <a:gd name="connsiteX930" fmla="*/ 1926510 w 2350693"/>
              <a:gd name="connsiteY930" fmla="*/ 1156005 h 1320064"/>
              <a:gd name="connsiteX931" fmla="*/ 1940682 w 2350693"/>
              <a:gd name="connsiteY931" fmla="*/ 1139982 h 1320064"/>
              <a:gd name="connsiteX932" fmla="*/ 1953870 w 2350693"/>
              <a:gd name="connsiteY932" fmla="*/ 1127488 h 1320064"/>
              <a:gd name="connsiteX933" fmla="*/ 1955779 w 2350693"/>
              <a:gd name="connsiteY933" fmla="*/ 1118117 h 1320064"/>
              <a:gd name="connsiteX934" fmla="*/ 1956473 w 2350693"/>
              <a:gd name="connsiteY934" fmla="*/ 1114183 h 1320064"/>
              <a:gd name="connsiteX935" fmla="*/ 1960754 w 2350693"/>
              <a:gd name="connsiteY935" fmla="*/ 1114183 h 1320064"/>
              <a:gd name="connsiteX936" fmla="*/ 1961332 w 2350693"/>
              <a:gd name="connsiteY936" fmla="*/ 1114183 h 1320064"/>
              <a:gd name="connsiteX937" fmla="*/ 1980305 w 2350693"/>
              <a:gd name="connsiteY937" fmla="*/ 1096830 h 1320064"/>
              <a:gd name="connsiteX938" fmla="*/ 1997659 w 2350693"/>
              <a:gd name="connsiteY938" fmla="*/ 1078725 h 1320064"/>
              <a:gd name="connsiteX939" fmla="*/ 2017557 w 2350693"/>
              <a:gd name="connsiteY939" fmla="*/ 1073577 h 1320064"/>
              <a:gd name="connsiteX940" fmla="*/ 2019581 w 2350693"/>
              <a:gd name="connsiteY940" fmla="*/ 1073577 h 1320064"/>
              <a:gd name="connsiteX941" fmla="*/ 2025713 w 2350693"/>
              <a:gd name="connsiteY941" fmla="*/ 1070858 h 1320064"/>
              <a:gd name="connsiteX942" fmla="*/ 2046016 w 2350693"/>
              <a:gd name="connsiteY942" fmla="*/ 1046043 h 1320064"/>
              <a:gd name="connsiteX943" fmla="*/ 2174084 w 2350693"/>
              <a:gd name="connsiteY943" fmla="*/ 1036788 h 1320064"/>
              <a:gd name="connsiteX944" fmla="*/ 2217640 w 2350693"/>
              <a:gd name="connsiteY944" fmla="*/ 1037308 h 1320064"/>
              <a:gd name="connsiteX945" fmla="*/ 2218277 w 2350693"/>
              <a:gd name="connsiteY945" fmla="*/ 1037308 h 1320064"/>
              <a:gd name="connsiteX946" fmla="*/ 2265709 w 2350693"/>
              <a:gd name="connsiteY946" fmla="*/ 1007518 h 1320064"/>
              <a:gd name="connsiteX947" fmla="*/ 2291739 w 2350693"/>
              <a:gd name="connsiteY947" fmla="*/ 995603 h 1320064"/>
              <a:gd name="connsiteX948" fmla="*/ 2304291 w 2350693"/>
              <a:gd name="connsiteY948" fmla="*/ 996123 h 1320064"/>
              <a:gd name="connsiteX949" fmla="*/ 2306084 w 2350693"/>
              <a:gd name="connsiteY949" fmla="*/ 996123 h 1320064"/>
              <a:gd name="connsiteX950" fmla="*/ 2333329 w 2350693"/>
              <a:gd name="connsiteY950" fmla="*/ 980968 h 1320064"/>
              <a:gd name="connsiteX951" fmla="*/ 2341774 w 2350693"/>
              <a:gd name="connsiteY951" fmla="*/ 973275 h 1320064"/>
              <a:gd name="connsiteX952" fmla="*/ 2347038 w 2350693"/>
              <a:gd name="connsiteY952" fmla="*/ 967490 h 1320064"/>
              <a:gd name="connsiteX953" fmla="*/ 2339750 w 2350693"/>
              <a:gd name="connsiteY953" fmla="*/ 963962 h 1320064"/>
              <a:gd name="connsiteX954" fmla="*/ 2327313 w 2350693"/>
              <a:gd name="connsiteY954" fmla="*/ 956500 h 1320064"/>
              <a:gd name="connsiteX955" fmla="*/ 2331999 w 2350693"/>
              <a:gd name="connsiteY955" fmla="*/ 953897 h 1320064"/>
              <a:gd name="connsiteX956" fmla="*/ 2347385 w 2350693"/>
              <a:gd name="connsiteY956" fmla="*/ 938279 h 1320064"/>
              <a:gd name="connsiteX957" fmla="*/ 2344724 w 2350693"/>
              <a:gd name="connsiteY957" fmla="*/ 929429 h 1320064"/>
              <a:gd name="connsiteX958" fmla="*/ 2333156 w 2350693"/>
              <a:gd name="connsiteY958" fmla="*/ 917860 h 1320064"/>
              <a:gd name="connsiteX959" fmla="*/ 2325520 w 2350693"/>
              <a:gd name="connsiteY959" fmla="*/ 912654 h 1320064"/>
              <a:gd name="connsiteX960" fmla="*/ 2317306 w 2350693"/>
              <a:gd name="connsiteY960" fmla="*/ 916761 h 1320064"/>
              <a:gd name="connsiteX961" fmla="*/ 2305737 w 2350693"/>
              <a:gd name="connsiteY961" fmla="*/ 922025 h 1320064"/>
              <a:gd name="connsiteX962" fmla="*/ 2304638 w 2350693"/>
              <a:gd name="connsiteY962" fmla="*/ 922025 h 1320064"/>
              <a:gd name="connsiteX963" fmla="*/ 2300300 w 2350693"/>
              <a:gd name="connsiteY963" fmla="*/ 919827 h 1320064"/>
              <a:gd name="connsiteX964" fmla="*/ 2302035 w 2350693"/>
              <a:gd name="connsiteY964" fmla="*/ 911439 h 1320064"/>
              <a:gd name="connsiteX965" fmla="*/ 2302035 w 2350693"/>
              <a:gd name="connsiteY965" fmla="*/ 899870 h 1320064"/>
              <a:gd name="connsiteX966" fmla="*/ 2291681 w 2350693"/>
              <a:gd name="connsiteY966" fmla="*/ 897267 h 1320064"/>
              <a:gd name="connsiteX967" fmla="*/ 2260908 w 2350693"/>
              <a:gd name="connsiteY967" fmla="*/ 910109 h 1320064"/>
              <a:gd name="connsiteX968" fmla="*/ 2246447 w 2350693"/>
              <a:gd name="connsiteY968" fmla="*/ 915893 h 1320064"/>
              <a:gd name="connsiteX969" fmla="*/ 2234878 w 2350693"/>
              <a:gd name="connsiteY969" fmla="*/ 921388 h 1320064"/>
              <a:gd name="connsiteX970" fmla="*/ 2222846 w 2350693"/>
              <a:gd name="connsiteY970" fmla="*/ 922545 h 1320064"/>
              <a:gd name="connsiteX971" fmla="*/ 2226722 w 2350693"/>
              <a:gd name="connsiteY971" fmla="*/ 908778 h 1320064"/>
              <a:gd name="connsiteX972" fmla="*/ 2234704 w 2350693"/>
              <a:gd name="connsiteY972" fmla="*/ 906117 h 1320064"/>
              <a:gd name="connsiteX973" fmla="*/ 2242282 w 2350693"/>
              <a:gd name="connsiteY973" fmla="*/ 902300 h 1320064"/>
              <a:gd name="connsiteX974" fmla="*/ 2251884 w 2350693"/>
              <a:gd name="connsiteY974" fmla="*/ 898019 h 1320064"/>
              <a:gd name="connsiteX975" fmla="*/ 2267387 w 2350693"/>
              <a:gd name="connsiteY975" fmla="*/ 892929 h 1320064"/>
              <a:gd name="connsiteX976" fmla="*/ 2287053 w 2350693"/>
              <a:gd name="connsiteY976" fmla="*/ 886045 h 1320064"/>
              <a:gd name="connsiteX977" fmla="*/ 2297408 w 2350693"/>
              <a:gd name="connsiteY977" fmla="*/ 881765 h 1320064"/>
              <a:gd name="connsiteX978" fmla="*/ 2297408 w 2350693"/>
              <a:gd name="connsiteY978" fmla="*/ 876617 h 1320064"/>
              <a:gd name="connsiteX979" fmla="*/ 2284624 w 2350693"/>
              <a:gd name="connsiteY979" fmla="*/ 870659 h 1320064"/>
              <a:gd name="connsiteX980" fmla="*/ 2279592 w 2350693"/>
              <a:gd name="connsiteY980" fmla="*/ 871237 h 1320064"/>
              <a:gd name="connsiteX981" fmla="*/ 2276699 w 2350693"/>
              <a:gd name="connsiteY981" fmla="*/ 871584 h 1320064"/>
              <a:gd name="connsiteX982" fmla="*/ 2261081 w 2350693"/>
              <a:gd name="connsiteY982" fmla="*/ 863602 h 1320064"/>
              <a:gd name="connsiteX983" fmla="*/ 2251653 w 2350693"/>
              <a:gd name="connsiteY983" fmla="*/ 857818 h 1320064"/>
              <a:gd name="connsiteX984" fmla="*/ 2249050 w 2350693"/>
              <a:gd name="connsiteY984" fmla="*/ 858685 h 1320064"/>
              <a:gd name="connsiteX985" fmla="*/ 2244827 w 2350693"/>
              <a:gd name="connsiteY985" fmla="*/ 860363 h 1320064"/>
              <a:gd name="connsiteX986" fmla="*/ 2239911 w 2350693"/>
              <a:gd name="connsiteY986" fmla="*/ 857123 h 1320064"/>
              <a:gd name="connsiteX987" fmla="*/ 2236151 w 2350693"/>
              <a:gd name="connsiteY987" fmla="*/ 854405 h 1320064"/>
              <a:gd name="connsiteX988" fmla="*/ 2232680 w 2350693"/>
              <a:gd name="connsiteY988" fmla="*/ 855735 h 1320064"/>
              <a:gd name="connsiteX989" fmla="*/ 2225797 w 2350693"/>
              <a:gd name="connsiteY989" fmla="*/ 857991 h 1320064"/>
              <a:gd name="connsiteX990" fmla="*/ 2211625 w 2350693"/>
              <a:gd name="connsiteY990" fmla="*/ 841795 h 1320064"/>
              <a:gd name="connsiteX991" fmla="*/ 2166332 w 2350693"/>
              <a:gd name="connsiteY991" fmla="*/ 807377 h 1320064"/>
              <a:gd name="connsiteX992" fmla="*/ 2157367 w 2350693"/>
              <a:gd name="connsiteY992" fmla="*/ 799684 h 1320064"/>
              <a:gd name="connsiteX993" fmla="*/ 2163498 w 2350693"/>
              <a:gd name="connsiteY993" fmla="*/ 795809 h 1320064"/>
              <a:gd name="connsiteX994" fmla="*/ 2170324 w 2350693"/>
              <a:gd name="connsiteY994" fmla="*/ 798064 h 1320064"/>
              <a:gd name="connsiteX995" fmla="*/ 2174604 w 2350693"/>
              <a:gd name="connsiteY995" fmla="*/ 799510 h 1320064"/>
              <a:gd name="connsiteX996" fmla="*/ 2190511 w 2350693"/>
              <a:gd name="connsiteY996" fmla="*/ 786322 h 1320064"/>
              <a:gd name="connsiteX997" fmla="*/ 2190511 w 2350693"/>
              <a:gd name="connsiteY997" fmla="*/ 782331 h 1320064"/>
              <a:gd name="connsiteX998" fmla="*/ 2180273 w 2350693"/>
              <a:gd name="connsiteY998" fmla="*/ 775910 h 1320064"/>
              <a:gd name="connsiteX999" fmla="*/ 2176687 w 2350693"/>
              <a:gd name="connsiteY999" fmla="*/ 773770 h 1320064"/>
              <a:gd name="connsiteX1000" fmla="*/ 2175645 w 2350693"/>
              <a:gd name="connsiteY1000" fmla="*/ 760003 h 1320064"/>
              <a:gd name="connsiteX1001" fmla="*/ 2167200 w 2350693"/>
              <a:gd name="connsiteY1001" fmla="*/ 750516 h 1320064"/>
              <a:gd name="connsiteX1002" fmla="*/ 2158061 w 2350693"/>
              <a:gd name="connsiteY1002" fmla="*/ 740336 h 1320064"/>
              <a:gd name="connsiteX1003" fmla="*/ 2152970 w 2350693"/>
              <a:gd name="connsiteY1003" fmla="*/ 733105 h 1320064"/>
              <a:gd name="connsiteX1004" fmla="*/ 2147765 w 2350693"/>
              <a:gd name="connsiteY1004" fmla="*/ 724371 h 1320064"/>
              <a:gd name="connsiteX1005" fmla="*/ 2143368 w 2350693"/>
              <a:gd name="connsiteY1005" fmla="*/ 715926 h 1320064"/>
              <a:gd name="connsiteX1006" fmla="*/ 2137584 w 2350693"/>
              <a:gd name="connsiteY1006" fmla="*/ 703894 h 1320064"/>
              <a:gd name="connsiteX1007" fmla="*/ 2128849 w 2350693"/>
              <a:gd name="connsiteY1007" fmla="*/ 690127 h 1320064"/>
              <a:gd name="connsiteX1008" fmla="*/ 2118785 w 2350693"/>
              <a:gd name="connsiteY1008" fmla="*/ 673699 h 1320064"/>
              <a:gd name="connsiteX1009" fmla="*/ 2112479 w 2350693"/>
              <a:gd name="connsiteY1009" fmla="*/ 661610 h 1320064"/>
              <a:gd name="connsiteX1010" fmla="*/ 2104960 w 2350693"/>
              <a:gd name="connsiteY1010" fmla="*/ 649173 h 1320064"/>
              <a:gd name="connsiteX1011" fmla="*/ 2101663 w 2350693"/>
              <a:gd name="connsiteY1011" fmla="*/ 644430 h 1320064"/>
              <a:gd name="connsiteX1012" fmla="*/ 2094953 w 2350693"/>
              <a:gd name="connsiteY1012" fmla="*/ 658081 h 1320064"/>
              <a:gd name="connsiteX1013" fmla="*/ 2084309 w 2350693"/>
              <a:gd name="connsiteY1013" fmla="*/ 672600 h 1320064"/>
              <a:gd name="connsiteX1014" fmla="*/ 2081648 w 2350693"/>
              <a:gd name="connsiteY1014" fmla="*/ 674972 h 1320064"/>
              <a:gd name="connsiteX1015" fmla="*/ 2082053 w 2350693"/>
              <a:gd name="connsiteY1015" fmla="*/ 675955 h 1320064"/>
              <a:gd name="connsiteX1016" fmla="*/ 2082053 w 2350693"/>
              <a:gd name="connsiteY1016" fmla="*/ 690532 h 1320064"/>
              <a:gd name="connsiteX1017" fmla="*/ 2078698 w 2350693"/>
              <a:gd name="connsiteY1017" fmla="*/ 693771 h 1320064"/>
              <a:gd name="connsiteX1018" fmla="*/ 2077426 w 2350693"/>
              <a:gd name="connsiteY1018" fmla="*/ 701869 h 1320064"/>
              <a:gd name="connsiteX1019" fmla="*/ 2076905 w 2350693"/>
              <a:gd name="connsiteY1019" fmla="*/ 707654 h 1320064"/>
              <a:gd name="connsiteX1020" fmla="*/ 2072393 w 2350693"/>
              <a:gd name="connsiteY1020" fmla="*/ 709158 h 1320064"/>
              <a:gd name="connsiteX1021" fmla="*/ 2066898 w 2350693"/>
              <a:gd name="connsiteY1021" fmla="*/ 717487 h 1320064"/>
              <a:gd name="connsiteX1022" fmla="*/ 2064584 w 2350693"/>
              <a:gd name="connsiteY1022" fmla="*/ 721652 h 1320064"/>
              <a:gd name="connsiteX1023" fmla="*/ 2061692 w 2350693"/>
              <a:gd name="connsiteY1023" fmla="*/ 718875 h 1320064"/>
              <a:gd name="connsiteX1024" fmla="*/ 2054172 w 2350693"/>
              <a:gd name="connsiteY1024" fmla="*/ 714190 h 1320064"/>
              <a:gd name="connsiteX1025" fmla="*/ 2047468 w 2350693"/>
              <a:gd name="connsiteY1025" fmla="*/ 720316 h 1320064"/>
              <a:gd name="connsiteX1026" fmla="*/ 2047462 w 2350693"/>
              <a:gd name="connsiteY1026" fmla="*/ 720727 h 1320064"/>
              <a:gd name="connsiteX1027" fmla="*/ 2019003 w 2350693"/>
              <a:gd name="connsiteY1027" fmla="*/ 737617 h 1320064"/>
              <a:gd name="connsiteX1028" fmla="*/ 2010616 w 2350693"/>
              <a:gd name="connsiteY1028" fmla="*/ 729403 h 1320064"/>
              <a:gd name="connsiteX1029" fmla="*/ 2006798 w 2350693"/>
              <a:gd name="connsiteY1029" fmla="*/ 724602 h 1320064"/>
              <a:gd name="connsiteX1030" fmla="*/ 2005178 w 2350693"/>
              <a:gd name="connsiteY1030" fmla="*/ 725238 h 1320064"/>
              <a:gd name="connsiteX1031" fmla="*/ 2002517 w 2350693"/>
              <a:gd name="connsiteY1031" fmla="*/ 726280 h 1320064"/>
              <a:gd name="connsiteX1032" fmla="*/ 1997254 w 2350693"/>
              <a:gd name="connsiteY1032" fmla="*/ 720495 h 1320064"/>
              <a:gd name="connsiteX1033" fmla="*/ 1989271 w 2350693"/>
              <a:gd name="connsiteY1033" fmla="*/ 712339 h 1320064"/>
              <a:gd name="connsiteX1034" fmla="*/ 1988866 w 2350693"/>
              <a:gd name="connsiteY1034" fmla="*/ 712339 h 1320064"/>
              <a:gd name="connsiteX1035" fmla="*/ 1984759 w 2350693"/>
              <a:gd name="connsiteY1035" fmla="*/ 712339 h 1320064"/>
              <a:gd name="connsiteX1036" fmla="*/ 1973537 w 2350693"/>
              <a:gd name="connsiteY1036" fmla="*/ 708811 h 1320064"/>
              <a:gd name="connsiteX1037" fmla="*/ 1973190 w 2350693"/>
              <a:gd name="connsiteY1037" fmla="*/ 701002 h 1320064"/>
              <a:gd name="connsiteX1038" fmla="*/ 1966480 w 2350693"/>
              <a:gd name="connsiteY1038" fmla="*/ 691342 h 1320064"/>
              <a:gd name="connsiteX1039" fmla="*/ 1960696 w 2350693"/>
              <a:gd name="connsiteY1039" fmla="*/ 684921 h 1320064"/>
              <a:gd name="connsiteX1040" fmla="*/ 1962431 w 2350693"/>
              <a:gd name="connsiteY1040" fmla="*/ 681682 h 1320064"/>
              <a:gd name="connsiteX1041" fmla="*/ 1962431 w 2350693"/>
              <a:gd name="connsiteY1041" fmla="*/ 668030 h 1320064"/>
              <a:gd name="connsiteX1042" fmla="*/ 1958903 w 2350693"/>
              <a:gd name="connsiteY1042" fmla="*/ 651776 h 1320064"/>
              <a:gd name="connsiteX1043" fmla="*/ 1965092 w 2350693"/>
              <a:gd name="connsiteY1043" fmla="*/ 633671 h 1320064"/>
              <a:gd name="connsiteX1044" fmla="*/ 1967984 w 2350693"/>
              <a:gd name="connsiteY1044" fmla="*/ 628696 h 1320064"/>
              <a:gd name="connsiteX1045" fmla="*/ 1964109 w 2350693"/>
              <a:gd name="connsiteY1045" fmla="*/ 625110 h 1320064"/>
              <a:gd name="connsiteX1046" fmla="*/ 1955201 w 2350693"/>
              <a:gd name="connsiteY1046" fmla="*/ 628407 h 1320064"/>
              <a:gd name="connsiteX1047" fmla="*/ 1951325 w 2350693"/>
              <a:gd name="connsiteY1047" fmla="*/ 629795 h 1320064"/>
              <a:gd name="connsiteX1048" fmla="*/ 1945946 w 2350693"/>
              <a:gd name="connsiteY1048" fmla="*/ 626267 h 1320064"/>
              <a:gd name="connsiteX1049" fmla="*/ 1939525 w 2350693"/>
              <a:gd name="connsiteY1049" fmla="*/ 622507 h 1320064"/>
              <a:gd name="connsiteX1050" fmla="*/ 1935591 w 2350693"/>
              <a:gd name="connsiteY1050" fmla="*/ 622507 h 1320064"/>
              <a:gd name="connsiteX1051" fmla="*/ 1905570 w 2350693"/>
              <a:gd name="connsiteY1051" fmla="*/ 609897 h 1320064"/>
              <a:gd name="connsiteX1052" fmla="*/ 1900364 w 2350693"/>
              <a:gd name="connsiteY1052" fmla="*/ 602493 h 1320064"/>
              <a:gd name="connsiteX1053" fmla="*/ 1892903 w 2350693"/>
              <a:gd name="connsiteY1053" fmla="*/ 594395 h 1320064"/>
              <a:gd name="connsiteX1054" fmla="*/ 1885209 w 2350693"/>
              <a:gd name="connsiteY1054" fmla="*/ 589131 h 1320064"/>
              <a:gd name="connsiteX1055" fmla="*/ 1879425 w 2350693"/>
              <a:gd name="connsiteY1055" fmla="*/ 584330 h 1320064"/>
              <a:gd name="connsiteX1056" fmla="*/ 1868955 w 2350693"/>
              <a:gd name="connsiteY1056" fmla="*/ 574554 h 1320064"/>
              <a:gd name="connsiteX1057" fmla="*/ 1859989 w 2350693"/>
              <a:gd name="connsiteY1057" fmla="*/ 570042 h 1320064"/>
              <a:gd name="connsiteX1058" fmla="*/ 1849519 w 2350693"/>
              <a:gd name="connsiteY1058" fmla="*/ 564894 h 1320064"/>
              <a:gd name="connsiteX1059" fmla="*/ 1827018 w 2350693"/>
              <a:gd name="connsiteY1059" fmla="*/ 571778 h 1320064"/>
              <a:gd name="connsiteX1060" fmla="*/ 1822853 w 2350693"/>
              <a:gd name="connsiteY1060" fmla="*/ 573802 h 1320064"/>
              <a:gd name="connsiteX1061" fmla="*/ 1810764 w 2350693"/>
              <a:gd name="connsiteY1061" fmla="*/ 571546 h 1320064"/>
              <a:gd name="connsiteX1062" fmla="*/ 1798211 w 2350693"/>
              <a:gd name="connsiteY1062" fmla="*/ 569464 h 1320064"/>
              <a:gd name="connsiteX1063" fmla="*/ 1794452 w 2350693"/>
              <a:gd name="connsiteY1063" fmla="*/ 570968 h 1320064"/>
              <a:gd name="connsiteX1064" fmla="*/ 1788667 w 2350693"/>
              <a:gd name="connsiteY1064" fmla="*/ 568596 h 1320064"/>
              <a:gd name="connsiteX1065" fmla="*/ 1775247 w 2350693"/>
              <a:gd name="connsiteY1065" fmla="*/ 562407 h 1320064"/>
              <a:gd name="connsiteX1066" fmla="*/ 1750837 w 2350693"/>
              <a:gd name="connsiteY1066" fmla="*/ 558763 h 1320064"/>
              <a:gd name="connsiteX1067" fmla="*/ 1740309 w 2350693"/>
              <a:gd name="connsiteY1067" fmla="*/ 561539 h 1320064"/>
              <a:gd name="connsiteX1068" fmla="*/ 1735508 w 2350693"/>
              <a:gd name="connsiteY1068" fmla="*/ 567324 h 1320064"/>
              <a:gd name="connsiteX1069" fmla="*/ 1730372 w 2350693"/>
              <a:gd name="connsiteY1069" fmla="*/ 585851 h 1320064"/>
              <a:gd name="connsiteX1070" fmla="*/ 1737996 w 2350693"/>
              <a:gd name="connsiteY1070" fmla="*/ 592081 h 1320064"/>
              <a:gd name="connsiteX1071" fmla="*/ 1746325 w 2350693"/>
              <a:gd name="connsiteY1071" fmla="*/ 599658 h 1320064"/>
              <a:gd name="connsiteX1072" fmla="*/ 1744555 w 2350693"/>
              <a:gd name="connsiteY1072" fmla="*/ 607647 h 1320064"/>
              <a:gd name="connsiteX1073" fmla="*/ 1743375 w 2350693"/>
              <a:gd name="connsiteY1073" fmla="*/ 608219 h 1320064"/>
              <a:gd name="connsiteX1074" fmla="*/ 1739673 w 2350693"/>
              <a:gd name="connsiteY1074" fmla="*/ 613483 h 1320064"/>
              <a:gd name="connsiteX1075" fmla="*/ 1734293 w 2350693"/>
              <a:gd name="connsiteY1075" fmla="*/ 621929 h 1320064"/>
              <a:gd name="connsiteX1076" fmla="*/ 1731228 w 2350693"/>
              <a:gd name="connsiteY1076" fmla="*/ 626151 h 1320064"/>
              <a:gd name="connsiteX1077" fmla="*/ 1733484 w 2350693"/>
              <a:gd name="connsiteY1077" fmla="*/ 630374 h 1320064"/>
              <a:gd name="connsiteX1078" fmla="*/ 1739615 w 2350693"/>
              <a:gd name="connsiteY1078" fmla="*/ 640959 h 1320064"/>
              <a:gd name="connsiteX1079" fmla="*/ 1744474 w 2350693"/>
              <a:gd name="connsiteY1079" fmla="*/ 650388 h 1320064"/>
              <a:gd name="connsiteX1080" fmla="*/ 1750606 w 2350693"/>
              <a:gd name="connsiteY1080" fmla="*/ 665948 h 1320064"/>
              <a:gd name="connsiteX1081" fmla="*/ 1742508 w 2350693"/>
              <a:gd name="connsiteY1081" fmla="*/ 679831 h 1320064"/>
              <a:gd name="connsiteX1082" fmla="*/ 1738863 w 2350693"/>
              <a:gd name="connsiteY1082" fmla="*/ 680525 h 1320064"/>
              <a:gd name="connsiteX1083" fmla="*/ 1736723 w 2350693"/>
              <a:gd name="connsiteY1083" fmla="*/ 685210 h 1320064"/>
              <a:gd name="connsiteX1084" fmla="*/ 1731517 w 2350693"/>
              <a:gd name="connsiteY1084" fmla="*/ 698977 h 1320064"/>
              <a:gd name="connsiteX1085" fmla="*/ 1722378 w 2350693"/>
              <a:gd name="connsiteY1085" fmla="*/ 723387 h 1320064"/>
              <a:gd name="connsiteX1086" fmla="*/ 1732500 w 2350693"/>
              <a:gd name="connsiteY1086" fmla="*/ 730097 h 1320064"/>
              <a:gd name="connsiteX1087" fmla="*/ 1763794 w 2350693"/>
              <a:gd name="connsiteY1087" fmla="*/ 756417 h 1320064"/>
              <a:gd name="connsiteX1088" fmla="*/ 1769984 w 2350693"/>
              <a:gd name="connsiteY1088" fmla="*/ 817153 h 1320064"/>
              <a:gd name="connsiteX1089" fmla="*/ 1748639 w 2350693"/>
              <a:gd name="connsiteY1089" fmla="*/ 842026 h 1320064"/>
              <a:gd name="connsiteX1090" fmla="*/ 1730881 w 2350693"/>
              <a:gd name="connsiteY1090" fmla="*/ 855909 h 1320064"/>
              <a:gd name="connsiteX1091" fmla="*/ 1695827 w 2350693"/>
              <a:gd name="connsiteY1091" fmla="*/ 870023 h 1320064"/>
              <a:gd name="connsiteX1092" fmla="*/ 1692009 w 2350693"/>
              <a:gd name="connsiteY1092" fmla="*/ 870023 h 1320064"/>
              <a:gd name="connsiteX1093" fmla="*/ 1689753 w 2350693"/>
              <a:gd name="connsiteY1093" fmla="*/ 871642 h 1320064"/>
              <a:gd name="connsiteX1094" fmla="*/ 1700050 w 2350693"/>
              <a:gd name="connsiteY1094" fmla="*/ 894780 h 1320064"/>
              <a:gd name="connsiteX1095" fmla="*/ 1705834 w 2350693"/>
              <a:gd name="connsiteY1095" fmla="*/ 910687 h 1320064"/>
              <a:gd name="connsiteX1096" fmla="*/ 1707685 w 2350693"/>
              <a:gd name="connsiteY1096" fmla="*/ 922256 h 1320064"/>
              <a:gd name="connsiteX1097" fmla="*/ 1710693 w 2350693"/>
              <a:gd name="connsiteY1097" fmla="*/ 937816 h 1320064"/>
              <a:gd name="connsiteX1098" fmla="*/ 1715436 w 2350693"/>
              <a:gd name="connsiteY1098" fmla="*/ 954765 h 1320064"/>
              <a:gd name="connsiteX1099" fmla="*/ 1709189 w 2350693"/>
              <a:gd name="connsiteY1099" fmla="*/ 979291 h 1320064"/>
              <a:gd name="connsiteX1100" fmla="*/ 1706297 w 2350693"/>
              <a:gd name="connsiteY1100" fmla="*/ 982645 h 1320064"/>
              <a:gd name="connsiteX1101" fmla="*/ 1707916 w 2350693"/>
              <a:gd name="connsiteY1101" fmla="*/ 983802 h 1320064"/>
              <a:gd name="connsiteX1102" fmla="*/ 1713701 w 2350693"/>
              <a:gd name="connsiteY1102" fmla="*/ 992306 h 1320064"/>
              <a:gd name="connsiteX1103" fmla="*/ 1712660 w 2350693"/>
              <a:gd name="connsiteY1103" fmla="*/ 998090 h 1320064"/>
              <a:gd name="connsiteX1104" fmla="*/ 1710867 w 2350693"/>
              <a:gd name="connsiteY1104" fmla="*/ 998842 h 1320064"/>
              <a:gd name="connsiteX1105" fmla="*/ 1703983 w 2350693"/>
              <a:gd name="connsiteY1105" fmla="*/ 994908 h 1320064"/>
              <a:gd name="connsiteX1106" fmla="*/ 1699818 w 2350693"/>
              <a:gd name="connsiteY1106" fmla="*/ 991843 h 1320064"/>
              <a:gd name="connsiteX1107" fmla="*/ 1697100 w 2350693"/>
              <a:gd name="connsiteY1107" fmla="*/ 990917 h 1320064"/>
              <a:gd name="connsiteX1108" fmla="*/ 1686456 w 2350693"/>
              <a:gd name="connsiteY1108" fmla="*/ 1007866 h 1320064"/>
              <a:gd name="connsiteX1109" fmla="*/ 1684160 w 2350693"/>
              <a:gd name="connsiteY1109" fmla="*/ 1010636 h 1320064"/>
              <a:gd name="connsiteX1110" fmla="*/ 1683738 w 2350693"/>
              <a:gd name="connsiteY1110" fmla="*/ 1010642 h 1320064"/>
              <a:gd name="connsiteX1111" fmla="*/ 1671822 w 2350693"/>
              <a:gd name="connsiteY1111" fmla="*/ 1004858 h 1320064"/>
              <a:gd name="connsiteX1112" fmla="*/ 1662567 w 2350693"/>
              <a:gd name="connsiteY1112" fmla="*/ 1000230 h 1320064"/>
              <a:gd name="connsiteX1113" fmla="*/ 1661988 w 2350693"/>
              <a:gd name="connsiteY1113" fmla="*/ 1000230 h 1320064"/>
              <a:gd name="connsiteX1114" fmla="*/ 1659096 w 2350693"/>
              <a:gd name="connsiteY1114" fmla="*/ 995371 h 1320064"/>
              <a:gd name="connsiteX1115" fmla="*/ 1651923 w 2350693"/>
              <a:gd name="connsiteY1115" fmla="*/ 981199 h 1320064"/>
              <a:gd name="connsiteX1116" fmla="*/ 1643073 w 2350693"/>
              <a:gd name="connsiteY1116" fmla="*/ 975415 h 1320064"/>
              <a:gd name="connsiteX1117" fmla="*/ 1632083 w 2350693"/>
              <a:gd name="connsiteY1117" fmla="*/ 961822 h 1320064"/>
              <a:gd name="connsiteX1118" fmla="*/ 1623579 w 2350693"/>
              <a:gd name="connsiteY1118" fmla="*/ 951410 h 1320064"/>
              <a:gd name="connsiteX1119" fmla="*/ 1613630 w 2350693"/>
              <a:gd name="connsiteY1119" fmla="*/ 938568 h 1320064"/>
              <a:gd name="connsiteX1120" fmla="*/ 1613630 w 2350693"/>
              <a:gd name="connsiteY1120" fmla="*/ 929776 h 1320064"/>
              <a:gd name="connsiteX1121" fmla="*/ 1611721 w 2350693"/>
              <a:gd name="connsiteY1121" fmla="*/ 897325 h 1320064"/>
              <a:gd name="connsiteX1122" fmla="*/ 1614729 w 2350693"/>
              <a:gd name="connsiteY1122" fmla="*/ 874187 h 1320064"/>
              <a:gd name="connsiteX1123" fmla="*/ 1614035 w 2350693"/>
              <a:gd name="connsiteY1123" fmla="*/ 866321 h 1320064"/>
              <a:gd name="connsiteX1124" fmla="*/ 1600557 w 2350693"/>
              <a:gd name="connsiteY1124" fmla="*/ 858917 h 1320064"/>
              <a:gd name="connsiteX1125" fmla="*/ 1585807 w 2350693"/>
              <a:gd name="connsiteY1125" fmla="*/ 857702 h 1320064"/>
              <a:gd name="connsiteX1126" fmla="*/ 1565851 w 2350693"/>
              <a:gd name="connsiteY1126" fmla="*/ 856256 h 1320064"/>
              <a:gd name="connsiteX1127" fmla="*/ 1559488 w 2350693"/>
              <a:gd name="connsiteY1127" fmla="*/ 856256 h 1320064"/>
              <a:gd name="connsiteX1128" fmla="*/ 1530161 w 2350693"/>
              <a:gd name="connsiteY1128" fmla="*/ 850471 h 1320064"/>
              <a:gd name="connsiteX1129" fmla="*/ 1493083 w 2350693"/>
              <a:gd name="connsiteY1129" fmla="*/ 832539 h 1320064"/>
              <a:gd name="connsiteX1130" fmla="*/ 1463177 w 2350693"/>
              <a:gd name="connsiteY1130" fmla="*/ 811831 h 1320064"/>
              <a:gd name="connsiteX1131" fmla="*/ 1451261 w 2350693"/>
              <a:gd name="connsiteY1131" fmla="*/ 804427 h 1320064"/>
              <a:gd name="connsiteX1132" fmla="*/ 1438536 w 2350693"/>
              <a:gd name="connsiteY1132" fmla="*/ 796965 h 1320064"/>
              <a:gd name="connsiteX1133" fmla="*/ 1413547 w 2350693"/>
              <a:gd name="connsiteY1133" fmla="*/ 789908 h 1320064"/>
              <a:gd name="connsiteX1134" fmla="*/ 1409903 w 2350693"/>
              <a:gd name="connsiteY1134" fmla="*/ 789908 h 1320064"/>
              <a:gd name="connsiteX1135" fmla="*/ 1393649 w 2350693"/>
              <a:gd name="connsiteY1135" fmla="*/ 783430 h 1320064"/>
              <a:gd name="connsiteX1136" fmla="*/ 1373461 w 2350693"/>
              <a:gd name="connsiteY1136" fmla="*/ 775389 h 1320064"/>
              <a:gd name="connsiteX1137" fmla="*/ 1343613 w 2350693"/>
              <a:gd name="connsiteY1137" fmla="*/ 784008 h 1320064"/>
              <a:gd name="connsiteX1138" fmla="*/ 1332970 w 2350693"/>
              <a:gd name="connsiteY1138" fmla="*/ 787479 h 1320064"/>
              <a:gd name="connsiteX1139" fmla="*/ 1330309 w 2350693"/>
              <a:gd name="connsiteY1139" fmla="*/ 786322 h 1320064"/>
              <a:gd name="connsiteX1140" fmla="*/ 1335515 w 2350693"/>
              <a:gd name="connsiteY1140" fmla="*/ 772381 h 1320064"/>
              <a:gd name="connsiteX1141" fmla="*/ 1330135 w 2350693"/>
              <a:gd name="connsiteY1141" fmla="*/ 755954 h 1320064"/>
              <a:gd name="connsiteX1142" fmla="*/ 1323252 w 2350693"/>
              <a:gd name="connsiteY1142" fmla="*/ 738600 h 1320064"/>
              <a:gd name="connsiteX1143" fmla="*/ 1304510 w 2350693"/>
              <a:gd name="connsiteY1143" fmla="*/ 715810 h 1320064"/>
              <a:gd name="connsiteX1144" fmla="*/ 1299825 w 2350693"/>
              <a:gd name="connsiteY1144" fmla="*/ 716157 h 1320064"/>
              <a:gd name="connsiteX1145" fmla="*/ 1273448 w 2350693"/>
              <a:gd name="connsiteY1145" fmla="*/ 708348 h 1320064"/>
              <a:gd name="connsiteX1146" fmla="*/ 1271713 w 2350693"/>
              <a:gd name="connsiteY1146" fmla="*/ 655710 h 1320064"/>
              <a:gd name="connsiteX1147" fmla="*/ 1282183 w 2350693"/>
              <a:gd name="connsiteY1147" fmla="*/ 630952 h 1320064"/>
              <a:gd name="connsiteX1148" fmla="*/ 1290512 w 2350693"/>
              <a:gd name="connsiteY1148" fmla="*/ 610533 h 1320064"/>
              <a:gd name="connsiteX1149" fmla="*/ 1310700 w 2350693"/>
              <a:gd name="connsiteY1149" fmla="*/ 593701 h 1320064"/>
              <a:gd name="connsiteX1150" fmla="*/ 1315327 w 2350693"/>
              <a:gd name="connsiteY1150" fmla="*/ 583693 h 1320064"/>
              <a:gd name="connsiteX1151" fmla="*/ 1321748 w 2350693"/>
              <a:gd name="connsiteY1151" fmla="*/ 572472 h 1320064"/>
              <a:gd name="connsiteX1152" fmla="*/ 1332160 w 2350693"/>
              <a:gd name="connsiteY1152" fmla="*/ 561886 h 1320064"/>
              <a:gd name="connsiteX1153" fmla="*/ 1332160 w 2350693"/>
              <a:gd name="connsiteY1153" fmla="*/ 561192 h 1320064"/>
              <a:gd name="connsiteX1154" fmla="*/ 1339217 w 2350693"/>
              <a:gd name="connsiteY1154" fmla="*/ 555408 h 1320064"/>
              <a:gd name="connsiteX1155" fmla="*/ 1340490 w 2350693"/>
              <a:gd name="connsiteY1155" fmla="*/ 555408 h 1320064"/>
              <a:gd name="connsiteX1156" fmla="*/ 1339101 w 2350693"/>
              <a:gd name="connsiteY1156" fmla="*/ 553846 h 1320064"/>
              <a:gd name="connsiteX1157" fmla="*/ 1336440 w 2350693"/>
              <a:gd name="connsiteY1157" fmla="*/ 547656 h 1320064"/>
              <a:gd name="connsiteX1158" fmla="*/ 1352637 w 2350693"/>
              <a:gd name="connsiteY1158" fmla="*/ 544012 h 1320064"/>
              <a:gd name="connsiteX1159" fmla="*/ 1381154 w 2350693"/>
              <a:gd name="connsiteY1159" fmla="*/ 535046 h 1320064"/>
              <a:gd name="connsiteX1160" fmla="*/ 1383005 w 2350693"/>
              <a:gd name="connsiteY1160" fmla="*/ 526601 h 1320064"/>
              <a:gd name="connsiteX1161" fmla="*/ 1362008 w 2350693"/>
              <a:gd name="connsiteY1161" fmla="*/ 518966 h 1320064"/>
              <a:gd name="connsiteX1162" fmla="*/ 1343613 w 2350693"/>
              <a:gd name="connsiteY1162" fmla="*/ 511215 h 1320064"/>
              <a:gd name="connsiteX1163" fmla="*/ 1318104 w 2350693"/>
              <a:gd name="connsiteY1163" fmla="*/ 500340 h 1320064"/>
              <a:gd name="connsiteX1164" fmla="*/ 1300751 w 2350693"/>
              <a:gd name="connsiteY1164" fmla="*/ 494208 h 1320064"/>
              <a:gd name="connsiteX1165" fmla="*/ 1300751 w 2350693"/>
              <a:gd name="connsiteY1165" fmla="*/ 491952 h 1320064"/>
              <a:gd name="connsiteX1166" fmla="*/ 1308444 w 2350693"/>
              <a:gd name="connsiteY1166" fmla="*/ 489291 h 1320064"/>
              <a:gd name="connsiteX1167" fmla="*/ 1363916 w 2350693"/>
              <a:gd name="connsiteY1167" fmla="*/ 502306 h 1320064"/>
              <a:gd name="connsiteX1168" fmla="*/ 1386534 w 2350693"/>
              <a:gd name="connsiteY1168" fmla="*/ 507455 h 1320064"/>
              <a:gd name="connsiteX1169" fmla="*/ 1394169 w 2350693"/>
              <a:gd name="connsiteY1169" fmla="*/ 507165 h 1320064"/>
              <a:gd name="connsiteX1170" fmla="*/ 1396194 w 2350693"/>
              <a:gd name="connsiteY1170" fmla="*/ 507165 h 1320064"/>
              <a:gd name="connsiteX1171" fmla="*/ 1400937 w 2350693"/>
              <a:gd name="connsiteY1171" fmla="*/ 505257 h 1320064"/>
              <a:gd name="connsiteX1172" fmla="*/ 1401805 w 2350693"/>
              <a:gd name="connsiteY1172" fmla="*/ 493688 h 1320064"/>
              <a:gd name="connsiteX1173" fmla="*/ 1401805 w 2350693"/>
              <a:gd name="connsiteY1173" fmla="*/ 484143 h 1320064"/>
              <a:gd name="connsiteX1174" fmla="*/ 1405738 w 2350693"/>
              <a:gd name="connsiteY1174" fmla="*/ 481830 h 1320064"/>
              <a:gd name="connsiteX1175" fmla="*/ 1418348 w 2350693"/>
              <a:gd name="connsiteY1175" fmla="*/ 485358 h 1320064"/>
              <a:gd name="connsiteX1176" fmla="*/ 1438998 w 2350693"/>
              <a:gd name="connsiteY1176" fmla="*/ 490564 h 1320064"/>
              <a:gd name="connsiteX1177" fmla="*/ 1443163 w 2350693"/>
              <a:gd name="connsiteY1177" fmla="*/ 490101 h 1320064"/>
              <a:gd name="connsiteX1178" fmla="*/ 1466301 w 2350693"/>
              <a:gd name="connsiteY1178" fmla="*/ 467716 h 1320064"/>
              <a:gd name="connsiteX1179" fmla="*/ 1481745 w 2350693"/>
              <a:gd name="connsiteY1179" fmla="*/ 450362 h 1320064"/>
              <a:gd name="connsiteX1180" fmla="*/ 1485910 w 2350693"/>
              <a:gd name="connsiteY1180" fmla="*/ 444231 h 1320064"/>
              <a:gd name="connsiteX1181" fmla="*/ 1467863 w 2350693"/>
              <a:gd name="connsiteY1181" fmla="*/ 438794 h 1320064"/>
              <a:gd name="connsiteX1182" fmla="*/ 1461268 w 2350693"/>
              <a:gd name="connsiteY1182" fmla="*/ 439083 h 1320064"/>
              <a:gd name="connsiteX1183" fmla="*/ 1455195 w 2350693"/>
              <a:gd name="connsiteY1183" fmla="*/ 439083 h 1320064"/>
              <a:gd name="connsiteX1184" fmla="*/ 1413258 w 2350693"/>
              <a:gd name="connsiteY1184" fmla="*/ 422886 h 1320064"/>
              <a:gd name="connsiteX1185" fmla="*/ 1404581 w 2350693"/>
              <a:gd name="connsiteY1185" fmla="*/ 409524 h 1320064"/>
              <a:gd name="connsiteX1186" fmla="*/ 1413142 w 2350693"/>
              <a:gd name="connsiteY1186" fmla="*/ 405533 h 1320064"/>
              <a:gd name="connsiteX1187" fmla="*/ 1415861 w 2350693"/>
              <a:gd name="connsiteY1187" fmla="*/ 405533 h 1320064"/>
              <a:gd name="connsiteX1188" fmla="*/ 1444147 w 2350693"/>
              <a:gd name="connsiteY1188" fmla="*/ 419300 h 1320064"/>
              <a:gd name="connsiteX1189" fmla="*/ 1470292 w 2350693"/>
              <a:gd name="connsiteY1189" fmla="*/ 432141 h 1320064"/>
              <a:gd name="connsiteX1190" fmla="*/ 1470755 w 2350693"/>
              <a:gd name="connsiteY1190" fmla="*/ 432141 h 1320064"/>
              <a:gd name="connsiteX1191" fmla="*/ 1500545 w 2350693"/>
              <a:gd name="connsiteY1191" fmla="*/ 411722 h 1320064"/>
              <a:gd name="connsiteX1192" fmla="*/ 1510783 w 2350693"/>
              <a:gd name="connsiteY1192" fmla="*/ 402699 h 1320064"/>
              <a:gd name="connsiteX1193" fmla="*/ 1513039 w 2350693"/>
              <a:gd name="connsiteY1193" fmla="*/ 399575 h 1320064"/>
              <a:gd name="connsiteX1194" fmla="*/ 1503900 w 2350693"/>
              <a:gd name="connsiteY1194" fmla="*/ 393501 h 1320064"/>
              <a:gd name="connsiteX1195" fmla="*/ 1494992 w 2350693"/>
              <a:gd name="connsiteY1195" fmla="*/ 388758 h 1320064"/>
              <a:gd name="connsiteX1196" fmla="*/ 1493314 w 2350693"/>
              <a:gd name="connsiteY1196" fmla="*/ 384536 h 1320064"/>
              <a:gd name="connsiteX1197" fmla="*/ 1516915 w 2350693"/>
              <a:gd name="connsiteY1197" fmla="*/ 377652 h 1320064"/>
              <a:gd name="connsiteX1198" fmla="*/ 1533342 w 2350693"/>
              <a:gd name="connsiteY1198" fmla="*/ 388180 h 1320064"/>
              <a:gd name="connsiteX1199" fmla="*/ 1535367 w 2350693"/>
              <a:gd name="connsiteY1199" fmla="*/ 390725 h 1320064"/>
              <a:gd name="connsiteX1200" fmla="*/ 1538780 w 2350693"/>
              <a:gd name="connsiteY1200" fmla="*/ 391708 h 1320064"/>
              <a:gd name="connsiteX1201" fmla="*/ 1550927 w 2350693"/>
              <a:gd name="connsiteY1201" fmla="*/ 389510 h 1320064"/>
              <a:gd name="connsiteX1202" fmla="*/ 1563537 w 2350693"/>
              <a:gd name="connsiteY1202" fmla="*/ 387370 h 1320064"/>
              <a:gd name="connsiteX1203" fmla="*/ 1565562 w 2350693"/>
              <a:gd name="connsiteY1203" fmla="*/ 386387 h 1320064"/>
              <a:gd name="connsiteX1204" fmla="*/ 1548208 w 2350693"/>
              <a:gd name="connsiteY1204" fmla="*/ 370132 h 1320064"/>
              <a:gd name="connsiteX1205" fmla="*/ 1541672 w 2350693"/>
              <a:gd name="connsiteY1205" fmla="*/ 362439 h 1320064"/>
              <a:gd name="connsiteX1206" fmla="*/ 1548498 w 2350693"/>
              <a:gd name="connsiteY1206" fmla="*/ 357464 h 1320064"/>
              <a:gd name="connsiteX1207" fmla="*/ 1554282 w 2350693"/>
              <a:gd name="connsiteY1207" fmla="*/ 361340 h 1320064"/>
              <a:gd name="connsiteX1208" fmla="*/ 1562554 w 2350693"/>
              <a:gd name="connsiteY1208" fmla="*/ 368339 h 1320064"/>
              <a:gd name="connsiteX1209" fmla="*/ 1573081 w 2350693"/>
              <a:gd name="connsiteY1209" fmla="*/ 377652 h 1320064"/>
              <a:gd name="connsiteX1210" fmla="*/ 1579849 w 2350693"/>
              <a:gd name="connsiteY1210" fmla="*/ 384593 h 1320064"/>
              <a:gd name="connsiteX1211" fmla="*/ 1586675 w 2350693"/>
              <a:gd name="connsiteY1211" fmla="*/ 381817 h 1320064"/>
              <a:gd name="connsiteX1212" fmla="*/ 1595294 w 2350693"/>
              <a:gd name="connsiteY1212" fmla="*/ 377710 h 1320064"/>
              <a:gd name="connsiteX1213" fmla="*/ 1618431 w 2350693"/>
              <a:gd name="connsiteY1213" fmla="*/ 360646 h 1320064"/>
              <a:gd name="connsiteX1214" fmla="*/ 1619704 w 2350693"/>
              <a:gd name="connsiteY1214" fmla="*/ 359258 h 1320064"/>
              <a:gd name="connsiteX1215" fmla="*/ 1627166 w 2350693"/>
              <a:gd name="connsiteY1215" fmla="*/ 355382 h 1320064"/>
              <a:gd name="connsiteX1216" fmla="*/ 1635380 w 2350693"/>
              <a:gd name="connsiteY1216" fmla="*/ 349077 h 1320064"/>
              <a:gd name="connsiteX1217" fmla="*/ 1622307 w 2350693"/>
              <a:gd name="connsiteY1217" fmla="*/ 320907 h 1320064"/>
              <a:gd name="connsiteX1218" fmla="*/ 1617332 w 2350693"/>
              <a:gd name="connsiteY1218" fmla="*/ 309338 h 1320064"/>
              <a:gd name="connsiteX1219" fmla="*/ 1613399 w 2350693"/>
              <a:gd name="connsiteY1219" fmla="*/ 301645 h 1320064"/>
              <a:gd name="connsiteX1220" fmla="*/ 1605012 w 2350693"/>
              <a:gd name="connsiteY1220" fmla="*/ 290944 h 1320064"/>
              <a:gd name="connsiteX1221" fmla="*/ 1610796 w 2350693"/>
              <a:gd name="connsiteY1221" fmla="*/ 287588 h 1320064"/>
              <a:gd name="connsiteX1222" fmla="*/ 1614671 w 2350693"/>
              <a:gd name="connsiteY1222" fmla="*/ 287993 h 1320064"/>
              <a:gd name="connsiteX1223" fmla="*/ 1640759 w 2350693"/>
              <a:gd name="connsiteY1223" fmla="*/ 278796 h 1320064"/>
              <a:gd name="connsiteX1224" fmla="*/ 1641338 w 2350693"/>
              <a:gd name="connsiteY1224" fmla="*/ 276425 h 1320064"/>
              <a:gd name="connsiteX1225" fmla="*/ 1635553 w 2350693"/>
              <a:gd name="connsiteY1225" fmla="*/ 271450 h 1320064"/>
              <a:gd name="connsiteX1226" fmla="*/ 1630290 w 2350693"/>
              <a:gd name="connsiteY1226" fmla="*/ 266128 h 1320064"/>
              <a:gd name="connsiteX1227" fmla="*/ 1633760 w 2350693"/>
              <a:gd name="connsiteY1227" fmla="*/ 262079 h 1320064"/>
              <a:gd name="connsiteX1228" fmla="*/ 1638040 w 2350693"/>
              <a:gd name="connsiteY1228" fmla="*/ 256989 h 1320064"/>
              <a:gd name="connsiteX1229" fmla="*/ 1625257 w 2350693"/>
              <a:gd name="connsiteY1229" fmla="*/ 252072 h 1320064"/>
              <a:gd name="connsiteX1230" fmla="*/ 1603508 w 2350693"/>
              <a:gd name="connsiteY1230" fmla="*/ 236512 h 1320064"/>
              <a:gd name="connsiteX1231" fmla="*/ 1590493 w 2350693"/>
              <a:gd name="connsiteY1231" fmla="*/ 231827 h 1320064"/>
              <a:gd name="connsiteX1232" fmla="*/ 1573139 w 2350693"/>
              <a:gd name="connsiteY1232" fmla="*/ 228934 h 1320064"/>
              <a:gd name="connsiteX1233" fmla="*/ 1544217 w 2350693"/>
              <a:gd name="connsiteY1233" fmla="*/ 224885 h 1320064"/>
              <a:gd name="connsiteX1234" fmla="*/ 1530624 w 2350693"/>
              <a:gd name="connsiteY1234" fmla="*/ 225406 h 1320064"/>
              <a:gd name="connsiteX1235" fmla="*/ 1527153 w 2350693"/>
              <a:gd name="connsiteY1235" fmla="*/ 236686 h 1320064"/>
              <a:gd name="connsiteX1236" fmla="*/ 1532937 w 2350693"/>
              <a:gd name="connsiteY1236" fmla="*/ 249238 h 1320064"/>
              <a:gd name="connsiteX1237" fmla="*/ 1545779 w 2350693"/>
              <a:gd name="connsiteY1237" fmla="*/ 258724 h 1320064"/>
              <a:gd name="connsiteX1238" fmla="*/ 1541730 w 2350693"/>
              <a:gd name="connsiteY1238" fmla="*/ 264509 h 1320064"/>
              <a:gd name="connsiteX1239" fmla="*/ 1539474 w 2350693"/>
              <a:gd name="connsiteY1239" fmla="*/ 271334 h 1320064"/>
              <a:gd name="connsiteX1240" fmla="*/ 1539474 w 2350693"/>
              <a:gd name="connsiteY1240" fmla="*/ 275788 h 1320064"/>
              <a:gd name="connsiteX1241" fmla="*/ 1536582 w 2350693"/>
              <a:gd name="connsiteY1241" fmla="*/ 276656 h 1320064"/>
              <a:gd name="connsiteX1242" fmla="*/ 1534615 w 2350693"/>
              <a:gd name="connsiteY1242" fmla="*/ 276656 h 1320064"/>
              <a:gd name="connsiteX1243" fmla="*/ 1530161 w 2350693"/>
              <a:gd name="connsiteY1243" fmla="*/ 276309 h 1320064"/>
              <a:gd name="connsiteX1244" fmla="*/ 1520212 w 2350693"/>
              <a:gd name="connsiteY1244" fmla="*/ 287878 h 1320064"/>
              <a:gd name="connsiteX1245" fmla="*/ 1506271 w 2350693"/>
              <a:gd name="connsiteY1245" fmla="*/ 315990 h 1320064"/>
              <a:gd name="connsiteX1246" fmla="*/ 1503090 w 2350693"/>
              <a:gd name="connsiteY1246" fmla="*/ 316973 h 1320064"/>
              <a:gd name="connsiteX1247" fmla="*/ 1498347 w 2350693"/>
              <a:gd name="connsiteY1247" fmla="*/ 308065 h 1320064"/>
              <a:gd name="connsiteX1248" fmla="*/ 1494008 w 2350693"/>
              <a:gd name="connsiteY1248" fmla="*/ 299157 h 1320064"/>
              <a:gd name="connsiteX1249" fmla="*/ 1493719 w 2350693"/>
              <a:gd name="connsiteY1249" fmla="*/ 299157 h 1320064"/>
              <a:gd name="connsiteX1250" fmla="*/ 1486546 w 2350693"/>
              <a:gd name="connsiteY1250" fmla="*/ 308817 h 1320064"/>
              <a:gd name="connsiteX1251" fmla="*/ 1490306 w 2350693"/>
              <a:gd name="connsiteY1251" fmla="*/ 318130 h 1320064"/>
              <a:gd name="connsiteX1252" fmla="*/ 1501412 w 2350693"/>
              <a:gd name="connsiteY1252" fmla="*/ 336004 h 1320064"/>
              <a:gd name="connsiteX1253" fmla="*/ 1500834 w 2350693"/>
              <a:gd name="connsiteY1253" fmla="*/ 340227 h 1320064"/>
              <a:gd name="connsiteX1254" fmla="*/ 1493893 w 2350693"/>
              <a:gd name="connsiteY1254" fmla="*/ 343293 h 1320064"/>
              <a:gd name="connsiteX1255" fmla="*/ 1481919 w 2350693"/>
              <a:gd name="connsiteY1255" fmla="*/ 350118 h 1320064"/>
              <a:gd name="connsiteX1256" fmla="*/ 1477291 w 2350693"/>
              <a:gd name="connsiteY1256" fmla="*/ 354399 h 1320064"/>
              <a:gd name="connsiteX1257" fmla="*/ 1471912 w 2350693"/>
              <a:gd name="connsiteY1257" fmla="*/ 348267 h 1320064"/>
              <a:gd name="connsiteX1258" fmla="*/ 1465086 w 2350693"/>
              <a:gd name="connsiteY1258" fmla="*/ 338260 h 1320064"/>
              <a:gd name="connsiteX1259" fmla="*/ 1446518 w 2350693"/>
              <a:gd name="connsiteY1259" fmla="*/ 308875 h 1320064"/>
              <a:gd name="connsiteX1260" fmla="*/ 1458897 w 2350693"/>
              <a:gd name="connsiteY1260" fmla="*/ 295687 h 1320064"/>
              <a:gd name="connsiteX1261" fmla="*/ 1460748 w 2350693"/>
              <a:gd name="connsiteY1261" fmla="*/ 294819 h 1320064"/>
              <a:gd name="connsiteX1262" fmla="*/ 1459822 w 2350693"/>
              <a:gd name="connsiteY1262" fmla="*/ 289671 h 1320064"/>
              <a:gd name="connsiteX1263" fmla="*/ 1457393 w 2350693"/>
              <a:gd name="connsiteY1263" fmla="*/ 278680 h 1320064"/>
              <a:gd name="connsiteX1264" fmla="*/ 1450914 w 2350693"/>
              <a:gd name="connsiteY1264" fmla="*/ 269715 h 1320064"/>
              <a:gd name="connsiteX1265" fmla="*/ 1439345 w 2350693"/>
              <a:gd name="connsiteY1265" fmla="*/ 260575 h 1320064"/>
              <a:gd name="connsiteX1266" fmla="*/ 1423496 w 2350693"/>
              <a:gd name="connsiteY1266" fmla="*/ 251378 h 1320064"/>
              <a:gd name="connsiteX1267" fmla="*/ 1415572 w 2350693"/>
              <a:gd name="connsiteY1267" fmla="*/ 254617 h 1320064"/>
              <a:gd name="connsiteX1268" fmla="*/ 1412216 w 2350693"/>
              <a:gd name="connsiteY1268" fmla="*/ 262773 h 1320064"/>
              <a:gd name="connsiteX1269" fmla="*/ 1404928 w 2350693"/>
              <a:gd name="connsiteY1269" fmla="*/ 274342 h 1320064"/>
              <a:gd name="connsiteX1270" fmla="*/ 1399144 w 2350693"/>
              <a:gd name="connsiteY1270" fmla="*/ 285911 h 1320064"/>
              <a:gd name="connsiteX1271" fmla="*/ 1392665 w 2350693"/>
              <a:gd name="connsiteY1271" fmla="*/ 296381 h 1320064"/>
              <a:gd name="connsiteX1272" fmla="*/ 1392087 w 2350693"/>
              <a:gd name="connsiteY1272" fmla="*/ 296381 h 1320064"/>
              <a:gd name="connsiteX1273" fmla="*/ 1386302 w 2350693"/>
              <a:gd name="connsiteY1273" fmla="*/ 279028 h 1320064"/>
              <a:gd name="connsiteX1274" fmla="*/ 1382947 w 2350693"/>
              <a:gd name="connsiteY1274" fmla="*/ 263410 h 1320064"/>
              <a:gd name="connsiteX1275" fmla="*/ 1378435 w 2350693"/>
              <a:gd name="connsiteY1275" fmla="*/ 256063 h 1320064"/>
              <a:gd name="connsiteX1276" fmla="*/ 1386939 w 2350693"/>
              <a:gd name="connsiteY1276" fmla="*/ 249816 h 1320064"/>
              <a:gd name="connsiteX1277" fmla="*/ 1396425 w 2350693"/>
              <a:gd name="connsiteY1277" fmla="*/ 242470 h 1320064"/>
              <a:gd name="connsiteX1278" fmla="*/ 1393764 w 2350693"/>
              <a:gd name="connsiteY1278" fmla="*/ 241139 h 1320064"/>
              <a:gd name="connsiteX1279" fmla="*/ 1371263 w 2350693"/>
              <a:gd name="connsiteY1279" fmla="*/ 232752 h 1320064"/>
              <a:gd name="connsiteX1280" fmla="*/ 1366057 w 2350693"/>
              <a:gd name="connsiteY1280" fmla="*/ 230149 h 1320064"/>
              <a:gd name="connsiteX1281" fmla="*/ 1358132 w 2350693"/>
              <a:gd name="connsiteY1281" fmla="*/ 232983 h 1320064"/>
              <a:gd name="connsiteX1282" fmla="*/ 1349108 w 2350693"/>
              <a:gd name="connsiteY1282" fmla="*/ 236801 h 1320064"/>
              <a:gd name="connsiteX1283" fmla="*/ 1345233 w 2350693"/>
              <a:gd name="connsiteY1283" fmla="*/ 235413 h 1320064"/>
              <a:gd name="connsiteX1284" fmla="*/ 1344365 w 2350693"/>
              <a:gd name="connsiteY1284" fmla="*/ 217597 h 1320064"/>
              <a:gd name="connsiteX1285" fmla="*/ 1345985 w 2350693"/>
              <a:gd name="connsiteY1285" fmla="*/ 210771 h 1320064"/>
              <a:gd name="connsiteX1286" fmla="*/ 1349155 w 2350693"/>
              <a:gd name="connsiteY1286" fmla="*/ 207237 h 1320064"/>
              <a:gd name="connsiteX1287" fmla="*/ 1349571 w 2350693"/>
              <a:gd name="connsiteY1287" fmla="*/ 207243 h 1320064"/>
              <a:gd name="connsiteX1288" fmla="*/ 1352348 w 2350693"/>
              <a:gd name="connsiteY1288" fmla="*/ 207648 h 1320064"/>
              <a:gd name="connsiteX1289" fmla="*/ 1355934 w 2350693"/>
              <a:gd name="connsiteY1289" fmla="*/ 208053 h 1320064"/>
              <a:gd name="connsiteX1290" fmla="*/ 1361719 w 2350693"/>
              <a:gd name="connsiteY1290" fmla="*/ 204813 h 1320064"/>
              <a:gd name="connsiteX1291" fmla="*/ 1362470 w 2350693"/>
              <a:gd name="connsiteY1291" fmla="*/ 202384 h 1320064"/>
              <a:gd name="connsiteX1292" fmla="*/ 1355240 w 2350693"/>
              <a:gd name="connsiteY1292" fmla="*/ 197641 h 1320064"/>
              <a:gd name="connsiteX1293" fmla="*/ 1344539 w 2350693"/>
              <a:gd name="connsiteY1293" fmla="*/ 187865 h 1320064"/>
              <a:gd name="connsiteX1294" fmla="*/ 1327764 w 2350693"/>
              <a:gd name="connsiteY1294" fmla="*/ 176817 h 1320064"/>
              <a:gd name="connsiteX1295" fmla="*/ 1320938 w 2350693"/>
              <a:gd name="connsiteY1295" fmla="*/ 174387 h 1320064"/>
              <a:gd name="connsiteX1296" fmla="*/ 1320244 w 2350693"/>
              <a:gd name="connsiteY1296" fmla="*/ 160678 h 1320064"/>
              <a:gd name="connsiteX1297" fmla="*/ 1321632 w 2350693"/>
              <a:gd name="connsiteY1297" fmla="*/ 149630 h 1320064"/>
              <a:gd name="connsiteX1298" fmla="*/ 1287736 w 2350693"/>
              <a:gd name="connsiteY1298" fmla="*/ 125972 h 1320064"/>
              <a:gd name="connsiteX1299" fmla="*/ 1278307 w 2350693"/>
              <a:gd name="connsiteY1299" fmla="*/ 121633 h 1320064"/>
              <a:gd name="connsiteX1300" fmla="*/ 1278133 w 2350693"/>
              <a:gd name="connsiteY1300" fmla="*/ 114634 h 1320064"/>
              <a:gd name="connsiteX1301" fmla="*/ 1281546 w 2350693"/>
              <a:gd name="connsiteY1301" fmla="*/ 112899 h 1320064"/>
              <a:gd name="connsiteX1302" fmla="*/ 1282587 w 2350693"/>
              <a:gd name="connsiteY1302" fmla="*/ 112899 h 1320064"/>
              <a:gd name="connsiteX1303" fmla="*/ 1300577 w 2350693"/>
              <a:gd name="connsiteY1303" fmla="*/ 98727 h 1320064"/>
              <a:gd name="connsiteX1304" fmla="*/ 1309080 w 2350693"/>
              <a:gd name="connsiteY1304" fmla="*/ 85538 h 1320064"/>
              <a:gd name="connsiteX1305" fmla="*/ 1305320 w 2350693"/>
              <a:gd name="connsiteY1305" fmla="*/ 82935 h 1320064"/>
              <a:gd name="connsiteX1306" fmla="*/ 1297974 w 2350693"/>
              <a:gd name="connsiteY1306" fmla="*/ 75416 h 1320064"/>
              <a:gd name="connsiteX1307" fmla="*/ 1307518 w 2350693"/>
              <a:gd name="connsiteY1307" fmla="*/ 71656 h 1320064"/>
              <a:gd name="connsiteX1308" fmla="*/ 1323657 w 2350693"/>
              <a:gd name="connsiteY1308" fmla="*/ 74317 h 1320064"/>
              <a:gd name="connsiteX1309" fmla="*/ 1342341 w 2350693"/>
              <a:gd name="connsiteY1309" fmla="*/ 77093 h 1320064"/>
              <a:gd name="connsiteX1310" fmla="*/ 1349224 w 2350693"/>
              <a:gd name="connsiteY1310" fmla="*/ 75531 h 1320064"/>
              <a:gd name="connsiteX1311" fmla="*/ 1378898 w 2350693"/>
              <a:gd name="connsiteY1311" fmla="*/ 35619 h 1320064"/>
              <a:gd name="connsiteX1312" fmla="*/ 1388385 w 2350693"/>
              <a:gd name="connsiteY1312" fmla="*/ 21852 h 1320064"/>
              <a:gd name="connsiteX1313" fmla="*/ 1390409 w 2350693"/>
              <a:gd name="connsiteY1313" fmla="*/ 14795 h 1320064"/>
              <a:gd name="connsiteX1314" fmla="*/ 1374502 w 2350693"/>
              <a:gd name="connsiteY1314" fmla="*/ 10861 h 1320064"/>
              <a:gd name="connsiteX1315" fmla="*/ 1360909 w 2350693"/>
              <a:gd name="connsiteY1315" fmla="*/ 11555 h 1320064"/>
              <a:gd name="connsiteX1316" fmla="*/ 1355818 w 2350693"/>
              <a:gd name="connsiteY1316" fmla="*/ 11555 h 1320064"/>
              <a:gd name="connsiteX1317" fmla="*/ 1334069 w 2350693"/>
              <a:gd name="connsiteY1317" fmla="*/ 6581 h 1320064"/>
              <a:gd name="connsiteX1318" fmla="*/ 1315906 w 2350693"/>
              <a:gd name="connsiteY1318" fmla="*/ 1664 h 1320064"/>
              <a:gd name="connsiteX1319" fmla="*/ 1309774 w 2350693"/>
              <a:gd name="connsiteY1319" fmla="*/ 1664 h 1320064"/>
              <a:gd name="connsiteX1320" fmla="*/ 1259855 w 2350693"/>
              <a:gd name="connsiteY1320" fmla="*/ 10572 h 1320064"/>
              <a:gd name="connsiteX1321" fmla="*/ 1262863 w 2350693"/>
              <a:gd name="connsiteY1321" fmla="*/ 17456 h 1320064"/>
              <a:gd name="connsiteX1322" fmla="*/ 1267375 w 2350693"/>
              <a:gd name="connsiteY1322" fmla="*/ 26479 h 1320064"/>
              <a:gd name="connsiteX1323" fmla="*/ 1263730 w 2350693"/>
              <a:gd name="connsiteY1323" fmla="*/ 29256 h 1320064"/>
              <a:gd name="connsiteX1324" fmla="*/ 1257078 w 2350693"/>
              <a:gd name="connsiteY1324" fmla="*/ 27174 h 1320064"/>
              <a:gd name="connsiteX1325" fmla="*/ 1249211 w 2350693"/>
              <a:gd name="connsiteY1325" fmla="*/ 25380 h 1320064"/>
              <a:gd name="connsiteX1326" fmla="*/ 1248691 w 2350693"/>
              <a:gd name="connsiteY1326" fmla="*/ 32784 h 1320064"/>
              <a:gd name="connsiteX1327" fmla="*/ 1249848 w 2350693"/>
              <a:gd name="connsiteY1327" fmla="*/ 55922 h 1320064"/>
              <a:gd name="connsiteX1328" fmla="*/ 1256442 w 2350693"/>
              <a:gd name="connsiteY1328" fmla="*/ 81374 h 1320064"/>
              <a:gd name="connsiteX1329" fmla="*/ 1259913 w 2350693"/>
              <a:gd name="connsiteY1329" fmla="*/ 85365 h 1320064"/>
              <a:gd name="connsiteX1330" fmla="*/ 1265061 w 2350693"/>
              <a:gd name="connsiteY1330" fmla="*/ 111915 h 1320064"/>
              <a:gd name="connsiteX1331" fmla="*/ 1265061 w 2350693"/>
              <a:gd name="connsiteY1331" fmla="*/ 117700 h 1320064"/>
              <a:gd name="connsiteX1332" fmla="*/ 1251988 w 2350693"/>
              <a:gd name="connsiteY1332" fmla="*/ 132566 h 1320064"/>
              <a:gd name="connsiteX1333" fmla="*/ 1247650 w 2350693"/>
              <a:gd name="connsiteY1333" fmla="*/ 134359 h 1320064"/>
              <a:gd name="connsiteX1334" fmla="*/ 1247360 w 2350693"/>
              <a:gd name="connsiteY1334" fmla="*/ 134648 h 1320064"/>
              <a:gd name="connsiteX1335" fmla="*/ 1250310 w 2350693"/>
              <a:gd name="connsiteY1335" fmla="*/ 137830 h 1320064"/>
              <a:gd name="connsiteX1336" fmla="*/ 1256557 w 2350693"/>
              <a:gd name="connsiteY1336" fmla="*/ 150093 h 1320064"/>
              <a:gd name="connsiteX1337" fmla="*/ 1251988 w 2350693"/>
              <a:gd name="connsiteY1337" fmla="*/ 153795 h 1320064"/>
              <a:gd name="connsiteX1338" fmla="*/ 1243890 w 2350693"/>
              <a:gd name="connsiteY1338" fmla="*/ 151134 h 1320064"/>
              <a:gd name="connsiteX1339" fmla="*/ 1233362 w 2350693"/>
              <a:gd name="connsiteY1339" fmla="*/ 148415 h 1320064"/>
              <a:gd name="connsiteX1340" fmla="*/ 1225495 w 2350693"/>
              <a:gd name="connsiteY1340" fmla="*/ 161893 h 1320064"/>
              <a:gd name="connsiteX1341" fmla="*/ 1228330 w 2350693"/>
              <a:gd name="connsiteY1341" fmla="*/ 176180 h 1320064"/>
              <a:gd name="connsiteX1342" fmla="*/ 1232668 w 2350693"/>
              <a:gd name="connsiteY1342" fmla="*/ 179535 h 1320064"/>
              <a:gd name="connsiteX1343" fmla="*/ 1236717 w 2350693"/>
              <a:gd name="connsiteY1343" fmla="*/ 184105 h 1320064"/>
              <a:gd name="connsiteX1344" fmla="*/ 1233362 w 2350693"/>
              <a:gd name="connsiteY1344" fmla="*/ 191104 h 1320064"/>
              <a:gd name="connsiteX1345" fmla="*/ 1234924 w 2350693"/>
              <a:gd name="connsiteY1345" fmla="*/ 220373 h 1320064"/>
              <a:gd name="connsiteX1346" fmla="*/ 1264771 w 2350693"/>
              <a:gd name="connsiteY1346" fmla="*/ 231306 h 1320064"/>
              <a:gd name="connsiteX1347" fmla="*/ 1289991 w 2350693"/>
              <a:gd name="connsiteY1347" fmla="*/ 239693 h 1320064"/>
              <a:gd name="connsiteX1348" fmla="*/ 1295776 w 2350693"/>
              <a:gd name="connsiteY1348" fmla="*/ 245478 h 1320064"/>
              <a:gd name="connsiteX1349" fmla="*/ 1292595 w 2350693"/>
              <a:gd name="connsiteY1349" fmla="*/ 248139 h 1320064"/>
              <a:gd name="connsiteX1350" fmla="*/ 1289297 w 2350693"/>
              <a:gd name="connsiteY1350" fmla="*/ 250453 h 1320064"/>
              <a:gd name="connsiteX1351" fmla="*/ 1289991 w 2350693"/>
              <a:gd name="connsiteY1351" fmla="*/ 253865 h 1320064"/>
              <a:gd name="connsiteX1352" fmla="*/ 1286000 w 2350693"/>
              <a:gd name="connsiteY1352" fmla="*/ 268500 h 1320064"/>
              <a:gd name="connsiteX1353" fmla="*/ 1281604 w 2350693"/>
              <a:gd name="connsiteY1353" fmla="*/ 276135 h 1320064"/>
              <a:gd name="connsiteX1354" fmla="*/ 1282703 w 2350693"/>
              <a:gd name="connsiteY1354" fmla="*/ 279028 h 1320064"/>
              <a:gd name="connsiteX1355" fmla="*/ 1292826 w 2350693"/>
              <a:gd name="connsiteY1355" fmla="*/ 265955 h 1320064"/>
              <a:gd name="connsiteX1356" fmla="*/ 1299073 w 2350693"/>
              <a:gd name="connsiteY1356" fmla="*/ 260517 h 1320064"/>
              <a:gd name="connsiteX1357" fmla="*/ 1302312 w 2350693"/>
              <a:gd name="connsiteY1357" fmla="*/ 262137 h 1320064"/>
              <a:gd name="connsiteX1358" fmla="*/ 1307114 w 2350693"/>
              <a:gd name="connsiteY1358" fmla="*/ 281746 h 1320064"/>
              <a:gd name="connsiteX1359" fmla="*/ 1298957 w 2350693"/>
              <a:gd name="connsiteY1359" fmla="*/ 291175 h 1320064"/>
              <a:gd name="connsiteX1360" fmla="*/ 1288083 w 2350693"/>
              <a:gd name="connsiteY1360" fmla="*/ 298637 h 1320064"/>
              <a:gd name="connsiteX1361" fmla="*/ 1268300 w 2350693"/>
              <a:gd name="connsiteY1361" fmla="*/ 311016 h 1320064"/>
              <a:gd name="connsiteX1362" fmla="*/ 1260318 w 2350693"/>
              <a:gd name="connsiteY1362" fmla="*/ 310032 h 1320064"/>
              <a:gd name="connsiteX1363" fmla="*/ 1256037 w 2350693"/>
              <a:gd name="connsiteY1363" fmla="*/ 311073 h 1320064"/>
              <a:gd name="connsiteX1364" fmla="*/ 1261532 w 2350693"/>
              <a:gd name="connsiteY1364" fmla="*/ 335136 h 1320064"/>
              <a:gd name="connsiteX1365" fmla="*/ 1262342 w 2350693"/>
              <a:gd name="connsiteY1365" fmla="*/ 345201 h 1320064"/>
              <a:gd name="connsiteX1366" fmla="*/ 1245683 w 2350693"/>
              <a:gd name="connsiteY1366" fmla="*/ 346995 h 1320064"/>
              <a:gd name="connsiteX1367" fmla="*/ 1228677 w 2350693"/>
              <a:gd name="connsiteY1367" fmla="*/ 334847 h 1320064"/>
              <a:gd name="connsiteX1368" fmla="*/ 1230470 w 2350693"/>
              <a:gd name="connsiteY1368" fmla="*/ 322874 h 1320064"/>
              <a:gd name="connsiteX1369" fmla="*/ 1237758 w 2350693"/>
              <a:gd name="connsiteY1369" fmla="*/ 304074 h 1320064"/>
              <a:gd name="connsiteX1370" fmla="*/ 1235271 w 2350693"/>
              <a:gd name="connsiteY1370" fmla="*/ 303380 h 1320064"/>
              <a:gd name="connsiteX1371" fmla="*/ 1229949 w 2350693"/>
              <a:gd name="connsiteY1371" fmla="*/ 303727 h 1320064"/>
              <a:gd name="connsiteX1372" fmla="*/ 1202647 w 2350693"/>
              <a:gd name="connsiteY1372" fmla="*/ 293836 h 1320064"/>
              <a:gd name="connsiteX1373" fmla="*/ 1201201 w 2350693"/>
              <a:gd name="connsiteY1373" fmla="*/ 288051 h 1320064"/>
              <a:gd name="connsiteX1374" fmla="*/ 1205076 w 2350693"/>
              <a:gd name="connsiteY1374" fmla="*/ 286489 h 1320064"/>
              <a:gd name="connsiteX1375" fmla="*/ 1213811 w 2350693"/>
              <a:gd name="connsiteY1375" fmla="*/ 287531 h 1320064"/>
              <a:gd name="connsiteX1376" fmla="*/ 1223702 w 2350693"/>
              <a:gd name="connsiteY1376" fmla="*/ 288861 h 1320064"/>
              <a:gd name="connsiteX1377" fmla="*/ 1226479 w 2350693"/>
              <a:gd name="connsiteY1377" fmla="*/ 288861 h 1320064"/>
              <a:gd name="connsiteX1378" fmla="*/ 1231337 w 2350693"/>
              <a:gd name="connsiteY1378" fmla="*/ 284349 h 1320064"/>
              <a:gd name="connsiteX1379" fmla="*/ 1238105 w 2350693"/>
              <a:gd name="connsiteY1379" fmla="*/ 277755 h 1320064"/>
              <a:gd name="connsiteX1380" fmla="*/ 1248864 w 2350693"/>
              <a:gd name="connsiteY1380" fmla="*/ 279085 h 1320064"/>
              <a:gd name="connsiteX1381" fmla="*/ 1257425 w 2350693"/>
              <a:gd name="connsiteY1381" fmla="*/ 280126 h 1320064"/>
              <a:gd name="connsiteX1382" fmla="*/ 1268994 w 2350693"/>
              <a:gd name="connsiteY1382" fmla="*/ 275615 h 1320064"/>
              <a:gd name="connsiteX1383" fmla="*/ 1271019 w 2350693"/>
              <a:gd name="connsiteY1383" fmla="*/ 265550 h 1320064"/>
              <a:gd name="connsiteX1384" fmla="*/ 1256731 w 2350693"/>
              <a:gd name="connsiteY1384" fmla="*/ 253692 h 1320064"/>
              <a:gd name="connsiteX1385" fmla="*/ 1254938 w 2350693"/>
              <a:gd name="connsiteY1385" fmla="*/ 253692 h 1320064"/>
              <a:gd name="connsiteX1386" fmla="*/ 1234056 w 2350693"/>
              <a:gd name="connsiteY1386" fmla="*/ 255832 h 1320064"/>
              <a:gd name="connsiteX1387" fmla="*/ 1231627 w 2350693"/>
              <a:gd name="connsiteY1387" fmla="*/ 250800 h 1320064"/>
              <a:gd name="connsiteX1388" fmla="*/ 1239494 w 2350693"/>
              <a:gd name="connsiteY1388" fmla="*/ 245015 h 1320064"/>
              <a:gd name="connsiteX1389" fmla="*/ 1245278 w 2350693"/>
              <a:gd name="connsiteY1389" fmla="*/ 245420 h 1320064"/>
              <a:gd name="connsiteX1390" fmla="*/ 1254880 w 2350693"/>
              <a:gd name="connsiteY1390" fmla="*/ 245420 h 1320064"/>
              <a:gd name="connsiteX1391" fmla="*/ 1256500 w 2350693"/>
              <a:gd name="connsiteY1391" fmla="*/ 244090 h 1320064"/>
              <a:gd name="connsiteX1392" fmla="*/ 1243138 w 2350693"/>
              <a:gd name="connsiteY1392" fmla="*/ 237438 h 1320064"/>
              <a:gd name="connsiteX1393" fmla="*/ 1239031 w 2350693"/>
              <a:gd name="connsiteY1393" fmla="*/ 237900 h 1320064"/>
              <a:gd name="connsiteX1394" fmla="*/ 1226363 w 2350693"/>
              <a:gd name="connsiteY1394" fmla="*/ 239925 h 1320064"/>
              <a:gd name="connsiteX1395" fmla="*/ 1207679 w 2350693"/>
              <a:gd name="connsiteY1395" fmla="*/ 230959 h 1320064"/>
              <a:gd name="connsiteX1396" fmla="*/ 1191020 w 2350693"/>
              <a:gd name="connsiteY1396" fmla="*/ 222167 h 1320064"/>
              <a:gd name="connsiteX1397" fmla="*/ 1178121 w 2350693"/>
              <a:gd name="connsiteY1397" fmla="*/ 237611 h 1320064"/>
              <a:gd name="connsiteX1398" fmla="*/ 1159379 w 2350693"/>
              <a:gd name="connsiteY1398" fmla="*/ 254154 h 1320064"/>
              <a:gd name="connsiteX1399" fmla="*/ 1150008 w 2350693"/>
              <a:gd name="connsiteY1399" fmla="*/ 256931 h 1320064"/>
              <a:gd name="connsiteX1400" fmla="*/ 1148851 w 2350693"/>
              <a:gd name="connsiteY1400" fmla="*/ 261269 h 1320064"/>
              <a:gd name="connsiteX1401" fmla="*/ 1173435 w 2350693"/>
              <a:gd name="connsiteY1401" fmla="*/ 269020 h 1320064"/>
              <a:gd name="connsiteX1402" fmla="*/ 1197556 w 2350693"/>
              <a:gd name="connsiteY1402" fmla="*/ 284176 h 1320064"/>
              <a:gd name="connsiteX1403" fmla="*/ 1193970 w 2350693"/>
              <a:gd name="connsiteY1403" fmla="*/ 287010 h 1320064"/>
              <a:gd name="connsiteX1404" fmla="*/ 1189053 w 2350693"/>
              <a:gd name="connsiteY1404" fmla="*/ 291117 h 1320064"/>
              <a:gd name="connsiteX1405" fmla="*/ 1184368 w 2350693"/>
              <a:gd name="connsiteY1405" fmla="*/ 295224 h 1320064"/>
              <a:gd name="connsiteX1406" fmla="*/ 1180724 w 2350693"/>
              <a:gd name="connsiteY1406" fmla="*/ 294183 h 1320064"/>
              <a:gd name="connsiteX1407" fmla="*/ 1169618 w 2350693"/>
              <a:gd name="connsiteY1407" fmla="*/ 294761 h 1320064"/>
              <a:gd name="connsiteX1408" fmla="*/ 1171179 w 2350693"/>
              <a:gd name="connsiteY1408" fmla="*/ 299678 h 1320064"/>
              <a:gd name="connsiteX1409" fmla="*/ 1171642 w 2350693"/>
              <a:gd name="connsiteY1409" fmla="*/ 311247 h 1320064"/>
              <a:gd name="connsiteX1410" fmla="*/ 1169618 w 2350693"/>
              <a:gd name="connsiteY1410" fmla="*/ 317899 h 1320064"/>
              <a:gd name="connsiteX1411" fmla="*/ 1168692 w 2350693"/>
              <a:gd name="connsiteY1411" fmla="*/ 321196 h 1320064"/>
              <a:gd name="connsiteX1412" fmla="*/ 1155156 w 2350693"/>
              <a:gd name="connsiteY1412" fmla="*/ 320791 h 1320064"/>
              <a:gd name="connsiteX1413" fmla="*/ 1142951 w 2350693"/>
              <a:gd name="connsiteY1413" fmla="*/ 318477 h 1320064"/>
              <a:gd name="connsiteX1414" fmla="*/ 1138208 w 2350693"/>
              <a:gd name="connsiteY1414" fmla="*/ 318477 h 1320064"/>
              <a:gd name="connsiteX1415" fmla="*/ 1090024 w 2350693"/>
              <a:gd name="connsiteY1415" fmla="*/ 325303 h 1320064"/>
              <a:gd name="connsiteX1416" fmla="*/ 1079265 w 2350693"/>
              <a:gd name="connsiteY1416" fmla="*/ 326460 h 1320064"/>
              <a:gd name="connsiteX1417" fmla="*/ 1045889 w 2350693"/>
              <a:gd name="connsiteY1417" fmla="*/ 314891 h 1320064"/>
              <a:gd name="connsiteX1418" fmla="*/ 1021941 w 2350693"/>
              <a:gd name="connsiteY1418" fmla="*/ 308528 h 1320064"/>
              <a:gd name="connsiteX1419" fmla="*/ 1017834 w 2350693"/>
              <a:gd name="connsiteY1419" fmla="*/ 308528 h 1320064"/>
              <a:gd name="connsiteX1420" fmla="*/ 1006670 w 2350693"/>
              <a:gd name="connsiteY1420" fmla="*/ 302744 h 1320064"/>
              <a:gd name="connsiteX1421" fmla="*/ 993597 w 2350693"/>
              <a:gd name="connsiteY1421" fmla="*/ 296323 h 1320064"/>
              <a:gd name="connsiteX1422" fmla="*/ 979252 w 2350693"/>
              <a:gd name="connsiteY1422" fmla="*/ 279375 h 1320064"/>
              <a:gd name="connsiteX1423" fmla="*/ 978558 w 2350693"/>
              <a:gd name="connsiteY1423" fmla="*/ 273590 h 1320064"/>
              <a:gd name="connsiteX1424" fmla="*/ 964733 w 2350693"/>
              <a:gd name="connsiteY1424" fmla="*/ 269599 h 1320064"/>
              <a:gd name="connsiteX1425" fmla="*/ 935464 w 2350693"/>
              <a:gd name="connsiteY1425" fmla="*/ 276078 h 1320064"/>
              <a:gd name="connsiteX1426" fmla="*/ 918111 w 2350693"/>
              <a:gd name="connsiteY1426" fmla="*/ 281862 h 1320064"/>
              <a:gd name="connsiteX1427" fmla="*/ 895725 w 2350693"/>
              <a:gd name="connsiteY1427" fmla="*/ 293431 h 1320064"/>
              <a:gd name="connsiteX1428" fmla="*/ 894626 w 2350693"/>
              <a:gd name="connsiteY1428" fmla="*/ 301355 h 1320064"/>
              <a:gd name="connsiteX1429" fmla="*/ 902088 w 2350693"/>
              <a:gd name="connsiteY1429" fmla="*/ 303438 h 1320064"/>
              <a:gd name="connsiteX1430" fmla="*/ 906831 w 2350693"/>
              <a:gd name="connsiteY1430" fmla="*/ 303438 h 1320064"/>
              <a:gd name="connsiteX1431" fmla="*/ 914293 w 2350693"/>
              <a:gd name="connsiteY1431" fmla="*/ 299967 h 1320064"/>
              <a:gd name="connsiteX1432" fmla="*/ 927713 w 2350693"/>
              <a:gd name="connsiteY1432" fmla="*/ 294588 h 1320064"/>
              <a:gd name="connsiteX1433" fmla="*/ 932398 w 2350693"/>
              <a:gd name="connsiteY1433" fmla="*/ 294935 h 1320064"/>
              <a:gd name="connsiteX1434" fmla="*/ 935175 w 2350693"/>
              <a:gd name="connsiteY1434" fmla="*/ 294935 h 1320064"/>
              <a:gd name="connsiteX1435" fmla="*/ 953916 w 2350693"/>
              <a:gd name="connsiteY1435" fmla="*/ 287704 h 1320064"/>
              <a:gd name="connsiteX1436" fmla="*/ 964849 w 2350693"/>
              <a:gd name="connsiteY1436" fmla="*/ 282845 h 1320064"/>
              <a:gd name="connsiteX1437" fmla="*/ 969419 w 2350693"/>
              <a:gd name="connsiteY1437" fmla="*/ 284812 h 1320064"/>
              <a:gd name="connsiteX1438" fmla="*/ 970460 w 2350693"/>
              <a:gd name="connsiteY1438" fmla="*/ 289035 h 1320064"/>
              <a:gd name="connsiteX1439" fmla="*/ 924184 w 2350693"/>
              <a:gd name="connsiteY1439" fmla="*/ 310321 h 1320064"/>
              <a:gd name="connsiteX1440" fmla="*/ 915566 w 2350693"/>
              <a:gd name="connsiteY1440" fmla="*/ 315296 h 1320064"/>
              <a:gd name="connsiteX1441" fmla="*/ 928002 w 2350693"/>
              <a:gd name="connsiteY1441" fmla="*/ 346127 h 1320064"/>
              <a:gd name="connsiteX1442" fmla="*/ 933208 w 2350693"/>
              <a:gd name="connsiteY1442" fmla="*/ 359836 h 1320064"/>
              <a:gd name="connsiteX1443" fmla="*/ 927424 w 2350693"/>
              <a:gd name="connsiteY1443" fmla="*/ 362960 h 1320064"/>
              <a:gd name="connsiteX1444" fmla="*/ 921639 w 2350693"/>
              <a:gd name="connsiteY1444" fmla="*/ 367356 h 1320064"/>
              <a:gd name="connsiteX1445" fmla="*/ 915855 w 2350693"/>
              <a:gd name="connsiteY1445" fmla="*/ 372446 h 1320064"/>
              <a:gd name="connsiteX1446" fmla="*/ 899774 w 2350693"/>
              <a:gd name="connsiteY1446" fmla="*/ 363191 h 1320064"/>
              <a:gd name="connsiteX1447" fmla="*/ 903245 w 2350693"/>
              <a:gd name="connsiteY1447" fmla="*/ 358968 h 1320064"/>
              <a:gd name="connsiteX1448" fmla="*/ 909029 w 2350693"/>
              <a:gd name="connsiteY1448" fmla="*/ 353820 h 1320064"/>
              <a:gd name="connsiteX1449" fmla="*/ 900005 w 2350693"/>
              <a:gd name="connsiteY1449" fmla="*/ 338549 h 1320064"/>
              <a:gd name="connsiteX1450" fmla="*/ 890114 w 2350693"/>
              <a:gd name="connsiteY1450" fmla="*/ 335079 h 1320064"/>
              <a:gd name="connsiteX1451" fmla="*/ 886238 w 2350693"/>
              <a:gd name="connsiteY1451" fmla="*/ 333980 h 1320064"/>
              <a:gd name="connsiteX1452" fmla="*/ 885660 w 2350693"/>
              <a:gd name="connsiteY1452" fmla="*/ 329641 h 1320064"/>
              <a:gd name="connsiteX1453" fmla="*/ 885660 w 2350693"/>
              <a:gd name="connsiteY1453" fmla="*/ 327732 h 1320064"/>
              <a:gd name="connsiteX1454" fmla="*/ 881380 w 2350693"/>
              <a:gd name="connsiteY1454" fmla="*/ 327443 h 1320064"/>
              <a:gd name="connsiteX1455" fmla="*/ 877677 w 2350693"/>
              <a:gd name="connsiteY1455" fmla="*/ 327443 h 1320064"/>
              <a:gd name="connsiteX1456" fmla="*/ 868018 w 2350693"/>
              <a:gd name="connsiteY1456" fmla="*/ 324435 h 1320064"/>
              <a:gd name="connsiteX1457" fmla="*/ 865299 w 2350693"/>
              <a:gd name="connsiteY1457" fmla="*/ 322237 h 1320064"/>
              <a:gd name="connsiteX1458" fmla="*/ 853325 w 2350693"/>
              <a:gd name="connsiteY1458" fmla="*/ 315990 h 1320064"/>
              <a:gd name="connsiteX1459" fmla="*/ 845053 w 2350693"/>
              <a:gd name="connsiteY1459" fmla="*/ 318477 h 1320064"/>
              <a:gd name="connsiteX1460" fmla="*/ 818676 w 2350693"/>
              <a:gd name="connsiteY1460" fmla="*/ 324262 h 1320064"/>
              <a:gd name="connsiteX1461" fmla="*/ 794440 w 2350693"/>
              <a:gd name="connsiteY1461" fmla="*/ 327212 h 1320064"/>
              <a:gd name="connsiteX1462" fmla="*/ 760716 w 2350693"/>
              <a:gd name="connsiteY1462" fmla="*/ 329583 h 1320064"/>
              <a:gd name="connsiteX1463" fmla="*/ 712879 w 2350693"/>
              <a:gd name="connsiteY1463" fmla="*/ 321427 h 1320064"/>
              <a:gd name="connsiteX1464" fmla="*/ 711607 w 2350693"/>
              <a:gd name="connsiteY1464" fmla="*/ 314775 h 1320064"/>
              <a:gd name="connsiteX1465" fmla="*/ 742264 w 2350693"/>
              <a:gd name="connsiteY1465" fmla="*/ 298058 h 1320064"/>
              <a:gd name="connsiteX1466" fmla="*/ 744867 w 2350693"/>
              <a:gd name="connsiteY1466" fmla="*/ 298348 h 1320064"/>
              <a:gd name="connsiteX1467" fmla="*/ 746487 w 2350693"/>
              <a:gd name="connsiteY1467" fmla="*/ 298348 h 1320064"/>
              <a:gd name="connsiteX1468" fmla="*/ 747701 w 2350693"/>
              <a:gd name="connsiteY1468" fmla="*/ 297827 h 1320064"/>
              <a:gd name="connsiteX1469" fmla="*/ 733587 w 2350693"/>
              <a:gd name="connsiteY1469" fmla="*/ 279490 h 1320064"/>
              <a:gd name="connsiteX1470" fmla="*/ 695699 w 2350693"/>
              <a:gd name="connsiteY1470" fmla="*/ 266186 h 1320064"/>
              <a:gd name="connsiteX1471" fmla="*/ 691303 w 2350693"/>
              <a:gd name="connsiteY1471" fmla="*/ 267112 h 1320064"/>
              <a:gd name="connsiteX1472" fmla="*/ 691303 w 2350693"/>
              <a:gd name="connsiteY1472" fmla="*/ 267632 h 1320064"/>
              <a:gd name="connsiteX1473" fmla="*/ 690493 w 2350693"/>
              <a:gd name="connsiteY1473" fmla="*/ 270293 h 1320064"/>
              <a:gd name="connsiteX1474" fmla="*/ 685403 w 2350693"/>
              <a:gd name="connsiteY1474" fmla="*/ 271797 h 1320064"/>
              <a:gd name="connsiteX1475" fmla="*/ 665273 w 2350693"/>
              <a:gd name="connsiteY1475" fmla="*/ 268384 h 1320064"/>
              <a:gd name="connsiteX1476" fmla="*/ 649944 w 2350693"/>
              <a:gd name="connsiteY1476" fmla="*/ 265203 h 1320064"/>
              <a:gd name="connsiteX1477" fmla="*/ 626807 w 2350693"/>
              <a:gd name="connsiteY1477" fmla="*/ 257336 h 1320064"/>
              <a:gd name="connsiteX1478" fmla="*/ 610263 w 2350693"/>
              <a:gd name="connsiteY1478" fmla="*/ 252477 h 1320064"/>
              <a:gd name="connsiteX1479" fmla="*/ 555080 w 2350693"/>
              <a:gd name="connsiteY1479" fmla="*/ 234950 h 1320064"/>
              <a:gd name="connsiteX1480" fmla="*/ 524827 w 2350693"/>
              <a:gd name="connsiteY1480" fmla="*/ 226736 h 1320064"/>
              <a:gd name="connsiteX1481" fmla="*/ 495037 w 2350693"/>
              <a:gd name="connsiteY1481" fmla="*/ 236917 h 1320064"/>
              <a:gd name="connsiteX1482" fmla="*/ 466115 w 2350693"/>
              <a:gd name="connsiteY1482" fmla="*/ 249122 h 1320064"/>
              <a:gd name="connsiteX1483" fmla="*/ 462529 w 2350693"/>
              <a:gd name="connsiteY1483" fmla="*/ 249122 h 1320064"/>
              <a:gd name="connsiteX1484" fmla="*/ 457034 w 2350693"/>
              <a:gd name="connsiteY1484" fmla="*/ 246982 h 1320064"/>
              <a:gd name="connsiteX1485" fmla="*/ 460447 w 2350693"/>
              <a:gd name="connsiteY1485" fmla="*/ 237380 h 1320064"/>
              <a:gd name="connsiteX1486" fmla="*/ 463397 w 2350693"/>
              <a:gd name="connsiteY1486" fmla="*/ 231595 h 1320064"/>
              <a:gd name="connsiteX1487" fmla="*/ 459405 w 2350693"/>
              <a:gd name="connsiteY1487" fmla="*/ 220605 h 1320064"/>
              <a:gd name="connsiteX1488" fmla="*/ 454546 w 2350693"/>
              <a:gd name="connsiteY1488" fmla="*/ 210366 h 1320064"/>
              <a:gd name="connsiteX1489" fmla="*/ 454257 w 2350693"/>
              <a:gd name="connsiteY1489" fmla="*/ 210366 h 1320064"/>
              <a:gd name="connsiteX1490" fmla="*/ 442688 w 2350693"/>
              <a:gd name="connsiteY1490" fmla="*/ 224827 h 1320064"/>
              <a:gd name="connsiteX1491" fmla="*/ 418336 w 2350693"/>
              <a:gd name="connsiteY1491" fmla="*/ 249180 h 1320064"/>
              <a:gd name="connsiteX1492" fmla="*/ 417468 w 2350693"/>
              <a:gd name="connsiteY1492" fmla="*/ 249180 h 1320064"/>
              <a:gd name="connsiteX1493" fmla="*/ 392132 w 2350693"/>
              <a:gd name="connsiteY1493" fmla="*/ 219564 h 1320064"/>
              <a:gd name="connsiteX1494" fmla="*/ 375705 w 2350693"/>
              <a:gd name="connsiteY1494" fmla="*/ 194459 h 1320064"/>
              <a:gd name="connsiteX1495" fmla="*/ 358698 w 2350693"/>
              <a:gd name="connsiteY1495" fmla="*/ 186766 h 1320064"/>
              <a:gd name="connsiteX1496" fmla="*/ 356327 w 2350693"/>
              <a:gd name="connsiteY1496" fmla="*/ 187691 h 1320064"/>
              <a:gd name="connsiteX1497" fmla="*/ 360897 w 2350693"/>
              <a:gd name="connsiteY1497" fmla="*/ 197698 h 1320064"/>
              <a:gd name="connsiteX1498" fmla="*/ 364656 w 2350693"/>
              <a:gd name="connsiteY1498" fmla="*/ 206896 h 1320064"/>
              <a:gd name="connsiteX1499" fmla="*/ 358062 w 2350693"/>
              <a:gd name="connsiteY1499" fmla="*/ 209557 h 1320064"/>
              <a:gd name="connsiteX1500" fmla="*/ 351989 w 2350693"/>
              <a:gd name="connsiteY1500" fmla="*/ 211408 h 1320064"/>
              <a:gd name="connsiteX1501" fmla="*/ 351410 w 2350693"/>
              <a:gd name="connsiteY1501" fmla="*/ 214011 h 1320064"/>
              <a:gd name="connsiteX1502" fmla="*/ 346667 w 2350693"/>
              <a:gd name="connsiteY1502" fmla="*/ 225290 h 1320064"/>
              <a:gd name="connsiteX1503" fmla="*/ 331859 w 2350693"/>
              <a:gd name="connsiteY1503" fmla="*/ 234372 h 1320064"/>
              <a:gd name="connsiteX1504" fmla="*/ 329776 w 2350693"/>
              <a:gd name="connsiteY1504" fmla="*/ 233562 h 1320064"/>
              <a:gd name="connsiteX1505" fmla="*/ 329198 w 2350693"/>
              <a:gd name="connsiteY1505" fmla="*/ 231595 h 1320064"/>
              <a:gd name="connsiteX1506" fmla="*/ 328099 w 2350693"/>
              <a:gd name="connsiteY1506" fmla="*/ 228645 h 1320064"/>
              <a:gd name="connsiteX1507" fmla="*/ 321910 w 2350693"/>
              <a:gd name="connsiteY1507" fmla="*/ 226273 h 1320064"/>
              <a:gd name="connsiteX1508" fmla="*/ 304556 w 2350693"/>
              <a:gd name="connsiteY1508" fmla="*/ 236686 h 1320064"/>
              <a:gd name="connsiteX1509" fmla="*/ 283848 w 2350693"/>
              <a:gd name="connsiteY1509" fmla="*/ 250105 h 1320064"/>
              <a:gd name="connsiteX1510" fmla="*/ 276502 w 2350693"/>
              <a:gd name="connsiteY1510" fmla="*/ 244321 h 1320064"/>
              <a:gd name="connsiteX1511" fmla="*/ 276502 w 2350693"/>
              <a:gd name="connsiteY1511" fmla="*/ 244321 h 1320064"/>
              <a:gd name="connsiteX1512" fmla="*/ 275576 w 2350693"/>
              <a:gd name="connsiteY1512" fmla="*/ 244321 h 1320064"/>
              <a:gd name="connsiteX1513" fmla="*/ 237341 w 2350693"/>
              <a:gd name="connsiteY1513" fmla="*/ 264682 h 1320064"/>
              <a:gd name="connsiteX1514" fmla="*/ 236300 w 2350693"/>
              <a:gd name="connsiteY1514" fmla="*/ 266996 h 1320064"/>
              <a:gd name="connsiteX1515" fmla="*/ 234680 w 2350693"/>
              <a:gd name="connsiteY1515" fmla="*/ 274573 h 1320064"/>
              <a:gd name="connsiteX1516" fmla="*/ 216980 w 2350693"/>
              <a:gd name="connsiteY1516" fmla="*/ 280358 h 1320064"/>
              <a:gd name="connsiteX1517" fmla="*/ 210617 w 2350693"/>
              <a:gd name="connsiteY1517" fmla="*/ 276887 h 1320064"/>
              <a:gd name="connsiteX1518" fmla="*/ 223169 w 2350693"/>
              <a:gd name="connsiteY1518" fmla="*/ 263120 h 1320064"/>
              <a:gd name="connsiteX1519" fmla="*/ 236821 w 2350693"/>
              <a:gd name="connsiteY1519" fmla="*/ 254270 h 1320064"/>
              <a:gd name="connsiteX1520" fmla="*/ 276213 w 2350693"/>
              <a:gd name="connsiteY1520" fmla="*/ 232752 h 1320064"/>
              <a:gd name="connsiteX1521" fmla="*/ 318265 w 2350693"/>
              <a:gd name="connsiteY1521" fmla="*/ 213143 h 1320064"/>
              <a:gd name="connsiteX1522" fmla="*/ 317976 w 2350693"/>
              <a:gd name="connsiteY1522" fmla="*/ 211812 h 1320064"/>
              <a:gd name="connsiteX1523" fmla="*/ 313927 w 2350693"/>
              <a:gd name="connsiteY1523" fmla="*/ 210945 h 1320064"/>
              <a:gd name="connsiteX1524" fmla="*/ 308143 w 2350693"/>
              <a:gd name="connsiteY1524" fmla="*/ 211292 h 1320064"/>
              <a:gd name="connsiteX1525" fmla="*/ 295533 w 2350693"/>
              <a:gd name="connsiteY1525" fmla="*/ 211292 h 1320064"/>
              <a:gd name="connsiteX1526" fmla="*/ 293450 w 2350693"/>
              <a:gd name="connsiteY1526" fmla="*/ 211292 h 1320064"/>
              <a:gd name="connsiteX1527" fmla="*/ 266437 w 2350693"/>
              <a:gd name="connsiteY1527" fmla="*/ 221415 h 1320064"/>
              <a:gd name="connsiteX1528" fmla="*/ 253191 w 2350693"/>
              <a:gd name="connsiteY1528" fmla="*/ 227777 h 1320064"/>
              <a:gd name="connsiteX1529" fmla="*/ 234970 w 2350693"/>
              <a:gd name="connsiteY1529" fmla="*/ 233099 h 1320064"/>
              <a:gd name="connsiteX1530" fmla="*/ 222996 w 2350693"/>
              <a:gd name="connsiteY1530" fmla="*/ 237553 h 1320064"/>
              <a:gd name="connsiteX1531" fmla="*/ 223459 w 2350693"/>
              <a:gd name="connsiteY1531" fmla="*/ 240792 h 1320064"/>
              <a:gd name="connsiteX1532" fmla="*/ 223921 w 2350693"/>
              <a:gd name="connsiteY1532" fmla="*/ 245189 h 1320064"/>
              <a:gd name="connsiteX1533" fmla="*/ 220219 w 2350693"/>
              <a:gd name="connsiteY1533" fmla="*/ 246635 h 1320064"/>
              <a:gd name="connsiteX1534" fmla="*/ 215187 w 2350693"/>
              <a:gd name="connsiteY1534" fmla="*/ 246114 h 1320064"/>
              <a:gd name="connsiteX1535" fmla="*/ 209055 w 2350693"/>
              <a:gd name="connsiteY1535" fmla="*/ 245536 h 1320064"/>
              <a:gd name="connsiteX1536" fmla="*/ 204023 w 2350693"/>
              <a:gd name="connsiteY1536" fmla="*/ 247329 h 1320064"/>
              <a:gd name="connsiteX1537" fmla="*/ 198817 w 2350693"/>
              <a:gd name="connsiteY1537" fmla="*/ 250568 h 1320064"/>
              <a:gd name="connsiteX1538" fmla="*/ 193842 w 2350693"/>
              <a:gd name="connsiteY1538" fmla="*/ 246866 h 1320064"/>
              <a:gd name="connsiteX1539" fmla="*/ 196387 w 2350693"/>
              <a:gd name="connsiteY1539" fmla="*/ 241487 h 1320064"/>
              <a:gd name="connsiteX1540" fmla="*/ 196966 w 2350693"/>
              <a:gd name="connsiteY1540" fmla="*/ 240850 h 1320064"/>
              <a:gd name="connsiteX1541" fmla="*/ 185397 w 2350693"/>
              <a:gd name="connsiteY1541" fmla="*/ 236165 h 1320064"/>
              <a:gd name="connsiteX1542" fmla="*/ 183835 w 2350693"/>
              <a:gd name="connsiteY1542" fmla="*/ 236454 h 1320064"/>
              <a:gd name="connsiteX1543" fmla="*/ 164573 w 2350693"/>
              <a:gd name="connsiteY1543" fmla="*/ 247213 h 1320064"/>
              <a:gd name="connsiteX1544" fmla="*/ 143402 w 2350693"/>
              <a:gd name="connsiteY1544" fmla="*/ 257047 h 1320064"/>
              <a:gd name="connsiteX1545" fmla="*/ 145889 w 2350693"/>
              <a:gd name="connsiteY1545" fmla="*/ 262831 h 1320064"/>
              <a:gd name="connsiteX1546" fmla="*/ 148435 w 2350693"/>
              <a:gd name="connsiteY1546" fmla="*/ 264798 h 1320064"/>
              <a:gd name="connsiteX1547" fmla="*/ 158904 w 2350693"/>
              <a:gd name="connsiteY1547" fmla="*/ 275788 h 1320064"/>
              <a:gd name="connsiteX1548" fmla="*/ 156880 w 2350693"/>
              <a:gd name="connsiteY1548" fmla="*/ 280300 h 1320064"/>
              <a:gd name="connsiteX1549" fmla="*/ 153872 w 2350693"/>
              <a:gd name="connsiteY1549" fmla="*/ 281457 h 1320064"/>
              <a:gd name="connsiteX1550" fmla="*/ 143923 w 2350693"/>
              <a:gd name="connsiteY1550" fmla="*/ 277582 h 1320064"/>
              <a:gd name="connsiteX1551" fmla="*/ 115001 w 2350693"/>
              <a:gd name="connsiteY1551" fmla="*/ 269715 h 1320064"/>
              <a:gd name="connsiteX1552" fmla="*/ 112629 w 2350693"/>
              <a:gd name="connsiteY1552" fmla="*/ 269715 h 1320064"/>
              <a:gd name="connsiteX1553" fmla="*/ 73237 w 2350693"/>
              <a:gd name="connsiteY1553" fmla="*/ 256873 h 1320064"/>
              <a:gd name="connsiteX1554" fmla="*/ 50099 w 2350693"/>
              <a:gd name="connsiteY1554" fmla="*/ 238768 h 1320064"/>
              <a:gd name="connsiteX1555" fmla="*/ 26962 w 2350693"/>
              <a:gd name="connsiteY1555" fmla="*/ 236801 h 1320064"/>
              <a:gd name="connsiteX1556" fmla="*/ 1684 w 2350693"/>
              <a:gd name="connsiteY1556" fmla="*/ 235934 h 1320064"/>
              <a:gd name="connsiteX1557" fmla="*/ 1684 w 2350693"/>
              <a:gd name="connsiteY1557" fmla="*/ 652817 h 1320064"/>
              <a:gd name="connsiteX1558" fmla="*/ 11344 w 2350693"/>
              <a:gd name="connsiteY1558" fmla="*/ 656809 h 1320064"/>
              <a:gd name="connsiteX1559" fmla="*/ 14178 w 2350693"/>
              <a:gd name="connsiteY1559" fmla="*/ 655652 h 1320064"/>
              <a:gd name="connsiteX1560" fmla="*/ 20309 w 2350693"/>
              <a:gd name="connsiteY1560" fmla="*/ 653280 h 1320064"/>
              <a:gd name="connsiteX1561" fmla="*/ 22970 w 2350693"/>
              <a:gd name="connsiteY1561" fmla="*/ 653280 h 1320064"/>
              <a:gd name="connsiteX1562" fmla="*/ 26499 w 2350693"/>
              <a:gd name="connsiteY1562" fmla="*/ 653280 h 1320064"/>
              <a:gd name="connsiteX1563" fmla="*/ 39629 w 2350693"/>
              <a:gd name="connsiteY1563" fmla="*/ 650272 h 1320064"/>
              <a:gd name="connsiteX1564" fmla="*/ 46802 w 2350693"/>
              <a:gd name="connsiteY1564" fmla="*/ 648479 h 1320064"/>
              <a:gd name="connsiteX1565" fmla="*/ 59817 w 2350693"/>
              <a:gd name="connsiteY1565" fmla="*/ 665022 h 1320064"/>
              <a:gd name="connsiteX1566" fmla="*/ 72254 w 2350693"/>
              <a:gd name="connsiteY1566" fmla="*/ 678095 h 1320064"/>
              <a:gd name="connsiteX1567" fmla="*/ 87004 w 2350693"/>
              <a:gd name="connsiteY1567" fmla="*/ 691804 h 1320064"/>
              <a:gd name="connsiteX1568" fmla="*/ 90590 w 2350693"/>
              <a:gd name="connsiteY1568" fmla="*/ 696605 h 1320064"/>
              <a:gd name="connsiteX1569" fmla="*/ 102159 w 2350693"/>
              <a:gd name="connsiteY1569" fmla="*/ 706844 h 1320064"/>
              <a:gd name="connsiteX1570" fmla="*/ 106729 w 2350693"/>
              <a:gd name="connsiteY1570" fmla="*/ 705224 h 1320064"/>
              <a:gd name="connsiteX1571" fmla="*/ 115521 w 2350693"/>
              <a:gd name="connsiteY1571" fmla="*/ 700770 h 1320064"/>
              <a:gd name="connsiteX1572" fmla="*/ 131197 w 2350693"/>
              <a:gd name="connsiteY1572" fmla="*/ 686830 h 1320064"/>
              <a:gd name="connsiteX1573" fmla="*/ 150922 w 2350693"/>
              <a:gd name="connsiteY1573" fmla="*/ 677401 h 1320064"/>
              <a:gd name="connsiteX1574" fmla="*/ 170647 w 2350693"/>
              <a:gd name="connsiteY1574" fmla="*/ 688450 h 1320064"/>
              <a:gd name="connsiteX1575" fmla="*/ 188868 w 2350693"/>
              <a:gd name="connsiteY1575" fmla="*/ 709794 h 1320064"/>
              <a:gd name="connsiteX1576" fmla="*/ 229359 w 2350693"/>
              <a:gd name="connsiteY1576" fmla="*/ 754913 h 1320064"/>
              <a:gd name="connsiteX1577" fmla="*/ 240928 w 2350693"/>
              <a:gd name="connsiteY1577" fmla="*/ 776373 h 1320064"/>
              <a:gd name="connsiteX1578" fmla="*/ 277427 w 2350693"/>
              <a:gd name="connsiteY1578" fmla="*/ 811773 h 1320064"/>
              <a:gd name="connsiteX1579" fmla="*/ 303920 w 2350693"/>
              <a:gd name="connsiteY1579" fmla="*/ 842315 h 1320064"/>
              <a:gd name="connsiteX1580" fmla="*/ 308721 w 2350693"/>
              <a:gd name="connsiteY1580" fmla="*/ 853074 h 1320064"/>
              <a:gd name="connsiteX1581" fmla="*/ 313696 w 2350693"/>
              <a:gd name="connsiteY1581" fmla="*/ 861867 h 1320064"/>
              <a:gd name="connsiteX1582" fmla="*/ 309184 w 2350693"/>
              <a:gd name="connsiteY1582" fmla="*/ 867651 h 1320064"/>
              <a:gd name="connsiteX1583" fmla="*/ 291136 w 2350693"/>
              <a:gd name="connsiteY1583" fmla="*/ 880377 h 1320064"/>
              <a:gd name="connsiteX1584" fmla="*/ 300334 w 2350693"/>
              <a:gd name="connsiteY1584" fmla="*/ 891367 h 1320064"/>
              <a:gd name="connsiteX1585" fmla="*/ 302185 w 2350693"/>
              <a:gd name="connsiteY1585" fmla="*/ 892929 h 1320064"/>
              <a:gd name="connsiteX1586" fmla="*/ 304151 w 2350693"/>
              <a:gd name="connsiteY1586" fmla="*/ 896573 h 1320064"/>
              <a:gd name="connsiteX1587" fmla="*/ 298367 w 2350693"/>
              <a:gd name="connsiteY1587" fmla="*/ 900969 h 1320064"/>
              <a:gd name="connsiteX1588" fmla="*/ 294202 w 2350693"/>
              <a:gd name="connsiteY1588" fmla="*/ 903341 h 1320064"/>
              <a:gd name="connsiteX1589" fmla="*/ 294954 w 2350693"/>
              <a:gd name="connsiteY1589" fmla="*/ 904440 h 1320064"/>
              <a:gd name="connsiteX1590" fmla="*/ 297788 w 2350693"/>
              <a:gd name="connsiteY1590" fmla="*/ 915199 h 1320064"/>
              <a:gd name="connsiteX1591" fmla="*/ 304886 w 2350693"/>
              <a:gd name="connsiteY1591" fmla="*/ 928382 h 1320064"/>
              <a:gd name="connsiteX1592" fmla="*/ 308779 w 2350693"/>
              <a:gd name="connsiteY1592" fmla="*/ 928792 h 1320064"/>
              <a:gd name="connsiteX1593" fmla="*/ 321968 w 2350693"/>
              <a:gd name="connsiteY1593" fmla="*/ 923818 h 1320064"/>
              <a:gd name="connsiteX1594" fmla="*/ 329574 w 2350693"/>
              <a:gd name="connsiteY1594" fmla="*/ 923760 h 1320064"/>
              <a:gd name="connsiteX1595" fmla="*/ 330702 w 2350693"/>
              <a:gd name="connsiteY1595" fmla="*/ 925380 h 1320064"/>
              <a:gd name="connsiteX1596" fmla="*/ 329719 w 2350693"/>
              <a:gd name="connsiteY1596" fmla="*/ 940998 h 1320064"/>
              <a:gd name="connsiteX1597" fmla="*/ 329198 w 2350693"/>
              <a:gd name="connsiteY1597" fmla="*/ 947939 h 1320064"/>
              <a:gd name="connsiteX1598" fmla="*/ 334982 w 2350693"/>
              <a:gd name="connsiteY1598" fmla="*/ 951063 h 1320064"/>
              <a:gd name="connsiteX1599" fmla="*/ 339668 w 2350693"/>
              <a:gd name="connsiteY1599" fmla="*/ 948807 h 1320064"/>
              <a:gd name="connsiteX1600" fmla="*/ 343486 w 2350693"/>
              <a:gd name="connsiteY1600" fmla="*/ 946898 h 1320064"/>
              <a:gd name="connsiteX1601" fmla="*/ 357195 w 2350693"/>
              <a:gd name="connsiteY1601" fmla="*/ 956673 h 1320064"/>
              <a:gd name="connsiteX1602" fmla="*/ 363500 w 2350693"/>
              <a:gd name="connsiteY1602" fmla="*/ 962458 h 1320064"/>
              <a:gd name="connsiteX1603" fmla="*/ 370614 w 2350693"/>
              <a:gd name="connsiteY1603" fmla="*/ 973448 h 1320064"/>
              <a:gd name="connsiteX1604" fmla="*/ 364830 w 2350693"/>
              <a:gd name="connsiteY1604" fmla="*/ 976688 h 1320064"/>
              <a:gd name="connsiteX1605" fmla="*/ 359450 w 2350693"/>
              <a:gd name="connsiteY1605" fmla="*/ 983050 h 1320064"/>
              <a:gd name="connsiteX1606" fmla="*/ 363731 w 2350693"/>
              <a:gd name="connsiteY1606" fmla="*/ 990802 h 1320064"/>
              <a:gd name="connsiteX1607" fmla="*/ 370788 w 2350693"/>
              <a:gd name="connsiteY1607" fmla="*/ 1005205 h 1320064"/>
              <a:gd name="connsiteX1608" fmla="*/ 370788 w 2350693"/>
              <a:gd name="connsiteY1608" fmla="*/ 1006477 h 1320064"/>
              <a:gd name="connsiteX1609" fmla="*/ 395198 w 2350693"/>
              <a:gd name="connsiteY1609" fmla="*/ 1016658 h 1320064"/>
              <a:gd name="connsiteX1610" fmla="*/ 398438 w 2350693"/>
              <a:gd name="connsiteY1610" fmla="*/ 1016253 h 1320064"/>
              <a:gd name="connsiteX1611" fmla="*/ 401908 w 2350693"/>
              <a:gd name="connsiteY1611" fmla="*/ 1015732 h 1320064"/>
              <a:gd name="connsiteX1612" fmla="*/ 418510 w 2350693"/>
              <a:gd name="connsiteY1612" fmla="*/ 1028342 h 1320064"/>
              <a:gd name="connsiteX1613" fmla="*/ 435400 w 2350693"/>
              <a:gd name="connsiteY1613" fmla="*/ 1036614 h 1320064"/>
              <a:gd name="connsiteX1614" fmla="*/ 440490 w 2350693"/>
              <a:gd name="connsiteY1614" fmla="*/ 1035226 h 1320064"/>
              <a:gd name="connsiteX1615" fmla="*/ 443383 w 2350693"/>
              <a:gd name="connsiteY1615" fmla="*/ 1034127 h 1320064"/>
              <a:gd name="connsiteX1616" fmla="*/ 452580 w 2350693"/>
              <a:gd name="connsiteY1616" fmla="*/ 1052290 h 1320064"/>
              <a:gd name="connsiteX1617" fmla="*/ 458364 w 2350693"/>
              <a:gd name="connsiteY1617" fmla="*/ 1056281 h 1320064"/>
              <a:gd name="connsiteX1618" fmla="*/ 466289 w 2350693"/>
              <a:gd name="connsiteY1618" fmla="*/ 1055240 h 1320064"/>
              <a:gd name="connsiteX1619" fmla="*/ 472073 w 2350693"/>
              <a:gd name="connsiteY1619" fmla="*/ 1054372 h 1320064"/>
              <a:gd name="connsiteX1620" fmla="*/ 482254 w 2350693"/>
              <a:gd name="connsiteY1620" fmla="*/ 1059289 h 1320064"/>
              <a:gd name="connsiteX1621" fmla="*/ 488038 w 2350693"/>
              <a:gd name="connsiteY1621" fmla="*/ 1062355 h 1320064"/>
              <a:gd name="connsiteX1622" fmla="*/ 491220 w 2350693"/>
              <a:gd name="connsiteY1622" fmla="*/ 1061719 h 1320064"/>
              <a:gd name="connsiteX1623" fmla="*/ 504871 w 2350693"/>
              <a:gd name="connsiteY1623" fmla="*/ 1077684 h 1320064"/>
              <a:gd name="connsiteX1624" fmla="*/ 509961 w 2350693"/>
              <a:gd name="connsiteY1624" fmla="*/ 1087806 h 1320064"/>
              <a:gd name="connsiteX1625" fmla="*/ 1260780 w 2350693"/>
              <a:gd name="connsiteY1625" fmla="*/ 1084394 h 1320064"/>
              <a:gd name="connsiteX1626" fmla="*/ 1267837 w 2350693"/>
              <a:gd name="connsiteY1626" fmla="*/ 1070742 h 1320064"/>
              <a:gd name="connsiteX1627" fmla="*/ 1271944 w 2350693"/>
              <a:gd name="connsiteY1627" fmla="*/ 1072304 h 1320064"/>
              <a:gd name="connsiteX1628" fmla="*/ 1277381 w 2350693"/>
              <a:gd name="connsiteY1628" fmla="*/ 1083873 h 1320064"/>
              <a:gd name="connsiteX1629" fmla="*/ 1283166 w 2350693"/>
              <a:gd name="connsiteY1629" fmla="*/ 1093128 h 1320064"/>
              <a:gd name="connsiteX1630" fmla="*/ 1292884 w 2350693"/>
              <a:gd name="connsiteY1630" fmla="*/ 1097698 h 1320064"/>
              <a:gd name="connsiteX1631" fmla="*/ 1305725 w 2350693"/>
              <a:gd name="connsiteY1631" fmla="*/ 1101226 h 1320064"/>
              <a:gd name="connsiteX1632" fmla="*/ 1308502 w 2350693"/>
              <a:gd name="connsiteY1632" fmla="*/ 1099838 h 1320064"/>
              <a:gd name="connsiteX1633" fmla="*/ 1320071 w 2350693"/>
              <a:gd name="connsiteY1633" fmla="*/ 1096078 h 1320064"/>
              <a:gd name="connsiteX1634" fmla="*/ 1331986 w 2350693"/>
              <a:gd name="connsiteY1634" fmla="*/ 1102383 h 1320064"/>
              <a:gd name="connsiteX1635" fmla="*/ 1345117 w 2350693"/>
              <a:gd name="connsiteY1635" fmla="*/ 1108168 h 1320064"/>
              <a:gd name="connsiteX1636" fmla="*/ 1354662 w 2350693"/>
              <a:gd name="connsiteY1636" fmla="*/ 1111581 h 1320064"/>
              <a:gd name="connsiteX1637" fmla="*/ 1368313 w 2350693"/>
              <a:gd name="connsiteY1637" fmla="*/ 1119737 h 1320064"/>
              <a:gd name="connsiteX1638" fmla="*/ 1376469 w 2350693"/>
              <a:gd name="connsiteY1638" fmla="*/ 1115340 h 1320064"/>
              <a:gd name="connsiteX1639" fmla="*/ 1385377 w 2350693"/>
              <a:gd name="connsiteY1639" fmla="*/ 1112159 h 1320064"/>
              <a:gd name="connsiteX1640" fmla="*/ 1414935 w 2350693"/>
              <a:gd name="connsiteY1640" fmla="*/ 1119794 h 1320064"/>
              <a:gd name="connsiteX1641" fmla="*/ 1416208 w 2350693"/>
              <a:gd name="connsiteY1641" fmla="*/ 1120257 h 1320064"/>
              <a:gd name="connsiteX1642" fmla="*/ 1429975 w 2350693"/>
              <a:gd name="connsiteY1642" fmla="*/ 1104986 h 1320064"/>
              <a:gd name="connsiteX1643" fmla="*/ 1452071 w 2350693"/>
              <a:gd name="connsiteY1643" fmla="*/ 1087054 h 1320064"/>
              <a:gd name="connsiteX1644" fmla="*/ 1511362 w 2350693"/>
              <a:gd name="connsiteY1644" fmla="*/ 1112275 h 1320064"/>
              <a:gd name="connsiteX1645" fmla="*/ 1525071 w 2350693"/>
              <a:gd name="connsiteY1645" fmla="*/ 1122050 h 1320064"/>
              <a:gd name="connsiteX1646" fmla="*/ 1540399 w 2350693"/>
              <a:gd name="connsiteY1646" fmla="*/ 1132925 h 1320064"/>
              <a:gd name="connsiteX1647" fmla="*/ 1549712 w 2350693"/>
              <a:gd name="connsiteY1647" fmla="*/ 1154443 h 1320064"/>
              <a:gd name="connsiteX1648" fmla="*/ 1555960 w 2350693"/>
              <a:gd name="connsiteY1648" fmla="*/ 1170639 h 1320064"/>
              <a:gd name="connsiteX1649" fmla="*/ 1570479 w 2350693"/>
              <a:gd name="connsiteY1649" fmla="*/ 1180762 h 1320064"/>
              <a:gd name="connsiteX1650" fmla="*/ 1612358 w 2350693"/>
              <a:gd name="connsiteY1650" fmla="*/ 1186547 h 1320064"/>
              <a:gd name="connsiteX1651" fmla="*/ 1624563 w 2350693"/>
              <a:gd name="connsiteY1651" fmla="*/ 1188224 h 1320064"/>
              <a:gd name="connsiteX1652" fmla="*/ 1632603 w 2350693"/>
              <a:gd name="connsiteY1652" fmla="*/ 1188224 h 1320064"/>
              <a:gd name="connsiteX1653" fmla="*/ 1640586 w 2350693"/>
              <a:gd name="connsiteY1653" fmla="*/ 1188224 h 1320064"/>
              <a:gd name="connsiteX1654" fmla="*/ 1663723 w 2350693"/>
              <a:gd name="connsiteY1654" fmla="*/ 1201008 h 1320064"/>
              <a:gd name="connsiteX1655" fmla="*/ 1674020 w 2350693"/>
              <a:gd name="connsiteY1655" fmla="*/ 1219402 h 1320064"/>
              <a:gd name="connsiteX1656" fmla="*/ 1680672 w 2350693"/>
              <a:gd name="connsiteY1656" fmla="*/ 1236466 h 1320064"/>
              <a:gd name="connsiteX1657" fmla="*/ 1672458 w 2350693"/>
              <a:gd name="connsiteY1657" fmla="*/ 1240111 h 1320064"/>
              <a:gd name="connsiteX1658" fmla="*/ 1648742 w 2350693"/>
              <a:gd name="connsiteY1658" fmla="*/ 1232128 h 1320064"/>
              <a:gd name="connsiteX1659" fmla="*/ 1639313 w 2350693"/>
              <a:gd name="connsiteY1659" fmla="*/ 1227963 h 1320064"/>
              <a:gd name="connsiteX1660" fmla="*/ 1638677 w 2350693"/>
              <a:gd name="connsiteY1660" fmla="*/ 1227963 h 1320064"/>
              <a:gd name="connsiteX1661" fmla="*/ 1638388 w 2350693"/>
              <a:gd name="connsiteY1661" fmla="*/ 1230161 h 1320064"/>
              <a:gd name="connsiteX1662" fmla="*/ 1634801 w 2350693"/>
              <a:gd name="connsiteY1662" fmla="*/ 1240458 h 1320064"/>
              <a:gd name="connsiteX1663" fmla="*/ 1629885 w 2350693"/>
              <a:gd name="connsiteY1663" fmla="*/ 1254514 h 1320064"/>
              <a:gd name="connsiteX1664" fmla="*/ 1609870 w 2350693"/>
              <a:gd name="connsiteY1664" fmla="*/ 1298128 h 1320064"/>
              <a:gd name="connsiteX1665" fmla="*/ 1219769 w 2350693"/>
              <a:gd name="connsiteY1665" fmla="*/ 1034763 h 1320064"/>
              <a:gd name="connsiteX1666" fmla="*/ 1211208 w 2350693"/>
              <a:gd name="connsiteY1666" fmla="*/ 1018162 h 1320064"/>
              <a:gd name="connsiteX1667" fmla="*/ 1196399 w 2350693"/>
              <a:gd name="connsiteY1667" fmla="*/ 986001 h 1320064"/>
              <a:gd name="connsiteX1668" fmla="*/ 1154000 w 2350693"/>
              <a:gd name="connsiteY1668" fmla="*/ 923413 h 1320064"/>
              <a:gd name="connsiteX1669" fmla="*/ 1176501 w 2350693"/>
              <a:gd name="connsiteY1669" fmla="*/ 904209 h 1320064"/>
              <a:gd name="connsiteX1670" fmla="*/ 1191946 w 2350693"/>
              <a:gd name="connsiteY1670" fmla="*/ 911150 h 1320064"/>
              <a:gd name="connsiteX1671" fmla="*/ 1212075 w 2350693"/>
              <a:gd name="connsiteY1671" fmla="*/ 957078 h 1320064"/>
              <a:gd name="connsiteX1672" fmla="*/ 1224917 w 2350693"/>
              <a:gd name="connsiteY1672" fmla="*/ 988951 h 1320064"/>
              <a:gd name="connsiteX1673" fmla="*/ 1228503 w 2350693"/>
              <a:gd name="connsiteY1673" fmla="*/ 1028863 h 1320064"/>
              <a:gd name="connsiteX1674" fmla="*/ 1220752 w 2350693"/>
              <a:gd name="connsiteY1674" fmla="*/ 1034647 h 1320064"/>
              <a:gd name="connsiteX1675" fmla="*/ 1176501 w 2350693"/>
              <a:gd name="connsiteY1675" fmla="*/ 906465 h 1320064"/>
              <a:gd name="connsiteX1676" fmla="*/ 1156256 w 2350693"/>
              <a:gd name="connsiteY1676" fmla="*/ 923413 h 1320064"/>
              <a:gd name="connsiteX1677" fmla="*/ 1197499 w 2350693"/>
              <a:gd name="connsiteY1677" fmla="*/ 984034 h 1320064"/>
              <a:gd name="connsiteX1678" fmla="*/ 1213464 w 2350693"/>
              <a:gd name="connsiteY1678" fmla="*/ 1017988 h 1320064"/>
              <a:gd name="connsiteX1679" fmla="*/ 1219769 w 2350693"/>
              <a:gd name="connsiteY1679" fmla="*/ 1032507 h 1320064"/>
              <a:gd name="connsiteX1680" fmla="*/ 1220289 w 2350693"/>
              <a:gd name="connsiteY1680" fmla="*/ 1032507 h 1320064"/>
              <a:gd name="connsiteX1681" fmla="*/ 1226074 w 2350693"/>
              <a:gd name="connsiteY1681" fmla="*/ 1027822 h 1320064"/>
              <a:gd name="connsiteX1682" fmla="*/ 1222429 w 2350693"/>
              <a:gd name="connsiteY1682" fmla="*/ 990050 h 1320064"/>
              <a:gd name="connsiteX1683" fmla="*/ 1209472 w 2350693"/>
              <a:gd name="connsiteY1683" fmla="*/ 957888 h 1320064"/>
              <a:gd name="connsiteX1684" fmla="*/ 1189747 w 2350693"/>
              <a:gd name="connsiteY1684" fmla="*/ 912538 h 1320064"/>
              <a:gd name="connsiteX1685" fmla="*/ 1176501 w 2350693"/>
              <a:gd name="connsiteY1685" fmla="*/ 906465 h 1320064"/>
              <a:gd name="connsiteX1686" fmla="*/ 712590 w 2350693"/>
              <a:gd name="connsiteY1686" fmla="*/ 629969 h 1320064"/>
              <a:gd name="connsiteX1687" fmla="*/ 666951 w 2350693"/>
              <a:gd name="connsiteY1687" fmla="*/ 620656 h 1320064"/>
              <a:gd name="connsiteX1688" fmla="*/ 666951 w 2350693"/>
              <a:gd name="connsiteY1688" fmla="*/ 618921 h 1320064"/>
              <a:gd name="connsiteX1689" fmla="*/ 676726 w 2350693"/>
              <a:gd name="connsiteY1689" fmla="*/ 616375 h 1320064"/>
              <a:gd name="connsiteX1690" fmla="*/ 694832 w 2350693"/>
              <a:gd name="connsiteY1690" fmla="*/ 610591 h 1320064"/>
              <a:gd name="connsiteX1691" fmla="*/ 717622 w 2350693"/>
              <a:gd name="connsiteY1691" fmla="*/ 588495 h 1320064"/>
              <a:gd name="connsiteX1692" fmla="*/ 724217 w 2350693"/>
              <a:gd name="connsiteY1692" fmla="*/ 584272 h 1320064"/>
              <a:gd name="connsiteX1693" fmla="*/ 708483 w 2350693"/>
              <a:gd name="connsiteY1693" fmla="*/ 565125 h 1320064"/>
              <a:gd name="connsiteX1694" fmla="*/ 703219 w 2350693"/>
              <a:gd name="connsiteY1694" fmla="*/ 558994 h 1320064"/>
              <a:gd name="connsiteX1695" fmla="*/ 721556 w 2350693"/>
              <a:gd name="connsiteY1695" fmla="*/ 553210 h 1320064"/>
              <a:gd name="connsiteX1696" fmla="*/ 749379 w 2350693"/>
              <a:gd name="connsiteY1696" fmla="*/ 562985 h 1320064"/>
              <a:gd name="connsiteX1697" fmla="*/ 779284 w 2350693"/>
              <a:gd name="connsiteY1697" fmla="*/ 582421 h 1320064"/>
              <a:gd name="connsiteX1698" fmla="*/ 789523 w 2350693"/>
              <a:gd name="connsiteY1698" fmla="*/ 578256 h 1320064"/>
              <a:gd name="connsiteX1699" fmla="*/ 858936 w 2350693"/>
              <a:gd name="connsiteY1699" fmla="*/ 546673 h 1320064"/>
              <a:gd name="connsiteX1700" fmla="*/ 865704 w 2350693"/>
              <a:gd name="connsiteY1700" fmla="*/ 551590 h 1320064"/>
              <a:gd name="connsiteX1701" fmla="*/ 833195 w 2350693"/>
              <a:gd name="connsiteY1701" fmla="*/ 574728 h 1320064"/>
              <a:gd name="connsiteX1702" fmla="*/ 799819 w 2350693"/>
              <a:gd name="connsiteY1702" fmla="*/ 592833 h 1320064"/>
              <a:gd name="connsiteX1703" fmla="*/ 774252 w 2350693"/>
              <a:gd name="connsiteY1703" fmla="*/ 606831 h 1320064"/>
              <a:gd name="connsiteX1704" fmla="*/ 765575 w 2350693"/>
              <a:gd name="connsiteY1704" fmla="*/ 607930 h 1320064"/>
              <a:gd name="connsiteX1705" fmla="*/ 756378 w 2350693"/>
              <a:gd name="connsiteY1705" fmla="*/ 617301 h 1320064"/>
              <a:gd name="connsiteX1706" fmla="*/ 742322 w 2350693"/>
              <a:gd name="connsiteY1706" fmla="*/ 628870 h 1320064"/>
              <a:gd name="connsiteX1707" fmla="*/ 712590 w 2350693"/>
              <a:gd name="connsiteY1707" fmla="*/ 629969 h 1320064"/>
              <a:gd name="connsiteX1708" fmla="*/ 669091 w 2350693"/>
              <a:gd name="connsiteY1708" fmla="*/ 619788 h 1320064"/>
              <a:gd name="connsiteX1709" fmla="*/ 712590 w 2350693"/>
              <a:gd name="connsiteY1709" fmla="*/ 627713 h 1320064"/>
              <a:gd name="connsiteX1710" fmla="*/ 741975 w 2350693"/>
              <a:gd name="connsiteY1710" fmla="*/ 626614 h 1320064"/>
              <a:gd name="connsiteX1711" fmla="*/ 754006 w 2350693"/>
              <a:gd name="connsiteY1711" fmla="*/ 616896 h 1320064"/>
              <a:gd name="connsiteX1712" fmla="*/ 764997 w 2350693"/>
              <a:gd name="connsiteY1712" fmla="*/ 605906 h 1320064"/>
              <a:gd name="connsiteX1713" fmla="*/ 773847 w 2350693"/>
              <a:gd name="connsiteY1713" fmla="*/ 604749 h 1320064"/>
              <a:gd name="connsiteX1714" fmla="*/ 798142 w 2350693"/>
              <a:gd name="connsiteY1714" fmla="*/ 591271 h 1320064"/>
              <a:gd name="connsiteX1715" fmla="*/ 832154 w 2350693"/>
              <a:gd name="connsiteY1715" fmla="*/ 572819 h 1320064"/>
              <a:gd name="connsiteX1716" fmla="*/ 863274 w 2350693"/>
              <a:gd name="connsiteY1716" fmla="*/ 551648 h 1320064"/>
              <a:gd name="connsiteX1717" fmla="*/ 858762 w 2350693"/>
              <a:gd name="connsiteY1717" fmla="*/ 548987 h 1320064"/>
              <a:gd name="connsiteX1718" fmla="*/ 791027 w 2350693"/>
              <a:gd name="connsiteY1718" fmla="*/ 579876 h 1320064"/>
              <a:gd name="connsiteX1719" fmla="*/ 779169 w 2350693"/>
              <a:gd name="connsiteY1719" fmla="*/ 584735 h 1320064"/>
              <a:gd name="connsiteX1720" fmla="*/ 747412 w 2350693"/>
              <a:gd name="connsiteY1720" fmla="*/ 564373 h 1320064"/>
              <a:gd name="connsiteX1721" fmla="*/ 721440 w 2350693"/>
              <a:gd name="connsiteY1721" fmla="*/ 555523 h 1320064"/>
              <a:gd name="connsiteX1722" fmla="*/ 705302 w 2350693"/>
              <a:gd name="connsiteY1722" fmla="*/ 559572 h 1320064"/>
              <a:gd name="connsiteX1723" fmla="*/ 709351 w 2350693"/>
              <a:gd name="connsiteY1723" fmla="*/ 563159 h 1320064"/>
              <a:gd name="connsiteX1724" fmla="*/ 726299 w 2350693"/>
              <a:gd name="connsiteY1724" fmla="*/ 584850 h 1320064"/>
              <a:gd name="connsiteX1725" fmla="*/ 717507 w 2350693"/>
              <a:gd name="connsiteY1725" fmla="*/ 590635 h 1320064"/>
              <a:gd name="connsiteX1726" fmla="*/ 696914 w 2350693"/>
              <a:gd name="connsiteY1726" fmla="*/ 610996 h 1320064"/>
              <a:gd name="connsiteX1727" fmla="*/ 676842 w 2350693"/>
              <a:gd name="connsiteY1727" fmla="*/ 618458 h 1320064"/>
              <a:gd name="connsiteX1728" fmla="*/ 669091 w 2350693"/>
              <a:gd name="connsiteY1728" fmla="*/ 619788 h 1320064"/>
              <a:gd name="connsiteX1729" fmla="*/ 548081 w 2350693"/>
              <a:gd name="connsiteY1729" fmla="*/ 459444 h 1320064"/>
              <a:gd name="connsiteX1730" fmla="*/ 546750 w 2350693"/>
              <a:gd name="connsiteY1730" fmla="*/ 459444 h 1320064"/>
              <a:gd name="connsiteX1731" fmla="*/ 545073 w 2350693"/>
              <a:gd name="connsiteY1731" fmla="*/ 458056 h 1320064"/>
              <a:gd name="connsiteX1732" fmla="*/ 553634 w 2350693"/>
              <a:gd name="connsiteY1732" fmla="*/ 446198 h 1320064"/>
              <a:gd name="connsiteX1733" fmla="*/ 567111 w 2350693"/>
              <a:gd name="connsiteY1733" fmla="*/ 427340 h 1320064"/>
              <a:gd name="connsiteX1734" fmla="*/ 566070 w 2350693"/>
              <a:gd name="connsiteY1734" fmla="*/ 425547 h 1320064"/>
              <a:gd name="connsiteX1735" fmla="*/ 561790 w 2350693"/>
              <a:gd name="connsiteY1735" fmla="*/ 424275 h 1320064"/>
              <a:gd name="connsiteX1736" fmla="*/ 535586 w 2350693"/>
              <a:gd name="connsiteY1736" fmla="*/ 444462 h 1320064"/>
              <a:gd name="connsiteX1737" fmla="*/ 514762 w 2350693"/>
              <a:gd name="connsiteY1737" fmla="*/ 453833 h 1320064"/>
              <a:gd name="connsiteX1738" fmla="*/ 509846 w 2350693"/>
              <a:gd name="connsiteY1738" fmla="*/ 453833 h 1320064"/>
              <a:gd name="connsiteX1739" fmla="*/ 493476 w 2350693"/>
              <a:gd name="connsiteY1739" fmla="*/ 444636 h 1320064"/>
              <a:gd name="connsiteX1740" fmla="*/ 497756 w 2350693"/>
              <a:gd name="connsiteY1740" fmla="*/ 441454 h 1320064"/>
              <a:gd name="connsiteX1741" fmla="*/ 503078 w 2350693"/>
              <a:gd name="connsiteY1741" fmla="*/ 436248 h 1320064"/>
              <a:gd name="connsiteX1742" fmla="*/ 512911 w 2350693"/>
              <a:gd name="connsiteY1742" fmla="*/ 425663 h 1320064"/>
              <a:gd name="connsiteX1743" fmla="*/ 517134 w 2350693"/>
              <a:gd name="connsiteY1743" fmla="*/ 422481 h 1320064"/>
              <a:gd name="connsiteX1744" fmla="*/ 515225 w 2350693"/>
              <a:gd name="connsiteY1744" fmla="*/ 417044 h 1320064"/>
              <a:gd name="connsiteX1745" fmla="*/ 513837 w 2350693"/>
              <a:gd name="connsiteY1745" fmla="*/ 408714 h 1320064"/>
              <a:gd name="connsiteX1746" fmla="*/ 520084 w 2350693"/>
              <a:gd name="connsiteY1746" fmla="*/ 406690 h 1320064"/>
              <a:gd name="connsiteX1747" fmla="*/ 528414 w 2350693"/>
              <a:gd name="connsiteY1747" fmla="*/ 407384 h 1320064"/>
              <a:gd name="connsiteX1748" fmla="*/ 537148 w 2350693"/>
              <a:gd name="connsiteY1748" fmla="*/ 408136 h 1320064"/>
              <a:gd name="connsiteX1749" fmla="*/ 543453 w 2350693"/>
              <a:gd name="connsiteY1749" fmla="*/ 405012 h 1320064"/>
              <a:gd name="connsiteX1750" fmla="*/ 541371 w 2350693"/>
              <a:gd name="connsiteY1750" fmla="*/ 400443 h 1320064"/>
              <a:gd name="connsiteX1751" fmla="*/ 518580 w 2350693"/>
              <a:gd name="connsiteY1751" fmla="*/ 392229 h 1320064"/>
              <a:gd name="connsiteX1752" fmla="*/ 511003 w 2350693"/>
              <a:gd name="connsiteY1752" fmla="*/ 393964 h 1320064"/>
              <a:gd name="connsiteX1753" fmla="*/ 475718 w 2350693"/>
              <a:gd name="connsiteY1753" fmla="*/ 406748 h 1320064"/>
              <a:gd name="connsiteX1754" fmla="*/ 456976 w 2350693"/>
              <a:gd name="connsiteY1754" fmla="*/ 402699 h 1320064"/>
              <a:gd name="connsiteX1755" fmla="*/ 455703 w 2350693"/>
              <a:gd name="connsiteY1755" fmla="*/ 400963 h 1320064"/>
              <a:gd name="connsiteX1756" fmla="*/ 479246 w 2350693"/>
              <a:gd name="connsiteY1756" fmla="*/ 394080 h 1320064"/>
              <a:gd name="connsiteX1757" fmla="*/ 528934 w 2350693"/>
              <a:gd name="connsiteY1757" fmla="*/ 379677 h 1320064"/>
              <a:gd name="connsiteX1758" fmla="*/ 586027 w 2350693"/>
              <a:gd name="connsiteY1758" fmla="*/ 362844 h 1320064"/>
              <a:gd name="connsiteX1759" fmla="*/ 598116 w 2350693"/>
              <a:gd name="connsiteY1759" fmla="*/ 367067 h 1320064"/>
              <a:gd name="connsiteX1760" fmla="*/ 589034 w 2350693"/>
              <a:gd name="connsiteY1760" fmla="*/ 379792 h 1320064"/>
              <a:gd name="connsiteX1761" fmla="*/ 581457 w 2350693"/>
              <a:gd name="connsiteY1761" fmla="*/ 387254 h 1320064"/>
              <a:gd name="connsiteX1762" fmla="*/ 585101 w 2350693"/>
              <a:gd name="connsiteY1762" fmla="*/ 391072 h 1320064"/>
              <a:gd name="connsiteX1763" fmla="*/ 602859 w 2350693"/>
              <a:gd name="connsiteY1763" fmla="*/ 395179 h 1320064"/>
              <a:gd name="connsiteX1764" fmla="*/ 629873 w 2350693"/>
              <a:gd name="connsiteY1764" fmla="*/ 385172 h 1320064"/>
              <a:gd name="connsiteX1765" fmla="*/ 642425 w 2350693"/>
              <a:gd name="connsiteY1765" fmla="*/ 379387 h 1320064"/>
              <a:gd name="connsiteX1766" fmla="*/ 651391 w 2350693"/>
              <a:gd name="connsiteY1766" fmla="*/ 383841 h 1320064"/>
              <a:gd name="connsiteX1767" fmla="*/ 646647 w 2350693"/>
              <a:gd name="connsiteY1767" fmla="*/ 398650 h 1320064"/>
              <a:gd name="connsiteX1768" fmla="*/ 617147 w 2350693"/>
              <a:gd name="connsiteY1768" fmla="*/ 419763 h 1320064"/>
              <a:gd name="connsiteX1769" fmla="*/ 607950 w 2350693"/>
              <a:gd name="connsiteY1769" fmla="*/ 418779 h 1320064"/>
              <a:gd name="connsiteX1770" fmla="*/ 601587 w 2350693"/>
              <a:gd name="connsiteY1770" fmla="*/ 418201 h 1320064"/>
              <a:gd name="connsiteX1771" fmla="*/ 588225 w 2350693"/>
              <a:gd name="connsiteY1771" fmla="*/ 423523 h 1320064"/>
              <a:gd name="connsiteX1772" fmla="*/ 590481 w 2350693"/>
              <a:gd name="connsiteY1772" fmla="*/ 427861 h 1320064"/>
              <a:gd name="connsiteX1773" fmla="*/ 596265 w 2350693"/>
              <a:gd name="connsiteY1773" fmla="*/ 436364 h 1320064"/>
              <a:gd name="connsiteX1774" fmla="*/ 581804 w 2350693"/>
              <a:gd name="connsiteY1774" fmla="*/ 444347 h 1320064"/>
              <a:gd name="connsiteX1775" fmla="*/ 560228 w 2350693"/>
              <a:gd name="connsiteY1775" fmla="*/ 454296 h 1320064"/>
              <a:gd name="connsiteX1776" fmla="*/ 548081 w 2350693"/>
              <a:gd name="connsiteY1776" fmla="*/ 459444 h 1320064"/>
              <a:gd name="connsiteX1777" fmla="*/ 561790 w 2350693"/>
              <a:gd name="connsiteY1777" fmla="*/ 421903 h 1320064"/>
              <a:gd name="connsiteX1778" fmla="*/ 567574 w 2350693"/>
              <a:gd name="connsiteY1778" fmla="*/ 423580 h 1320064"/>
              <a:gd name="connsiteX1779" fmla="*/ 569541 w 2350693"/>
              <a:gd name="connsiteY1779" fmla="*/ 427051 h 1320064"/>
              <a:gd name="connsiteX1780" fmla="*/ 555427 w 2350693"/>
              <a:gd name="connsiteY1780" fmla="*/ 447644 h 1320064"/>
              <a:gd name="connsiteX1781" fmla="*/ 547444 w 2350693"/>
              <a:gd name="connsiteY1781" fmla="*/ 457304 h 1320064"/>
              <a:gd name="connsiteX1782" fmla="*/ 548254 w 2350693"/>
              <a:gd name="connsiteY1782" fmla="*/ 457304 h 1320064"/>
              <a:gd name="connsiteX1783" fmla="*/ 559418 w 2350693"/>
              <a:gd name="connsiteY1783" fmla="*/ 452040 h 1320064"/>
              <a:gd name="connsiteX1784" fmla="*/ 581630 w 2350693"/>
              <a:gd name="connsiteY1784" fmla="*/ 441743 h 1320064"/>
              <a:gd name="connsiteX1785" fmla="*/ 594414 w 2350693"/>
              <a:gd name="connsiteY1785" fmla="*/ 435612 h 1320064"/>
              <a:gd name="connsiteX1786" fmla="*/ 589382 w 2350693"/>
              <a:gd name="connsiteY1786" fmla="*/ 429365 h 1320064"/>
              <a:gd name="connsiteX1787" fmla="*/ 586258 w 2350693"/>
              <a:gd name="connsiteY1787" fmla="*/ 422481 h 1320064"/>
              <a:gd name="connsiteX1788" fmla="*/ 601760 w 2350693"/>
              <a:gd name="connsiteY1788" fmla="*/ 415598 h 1320064"/>
              <a:gd name="connsiteX1789" fmla="*/ 608528 w 2350693"/>
              <a:gd name="connsiteY1789" fmla="*/ 416176 h 1320064"/>
              <a:gd name="connsiteX1790" fmla="*/ 617320 w 2350693"/>
              <a:gd name="connsiteY1790" fmla="*/ 417160 h 1320064"/>
              <a:gd name="connsiteX1791" fmla="*/ 645028 w 2350693"/>
              <a:gd name="connsiteY1791" fmla="*/ 396856 h 1320064"/>
              <a:gd name="connsiteX1792" fmla="*/ 649540 w 2350693"/>
              <a:gd name="connsiteY1792" fmla="*/ 384478 h 1320064"/>
              <a:gd name="connsiteX1793" fmla="*/ 642598 w 2350693"/>
              <a:gd name="connsiteY1793" fmla="*/ 381296 h 1320064"/>
              <a:gd name="connsiteX1794" fmla="*/ 631955 w 2350693"/>
              <a:gd name="connsiteY1794" fmla="*/ 386155 h 1320064"/>
              <a:gd name="connsiteX1795" fmla="*/ 603033 w 2350693"/>
              <a:gd name="connsiteY1795" fmla="*/ 397203 h 1320064"/>
              <a:gd name="connsiteX1796" fmla="*/ 584176 w 2350693"/>
              <a:gd name="connsiteY1796" fmla="*/ 392807 h 1320064"/>
              <a:gd name="connsiteX1797" fmla="*/ 579375 w 2350693"/>
              <a:gd name="connsiteY1797" fmla="*/ 387023 h 1320064"/>
              <a:gd name="connsiteX1798" fmla="*/ 587935 w 2350693"/>
              <a:gd name="connsiteY1798" fmla="*/ 377594 h 1320064"/>
              <a:gd name="connsiteX1799" fmla="*/ 596207 w 2350693"/>
              <a:gd name="connsiteY1799" fmla="*/ 367587 h 1320064"/>
              <a:gd name="connsiteX1800" fmla="*/ 586200 w 2350693"/>
              <a:gd name="connsiteY1800" fmla="*/ 364811 h 1320064"/>
              <a:gd name="connsiteX1801" fmla="*/ 530612 w 2350693"/>
              <a:gd name="connsiteY1801" fmla="*/ 381065 h 1320064"/>
              <a:gd name="connsiteX1802" fmla="*/ 479882 w 2350693"/>
              <a:gd name="connsiteY1802" fmla="*/ 395989 h 1320064"/>
              <a:gd name="connsiteX1803" fmla="*/ 459001 w 2350693"/>
              <a:gd name="connsiteY1803" fmla="*/ 400732 h 1320064"/>
              <a:gd name="connsiteX1804" fmla="*/ 475891 w 2350693"/>
              <a:gd name="connsiteY1804" fmla="*/ 404203 h 1320064"/>
              <a:gd name="connsiteX1805" fmla="*/ 509904 w 2350693"/>
              <a:gd name="connsiteY1805" fmla="*/ 391824 h 1320064"/>
              <a:gd name="connsiteX1806" fmla="*/ 518754 w 2350693"/>
              <a:gd name="connsiteY1806" fmla="*/ 389684 h 1320064"/>
              <a:gd name="connsiteX1807" fmla="*/ 543164 w 2350693"/>
              <a:gd name="connsiteY1807" fmla="*/ 398592 h 1320064"/>
              <a:gd name="connsiteX1808" fmla="*/ 545883 w 2350693"/>
              <a:gd name="connsiteY1808" fmla="*/ 404839 h 1320064"/>
              <a:gd name="connsiteX1809" fmla="*/ 537322 w 2350693"/>
              <a:gd name="connsiteY1809" fmla="*/ 410103 h 1320064"/>
              <a:gd name="connsiteX1810" fmla="*/ 528298 w 2350693"/>
              <a:gd name="connsiteY1810" fmla="*/ 409351 h 1320064"/>
              <a:gd name="connsiteX1811" fmla="*/ 520258 w 2350693"/>
              <a:gd name="connsiteY1811" fmla="*/ 408657 h 1320064"/>
              <a:gd name="connsiteX1812" fmla="*/ 515804 w 2350693"/>
              <a:gd name="connsiteY1812" fmla="*/ 409756 h 1320064"/>
              <a:gd name="connsiteX1813" fmla="*/ 517365 w 2350693"/>
              <a:gd name="connsiteY1813" fmla="*/ 415540 h 1320064"/>
              <a:gd name="connsiteX1814" fmla="*/ 519448 w 2350693"/>
              <a:gd name="connsiteY1814" fmla="*/ 422886 h 1320064"/>
              <a:gd name="connsiteX1815" fmla="*/ 513663 w 2350693"/>
              <a:gd name="connsiteY1815" fmla="*/ 427456 h 1320064"/>
              <a:gd name="connsiteX1816" fmla="*/ 505160 w 2350693"/>
              <a:gd name="connsiteY1816" fmla="*/ 436653 h 1320064"/>
              <a:gd name="connsiteX1817" fmla="*/ 497930 w 2350693"/>
              <a:gd name="connsiteY1817" fmla="*/ 443363 h 1320064"/>
              <a:gd name="connsiteX1818" fmla="*/ 495674 w 2350693"/>
              <a:gd name="connsiteY1818" fmla="*/ 444231 h 1320064"/>
              <a:gd name="connsiteX1819" fmla="*/ 509904 w 2350693"/>
              <a:gd name="connsiteY1819" fmla="*/ 451230 h 1320064"/>
              <a:gd name="connsiteX1820" fmla="*/ 514705 w 2350693"/>
              <a:gd name="connsiteY1820" fmla="*/ 451230 h 1320064"/>
              <a:gd name="connsiteX1821" fmla="*/ 533330 w 2350693"/>
              <a:gd name="connsiteY1821" fmla="*/ 443999 h 1320064"/>
              <a:gd name="connsiteX1822" fmla="*/ 561790 w 2350693"/>
              <a:gd name="connsiteY1822" fmla="*/ 421903 h 132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Lst>
            <a:rect l="l" t="t" r="r" b="b"/>
            <a:pathLst>
              <a:path w="2350693" h="1320064">
                <a:moveTo>
                  <a:pt x="1613110" y="1318837"/>
                </a:moveTo>
                <a:cubicBezTo>
                  <a:pt x="1612815" y="1318831"/>
                  <a:pt x="1612531" y="1318727"/>
                  <a:pt x="1612300" y="1318547"/>
                </a:cubicBezTo>
                <a:cubicBezTo>
                  <a:pt x="1607204" y="1312265"/>
                  <a:pt x="1605439" y="1303913"/>
                  <a:pt x="1607557" y="1296104"/>
                </a:cubicBezTo>
                <a:cubicBezTo>
                  <a:pt x="1607626" y="1295763"/>
                  <a:pt x="1607834" y="1295468"/>
                  <a:pt x="1608135" y="1295294"/>
                </a:cubicBezTo>
                <a:cubicBezTo>
                  <a:pt x="1608447" y="1295149"/>
                  <a:pt x="1608806" y="1295149"/>
                  <a:pt x="1609118" y="1295294"/>
                </a:cubicBezTo>
                <a:lnTo>
                  <a:pt x="1609118" y="1295294"/>
                </a:lnTo>
                <a:lnTo>
                  <a:pt x="1609581" y="1295294"/>
                </a:lnTo>
                <a:cubicBezTo>
                  <a:pt x="1616060" y="1295294"/>
                  <a:pt x="1627339" y="1271462"/>
                  <a:pt x="1627339" y="1253993"/>
                </a:cubicBezTo>
                <a:cubicBezTo>
                  <a:pt x="1626628" y="1248139"/>
                  <a:pt x="1628780" y="1242303"/>
                  <a:pt x="1633124" y="1238317"/>
                </a:cubicBezTo>
                <a:cubicBezTo>
                  <a:pt x="1635686" y="1236333"/>
                  <a:pt x="1636843" y="1233025"/>
                  <a:pt x="1636074" y="1229872"/>
                </a:cubicBezTo>
                <a:cubicBezTo>
                  <a:pt x="1635790" y="1228478"/>
                  <a:pt x="1636109" y="1227032"/>
                  <a:pt x="1636942" y="1225881"/>
                </a:cubicBezTo>
                <a:cubicBezTo>
                  <a:pt x="1637549" y="1225256"/>
                  <a:pt x="1638388" y="1224921"/>
                  <a:pt x="1639255" y="1224955"/>
                </a:cubicBezTo>
                <a:cubicBezTo>
                  <a:pt x="1643021" y="1225719"/>
                  <a:pt x="1646596" y="1227211"/>
                  <a:pt x="1649783" y="1229351"/>
                </a:cubicBezTo>
                <a:cubicBezTo>
                  <a:pt x="1656475" y="1233817"/>
                  <a:pt x="1664203" y="1236484"/>
                  <a:pt x="1672227" y="1237103"/>
                </a:cubicBezTo>
                <a:cubicBezTo>
                  <a:pt x="1675813" y="1237103"/>
                  <a:pt x="1678011" y="1236003"/>
                  <a:pt x="1678589" y="1234673"/>
                </a:cubicBezTo>
                <a:cubicBezTo>
                  <a:pt x="1679920" y="1232012"/>
                  <a:pt x="1676276" y="1226401"/>
                  <a:pt x="1672053" y="1219865"/>
                </a:cubicBezTo>
                <a:cubicBezTo>
                  <a:pt x="1668033" y="1213930"/>
                  <a:pt x="1664528" y="1207660"/>
                  <a:pt x="1661583" y="1201123"/>
                </a:cubicBezTo>
                <a:cubicBezTo>
                  <a:pt x="1657476" y="1191116"/>
                  <a:pt x="1648915" y="1189554"/>
                  <a:pt x="1640354" y="1189554"/>
                </a:cubicBezTo>
                <a:cubicBezTo>
                  <a:pt x="1637809" y="1189554"/>
                  <a:pt x="1635091" y="1189554"/>
                  <a:pt x="1632488" y="1189554"/>
                </a:cubicBezTo>
                <a:cubicBezTo>
                  <a:pt x="1629885" y="1189554"/>
                  <a:pt x="1627050" y="1189844"/>
                  <a:pt x="1624331" y="1189844"/>
                </a:cubicBezTo>
                <a:cubicBezTo>
                  <a:pt x="1619941" y="1189983"/>
                  <a:pt x="1615562" y="1189375"/>
                  <a:pt x="1611374" y="1188051"/>
                </a:cubicBezTo>
                <a:cubicBezTo>
                  <a:pt x="1600477" y="1184239"/>
                  <a:pt x="1589070" y="1182075"/>
                  <a:pt x="1577536" y="1181630"/>
                </a:cubicBezTo>
                <a:cubicBezTo>
                  <a:pt x="1575112" y="1181543"/>
                  <a:pt x="1572694" y="1181832"/>
                  <a:pt x="1570363" y="1182497"/>
                </a:cubicBezTo>
                <a:cubicBezTo>
                  <a:pt x="1570039" y="1182671"/>
                  <a:pt x="1569646" y="1182671"/>
                  <a:pt x="1569322" y="1182497"/>
                </a:cubicBezTo>
                <a:cubicBezTo>
                  <a:pt x="1564364" y="1178622"/>
                  <a:pt x="1559187" y="1175030"/>
                  <a:pt x="1553819" y="1171739"/>
                </a:cubicBezTo>
                <a:cubicBezTo>
                  <a:pt x="1553409" y="1171426"/>
                  <a:pt x="1553229" y="1170905"/>
                  <a:pt x="1553356" y="1170408"/>
                </a:cubicBezTo>
                <a:cubicBezTo>
                  <a:pt x="1554571" y="1166590"/>
                  <a:pt x="1551332" y="1161327"/>
                  <a:pt x="1547572" y="1155195"/>
                </a:cubicBezTo>
                <a:cubicBezTo>
                  <a:pt x="1542817" y="1148497"/>
                  <a:pt x="1539543" y="1140867"/>
                  <a:pt x="1537970" y="1132809"/>
                </a:cubicBezTo>
                <a:cubicBezTo>
                  <a:pt x="1536871" y="1124191"/>
                  <a:pt x="1531260" y="1124075"/>
                  <a:pt x="1524782" y="1123901"/>
                </a:cubicBezTo>
                <a:cubicBezTo>
                  <a:pt x="1518303" y="1123728"/>
                  <a:pt x="1510205" y="1123612"/>
                  <a:pt x="1508874" y="1112333"/>
                </a:cubicBezTo>
                <a:cubicBezTo>
                  <a:pt x="1506676" y="1093996"/>
                  <a:pt x="1472027" y="1089195"/>
                  <a:pt x="1451840" y="1089195"/>
                </a:cubicBezTo>
                <a:cubicBezTo>
                  <a:pt x="1445130" y="1089195"/>
                  <a:pt x="1438536" y="1097524"/>
                  <a:pt x="1431536" y="1106548"/>
                </a:cubicBezTo>
                <a:cubicBezTo>
                  <a:pt x="1427250" y="1112385"/>
                  <a:pt x="1422345" y="1117735"/>
                  <a:pt x="1416902" y="1122513"/>
                </a:cubicBezTo>
                <a:cubicBezTo>
                  <a:pt x="1416561" y="1122710"/>
                  <a:pt x="1416144" y="1122710"/>
                  <a:pt x="1415803" y="1122513"/>
                </a:cubicBezTo>
                <a:lnTo>
                  <a:pt x="1413952" y="1121819"/>
                </a:lnTo>
                <a:cubicBezTo>
                  <a:pt x="1404749" y="1117862"/>
                  <a:pt x="1394996" y="1115329"/>
                  <a:pt x="1385030" y="1114299"/>
                </a:cubicBezTo>
                <a:cubicBezTo>
                  <a:pt x="1382404" y="1113993"/>
                  <a:pt x="1379783" y="1114860"/>
                  <a:pt x="1377857" y="1116671"/>
                </a:cubicBezTo>
                <a:cubicBezTo>
                  <a:pt x="1375584" y="1119766"/>
                  <a:pt x="1371980" y="1121611"/>
                  <a:pt x="1368139" y="1121645"/>
                </a:cubicBezTo>
                <a:cubicBezTo>
                  <a:pt x="1361932" y="1120997"/>
                  <a:pt x="1356304" y="1117712"/>
                  <a:pt x="1352695" y="1112622"/>
                </a:cubicBezTo>
                <a:cubicBezTo>
                  <a:pt x="1350826" y="1110412"/>
                  <a:pt x="1347882" y="1109434"/>
                  <a:pt x="1345059" y="1110076"/>
                </a:cubicBezTo>
                <a:cubicBezTo>
                  <a:pt x="1339327" y="1110805"/>
                  <a:pt x="1333652" y="1108399"/>
                  <a:pt x="1330193" y="1103771"/>
                </a:cubicBezTo>
                <a:cubicBezTo>
                  <a:pt x="1327793" y="1100480"/>
                  <a:pt x="1324027" y="1098461"/>
                  <a:pt x="1319955" y="1098276"/>
                </a:cubicBezTo>
                <a:cubicBezTo>
                  <a:pt x="1316195" y="1098600"/>
                  <a:pt x="1312568" y="1099809"/>
                  <a:pt x="1309369" y="1101805"/>
                </a:cubicBezTo>
                <a:lnTo>
                  <a:pt x="1306419" y="1103251"/>
                </a:lnTo>
                <a:cubicBezTo>
                  <a:pt x="1305436" y="1103679"/>
                  <a:pt x="1304372" y="1103893"/>
                  <a:pt x="1303296" y="1103887"/>
                </a:cubicBezTo>
                <a:cubicBezTo>
                  <a:pt x="1299183" y="1103326"/>
                  <a:pt x="1295238" y="1101886"/>
                  <a:pt x="1291727" y="1099665"/>
                </a:cubicBezTo>
                <a:cubicBezTo>
                  <a:pt x="1288661" y="1097987"/>
                  <a:pt x="1285491" y="1096501"/>
                  <a:pt x="1282240" y="1095210"/>
                </a:cubicBezTo>
                <a:cubicBezTo>
                  <a:pt x="1277636" y="1093510"/>
                  <a:pt x="1274750" y="1088934"/>
                  <a:pt x="1275183" y="1084047"/>
                </a:cubicBezTo>
                <a:cubicBezTo>
                  <a:pt x="1275386" y="1080177"/>
                  <a:pt x="1273708" y="1076446"/>
                  <a:pt x="1270672" y="1074039"/>
                </a:cubicBezTo>
                <a:cubicBezTo>
                  <a:pt x="1269885" y="1073380"/>
                  <a:pt x="1268919" y="1072975"/>
                  <a:pt x="1267895" y="1072883"/>
                </a:cubicBezTo>
                <a:cubicBezTo>
                  <a:pt x="1264251" y="1072883"/>
                  <a:pt x="1263152" y="1082138"/>
                  <a:pt x="1263036" y="1085435"/>
                </a:cubicBezTo>
                <a:cubicBezTo>
                  <a:pt x="1263007" y="1086019"/>
                  <a:pt x="1262521" y="1086476"/>
                  <a:pt x="1261937" y="1086476"/>
                </a:cubicBezTo>
                <a:lnTo>
                  <a:pt x="509036" y="1090583"/>
                </a:lnTo>
                <a:lnTo>
                  <a:pt x="509036" y="1090583"/>
                </a:lnTo>
                <a:cubicBezTo>
                  <a:pt x="508648" y="1090571"/>
                  <a:pt x="508284" y="1090381"/>
                  <a:pt x="508052" y="1090062"/>
                </a:cubicBezTo>
                <a:cubicBezTo>
                  <a:pt x="505872" y="1086540"/>
                  <a:pt x="503940" y="1082866"/>
                  <a:pt x="502268" y="1079072"/>
                </a:cubicBezTo>
                <a:cubicBezTo>
                  <a:pt x="498855" y="1071552"/>
                  <a:pt x="495674" y="1064437"/>
                  <a:pt x="490699" y="1064437"/>
                </a:cubicBezTo>
                <a:cubicBezTo>
                  <a:pt x="489872" y="1064461"/>
                  <a:pt x="489051" y="1064617"/>
                  <a:pt x="488270" y="1064900"/>
                </a:cubicBezTo>
                <a:cubicBezTo>
                  <a:pt x="487778" y="1065108"/>
                  <a:pt x="487246" y="1065207"/>
                  <a:pt x="486708" y="1065189"/>
                </a:cubicBezTo>
                <a:cubicBezTo>
                  <a:pt x="484134" y="1064750"/>
                  <a:pt x="481803" y="1063419"/>
                  <a:pt x="480114" y="1061429"/>
                </a:cubicBezTo>
                <a:cubicBezTo>
                  <a:pt x="477997" y="1058879"/>
                  <a:pt x="474919" y="1057311"/>
                  <a:pt x="471611" y="1057091"/>
                </a:cubicBezTo>
                <a:cubicBezTo>
                  <a:pt x="469783" y="1057270"/>
                  <a:pt x="467966" y="1057560"/>
                  <a:pt x="466173" y="1057959"/>
                </a:cubicBezTo>
                <a:cubicBezTo>
                  <a:pt x="463431" y="1058549"/>
                  <a:pt x="460643" y="1058902"/>
                  <a:pt x="457844" y="1059000"/>
                </a:cubicBezTo>
                <a:cubicBezTo>
                  <a:pt x="453100" y="1059000"/>
                  <a:pt x="450382" y="1057033"/>
                  <a:pt x="449803" y="1053216"/>
                </a:cubicBezTo>
                <a:cubicBezTo>
                  <a:pt x="448473" y="1043960"/>
                  <a:pt x="445523" y="1036961"/>
                  <a:pt x="442862" y="1036961"/>
                </a:cubicBezTo>
                <a:cubicBezTo>
                  <a:pt x="442289" y="1037013"/>
                  <a:pt x="441746" y="1037233"/>
                  <a:pt x="441300" y="1037598"/>
                </a:cubicBezTo>
                <a:cubicBezTo>
                  <a:pt x="439426" y="1038916"/>
                  <a:pt x="437164" y="1039564"/>
                  <a:pt x="434879" y="1039449"/>
                </a:cubicBezTo>
                <a:cubicBezTo>
                  <a:pt x="427475" y="1039379"/>
                  <a:pt x="420517" y="1035903"/>
                  <a:pt x="416022" y="1030020"/>
                </a:cubicBezTo>
                <a:cubicBezTo>
                  <a:pt x="413130" y="1024756"/>
                  <a:pt x="407577" y="1018451"/>
                  <a:pt x="401388" y="1018451"/>
                </a:cubicBezTo>
                <a:cubicBezTo>
                  <a:pt x="400427" y="1018457"/>
                  <a:pt x="399467" y="1018613"/>
                  <a:pt x="398553" y="1018914"/>
                </a:cubicBezTo>
                <a:cubicBezTo>
                  <a:pt x="397287" y="1019232"/>
                  <a:pt x="395985" y="1019388"/>
                  <a:pt x="394678" y="1019377"/>
                </a:cubicBezTo>
                <a:cubicBezTo>
                  <a:pt x="385423" y="1019377"/>
                  <a:pt x="368012" y="1012782"/>
                  <a:pt x="368012" y="1006940"/>
                </a:cubicBezTo>
                <a:lnTo>
                  <a:pt x="368012" y="1005610"/>
                </a:lnTo>
                <a:cubicBezTo>
                  <a:pt x="368012" y="999247"/>
                  <a:pt x="367722" y="994041"/>
                  <a:pt x="362979" y="993520"/>
                </a:cubicBezTo>
                <a:cubicBezTo>
                  <a:pt x="358236" y="993000"/>
                  <a:pt x="356501" y="988083"/>
                  <a:pt x="356674" y="983398"/>
                </a:cubicBezTo>
                <a:cubicBezTo>
                  <a:pt x="356321" y="979065"/>
                  <a:pt x="359543" y="975270"/>
                  <a:pt x="363876" y="974918"/>
                </a:cubicBezTo>
                <a:cubicBezTo>
                  <a:pt x="364020" y="974906"/>
                  <a:pt x="364165" y="974900"/>
                  <a:pt x="364309" y="974894"/>
                </a:cubicBezTo>
                <a:cubicBezTo>
                  <a:pt x="365813" y="974894"/>
                  <a:pt x="367664" y="974605"/>
                  <a:pt x="367954" y="973333"/>
                </a:cubicBezTo>
                <a:cubicBezTo>
                  <a:pt x="368532" y="971192"/>
                  <a:pt x="365408" y="966854"/>
                  <a:pt x="362169" y="964887"/>
                </a:cubicBezTo>
                <a:cubicBezTo>
                  <a:pt x="359647" y="963112"/>
                  <a:pt x="357357" y="961035"/>
                  <a:pt x="355344" y="958698"/>
                </a:cubicBezTo>
                <a:cubicBezTo>
                  <a:pt x="350427" y="953608"/>
                  <a:pt x="344180" y="947129"/>
                  <a:pt x="341172" y="950658"/>
                </a:cubicBezTo>
                <a:cubicBezTo>
                  <a:pt x="339627" y="952630"/>
                  <a:pt x="337256" y="953781"/>
                  <a:pt x="334751" y="953781"/>
                </a:cubicBezTo>
                <a:cubicBezTo>
                  <a:pt x="331679" y="953787"/>
                  <a:pt x="328834" y="952156"/>
                  <a:pt x="327289" y="949501"/>
                </a:cubicBezTo>
                <a:cubicBezTo>
                  <a:pt x="325727" y="946580"/>
                  <a:pt x="325930" y="943028"/>
                  <a:pt x="327810" y="940303"/>
                </a:cubicBezTo>
                <a:cubicBezTo>
                  <a:pt x="330355" y="936295"/>
                  <a:pt x="330725" y="931280"/>
                  <a:pt x="328793" y="926941"/>
                </a:cubicBezTo>
                <a:cubicBezTo>
                  <a:pt x="328255" y="925831"/>
                  <a:pt x="327185" y="925067"/>
                  <a:pt x="325959" y="924917"/>
                </a:cubicBezTo>
                <a:cubicBezTo>
                  <a:pt x="325027" y="924975"/>
                  <a:pt x="324142" y="925368"/>
                  <a:pt x="323471" y="926016"/>
                </a:cubicBezTo>
                <a:cubicBezTo>
                  <a:pt x="319347" y="929440"/>
                  <a:pt x="314193" y="931378"/>
                  <a:pt x="308837" y="931511"/>
                </a:cubicBezTo>
                <a:cubicBezTo>
                  <a:pt x="304857" y="931621"/>
                  <a:pt x="301028" y="930019"/>
                  <a:pt x="298309" y="927115"/>
                </a:cubicBezTo>
                <a:cubicBezTo>
                  <a:pt x="295683" y="923876"/>
                  <a:pt x="294682" y="919613"/>
                  <a:pt x="295591" y="915546"/>
                </a:cubicBezTo>
                <a:cubicBezTo>
                  <a:pt x="295880" y="912018"/>
                  <a:pt x="296111" y="909010"/>
                  <a:pt x="293508" y="906638"/>
                </a:cubicBezTo>
                <a:cubicBezTo>
                  <a:pt x="292490" y="905944"/>
                  <a:pt x="291935" y="904741"/>
                  <a:pt x="292062" y="903515"/>
                </a:cubicBezTo>
                <a:cubicBezTo>
                  <a:pt x="292351" y="901490"/>
                  <a:pt x="294896" y="900507"/>
                  <a:pt x="297846" y="899350"/>
                </a:cubicBezTo>
                <a:cubicBezTo>
                  <a:pt x="299582" y="898656"/>
                  <a:pt x="302127" y="897614"/>
                  <a:pt x="302243" y="896747"/>
                </a:cubicBezTo>
                <a:cubicBezTo>
                  <a:pt x="302358" y="895879"/>
                  <a:pt x="302243" y="896110"/>
                  <a:pt x="301086" y="895127"/>
                </a:cubicBezTo>
                <a:lnTo>
                  <a:pt x="299292" y="893623"/>
                </a:lnTo>
                <a:cubicBezTo>
                  <a:pt x="293913" y="889227"/>
                  <a:pt x="289690" y="885756"/>
                  <a:pt x="289112" y="880550"/>
                </a:cubicBezTo>
                <a:cubicBezTo>
                  <a:pt x="289100" y="880151"/>
                  <a:pt x="289274" y="879769"/>
                  <a:pt x="289575" y="879509"/>
                </a:cubicBezTo>
                <a:cubicBezTo>
                  <a:pt x="296863" y="874245"/>
                  <a:pt x="303689" y="869444"/>
                  <a:pt x="308258" y="866321"/>
                </a:cubicBezTo>
                <a:cubicBezTo>
                  <a:pt x="310005" y="865418"/>
                  <a:pt x="311284" y="863822"/>
                  <a:pt x="311787" y="861924"/>
                </a:cubicBezTo>
                <a:cubicBezTo>
                  <a:pt x="311787" y="859726"/>
                  <a:pt x="309762" y="857355"/>
                  <a:pt x="307449" y="854867"/>
                </a:cubicBezTo>
                <a:cubicBezTo>
                  <a:pt x="303978" y="851223"/>
                  <a:pt x="300102" y="847174"/>
                  <a:pt x="302185" y="841795"/>
                </a:cubicBezTo>
                <a:cubicBezTo>
                  <a:pt x="305771" y="832539"/>
                  <a:pt x="307969" y="826466"/>
                  <a:pt x="276965" y="814203"/>
                </a:cubicBezTo>
                <a:cubicBezTo>
                  <a:pt x="252901" y="804659"/>
                  <a:pt x="249199" y="797312"/>
                  <a:pt x="239250" y="777645"/>
                </a:cubicBezTo>
                <a:cubicBezTo>
                  <a:pt x="236358" y="771861"/>
                  <a:pt x="232772" y="764804"/>
                  <a:pt x="227681" y="756301"/>
                </a:cubicBezTo>
                <a:cubicBezTo>
                  <a:pt x="217119" y="739173"/>
                  <a:pt x="203537" y="724099"/>
                  <a:pt x="187595" y="711818"/>
                </a:cubicBezTo>
                <a:cubicBezTo>
                  <a:pt x="176547" y="702332"/>
                  <a:pt x="168564" y="695564"/>
                  <a:pt x="168564" y="688681"/>
                </a:cubicBezTo>
                <a:cubicBezTo>
                  <a:pt x="168564" y="681797"/>
                  <a:pt x="159772" y="679946"/>
                  <a:pt x="151211" y="679946"/>
                </a:cubicBezTo>
                <a:cubicBezTo>
                  <a:pt x="141609" y="679946"/>
                  <a:pt x="133858" y="683128"/>
                  <a:pt x="133858" y="687061"/>
                </a:cubicBezTo>
                <a:cubicBezTo>
                  <a:pt x="133858" y="695333"/>
                  <a:pt x="125239" y="699266"/>
                  <a:pt x="116852" y="703084"/>
                </a:cubicBezTo>
                <a:cubicBezTo>
                  <a:pt x="113925" y="704322"/>
                  <a:pt x="111085" y="705751"/>
                  <a:pt x="108349" y="707365"/>
                </a:cubicBezTo>
                <a:cubicBezTo>
                  <a:pt x="106654" y="708573"/>
                  <a:pt x="104641" y="709256"/>
                  <a:pt x="102564" y="709331"/>
                </a:cubicBezTo>
                <a:cubicBezTo>
                  <a:pt x="97474" y="709331"/>
                  <a:pt x="93887" y="704357"/>
                  <a:pt x="89318" y="698167"/>
                </a:cubicBezTo>
                <a:lnTo>
                  <a:pt x="85847" y="693424"/>
                </a:lnTo>
                <a:cubicBezTo>
                  <a:pt x="81509" y="688473"/>
                  <a:pt x="76661" y="683995"/>
                  <a:pt x="71386" y="680062"/>
                </a:cubicBezTo>
                <a:cubicBezTo>
                  <a:pt x="64271" y="674278"/>
                  <a:pt x="58140" y="669419"/>
                  <a:pt x="58140" y="665254"/>
                </a:cubicBezTo>
                <a:cubicBezTo>
                  <a:pt x="58140" y="661089"/>
                  <a:pt x="55421" y="650966"/>
                  <a:pt x="47381" y="650966"/>
                </a:cubicBezTo>
                <a:cubicBezTo>
                  <a:pt x="45229" y="651024"/>
                  <a:pt x="43112" y="651556"/>
                  <a:pt x="41191" y="652528"/>
                </a:cubicBezTo>
                <a:cubicBezTo>
                  <a:pt x="36795" y="654674"/>
                  <a:pt x="31971" y="655785"/>
                  <a:pt x="27077" y="655767"/>
                </a:cubicBezTo>
                <a:cubicBezTo>
                  <a:pt x="25862" y="655831"/>
                  <a:pt x="24648" y="655831"/>
                  <a:pt x="23433" y="655767"/>
                </a:cubicBezTo>
                <a:lnTo>
                  <a:pt x="20888" y="655767"/>
                </a:lnTo>
                <a:cubicBezTo>
                  <a:pt x="19257" y="655524"/>
                  <a:pt x="17608" y="656109"/>
                  <a:pt x="16492" y="657329"/>
                </a:cubicBezTo>
                <a:cubicBezTo>
                  <a:pt x="15341" y="658642"/>
                  <a:pt x="13663" y="659359"/>
                  <a:pt x="11922" y="659296"/>
                </a:cubicBezTo>
                <a:cubicBezTo>
                  <a:pt x="7711" y="658741"/>
                  <a:pt x="3720" y="657086"/>
                  <a:pt x="353" y="654495"/>
                </a:cubicBezTo>
                <a:cubicBezTo>
                  <a:pt x="64" y="654304"/>
                  <a:pt x="-110" y="653974"/>
                  <a:pt x="-110" y="653627"/>
                </a:cubicBezTo>
                <a:lnTo>
                  <a:pt x="-110" y="234834"/>
                </a:lnTo>
                <a:cubicBezTo>
                  <a:pt x="-98" y="234505"/>
                  <a:pt x="47" y="234187"/>
                  <a:pt x="295" y="233967"/>
                </a:cubicBezTo>
                <a:cubicBezTo>
                  <a:pt x="544" y="233782"/>
                  <a:pt x="851" y="233678"/>
                  <a:pt x="1163" y="233678"/>
                </a:cubicBezTo>
                <a:cubicBezTo>
                  <a:pt x="9319" y="234545"/>
                  <a:pt x="18979" y="234603"/>
                  <a:pt x="27482" y="234661"/>
                </a:cubicBezTo>
                <a:cubicBezTo>
                  <a:pt x="44488" y="234661"/>
                  <a:pt x="52644" y="235008"/>
                  <a:pt x="52644" y="238884"/>
                </a:cubicBezTo>
                <a:cubicBezTo>
                  <a:pt x="52644" y="240735"/>
                  <a:pt x="60453" y="247502"/>
                  <a:pt x="74567" y="254964"/>
                </a:cubicBezTo>
                <a:cubicBezTo>
                  <a:pt x="86264" y="261900"/>
                  <a:pt x="99331" y="266203"/>
                  <a:pt x="112860" y="267574"/>
                </a:cubicBezTo>
                <a:lnTo>
                  <a:pt x="115058" y="267574"/>
                </a:lnTo>
                <a:cubicBezTo>
                  <a:pt x="125684" y="267297"/>
                  <a:pt x="136160" y="270131"/>
                  <a:pt x="145195" y="275730"/>
                </a:cubicBezTo>
                <a:cubicBezTo>
                  <a:pt x="150054" y="278276"/>
                  <a:pt x="154046" y="280242"/>
                  <a:pt x="155549" y="278796"/>
                </a:cubicBezTo>
                <a:cubicBezTo>
                  <a:pt x="156371" y="278131"/>
                  <a:pt x="156857" y="277136"/>
                  <a:pt x="156880" y="276078"/>
                </a:cubicBezTo>
                <a:cubicBezTo>
                  <a:pt x="156880" y="273648"/>
                  <a:pt x="152599" y="270582"/>
                  <a:pt x="147336" y="266707"/>
                </a:cubicBezTo>
                <a:lnTo>
                  <a:pt x="144733" y="264798"/>
                </a:lnTo>
                <a:cubicBezTo>
                  <a:pt x="141904" y="263091"/>
                  <a:pt x="140574" y="259696"/>
                  <a:pt x="141493" y="256526"/>
                </a:cubicBezTo>
                <a:cubicBezTo>
                  <a:pt x="143576" y="250337"/>
                  <a:pt x="154219" y="244957"/>
                  <a:pt x="164631" y="244957"/>
                </a:cubicBezTo>
                <a:cubicBezTo>
                  <a:pt x="180018" y="244957"/>
                  <a:pt x="181695" y="239173"/>
                  <a:pt x="181695" y="236396"/>
                </a:cubicBezTo>
                <a:cubicBezTo>
                  <a:pt x="181695" y="235644"/>
                  <a:pt x="182042" y="233909"/>
                  <a:pt x="185455" y="233909"/>
                </a:cubicBezTo>
                <a:cubicBezTo>
                  <a:pt x="188868" y="233909"/>
                  <a:pt x="198528" y="236801"/>
                  <a:pt x="199511" y="240272"/>
                </a:cubicBezTo>
                <a:cubicBezTo>
                  <a:pt x="199818" y="241585"/>
                  <a:pt x="199129" y="242927"/>
                  <a:pt x="197891" y="243453"/>
                </a:cubicBezTo>
                <a:cubicBezTo>
                  <a:pt x="196619" y="244205"/>
                  <a:pt x="196040" y="245246"/>
                  <a:pt x="196330" y="246288"/>
                </a:cubicBezTo>
                <a:cubicBezTo>
                  <a:pt x="196763" y="247485"/>
                  <a:pt x="197891" y="248289"/>
                  <a:pt x="199164" y="248312"/>
                </a:cubicBezTo>
                <a:cubicBezTo>
                  <a:pt x="200575" y="248214"/>
                  <a:pt x="201831" y="247381"/>
                  <a:pt x="202461" y="246114"/>
                </a:cubicBezTo>
                <a:cubicBezTo>
                  <a:pt x="204104" y="244003"/>
                  <a:pt x="206747" y="242921"/>
                  <a:pt x="209402" y="243280"/>
                </a:cubicBezTo>
                <a:cubicBezTo>
                  <a:pt x="211577" y="243320"/>
                  <a:pt x="213741" y="243534"/>
                  <a:pt x="215881" y="243916"/>
                </a:cubicBezTo>
                <a:cubicBezTo>
                  <a:pt x="217431" y="244165"/>
                  <a:pt x="218999" y="244315"/>
                  <a:pt x="220566" y="244379"/>
                </a:cubicBezTo>
                <a:cubicBezTo>
                  <a:pt x="222070" y="244379"/>
                  <a:pt x="222302" y="244032"/>
                  <a:pt x="222360" y="244032"/>
                </a:cubicBezTo>
                <a:cubicBezTo>
                  <a:pt x="222417" y="244032"/>
                  <a:pt x="222360" y="243453"/>
                  <a:pt x="221781" y="241776"/>
                </a:cubicBezTo>
                <a:cubicBezTo>
                  <a:pt x="220809" y="240214"/>
                  <a:pt x="220636" y="238282"/>
                  <a:pt x="221318" y="236570"/>
                </a:cubicBezTo>
                <a:cubicBezTo>
                  <a:pt x="222822" y="233388"/>
                  <a:pt x="227855" y="232347"/>
                  <a:pt x="234854" y="230785"/>
                </a:cubicBezTo>
                <a:cubicBezTo>
                  <a:pt x="240933" y="229652"/>
                  <a:pt x="246880" y="227905"/>
                  <a:pt x="252612" y="225579"/>
                </a:cubicBezTo>
                <a:cubicBezTo>
                  <a:pt x="257008" y="223613"/>
                  <a:pt x="261462" y="221415"/>
                  <a:pt x="265743" y="219274"/>
                </a:cubicBezTo>
                <a:cubicBezTo>
                  <a:pt x="277716" y="213490"/>
                  <a:pt x="288881" y="207706"/>
                  <a:pt x="296285" y="209152"/>
                </a:cubicBezTo>
                <a:cubicBezTo>
                  <a:pt x="300264" y="209614"/>
                  <a:pt x="304279" y="209614"/>
                  <a:pt x="308258" y="209152"/>
                </a:cubicBezTo>
                <a:cubicBezTo>
                  <a:pt x="310456" y="209152"/>
                  <a:pt x="312481" y="208805"/>
                  <a:pt x="314043" y="208805"/>
                </a:cubicBezTo>
                <a:cubicBezTo>
                  <a:pt x="316114" y="208486"/>
                  <a:pt x="318219" y="209076"/>
                  <a:pt x="319827" y="210424"/>
                </a:cubicBezTo>
                <a:cubicBezTo>
                  <a:pt x="320539" y="211251"/>
                  <a:pt x="320857" y="212350"/>
                  <a:pt x="320695" y="213432"/>
                </a:cubicBezTo>
                <a:cubicBezTo>
                  <a:pt x="320059" y="221241"/>
                  <a:pt x="290847" y="232752"/>
                  <a:pt x="276791" y="235066"/>
                </a:cubicBezTo>
                <a:cubicBezTo>
                  <a:pt x="267015" y="236686"/>
                  <a:pt x="250356" y="248023"/>
                  <a:pt x="238267" y="256237"/>
                </a:cubicBezTo>
                <a:cubicBezTo>
                  <a:pt x="232482" y="260112"/>
                  <a:pt x="227623" y="263467"/>
                  <a:pt x="224384" y="265203"/>
                </a:cubicBezTo>
                <a:cubicBezTo>
                  <a:pt x="217906" y="268673"/>
                  <a:pt x="212410" y="274111"/>
                  <a:pt x="212815" y="276772"/>
                </a:cubicBezTo>
                <a:cubicBezTo>
                  <a:pt x="213105" y="278044"/>
                  <a:pt x="215650" y="278391"/>
                  <a:pt x="217096" y="278449"/>
                </a:cubicBezTo>
                <a:cubicBezTo>
                  <a:pt x="222851" y="279288"/>
                  <a:pt x="228676" y="277431"/>
                  <a:pt x="232887" y="273417"/>
                </a:cubicBezTo>
                <a:cubicBezTo>
                  <a:pt x="234235" y="271814"/>
                  <a:pt x="234692" y="269639"/>
                  <a:pt x="234102" y="267632"/>
                </a:cubicBezTo>
                <a:cubicBezTo>
                  <a:pt x="233911" y="266076"/>
                  <a:pt x="234443" y="264520"/>
                  <a:pt x="235548" y="263410"/>
                </a:cubicBezTo>
                <a:cubicBezTo>
                  <a:pt x="241911" y="255254"/>
                  <a:pt x="267883" y="242181"/>
                  <a:pt x="275576" y="242181"/>
                </a:cubicBezTo>
                <a:cubicBezTo>
                  <a:pt x="278006" y="242181"/>
                  <a:pt x="278584" y="243396"/>
                  <a:pt x="278758" y="244148"/>
                </a:cubicBezTo>
                <a:cubicBezTo>
                  <a:pt x="279273" y="246484"/>
                  <a:pt x="281471" y="248058"/>
                  <a:pt x="283848" y="247792"/>
                </a:cubicBezTo>
                <a:cubicBezTo>
                  <a:pt x="288996" y="247792"/>
                  <a:pt x="295938" y="243164"/>
                  <a:pt x="302821" y="235124"/>
                </a:cubicBezTo>
                <a:cubicBezTo>
                  <a:pt x="311150" y="225406"/>
                  <a:pt x="318323" y="223960"/>
                  <a:pt x="321910" y="223960"/>
                </a:cubicBezTo>
                <a:cubicBezTo>
                  <a:pt x="324848" y="223867"/>
                  <a:pt x="327700" y="225001"/>
                  <a:pt x="329776" y="227083"/>
                </a:cubicBezTo>
                <a:cubicBezTo>
                  <a:pt x="330974" y="228339"/>
                  <a:pt x="331581" y="230039"/>
                  <a:pt x="331454" y="231769"/>
                </a:cubicBezTo>
                <a:cubicBezTo>
                  <a:pt x="331454" y="231769"/>
                  <a:pt x="331454" y="232058"/>
                  <a:pt x="331859" y="232058"/>
                </a:cubicBezTo>
                <a:cubicBezTo>
                  <a:pt x="336990" y="230699"/>
                  <a:pt x="341571" y="227789"/>
                  <a:pt x="344989" y="223728"/>
                </a:cubicBezTo>
                <a:cubicBezTo>
                  <a:pt x="347604" y="221230"/>
                  <a:pt x="349125" y="217799"/>
                  <a:pt x="349212" y="214184"/>
                </a:cubicBezTo>
                <a:cubicBezTo>
                  <a:pt x="348934" y="212703"/>
                  <a:pt x="349287" y="211170"/>
                  <a:pt x="350195" y="209962"/>
                </a:cubicBezTo>
                <a:cubicBezTo>
                  <a:pt x="352440" y="207948"/>
                  <a:pt x="355407" y="206948"/>
                  <a:pt x="358409" y="207185"/>
                </a:cubicBezTo>
                <a:cubicBezTo>
                  <a:pt x="360434" y="207185"/>
                  <a:pt x="362748" y="206722"/>
                  <a:pt x="363153" y="205797"/>
                </a:cubicBezTo>
                <a:cubicBezTo>
                  <a:pt x="363558" y="204871"/>
                  <a:pt x="363153" y="203541"/>
                  <a:pt x="359682" y="198913"/>
                </a:cubicBezTo>
                <a:cubicBezTo>
                  <a:pt x="355286" y="193129"/>
                  <a:pt x="353897" y="189080"/>
                  <a:pt x="354881" y="186534"/>
                </a:cubicBezTo>
                <a:cubicBezTo>
                  <a:pt x="355749" y="184961"/>
                  <a:pt x="357495" y="184088"/>
                  <a:pt x="359277" y="184336"/>
                </a:cubicBezTo>
                <a:cubicBezTo>
                  <a:pt x="366010" y="185331"/>
                  <a:pt x="372344" y="188131"/>
                  <a:pt x="377614" y="192435"/>
                </a:cubicBezTo>
                <a:cubicBezTo>
                  <a:pt x="384266" y="197236"/>
                  <a:pt x="389183" y="207532"/>
                  <a:pt x="394967" y="218407"/>
                </a:cubicBezTo>
                <a:cubicBezTo>
                  <a:pt x="401735" y="232000"/>
                  <a:pt x="408676" y="246114"/>
                  <a:pt x="418452" y="246750"/>
                </a:cubicBezTo>
                <a:cubicBezTo>
                  <a:pt x="428227" y="247387"/>
                  <a:pt x="435284" y="234661"/>
                  <a:pt x="441589" y="223613"/>
                </a:cubicBezTo>
                <a:cubicBezTo>
                  <a:pt x="446448" y="214878"/>
                  <a:pt x="450324" y="207995"/>
                  <a:pt x="454951" y="207995"/>
                </a:cubicBezTo>
                <a:lnTo>
                  <a:pt x="455530" y="207995"/>
                </a:lnTo>
                <a:cubicBezTo>
                  <a:pt x="461835" y="208747"/>
                  <a:pt x="462124" y="214936"/>
                  <a:pt x="462356" y="220373"/>
                </a:cubicBezTo>
                <a:cubicBezTo>
                  <a:pt x="462356" y="224365"/>
                  <a:pt x="462703" y="228067"/>
                  <a:pt x="465016" y="229339"/>
                </a:cubicBezTo>
                <a:cubicBezTo>
                  <a:pt x="465647" y="229675"/>
                  <a:pt x="466110" y="230265"/>
                  <a:pt x="466289" y="230959"/>
                </a:cubicBezTo>
                <a:cubicBezTo>
                  <a:pt x="466752" y="232868"/>
                  <a:pt x="465016" y="235529"/>
                  <a:pt x="462992" y="238537"/>
                </a:cubicBezTo>
                <a:cubicBezTo>
                  <a:pt x="460967" y="241544"/>
                  <a:pt x="459058" y="244321"/>
                  <a:pt x="459752" y="245767"/>
                </a:cubicBezTo>
                <a:cubicBezTo>
                  <a:pt x="460447" y="247213"/>
                  <a:pt x="461314" y="246750"/>
                  <a:pt x="463223" y="246750"/>
                </a:cubicBezTo>
                <a:lnTo>
                  <a:pt x="466867" y="246750"/>
                </a:lnTo>
                <a:cubicBezTo>
                  <a:pt x="479593" y="246750"/>
                  <a:pt x="490005" y="245941"/>
                  <a:pt x="493707" y="235934"/>
                </a:cubicBezTo>
                <a:cubicBezTo>
                  <a:pt x="496889" y="227951"/>
                  <a:pt x="512449" y="224365"/>
                  <a:pt x="525579" y="224365"/>
                </a:cubicBezTo>
                <a:cubicBezTo>
                  <a:pt x="536790" y="223809"/>
                  <a:pt x="547884" y="226869"/>
                  <a:pt x="557220" y="233099"/>
                </a:cubicBezTo>
                <a:cubicBezTo>
                  <a:pt x="572670" y="244061"/>
                  <a:pt x="590984" y="250273"/>
                  <a:pt x="609916" y="250973"/>
                </a:cubicBezTo>
                <a:cubicBezTo>
                  <a:pt x="616007" y="251349"/>
                  <a:pt x="621936" y="253090"/>
                  <a:pt x="627270" y="256063"/>
                </a:cubicBezTo>
                <a:cubicBezTo>
                  <a:pt x="634436" y="259713"/>
                  <a:pt x="642095" y="262305"/>
                  <a:pt x="650002" y="263757"/>
                </a:cubicBezTo>
                <a:cubicBezTo>
                  <a:pt x="655440" y="264740"/>
                  <a:pt x="660704" y="265897"/>
                  <a:pt x="665389" y="266938"/>
                </a:cubicBezTo>
                <a:cubicBezTo>
                  <a:pt x="671821" y="268604"/>
                  <a:pt x="678381" y="269726"/>
                  <a:pt x="684998" y="270293"/>
                </a:cubicBezTo>
                <a:cubicBezTo>
                  <a:pt x="687370" y="270293"/>
                  <a:pt x="688122" y="269830"/>
                  <a:pt x="688411" y="269541"/>
                </a:cubicBezTo>
                <a:cubicBezTo>
                  <a:pt x="688544" y="269229"/>
                  <a:pt x="688544" y="268870"/>
                  <a:pt x="688411" y="268558"/>
                </a:cubicBezTo>
                <a:cubicBezTo>
                  <a:pt x="688336" y="267759"/>
                  <a:pt x="688584" y="266967"/>
                  <a:pt x="689105" y="266360"/>
                </a:cubicBezTo>
                <a:cubicBezTo>
                  <a:pt x="690817" y="264994"/>
                  <a:pt x="693010" y="264393"/>
                  <a:pt x="695179" y="264682"/>
                </a:cubicBezTo>
                <a:cubicBezTo>
                  <a:pt x="709281" y="265654"/>
                  <a:pt x="722851" y="270432"/>
                  <a:pt x="734455" y="278507"/>
                </a:cubicBezTo>
                <a:cubicBezTo>
                  <a:pt x="744346" y="286258"/>
                  <a:pt x="750709" y="295166"/>
                  <a:pt x="749321" y="299331"/>
                </a:cubicBezTo>
                <a:cubicBezTo>
                  <a:pt x="748800" y="300696"/>
                  <a:pt x="747418" y="301529"/>
                  <a:pt x="745966" y="301355"/>
                </a:cubicBezTo>
                <a:cubicBezTo>
                  <a:pt x="745226" y="301361"/>
                  <a:pt x="744485" y="301263"/>
                  <a:pt x="743768" y="301066"/>
                </a:cubicBezTo>
                <a:cubicBezTo>
                  <a:pt x="743097" y="300974"/>
                  <a:pt x="742414" y="300974"/>
                  <a:pt x="741743" y="301066"/>
                </a:cubicBezTo>
                <a:cubicBezTo>
                  <a:pt x="733298" y="301066"/>
                  <a:pt x="715945" y="309627"/>
                  <a:pt x="713168" y="316395"/>
                </a:cubicBezTo>
                <a:cubicBezTo>
                  <a:pt x="712434" y="317812"/>
                  <a:pt x="712746" y="319542"/>
                  <a:pt x="713920" y="320618"/>
                </a:cubicBezTo>
                <a:cubicBezTo>
                  <a:pt x="718490" y="325130"/>
                  <a:pt x="736653" y="328079"/>
                  <a:pt x="760196" y="328079"/>
                </a:cubicBezTo>
                <a:cubicBezTo>
                  <a:pt x="771342" y="328143"/>
                  <a:pt x="782483" y="327374"/>
                  <a:pt x="793514" y="325766"/>
                </a:cubicBezTo>
                <a:cubicBezTo>
                  <a:pt x="803232" y="324146"/>
                  <a:pt x="810867" y="323394"/>
                  <a:pt x="817924" y="322758"/>
                </a:cubicBezTo>
                <a:cubicBezTo>
                  <a:pt x="826717" y="322631"/>
                  <a:pt x="835399" y="320803"/>
                  <a:pt x="843491" y="317378"/>
                </a:cubicBezTo>
                <a:cubicBezTo>
                  <a:pt x="846320" y="315707"/>
                  <a:pt x="849519" y="314752"/>
                  <a:pt x="852804" y="314602"/>
                </a:cubicBezTo>
                <a:cubicBezTo>
                  <a:pt x="857929" y="315163"/>
                  <a:pt x="862678" y="317569"/>
                  <a:pt x="866166" y="321370"/>
                </a:cubicBezTo>
                <a:lnTo>
                  <a:pt x="868943" y="323568"/>
                </a:lnTo>
                <a:cubicBezTo>
                  <a:pt x="871315" y="325315"/>
                  <a:pt x="874213" y="326194"/>
                  <a:pt x="877157" y="326055"/>
                </a:cubicBezTo>
                <a:cubicBezTo>
                  <a:pt x="878331" y="326119"/>
                  <a:pt x="879511" y="326119"/>
                  <a:pt x="880685" y="326055"/>
                </a:cubicBezTo>
                <a:lnTo>
                  <a:pt x="883288" y="326055"/>
                </a:lnTo>
                <a:cubicBezTo>
                  <a:pt x="885290" y="325638"/>
                  <a:pt x="887251" y="326923"/>
                  <a:pt x="887667" y="328924"/>
                </a:cubicBezTo>
                <a:cubicBezTo>
                  <a:pt x="887806" y="329607"/>
                  <a:pt x="887754" y="330318"/>
                  <a:pt x="887511" y="330972"/>
                </a:cubicBezTo>
                <a:cubicBezTo>
                  <a:pt x="887222" y="332881"/>
                  <a:pt x="887511" y="333343"/>
                  <a:pt x="887511" y="333517"/>
                </a:cubicBezTo>
                <a:cubicBezTo>
                  <a:pt x="888211" y="333783"/>
                  <a:pt x="888963" y="333881"/>
                  <a:pt x="889709" y="333806"/>
                </a:cubicBezTo>
                <a:cubicBezTo>
                  <a:pt x="893822" y="333760"/>
                  <a:pt x="897819" y="335171"/>
                  <a:pt x="900989" y="337797"/>
                </a:cubicBezTo>
                <a:cubicBezTo>
                  <a:pt x="906195" y="341962"/>
                  <a:pt x="911979" y="349077"/>
                  <a:pt x="910822" y="355151"/>
                </a:cubicBezTo>
                <a:cubicBezTo>
                  <a:pt x="909984" y="358650"/>
                  <a:pt x="907184" y="361340"/>
                  <a:pt x="903650" y="362034"/>
                </a:cubicBezTo>
                <a:cubicBezTo>
                  <a:pt x="902261" y="362497"/>
                  <a:pt x="901567" y="363075"/>
                  <a:pt x="901683" y="363769"/>
                </a:cubicBezTo>
                <a:cubicBezTo>
                  <a:pt x="902146" y="366488"/>
                  <a:pt x="910070" y="371116"/>
                  <a:pt x="915566" y="371116"/>
                </a:cubicBezTo>
                <a:cubicBezTo>
                  <a:pt x="919094" y="371116"/>
                  <a:pt x="919094" y="369033"/>
                  <a:pt x="919094" y="368281"/>
                </a:cubicBezTo>
                <a:cubicBezTo>
                  <a:pt x="919094" y="363017"/>
                  <a:pt x="923490" y="362208"/>
                  <a:pt x="926729" y="361687"/>
                </a:cubicBezTo>
                <a:cubicBezTo>
                  <a:pt x="928638" y="361340"/>
                  <a:pt x="930547" y="360993"/>
                  <a:pt x="931010" y="359894"/>
                </a:cubicBezTo>
                <a:cubicBezTo>
                  <a:pt x="931473" y="358795"/>
                  <a:pt x="931010" y="355729"/>
                  <a:pt x="925977" y="348325"/>
                </a:cubicBezTo>
                <a:cubicBezTo>
                  <a:pt x="914409" y="331261"/>
                  <a:pt x="910707" y="321427"/>
                  <a:pt x="913367" y="315296"/>
                </a:cubicBezTo>
                <a:cubicBezTo>
                  <a:pt x="915450" y="311501"/>
                  <a:pt x="919395" y="309095"/>
                  <a:pt x="923722" y="308991"/>
                </a:cubicBezTo>
                <a:cubicBezTo>
                  <a:pt x="938183" y="306793"/>
                  <a:pt x="966237" y="295976"/>
                  <a:pt x="968435" y="289208"/>
                </a:cubicBezTo>
                <a:cubicBezTo>
                  <a:pt x="968695" y="288526"/>
                  <a:pt x="968487" y="287756"/>
                  <a:pt x="967915" y="287299"/>
                </a:cubicBezTo>
                <a:cubicBezTo>
                  <a:pt x="965080" y="284465"/>
                  <a:pt x="960742" y="287299"/>
                  <a:pt x="955189" y="290481"/>
                </a:cubicBezTo>
                <a:cubicBezTo>
                  <a:pt x="949416" y="294860"/>
                  <a:pt x="942515" y="297509"/>
                  <a:pt x="935290" y="298116"/>
                </a:cubicBezTo>
                <a:cubicBezTo>
                  <a:pt x="934272" y="298203"/>
                  <a:pt x="933243" y="298203"/>
                  <a:pt x="932225" y="298116"/>
                </a:cubicBezTo>
                <a:cubicBezTo>
                  <a:pt x="930767" y="297896"/>
                  <a:pt x="929298" y="297781"/>
                  <a:pt x="927828" y="297769"/>
                </a:cubicBezTo>
                <a:cubicBezTo>
                  <a:pt x="923346" y="297648"/>
                  <a:pt x="919013" y="299389"/>
                  <a:pt x="915855" y="302570"/>
                </a:cubicBezTo>
                <a:cubicBezTo>
                  <a:pt x="913552" y="305075"/>
                  <a:pt x="910348" y="306556"/>
                  <a:pt x="906947" y="306677"/>
                </a:cubicBezTo>
                <a:lnTo>
                  <a:pt x="904749" y="306677"/>
                </a:lnTo>
                <a:cubicBezTo>
                  <a:pt x="900468" y="306677"/>
                  <a:pt x="895089" y="307024"/>
                  <a:pt x="892890" y="303611"/>
                </a:cubicBezTo>
                <a:cubicBezTo>
                  <a:pt x="891444" y="301355"/>
                  <a:pt x="891734" y="297827"/>
                  <a:pt x="893758" y="293546"/>
                </a:cubicBezTo>
                <a:cubicBezTo>
                  <a:pt x="897749" y="284870"/>
                  <a:pt x="907930" y="282730"/>
                  <a:pt x="917764" y="280705"/>
                </a:cubicBezTo>
                <a:cubicBezTo>
                  <a:pt x="923502" y="279918"/>
                  <a:pt x="929061" y="278137"/>
                  <a:pt x="934191" y="275441"/>
                </a:cubicBezTo>
                <a:cubicBezTo>
                  <a:pt x="943666" y="270779"/>
                  <a:pt x="954119" y="268436"/>
                  <a:pt x="964675" y="268616"/>
                </a:cubicBezTo>
                <a:cubicBezTo>
                  <a:pt x="970460" y="268616"/>
                  <a:pt x="979541" y="269368"/>
                  <a:pt x="980698" y="274400"/>
                </a:cubicBezTo>
                <a:cubicBezTo>
                  <a:pt x="981109" y="276401"/>
                  <a:pt x="981358" y="278432"/>
                  <a:pt x="981450" y="280474"/>
                </a:cubicBezTo>
                <a:cubicBezTo>
                  <a:pt x="981913" y="287936"/>
                  <a:pt x="982376" y="294935"/>
                  <a:pt x="993597" y="295340"/>
                </a:cubicBezTo>
                <a:cubicBezTo>
                  <a:pt x="999405" y="295108"/>
                  <a:pt x="1004941" y="297804"/>
                  <a:pt x="1008348" y="302512"/>
                </a:cubicBezTo>
                <a:cubicBezTo>
                  <a:pt x="1010372" y="305740"/>
                  <a:pt x="1013970" y="307637"/>
                  <a:pt x="1017776" y="307487"/>
                </a:cubicBezTo>
                <a:lnTo>
                  <a:pt x="1025932" y="307487"/>
                </a:lnTo>
                <a:cubicBezTo>
                  <a:pt x="1033973" y="307487"/>
                  <a:pt x="1041666" y="308007"/>
                  <a:pt x="1047682" y="314544"/>
                </a:cubicBezTo>
                <a:cubicBezTo>
                  <a:pt x="1056538" y="321977"/>
                  <a:pt x="1067823" y="325887"/>
                  <a:pt x="1079381" y="325534"/>
                </a:cubicBezTo>
                <a:cubicBezTo>
                  <a:pt x="1082822" y="325546"/>
                  <a:pt x="1086252" y="325199"/>
                  <a:pt x="1089619" y="324493"/>
                </a:cubicBezTo>
                <a:cubicBezTo>
                  <a:pt x="1105613" y="320739"/>
                  <a:pt x="1121913" y="318437"/>
                  <a:pt x="1138324" y="317610"/>
                </a:cubicBezTo>
                <a:cubicBezTo>
                  <a:pt x="1140117" y="317610"/>
                  <a:pt x="1141794" y="317610"/>
                  <a:pt x="1143298" y="317610"/>
                </a:cubicBezTo>
                <a:cubicBezTo>
                  <a:pt x="1147510" y="318136"/>
                  <a:pt x="1151680" y="318928"/>
                  <a:pt x="1155793" y="319981"/>
                </a:cubicBezTo>
                <a:cubicBezTo>
                  <a:pt x="1158778" y="320814"/>
                  <a:pt x="1161843" y="321358"/>
                  <a:pt x="1164932" y="321601"/>
                </a:cubicBezTo>
                <a:cubicBezTo>
                  <a:pt x="1166089" y="321601"/>
                  <a:pt x="1166841" y="321601"/>
                  <a:pt x="1167188" y="321022"/>
                </a:cubicBezTo>
                <a:cubicBezTo>
                  <a:pt x="1167460" y="320571"/>
                  <a:pt x="1167564" y="320039"/>
                  <a:pt x="1167477" y="319519"/>
                </a:cubicBezTo>
                <a:cubicBezTo>
                  <a:pt x="1167414" y="316684"/>
                  <a:pt x="1168224" y="313896"/>
                  <a:pt x="1169791" y="311536"/>
                </a:cubicBezTo>
                <a:cubicBezTo>
                  <a:pt x="1171469" y="308470"/>
                  <a:pt x="1172683" y="306272"/>
                  <a:pt x="1169791" y="302512"/>
                </a:cubicBezTo>
                <a:cubicBezTo>
                  <a:pt x="1166899" y="298752"/>
                  <a:pt x="1167362" y="296439"/>
                  <a:pt x="1167940" y="295224"/>
                </a:cubicBezTo>
                <a:cubicBezTo>
                  <a:pt x="1169386" y="292818"/>
                  <a:pt x="1172088" y="291464"/>
                  <a:pt x="1174881" y="291753"/>
                </a:cubicBezTo>
                <a:cubicBezTo>
                  <a:pt x="1177380" y="291794"/>
                  <a:pt x="1179833" y="292407"/>
                  <a:pt x="1182054" y="293546"/>
                </a:cubicBezTo>
                <a:cubicBezTo>
                  <a:pt x="1182876" y="293992"/>
                  <a:pt x="1183784" y="294269"/>
                  <a:pt x="1184715" y="294356"/>
                </a:cubicBezTo>
                <a:cubicBezTo>
                  <a:pt x="1185930" y="294356"/>
                  <a:pt x="1186450" y="293546"/>
                  <a:pt x="1187376" y="291522"/>
                </a:cubicBezTo>
                <a:cubicBezTo>
                  <a:pt x="1188261" y="288404"/>
                  <a:pt x="1191072" y="286223"/>
                  <a:pt x="1194317" y="286142"/>
                </a:cubicBezTo>
                <a:cubicBezTo>
                  <a:pt x="1195647" y="286142"/>
                  <a:pt x="1195647" y="285737"/>
                  <a:pt x="1195647" y="285506"/>
                </a:cubicBezTo>
                <a:cubicBezTo>
                  <a:pt x="1195647" y="282151"/>
                  <a:pt x="1186045" y="273127"/>
                  <a:pt x="1173667" y="272665"/>
                </a:cubicBezTo>
                <a:cubicBezTo>
                  <a:pt x="1163139" y="272260"/>
                  <a:pt x="1149835" y="269657"/>
                  <a:pt x="1147174" y="263583"/>
                </a:cubicBezTo>
                <a:cubicBezTo>
                  <a:pt x="1146133" y="261269"/>
                  <a:pt x="1146717" y="258551"/>
                  <a:pt x="1148620" y="256873"/>
                </a:cubicBezTo>
                <a:cubicBezTo>
                  <a:pt x="1151616" y="254143"/>
                  <a:pt x="1155642" y="252836"/>
                  <a:pt x="1159668" y="253287"/>
                </a:cubicBezTo>
                <a:cubicBezTo>
                  <a:pt x="1166552" y="253287"/>
                  <a:pt x="1173667" y="252766"/>
                  <a:pt x="1176212" y="238594"/>
                </a:cubicBezTo>
                <a:cubicBezTo>
                  <a:pt x="1178757" y="224423"/>
                  <a:pt x="1185872" y="221241"/>
                  <a:pt x="1191367" y="221241"/>
                </a:cubicBezTo>
                <a:cubicBezTo>
                  <a:pt x="1198464" y="221889"/>
                  <a:pt x="1205030" y="225296"/>
                  <a:pt x="1209646" y="230728"/>
                </a:cubicBezTo>
                <a:cubicBezTo>
                  <a:pt x="1213799" y="235910"/>
                  <a:pt x="1220069" y="238947"/>
                  <a:pt x="1226710" y="238999"/>
                </a:cubicBezTo>
                <a:cubicBezTo>
                  <a:pt x="1230828" y="238861"/>
                  <a:pt x="1234906" y="238195"/>
                  <a:pt x="1238857" y="237033"/>
                </a:cubicBezTo>
                <a:cubicBezTo>
                  <a:pt x="1240373" y="236686"/>
                  <a:pt x="1241929" y="236512"/>
                  <a:pt x="1243485" y="236512"/>
                </a:cubicBezTo>
                <a:cubicBezTo>
                  <a:pt x="1251352" y="236512"/>
                  <a:pt x="1258640" y="241255"/>
                  <a:pt x="1259103" y="245189"/>
                </a:cubicBezTo>
                <a:cubicBezTo>
                  <a:pt x="1259103" y="246056"/>
                  <a:pt x="1259103" y="248139"/>
                  <a:pt x="1255748" y="248949"/>
                </a:cubicBezTo>
                <a:cubicBezTo>
                  <a:pt x="1252312" y="249417"/>
                  <a:pt x="1248830" y="249417"/>
                  <a:pt x="1245394" y="248949"/>
                </a:cubicBezTo>
                <a:cubicBezTo>
                  <a:pt x="1243473" y="248700"/>
                  <a:pt x="1241541" y="248567"/>
                  <a:pt x="1239609" y="248544"/>
                </a:cubicBezTo>
                <a:cubicBezTo>
                  <a:pt x="1234982" y="248544"/>
                  <a:pt x="1233825" y="249990"/>
                  <a:pt x="1233825" y="252072"/>
                </a:cubicBezTo>
                <a:cubicBezTo>
                  <a:pt x="1233709" y="253298"/>
                  <a:pt x="1234236" y="254502"/>
                  <a:pt x="1235213" y="255254"/>
                </a:cubicBezTo>
                <a:cubicBezTo>
                  <a:pt x="1237874" y="257047"/>
                  <a:pt x="1244468" y="256295"/>
                  <a:pt x="1254070" y="252824"/>
                </a:cubicBezTo>
                <a:cubicBezTo>
                  <a:pt x="1254897" y="252570"/>
                  <a:pt x="1255754" y="252431"/>
                  <a:pt x="1256615" y="252419"/>
                </a:cubicBezTo>
                <a:cubicBezTo>
                  <a:pt x="1264083" y="253628"/>
                  <a:pt x="1270336" y="258718"/>
                  <a:pt x="1273043" y="265781"/>
                </a:cubicBezTo>
                <a:cubicBezTo>
                  <a:pt x="1275050" y="270108"/>
                  <a:pt x="1273969" y="275244"/>
                  <a:pt x="1270382" y="278391"/>
                </a:cubicBezTo>
                <a:cubicBezTo>
                  <a:pt x="1266860" y="281659"/>
                  <a:pt x="1262226" y="283458"/>
                  <a:pt x="1257425" y="283424"/>
                </a:cubicBezTo>
                <a:cubicBezTo>
                  <a:pt x="1254411" y="283337"/>
                  <a:pt x="1251409" y="282967"/>
                  <a:pt x="1248459" y="282325"/>
                </a:cubicBezTo>
                <a:cubicBezTo>
                  <a:pt x="1245058" y="281567"/>
                  <a:pt x="1241587" y="281139"/>
                  <a:pt x="1238105" y="281052"/>
                </a:cubicBezTo>
                <a:cubicBezTo>
                  <a:pt x="1233651" y="281052"/>
                  <a:pt x="1233593" y="282730"/>
                  <a:pt x="1233593" y="285448"/>
                </a:cubicBezTo>
                <a:cubicBezTo>
                  <a:pt x="1233593" y="288167"/>
                  <a:pt x="1233593" y="292158"/>
                  <a:pt x="1226479" y="292158"/>
                </a:cubicBezTo>
                <a:lnTo>
                  <a:pt x="1223471" y="292158"/>
                </a:lnTo>
                <a:cubicBezTo>
                  <a:pt x="1219711" y="291753"/>
                  <a:pt x="1216414" y="291233"/>
                  <a:pt x="1213464" y="290770"/>
                </a:cubicBezTo>
                <a:cubicBezTo>
                  <a:pt x="1210687" y="290278"/>
                  <a:pt x="1207887" y="289949"/>
                  <a:pt x="1205076" y="289787"/>
                </a:cubicBezTo>
                <a:cubicBezTo>
                  <a:pt x="1203399" y="289787"/>
                  <a:pt x="1203167" y="290134"/>
                  <a:pt x="1203167" y="290134"/>
                </a:cubicBezTo>
                <a:cubicBezTo>
                  <a:pt x="1203167" y="290134"/>
                  <a:pt x="1202820" y="290828"/>
                  <a:pt x="1204556" y="293431"/>
                </a:cubicBezTo>
                <a:cubicBezTo>
                  <a:pt x="1208489" y="299562"/>
                  <a:pt x="1220463" y="302339"/>
                  <a:pt x="1229949" y="302339"/>
                </a:cubicBezTo>
                <a:cubicBezTo>
                  <a:pt x="1231603" y="302437"/>
                  <a:pt x="1233269" y="302437"/>
                  <a:pt x="1234924" y="302339"/>
                </a:cubicBezTo>
                <a:cubicBezTo>
                  <a:pt x="1236746" y="301784"/>
                  <a:pt x="1238713" y="302518"/>
                  <a:pt x="1239725" y="304132"/>
                </a:cubicBezTo>
                <a:cubicBezTo>
                  <a:pt x="1242386" y="309049"/>
                  <a:pt x="1234808" y="321485"/>
                  <a:pt x="1232379" y="325245"/>
                </a:cubicBezTo>
                <a:cubicBezTo>
                  <a:pt x="1230233" y="328091"/>
                  <a:pt x="1229625" y="331816"/>
                  <a:pt x="1230759" y="335194"/>
                </a:cubicBezTo>
                <a:cubicBezTo>
                  <a:pt x="1234045" y="340927"/>
                  <a:pt x="1239736" y="344883"/>
                  <a:pt x="1246261" y="345953"/>
                </a:cubicBezTo>
                <a:cubicBezTo>
                  <a:pt x="1248992" y="346752"/>
                  <a:pt x="1251809" y="347197"/>
                  <a:pt x="1254649" y="347284"/>
                </a:cubicBezTo>
                <a:cubicBezTo>
                  <a:pt x="1256812" y="347550"/>
                  <a:pt x="1258964" y="346752"/>
                  <a:pt x="1260433" y="345144"/>
                </a:cubicBezTo>
                <a:cubicBezTo>
                  <a:pt x="1261474" y="343524"/>
                  <a:pt x="1261185" y="340805"/>
                  <a:pt x="1259508" y="337219"/>
                </a:cubicBezTo>
                <a:cubicBezTo>
                  <a:pt x="1256673" y="331435"/>
                  <a:pt x="1250542" y="316684"/>
                  <a:pt x="1254128" y="311016"/>
                </a:cubicBezTo>
                <a:cubicBezTo>
                  <a:pt x="1255649" y="308933"/>
                  <a:pt x="1258362" y="308112"/>
                  <a:pt x="1260780" y="308991"/>
                </a:cubicBezTo>
                <a:cubicBezTo>
                  <a:pt x="1263250" y="309523"/>
                  <a:pt x="1265772" y="309812"/>
                  <a:pt x="1268300" y="309859"/>
                </a:cubicBezTo>
                <a:cubicBezTo>
                  <a:pt x="1275530" y="309859"/>
                  <a:pt x="1280737" y="306619"/>
                  <a:pt x="1286232" y="298290"/>
                </a:cubicBezTo>
                <a:cubicBezTo>
                  <a:pt x="1289089" y="294137"/>
                  <a:pt x="1293370" y="291169"/>
                  <a:pt x="1298263" y="289960"/>
                </a:cubicBezTo>
                <a:cubicBezTo>
                  <a:pt x="1302197" y="288630"/>
                  <a:pt x="1304568" y="287878"/>
                  <a:pt x="1304858" y="282556"/>
                </a:cubicBezTo>
                <a:cubicBezTo>
                  <a:pt x="1305407" y="276268"/>
                  <a:pt x="1303949" y="269969"/>
                  <a:pt x="1300693" y="264567"/>
                </a:cubicBezTo>
                <a:cubicBezTo>
                  <a:pt x="1300294" y="264069"/>
                  <a:pt x="1299709" y="263757"/>
                  <a:pt x="1299073" y="263699"/>
                </a:cubicBezTo>
                <a:cubicBezTo>
                  <a:pt x="1298379" y="263699"/>
                  <a:pt x="1296875" y="264277"/>
                  <a:pt x="1294851" y="267979"/>
                </a:cubicBezTo>
                <a:cubicBezTo>
                  <a:pt x="1289702" y="277466"/>
                  <a:pt x="1285595" y="282209"/>
                  <a:pt x="1282703" y="282209"/>
                </a:cubicBezTo>
                <a:cubicBezTo>
                  <a:pt x="1281373" y="282209"/>
                  <a:pt x="1279695" y="281341"/>
                  <a:pt x="1279406" y="277234"/>
                </a:cubicBezTo>
                <a:cubicBezTo>
                  <a:pt x="1279626" y="273538"/>
                  <a:pt x="1281442" y="270120"/>
                  <a:pt x="1284381" y="267864"/>
                </a:cubicBezTo>
                <a:cubicBezTo>
                  <a:pt x="1287794" y="264277"/>
                  <a:pt x="1290801" y="261096"/>
                  <a:pt x="1288025" y="255890"/>
                </a:cubicBezTo>
                <a:cubicBezTo>
                  <a:pt x="1287001" y="254340"/>
                  <a:pt x="1286683" y="252425"/>
                  <a:pt x="1287157" y="250626"/>
                </a:cubicBezTo>
                <a:cubicBezTo>
                  <a:pt x="1288094" y="248815"/>
                  <a:pt x="1289754" y="247491"/>
                  <a:pt x="1291727" y="246982"/>
                </a:cubicBezTo>
                <a:cubicBezTo>
                  <a:pt x="1292381" y="246797"/>
                  <a:pt x="1292988" y="246479"/>
                  <a:pt x="1293520" y="246056"/>
                </a:cubicBezTo>
                <a:cubicBezTo>
                  <a:pt x="1293520" y="246056"/>
                  <a:pt x="1293173" y="245131"/>
                  <a:pt x="1289008" y="242354"/>
                </a:cubicBezTo>
                <a:cubicBezTo>
                  <a:pt x="1281344" y="238305"/>
                  <a:pt x="1273049" y="235569"/>
                  <a:pt x="1264482" y="234256"/>
                </a:cubicBezTo>
                <a:cubicBezTo>
                  <a:pt x="1253527" y="232671"/>
                  <a:pt x="1243045" y="228726"/>
                  <a:pt x="1233767" y="222687"/>
                </a:cubicBezTo>
                <a:cubicBezTo>
                  <a:pt x="1216992" y="209383"/>
                  <a:pt x="1227982" y="195500"/>
                  <a:pt x="1231800" y="190237"/>
                </a:cubicBezTo>
                <a:cubicBezTo>
                  <a:pt x="1233420" y="188096"/>
                  <a:pt x="1234866" y="186014"/>
                  <a:pt x="1234750" y="184915"/>
                </a:cubicBezTo>
                <a:cubicBezTo>
                  <a:pt x="1234635" y="183816"/>
                  <a:pt x="1233420" y="183237"/>
                  <a:pt x="1231569" y="181907"/>
                </a:cubicBezTo>
                <a:cubicBezTo>
                  <a:pt x="1229718" y="180577"/>
                  <a:pt x="1228850" y="179940"/>
                  <a:pt x="1227115" y="178436"/>
                </a:cubicBezTo>
                <a:cubicBezTo>
                  <a:pt x="1223170" y="173942"/>
                  <a:pt x="1221816" y="167735"/>
                  <a:pt x="1223528" y="162009"/>
                </a:cubicBezTo>
                <a:cubicBezTo>
                  <a:pt x="1224743" y="155761"/>
                  <a:pt x="1228156" y="148415"/>
                  <a:pt x="1232899" y="146795"/>
                </a:cubicBezTo>
                <a:cubicBezTo>
                  <a:pt x="1237145" y="146315"/>
                  <a:pt x="1241431" y="147293"/>
                  <a:pt x="1245047" y="149572"/>
                </a:cubicBezTo>
                <a:cubicBezTo>
                  <a:pt x="1247274" y="150816"/>
                  <a:pt x="1249703" y="151660"/>
                  <a:pt x="1252219" y="152059"/>
                </a:cubicBezTo>
                <a:cubicBezTo>
                  <a:pt x="1253145" y="152059"/>
                  <a:pt x="1254070" y="152059"/>
                  <a:pt x="1254591" y="149977"/>
                </a:cubicBezTo>
                <a:cubicBezTo>
                  <a:pt x="1255748" y="145986"/>
                  <a:pt x="1252046" y="142689"/>
                  <a:pt x="1248806" y="140086"/>
                </a:cubicBezTo>
                <a:cubicBezTo>
                  <a:pt x="1246666" y="138177"/>
                  <a:pt x="1244989" y="136731"/>
                  <a:pt x="1245104" y="135053"/>
                </a:cubicBezTo>
                <a:cubicBezTo>
                  <a:pt x="1245145" y="134214"/>
                  <a:pt x="1245602" y="133457"/>
                  <a:pt x="1246319" y="133029"/>
                </a:cubicBezTo>
                <a:cubicBezTo>
                  <a:pt x="1247875" y="132115"/>
                  <a:pt x="1249547" y="131415"/>
                  <a:pt x="1251294" y="130946"/>
                </a:cubicBezTo>
                <a:cubicBezTo>
                  <a:pt x="1256673" y="129211"/>
                  <a:pt x="1262863" y="127244"/>
                  <a:pt x="1262863" y="118220"/>
                </a:cubicBezTo>
                <a:cubicBezTo>
                  <a:pt x="1262863" y="116254"/>
                  <a:pt x="1262863" y="114345"/>
                  <a:pt x="1262863" y="112436"/>
                </a:cubicBezTo>
                <a:cubicBezTo>
                  <a:pt x="1262863" y="101966"/>
                  <a:pt x="1262863" y="93694"/>
                  <a:pt x="1258177" y="87274"/>
                </a:cubicBezTo>
                <a:cubicBezTo>
                  <a:pt x="1257078" y="85828"/>
                  <a:pt x="1255921" y="84613"/>
                  <a:pt x="1254880" y="83456"/>
                </a:cubicBezTo>
                <a:cubicBezTo>
                  <a:pt x="1250021" y="78076"/>
                  <a:pt x="1246146" y="73912"/>
                  <a:pt x="1247650" y="56211"/>
                </a:cubicBezTo>
                <a:cubicBezTo>
                  <a:pt x="1248315" y="48657"/>
                  <a:pt x="1247927" y="41045"/>
                  <a:pt x="1246493" y="33594"/>
                </a:cubicBezTo>
                <a:cubicBezTo>
                  <a:pt x="1245683" y="28677"/>
                  <a:pt x="1245104" y="25380"/>
                  <a:pt x="1248286" y="23819"/>
                </a:cubicBezTo>
                <a:cubicBezTo>
                  <a:pt x="1251467" y="22257"/>
                  <a:pt x="1254533" y="23819"/>
                  <a:pt x="1258062" y="25554"/>
                </a:cubicBezTo>
                <a:cubicBezTo>
                  <a:pt x="1259866" y="26514"/>
                  <a:pt x="1261821" y="27162"/>
                  <a:pt x="1263846" y="27463"/>
                </a:cubicBezTo>
                <a:cubicBezTo>
                  <a:pt x="1264563" y="27503"/>
                  <a:pt x="1265205" y="27012"/>
                  <a:pt x="1265350" y="26306"/>
                </a:cubicBezTo>
                <a:cubicBezTo>
                  <a:pt x="1265986" y="24108"/>
                  <a:pt x="1263615" y="21794"/>
                  <a:pt x="1261359" y="19538"/>
                </a:cubicBezTo>
                <a:cubicBezTo>
                  <a:pt x="1259103" y="17282"/>
                  <a:pt x="1254996" y="13233"/>
                  <a:pt x="1258293" y="9531"/>
                </a:cubicBezTo>
                <a:cubicBezTo>
                  <a:pt x="1263267" y="3747"/>
                  <a:pt x="1292595" y="-129"/>
                  <a:pt x="1309890" y="-129"/>
                </a:cubicBezTo>
                <a:cubicBezTo>
                  <a:pt x="1312146" y="-129"/>
                  <a:pt x="1314286" y="-129"/>
                  <a:pt x="1316137" y="-129"/>
                </a:cubicBezTo>
                <a:cubicBezTo>
                  <a:pt x="1322691" y="426"/>
                  <a:pt x="1329088" y="2127"/>
                  <a:pt x="1335052" y="4903"/>
                </a:cubicBezTo>
                <a:cubicBezTo>
                  <a:pt x="1341566" y="8062"/>
                  <a:pt x="1348698" y="9722"/>
                  <a:pt x="1355934" y="9762"/>
                </a:cubicBezTo>
                <a:lnTo>
                  <a:pt x="1360851" y="9762"/>
                </a:lnTo>
                <a:cubicBezTo>
                  <a:pt x="1366288" y="9300"/>
                  <a:pt x="1370800" y="9068"/>
                  <a:pt x="1374618" y="9068"/>
                </a:cubicBezTo>
                <a:cubicBezTo>
                  <a:pt x="1385030" y="9068"/>
                  <a:pt x="1390756" y="10688"/>
                  <a:pt x="1392549" y="14216"/>
                </a:cubicBezTo>
                <a:cubicBezTo>
                  <a:pt x="1393822" y="16646"/>
                  <a:pt x="1393070" y="20001"/>
                  <a:pt x="1390294" y="23645"/>
                </a:cubicBezTo>
                <a:cubicBezTo>
                  <a:pt x="1387517" y="27289"/>
                  <a:pt x="1384509" y="31743"/>
                  <a:pt x="1380923" y="37296"/>
                </a:cubicBezTo>
                <a:cubicBezTo>
                  <a:pt x="1369874" y="53493"/>
                  <a:pt x="1356223" y="73622"/>
                  <a:pt x="1350670" y="77787"/>
                </a:cubicBezTo>
                <a:cubicBezTo>
                  <a:pt x="1348229" y="79349"/>
                  <a:pt x="1345349" y="80084"/>
                  <a:pt x="1342456" y="79870"/>
                </a:cubicBezTo>
                <a:cubicBezTo>
                  <a:pt x="1336001" y="79488"/>
                  <a:pt x="1329592" y="78522"/>
                  <a:pt x="1323310" y="76977"/>
                </a:cubicBezTo>
                <a:cubicBezTo>
                  <a:pt x="1318110" y="75745"/>
                  <a:pt x="1312834" y="74878"/>
                  <a:pt x="1307518" y="74374"/>
                </a:cubicBezTo>
                <a:cubicBezTo>
                  <a:pt x="1302602" y="74374"/>
                  <a:pt x="1300461" y="75242"/>
                  <a:pt x="1300346" y="76225"/>
                </a:cubicBezTo>
                <a:cubicBezTo>
                  <a:pt x="1300230" y="77209"/>
                  <a:pt x="1302544" y="80043"/>
                  <a:pt x="1306130" y="81258"/>
                </a:cubicBezTo>
                <a:cubicBezTo>
                  <a:pt x="1308270" y="81952"/>
                  <a:pt x="1310758" y="83109"/>
                  <a:pt x="1311394" y="85423"/>
                </a:cubicBezTo>
                <a:cubicBezTo>
                  <a:pt x="1312030" y="87736"/>
                  <a:pt x="1309948" y="92248"/>
                  <a:pt x="1302370" y="100694"/>
                </a:cubicBezTo>
                <a:cubicBezTo>
                  <a:pt x="1291727" y="112552"/>
                  <a:pt x="1287273" y="116196"/>
                  <a:pt x="1281431" y="115560"/>
                </a:cubicBezTo>
                <a:lnTo>
                  <a:pt x="1281431" y="115560"/>
                </a:lnTo>
                <a:cubicBezTo>
                  <a:pt x="1280945" y="115490"/>
                  <a:pt x="1280476" y="115750"/>
                  <a:pt x="1280274" y="116196"/>
                </a:cubicBezTo>
                <a:cubicBezTo>
                  <a:pt x="1279649" y="118139"/>
                  <a:pt x="1279921" y="120262"/>
                  <a:pt x="1281026" y="121980"/>
                </a:cubicBezTo>
                <a:cubicBezTo>
                  <a:pt x="1282397" y="124514"/>
                  <a:pt x="1285260" y="125856"/>
                  <a:pt x="1288083" y="125277"/>
                </a:cubicBezTo>
                <a:cubicBezTo>
                  <a:pt x="1298148" y="123311"/>
                  <a:pt x="1321112" y="143556"/>
                  <a:pt x="1324409" y="150093"/>
                </a:cubicBezTo>
                <a:cubicBezTo>
                  <a:pt x="1325398" y="154361"/>
                  <a:pt x="1324947" y="158833"/>
                  <a:pt x="1323136" y="162818"/>
                </a:cubicBezTo>
                <a:cubicBezTo>
                  <a:pt x="1321748" y="167677"/>
                  <a:pt x="1320244" y="172594"/>
                  <a:pt x="1322731" y="173867"/>
                </a:cubicBezTo>
                <a:cubicBezTo>
                  <a:pt x="1324825" y="174792"/>
                  <a:pt x="1326994" y="175544"/>
                  <a:pt x="1329210" y="176123"/>
                </a:cubicBezTo>
                <a:cubicBezTo>
                  <a:pt x="1336961" y="178552"/>
                  <a:pt x="1347547" y="181907"/>
                  <a:pt x="1347547" y="189369"/>
                </a:cubicBezTo>
                <a:cubicBezTo>
                  <a:pt x="1347547" y="192955"/>
                  <a:pt x="1352290" y="195153"/>
                  <a:pt x="1356859" y="197062"/>
                </a:cubicBezTo>
                <a:cubicBezTo>
                  <a:pt x="1361429" y="198971"/>
                  <a:pt x="1364611" y="200417"/>
                  <a:pt x="1365420" y="203252"/>
                </a:cubicBezTo>
                <a:cubicBezTo>
                  <a:pt x="1365739" y="204807"/>
                  <a:pt x="1365334" y="206421"/>
                  <a:pt x="1364321" y="207648"/>
                </a:cubicBezTo>
                <a:cubicBezTo>
                  <a:pt x="1362580" y="210291"/>
                  <a:pt x="1359619" y="211859"/>
                  <a:pt x="1356455" y="211812"/>
                </a:cubicBezTo>
                <a:cubicBezTo>
                  <a:pt x="1355113" y="211784"/>
                  <a:pt x="1353776" y="211633"/>
                  <a:pt x="1352463" y="211350"/>
                </a:cubicBezTo>
                <a:cubicBezTo>
                  <a:pt x="1351682" y="211176"/>
                  <a:pt x="1350890" y="211084"/>
                  <a:pt x="1350092" y="211061"/>
                </a:cubicBezTo>
                <a:cubicBezTo>
                  <a:pt x="1349340" y="211061"/>
                  <a:pt x="1348877" y="211061"/>
                  <a:pt x="1348761" y="212507"/>
                </a:cubicBezTo>
                <a:cubicBezTo>
                  <a:pt x="1348414" y="214959"/>
                  <a:pt x="1347853" y="217383"/>
                  <a:pt x="1347084" y="219737"/>
                </a:cubicBezTo>
                <a:cubicBezTo>
                  <a:pt x="1345406" y="225522"/>
                  <a:pt x="1343440" y="232231"/>
                  <a:pt x="1347084" y="235182"/>
                </a:cubicBezTo>
                <a:cubicBezTo>
                  <a:pt x="1349687" y="237206"/>
                  <a:pt x="1353620" y="235182"/>
                  <a:pt x="1357380" y="232579"/>
                </a:cubicBezTo>
                <a:cubicBezTo>
                  <a:pt x="1359723" y="230774"/>
                  <a:pt x="1362494" y="229600"/>
                  <a:pt x="1365420" y="229166"/>
                </a:cubicBezTo>
                <a:cubicBezTo>
                  <a:pt x="1366115" y="229148"/>
                  <a:pt x="1366809" y="229287"/>
                  <a:pt x="1367445" y="229571"/>
                </a:cubicBezTo>
                <a:cubicBezTo>
                  <a:pt x="1368776" y="230149"/>
                  <a:pt x="1370626" y="231133"/>
                  <a:pt x="1372767" y="232231"/>
                </a:cubicBezTo>
                <a:cubicBezTo>
                  <a:pt x="1379355" y="236252"/>
                  <a:pt x="1386632" y="239017"/>
                  <a:pt x="1394227" y="240387"/>
                </a:cubicBezTo>
                <a:cubicBezTo>
                  <a:pt x="1398565" y="240387"/>
                  <a:pt x="1399086" y="243048"/>
                  <a:pt x="1399144" y="243858"/>
                </a:cubicBezTo>
                <a:cubicBezTo>
                  <a:pt x="1399144" y="247502"/>
                  <a:pt x="1394343" y="252650"/>
                  <a:pt x="1387575" y="253518"/>
                </a:cubicBezTo>
                <a:cubicBezTo>
                  <a:pt x="1383873" y="254039"/>
                  <a:pt x="1381386" y="255658"/>
                  <a:pt x="1381039" y="257914"/>
                </a:cubicBezTo>
                <a:cubicBezTo>
                  <a:pt x="1380871" y="260130"/>
                  <a:pt x="1382230" y="262183"/>
                  <a:pt x="1384335" y="262889"/>
                </a:cubicBezTo>
                <a:cubicBezTo>
                  <a:pt x="1387748" y="264624"/>
                  <a:pt x="1388269" y="271913"/>
                  <a:pt x="1388905" y="280242"/>
                </a:cubicBezTo>
                <a:cubicBezTo>
                  <a:pt x="1389426" y="286663"/>
                  <a:pt x="1390062" y="295397"/>
                  <a:pt x="1392492" y="295397"/>
                </a:cubicBezTo>
                <a:cubicBezTo>
                  <a:pt x="1394921" y="295397"/>
                  <a:pt x="1396367" y="291059"/>
                  <a:pt x="1397350" y="286605"/>
                </a:cubicBezTo>
                <a:cubicBezTo>
                  <a:pt x="1398334" y="282151"/>
                  <a:pt x="1399722" y="275730"/>
                  <a:pt x="1404581" y="273706"/>
                </a:cubicBezTo>
                <a:cubicBezTo>
                  <a:pt x="1409440" y="271681"/>
                  <a:pt x="1409671" y="267921"/>
                  <a:pt x="1410365" y="263872"/>
                </a:cubicBezTo>
                <a:cubicBezTo>
                  <a:pt x="1410730" y="260419"/>
                  <a:pt x="1412118" y="257157"/>
                  <a:pt x="1414357" y="254502"/>
                </a:cubicBezTo>
                <a:cubicBezTo>
                  <a:pt x="1416873" y="251997"/>
                  <a:pt x="1420292" y="250597"/>
                  <a:pt x="1423843" y="250626"/>
                </a:cubicBezTo>
                <a:cubicBezTo>
                  <a:pt x="1430796" y="251320"/>
                  <a:pt x="1437113" y="254964"/>
                  <a:pt x="1441197" y="260633"/>
                </a:cubicBezTo>
                <a:cubicBezTo>
                  <a:pt x="1444158" y="264214"/>
                  <a:pt x="1447849" y="267135"/>
                  <a:pt x="1452013" y="269194"/>
                </a:cubicBezTo>
                <a:cubicBezTo>
                  <a:pt x="1456595" y="270848"/>
                  <a:pt x="1459649" y="275198"/>
                  <a:pt x="1459649" y="280069"/>
                </a:cubicBezTo>
                <a:cubicBezTo>
                  <a:pt x="1459932" y="283632"/>
                  <a:pt x="1460713" y="287132"/>
                  <a:pt x="1461963" y="290481"/>
                </a:cubicBezTo>
                <a:cubicBezTo>
                  <a:pt x="1463004" y="293546"/>
                  <a:pt x="1463756" y="295745"/>
                  <a:pt x="1462715" y="297480"/>
                </a:cubicBezTo>
                <a:cubicBezTo>
                  <a:pt x="1461934" y="298590"/>
                  <a:pt x="1460707" y="299308"/>
                  <a:pt x="1459360" y="299447"/>
                </a:cubicBezTo>
                <a:cubicBezTo>
                  <a:pt x="1452245" y="300719"/>
                  <a:pt x="1449179" y="303901"/>
                  <a:pt x="1448774" y="310495"/>
                </a:cubicBezTo>
                <a:cubicBezTo>
                  <a:pt x="1448196" y="318535"/>
                  <a:pt x="1457277" y="330104"/>
                  <a:pt x="1466532" y="338087"/>
                </a:cubicBezTo>
                <a:cubicBezTo>
                  <a:pt x="1469673" y="341118"/>
                  <a:pt x="1472184" y="344733"/>
                  <a:pt x="1473936" y="348730"/>
                </a:cubicBezTo>
                <a:cubicBezTo>
                  <a:pt x="1475035" y="350928"/>
                  <a:pt x="1476482" y="353647"/>
                  <a:pt x="1477291" y="353647"/>
                </a:cubicBezTo>
                <a:cubicBezTo>
                  <a:pt x="1478101" y="353647"/>
                  <a:pt x="1478275" y="353647"/>
                  <a:pt x="1479952" y="350465"/>
                </a:cubicBezTo>
                <a:cubicBezTo>
                  <a:pt x="1482943" y="345820"/>
                  <a:pt x="1487969" y="342876"/>
                  <a:pt x="1493488" y="342541"/>
                </a:cubicBezTo>
                <a:cubicBezTo>
                  <a:pt x="1496033" y="342078"/>
                  <a:pt x="1498231" y="341615"/>
                  <a:pt x="1499272" y="340516"/>
                </a:cubicBezTo>
                <a:cubicBezTo>
                  <a:pt x="1499625" y="339683"/>
                  <a:pt x="1499625" y="338746"/>
                  <a:pt x="1499272" y="337913"/>
                </a:cubicBezTo>
                <a:cubicBezTo>
                  <a:pt x="1497479" y="328889"/>
                  <a:pt x="1496380" y="323510"/>
                  <a:pt x="1489786" y="321832"/>
                </a:cubicBezTo>
                <a:cubicBezTo>
                  <a:pt x="1485447" y="320733"/>
                  <a:pt x="1484001" y="315007"/>
                  <a:pt x="1484348" y="310264"/>
                </a:cubicBezTo>
                <a:cubicBezTo>
                  <a:pt x="1484695" y="305520"/>
                  <a:pt x="1487935" y="298695"/>
                  <a:pt x="1493661" y="298695"/>
                </a:cubicBezTo>
                <a:lnTo>
                  <a:pt x="1494066" y="298695"/>
                </a:lnTo>
                <a:cubicBezTo>
                  <a:pt x="1499503" y="298695"/>
                  <a:pt x="1500140" y="304479"/>
                  <a:pt x="1500603" y="309627"/>
                </a:cubicBezTo>
                <a:cubicBezTo>
                  <a:pt x="1501065" y="314775"/>
                  <a:pt x="1501470" y="316511"/>
                  <a:pt x="1503148" y="316511"/>
                </a:cubicBezTo>
                <a:cubicBezTo>
                  <a:pt x="1503906" y="316441"/>
                  <a:pt x="1504634" y="316204"/>
                  <a:pt x="1505288" y="315817"/>
                </a:cubicBezTo>
                <a:cubicBezTo>
                  <a:pt x="1515122" y="310553"/>
                  <a:pt x="1516278" y="304942"/>
                  <a:pt x="1518014" y="289382"/>
                </a:cubicBezTo>
                <a:cubicBezTo>
                  <a:pt x="1519113" y="280011"/>
                  <a:pt x="1522988" y="275673"/>
                  <a:pt x="1530219" y="275673"/>
                </a:cubicBezTo>
                <a:cubicBezTo>
                  <a:pt x="1531810" y="275684"/>
                  <a:pt x="1533395" y="275823"/>
                  <a:pt x="1534962" y="276078"/>
                </a:cubicBezTo>
                <a:lnTo>
                  <a:pt x="1536813" y="276078"/>
                </a:lnTo>
                <a:cubicBezTo>
                  <a:pt x="1537131" y="276182"/>
                  <a:pt x="1537478" y="276182"/>
                  <a:pt x="1537797" y="276078"/>
                </a:cubicBezTo>
                <a:cubicBezTo>
                  <a:pt x="1537843" y="275221"/>
                  <a:pt x="1537744" y="274360"/>
                  <a:pt x="1537507" y="273532"/>
                </a:cubicBezTo>
                <a:cubicBezTo>
                  <a:pt x="1536929" y="270756"/>
                  <a:pt x="1536003" y="266128"/>
                  <a:pt x="1541151" y="264162"/>
                </a:cubicBezTo>
                <a:cubicBezTo>
                  <a:pt x="1543118" y="263410"/>
                  <a:pt x="1543986" y="262195"/>
                  <a:pt x="1543755" y="260575"/>
                </a:cubicBezTo>
                <a:cubicBezTo>
                  <a:pt x="1542025" y="256110"/>
                  <a:pt x="1537785" y="253119"/>
                  <a:pt x="1532995" y="252998"/>
                </a:cubicBezTo>
                <a:cubicBezTo>
                  <a:pt x="1527211" y="252593"/>
                  <a:pt x="1525186" y="244842"/>
                  <a:pt x="1525071" y="238247"/>
                </a:cubicBezTo>
                <a:cubicBezTo>
                  <a:pt x="1524955" y="231653"/>
                  <a:pt x="1526632" y="225059"/>
                  <a:pt x="1530566" y="224654"/>
                </a:cubicBezTo>
                <a:cubicBezTo>
                  <a:pt x="1532648" y="224654"/>
                  <a:pt x="1537912" y="224133"/>
                  <a:pt x="1544391" y="224133"/>
                </a:cubicBezTo>
                <a:cubicBezTo>
                  <a:pt x="1554502" y="223688"/>
                  <a:pt x="1564607" y="225140"/>
                  <a:pt x="1574180" y="228414"/>
                </a:cubicBezTo>
                <a:cubicBezTo>
                  <a:pt x="1579392" y="230369"/>
                  <a:pt x="1584934" y="231271"/>
                  <a:pt x="1590493" y="231075"/>
                </a:cubicBezTo>
                <a:cubicBezTo>
                  <a:pt x="1598128" y="231364"/>
                  <a:pt x="1605301" y="231653"/>
                  <a:pt x="1605706" y="237842"/>
                </a:cubicBezTo>
                <a:cubicBezTo>
                  <a:pt x="1606226" y="245825"/>
                  <a:pt x="1614267" y="251320"/>
                  <a:pt x="1625199" y="251320"/>
                </a:cubicBezTo>
                <a:cubicBezTo>
                  <a:pt x="1631794" y="251320"/>
                  <a:pt x="1639082" y="253576"/>
                  <a:pt x="1640181" y="257914"/>
                </a:cubicBezTo>
                <a:cubicBezTo>
                  <a:pt x="1640644" y="259765"/>
                  <a:pt x="1640181" y="262600"/>
                  <a:pt x="1634801" y="265550"/>
                </a:cubicBezTo>
                <a:cubicBezTo>
                  <a:pt x="1632661" y="266764"/>
                  <a:pt x="1632488" y="267459"/>
                  <a:pt x="1632488" y="267632"/>
                </a:cubicBezTo>
                <a:cubicBezTo>
                  <a:pt x="1632488" y="267806"/>
                  <a:pt x="1634859" y="269946"/>
                  <a:pt x="1636594" y="270987"/>
                </a:cubicBezTo>
                <a:cubicBezTo>
                  <a:pt x="1639429" y="272665"/>
                  <a:pt x="1642379" y="274573"/>
                  <a:pt x="1643362" y="277408"/>
                </a:cubicBezTo>
                <a:cubicBezTo>
                  <a:pt x="1643640" y="278848"/>
                  <a:pt x="1643304" y="280335"/>
                  <a:pt x="1642437" y="281515"/>
                </a:cubicBezTo>
                <a:cubicBezTo>
                  <a:pt x="1636149" y="290672"/>
                  <a:pt x="1624719" y="294796"/>
                  <a:pt x="1614035" y="291753"/>
                </a:cubicBezTo>
                <a:cubicBezTo>
                  <a:pt x="1612919" y="291493"/>
                  <a:pt x="1611774" y="291354"/>
                  <a:pt x="1610622" y="291348"/>
                </a:cubicBezTo>
                <a:cubicBezTo>
                  <a:pt x="1609408" y="291348"/>
                  <a:pt x="1607325" y="291348"/>
                  <a:pt x="1606978" y="292968"/>
                </a:cubicBezTo>
                <a:cubicBezTo>
                  <a:pt x="1606631" y="294588"/>
                  <a:pt x="1609118" y="298752"/>
                  <a:pt x="1614151" y="301124"/>
                </a:cubicBezTo>
                <a:cubicBezTo>
                  <a:pt x="1618003" y="302749"/>
                  <a:pt x="1620178" y="306856"/>
                  <a:pt x="1619357" y="310958"/>
                </a:cubicBezTo>
                <a:cubicBezTo>
                  <a:pt x="1618628" y="314700"/>
                  <a:pt x="1620230" y="318512"/>
                  <a:pt x="1623406" y="320618"/>
                </a:cubicBezTo>
                <a:cubicBezTo>
                  <a:pt x="1629190" y="324898"/>
                  <a:pt x="1646544" y="337971"/>
                  <a:pt x="1636999" y="351854"/>
                </a:cubicBezTo>
                <a:cubicBezTo>
                  <a:pt x="1632661" y="358216"/>
                  <a:pt x="1630116" y="358911"/>
                  <a:pt x="1627108" y="359142"/>
                </a:cubicBezTo>
                <a:cubicBezTo>
                  <a:pt x="1624800" y="359223"/>
                  <a:pt x="1622660" y="360380"/>
                  <a:pt x="1621324" y="362265"/>
                </a:cubicBezTo>
                <a:lnTo>
                  <a:pt x="1619993" y="363712"/>
                </a:lnTo>
                <a:cubicBezTo>
                  <a:pt x="1613752" y="371648"/>
                  <a:pt x="1605474" y="377745"/>
                  <a:pt x="1596046" y="381354"/>
                </a:cubicBezTo>
                <a:cubicBezTo>
                  <a:pt x="1593171" y="382401"/>
                  <a:pt x="1590400" y="383714"/>
                  <a:pt x="1587774" y="385288"/>
                </a:cubicBezTo>
                <a:cubicBezTo>
                  <a:pt x="1585420" y="386936"/>
                  <a:pt x="1582701" y="387989"/>
                  <a:pt x="1579849" y="388353"/>
                </a:cubicBezTo>
                <a:cubicBezTo>
                  <a:pt x="1576552" y="388353"/>
                  <a:pt x="1574065" y="385866"/>
                  <a:pt x="1571057" y="380197"/>
                </a:cubicBezTo>
                <a:cubicBezTo>
                  <a:pt x="1568975" y="376391"/>
                  <a:pt x="1565614" y="373441"/>
                  <a:pt x="1561570" y="371868"/>
                </a:cubicBezTo>
                <a:cubicBezTo>
                  <a:pt x="1557620" y="370364"/>
                  <a:pt x="1554323" y="367518"/>
                  <a:pt x="1552258" y="363827"/>
                </a:cubicBezTo>
                <a:cubicBezTo>
                  <a:pt x="1551563" y="362242"/>
                  <a:pt x="1549996" y="361218"/>
                  <a:pt x="1548266" y="361224"/>
                </a:cubicBezTo>
                <a:cubicBezTo>
                  <a:pt x="1546219" y="361137"/>
                  <a:pt x="1544362" y="362410"/>
                  <a:pt x="1543697" y="364348"/>
                </a:cubicBezTo>
                <a:cubicBezTo>
                  <a:pt x="1543350" y="366257"/>
                  <a:pt x="1545201" y="368108"/>
                  <a:pt x="1548845" y="369554"/>
                </a:cubicBezTo>
                <a:cubicBezTo>
                  <a:pt x="1559893" y="373892"/>
                  <a:pt x="1568685" y="383668"/>
                  <a:pt x="1567818" y="388295"/>
                </a:cubicBezTo>
                <a:cubicBezTo>
                  <a:pt x="1567818" y="389163"/>
                  <a:pt x="1566892" y="391130"/>
                  <a:pt x="1563537" y="391130"/>
                </a:cubicBezTo>
                <a:cubicBezTo>
                  <a:pt x="1559448" y="391419"/>
                  <a:pt x="1555399" y="392119"/>
                  <a:pt x="1551448" y="393212"/>
                </a:cubicBezTo>
                <a:cubicBezTo>
                  <a:pt x="1547312" y="394386"/>
                  <a:pt x="1543066" y="395121"/>
                  <a:pt x="1538780" y="395410"/>
                </a:cubicBezTo>
                <a:cubicBezTo>
                  <a:pt x="1536900" y="395636"/>
                  <a:pt x="1535014" y="395023"/>
                  <a:pt x="1533632" y="393733"/>
                </a:cubicBezTo>
                <a:cubicBezTo>
                  <a:pt x="1532937" y="392923"/>
                  <a:pt x="1532243" y="391998"/>
                  <a:pt x="1531549" y="391014"/>
                </a:cubicBezTo>
                <a:cubicBezTo>
                  <a:pt x="1528594" y="385554"/>
                  <a:pt x="1523098" y="381950"/>
                  <a:pt x="1516915" y="381412"/>
                </a:cubicBezTo>
                <a:cubicBezTo>
                  <a:pt x="1508412" y="381412"/>
                  <a:pt x="1496438" y="384015"/>
                  <a:pt x="1495454" y="386791"/>
                </a:cubicBezTo>
                <a:cubicBezTo>
                  <a:pt x="1495454" y="387254"/>
                  <a:pt x="1495454" y="387833"/>
                  <a:pt x="1496438" y="388469"/>
                </a:cubicBezTo>
                <a:cubicBezTo>
                  <a:pt x="1499047" y="390303"/>
                  <a:pt x="1501858" y="391812"/>
                  <a:pt x="1504825" y="392981"/>
                </a:cubicBezTo>
                <a:cubicBezTo>
                  <a:pt x="1510031" y="395295"/>
                  <a:pt x="1514890" y="397493"/>
                  <a:pt x="1515295" y="400848"/>
                </a:cubicBezTo>
                <a:cubicBezTo>
                  <a:pt x="1515295" y="402583"/>
                  <a:pt x="1514427" y="404260"/>
                  <a:pt x="1512114" y="405996"/>
                </a:cubicBezTo>
                <a:cubicBezTo>
                  <a:pt x="1509800" y="407731"/>
                  <a:pt x="1506329" y="411202"/>
                  <a:pt x="1502049" y="414904"/>
                </a:cubicBezTo>
                <a:cubicBezTo>
                  <a:pt x="1491984" y="424275"/>
                  <a:pt x="1479489" y="435901"/>
                  <a:pt x="1470755" y="435901"/>
                </a:cubicBezTo>
                <a:lnTo>
                  <a:pt x="1470177" y="435901"/>
                </a:lnTo>
                <a:cubicBezTo>
                  <a:pt x="1464392" y="435612"/>
                  <a:pt x="1453922" y="429365"/>
                  <a:pt x="1442990" y="422713"/>
                </a:cubicBezTo>
                <a:cubicBezTo>
                  <a:pt x="1432057" y="416061"/>
                  <a:pt x="1421761" y="409871"/>
                  <a:pt x="1415629" y="409235"/>
                </a:cubicBezTo>
                <a:cubicBezTo>
                  <a:pt x="1410655" y="408772"/>
                  <a:pt x="1407358" y="409698"/>
                  <a:pt x="1406721" y="411549"/>
                </a:cubicBezTo>
                <a:cubicBezTo>
                  <a:pt x="1406085" y="413400"/>
                  <a:pt x="1407820" y="417333"/>
                  <a:pt x="1414588" y="422366"/>
                </a:cubicBezTo>
                <a:cubicBezTo>
                  <a:pt x="1426157" y="431042"/>
                  <a:pt x="1437090" y="438157"/>
                  <a:pt x="1455079" y="438157"/>
                </a:cubicBezTo>
                <a:cubicBezTo>
                  <a:pt x="1456988" y="438157"/>
                  <a:pt x="1458955" y="438157"/>
                  <a:pt x="1460864" y="438157"/>
                </a:cubicBezTo>
                <a:cubicBezTo>
                  <a:pt x="1462773" y="438157"/>
                  <a:pt x="1465491" y="437868"/>
                  <a:pt x="1467631" y="437868"/>
                </a:cubicBezTo>
                <a:cubicBezTo>
                  <a:pt x="1478911" y="437868"/>
                  <a:pt x="1486431" y="440471"/>
                  <a:pt x="1487819" y="444867"/>
                </a:cubicBezTo>
                <a:cubicBezTo>
                  <a:pt x="1488455" y="446834"/>
                  <a:pt x="1487819" y="449957"/>
                  <a:pt x="1482787" y="453544"/>
                </a:cubicBezTo>
                <a:cubicBezTo>
                  <a:pt x="1477043" y="458449"/>
                  <a:pt x="1472022" y="464135"/>
                  <a:pt x="1467863" y="470434"/>
                </a:cubicBezTo>
                <a:cubicBezTo>
                  <a:pt x="1460169" y="480788"/>
                  <a:pt x="1452187" y="491432"/>
                  <a:pt x="1443684" y="493572"/>
                </a:cubicBezTo>
                <a:cubicBezTo>
                  <a:pt x="1442128" y="493931"/>
                  <a:pt x="1440537" y="494110"/>
                  <a:pt x="1438941" y="494093"/>
                </a:cubicBezTo>
                <a:cubicBezTo>
                  <a:pt x="1431542" y="493491"/>
                  <a:pt x="1424289" y="491675"/>
                  <a:pt x="1417480" y="488713"/>
                </a:cubicBezTo>
                <a:cubicBezTo>
                  <a:pt x="1413790" y="487088"/>
                  <a:pt x="1409897" y="485960"/>
                  <a:pt x="1405911" y="485358"/>
                </a:cubicBezTo>
                <a:cubicBezTo>
                  <a:pt x="1404407" y="485358"/>
                  <a:pt x="1404176" y="485937"/>
                  <a:pt x="1404118" y="486168"/>
                </a:cubicBezTo>
                <a:cubicBezTo>
                  <a:pt x="1403534" y="488973"/>
                  <a:pt x="1403534" y="491866"/>
                  <a:pt x="1404118" y="494671"/>
                </a:cubicBezTo>
                <a:cubicBezTo>
                  <a:pt x="1405420" y="499079"/>
                  <a:pt x="1404922" y="503822"/>
                  <a:pt x="1402730" y="507860"/>
                </a:cubicBezTo>
                <a:cubicBezTo>
                  <a:pt x="1401093" y="509630"/>
                  <a:pt x="1398779" y="510613"/>
                  <a:pt x="1396367" y="510578"/>
                </a:cubicBezTo>
                <a:lnTo>
                  <a:pt x="1394343" y="510578"/>
                </a:lnTo>
                <a:cubicBezTo>
                  <a:pt x="1391450" y="510578"/>
                  <a:pt x="1388905" y="510867"/>
                  <a:pt x="1386592" y="510867"/>
                </a:cubicBezTo>
                <a:cubicBezTo>
                  <a:pt x="1378493" y="510752"/>
                  <a:pt x="1370517" y="508941"/>
                  <a:pt x="1363165" y="505546"/>
                </a:cubicBezTo>
                <a:cubicBezTo>
                  <a:pt x="1349860" y="500456"/>
                  <a:pt x="1321285" y="492704"/>
                  <a:pt x="1308502" y="492704"/>
                </a:cubicBezTo>
                <a:cubicBezTo>
                  <a:pt x="1303816" y="492704"/>
                  <a:pt x="1303006" y="493746"/>
                  <a:pt x="1302717" y="494093"/>
                </a:cubicBezTo>
                <a:cubicBezTo>
                  <a:pt x="1303585" y="496117"/>
                  <a:pt x="1311510" y="497795"/>
                  <a:pt x="1318509" y="499241"/>
                </a:cubicBezTo>
                <a:cubicBezTo>
                  <a:pt x="1331292" y="501959"/>
                  <a:pt x="1345811" y="505025"/>
                  <a:pt x="1345811" y="512371"/>
                </a:cubicBezTo>
                <a:cubicBezTo>
                  <a:pt x="1345811" y="516825"/>
                  <a:pt x="1353736" y="517346"/>
                  <a:pt x="1362123" y="518156"/>
                </a:cubicBezTo>
                <a:cubicBezTo>
                  <a:pt x="1372073" y="518792"/>
                  <a:pt x="1383410" y="519486"/>
                  <a:pt x="1385261" y="527585"/>
                </a:cubicBezTo>
                <a:cubicBezTo>
                  <a:pt x="1386117" y="531217"/>
                  <a:pt x="1385244" y="535041"/>
                  <a:pt x="1382889" y="537939"/>
                </a:cubicBezTo>
                <a:cubicBezTo>
                  <a:pt x="1377105" y="545169"/>
                  <a:pt x="1362933" y="547714"/>
                  <a:pt x="1352637" y="547714"/>
                </a:cubicBezTo>
                <a:cubicBezTo>
                  <a:pt x="1342341" y="547714"/>
                  <a:pt x="1338986" y="548929"/>
                  <a:pt x="1338523" y="549970"/>
                </a:cubicBezTo>
                <a:cubicBezTo>
                  <a:pt x="1338060" y="551011"/>
                  <a:pt x="1338523" y="551301"/>
                  <a:pt x="1340721" y="553672"/>
                </a:cubicBezTo>
                <a:cubicBezTo>
                  <a:pt x="1342225" y="555176"/>
                  <a:pt x="1343150" y="556449"/>
                  <a:pt x="1342803" y="557606"/>
                </a:cubicBezTo>
                <a:cubicBezTo>
                  <a:pt x="1342456" y="558763"/>
                  <a:pt x="1341068" y="559110"/>
                  <a:pt x="1339680" y="559399"/>
                </a:cubicBezTo>
                <a:cubicBezTo>
                  <a:pt x="1337077" y="559919"/>
                  <a:pt x="1334994" y="560556"/>
                  <a:pt x="1334358" y="563216"/>
                </a:cubicBezTo>
                <a:lnTo>
                  <a:pt x="1334358" y="563911"/>
                </a:lnTo>
                <a:cubicBezTo>
                  <a:pt x="1332623" y="570736"/>
                  <a:pt x="1331639" y="574901"/>
                  <a:pt x="1322095" y="576231"/>
                </a:cubicBezTo>
                <a:cubicBezTo>
                  <a:pt x="1318624" y="576636"/>
                  <a:pt x="1318104" y="579991"/>
                  <a:pt x="1317583" y="585371"/>
                </a:cubicBezTo>
                <a:cubicBezTo>
                  <a:pt x="1317063" y="590750"/>
                  <a:pt x="1316600" y="595956"/>
                  <a:pt x="1311278" y="597402"/>
                </a:cubicBezTo>
                <a:cubicBezTo>
                  <a:pt x="1298842" y="600700"/>
                  <a:pt x="1292768" y="605443"/>
                  <a:pt x="1292768" y="612037"/>
                </a:cubicBezTo>
                <a:cubicBezTo>
                  <a:pt x="1291247" y="619655"/>
                  <a:pt x="1288349" y="626926"/>
                  <a:pt x="1284207" y="633497"/>
                </a:cubicBezTo>
                <a:cubicBezTo>
                  <a:pt x="1279834" y="641115"/>
                  <a:pt x="1276398" y="649237"/>
                  <a:pt x="1273969" y="657676"/>
                </a:cubicBezTo>
                <a:cubicBezTo>
                  <a:pt x="1270903" y="672484"/>
                  <a:pt x="1271886" y="705861"/>
                  <a:pt x="1274663" y="708001"/>
                </a:cubicBezTo>
                <a:cubicBezTo>
                  <a:pt x="1282298" y="712542"/>
                  <a:pt x="1290952" y="715087"/>
                  <a:pt x="1299825" y="715405"/>
                </a:cubicBezTo>
                <a:cubicBezTo>
                  <a:pt x="1301277" y="715411"/>
                  <a:pt x="1302729" y="715295"/>
                  <a:pt x="1304163" y="715058"/>
                </a:cubicBezTo>
                <a:cubicBezTo>
                  <a:pt x="1317815" y="713149"/>
                  <a:pt x="1322211" y="726627"/>
                  <a:pt x="1325450" y="739526"/>
                </a:cubicBezTo>
                <a:cubicBezTo>
                  <a:pt x="1327197" y="745322"/>
                  <a:pt x="1329441" y="750950"/>
                  <a:pt x="1332160" y="756359"/>
                </a:cubicBezTo>
                <a:cubicBezTo>
                  <a:pt x="1336730" y="766076"/>
                  <a:pt x="1339391" y="772150"/>
                  <a:pt x="1337366" y="775042"/>
                </a:cubicBezTo>
                <a:cubicBezTo>
                  <a:pt x="1334647" y="778357"/>
                  <a:pt x="1332906" y="782365"/>
                  <a:pt x="1332334" y="786611"/>
                </a:cubicBezTo>
                <a:lnTo>
                  <a:pt x="1332681" y="786611"/>
                </a:lnTo>
                <a:cubicBezTo>
                  <a:pt x="1336128" y="785645"/>
                  <a:pt x="1339529" y="784512"/>
                  <a:pt x="1342861" y="783198"/>
                </a:cubicBezTo>
                <a:cubicBezTo>
                  <a:pt x="1352666" y="779167"/>
                  <a:pt x="1362893" y="776240"/>
                  <a:pt x="1373345" y="774464"/>
                </a:cubicBezTo>
                <a:cubicBezTo>
                  <a:pt x="1379419" y="774175"/>
                  <a:pt x="1387228" y="778571"/>
                  <a:pt x="1394748" y="782794"/>
                </a:cubicBezTo>
                <a:cubicBezTo>
                  <a:pt x="1400532" y="786264"/>
                  <a:pt x="1406316" y="789619"/>
                  <a:pt x="1409556" y="789041"/>
                </a:cubicBezTo>
                <a:cubicBezTo>
                  <a:pt x="1410875" y="788815"/>
                  <a:pt x="1412211" y="788717"/>
                  <a:pt x="1413547" y="788751"/>
                </a:cubicBezTo>
                <a:cubicBezTo>
                  <a:pt x="1421992" y="788751"/>
                  <a:pt x="1436338" y="791586"/>
                  <a:pt x="1440329" y="796676"/>
                </a:cubicBezTo>
                <a:cubicBezTo>
                  <a:pt x="1443713" y="799667"/>
                  <a:pt x="1447640" y="801986"/>
                  <a:pt x="1451898" y="803502"/>
                </a:cubicBezTo>
                <a:cubicBezTo>
                  <a:pt x="1458087" y="806220"/>
                  <a:pt x="1463929" y="808823"/>
                  <a:pt x="1465028" y="812178"/>
                </a:cubicBezTo>
                <a:cubicBezTo>
                  <a:pt x="1466648" y="817037"/>
                  <a:pt x="1474457" y="826582"/>
                  <a:pt x="1493314" y="831441"/>
                </a:cubicBezTo>
                <a:cubicBezTo>
                  <a:pt x="1507139" y="834871"/>
                  <a:pt x="1520102" y="841135"/>
                  <a:pt x="1531376" y="849835"/>
                </a:cubicBezTo>
                <a:cubicBezTo>
                  <a:pt x="1536582" y="854405"/>
                  <a:pt x="1545548" y="856140"/>
                  <a:pt x="1559025" y="855041"/>
                </a:cubicBezTo>
                <a:cubicBezTo>
                  <a:pt x="1561050" y="855041"/>
                  <a:pt x="1563306" y="855041"/>
                  <a:pt x="1565562" y="855041"/>
                </a:cubicBezTo>
                <a:cubicBezTo>
                  <a:pt x="1572335" y="855162"/>
                  <a:pt x="1579091" y="855666"/>
                  <a:pt x="1585807" y="856545"/>
                </a:cubicBezTo>
                <a:cubicBezTo>
                  <a:pt x="1590602" y="857175"/>
                  <a:pt x="1595433" y="857563"/>
                  <a:pt x="1600268" y="857702"/>
                </a:cubicBezTo>
                <a:cubicBezTo>
                  <a:pt x="1606516" y="857667"/>
                  <a:pt x="1612335" y="860860"/>
                  <a:pt x="1615655" y="866147"/>
                </a:cubicBezTo>
                <a:cubicBezTo>
                  <a:pt x="1617714" y="869161"/>
                  <a:pt x="1617998" y="873042"/>
                  <a:pt x="1616407" y="876328"/>
                </a:cubicBezTo>
                <a:cubicBezTo>
                  <a:pt x="1612878" y="882806"/>
                  <a:pt x="1609466" y="890268"/>
                  <a:pt x="1613399" y="897036"/>
                </a:cubicBezTo>
                <a:cubicBezTo>
                  <a:pt x="1616812" y="902820"/>
                  <a:pt x="1616118" y="918959"/>
                  <a:pt x="1615597" y="930644"/>
                </a:cubicBezTo>
                <a:cubicBezTo>
                  <a:pt x="1615597" y="934114"/>
                  <a:pt x="1615308" y="937122"/>
                  <a:pt x="1615308" y="939378"/>
                </a:cubicBezTo>
                <a:cubicBezTo>
                  <a:pt x="1615308" y="943832"/>
                  <a:pt x="1620109" y="947707"/>
                  <a:pt x="1624794" y="951468"/>
                </a:cubicBezTo>
                <a:cubicBezTo>
                  <a:pt x="1629480" y="955227"/>
                  <a:pt x="1634107" y="958987"/>
                  <a:pt x="1634107" y="963615"/>
                </a:cubicBezTo>
                <a:cubicBezTo>
                  <a:pt x="1634107" y="968242"/>
                  <a:pt x="1637867" y="971366"/>
                  <a:pt x="1644056" y="975184"/>
                </a:cubicBezTo>
                <a:cubicBezTo>
                  <a:pt x="1646717" y="976919"/>
                  <a:pt x="1649841" y="978828"/>
                  <a:pt x="1653080" y="981373"/>
                </a:cubicBezTo>
                <a:cubicBezTo>
                  <a:pt x="1657974" y="985156"/>
                  <a:pt x="1660924" y="990923"/>
                  <a:pt x="1661121" y="997107"/>
                </a:cubicBezTo>
                <a:cubicBezTo>
                  <a:pt x="1661092" y="998078"/>
                  <a:pt x="1661271" y="999044"/>
                  <a:pt x="1661641" y="999941"/>
                </a:cubicBezTo>
                <a:lnTo>
                  <a:pt x="1662335" y="999941"/>
                </a:lnTo>
                <a:cubicBezTo>
                  <a:pt x="1666089" y="1000924"/>
                  <a:pt x="1669624" y="1002613"/>
                  <a:pt x="1672747" y="1004916"/>
                </a:cubicBezTo>
                <a:cubicBezTo>
                  <a:pt x="1676027" y="1007223"/>
                  <a:pt x="1679659" y="1008982"/>
                  <a:pt x="1683506" y="1010122"/>
                </a:cubicBezTo>
                <a:lnTo>
                  <a:pt x="1683853" y="1010122"/>
                </a:lnTo>
                <a:cubicBezTo>
                  <a:pt x="1683905" y="1009971"/>
                  <a:pt x="1683905" y="1009809"/>
                  <a:pt x="1683853" y="1009659"/>
                </a:cubicBezTo>
                <a:cubicBezTo>
                  <a:pt x="1683853" y="1003874"/>
                  <a:pt x="1689291" y="990455"/>
                  <a:pt x="1696753" y="990455"/>
                </a:cubicBezTo>
                <a:cubicBezTo>
                  <a:pt x="1698187" y="990478"/>
                  <a:pt x="1699581" y="990940"/>
                  <a:pt x="1700744" y="991785"/>
                </a:cubicBezTo>
                <a:cubicBezTo>
                  <a:pt x="1702306" y="992826"/>
                  <a:pt x="1703694" y="993925"/>
                  <a:pt x="1705024" y="994908"/>
                </a:cubicBezTo>
                <a:cubicBezTo>
                  <a:pt x="1706708" y="996430"/>
                  <a:pt x="1708674" y="997610"/>
                  <a:pt x="1710809" y="998379"/>
                </a:cubicBezTo>
                <a:cubicBezTo>
                  <a:pt x="1710809" y="998379"/>
                  <a:pt x="1711561" y="997396"/>
                  <a:pt x="1711387" y="993983"/>
                </a:cubicBezTo>
                <a:cubicBezTo>
                  <a:pt x="1711335" y="990981"/>
                  <a:pt x="1709455" y="988320"/>
                  <a:pt x="1706644" y="987273"/>
                </a:cubicBezTo>
                <a:cubicBezTo>
                  <a:pt x="1705313" y="986521"/>
                  <a:pt x="1704041" y="985827"/>
                  <a:pt x="1703925" y="984381"/>
                </a:cubicBezTo>
                <a:cubicBezTo>
                  <a:pt x="1703810" y="982935"/>
                  <a:pt x="1704793" y="981489"/>
                  <a:pt x="1707511" y="979117"/>
                </a:cubicBezTo>
                <a:cubicBezTo>
                  <a:pt x="1716593" y="971250"/>
                  <a:pt x="1720700" y="967548"/>
                  <a:pt x="1713296" y="957599"/>
                </a:cubicBezTo>
                <a:cubicBezTo>
                  <a:pt x="1709721" y="952231"/>
                  <a:pt x="1707922" y="945880"/>
                  <a:pt x="1708148" y="939436"/>
                </a:cubicBezTo>
                <a:cubicBezTo>
                  <a:pt x="1708194" y="934380"/>
                  <a:pt x="1707228" y="929365"/>
                  <a:pt x="1705313" y="924686"/>
                </a:cubicBezTo>
                <a:cubicBezTo>
                  <a:pt x="1703486" y="920706"/>
                  <a:pt x="1702786" y="916310"/>
                  <a:pt x="1703289" y="911960"/>
                </a:cubicBezTo>
                <a:cubicBezTo>
                  <a:pt x="1704082" y="906673"/>
                  <a:pt x="1702196" y="901345"/>
                  <a:pt x="1698257" y="897730"/>
                </a:cubicBezTo>
                <a:cubicBezTo>
                  <a:pt x="1690158" y="888706"/>
                  <a:pt x="1685415" y="877543"/>
                  <a:pt x="1687555" y="872279"/>
                </a:cubicBezTo>
                <a:cubicBezTo>
                  <a:pt x="1688174" y="870491"/>
                  <a:pt x="1689834" y="869276"/>
                  <a:pt x="1691720" y="869213"/>
                </a:cubicBezTo>
                <a:cubicBezTo>
                  <a:pt x="1692819" y="869213"/>
                  <a:pt x="1694149" y="869213"/>
                  <a:pt x="1695653" y="869213"/>
                </a:cubicBezTo>
                <a:cubicBezTo>
                  <a:pt x="1708258" y="869936"/>
                  <a:pt x="1720526" y="865019"/>
                  <a:pt x="1729145" y="855793"/>
                </a:cubicBezTo>
                <a:cubicBezTo>
                  <a:pt x="1734664" y="850425"/>
                  <a:pt x="1740732" y="845653"/>
                  <a:pt x="1747250" y="841563"/>
                </a:cubicBezTo>
                <a:cubicBezTo>
                  <a:pt x="1757200" y="834911"/>
                  <a:pt x="1765819" y="829185"/>
                  <a:pt x="1767612" y="818426"/>
                </a:cubicBezTo>
                <a:cubicBezTo>
                  <a:pt x="1769116" y="809402"/>
                  <a:pt x="1773107" y="778455"/>
                  <a:pt x="1761827" y="759193"/>
                </a:cubicBezTo>
                <a:cubicBezTo>
                  <a:pt x="1755233" y="748087"/>
                  <a:pt x="1741408" y="739757"/>
                  <a:pt x="1731286" y="733684"/>
                </a:cubicBezTo>
                <a:cubicBezTo>
                  <a:pt x="1727613" y="731636"/>
                  <a:pt x="1724113" y="729293"/>
                  <a:pt x="1720816" y="726685"/>
                </a:cubicBezTo>
                <a:cubicBezTo>
                  <a:pt x="1713412" y="719975"/>
                  <a:pt x="1721221" y="708926"/>
                  <a:pt x="1729840" y="699093"/>
                </a:cubicBezTo>
                <a:cubicBezTo>
                  <a:pt x="1732911" y="695715"/>
                  <a:pt x="1734571" y="691284"/>
                  <a:pt x="1734467" y="686714"/>
                </a:cubicBezTo>
                <a:cubicBezTo>
                  <a:pt x="1734467" y="683822"/>
                  <a:pt x="1734467" y="680930"/>
                  <a:pt x="1738227" y="680004"/>
                </a:cubicBezTo>
                <a:cubicBezTo>
                  <a:pt x="1739528" y="679622"/>
                  <a:pt x="1740864" y="679374"/>
                  <a:pt x="1742218" y="679252"/>
                </a:cubicBezTo>
                <a:cubicBezTo>
                  <a:pt x="1746672" y="678674"/>
                  <a:pt x="1749622" y="678269"/>
                  <a:pt x="1748350" y="667683"/>
                </a:cubicBezTo>
                <a:cubicBezTo>
                  <a:pt x="1747956" y="662368"/>
                  <a:pt x="1745937" y="657294"/>
                  <a:pt x="1742565" y="653164"/>
                </a:cubicBezTo>
                <a:cubicBezTo>
                  <a:pt x="1740199" y="650162"/>
                  <a:pt x="1738447" y="646721"/>
                  <a:pt x="1737417" y="643042"/>
                </a:cubicBezTo>
                <a:cubicBezTo>
                  <a:pt x="1736526" y="639322"/>
                  <a:pt x="1734502" y="635967"/>
                  <a:pt x="1731633" y="633440"/>
                </a:cubicBezTo>
                <a:cubicBezTo>
                  <a:pt x="1728613" y="631178"/>
                  <a:pt x="1728000" y="626903"/>
                  <a:pt x="1730262" y="623884"/>
                </a:cubicBezTo>
                <a:cubicBezTo>
                  <a:pt x="1730898" y="623033"/>
                  <a:pt x="1731725" y="622345"/>
                  <a:pt x="1732674" y="621871"/>
                </a:cubicBezTo>
                <a:cubicBezTo>
                  <a:pt x="1735196" y="620471"/>
                  <a:pt x="1736862" y="617914"/>
                  <a:pt x="1737128" y="615045"/>
                </a:cubicBezTo>
                <a:cubicBezTo>
                  <a:pt x="1737353" y="612037"/>
                  <a:pt x="1739158" y="609370"/>
                  <a:pt x="1741871" y="608046"/>
                </a:cubicBezTo>
                <a:cubicBezTo>
                  <a:pt x="1744011" y="606716"/>
                  <a:pt x="1745226" y="605906"/>
                  <a:pt x="1743896" y="602261"/>
                </a:cubicBezTo>
                <a:cubicBezTo>
                  <a:pt x="1742565" y="598617"/>
                  <a:pt x="1739904" y="597518"/>
                  <a:pt x="1736723" y="595841"/>
                </a:cubicBezTo>
                <a:cubicBezTo>
                  <a:pt x="1728497" y="593035"/>
                  <a:pt x="1724101" y="584098"/>
                  <a:pt x="1726907" y="575873"/>
                </a:cubicBezTo>
                <a:cubicBezTo>
                  <a:pt x="1728122" y="572304"/>
                  <a:pt x="1730580" y="569290"/>
                  <a:pt x="1733831" y="567381"/>
                </a:cubicBezTo>
                <a:cubicBezTo>
                  <a:pt x="1735740" y="565762"/>
                  <a:pt x="1737417" y="564431"/>
                  <a:pt x="1737764" y="562869"/>
                </a:cubicBezTo>
                <a:cubicBezTo>
                  <a:pt x="1738458" y="559862"/>
                  <a:pt x="1742739" y="558300"/>
                  <a:pt x="1750548" y="558300"/>
                </a:cubicBezTo>
                <a:cubicBezTo>
                  <a:pt x="1758999" y="558485"/>
                  <a:pt x="1767392" y="559728"/>
                  <a:pt x="1775536" y="562002"/>
                </a:cubicBezTo>
                <a:cubicBezTo>
                  <a:pt x="1780540" y="563390"/>
                  <a:pt x="1785289" y="565577"/>
                  <a:pt x="1789593" y="568480"/>
                </a:cubicBezTo>
                <a:cubicBezTo>
                  <a:pt x="1790854" y="569498"/>
                  <a:pt x="1792340" y="570193"/>
                  <a:pt x="1793931" y="570505"/>
                </a:cubicBezTo>
                <a:cubicBezTo>
                  <a:pt x="1794839" y="570447"/>
                  <a:pt x="1795695" y="570083"/>
                  <a:pt x="1796361" y="569464"/>
                </a:cubicBezTo>
                <a:cubicBezTo>
                  <a:pt x="1797512" y="568619"/>
                  <a:pt x="1798923" y="568191"/>
                  <a:pt x="1800352" y="568249"/>
                </a:cubicBezTo>
                <a:cubicBezTo>
                  <a:pt x="1804060" y="568625"/>
                  <a:pt x="1807675" y="569620"/>
                  <a:pt x="1811053" y="571199"/>
                </a:cubicBezTo>
                <a:cubicBezTo>
                  <a:pt x="1814223" y="572923"/>
                  <a:pt x="1817803" y="573744"/>
                  <a:pt x="1821407" y="573571"/>
                </a:cubicBezTo>
                <a:lnTo>
                  <a:pt x="1825456" y="571546"/>
                </a:lnTo>
                <a:cubicBezTo>
                  <a:pt x="1831645" y="568365"/>
                  <a:pt x="1841247" y="563390"/>
                  <a:pt x="1849288" y="564431"/>
                </a:cubicBezTo>
                <a:cubicBezTo>
                  <a:pt x="1853643" y="565131"/>
                  <a:pt x="1857681" y="567150"/>
                  <a:pt x="1860857" y="570216"/>
                </a:cubicBezTo>
                <a:cubicBezTo>
                  <a:pt x="1862957" y="572298"/>
                  <a:pt x="1865641" y="573686"/>
                  <a:pt x="1868550" y="574207"/>
                </a:cubicBezTo>
                <a:cubicBezTo>
                  <a:pt x="1876996" y="574959"/>
                  <a:pt x="1881102" y="578892"/>
                  <a:pt x="1881102" y="586239"/>
                </a:cubicBezTo>
                <a:cubicBezTo>
                  <a:pt x="1881102" y="588437"/>
                  <a:pt x="1881912" y="588610"/>
                  <a:pt x="1884631" y="588784"/>
                </a:cubicBezTo>
                <a:cubicBezTo>
                  <a:pt x="1889067" y="588448"/>
                  <a:pt x="1893128" y="591277"/>
                  <a:pt x="1894349" y="595552"/>
                </a:cubicBezTo>
                <a:cubicBezTo>
                  <a:pt x="1895274" y="598704"/>
                  <a:pt x="1897634" y="601232"/>
                  <a:pt x="1900712" y="602377"/>
                </a:cubicBezTo>
                <a:cubicBezTo>
                  <a:pt x="1904552" y="603783"/>
                  <a:pt x="1907115" y="607427"/>
                  <a:pt x="1907132" y="611517"/>
                </a:cubicBezTo>
                <a:cubicBezTo>
                  <a:pt x="1908058" y="619962"/>
                  <a:pt x="1925006" y="622160"/>
                  <a:pt x="1934897" y="622160"/>
                </a:cubicBezTo>
                <a:cubicBezTo>
                  <a:pt x="1936153" y="622224"/>
                  <a:pt x="1937402" y="622224"/>
                  <a:pt x="1938657" y="622160"/>
                </a:cubicBezTo>
                <a:cubicBezTo>
                  <a:pt x="1942012" y="622114"/>
                  <a:pt x="1945148" y="623826"/>
                  <a:pt x="1946929" y="626672"/>
                </a:cubicBezTo>
                <a:cubicBezTo>
                  <a:pt x="1949185" y="629333"/>
                  <a:pt x="1950457" y="630316"/>
                  <a:pt x="1953234" y="628465"/>
                </a:cubicBezTo>
                <a:cubicBezTo>
                  <a:pt x="1956207" y="626296"/>
                  <a:pt x="1959742" y="625012"/>
                  <a:pt x="1963415" y="624763"/>
                </a:cubicBezTo>
                <a:cubicBezTo>
                  <a:pt x="1966602" y="624572"/>
                  <a:pt x="1969344" y="627001"/>
                  <a:pt x="1969535" y="630189"/>
                </a:cubicBezTo>
                <a:cubicBezTo>
                  <a:pt x="1969540" y="630310"/>
                  <a:pt x="1969546" y="630426"/>
                  <a:pt x="1969546" y="630547"/>
                </a:cubicBezTo>
                <a:cubicBezTo>
                  <a:pt x="1969274" y="633075"/>
                  <a:pt x="1968031" y="635400"/>
                  <a:pt x="1966075" y="637026"/>
                </a:cubicBezTo>
                <a:cubicBezTo>
                  <a:pt x="1961581" y="641231"/>
                  <a:pt x="1959424" y="647363"/>
                  <a:pt x="1960291" y="653454"/>
                </a:cubicBezTo>
                <a:cubicBezTo>
                  <a:pt x="1960812" y="658833"/>
                  <a:pt x="1961957" y="664132"/>
                  <a:pt x="1963704" y="669245"/>
                </a:cubicBezTo>
                <a:cubicBezTo>
                  <a:pt x="1965844" y="676129"/>
                  <a:pt x="1967522" y="681508"/>
                  <a:pt x="1962894" y="685268"/>
                </a:cubicBezTo>
                <a:cubicBezTo>
                  <a:pt x="1962379" y="685580"/>
                  <a:pt x="1962038" y="686118"/>
                  <a:pt x="1961968" y="686714"/>
                </a:cubicBezTo>
                <a:cubicBezTo>
                  <a:pt x="1961968" y="687929"/>
                  <a:pt x="1964514" y="689780"/>
                  <a:pt x="1966654" y="691342"/>
                </a:cubicBezTo>
                <a:cubicBezTo>
                  <a:pt x="1970819" y="694407"/>
                  <a:pt x="1975967" y="698167"/>
                  <a:pt x="1974174" y="703547"/>
                </a:cubicBezTo>
                <a:cubicBezTo>
                  <a:pt x="1973248" y="705363"/>
                  <a:pt x="1973248" y="707515"/>
                  <a:pt x="1974174" y="709331"/>
                </a:cubicBezTo>
                <a:cubicBezTo>
                  <a:pt x="1975388" y="711066"/>
                  <a:pt x="1978454" y="711876"/>
                  <a:pt x="1983545" y="711876"/>
                </a:cubicBezTo>
                <a:cubicBezTo>
                  <a:pt x="1984817" y="711876"/>
                  <a:pt x="1986090" y="711876"/>
                  <a:pt x="1987478" y="711876"/>
                </a:cubicBezTo>
                <a:cubicBezTo>
                  <a:pt x="1993609" y="711471"/>
                  <a:pt x="1996212" y="717198"/>
                  <a:pt x="1998064" y="721363"/>
                </a:cubicBezTo>
                <a:cubicBezTo>
                  <a:pt x="1999105" y="723619"/>
                  <a:pt x="2000146" y="725990"/>
                  <a:pt x="2001303" y="725990"/>
                </a:cubicBezTo>
                <a:cubicBezTo>
                  <a:pt x="2001794" y="725944"/>
                  <a:pt x="2002263" y="725742"/>
                  <a:pt x="2002633" y="725412"/>
                </a:cubicBezTo>
                <a:cubicBezTo>
                  <a:pt x="2003472" y="724741"/>
                  <a:pt x="2004507" y="724353"/>
                  <a:pt x="2005583" y="724313"/>
                </a:cubicBezTo>
                <a:cubicBezTo>
                  <a:pt x="2008302" y="724313"/>
                  <a:pt x="2009806" y="727205"/>
                  <a:pt x="2011368" y="730097"/>
                </a:cubicBezTo>
                <a:cubicBezTo>
                  <a:pt x="2012930" y="732990"/>
                  <a:pt x="2014838" y="736865"/>
                  <a:pt x="2017962" y="737096"/>
                </a:cubicBezTo>
                <a:lnTo>
                  <a:pt x="2018714" y="737096"/>
                </a:lnTo>
                <a:cubicBezTo>
                  <a:pt x="2026639" y="737096"/>
                  <a:pt x="2043992" y="729750"/>
                  <a:pt x="2043992" y="722404"/>
                </a:cubicBezTo>
                <a:cubicBezTo>
                  <a:pt x="2043922" y="717615"/>
                  <a:pt x="2047758" y="713675"/>
                  <a:pt x="2052547" y="713606"/>
                </a:cubicBezTo>
                <a:cubicBezTo>
                  <a:pt x="2052686" y="713606"/>
                  <a:pt x="2052819" y="713606"/>
                  <a:pt x="2052958" y="713612"/>
                </a:cubicBezTo>
                <a:cubicBezTo>
                  <a:pt x="2056943" y="713658"/>
                  <a:pt x="2060582" y="715873"/>
                  <a:pt x="2062444" y="719396"/>
                </a:cubicBezTo>
                <a:lnTo>
                  <a:pt x="2063080" y="720437"/>
                </a:lnTo>
                <a:cubicBezTo>
                  <a:pt x="2063080" y="719917"/>
                  <a:pt x="2063080" y="719223"/>
                  <a:pt x="2063428" y="718702"/>
                </a:cubicBezTo>
                <a:cubicBezTo>
                  <a:pt x="2064122" y="714884"/>
                  <a:pt x="2065279" y="708521"/>
                  <a:pt x="2071178" y="708521"/>
                </a:cubicBezTo>
                <a:cubicBezTo>
                  <a:pt x="2072168" y="708637"/>
                  <a:pt x="2073163" y="708365"/>
                  <a:pt x="2073955" y="707769"/>
                </a:cubicBezTo>
                <a:cubicBezTo>
                  <a:pt x="2074534" y="707075"/>
                  <a:pt x="2074302" y="705456"/>
                  <a:pt x="2073955" y="703720"/>
                </a:cubicBezTo>
                <a:cubicBezTo>
                  <a:pt x="2072902" y="700308"/>
                  <a:pt x="2073568" y="696600"/>
                  <a:pt x="2075748" y="693771"/>
                </a:cubicBezTo>
                <a:cubicBezTo>
                  <a:pt x="2076836" y="692545"/>
                  <a:pt x="2078016" y="691405"/>
                  <a:pt x="2079277" y="690358"/>
                </a:cubicBezTo>
                <a:cubicBezTo>
                  <a:pt x="2082921" y="687119"/>
                  <a:pt x="2084483" y="685789"/>
                  <a:pt x="2079277" y="678789"/>
                </a:cubicBezTo>
                <a:cubicBezTo>
                  <a:pt x="2078641" y="678055"/>
                  <a:pt x="2078328" y="677095"/>
                  <a:pt x="2078409" y="676129"/>
                </a:cubicBezTo>
                <a:cubicBezTo>
                  <a:pt x="2078698" y="674567"/>
                  <a:pt x="2080202" y="673526"/>
                  <a:pt x="2082053" y="672253"/>
                </a:cubicBezTo>
                <a:cubicBezTo>
                  <a:pt x="2086953" y="669367"/>
                  <a:pt x="2090464" y="664600"/>
                  <a:pt x="2091771" y="659065"/>
                </a:cubicBezTo>
                <a:cubicBezTo>
                  <a:pt x="2094374" y="648826"/>
                  <a:pt x="2097556" y="643678"/>
                  <a:pt x="2100679" y="643678"/>
                </a:cubicBezTo>
                <a:cubicBezTo>
                  <a:pt x="2102820" y="643678"/>
                  <a:pt x="2104613" y="645703"/>
                  <a:pt x="2106059" y="649925"/>
                </a:cubicBezTo>
                <a:cubicBezTo>
                  <a:pt x="2107846" y="654136"/>
                  <a:pt x="2110287" y="658041"/>
                  <a:pt x="2113289" y="661494"/>
                </a:cubicBezTo>
                <a:cubicBezTo>
                  <a:pt x="2116789" y="665179"/>
                  <a:pt x="2119137" y="669801"/>
                  <a:pt x="2120057" y="674798"/>
                </a:cubicBezTo>
                <a:cubicBezTo>
                  <a:pt x="2122012" y="680525"/>
                  <a:pt x="2125280" y="685719"/>
                  <a:pt x="2129601" y="689953"/>
                </a:cubicBezTo>
                <a:cubicBezTo>
                  <a:pt x="2134345" y="695738"/>
                  <a:pt x="2138856" y="701175"/>
                  <a:pt x="2138856" y="705166"/>
                </a:cubicBezTo>
                <a:cubicBezTo>
                  <a:pt x="2139603" y="709181"/>
                  <a:pt x="2141488" y="712900"/>
                  <a:pt x="2144294" y="715868"/>
                </a:cubicBezTo>
                <a:cubicBezTo>
                  <a:pt x="2146955" y="719454"/>
                  <a:pt x="2149500" y="722809"/>
                  <a:pt x="2149153" y="725875"/>
                </a:cubicBezTo>
                <a:cubicBezTo>
                  <a:pt x="2148806" y="728941"/>
                  <a:pt x="2151235" y="730387"/>
                  <a:pt x="2153722" y="732758"/>
                </a:cubicBezTo>
                <a:cubicBezTo>
                  <a:pt x="2156574" y="734887"/>
                  <a:pt x="2158616" y="737929"/>
                  <a:pt x="2159507" y="741377"/>
                </a:cubicBezTo>
                <a:cubicBezTo>
                  <a:pt x="2159507" y="743749"/>
                  <a:pt x="2164019" y="747161"/>
                  <a:pt x="2167779" y="749996"/>
                </a:cubicBezTo>
                <a:cubicBezTo>
                  <a:pt x="2172927" y="754045"/>
                  <a:pt x="2177843" y="757805"/>
                  <a:pt x="2177091" y="761565"/>
                </a:cubicBezTo>
                <a:cubicBezTo>
                  <a:pt x="2175911" y="765510"/>
                  <a:pt x="2176137" y="769738"/>
                  <a:pt x="2177728" y="773538"/>
                </a:cubicBezTo>
                <a:cubicBezTo>
                  <a:pt x="2178161" y="774250"/>
                  <a:pt x="2178920" y="774707"/>
                  <a:pt x="2179752" y="774753"/>
                </a:cubicBezTo>
                <a:cubicBezTo>
                  <a:pt x="2184646" y="775528"/>
                  <a:pt x="2188984" y="778322"/>
                  <a:pt x="2191726" y="782446"/>
                </a:cubicBezTo>
                <a:cubicBezTo>
                  <a:pt x="2192820" y="784344"/>
                  <a:pt x="2192820" y="786681"/>
                  <a:pt x="2191726" y="788578"/>
                </a:cubicBezTo>
                <a:cubicBezTo>
                  <a:pt x="2190858" y="790024"/>
                  <a:pt x="2182934" y="802923"/>
                  <a:pt x="2173910" y="802923"/>
                </a:cubicBezTo>
                <a:cubicBezTo>
                  <a:pt x="2171822" y="802946"/>
                  <a:pt x="2169786" y="802275"/>
                  <a:pt x="2168126" y="801014"/>
                </a:cubicBezTo>
                <a:cubicBezTo>
                  <a:pt x="2166529" y="799840"/>
                  <a:pt x="2164609" y="799192"/>
                  <a:pt x="2162630" y="799163"/>
                </a:cubicBezTo>
                <a:cubicBezTo>
                  <a:pt x="2160548" y="799163"/>
                  <a:pt x="2158871" y="799973"/>
                  <a:pt x="2158697" y="801130"/>
                </a:cubicBezTo>
                <a:cubicBezTo>
                  <a:pt x="2158524" y="802287"/>
                  <a:pt x="2160722" y="804659"/>
                  <a:pt x="2166101" y="806336"/>
                </a:cubicBezTo>
                <a:cubicBezTo>
                  <a:pt x="2181893" y="811137"/>
                  <a:pt x="2208443" y="830110"/>
                  <a:pt x="2212897" y="842142"/>
                </a:cubicBezTo>
                <a:cubicBezTo>
                  <a:pt x="2218045" y="856082"/>
                  <a:pt x="2223020" y="859495"/>
                  <a:pt x="2230597" y="854867"/>
                </a:cubicBezTo>
                <a:cubicBezTo>
                  <a:pt x="2231986" y="853925"/>
                  <a:pt x="2233605" y="853363"/>
                  <a:pt x="2235283" y="853248"/>
                </a:cubicBezTo>
                <a:cubicBezTo>
                  <a:pt x="2237689" y="853392"/>
                  <a:pt x="2239864" y="854740"/>
                  <a:pt x="2241067" y="856834"/>
                </a:cubicBezTo>
                <a:cubicBezTo>
                  <a:pt x="2243092" y="859321"/>
                  <a:pt x="2244249" y="859958"/>
                  <a:pt x="2246852" y="857991"/>
                </a:cubicBezTo>
                <a:cubicBezTo>
                  <a:pt x="2247968" y="857147"/>
                  <a:pt x="2249328" y="856678"/>
                  <a:pt x="2250727" y="856661"/>
                </a:cubicBezTo>
                <a:cubicBezTo>
                  <a:pt x="2254898" y="857459"/>
                  <a:pt x="2258693" y="859588"/>
                  <a:pt x="2261544" y="862734"/>
                </a:cubicBezTo>
                <a:cubicBezTo>
                  <a:pt x="2265327" y="866731"/>
                  <a:pt x="2270337" y="869358"/>
                  <a:pt x="2275774" y="870196"/>
                </a:cubicBezTo>
                <a:cubicBezTo>
                  <a:pt x="2276572" y="870185"/>
                  <a:pt x="2277365" y="870086"/>
                  <a:pt x="2278146" y="869907"/>
                </a:cubicBezTo>
                <a:cubicBezTo>
                  <a:pt x="2286007" y="867628"/>
                  <a:pt x="2294458" y="870404"/>
                  <a:pt x="2299432" y="876906"/>
                </a:cubicBezTo>
                <a:cubicBezTo>
                  <a:pt x="2300844" y="879174"/>
                  <a:pt x="2300844" y="882043"/>
                  <a:pt x="2299432" y="884310"/>
                </a:cubicBezTo>
                <a:cubicBezTo>
                  <a:pt x="2297118" y="887954"/>
                  <a:pt x="2292954" y="888706"/>
                  <a:pt x="2287863" y="889632"/>
                </a:cubicBezTo>
                <a:cubicBezTo>
                  <a:pt x="2281194" y="890401"/>
                  <a:pt x="2274773" y="892634"/>
                  <a:pt x="2269064" y="896168"/>
                </a:cubicBezTo>
                <a:cubicBezTo>
                  <a:pt x="2264170" y="899593"/>
                  <a:pt x="2258374" y="901484"/>
                  <a:pt x="2252405" y="901606"/>
                </a:cubicBezTo>
                <a:cubicBezTo>
                  <a:pt x="2249356" y="901241"/>
                  <a:pt x="2246354" y="902543"/>
                  <a:pt x="2244538" y="905019"/>
                </a:cubicBezTo>
                <a:cubicBezTo>
                  <a:pt x="2242485" y="908125"/>
                  <a:pt x="2238939" y="909906"/>
                  <a:pt x="2235225" y="909704"/>
                </a:cubicBezTo>
                <a:cubicBezTo>
                  <a:pt x="2232824" y="909611"/>
                  <a:pt x="2230470" y="910369"/>
                  <a:pt x="2228573" y="911844"/>
                </a:cubicBezTo>
                <a:cubicBezTo>
                  <a:pt x="2225652" y="914812"/>
                  <a:pt x="2224449" y="919069"/>
                  <a:pt x="2225392" y="923124"/>
                </a:cubicBezTo>
                <a:cubicBezTo>
                  <a:pt x="2226028" y="924859"/>
                  <a:pt x="2227011" y="924743"/>
                  <a:pt x="2227416" y="924859"/>
                </a:cubicBezTo>
                <a:cubicBezTo>
                  <a:pt x="2227821" y="924975"/>
                  <a:pt x="2230250" y="924339"/>
                  <a:pt x="2233721" y="921041"/>
                </a:cubicBezTo>
                <a:cubicBezTo>
                  <a:pt x="2239911" y="915257"/>
                  <a:pt x="2243265" y="914794"/>
                  <a:pt x="2246909" y="915257"/>
                </a:cubicBezTo>
                <a:cubicBezTo>
                  <a:pt x="2250554" y="915720"/>
                  <a:pt x="2252694" y="915257"/>
                  <a:pt x="2259809" y="909473"/>
                </a:cubicBezTo>
                <a:cubicBezTo>
                  <a:pt x="2268746" y="901536"/>
                  <a:pt x="2280095" y="896845"/>
                  <a:pt x="2292028" y="896168"/>
                </a:cubicBezTo>
                <a:cubicBezTo>
                  <a:pt x="2296083" y="895995"/>
                  <a:pt x="2300103" y="897001"/>
                  <a:pt x="2303597" y="899060"/>
                </a:cubicBezTo>
                <a:cubicBezTo>
                  <a:pt x="2309382" y="902647"/>
                  <a:pt x="2306374" y="908836"/>
                  <a:pt x="2304175" y="913348"/>
                </a:cubicBezTo>
                <a:cubicBezTo>
                  <a:pt x="2302961" y="915893"/>
                  <a:pt x="2301746" y="918496"/>
                  <a:pt x="2302382" y="919653"/>
                </a:cubicBezTo>
                <a:cubicBezTo>
                  <a:pt x="2303019" y="920810"/>
                  <a:pt x="2304002" y="920579"/>
                  <a:pt x="2304985" y="920694"/>
                </a:cubicBezTo>
                <a:lnTo>
                  <a:pt x="2305853" y="920694"/>
                </a:lnTo>
                <a:cubicBezTo>
                  <a:pt x="2309624" y="920231"/>
                  <a:pt x="2313141" y="918548"/>
                  <a:pt x="2315860" y="915893"/>
                </a:cubicBezTo>
                <a:cubicBezTo>
                  <a:pt x="2318463" y="913377"/>
                  <a:pt x="2321812" y="911775"/>
                  <a:pt x="2325404" y="911324"/>
                </a:cubicBezTo>
                <a:cubicBezTo>
                  <a:pt x="2329344" y="911757"/>
                  <a:pt x="2332837" y="914031"/>
                  <a:pt x="2334833" y="917455"/>
                </a:cubicBezTo>
                <a:cubicBezTo>
                  <a:pt x="2337962" y="921660"/>
                  <a:pt x="2341751" y="925333"/>
                  <a:pt x="2346055" y="928330"/>
                </a:cubicBezTo>
                <a:cubicBezTo>
                  <a:pt x="2350220" y="931280"/>
                  <a:pt x="2351839" y="932784"/>
                  <a:pt x="2349525" y="939899"/>
                </a:cubicBezTo>
                <a:cubicBezTo>
                  <a:pt x="2345592" y="951757"/>
                  <a:pt x="2340849" y="956442"/>
                  <a:pt x="2332172" y="957252"/>
                </a:cubicBezTo>
                <a:cubicBezTo>
                  <a:pt x="2329916" y="957252"/>
                  <a:pt x="2329569" y="957830"/>
                  <a:pt x="2329569" y="957830"/>
                </a:cubicBezTo>
                <a:cubicBezTo>
                  <a:pt x="2332496" y="960590"/>
                  <a:pt x="2336221" y="962354"/>
                  <a:pt x="2340212" y="962863"/>
                </a:cubicBezTo>
                <a:cubicBezTo>
                  <a:pt x="2345997" y="964078"/>
                  <a:pt x="2348774" y="965755"/>
                  <a:pt x="2349236" y="968127"/>
                </a:cubicBezTo>
                <a:cubicBezTo>
                  <a:pt x="2349699" y="970498"/>
                  <a:pt x="2347732" y="973159"/>
                  <a:pt x="2343047" y="976398"/>
                </a:cubicBezTo>
                <a:cubicBezTo>
                  <a:pt x="2340125" y="978637"/>
                  <a:pt x="2337401" y="981113"/>
                  <a:pt x="2334891" y="983802"/>
                </a:cubicBezTo>
                <a:cubicBezTo>
                  <a:pt x="2327660" y="991207"/>
                  <a:pt x="2318637" y="1000635"/>
                  <a:pt x="2304175" y="999652"/>
                </a:cubicBezTo>
                <a:cubicBezTo>
                  <a:pt x="2299259" y="999305"/>
                  <a:pt x="2295268" y="999131"/>
                  <a:pt x="2291739" y="999131"/>
                </a:cubicBezTo>
                <a:cubicBezTo>
                  <a:pt x="2280980" y="999131"/>
                  <a:pt x="2273576" y="1000924"/>
                  <a:pt x="2267618" y="1010006"/>
                </a:cubicBezTo>
                <a:cubicBezTo>
                  <a:pt x="2260098" y="1021575"/>
                  <a:pt x="2233374" y="1040837"/>
                  <a:pt x="2218277" y="1040837"/>
                </a:cubicBezTo>
                <a:lnTo>
                  <a:pt x="2217525" y="1040837"/>
                </a:lnTo>
                <a:cubicBezTo>
                  <a:pt x="2213591" y="1040837"/>
                  <a:pt x="2196701" y="1040316"/>
                  <a:pt x="2174084" y="1040316"/>
                </a:cubicBezTo>
                <a:cubicBezTo>
                  <a:pt x="2099812" y="1040316"/>
                  <a:pt x="2053652" y="1043498"/>
                  <a:pt x="2047520" y="1048993"/>
                </a:cubicBezTo>
                <a:cubicBezTo>
                  <a:pt x="2035604" y="1059752"/>
                  <a:pt x="2029646" y="1065132"/>
                  <a:pt x="2027911" y="1072651"/>
                </a:cubicBezTo>
                <a:cubicBezTo>
                  <a:pt x="2026928" y="1076816"/>
                  <a:pt x="2023284" y="1077105"/>
                  <a:pt x="2019581" y="1077105"/>
                </a:cubicBezTo>
                <a:lnTo>
                  <a:pt x="2015127" y="1077105"/>
                </a:lnTo>
                <a:cubicBezTo>
                  <a:pt x="2009366" y="1076764"/>
                  <a:pt x="2003669" y="1078418"/>
                  <a:pt x="1998989" y="1081791"/>
                </a:cubicBezTo>
                <a:cubicBezTo>
                  <a:pt x="1992666" y="1087182"/>
                  <a:pt x="1986859" y="1093145"/>
                  <a:pt x="1981636" y="1099607"/>
                </a:cubicBezTo>
                <a:cubicBezTo>
                  <a:pt x="1973133" y="1109440"/>
                  <a:pt x="1965786" y="1117943"/>
                  <a:pt x="1960985" y="1117943"/>
                </a:cubicBezTo>
                <a:cubicBezTo>
                  <a:pt x="1960470" y="1117967"/>
                  <a:pt x="1959956" y="1117862"/>
                  <a:pt x="1959481" y="1117654"/>
                </a:cubicBezTo>
                <a:cubicBezTo>
                  <a:pt x="1958932" y="1117336"/>
                  <a:pt x="1958319" y="1117139"/>
                  <a:pt x="1957688" y="1117076"/>
                </a:cubicBezTo>
                <a:cubicBezTo>
                  <a:pt x="1957624" y="1117828"/>
                  <a:pt x="1957624" y="1118580"/>
                  <a:pt x="1957688" y="1119332"/>
                </a:cubicBezTo>
                <a:cubicBezTo>
                  <a:pt x="1958047" y="1123010"/>
                  <a:pt x="1957260" y="1126707"/>
                  <a:pt x="1955432" y="1129917"/>
                </a:cubicBezTo>
                <a:cubicBezTo>
                  <a:pt x="1951400" y="1134788"/>
                  <a:pt x="1946819" y="1139178"/>
                  <a:pt x="1941781" y="1142990"/>
                </a:cubicBezTo>
                <a:cubicBezTo>
                  <a:pt x="1936633" y="1147386"/>
                  <a:pt x="1927956" y="1154559"/>
                  <a:pt x="1928245" y="1156525"/>
                </a:cubicBezTo>
                <a:lnTo>
                  <a:pt x="1928245" y="1156525"/>
                </a:lnTo>
                <a:cubicBezTo>
                  <a:pt x="1928702" y="1156606"/>
                  <a:pt x="1929177" y="1156606"/>
                  <a:pt x="1929634" y="1156525"/>
                </a:cubicBezTo>
                <a:cubicBezTo>
                  <a:pt x="1935418" y="1156525"/>
                  <a:pt x="1945483" y="1145766"/>
                  <a:pt x="1956358" y="1134429"/>
                </a:cubicBezTo>
                <a:cubicBezTo>
                  <a:pt x="1965792" y="1123554"/>
                  <a:pt x="1976580" y="1113929"/>
                  <a:pt x="1988461" y="1105796"/>
                </a:cubicBezTo>
                <a:cubicBezTo>
                  <a:pt x="2005352" y="1096136"/>
                  <a:pt x="2054462" y="1077337"/>
                  <a:pt x="2084251" y="1077337"/>
                </a:cubicBezTo>
                <a:cubicBezTo>
                  <a:pt x="2096630" y="1077337"/>
                  <a:pt x="2104671" y="1080518"/>
                  <a:pt x="2108141" y="1086823"/>
                </a:cubicBezTo>
                <a:cubicBezTo>
                  <a:pt x="2111722" y="1092139"/>
                  <a:pt x="2112757" y="1098774"/>
                  <a:pt x="2110975" y="1104928"/>
                </a:cubicBezTo>
                <a:cubicBezTo>
                  <a:pt x="2107505" y="1114010"/>
                  <a:pt x="2095705" y="1118233"/>
                  <a:pt x="2086160" y="1121645"/>
                </a:cubicBezTo>
                <a:cubicBezTo>
                  <a:pt x="2084309" y="1122282"/>
                  <a:pt x="2082516" y="1122918"/>
                  <a:pt x="2080897" y="1123612"/>
                </a:cubicBezTo>
                <a:cubicBezTo>
                  <a:pt x="2075112" y="1125868"/>
                  <a:pt x="2072972" y="1129917"/>
                  <a:pt x="2073550" y="1132752"/>
                </a:cubicBezTo>
                <a:cubicBezTo>
                  <a:pt x="2074129" y="1135586"/>
                  <a:pt x="2078236" y="1136222"/>
                  <a:pt x="2082111" y="1132752"/>
                </a:cubicBezTo>
                <a:cubicBezTo>
                  <a:pt x="2085073" y="1129767"/>
                  <a:pt x="2089018" y="1127956"/>
                  <a:pt x="2093217" y="1127661"/>
                </a:cubicBezTo>
                <a:cubicBezTo>
                  <a:pt x="2095913" y="1127459"/>
                  <a:pt x="2098475" y="1128864"/>
                  <a:pt x="2099754" y="1131248"/>
                </a:cubicBezTo>
                <a:cubicBezTo>
                  <a:pt x="2100621" y="1133156"/>
                  <a:pt x="2101258" y="1137032"/>
                  <a:pt x="2095878" y="1143395"/>
                </a:cubicBezTo>
                <a:cubicBezTo>
                  <a:pt x="2089515" y="1150857"/>
                  <a:pt x="2091887" y="1154559"/>
                  <a:pt x="2095184" y="1159649"/>
                </a:cubicBezTo>
                <a:cubicBezTo>
                  <a:pt x="2097602" y="1162784"/>
                  <a:pt x="2099175" y="1166492"/>
                  <a:pt x="2099754" y="1170408"/>
                </a:cubicBezTo>
                <a:cubicBezTo>
                  <a:pt x="2100332" y="1176192"/>
                  <a:pt x="2108488" y="1180068"/>
                  <a:pt x="2115719" y="1183597"/>
                </a:cubicBezTo>
                <a:cubicBezTo>
                  <a:pt x="2122949" y="1187125"/>
                  <a:pt x="2128792" y="1190133"/>
                  <a:pt x="2129428" y="1194587"/>
                </a:cubicBezTo>
                <a:cubicBezTo>
                  <a:pt x="2130064" y="1199041"/>
                  <a:pt x="2147533" y="1204016"/>
                  <a:pt x="2164134" y="1204016"/>
                </a:cubicBezTo>
                <a:cubicBezTo>
                  <a:pt x="2168340" y="1204259"/>
                  <a:pt x="2172551" y="1203651"/>
                  <a:pt x="2176513" y="1202222"/>
                </a:cubicBezTo>
                <a:cubicBezTo>
                  <a:pt x="2179000" y="1200973"/>
                  <a:pt x="2181719" y="1200244"/>
                  <a:pt x="2184496" y="1200082"/>
                </a:cubicBezTo>
                <a:cubicBezTo>
                  <a:pt x="2187099" y="1200082"/>
                  <a:pt x="2187446" y="1200082"/>
                  <a:pt x="2187446" y="1191753"/>
                </a:cubicBezTo>
                <a:cubicBezTo>
                  <a:pt x="2187446" y="1188976"/>
                  <a:pt x="2190280" y="1187067"/>
                  <a:pt x="2193577" y="1184811"/>
                </a:cubicBezTo>
                <a:cubicBezTo>
                  <a:pt x="2196874" y="1182555"/>
                  <a:pt x="2201039" y="1179721"/>
                  <a:pt x="2201328" y="1175903"/>
                </a:cubicBezTo>
                <a:cubicBezTo>
                  <a:pt x="2201849" y="1168962"/>
                  <a:pt x="2214054" y="1161731"/>
                  <a:pt x="2219202" y="1161731"/>
                </a:cubicBezTo>
                <a:cubicBezTo>
                  <a:pt x="2220185" y="1161656"/>
                  <a:pt x="2221146" y="1162044"/>
                  <a:pt x="2221805" y="1162773"/>
                </a:cubicBezTo>
                <a:cubicBezTo>
                  <a:pt x="2222378" y="1163484"/>
                  <a:pt x="2222575" y="1164433"/>
                  <a:pt x="2222326" y="1165318"/>
                </a:cubicBezTo>
                <a:cubicBezTo>
                  <a:pt x="2221909" y="1167273"/>
                  <a:pt x="2221389" y="1169205"/>
                  <a:pt x="2220764" y="1171102"/>
                </a:cubicBezTo>
                <a:cubicBezTo>
                  <a:pt x="2219491" y="1175267"/>
                  <a:pt x="2217929" y="1180415"/>
                  <a:pt x="2219202" y="1182150"/>
                </a:cubicBezTo>
                <a:cubicBezTo>
                  <a:pt x="2219202" y="1182497"/>
                  <a:pt x="2220128" y="1182902"/>
                  <a:pt x="2221689" y="1182671"/>
                </a:cubicBezTo>
                <a:cubicBezTo>
                  <a:pt x="2227474" y="1181861"/>
                  <a:pt x="2235399" y="1183886"/>
                  <a:pt x="2236787" y="1188456"/>
                </a:cubicBezTo>
                <a:cubicBezTo>
                  <a:pt x="2237307" y="1190133"/>
                  <a:pt x="2236787" y="1192736"/>
                  <a:pt x="2232795" y="1195686"/>
                </a:cubicBezTo>
                <a:cubicBezTo>
                  <a:pt x="2226520" y="1198954"/>
                  <a:pt x="2219729" y="1201129"/>
                  <a:pt x="2212724" y="1202107"/>
                </a:cubicBezTo>
                <a:cubicBezTo>
                  <a:pt x="2205319" y="1203611"/>
                  <a:pt x="2196932" y="1205404"/>
                  <a:pt x="2196932" y="1207891"/>
                </a:cubicBezTo>
                <a:cubicBezTo>
                  <a:pt x="2197059" y="1209592"/>
                  <a:pt x="2197638" y="1211235"/>
                  <a:pt x="2198610" y="1212634"/>
                </a:cubicBezTo>
                <a:cubicBezTo>
                  <a:pt x="2199726" y="1214011"/>
                  <a:pt x="2200154" y="1215822"/>
                  <a:pt x="2199767" y="1217551"/>
                </a:cubicBezTo>
                <a:cubicBezTo>
                  <a:pt x="2198957" y="1219576"/>
                  <a:pt x="2196354" y="1221138"/>
                  <a:pt x="2190685" y="1222931"/>
                </a:cubicBezTo>
                <a:lnTo>
                  <a:pt x="2180678" y="1226228"/>
                </a:lnTo>
                <a:cubicBezTo>
                  <a:pt x="2163325" y="1232012"/>
                  <a:pt x="2139724" y="1239995"/>
                  <a:pt x="2128271" y="1239995"/>
                </a:cubicBezTo>
                <a:lnTo>
                  <a:pt x="2127288" y="1239995"/>
                </a:lnTo>
                <a:cubicBezTo>
                  <a:pt x="2119594" y="1239648"/>
                  <a:pt x="2117107" y="1243465"/>
                  <a:pt x="2113000" y="1249308"/>
                </a:cubicBezTo>
                <a:cubicBezTo>
                  <a:pt x="2109934" y="1254051"/>
                  <a:pt x="2106261" y="1258366"/>
                  <a:pt x="2102068" y="1262149"/>
                </a:cubicBezTo>
                <a:cubicBezTo>
                  <a:pt x="2087375" y="1274817"/>
                  <a:pt x="2074360" y="1277131"/>
                  <a:pt x="2064816" y="1268743"/>
                </a:cubicBezTo>
                <a:cubicBezTo>
                  <a:pt x="2059725" y="1264347"/>
                  <a:pt x="2056139" y="1260819"/>
                  <a:pt x="2055965" y="1256018"/>
                </a:cubicBezTo>
                <a:cubicBezTo>
                  <a:pt x="2055792" y="1251217"/>
                  <a:pt x="2059320" y="1245316"/>
                  <a:pt x="2067534" y="1236871"/>
                </a:cubicBezTo>
                <a:cubicBezTo>
                  <a:pt x="2084078" y="1220328"/>
                  <a:pt x="2090094" y="1217667"/>
                  <a:pt x="2103572" y="1218361"/>
                </a:cubicBezTo>
                <a:lnTo>
                  <a:pt x="2105249" y="1218361"/>
                </a:lnTo>
                <a:cubicBezTo>
                  <a:pt x="2112433" y="1218199"/>
                  <a:pt x="2119571" y="1217112"/>
                  <a:pt x="2126478" y="1215122"/>
                </a:cubicBezTo>
                <a:lnTo>
                  <a:pt x="2122660" y="1215122"/>
                </a:lnTo>
                <a:cubicBezTo>
                  <a:pt x="2111091" y="1215122"/>
                  <a:pt x="2096688" y="1211478"/>
                  <a:pt x="2095936" y="1206850"/>
                </a:cubicBezTo>
                <a:cubicBezTo>
                  <a:pt x="2095936" y="1205751"/>
                  <a:pt x="2096283" y="1204247"/>
                  <a:pt x="2099464" y="1203206"/>
                </a:cubicBezTo>
                <a:cubicBezTo>
                  <a:pt x="2102611" y="1202084"/>
                  <a:pt x="2104393" y="1198752"/>
                  <a:pt x="2103572" y="1195512"/>
                </a:cubicBezTo>
                <a:cubicBezTo>
                  <a:pt x="2103167" y="1193025"/>
                  <a:pt x="2101952" y="1191348"/>
                  <a:pt x="2101026" y="1191348"/>
                </a:cubicBezTo>
                <a:cubicBezTo>
                  <a:pt x="2100101" y="1191348"/>
                  <a:pt x="2099696" y="1192042"/>
                  <a:pt x="2099002" y="1193315"/>
                </a:cubicBezTo>
                <a:cubicBezTo>
                  <a:pt x="2094027" y="1202627"/>
                  <a:pt x="2077889" y="1216973"/>
                  <a:pt x="2066609" y="1216973"/>
                </a:cubicBezTo>
                <a:lnTo>
                  <a:pt x="2065857" y="1216973"/>
                </a:lnTo>
                <a:cubicBezTo>
                  <a:pt x="2060072" y="1216973"/>
                  <a:pt x="2050123" y="1221022"/>
                  <a:pt x="2037860" y="1228542"/>
                </a:cubicBezTo>
                <a:cubicBezTo>
                  <a:pt x="2037357" y="1228837"/>
                  <a:pt x="2036715" y="1228715"/>
                  <a:pt x="2036356" y="1228252"/>
                </a:cubicBezTo>
                <a:cubicBezTo>
                  <a:pt x="2010153" y="1193546"/>
                  <a:pt x="2012004" y="1168731"/>
                  <a:pt x="2013219" y="1156757"/>
                </a:cubicBezTo>
                <a:cubicBezTo>
                  <a:pt x="2013317" y="1155079"/>
                  <a:pt x="2013317" y="1153402"/>
                  <a:pt x="2013219" y="1151724"/>
                </a:cubicBezTo>
                <a:cubicBezTo>
                  <a:pt x="2012872" y="1148601"/>
                  <a:pt x="2006971" y="1148254"/>
                  <a:pt x="2000088" y="1147791"/>
                </a:cubicBezTo>
                <a:cubicBezTo>
                  <a:pt x="1992094" y="1148069"/>
                  <a:pt x="1984192" y="1146061"/>
                  <a:pt x="1977297" y="1142006"/>
                </a:cubicBezTo>
                <a:cubicBezTo>
                  <a:pt x="1967637" y="1134487"/>
                  <a:pt x="1948664" y="1171681"/>
                  <a:pt x="1944384" y="1189844"/>
                </a:cubicBezTo>
                <a:cubicBezTo>
                  <a:pt x="1940277" y="1207197"/>
                  <a:pt x="1911181" y="1225244"/>
                  <a:pt x="1909677" y="1226054"/>
                </a:cubicBezTo>
                <a:cubicBezTo>
                  <a:pt x="1909486" y="1226112"/>
                  <a:pt x="1909290" y="1226112"/>
                  <a:pt x="1909099" y="1226054"/>
                </a:cubicBezTo>
                <a:cubicBezTo>
                  <a:pt x="1908231" y="1226054"/>
                  <a:pt x="1822622" y="1226864"/>
                  <a:pt x="1815391" y="1226864"/>
                </a:cubicBezTo>
                <a:cubicBezTo>
                  <a:pt x="1812036" y="1226864"/>
                  <a:pt x="1798616" y="1237103"/>
                  <a:pt x="1779586" y="1254167"/>
                </a:cubicBezTo>
                <a:cubicBezTo>
                  <a:pt x="1779377" y="1254392"/>
                  <a:pt x="1779076" y="1254496"/>
                  <a:pt x="1778776" y="1254456"/>
                </a:cubicBezTo>
                <a:cubicBezTo>
                  <a:pt x="1778458" y="1254462"/>
                  <a:pt x="1778157" y="1254311"/>
                  <a:pt x="1777966" y="1254051"/>
                </a:cubicBezTo>
                <a:cubicBezTo>
                  <a:pt x="1776803" y="1252570"/>
                  <a:pt x="1774987" y="1251749"/>
                  <a:pt x="1773107" y="1251853"/>
                </a:cubicBezTo>
                <a:cubicBezTo>
                  <a:pt x="1769897" y="1252131"/>
                  <a:pt x="1766744" y="1252848"/>
                  <a:pt x="1763736" y="1253993"/>
                </a:cubicBezTo>
                <a:cubicBezTo>
                  <a:pt x="1757911" y="1256052"/>
                  <a:pt x="1751809" y="1257227"/>
                  <a:pt x="1745631" y="1257464"/>
                </a:cubicBezTo>
                <a:cubicBezTo>
                  <a:pt x="1744069" y="1257550"/>
                  <a:pt x="1742508" y="1257550"/>
                  <a:pt x="1740946" y="1257464"/>
                </a:cubicBezTo>
                <a:cubicBezTo>
                  <a:pt x="1739164" y="1257221"/>
                  <a:pt x="1737365" y="1257105"/>
                  <a:pt x="1735566" y="1257117"/>
                </a:cubicBezTo>
                <a:cubicBezTo>
                  <a:pt x="1719022" y="1257117"/>
                  <a:pt x="1692877" y="1264636"/>
                  <a:pt x="1687151" y="1273082"/>
                </a:cubicBezTo>
                <a:cubicBezTo>
                  <a:pt x="1686103" y="1274383"/>
                  <a:pt x="1685814" y="1276142"/>
                  <a:pt x="1686399" y="1277709"/>
                </a:cubicBezTo>
                <a:cubicBezTo>
                  <a:pt x="1688539" y="1282973"/>
                  <a:pt x="1690679" y="1283899"/>
                  <a:pt x="1694381" y="1283899"/>
                </a:cubicBezTo>
                <a:cubicBezTo>
                  <a:pt x="1697406" y="1283777"/>
                  <a:pt x="1700426" y="1283453"/>
                  <a:pt x="1703405" y="1282915"/>
                </a:cubicBezTo>
                <a:lnTo>
                  <a:pt x="1704677" y="1282915"/>
                </a:lnTo>
                <a:cubicBezTo>
                  <a:pt x="1705233" y="1282811"/>
                  <a:pt x="1705776" y="1283170"/>
                  <a:pt x="1705892" y="1283725"/>
                </a:cubicBezTo>
                <a:cubicBezTo>
                  <a:pt x="1707130" y="1287335"/>
                  <a:pt x="1707679" y="1291141"/>
                  <a:pt x="1707511" y="1294947"/>
                </a:cubicBezTo>
                <a:cubicBezTo>
                  <a:pt x="1707511" y="1296335"/>
                  <a:pt x="1706297" y="1298649"/>
                  <a:pt x="1698835" y="1302640"/>
                </a:cubicBezTo>
                <a:cubicBezTo>
                  <a:pt x="1698430" y="1302906"/>
                  <a:pt x="1697909" y="1302906"/>
                  <a:pt x="1697505" y="1302640"/>
                </a:cubicBezTo>
                <a:cubicBezTo>
                  <a:pt x="1697227" y="1302241"/>
                  <a:pt x="1697227" y="1301709"/>
                  <a:pt x="1697505" y="1301310"/>
                </a:cubicBezTo>
                <a:cubicBezTo>
                  <a:pt x="1697846" y="1300760"/>
                  <a:pt x="1697990" y="1300106"/>
                  <a:pt x="1697909" y="1299459"/>
                </a:cubicBezTo>
                <a:cubicBezTo>
                  <a:pt x="1696984" y="1297203"/>
                  <a:pt x="1696348" y="1297203"/>
                  <a:pt x="1696058" y="1297203"/>
                </a:cubicBezTo>
                <a:cubicBezTo>
                  <a:pt x="1693282" y="1298232"/>
                  <a:pt x="1690731" y="1299783"/>
                  <a:pt x="1688539" y="1301773"/>
                </a:cubicBezTo>
                <a:lnTo>
                  <a:pt x="1682754" y="1306053"/>
                </a:lnTo>
                <a:cubicBezTo>
                  <a:pt x="1680047" y="1308153"/>
                  <a:pt x="1676750" y="1309344"/>
                  <a:pt x="1673326" y="1309466"/>
                </a:cubicBezTo>
                <a:cubicBezTo>
                  <a:pt x="1669866" y="1309240"/>
                  <a:pt x="1666488" y="1308338"/>
                  <a:pt x="1663376" y="1306805"/>
                </a:cubicBezTo>
                <a:cubicBezTo>
                  <a:pt x="1658159" y="1304497"/>
                  <a:pt x="1652583" y="1303086"/>
                  <a:pt x="1646891" y="1302640"/>
                </a:cubicBezTo>
                <a:cubicBezTo>
                  <a:pt x="1637462" y="1302120"/>
                  <a:pt x="1626645" y="1310218"/>
                  <a:pt x="1617969" y="1316812"/>
                </a:cubicBezTo>
                <a:lnTo>
                  <a:pt x="1613804" y="1319936"/>
                </a:lnTo>
                <a:cubicBezTo>
                  <a:pt x="1613422" y="1319687"/>
                  <a:pt x="1613173" y="1319288"/>
                  <a:pt x="1613110" y="1318837"/>
                </a:cubicBezTo>
                <a:close/>
                <a:moveTo>
                  <a:pt x="1609581" y="1297723"/>
                </a:moveTo>
                <a:cubicBezTo>
                  <a:pt x="1608112" y="1304133"/>
                  <a:pt x="1609437" y="1310860"/>
                  <a:pt x="1613225" y="1316234"/>
                </a:cubicBezTo>
                <a:lnTo>
                  <a:pt x="1616580" y="1313746"/>
                </a:lnTo>
                <a:cubicBezTo>
                  <a:pt x="1625546" y="1306921"/>
                  <a:pt x="1636884" y="1298417"/>
                  <a:pt x="1647007" y="1299112"/>
                </a:cubicBezTo>
                <a:cubicBezTo>
                  <a:pt x="1652999" y="1299528"/>
                  <a:pt x="1658876" y="1300997"/>
                  <a:pt x="1664360" y="1303450"/>
                </a:cubicBezTo>
                <a:cubicBezTo>
                  <a:pt x="1667229" y="1304832"/>
                  <a:pt x="1670324" y="1305677"/>
                  <a:pt x="1673499" y="1305937"/>
                </a:cubicBezTo>
                <a:cubicBezTo>
                  <a:pt x="1676455" y="1305833"/>
                  <a:pt x="1679295" y="1304780"/>
                  <a:pt x="1681597" y="1302929"/>
                </a:cubicBezTo>
                <a:cubicBezTo>
                  <a:pt x="1683911" y="1301368"/>
                  <a:pt x="1685820" y="1299921"/>
                  <a:pt x="1687382" y="1298707"/>
                </a:cubicBezTo>
                <a:cubicBezTo>
                  <a:pt x="1691778" y="1295468"/>
                  <a:pt x="1694207" y="1293674"/>
                  <a:pt x="1696232" y="1293674"/>
                </a:cubicBezTo>
                <a:cubicBezTo>
                  <a:pt x="1698257" y="1293674"/>
                  <a:pt x="1699413" y="1295525"/>
                  <a:pt x="1700165" y="1297376"/>
                </a:cubicBezTo>
                <a:cubicBezTo>
                  <a:pt x="1700229" y="1297683"/>
                  <a:pt x="1700229" y="1297995"/>
                  <a:pt x="1700165" y="1298302"/>
                </a:cubicBezTo>
                <a:cubicBezTo>
                  <a:pt x="1704909" y="1295525"/>
                  <a:pt x="1705429" y="1294021"/>
                  <a:pt x="1705487" y="1293616"/>
                </a:cubicBezTo>
                <a:cubicBezTo>
                  <a:pt x="1705620" y="1290423"/>
                  <a:pt x="1705192" y="1287230"/>
                  <a:pt x="1704214" y="1284188"/>
                </a:cubicBezTo>
                <a:lnTo>
                  <a:pt x="1704214" y="1284188"/>
                </a:lnTo>
                <a:cubicBezTo>
                  <a:pt x="1701120" y="1284743"/>
                  <a:pt x="1697985" y="1285090"/>
                  <a:pt x="1694844" y="1285229"/>
                </a:cubicBezTo>
                <a:cubicBezTo>
                  <a:pt x="1689696" y="1285229"/>
                  <a:pt x="1686977" y="1283204"/>
                  <a:pt x="1684779" y="1277594"/>
                </a:cubicBezTo>
                <a:cubicBezTo>
                  <a:pt x="1683929" y="1275338"/>
                  <a:pt x="1684299" y="1272804"/>
                  <a:pt x="1685762" y="1270884"/>
                </a:cubicBezTo>
                <a:cubicBezTo>
                  <a:pt x="1691951" y="1261802"/>
                  <a:pt x="1718560" y="1253935"/>
                  <a:pt x="1736029" y="1253935"/>
                </a:cubicBezTo>
                <a:cubicBezTo>
                  <a:pt x="1737961" y="1253918"/>
                  <a:pt x="1739893" y="1254034"/>
                  <a:pt x="1741813" y="1254282"/>
                </a:cubicBezTo>
                <a:cubicBezTo>
                  <a:pt x="1743271" y="1254467"/>
                  <a:pt x="1744740" y="1254566"/>
                  <a:pt x="1746209" y="1254572"/>
                </a:cubicBezTo>
                <a:cubicBezTo>
                  <a:pt x="1752138" y="1254352"/>
                  <a:pt x="1757992" y="1253201"/>
                  <a:pt x="1763563" y="1251159"/>
                </a:cubicBezTo>
                <a:cubicBezTo>
                  <a:pt x="1766785" y="1249973"/>
                  <a:pt x="1770151" y="1249233"/>
                  <a:pt x="1773570" y="1248961"/>
                </a:cubicBezTo>
                <a:cubicBezTo>
                  <a:pt x="1775704" y="1248897"/>
                  <a:pt x="1777775" y="1249661"/>
                  <a:pt x="1779354" y="1251101"/>
                </a:cubicBezTo>
                <a:cubicBezTo>
                  <a:pt x="1799484" y="1233111"/>
                  <a:pt x="1811747" y="1223972"/>
                  <a:pt x="1815854" y="1223972"/>
                </a:cubicBezTo>
                <a:cubicBezTo>
                  <a:pt x="1822853" y="1223972"/>
                  <a:pt x="1903430" y="1223220"/>
                  <a:pt x="1909214" y="1223162"/>
                </a:cubicBezTo>
                <a:cubicBezTo>
                  <a:pt x="1912165" y="1221253"/>
                  <a:pt x="1938715" y="1203958"/>
                  <a:pt x="1942417" y="1188456"/>
                </a:cubicBezTo>
                <a:cubicBezTo>
                  <a:pt x="1946119" y="1172953"/>
                  <a:pt x="1962316" y="1137842"/>
                  <a:pt x="1974694" y="1137842"/>
                </a:cubicBezTo>
                <a:cubicBezTo>
                  <a:pt x="1976233" y="1137842"/>
                  <a:pt x="1977725" y="1138374"/>
                  <a:pt x="1978917" y="1139346"/>
                </a:cubicBezTo>
                <a:cubicBezTo>
                  <a:pt x="1985454" y="1143088"/>
                  <a:pt x="1992909" y="1144928"/>
                  <a:pt x="2000435" y="1144667"/>
                </a:cubicBezTo>
                <a:cubicBezTo>
                  <a:pt x="2008360" y="1145188"/>
                  <a:pt x="2015185" y="1145651"/>
                  <a:pt x="2015706" y="1150452"/>
                </a:cubicBezTo>
                <a:cubicBezTo>
                  <a:pt x="2015839" y="1152280"/>
                  <a:pt x="2015839" y="1154119"/>
                  <a:pt x="2015706" y="1155947"/>
                </a:cubicBezTo>
                <a:cubicBezTo>
                  <a:pt x="2014780" y="1167516"/>
                  <a:pt x="2012987" y="1191521"/>
                  <a:pt x="2038034" y="1225013"/>
                </a:cubicBezTo>
                <a:cubicBezTo>
                  <a:pt x="2045380" y="1220443"/>
                  <a:pt x="2057874" y="1213444"/>
                  <a:pt x="2065799" y="1213444"/>
                </a:cubicBezTo>
                <a:lnTo>
                  <a:pt x="2067130" y="1213444"/>
                </a:lnTo>
                <a:cubicBezTo>
                  <a:pt x="2077310" y="1213444"/>
                  <a:pt x="2092813" y="1199851"/>
                  <a:pt x="2097556" y="1191001"/>
                </a:cubicBezTo>
                <a:cubicBezTo>
                  <a:pt x="2098944" y="1188340"/>
                  <a:pt x="2100506" y="1187819"/>
                  <a:pt x="2101547" y="1187819"/>
                </a:cubicBezTo>
                <a:cubicBezTo>
                  <a:pt x="2103803" y="1187819"/>
                  <a:pt x="2105770" y="1190306"/>
                  <a:pt x="2106290" y="1193893"/>
                </a:cubicBezTo>
                <a:cubicBezTo>
                  <a:pt x="2107314" y="1198278"/>
                  <a:pt x="2104798" y="1202714"/>
                  <a:pt x="2100506" y="1204073"/>
                </a:cubicBezTo>
                <a:cubicBezTo>
                  <a:pt x="2099002" y="1204594"/>
                  <a:pt x="2098539" y="1205115"/>
                  <a:pt x="2098539" y="1205230"/>
                </a:cubicBezTo>
                <a:cubicBezTo>
                  <a:pt x="2098828" y="1207139"/>
                  <a:pt x="2109414" y="1211593"/>
                  <a:pt x="2123007" y="1211593"/>
                </a:cubicBezTo>
                <a:lnTo>
                  <a:pt x="2126998" y="1211593"/>
                </a:lnTo>
                <a:cubicBezTo>
                  <a:pt x="2129659" y="1211593"/>
                  <a:pt x="2131857" y="1211593"/>
                  <a:pt x="2131857" y="1213386"/>
                </a:cubicBezTo>
                <a:cubicBezTo>
                  <a:pt x="2131857" y="1214138"/>
                  <a:pt x="2131857" y="1215469"/>
                  <a:pt x="2122371" y="1217435"/>
                </a:cubicBezTo>
                <a:cubicBezTo>
                  <a:pt x="2117049" y="1218598"/>
                  <a:pt x="2111623" y="1219234"/>
                  <a:pt x="2106175" y="1219344"/>
                </a:cubicBezTo>
                <a:lnTo>
                  <a:pt x="2104381" y="1219344"/>
                </a:lnTo>
                <a:cubicBezTo>
                  <a:pt x="2092350" y="1218766"/>
                  <a:pt x="2087028" y="1219923"/>
                  <a:pt x="2070079" y="1237218"/>
                </a:cubicBezTo>
                <a:cubicBezTo>
                  <a:pt x="2062213" y="1245085"/>
                  <a:pt x="2058511" y="1250465"/>
                  <a:pt x="2058915" y="1254572"/>
                </a:cubicBezTo>
                <a:cubicBezTo>
                  <a:pt x="2059320" y="1258678"/>
                  <a:pt x="2062328" y="1261629"/>
                  <a:pt x="2067014" y="1265678"/>
                </a:cubicBezTo>
                <a:cubicBezTo>
                  <a:pt x="2075690" y="1273313"/>
                  <a:pt x="2087548" y="1270941"/>
                  <a:pt x="2101258" y="1259026"/>
                </a:cubicBezTo>
                <a:cubicBezTo>
                  <a:pt x="2105336" y="1255399"/>
                  <a:pt x="2108893" y="1251234"/>
                  <a:pt x="2111843" y="1246647"/>
                </a:cubicBezTo>
                <a:cubicBezTo>
                  <a:pt x="2116008" y="1240863"/>
                  <a:pt x="2119190" y="1236003"/>
                  <a:pt x="2128097" y="1236351"/>
                </a:cubicBezTo>
                <a:lnTo>
                  <a:pt x="2128965" y="1236351"/>
                </a:lnTo>
                <a:cubicBezTo>
                  <a:pt x="2140071" y="1236351"/>
                  <a:pt x="2164481" y="1228137"/>
                  <a:pt x="2180678" y="1222699"/>
                </a:cubicBezTo>
                <a:lnTo>
                  <a:pt x="2190685" y="1219402"/>
                </a:lnTo>
                <a:cubicBezTo>
                  <a:pt x="2195312" y="1217898"/>
                  <a:pt x="2197858" y="1216568"/>
                  <a:pt x="2198320" y="1215353"/>
                </a:cubicBezTo>
                <a:cubicBezTo>
                  <a:pt x="2198783" y="1214138"/>
                  <a:pt x="2198320" y="1213734"/>
                  <a:pt x="2197337" y="1212345"/>
                </a:cubicBezTo>
                <a:cubicBezTo>
                  <a:pt x="2196174" y="1210627"/>
                  <a:pt x="2195497" y="1208632"/>
                  <a:pt x="2195370" y="1206561"/>
                </a:cubicBezTo>
                <a:cubicBezTo>
                  <a:pt x="2195370" y="1202049"/>
                  <a:pt x="2203121" y="1200429"/>
                  <a:pt x="2212724" y="1198347"/>
                </a:cubicBezTo>
                <a:cubicBezTo>
                  <a:pt x="2219422" y="1197497"/>
                  <a:pt x="2225930" y="1195541"/>
                  <a:pt x="2231986" y="1192563"/>
                </a:cubicBezTo>
                <a:cubicBezTo>
                  <a:pt x="2233721" y="1191348"/>
                  <a:pt x="2235630" y="1189554"/>
                  <a:pt x="2235051" y="1187819"/>
                </a:cubicBezTo>
                <a:cubicBezTo>
                  <a:pt x="2234242" y="1185101"/>
                  <a:pt x="2227879" y="1182902"/>
                  <a:pt x="2222441" y="1183712"/>
                </a:cubicBezTo>
                <a:cubicBezTo>
                  <a:pt x="2220764" y="1184192"/>
                  <a:pt x="2218965" y="1183620"/>
                  <a:pt x="2217872" y="1182266"/>
                </a:cubicBezTo>
                <a:cubicBezTo>
                  <a:pt x="2215905" y="1179663"/>
                  <a:pt x="2217525" y="1174342"/>
                  <a:pt x="2219086" y="1169193"/>
                </a:cubicBezTo>
                <a:cubicBezTo>
                  <a:pt x="2219723" y="1167111"/>
                  <a:pt x="2220301" y="1165144"/>
                  <a:pt x="2220590" y="1163409"/>
                </a:cubicBezTo>
                <a:cubicBezTo>
                  <a:pt x="2220677" y="1163183"/>
                  <a:pt x="2220677" y="1162940"/>
                  <a:pt x="2220590" y="1162715"/>
                </a:cubicBezTo>
                <a:cubicBezTo>
                  <a:pt x="2220590" y="1162715"/>
                  <a:pt x="2220243" y="1162715"/>
                  <a:pt x="2219723" y="1162715"/>
                </a:cubicBezTo>
                <a:cubicBezTo>
                  <a:pt x="2215095" y="1162715"/>
                  <a:pt x="2204510" y="1169598"/>
                  <a:pt x="2204105" y="1174804"/>
                </a:cubicBezTo>
                <a:cubicBezTo>
                  <a:pt x="2203700" y="1180010"/>
                  <a:pt x="2199304" y="1182729"/>
                  <a:pt x="2195370" y="1185390"/>
                </a:cubicBezTo>
                <a:cubicBezTo>
                  <a:pt x="2192709" y="1187183"/>
                  <a:pt x="2190222" y="1188918"/>
                  <a:pt x="2190222" y="1190480"/>
                </a:cubicBezTo>
                <a:cubicBezTo>
                  <a:pt x="2190222" y="1199388"/>
                  <a:pt x="2189528" y="1200776"/>
                  <a:pt x="2185190" y="1201066"/>
                </a:cubicBezTo>
                <a:cubicBezTo>
                  <a:pt x="2182702" y="1201164"/>
                  <a:pt x="2180273" y="1201818"/>
                  <a:pt x="2178075" y="1202974"/>
                </a:cubicBezTo>
                <a:cubicBezTo>
                  <a:pt x="2173783" y="1204548"/>
                  <a:pt x="2169219" y="1205254"/>
                  <a:pt x="2164655" y="1205057"/>
                </a:cubicBezTo>
                <a:cubicBezTo>
                  <a:pt x="2150310" y="1205057"/>
                  <a:pt x="2129023" y="1200950"/>
                  <a:pt x="2127982" y="1193488"/>
                </a:cubicBezTo>
                <a:cubicBezTo>
                  <a:pt x="2127519" y="1190191"/>
                  <a:pt x="2121388" y="1187183"/>
                  <a:pt x="2115487" y="1184291"/>
                </a:cubicBezTo>
                <a:cubicBezTo>
                  <a:pt x="2107389" y="1180242"/>
                  <a:pt x="2099002" y="1176077"/>
                  <a:pt x="2098134" y="1169251"/>
                </a:cubicBezTo>
                <a:cubicBezTo>
                  <a:pt x="2097567" y="1165700"/>
                  <a:pt x="2096138" y="1162345"/>
                  <a:pt x="2093969" y="1159476"/>
                </a:cubicBezTo>
                <a:cubicBezTo>
                  <a:pt x="2088954" y="1154368"/>
                  <a:pt x="2089029" y="1146166"/>
                  <a:pt x="2094137" y="1141151"/>
                </a:cubicBezTo>
                <a:cubicBezTo>
                  <a:pt x="2094345" y="1140948"/>
                  <a:pt x="2094559" y="1140751"/>
                  <a:pt x="2094779" y="1140560"/>
                </a:cubicBezTo>
                <a:cubicBezTo>
                  <a:pt x="2098134" y="1136685"/>
                  <a:pt x="2099407" y="1133156"/>
                  <a:pt x="2098365" y="1130843"/>
                </a:cubicBezTo>
                <a:cubicBezTo>
                  <a:pt x="2097446" y="1129252"/>
                  <a:pt x="2095681" y="1128349"/>
                  <a:pt x="2093854" y="1128529"/>
                </a:cubicBezTo>
                <a:cubicBezTo>
                  <a:pt x="2090232" y="1128795"/>
                  <a:pt x="2086837" y="1130380"/>
                  <a:pt x="2084309" y="1132983"/>
                </a:cubicBezTo>
                <a:cubicBezTo>
                  <a:pt x="2082481" y="1134996"/>
                  <a:pt x="2079959" y="1136234"/>
                  <a:pt x="2077252" y="1136453"/>
                </a:cubicBezTo>
                <a:cubicBezTo>
                  <a:pt x="2074591" y="1136511"/>
                  <a:pt x="2072312" y="1134574"/>
                  <a:pt x="2071930" y="1131942"/>
                </a:cubicBezTo>
                <a:cubicBezTo>
                  <a:pt x="2071236" y="1128124"/>
                  <a:pt x="2073666" y="1123034"/>
                  <a:pt x="2080665" y="1120373"/>
                </a:cubicBezTo>
                <a:lnTo>
                  <a:pt x="2086044" y="1118406"/>
                </a:lnTo>
                <a:cubicBezTo>
                  <a:pt x="2095126" y="1115167"/>
                  <a:pt x="2106406" y="1111176"/>
                  <a:pt x="2109182" y="1103019"/>
                </a:cubicBezTo>
                <a:cubicBezTo>
                  <a:pt x="2110779" y="1097495"/>
                  <a:pt x="2109801" y="1091543"/>
                  <a:pt x="2106522" y="1086823"/>
                </a:cubicBezTo>
                <a:cubicBezTo>
                  <a:pt x="2103456" y="1081039"/>
                  <a:pt x="2096052" y="1078494"/>
                  <a:pt x="2084598" y="1078494"/>
                </a:cubicBezTo>
                <a:cubicBezTo>
                  <a:pt x="2055214" y="1078494"/>
                  <a:pt x="2006624" y="1097062"/>
                  <a:pt x="1989907" y="1106664"/>
                </a:cubicBezTo>
                <a:cubicBezTo>
                  <a:pt x="1978234" y="1114710"/>
                  <a:pt x="1967620" y="1124191"/>
                  <a:pt x="1958325" y="1134892"/>
                </a:cubicBezTo>
                <a:cubicBezTo>
                  <a:pt x="1946756" y="1147097"/>
                  <a:pt x="1936517" y="1157682"/>
                  <a:pt x="1929981" y="1157682"/>
                </a:cubicBezTo>
                <a:cubicBezTo>
                  <a:pt x="1928072" y="1157682"/>
                  <a:pt x="1926857" y="1157104"/>
                  <a:pt x="1926510" y="1156005"/>
                </a:cubicBezTo>
                <a:cubicBezTo>
                  <a:pt x="1925469" y="1153228"/>
                  <a:pt x="1930039" y="1149006"/>
                  <a:pt x="1940682" y="1139982"/>
                </a:cubicBezTo>
                <a:cubicBezTo>
                  <a:pt x="1945500" y="1136292"/>
                  <a:pt x="1949925" y="1132104"/>
                  <a:pt x="1953870" y="1127488"/>
                </a:cubicBezTo>
                <a:cubicBezTo>
                  <a:pt x="1955444" y="1124630"/>
                  <a:pt x="1956109" y="1121362"/>
                  <a:pt x="1955779" y="1118117"/>
                </a:cubicBezTo>
                <a:cubicBezTo>
                  <a:pt x="1955779" y="1116324"/>
                  <a:pt x="1955779" y="1114993"/>
                  <a:pt x="1956473" y="1114183"/>
                </a:cubicBezTo>
                <a:cubicBezTo>
                  <a:pt x="1957168" y="1113374"/>
                  <a:pt x="1958267" y="1113142"/>
                  <a:pt x="1960754" y="1114183"/>
                </a:cubicBezTo>
                <a:cubicBezTo>
                  <a:pt x="1960939" y="1114247"/>
                  <a:pt x="1961147" y="1114247"/>
                  <a:pt x="1961332" y="1114183"/>
                </a:cubicBezTo>
                <a:cubicBezTo>
                  <a:pt x="1965092" y="1114183"/>
                  <a:pt x="1972901" y="1104871"/>
                  <a:pt x="1980305" y="1096830"/>
                </a:cubicBezTo>
                <a:cubicBezTo>
                  <a:pt x="1985517" y="1090271"/>
                  <a:pt x="1991330" y="1084209"/>
                  <a:pt x="1997659" y="1078725"/>
                </a:cubicBezTo>
                <a:cubicBezTo>
                  <a:pt x="2003455" y="1074670"/>
                  <a:pt x="2010523" y="1072842"/>
                  <a:pt x="2017557" y="1073577"/>
                </a:cubicBezTo>
                <a:lnTo>
                  <a:pt x="2019581" y="1073577"/>
                </a:lnTo>
                <a:cubicBezTo>
                  <a:pt x="2023804" y="1073577"/>
                  <a:pt x="2025366" y="1072941"/>
                  <a:pt x="2025713" y="1070858"/>
                </a:cubicBezTo>
                <a:cubicBezTo>
                  <a:pt x="2027622" y="1062644"/>
                  <a:pt x="2033753" y="1057091"/>
                  <a:pt x="2046016" y="1046043"/>
                </a:cubicBezTo>
                <a:cubicBezTo>
                  <a:pt x="2054982" y="1038003"/>
                  <a:pt x="2130064" y="1036788"/>
                  <a:pt x="2174084" y="1036788"/>
                </a:cubicBezTo>
                <a:cubicBezTo>
                  <a:pt x="2196759" y="1036788"/>
                  <a:pt x="2213649" y="1037135"/>
                  <a:pt x="2217640" y="1037308"/>
                </a:cubicBezTo>
                <a:lnTo>
                  <a:pt x="2218277" y="1037308"/>
                </a:lnTo>
                <a:cubicBezTo>
                  <a:pt x="2231581" y="1037308"/>
                  <a:pt x="2257900" y="1019550"/>
                  <a:pt x="2265709" y="1007518"/>
                </a:cubicBezTo>
                <a:cubicBezTo>
                  <a:pt x="2272187" y="997569"/>
                  <a:pt x="2280459" y="995603"/>
                  <a:pt x="2291739" y="995603"/>
                </a:cubicBezTo>
                <a:cubicBezTo>
                  <a:pt x="2295325" y="995603"/>
                  <a:pt x="2299374" y="995603"/>
                  <a:pt x="2304291" y="996123"/>
                </a:cubicBezTo>
                <a:lnTo>
                  <a:pt x="2306084" y="996123"/>
                </a:lnTo>
                <a:cubicBezTo>
                  <a:pt x="2318463" y="996123"/>
                  <a:pt x="2326330" y="988083"/>
                  <a:pt x="2333329" y="980968"/>
                </a:cubicBezTo>
                <a:cubicBezTo>
                  <a:pt x="2335909" y="978157"/>
                  <a:pt x="2338732" y="975577"/>
                  <a:pt x="2341774" y="973275"/>
                </a:cubicBezTo>
                <a:cubicBezTo>
                  <a:pt x="2346691" y="969862"/>
                  <a:pt x="2347154" y="968069"/>
                  <a:pt x="2347038" y="967490"/>
                </a:cubicBezTo>
                <a:cubicBezTo>
                  <a:pt x="2346922" y="966912"/>
                  <a:pt x="2345418" y="965177"/>
                  <a:pt x="2339750" y="963962"/>
                </a:cubicBezTo>
                <a:cubicBezTo>
                  <a:pt x="2334081" y="962747"/>
                  <a:pt x="2327082" y="959739"/>
                  <a:pt x="2327313" y="956500"/>
                </a:cubicBezTo>
                <a:cubicBezTo>
                  <a:pt x="2327313" y="954186"/>
                  <a:pt x="2330899" y="953955"/>
                  <a:pt x="2331999" y="953897"/>
                </a:cubicBezTo>
                <a:cubicBezTo>
                  <a:pt x="2339692" y="953318"/>
                  <a:pt x="2343567" y="949212"/>
                  <a:pt x="2347385" y="938279"/>
                </a:cubicBezTo>
                <a:cubicBezTo>
                  <a:pt x="2349236" y="932495"/>
                  <a:pt x="2348484" y="932147"/>
                  <a:pt x="2344724" y="929429"/>
                </a:cubicBezTo>
                <a:cubicBezTo>
                  <a:pt x="2340230" y="926270"/>
                  <a:pt x="2336314" y="922354"/>
                  <a:pt x="2333156" y="917860"/>
                </a:cubicBezTo>
                <a:cubicBezTo>
                  <a:pt x="2330437" y="914331"/>
                  <a:pt x="2327949" y="912654"/>
                  <a:pt x="2325520" y="912654"/>
                </a:cubicBezTo>
                <a:cubicBezTo>
                  <a:pt x="2322437" y="913174"/>
                  <a:pt x="2319574" y="914603"/>
                  <a:pt x="2317306" y="916761"/>
                </a:cubicBezTo>
                <a:cubicBezTo>
                  <a:pt x="2314153" y="919769"/>
                  <a:pt x="2310076" y="921625"/>
                  <a:pt x="2305737" y="922025"/>
                </a:cubicBezTo>
                <a:lnTo>
                  <a:pt x="2304638" y="922025"/>
                </a:lnTo>
                <a:cubicBezTo>
                  <a:pt x="2302920" y="922054"/>
                  <a:pt x="2301295" y="921232"/>
                  <a:pt x="2300300" y="919827"/>
                </a:cubicBezTo>
                <a:cubicBezTo>
                  <a:pt x="2299085" y="917629"/>
                  <a:pt x="2300300" y="914794"/>
                  <a:pt x="2302035" y="911439"/>
                </a:cubicBezTo>
                <a:cubicBezTo>
                  <a:pt x="2304638" y="906060"/>
                  <a:pt x="2306084" y="902415"/>
                  <a:pt x="2302035" y="899870"/>
                </a:cubicBezTo>
                <a:cubicBezTo>
                  <a:pt x="2298900" y="898042"/>
                  <a:pt x="2295308" y="897140"/>
                  <a:pt x="2291681" y="897267"/>
                </a:cubicBezTo>
                <a:cubicBezTo>
                  <a:pt x="2280274" y="897973"/>
                  <a:pt x="2269434" y="902497"/>
                  <a:pt x="2260908" y="910109"/>
                </a:cubicBezTo>
                <a:cubicBezTo>
                  <a:pt x="2253388" y="916356"/>
                  <a:pt x="2249802" y="916298"/>
                  <a:pt x="2246447" y="915893"/>
                </a:cubicBezTo>
                <a:cubicBezTo>
                  <a:pt x="2243092" y="915488"/>
                  <a:pt x="2241357" y="915257"/>
                  <a:pt x="2234878" y="921388"/>
                </a:cubicBezTo>
                <a:cubicBezTo>
                  <a:pt x="2228400" y="927520"/>
                  <a:pt x="2224408" y="927173"/>
                  <a:pt x="2222846" y="922545"/>
                </a:cubicBezTo>
                <a:cubicBezTo>
                  <a:pt x="2221585" y="917594"/>
                  <a:pt x="2223060" y="912342"/>
                  <a:pt x="2226722" y="908778"/>
                </a:cubicBezTo>
                <a:cubicBezTo>
                  <a:pt x="2228978" y="906968"/>
                  <a:pt x="2231812" y="906025"/>
                  <a:pt x="2234704" y="906117"/>
                </a:cubicBezTo>
                <a:cubicBezTo>
                  <a:pt x="2237747" y="906361"/>
                  <a:pt x="2240668" y="904891"/>
                  <a:pt x="2242282" y="902300"/>
                </a:cubicBezTo>
                <a:cubicBezTo>
                  <a:pt x="2244544" y="899327"/>
                  <a:pt x="2248165" y="897713"/>
                  <a:pt x="2251884" y="898019"/>
                </a:cubicBezTo>
                <a:cubicBezTo>
                  <a:pt x="2257443" y="897909"/>
                  <a:pt x="2262846" y="896139"/>
                  <a:pt x="2267387" y="892929"/>
                </a:cubicBezTo>
                <a:cubicBezTo>
                  <a:pt x="2273356" y="889215"/>
                  <a:pt x="2280072" y="886867"/>
                  <a:pt x="2287053" y="886045"/>
                </a:cubicBezTo>
                <a:cubicBezTo>
                  <a:pt x="2292028" y="885178"/>
                  <a:pt x="2295557" y="884599"/>
                  <a:pt x="2297408" y="881765"/>
                </a:cubicBezTo>
                <a:cubicBezTo>
                  <a:pt x="2298379" y="880186"/>
                  <a:pt x="2298379" y="878196"/>
                  <a:pt x="2297408" y="876617"/>
                </a:cubicBezTo>
                <a:cubicBezTo>
                  <a:pt x="2294307" y="872747"/>
                  <a:pt x="2289581" y="870543"/>
                  <a:pt x="2284624" y="870659"/>
                </a:cubicBezTo>
                <a:cubicBezTo>
                  <a:pt x="2282929" y="870647"/>
                  <a:pt x="2281240" y="870844"/>
                  <a:pt x="2279592" y="871237"/>
                </a:cubicBezTo>
                <a:cubicBezTo>
                  <a:pt x="2278643" y="871463"/>
                  <a:pt x="2277671" y="871579"/>
                  <a:pt x="2276699" y="871584"/>
                </a:cubicBezTo>
                <a:cubicBezTo>
                  <a:pt x="2270730" y="870798"/>
                  <a:pt x="2265217" y="867975"/>
                  <a:pt x="2261081" y="863602"/>
                </a:cubicBezTo>
                <a:cubicBezTo>
                  <a:pt x="2258606" y="860756"/>
                  <a:pt x="2255314" y="858737"/>
                  <a:pt x="2251653" y="857818"/>
                </a:cubicBezTo>
                <a:cubicBezTo>
                  <a:pt x="2250716" y="857841"/>
                  <a:pt x="2249813" y="858142"/>
                  <a:pt x="2249050" y="858685"/>
                </a:cubicBezTo>
                <a:cubicBezTo>
                  <a:pt x="2247858" y="859686"/>
                  <a:pt x="2246377" y="860276"/>
                  <a:pt x="2244827" y="860363"/>
                </a:cubicBezTo>
                <a:cubicBezTo>
                  <a:pt x="2242768" y="860126"/>
                  <a:pt x="2240940" y="858922"/>
                  <a:pt x="2239911" y="857123"/>
                </a:cubicBezTo>
                <a:cubicBezTo>
                  <a:pt x="2238754" y="855677"/>
                  <a:pt x="2237770" y="854405"/>
                  <a:pt x="2236151" y="854405"/>
                </a:cubicBezTo>
                <a:cubicBezTo>
                  <a:pt x="2234895" y="854526"/>
                  <a:pt x="2233692" y="854983"/>
                  <a:pt x="2232680" y="855735"/>
                </a:cubicBezTo>
                <a:cubicBezTo>
                  <a:pt x="2230638" y="857112"/>
                  <a:pt x="2228255" y="857893"/>
                  <a:pt x="2225797" y="857991"/>
                </a:cubicBezTo>
                <a:cubicBezTo>
                  <a:pt x="2218508" y="857991"/>
                  <a:pt x="2214228" y="849314"/>
                  <a:pt x="2211625" y="841795"/>
                </a:cubicBezTo>
                <a:cubicBezTo>
                  <a:pt x="2207460" y="830631"/>
                  <a:pt x="2181488" y="812063"/>
                  <a:pt x="2166332" y="807377"/>
                </a:cubicBezTo>
                <a:cubicBezTo>
                  <a:pt x="2157598" y="804659"/>
                  <a:pt x="2157135" y="801130"/>
                  <a:pt x="2157367" y="799684"/>
                </a:cubicBezTo>
                <a:cubicBezTo>
                  <a:pt x="2157714" y="797370"/>
                  <a:pt x="2160259" y="795809"/>
                  <a:pt x="2163498" y="795809"/>
                </a:cubicBezTo>
                <a:cubicBezTo>
                  <a:pt x="2165951" y="795861"/>
                  <a:pt x="2168328" y="796647"/>
                  <a:pt x="2170324" y="798064"/>
                </a:cubicBezTo>
                <a:cubicBezTo>
                  <a:pt x="2171556" y="799002"/>
                  <a:pt x="2173060" y="799510"/>
                  <a:pt x="2174604" y="799510"/>
                </a:cubicBezTo>
                <a:cubicBezTo>
                  <a:pt x="2180909" y="799510"/>
                  <a:pt x="2187561" y="791239"/>
                  <a:pt x="2190511" y="786322"/>
                </a:cubicBezTo>
                <a:cubicBezTo>
                  <a:pt x="2191200" y="785078"/>
                  <a:pt x="2191200" y="783574"/>
                  <a:pt x="2190511" y="782331"/>
                </a:cubicBezTo>
                <a:cubicBezTo>
                  <a:pt x="2188117" y="778883"/>
                  <a:pt x="2184420" y="776564"/>
                  <a:pt x="2180273" y="775910"/>
                </a:cubicBezTo>
                <a:cubicBezTo>
                  <a:pt x="2178821" y="775760"/>
                  <a:pt x="2177508" y="774973"/>
                  <a:pt x="2176687" y="773770"/>
                </a:cubicBezTo>
                <a:cubicBezTo>
                  <a:pt x="2174766" y="769437"/>
                  <a:pt x="2174396" y="764572"/>
                  <a:pt x="2175645" y="760003"/>
                </a:cubicBezTo>
                <a:cubicBezTo>
                  <a:pt x="2176166" y="757458"/>
                  <a:pt x="2171423" y="753756"/>
                  <a:pt x="2167200" y="750516"/>
                </a:cubicBezTo>
                <a:cubicBezTo>
                  <a:pt x="2162977" y="747277"/>
                  <a:pt x="2158408" y="743691"/>
                  <a:pt x="2158061" y="740336"/>
                </a:cubicBezTo>
                <a:cubicBezTo>
                  <a:pt x="2157714" y="736981"/>
                  <a:pt x="2155342" y="735419"/>
                  <a:pt x="2152970" y="733105"/>
                </a:cubicBezTo>
                <a:cubicBezTo>
                  <a:pt x="2150599" y="730791"/>
                  <a:pt x="2147186" y="727726"/>
                  <a:pt x="2147765" y="724371"/>
                </a:cubicBezTo>
                <a:cubicBezTo>
                  <a:pt x="2147765" y="722173"/>
                  <a:pt x="2145740" y="719165"/>
                  <a:pt x="2143368" y="715926"/>
                </a:cubicBezTo>
                <a:cubicBezTo>
                  <a:pt x="2140262" y="712594"/>
                  <a:pt x="2138249" y="708400"/>
                  <a:pt x="2137584" y="703894"/>
                </a:cubicBezTo>
                <a:cubicBezTo>
                  <a:pt x="2137584" y="700712"/>
                  <a:pt x="2133130" y="695333"/>
                  <a:pt x="2128849" y="690127"/>
                </a:cubicBezTo>
                <a:cubicBezTo>
                  <a:pt x="2124569" y="684921"/>
                  <a:pt x="2119132" y="678558"/>
                  <a:pt x="2118785" y="673699"/>
                </a:cubicBezTo>
                <a:cubicBezTo>
                  <a:pt x="2117905" y="669141"/>
                  <a:pt x="2115713" y="664941"/>
                  <a:pt x="2112479" y="661610"/>
                </a:cubicBezTo>
                <a:cubicBezTo>
                  <a:pt x="2109333" y="657884"/>
                  <a:pt x="2106793" y="653691"/>
                  <a:pt x="2104960" y="649173"/>
                </a:cubicBezTo>
                <a:cubicBezTo>
                  <a:pt x="2103398" y="644777"/>
                  <a:pt x="2102068" y="644430"/>
                  <a:pt x="2101663" y="644430"/>
                </a:cubicBezTo>
                <a:cubicBezTo>
                  <a:pt x="2100159" y="644430"/>
                  <a:pt x="2097498" y="648016"/>
                  <a:pt x="2094953" y="658081"/>
                </a:cubicBezTo>
                <a:cubicBezTo>
                  <a:pt x="2093512" y="664161"/>
                  <a:pt x="2089671" y="669396"/>
                  <a:pt x="2084309" y="672600"/>
                </a:cubicBezTo>
                <a:cubicBezTo>
                  <a:pt x="2082979" y="673526"/>
                  <a:pt x="2081764" y="674393"/>
                  <a:pt x="2081648" y="674972"/>
                </a:cubicBezTo>
                <a:cubicBezTo>
                  <a:pt x="2081654" y="675342"/>
                  <a:pt x="2081799" y="675689"/>
                  <a:pt x="2082053" y="675955"/>
                </a:cubicBezTo>
                <a:cubicBezTo>
                  <a:pt x="2088185" y="684169"/>
                  <a:pt x="2086044" y="686714"/>
                  <a:pt x="2082053" y="690532"/>
                </a:cubicBezTo>
                <a:cubicBezTo>
                  <a:pt x="2080862" y="691533"/>
                  <a:pt x="2079745" y="692620"/>
                  <a:pt x="2078698" y="693771"/>
                </a:cubicBezTo>
                <a:cubicBezTo>
                  <a:pt x="2077021" y="696120"/>
                  <a:pt x="2076547" y="699122"/>
                  <a:pt x="2077426" y="701869"/>
                </a:cubicBezTo>
                <a:cubicBezTo>
                  <a:pt x="2078097" y="703784"/>
                  <a:pt x="2077906" y="705889"/>
                  <a:pt x="2076905" y="707654"/>
                </a:cubicBezTo>
                <a:cubicBezTo>
                  <a:pt x="2075685" y="708776"/>
                  <a:pt x="2074042" y="709325"/>
                  <a:pt x="2072393" y="709158"/>
                </a:cubicBezTo>
                <a:cubicBezTo>
                  <a:pt x="2068691" y="709158"/>
                  <a:pt x="2067650" y="713091"/>
                  <a:pt x="2066898" y="717487"/>
                </a:cubicBezTo>
                <a:cubicBezTo>
                  <a:pt x="2066436" y="719917"/>
                  <a:pt x="2066146" y="721652"/>
                  <a:pt x="2064584" y="721652"/>
                </a:cubicBezTo>
                <a:cubicBezTo>
                  <a:pt x="2063023" y="721652"/>
                  <a:pt x="2062676" y="720553"/>
                  <a:pt x="2061692" y="718875"/>
                </a:cubicBezTo>
                <a:cubicBezTo>
                  <a:pt x="2060252" y="716035"/>
                  <a:pt x="2057354" y="714231"/>
                  <a:pt x="2054172" y="714190"/>
                </a:cubicBezTo>
                <a:cubicBezTo>
                  <a:pt x="2050632" y="714028"/>
                  <a:pt x="2047630" y="716770"/>
                  <a:pt x="2047468" y="720316"/>
                </a:cubicBezTo>
                <a:cubicBezTo>
                  <a:pt x="2047462" y="720449"/>
                  <a:pt x="2047462" y="720588"/>
                  <a:pt x="2047462" y="720727"/>
                </a:cubicBezTo>
                <a:cubicBezTo>
                  <a:pt x="2047462" y="729982"/>
                  <a:pt x="2027391" y="738080"/>
                  <a:pt x="2019003" y="737617"/>
                </a:cubicBezTo>
                <a:cubicBezTo>
                  <a:pt x="2014607" y="737270"/>
                  <a:pt x="2012351" y="732932"/>
                  <a:pt x="2010616" y="729403"/>
                </a:cubicBezTo>
                <a:cubicBezTo>
                  <a:pt x="2009343" y="726916"/>
                  <a:pt x="2008128" y="724602"/>
                  <a:pt x="2006798" y="724602"/>
                </a:cubicBezTo>
                <a:cubicBezTo>
                  <a:pt x="2006208" y="724660"/>
                  <a:pt x="2005652" y="724886"/>
                  <a:pt x="2005178" y="725238"/>
                </a:cubicBezTo>
                <a:cubicBezTo>
                  <a:pt x="2004432" y="725869"/>
                  <a:pt x="2003495" y="726233"/>
                  <a:pt x="2002517" y="726280"/>
                </a:cubicBezTo>
                <a:cubicBezTo>
                  <a:pt x="1999915" y="726280"/>
                  <a:pt x="1998642" y="723387"/>
                  <a:pt x="1997254" y="720495"/>
                </a:cubicBezTo>
                <a:cubicBezTo>
                  <a:pt x="1995865" y="717603"/>
                  <a:pt x="1993552" y="712339"/>
                  <a:pt x="1989271" y="712339"/>
                </a:cubicBezTo>
                <a:lnTo>
                  <a:pt x="1988866" y="712339"/>
                </a:lnTo>
                <a:lnTo>
                  <a:pt x="1984759" y="712339"/>
                </a:lnTo>
                <a:cubicBezTo>
                  <a:pt x="1978975" y="712339"/>
                  <a:pt x="1975273" y="711182"/>
                  <a:pt x="1973537" y="708811"/>
                </a:cubicBezTo>
                <a:cubicBezTo>
                  <a:pt x="1972109" y="706433"/>
                  <a:pt x="1971981" y="703495"/>
                  <a:pt x="1973190" y="701002"/>
                </a:cubicBezTo>
                <a:cubicBezTo>
                  <a:pt x="1974347" y="697415"/>
                  <a:pt x="1971166" y="694755"/>
                  <a:pt x="1966480" y="691342"/>
                </a:cubicBezTo>
                <a:cubicBezTo>
                  <a:pt x="1963530" y="689144"/>
                  <a:pt x="1960696" y="687293"/>
                  <a:pt x="1960696" y="684921"/>
                </a:cubicBezTo>
                <a:cubicBezTo>
                  <a:pt x="1960731" y="683631"/>
                  <a:pt x="1961373" y="682428"/>
                  <a:pt x="1962431" y="681682"/>
                </a:cubicBezTo>
                <a:cubicBezTo>
                  <a:pt x="1965728" y="679021"/>
                  <a:pt x="1964745" y="675145"/>
                  <a:pt x="1962431" y="668030"/>
                </a:cubicBezTo>
                <a:cubicBezTo>
                  <a:pt x="1960632" y="662767"/>
                  <a:pt x="1959447" y="657312"/>
                  <a:pt x="1958903" y="651776"/>
                </a:cubicBezTo>
                <a:cubicBezTo>
                  <a:pt x="1957954" y="645101"/>
                  <a:pt x="1960256" y="638374"/>
                  <a:pt x="1965092" y="633671"/>
                </a:cubicBezTo>
                <a:cubicBezTo>
                  <a:pt x="1966770" y="631820"/>
                  <a:pt x="1967984" y="630489"/>
                  <a:pt x="1967984" y="628696"/>
                </a:cubicBezTo>
                <a:cubicBezTo>
                  <a:pt x="1967984" y="626903"/>
                  <a:pt x="1966654" y="625110"/>
                  <a:pt x="1964109" y="625110"/>
                </a:cubicBezTo>
                <a:cubicBezTo>
                  <a:pt x="1960893" y="625359"/>
                  <a:pt x="1957804" y="626498"/>
                  <a:pt x="1955201" y="628407"/>
                </a:cubicBezTo>
                <a:cubicBezTo>
                  <a:pt x="1954079" y="629246"/>
                  <a:pt x="1952725" y="629726"/>
                  <a:pt x="1951325" y="629795"/>
                </a:cubicBezTo>
                <a:cubicBezTo>
                  <a:pt x="1949087" y="629500"/>
                  <a:pt x="1947108" y="628199"/>
                  <a:pt x="1945946" y="626267"/>
                </a:cubicBezTo>
                <a:cubicBezTo>
                  <a:pt x="1944592" y="623994"/>
                  <a:pt x="1942168" y="622571"/>
                  <a:pt x="1939525" y="622507"/>
                </a:cubicBezTo>
                <a:lnTo>
                  <a:pt x="1935591" y="622507"/>
                </a:lnTo>
                <a:cubicBezTo>
                  <a:pt x="1930791" y="622507"/>
                  <a:pt x="1906669" y="621929"/>
                  <a:pt x="1905570" y="609897"/>
                </a:cubicBezTo>
                <a:cubicBezTo>
                  <a:pt x="1905640" y="606553"/>
                  <a:pt x="1903534" y="603557"/>
                  <a:pt x="1900364" y="602493"/>
                </a:cubicBezTo>
                <a:cubicBezTo>
                  <a:pt x="1896790" y="601053"/>
                  <a:pt x="1894048" y="598079"/>
                  <a:pt x="1892903" y="594395"/>
                </a:cubicBezTo>
                <a:cubicBezTo>
                  <a:pt x="1892006" y="590970"/>
                  <a:pt x="1888726" y="588726"/>
                  <a:pt x="1885209" y="589131"/>
                </a:cubicBezTo>
                <a:cubicBezTo>
                  <a:pt x="1882664" y="589131"/>
                  <a:pt x="1879425" y="588726"/>
                  <a:pt x="1879425" y="584330"/>
                </a:cubicBezTo>
                <a:cubicBezTo>
                  <a:pt x="1879425" y="578198"/>
                  <a:pt x="1876186" y="575190"/>
                  <a:pt x="1868955" y="574554"/>
                </a:cubicBezTo>
                <a:cubicBezTo>
                  <a:pt x="1865571" y="574022"/>
                  <a:pt x="1862436" y="572443"/>
                  <a:pt x="1859989" y="570042"/>
                </a:cubicBezTo>
                <a:cubicBezTo>
                  <a:pt x="1857114" y="567283"/>
                  <a:pt x="1853458" y="565484"/>
                  <a:pt x="1849519" y="564894"/>
                </a:cubicBezTo>
                <a:cubicBezTo>
                  <a:pt x="1842115" y="564026"/>
                  <a:pt x="1832976" y="568712"/>
                  <a:pt x="1827018" y="571778"/>
                </a:cubicBezTo>
                <a:cubicBezTo>
                  <a:pt x="1825398" y="572587"/>
                  <a:pt x="1824010" y="573339"/>
                  <a:pt x="1822853" y="573802"/>
                </a:cubicBezTo>
                <a:cubicBezTo>
                  <a:pt x="1820134" y="575075"/>
                  <a:pt x="1815565" y="573397"/>
                  <a:pt x="1810764" y="571546"/>
                </a:cubicBezTo>
                <a:cubicBezTo>
                  <a:pt x="1805963" y="569695"/>
                  <a:pt x="1800467" y="567786"/>
                  <a:pt x="1798211" y="569464"/>
                </a:cubicBezTo>
                <a:cubicBezTo>
                  <a:pt x="1797182" y="570401"/>
                  <a:pt x="1795845" y="570933"/>
                  <a:pt x="1794452" y="570968"/>
                </a:cubicBezTo>
                <a:cubicBezTo>
                  <a:pt x="1792334" y="570759"/>
                  <a:pt x="1790322" y="569932"/>
                  <a:pt x="1788667" y="568596"/>
                </a:cubicBezTo>
                <a:cubicBezTo>
                  <a:pt x="1784566" y="565808"/>
                  <a:pt x="1780031" y="563720"/>
                  <a:pt x="1775247" y="562407"/>
                </a:cubicBezTo>
                <a:cubicBezTo>
                  <a:pt x="1767299" y="560162"/>
                  <a:pt x="1759097" y="558936"/>
                  <a:pt x="1750837" y="558763"/>
                </a:cubicBezTo>
                <a:cubicBezTo>
                  <a:pt x="1743491" y="558763"/>
                  <a:pt x="1740599" y="560209"/>
                  <a:pt x="1740309" y="561539"/>
                </a:cubicBezTo>
                <a:cubicBezTo>
                  <a:pt x="1739395" y="563945"/>
                  <a:pt x="1737706" y="565982"/>
                  <a:pt x="1735508" y="567324"/>
                </a:cubicBezTo>
                <a:cubicBezTo>
                  <a:pt x="1728972" y="571020"/>
                  <a:pt x="1726676" y="579315"/>
                  <a:pt x="1730372" y="585851"/>
                </a:cubicBezTo>
                <a:cubicBezTo>
                  <a:pt x="1732043" y="588807"/>
                  <a:pt x="1734762" y="591028"/>
                  <a:pt x="1737996" y="592081"/>
                </a:cubicBezTo>
                <a:cubicBezTo>
                  <a:pt x="1741657" y="593417"/>
                  <a:pt x="1744648" y="596136"/>
                  <a:pt x="1746325" y="599658"/>
                </a:cubicBezTo>
                <a:cubicBezTo>
                  <a:pt x="1748043" y="602354"/>
                  <a:pt x="1747250" y="605929"/>
                  <a:pt x="1744555" y="607647"/>
                </a:cubicBezTo>
                <a:cubicBezTo>
                  <a:pt x="1744185" y="607878"/>
                  <a:pt x="1743786" y="608075"/>
                  <a:pt x="1743375" y="608219"/>
                </a:cubicBezTo>
                <a:cubicBezTo>
                  <a:pt x="1741269" y="609162"/>
                  <a:pt x="1739852" y="611181"/>
                  <a:pt x="1739673" y="613483"/>
                </a:cubicBezTo>
                <a:cubicBezTo>
                  <a:pt x="1739401" y="617018"/>
                  <a:pt x="1737382" y="620187"/>
                  <a:pt x="1734293" y="621929"/>
                </a:cubicBezTo>
                <a:cubicBezTo>
                  <a:pt x="1732327" y="623375"/>
                  <a:pt x="1731228" y="624300"/>
                  <a:pt x="1731228" y="626151"/>
                </a:cubicBezTo>
                <a:cubicBezTo>
                  <a:pt x="1731228" y="628002"/>
                  <a:pt x="1732037" y="628928"/>
                  <a:pt x="1733484" y="630374"/>
                </a:cubicBezTo>
                <a:cubicBezTo>
                  <a:pt x="1736549" y="633202"/>
                  <a:pt x="1738690" y="636893"/>
                  <a:pt x="1739615" y="640959"/>
                </a:cubicBezTo>
                <a:cubicBezTo>
                  <a:pt x="1740599" y="644389"/>
                  <a:pt x="1742247" y="647600"/>
                  <a:pt x="1744474" y="650388"/>
                </a:cubicBezTo>
                <a:cubicBezTo>
                  <a:pt x="1748008" y="654859"/>
                  <a:pt x="1750137" y="660268"/>
                  <a:pt x="1750606" y="665948"/>
                </a:cubicBezTo>
                <a:cubicBezTo>
                  <a:pt x="1752052" y="677517"/>
                  <a:pt x="1748176" y="679136"/>
                  <a:pt x="1742508" y="679831"/>
                </a:cubicBezTo>
                <a:cubicBezTo>
                  <a:pt x="1741281" y="679975"/>
                  <a:pt x="1740061" y="680212"/>
                  <a:pt x="1738863" y="680525"/>
                </a:cubicBezTo>
                <a:cubicBezTo>
                  <a:pt x="1736954" y="681103"/>
                  <a:pt x="1736839" y="682202"/>
                  <a:pt x="1736723" y="685210"/>
                </a:cubicBezTo>
                <a:cubicBezTo>
                  <a:pt x="1736816" y="690295"/>
                  <a:pt x="1734953" y="695223"/>
                  <a:pt x="1731517" y="698977"/>
                </a:cubicBezTo>
                <a:cubicBezTo>
                  <a:pt x="1723650" y="708001"/>
                  <a:pt x="1716362" y="717950"/>
                  <a:pt x="1722378" y="723387"/>
                </a:cubicBezTo>
                <a:cubicBezTo>
                  <a:pt x="1725559" y="725904"/>
                  <a:pt x="1728943" y="728148"/>
                  <a:pt x="1732500" y="730097"/>
                </a:cubicBezTo>
                <a:cubicBezTo>
                  <a:pt x="1742797" y="736287"/>
                  <a:pt x="1756911" y="744790"/>
                  <a:pt x="1763794" y="756417"/>
                </a:cubicBezTo>
                <a:cubicBezTo>
                  <a:pt x="1775363" y="775794"/>
                  <a:pt x="1771950" y="805353"/>
                  <a:pt x="1769984" y="817153"/>
                </a:cubicBezTo>
                <a:cubicBezTo>
                  <a:pt x="1768017" y="828953"/>
                  <a:pt x="1758993" y="835085"/>
                  <a:pt x="1748639" y="842026"/>
                </a:cubicBezTo>
                <a:cubicBezTo>
                  <a:pt x="1742230" y="845988"/>
                  <a:pt x="1736272" y="850645"/>
                  <a:pt x="1730881" y="855909"/>
                </a:cubicBezTo>
                <a:cubicBezTo>
                  <a:pt x="1721839" y="865534"/>
                  <a:pt x="1709015" y="870699"/>
                  <a:pt x="1695827" y="870023"/>
                </a:cubicBezTo>
                <a:cubicBezTo>
                  <a:pt x="1694381" y="870023"/>
                  <a:pt x="1693108" y="870023"/>
                  <a:pt x="1692009" y="870023"/>
                </a:cubicBezTo>
                <a:cubicBezTo>
                  <a:pt x="1690985" y="870023"/>
                  <a:pt x="1690077" y="870671"/>
                  <a:pt x="1689753" y="871642"/>
                </a:cubicBezTo>
                <a:cubicBezTo>
                  <a:pt x="1688192" y="875518"/>
                  <a:pt x="1691951" y="885814"/>
                  <a:pt x="1700050" y="894780"/>
                </a:cubicBezTo>
                <a:cubicBezTo>
                  <a:pt x="1704481" y="898806"/>
                  <a:pt x="1706644" y="904758"/>
                  <a:pt x="1705834" y="910687"/>
                </a:cubicBezTo>
                <a:cubicBezTo>
                  <a:pt x="1705377" y="914638"/>
                  <a:pt x="1706013" y="918641"/>
                  <a:pt x="1707685" y="922256"/>
                </a:cubicBezTo>
                <a:cubicBezTo>
                  <a:pt x="1709704" y="927196"/>
                  <a:pt x="1710728" y="932483"/>
                  <a:pt x="1710693" y="937816"/>
                </a:cubicBezTo>
                <a:cubicBezTo>
                  <a:pt x="1710427" y="943826"/>
                  <a:pt x="1712087" y="949767"/>
                  <a:pt x="1715436" y="954765"/>
                </a:cubicBezTo>
                <a:cubicBezTo>
                  <a:pt x="1723939" y="966333"/>
                  <a:pt x="1718386" y="971366"/>
                  <a:pt x="1709189" y="979291"/>
                </a:cubicBezTo>
                <a:cubicBezTo>
                  <a:pt x="1706412" y="981720"/>
                  <a:pt x="1706297" y="982530"/>
                  <a:pt x="1706297" y="982645"/>
                </a:cubicBezTo>
                <a:cubicBezTo>
                  <a:pt x="1706297" y="982761"/>
                  <a:pt x="1707280" y="983455"/>
                  <a:pt x="1707916" y="983802"/>
                </a:cubicBezTo>
                <a:cubicBezTo>
                  <a:pt x="1711347" y="985254"/>
                  <a:pt x="1713608" y="988580"/>
                  <a:pt x="1713701" y="992306"/>
                </a:cubicBezTo>
                <a:cubicBezTo>
                  <a:pt x="1713701" y="995603"/>
                  <a:pt x="1713701" y="997396"/>
                  <a:pt x="1712660" y="998090"/>
                </a:cubicBezTo>
                <a:cubicBezTo>
                  <a:pt x="1712186" y="998570"/>
                  <a:pt x="1711538" y="998836"/>
                  <a:pt x="1710867" y="998842"/>
                </a:cubicBezTo>
                <a:cubicBezTo>
                  <a:pt x="1709131" y="998842"/>
                  <a:pt x="1706991" y="997164"/>
                  <a:pt x="1703983" y="994908"/>
                </a:cubicBezTo>
                <a:cubicBezTo>
                  <a:pt x="1702711" y="993983"/>
                  <a:pt x="1701322" y="992884"/>
                  <a:pt x="1699818" y="991843"/>
                </a:cubicBezTo>
                <a:cubicBezTo>
                  <a:pt x="1699031" y="991259"/>
                  <a:pt x="1698083" y="990935"/>
                  <a:pt x="1697100" y="990917"/>
                </a:cubicBezTo>
                <a:cubicBezTo>
                  <a:pt x="1691315" y="990917"/>
                  <a:pt x="1686456" y="1002486"/>
                  <a:pt x="1686456" y="1007866"/>
                </a:cubicBezTo>
                <a:cubicBezTo>
                  <a:pt x="1686589" y="1009265"/>
                  <a:pt x="1685560" y="1010509"/>
                  <a:pt x="1684160" y="1010636"/>
                </a:cubicBezTo>
                <a:cubicBezTo>
                  <a:pt x="1684021" y="1010654"/>
                  <a:pt x="1683876" y="1010654"/>
                  <a:pt x="1683738" y="1010642"/>
                </a:cubicBezTo>
                <a:cubicBezTo>
                  <a:pt x="1679428" y="1009508"/>
                  <a:pt x="1675379" y="1007542"/>
                  <a:pt x="1671822" y="1004858"/>
                </a:cubicBezTo>
                <a:cubicBezTo>
                  <a:pt x="1668976" y="1002874"/>
                  <a:pt x="1665858" y="1001318"/>
                  <a:pt x="1662567" y="1000230"/>
                </a:cubicBezTo>
                <a:lnTo>
                  <a:pt x="1661988" y="1000230"/>
                </a:lnTo>
                <a:cubicBezTo>
                  <a:pt x="1659559" y="1000230"/>
                  <a:pt x="1659327" y="997859"/>
                  <a:pt x="1659096" y="995371"/>
                </a:cubicBezTo>
                <a:cubicBezTo>
                  <a:pt x="1658963" y="989807"/>
                  <a:pt x="1656331" y="984601"/>
                  <a:pt x="1651923" y="981199"/>
                </a:cubicBezTo>
                <a:cubicBezTo>
                  <a:pt x="1648684" y="978712"/>
                  <a:pt x="1645734" y="976803"/>
                  <a:pt x="1643073" y="975415"/>
                </a:cubicBezTo>
                <a:cubicBezTo>
                  <a:pt x="1636710" y="971308"/>
                  <a:pt x="1632083" y="968416"/>
                  <a:pt x="1632083" y="961822"/>
                </a:cubicBezTo>
                <a:cubicBezTo>
                  <a:pt x="1632083" y="958293"/>
                  <a:pt x="1627976" y="954938"/>
                  <a:pt x="1623579" y="951410"/>
                </a:cubicBezTo>
                <a:cubicBezTo>
                  <a:pt x="1619183" y="947881"/>
                  <a:pt x="1613630" y="944121"/>
                  <a:pt x="1613630" y="938568"/>
                </a:cubicBezTo>
                <a:cubicBezTo>
                  <a:pt x="1613630" y="936312"/>
                  <a:pt x="1613630" y="933246"/>
                  <a:pt x="1613630" y="929776"/>
                </a:cubicBezTo>
                <a:cubicBezTo>
                  <a:pt x="1614093" y="918959"/>
                  <a:pt x="1614787" y="902647"/>
                  <a:pt x="1611721" y="897325"/>
                </a:cubicBezTo>
                <a:cubicBezTo>
                  <a:pt x="1607210" y="889632"/>
                  <a:pt x="1610912" y="881476"/>
                  <a:pt x="1614729" y="874187"/>
                </a:cubicBezTo>
                <a:cubicBezTo>
                  <a:pt x="1615904" y="871625"/>
                  <a:pt x="1615637" y="868634"/>
                  <a:pt x="1614035" y="866321"/>
                </a:cubicBezTo>
                <a:cubicBezTo>
                  <a:pt x="1611131" y="861682"/>
                  <a:pt x="1606029" y="858882"/>
                  <a:pt x="1600557" y="858917"/>
                </a:cubicBezTo>
                <a:cubicBezTo>
                  <a:pt x="1595624" y="858784"/>
                  <a:pt x="1590695" y="858379"/>
                  <a:pt x="1585807" y="857702"/>
                </a:cubicBezTo>
                <a:cubicBezTo>
                  <a:pt x="1579190" y="856846"/>
                  <a:pt x="1572526" y="856366"/>
                  <a:pt x="1565851" y="856256"/>
                </a:cubicBezTo>
                <a:cubicBezTo>
                  <a:pt x="1563653" y="856256"/>
                  <a:pt x="1561513" y="856256"/>
                  <a:pt x="1559488" y="856256"/>
                </a:cubicBezTo>
                <a:cubicBezTo>
                  <a:pt x="1545374" y="857413"/>
                  <a:pt x="1535888" y="855504"/>
                  <a:pt x="1530161" y="850471"/>
                </a:cubicBezTo>
                <a:cubicBezTo>
                  <a:pt x="1519182" y="841980"/>
                  <a:pt x="1506555" y="835871"/>
                  <a:pt x="1493083" y="832539"/>
                </a:cubicBezTo>
                <a:cubicBezTo>
                  <a:pt x="1473242" y="827449"/>
                  <a:pt x="1464970" y="817095"/>
                  <a:pt x="1463177" y="811831"/>
                </a:cubicBezTo>
                <a:cubicBezTo>
                  <a:pt x="1462368" y="809402"/>
                  <a:pt x="1456467" y="806741"/>
                  <a:pt x="1451261" y="804427"/>
                </a:cubicBezTo>
                <a:cubicBezTo>
                  <a:pt x="1446547" y="802854"/>
                  <a:pt x="1442209" y="800315"/>
                  <a:pt x="1438536" y="796965"/>
                </a:cubicBezTo>
                <a:cubicBezTo>
                  <a:pt x="1435470" y="792974"/>
                  <a:pt x="1422571" y="789908"/>
                  <a:pt x="1413547" y="789908"/>
                </a:cubicBezTo>
                <a:cubicBezTo>
                  <a:pt x="1412332" y="789810"/>
                  <a:pt x="1411117" y="789810"/>
                  <a:pt x="1409903" y="789908"/>
                </a:cubicBezTo>
                <a:cubicBezTo>
                  <a:pt x="1406201" y="790545"/>
                  <a:pt x="1400358" y="787305"/>
                  <a:pt x="1393649" y="783430"/>
                </a:cubicBezTo>
                <a:cubicBezTo>
                  <a:pt x="1386939" y="779554"/>
                  <a:pt x="1378898" y="775042"/>
                  <a:pt x="1373461" y="775389"/>
                </a:cubicBezTo>
                <a:cubicBezTo>
                  <a:pt x="1363234" y="777188"/>
                  <a:pt x="1353227" y="780075"/>
                  <a:pt x="1343613" y="784008"/>
                </a:cubicBezTo>
                <a:cubicBezTo>
                  <a:pt x="1340143" y="785391"/>
                  <a:pt x="1336591" y="786553"/>
                  <a:pt x="1332970" y="787479"/>
                </a:cubicBezTo>
                <a:cubicBezTo>
                  <a:pt x="1331923" y="787745"/>
                  <a:pt x="1330830" y="787271"/>
                  <a:pt x="1330309" y="786322"/>
                </a:cubicBezTo>
                <a:cubicBezTo>
                  <a:pt x="1328689" y="783141"/>
                  <a:pt x="1334127" y="774406"/>
                  <a:pt x="1335515" y="772381"/>
                </a:cubicBezTo>
                <a:cubicBezTo>
                  <a:pt x="1336903" y="770357"/>
                  <a:pt x="1333317" y="762779"/>
                  <a:pt x="1330135" y="755954"/>
                </a:cubicBezTo>
                <a:cubicBezTo>
                  <a:pt x="1327307" y="750395"/>
                  <a:pt x="1325005" y="744587"/>
                  <a:pt x="1323252" y="738600"/>
                </a:cubicBezTo>
                <a:cubicBezTo>
                  <a:pt x="1320128" y="726222"/>
                  <a:pt x="1316195" y="714190"/>
                  <a:pt x="1304510" y="715810"/>
                </a:cubicBezTo>
                <a:cubicBezTo>
                  <a:pt x="1302960" y="716047"/>
                  <a:pt x="1301393" y="716163"/>
                  <a:pt x="1299825" y="716157"/>
                </a:cubicBezTo>
                <a:cubicBezTo>
                  <a:pt x="1290512" y="715850"/>
                  <a:pt x="1281431" y="713160"/>
                  <a:pt x="1273448" y="708348"/>
                </a:cubicBezTo>
                <a:cubicBezTo>
                  <a:pt x="1268878" y="705340"/>
                  <a:pt x="1268936" y="669187"/>
                  <a:pt x="1271713" y="655710"/>
                </a:cubicBezTo>
                <a:cubicBezTo>
                  <a:pt x="1274200" y="647068"/>
                  <a:pt x="1277717" y="638755"/>
                  <a:pt x="1282183" y="630952"/>
                </a:cubicBezTo>
                <a:cubicBezTo>
                  <a:pt x="1286116" y="624676"/>
                  <a:pt x="1288933" y="617769"/>
                  <a:pt x="1290512" y="610533"/>
                </a:cubicBezTo>
                <a:cubicBezTo>
                  <a:pt x="1290512" y="598964"/>
                  <a:pt x="1305725" y="595031"/>
                  <a:pt x="1310700" y="593701"/>
                </a:cubicBezTo>
                <a:cubicBezTo>
                  <a:pt x="1314460" y="592659"/>
                  <a:pt x="1314865" y="588321"/>
                  <a:pt x="1315327" y="583693"/>
                </a:cubicBezTo>
                <a:cubicBezTo>
                  <a:pt x="1315790" y="579066"/>
                  <a:pt x="1316311" y="573166"/>
                  <a:pt x="1321748" y="572472"/>
                </a:cubicBezTo>
                <a:cubicBezTo>
                  <a:pt x="1329788" y="571373"/>
                  <a:pt x="1330482" y="568596"/>
                  <a:pt x="1332160" y="561886"/>
                </a:cubicBezTo>
                <a:lnTo>
                  <a:pt x="1332160" y="561192"/>
                </a:lnTo>
                <a:cubicBezTo>
                  <a:pt x="1333022" y="557947"/>
                  <a:pt x="1335868" y="555616"/>
                  <a:pt x="1339217" y="555408"/>
                </a:cubicBezTo>
                <a:lnTo>
                  <a:pt x="1340490" y="555408"/>
                </a:lnTo>
                <a:cubicBezTo>
                  <a:pt x="1340085" y="554841"/>
                  <a:pt x="1339616" y="554314"/>
                  <a:pt x="1339101" y="553846"/>
                </a:cubicBezTo>
                <a:cubicBezTo>
                  <a:pt x="1337539" y="552226"/>
                  <a:pt x="1335515" y="549912"/>
                  <a:pt x="1336440" y="547656"/>
                </a:cubicBezTo>
                <a:cubicBezTo>
                  <a:pt x="1337366" y="545401"/>
                  <a:pt x="1342225" y="544012"/>
                  <a:pt x="1352637" y="544012"/>
                </a:cubicBezTo>
                <a:cubicBezTo>
                  <a:pt x="1363049" y="544012"/>
                  <a:pt x="1376122" y="541236"/>
                  <a:pt x="1381154" y="535046"/>
                </a:cubicBezTo>
                <a:cubicBezTo>
                  <a:pt x="1383057" y="532675"/>
                  <a:pt x="1383746" y="529551"/>
                  <a:pt x="1383005" y="526601"/>
                </a:cubicBezTo>
                <a:cubicBezTo>
                  <a:pt x="1381617" y="520180"/>
                  <a:pt x="1371436" y="519544"/>
                  <a:pt x="1362008" y="518966"/>
                </a:cubicBezTo>
                <a:cubicBezTo>
                  <a:pt x="1352579" y="518387"/>
                  <a:pt x="1343613" y="517809"/>
                  <a:pt x="1343613" y="511215"/>
                </a:cubicBezTo>
                <a:cubicBezTo>
                  <a:pt x="1343613" y="505719"/>
                  <a:pt x="1328863" y="502596"/>
                  <a:pt x="1318104" y="500340"/>
                </a:cubicBezTo>
                <a:cubicBezTo>
                  <a:pt x="1307345" y="498084"/>
                  <a:pt x="1302081" y="496811"/>
                  <a:pt x="1300751" y="494208"/>
                </a:cubicBezTo>
                <a:cubicBezTo>
                  <a:pt x="1300398" y="493497"/>
                  <a:pt x="1300398" y="492664"/>
                  <a:pt x="1300751" y="491952"/>
                </a:cubicBezTo>
                <a:cubicBezTo>
                  <a:pt x="1301560" y="490159"/>
                  <a:pt x="1303990" y="489291"/>
                  <a:pt x="1308444" y="489291"/>
                </a:cubicBezTo>
                <a:cubicBezTo>
                  <a:pt x="1322500" y="489291"/>
                  <a:pt x="1352463" y="497910"/>
                  <a:pt x="1363916" y="502306"/>
                </a:cubicBezTo>
                <a:cubicBezTo>
                  <a:pt x="1371020" y="505563"/>
                  <a:pt x="1378719" y="507316"/>
                  <a:pt x="1386534" y="507455"/>
                </a:cubicBezTo>
                <a:cubicBezTo>
                  <a:pt x="1388790" y="507455"/>
                  <a:pt x="1391277" y="507455"/>
                  <a:pt x="1394169" y="507165"/>
                </a:cubicBezTo>
                <a:lnTo>
                  <a:pt x="1396194" y="507165"/>
                </a:lnTo>
                <a:cubicBezTo>
                  <a:pt x="1397970" y="507217"/>
                  <a:pt x="1399693" y="506529"/>
                  <a:pt x="1400937" y="505257"/>
                </a:cubicBezTo>
                <a:cubicBezTo>
                  <a:pt x="1402961" y="502885"/>
                  <a:pt x="1402383" y="498257"/>
                  <a:pt x="1401805" y="493688"/>
                </a:cubicBezTo>
                <a:cubicBezTo>
                  <a:pt x="1401134" y="490541"/>
                  <a:pt x="1401134" y="487290"/>
                  <a:pt x="1401805" y="484143"/>
                </a:cubicBezTo>
                <a:cubicBezTo>
                  <a:pt x="1402447" y="482576"/>
                  <a:pt x="1404055" y="481627"/>
                  <a:pt x="1405738" y="481830"/>
                </a:cubicBezTo>
                <a:cubicBezTo>
                  <a:pt x="1410088" y="482391"/>
                  <a:pt x="1414334" y="483582"/>
                  <a:pt x="1418348" y="485358"/>
                </a:cubicBezTo>
                <a:cubicBezTo>
                  <a:pt x="1424908" y="488187"/>
                  <a:pt x="1431884" y="489939"/>
                  <a:pt x="1438998" y="490564"/>
                </a:cubicBezTo>
                <a:cubicBezTo>
                  <a:pt x="1440398" y="490570"/>
                  <a:pt x="1441798" y="490419"/>
                  <a:pt x="1443163" y="490101"/>
                </a:cubicBezTo>
                <a:cubicBezTo>
                  <a:pt x="1450914" y="488077"/>
                  <a:pt x="1458665" y="477723"/>
                  <a:pt x="1466301" y="467716"/>
                </a:cubicBezTo>
                <a:cubicBezTo>
                  <a:pt x="1470587" y="461220"/>
                  <a:pt x="1475787" y="455372"/>
                  <a:pt x="1481745" y="450362"/>
                </a:cubicBezTo>
                <a:cubicBezTo>
                  <a:pt x="1484985" y="448106"/>
                  <a:pt x="1486431" y="445966"/>
                  <a:pt x="1485910" y="444231"/>
                </a:cubicBezTo>
                <a:cubicBezTo>
                  <a:pt x="1485042" y="441512"/>
                  <a:pt x="1479142" y="438794"/>
                  <a:pt x="1467863" y="438794"/>
                </a:cubicBezTo>
                <a:cubicBezTo>
                  <a:pt x="1465659" y="438776"/>
                  <a:pt x="1463461" y="438874"/>
                  <a:pt x="1461268" y="439083"/>
                </a:cubicBezTo>
                <a:cubicBezTo>
                  <a:pt x="1459186" y="439083"/>
                  <a:pt x="1457162" y="439083"/>
                  <a:pt x="1455195" y="439083"/>
                </a:cubicBezTo>
                <a:cubicBezTo>
                  <a:pt x="1436395" y="439083"/>
                  <a:pt x="1424653" y="431389"/>
                  <a:pt x="1413258" y="422886"/>
                </a:cubicBezTo>
                <a:cubicBezTo>
                  <a:pt x="1406490" y="417796"/>
                  <a:pt x="1403424" y="413053"/>
                  <a:pt x="1404581" y="409524"/>
                </a:cubicBezTo>
                <a:cubicBezTo>
                  <a:pt x="1405102" y="408020"/>
                  <a:pt x="1406837" y="405533"/>
                  <a:pt x="1413142" y="405533"/>
                </a:cubicBezTo>
                <a:lnTo>
                  <a:pt x="1415861" y="405533"/>
                </a:lnTo>
                <a:cubicBezTo>
                  <a:pt x="1422513" y="406112"/>
                  <a:pt x="1433503" y="412821"/>
                  <a:pt x="1444147" y="419300"/>
                </a:cubicBezTo>
                <a:cubicBezTo>
                  <a:pt x="1454790" y="425779"/>
                  <a:pt x="1464855" y="431852"/>
                  <a:pt x="1470292" y="432141"/>
                </a:cubicBezTo>
                <a:lnTo>
                  <a:pt x="1470755" y="432141"/>
                </a:lnTo>
                <a:cubicBezTo>
                  <a:pt x="1478564" y="432141"/>
                  <a:pt x="1490769" y="420862"/>
                  <a:pt x="1500545" y="411722"/>
                </a:cubicBezTo>
                <a:cubicBezTo>
                  <a:pt x="1504536" y="408020"/>
                  <a:pt x="1508007" y="404781"/>
                  <a:pt x="1510783" y="402699"/>
                </a:cubicBezTo>
                <a:cubicBezTo>
                  <a:pt x="1511882" y="401889"/>
                  <a:pt x="1513155" y="400674"/>
                  <a:pt x="1513039" y="399575"/>
                </a:cubicBezTo>
                <a:cubicBezTo>
                  <a:pt x="1513039" y="397493"/>
                  <a:pt x="1508065" y="395410"/>
                  <a:pt x="1503900" y="393501"/>
                </a:cubicBezTo>
                <a:cubicBezTo>
                  <a:pt x="1500753" y="392281"/>
                  <a:pt x="1497762" y="390684"/>
                  <a:pt x="1494992" y="388758"/>
                </a:cubicBezTo>
                <a:cubicBezTo>
                  <a:pt x="1492967" y="387081"/>
                  <a:pt x="1492967" y="385519"/>
                  <a:pt x="1493314" y="384536"/>
                </a:cubicBezTo>
                <a:cubicBezTo>
                  <a:pt x="1495050" y="379734"/>
                  <a:pt x="1509800" y="377652"/>
                  <a:pt x="1516915" y="377652"/>
                </a:cubicBezTo>
                <a:cubicBezTo>
                  <a:pt x="1523810" y="378178"/>
                  <a:pt x="1529982" y="382135"/>
                  <a:pt x="1533342" y="388180"/>
                </a:cubicBezTo>
                <a:cubicBezTo>
                  <a:pt x="1534037" y="389105"/>
                  <a:pt x="1534673" y="389973"/>
                  <a:pt x="1535367" y="390725"/>
                </a:cubicBezTo>
                <a:cubicBezTo>
                  <a:pt x="1536321" y="391512"/>
                  <a:pt x="1537553" y="391870"/>
                  <a:pt x="1538780" y="391708"/>
                </a:cubicBezTo>
                <a:cubicBezTo>
                  <a:pt x="1542893" y="391407"/>
                  <a:pt x="1546965" y="390667"/>
                  <a:pt x="1550927" y="389510"/>
                </a:cubicBezTo>
                <a:cubicBezTo>
                  <a:pt x="1555051" y="388388"/>
                  <a:pt x="1559274" y="387671"/>
                  <a:pt x="1563537" y="387370"/>
                </a:cubicBezTo>
                <a:cubicBezTo>
                  <a:pt x="1565388" y="387370"/>
                  <a:pt x="1565504" y="386618"/>
                  <a:pt x="1565562" y="386387"/>
                </a:cubicBezTo>
                <a:cubicBezTo>
                  <a:pt x="1566140" y="383436"/>
                  <a:pt x="1558910" y="374413"/>
                  <a:pt x="1548208" y="370132"/>
                </a:cubicBezTo>
                <a:cubicBezTo>
                  <a:pt x="1541498" y="367529"/>
                  <a:pt x="1541441" y="363885"/>
                  <a:pt x="1541672" y="362439"/>
                </a:cubicBezTo>
                <a:cubicBezTo>
                  <a:pt x="1542563" y="359425"/>
                  <a:pt x="1545357" y="357389"/>
                  <a:pt x="1548498" y="357464"/>
                </a:cubicBezTo>
                <a:cubicBezTo>
                  <a:pt x="1551008" y="357534"/>
                  <a:pt x="1553258" y="359043"/>
                  <a:pt x="1554282" y="361340"/>
                </a:cubicBezTo>
                <a:cubicBezTo>
                  <a:pt x="1556139" y="364568"/>
                  <a:pt x="1559066" y="367043"/>
                  <a:pt x="1562554" y="368339"/>
                </a:cubicBezTo>
                <a:cubicBezTo>
                  <a:pt x="1567031" y="370138"/>
                  <a:pt x="1570750" y="373429"/>
                  <a:pt x="1573081" y="377652"/>
                </a:cubicBezTo>
                <a:cubicBezTo>
                  <a:pt x="1576089" y="383784"/>
                  <a:pt x="1578288" y="384593"/>
                  <a:pt x="1579849" y="384593"/>
                </a:cubicBezTo>
                <a:cubicBezTo>
                  <a:pt x="1582308" y="384212"/>
                  <a:pt x="1584645" y="383257"/>
                  <a:pt x="1586675" y="381817"/>
                </a:cubicBezTo>
                <a:cubicBezTo>
                  <a:pt x="1589417" y="380186"/>
                  <a:pt x="1592303" y="378815"/>
                  <a:pt x="1595294" y="377710"/>
                </a:cubicBezTo>
                <a:cubicBezTo>
                  <a:pt x="1604422" y="374239"/>
                  <a:pt x="1612421" y="368339"/>
                  <a:pt x="1618431" y="360646"/>
                </a:cubicBezTo>
                <a:lnTo>
                  <a:pt x="1619704" y="359258"/>
                </a:lnTo>
                <a:cubicBezTo>
                  <a:pt x="1621462" y="356886"/>
                  <a:pt x="1624216" y="355457"/>
                  <a:pt x="1627166" y="355382"/>
                </a:cubicBezTo>
                <a:cubicBezTo>
                  <a:pt x="1629248" y="355382"/>
                  <a:pt x="1631273" y="355035"/>
                  <a:pt x="1635380" y="349077"/>
                </a:cubicBezTo>
                <a:cubicBezTo>
                  <a:pt x="1641164" y="340805"/>
                  <a:pt x="1636884" y="331724"/>
                  <a:pt x="1622307" y="320907"/>
                </a:cubicBezTo>
                <a:cubicBezTo>
                  <a:pt x="1618512" y="318367"/>
                  <a:pt x="1616563" y="313838"/>
                  <a:pt x="1617332" y="309338"/>
                </a:cubicBezTo>
                <a:cubicBezTo>
                  <a:pt x="1617332" y="306099"/>
                  <a:pt x="1617332" y="303554"/>
                  <a:pt x="1613399" y="301645"/>
                </a:cubicBezTo>
                <a:cubicBezTo>
                  <a:pt x="1607615" y="298810"/>
                  <a:pt x="1604202" y="294298"/>
                  <a:pt x="1605012" y="290944"/>
                </a:cubicBezTo>
                <a:cubicBezTo>
                  <a:pt x="1605012" y="289671"/>
                  <a:pt x="1606458" y="287588"/>
                  <a:pt x="1610796" y="287588"/>
                </a:cubicBezTo>
                <a:cubicBezTo>
                  <a:pt x="1612097" y="287594"/>
                  <a:pt x="1613399" y="287727"/>
                  <a:pt x="1614671" y="287993"/>
                </a:cubicBezTo>
                <a:cubicBezTo>
                  <a:pt x="1624442" y="290897"/>
                  <a:pt x="1634969" y="287184"/>
                  <a:pt x="1640759" y="278796"/>
                </a:cubicBezTo>
                <a:cubicBezTo>
                  <a:pt x="1641280" y="278125"/>
                  <a:pt x="1641488" y="277263"/>
                  <a:pt x="1641338" y="276425"/>
                </a:cubicBezTo>
                <a:cubicBezTo>
                  <a:pt x="1640875" y="274516"/>
                  <a:pt x="1638098" y="272896"/>
                  <a:pt x="1635553" y="271450"/>
                </a:cubicBezTo>
                <a:cubicBezTo>
                  <a:pt x="1633008" y="270004"/>
                  <a:pt x="1630232" y="268326"/>
                  <a:pt x="1630290" y="266128"/>
                </a:cubicBezTo>
                <a:cubicBezTo>
                  <a:pt x="1630347" y="263930"/>
                  <a:pt x="1632256" y="262889"/>
                  <a:pt x="1633760" y="262079"/>
                </a:cubicBezTo>
                <a:cubicBezTo>
                  <a:pt x="1636942" y="260344"/>
                  <a:pt x="1638445" y="258493"/>
                  <a:pt x="1638040" y="256989"/>
                </a:cubicBezTo>
                <a:cubicBezTo>
                  <a:pt x="1637636" y="255485"/>
                  <a:pt x="1632256" y="252072"/>
                  <a:pt x="1625257" y="252072"/>
                </a:cubicBezTo>
                <a:cubicBezTo>
                  <a:pt x="1613052" y="252072"/>
                  <a:pt x="1604144" y="245709"/>
                  <a:pt x="1603508" y="236512"/>
                </a:cubicBezTo>
                <a:cubicBezTo>
                  <a:pt x="1603218" y="232521"/>
                  <a:pt x="1598359" y="232116"/>
                  <a:pt x="1590493" y="231827"/>
                </a:cubicBezTo>
                <a:cubicBezTo>
                  <a:pt x="1584575" y="232029"/>
                  <a:pt x="1578675" y="231046"/>
                  <a:pt x="1573139" y="228934"/>
                </a:cubicBezTo>
                <a:cubicBezTo>
                  <a:pt x="1563838" y="225788"/>
                  <a:pt x="1554028" y="224417"/>
                  <a:pt x="1544217" y="224885"/>
                </a:cubicBezTo>
                <a:cubicBezTo>
                  <a:pt x="1537797" y="224885"/>
                  <a:pt x="1532648" y="225232"/>
                  <a:pt x="1530624" y="225406"/>
                </a:cubicBezTo>
                <a:cubicBezTo>
                  <a:pt x="1528599" y="225579"/>
                  <a:pt x="1527037" y="230207"/>
                  <a:pt x="1527153" y="236686"/>
                </a:cubicBezTo>
                <a:cubicBezTo>
                  <a:pt x="1527269" y="243164"/>
                  <a:pt x="1529062" y="248949"/>
                  <a:pt x="1532937" y="249238"/>
                </a:cubicBezTo>
                <a:cubicBezTo>
                  <a:pt x="1538780" y="249411"/>
                  <a:pt x="1543899" y="253194"/>
                  <a:pt x="1545779" y="258724"/>
                </a:cubicBezTo>
                <a:cubicBezTo>
                  <a:pt x="1545900" y="261350"/>
                  <a:pt x="1544234" y="263722"/>
                  <a:pt x="1541730" y="264509"/>
                </a:cubicBezTo>
                <a:cubicBezTo>
                  <a:pt x="1538606" y="265723"/>
                  <a:pt x="1538780" y="267979"/>
                  <a:pt x="1539474" y="271334"/>
                </a:cubicBezTo>
                <a:cubicBezTo>
                  <a:pt x="1539879" y="273127"/>
                  <a:pt x="1540168" y="274689"/>
                  <a:pt x="1539474" y="275788"/>
                </a:cubicBezTo>
                <a:cubicBezTo>
                  <a:pt x="1538751" y="276598"/>
                  <a:pt x="1537634" y="276934"/>
                  <a:pt x="1536582" y="276656"/>
                </a:cubicBezTo>
                <a:lnTo>
                  <a:pt x="1534615" y="276656"/>
                </a:lnTo>
                <a:cubicBezTo>
                  <a:pt x="1533140" y="276454"/>
                  <a:pt x="1531653" y="276338"/>
                  <a:pt x="1530161" y="276309"/>
                </a:cubicBezTo>
                <a:cubicBezTo>
                  <a:pt x="1525938" y="276309"/>
                  <a:pt x="1521427" y="277697"/>
                  <a:pt x="1520212" y="287878"/>
                </a:cubicBezTo>
                <a:cubicBezTo>
                  <a:pt x="1518419" y="303554"/>
                  <a:pt x="1517262" y="310206"/>
                  <a:pt x="1506271" y="315990"/>
                </a:cubicBezTo>
                <a:cubicBezTo>
                  <a:pt x="1505305" y="316563"/>
                  <a:pt x="1504212" y="316904"/>
                  <a:pt x="1503090" y="316973"/>
                </a:cubicBezTo>
                <a:cubicBezTo>
                  <a:pt x="1499272" y="316973"/>
                  <a:pt x="1498809" y="312404"/>
                  <a:pt x="1498347" y="308065"/>
                </a:cubicBezTo>
                <a:cubicBezTo>
                  <a:pt x="1497768" y="302686"/>
                  <a:pt x="1497132" y="299157"/>
                  <a:pt x="1494008" y="299157"/>
                </a:cubicBezTo>
                <a:lnTo>
                  <a:pt x="1493719" y="299157"/>
                </a:lnTo>
                <a:cubicBezTo>
                  <a:pt x="1489323" y="299447"/>
                  <a:pt x="1486951" y="304190"/>
                  <a:pt x="1486546" y="308817"/>
                </a:cubicBezTo>
                <a:cubicBezTo>
                  <a:pt x="1486141" y="313445"/>
                  <a:pt x="1487356" y="317378"/>
                  <a:pt x="1490306" y="318130"/>
                </a:cubicBezTo>
                <a:cubicBezTo>
                  <a:pt x="1498289" y="320155"/>
                  <a:pt x="1499619" y="326807"/>
                  <a:pt x="1501412" y="336004"/>
                </a:cubicBezTo>
                <a:cubicBezTo>
                  <a:pt x="1501846" y="337427"/>
                  <a:pt x="1501638" y="338972"/>
                  <a:pt x="1500834" y="340227"/>
                </a:cubicBezTo>
                <a:cubicBezTo>
                  <a:pt x="1499561" y="342193"/>
                  <a:pt x="1496958" y="342656"/>
                  <a:pt x="1493893" y="343293"/>
                </a:cubicBezTo>
                <a:cubicBezTo>
                  <a:pt x="1489028" y="343489"/>
                  <a:pt x="1484562" y="346034"/>
                  <a:pt x="1481919" y="350118"/>
                </a:cubicBezTo>
                <a:cubicBezTo>
                  <a:pt x="1480241" y="353068"/>
                  <a:pt x="1478853" y="354399"/>
                  <a:pt x="1477291" y="354399"/>
                </a:cubicBezTo>
                <a:cubicBezTo>
                  <a:pt x="1475730" y="354399"/>
                  <a:pt x="1473763" y="351796"/>
                  <a:pt x="1471912" y="348267"/>
                </a:cubicBezTo>
                <a:cubicBezTo>
                  <a:pt x="1470304" y="344519"/>
                  <a:pt x="1467990" y="341123"/>
                  <a:pt x="1465086" y="338260"/>
                </a:cubicBezTo>
                <a:cubicBezTo>
                  <a:pt x="1456120" y="330567"/>
                  <a:pt x="1445882" y="318246"/>
                  <a:pt x="1446518" y="308875"/>
                </a:cubicBezTo>
                <a:cubicBezTo>
                  <a:pt x="1446478" y="301882"/>
                  <a:pt x="1451915" y="296086"/>
                  <a:pt x="1458897" y="295687"/>
                </a:cubicBezTo>
                <a:cubicBezTo>
                  <a:pt x="1459938" y="295687"/>
                  <a:pt x="1460516" y="295224"/>
                  <a:pt x="1460748" y="294819"/>
                </a:cubicBezTo>
                <a:cubicBezTo>
                  <a:pt x="1460979" y="294414"/>
                  <a:pt x="1460748" y="291985"/>
                  <a:pt x="1459822" y="289671"/>
                </a:cubicBezTo>
                <a:cubicBezTo>
                  <a:pt x="1458480" y="286142"/>
                  <a:pt x="1457665" y="282440"/>
                  <a:pt x="1457393" y="278680"/>
                </a:cubicBezTo>
                <a:cubicBezTo>
                  <a:pt x="1457104" y="272896"/>
                  <a:pt x="1454906" y="271913"/>
                  <a:pt x="1450914" y="269715"/>
                </a:cubicBezTo>
                <a:cubicBezTo>
                  <a:pt x="1446484" y="267470"/>
                  <a:pt x="1442550" y="264364"/>
                  <a:pt x="1439345" y="260575"/>
                </a:cubicBezTo>
                <a:cubicBezTo>
                  <a:pt x="1435644" y="255358"/>
                  <a:pt x="1429859" y="252003"/>
                  <a:pt x="1423496" y="251378"/>
                </a:cubicBezTo>
                <a:cubicBezTo>
                  <a:pt x="1420529" y="251361"/>
                  <a:pt x="1417677" y="252529"/>
                  <a:pt x="1415572" y="254617"/>
                </a:cubicBezTo>
                <a:cubicBezTo>
                  <a:pt x="1413674" y="256948"/>
                  <a:pt x="1412506" y="259783"/>
                  <a:pt x="1412216" y="262773"/>
                </a:cubicBezTo>
                <a:cubicBezTo>
                  <a:pt x="1412084" y="267673"/>
                  <a:pt x="1409290" y="272104"/>
                  <a:pt x="1404928" y="274342"/>
                </a:cubicBezTo>
                <a:cubicBezTo>
                  <a:pt x="1401110" y="275962"/>
                  <a:pt x="1400069" y="280936"/>
                  <a:pt x="1399144" y="285911"/>
                </a:cubicBezTo>
                <a:cubicBezTo>
                  <a:pt x="1398218" y="290886"/>
                  <a:pt x="1397003" y="295687"/>
                  <a:pt x="1392665" y="296381"/>
                </a:cubicBezTo>
                <a:lnTo>
                  <a:pt x="1392087" y="296381"/>
                </a:lnTo>
                <a:cubicBezTo>
                  <a:pt x="1387575" y="296381"/>
                  <a:pt x="1386939" y="288398"/>
                  <a:pt x="1386302" y="279028"/>
                </a:cubicBezTo>
                <a:cubicBezTo>
                  <a:pt x="1385840" y="272607"/>
                  <a:pt x="1385261" y="264567"/>
                  <a:pt x="1382947" y="263410"/>
                </a:cubicBezTo>
                <a:cubicBezTo>
                  <a:pt x="1380003" y="262206"/>
                  <a:pt x="1378175" y="259233"/>
                  <a:pt x="1378435" y="256063"/>
                </a:cubicBezTo>
                <a:cubicBezTo>
                  <a:pt x="1379014" y="252766"/>
                  <a:pt x="1382195" y="250279"/>
                  <a:pt x="1386939" y="249816"/>
                </a:cubicBezTo>
                <a:cubicBezTo>
                  <a:pt x="1392723" y="249006"/>
                  <a:pt x="1396541" y="244610"/>
                  <a:pt x="1396425" y="242470"/>
                </a:cubicBezTo>
                <a:cubicBezTo>
                  <a:pt x="1396425" y="241371"/>
                  <a:pt x="1394921" y="241139"/>
                  <a:pt x="1393764" y="241139"/>
                </a:cubicBezTo>
                <a:cubicBezTo>
                  <a:pt x="1385793" y="239821"/>
                  <a:pt x="1378152" y="236969"/>
                  <a:pt x="1371263" y="232752"/>
                </a:cubicBezTo>
                <a:lnTo>
                  <a:pt x="1366057" y="230149"/>
                </a:lnTo>
                <a:cubicBezTo>
                  <a:pt x="1364148" y="229339"/>
                  <a:pt x="1361082" y="231190"/>
                  <a:pt x="1358132" y="232983"/>
                </a:cubicBezTo>
                <a:cubicBezTo>
                  <a:pt x="1355518" y="235037"/>
                  <a:pt x="1352400" y="236356"/>
                  <a:pt x="1349108" y="236801"/>
                </a:cubicBezTo>
                <a:cubicBezTo>
                  <a:pt x="1347691" y="236830"/>
                  <a:pt x="1346309" y="236333"/>
                  <a:pt x="1345233" y="235413"/>
                </a:cubicBezTo>
                <a:cubicBezTo>
                  <a:pt x="1340374" y="231537"/>
                  <a:pt x="1342514" y="224133"/>
                  <a:pt x="1344365" y="217597"/>
                </a:cubicBezTo>
                <a:cubicBezTo>
                  <a:pt x="1345106" y="215376"/>
                  <a:pt x="1345649" y="213091"/>
                  <a:pt x="1345985" y="210771"/>
                </a:cubicBezTo>
                <a:cubicBezTo>
                  <a:pt x="1345887" y="208920"/>
                  <a:pt x="1347304" y="207341"/>
                  <a:pt x="1349155" y="207237"/>
                </a:cubicBezTo>
                <a:cubicBezTo>
                  <a:pt x="1349294" y="207231"/>
                  <a:pt x="1349432" y="207231"/>
                  <a:pt x="1349571" y="207243"/>
                </a:cubicBezTo>
                <a:cubicBezTo>
                  <a:pt x="1350508" y="207272"/>
                  <a:pt x="1351440" y="207411"/>
                  <a:pt x="1352348" y="207648"/>
                </a:cubicBezTo>
                <a:cubicBezTo>
                  <a:pt x="1353534" y="207873"/>
                  <a:pt x="1354731" y="208006"/>
                  <a:pt x="1355934" y="208053"/>
                </a:cubicBezTo>
                <a:cubicBezTo>
                  <a:pt x="1358288" y="208024"/>
                  <a:pt x="1360463" y="206803"/>
                  <a:pt x="1361719" y="204813"/>
                </a:cubicBezTo>
                <a:cubicBezTo>
                  <a:pt x="1362314" y="204154"/>
                  <a:pt x="1362592" y="203263"/>
                  <a:pt x="1362470" y="202384"/>
                </a:cubicBezTo>
                <a:cubicBezTo>
                  <a:pt x="1361950" y="200591"/>
                  <a:pt x="1358537" y="199087"/>
                  <a:pt x="1355240" y="197641"/>
                </a:cubicBezTo>
                <a:cubicBezTo>
                  <a:pt x="1350207" y="195443"/>
                  <a:pt x="1344539" y="192955"/>
                  <a:pt x="1344539" y="187865"/>
                </a:cubicBezTo>
                <a:cubicBezTo>
                  <a:pt x="1344539" y="182775"/>
                  <a:pt x="1334879" y="179015"/>
                  <a:pt x="1327764" y="176817"/>
                </a:cubicBezTo>
                <a:cubicBezTo>
                  <a:pt x="1325439" y="176157"/>
                  <a:pt x="1323159" y="175347"/>
                  <a:pt x="1320938" y="174387"/>
                </a:cubicBezTo>
                <a:cubicBezTo>
                  <a:pt x="1316773" y="172305"/>
                  <a:pt x="1318567" y="166405"/>
                  <a:pt x="1320244" y="160678"/>
                </a:cubicBezTo>
                <a:cubicBezTo>
                  <a:pt x="1321829" y="157225"/>
                  <a:pt x="1322309" y="153367"/>
                  <a:pt x="1321632" y="149630"/>
                </a:cubicBezTo>
                <a:cubicBezTo>
                  <a:pt x="1318740" y="143845"/>
                  <a:pt x="1296817" y="124410"/>
                  <a:pt x="1287736" y="125972"/>
                </a:cubicBezTo>
                <a:cubicBezTo>
                  <a:pt x="1283976" y="126810"/>
                  <a:pt x="1280117" y="125034"/>
                  <a:pt x="1278307" y="121633"/>
                </a:cubicBezTo>
                <a:cubicBezTo>
                  <a:pt x="1277324" y="119418"/>
                  <a:pt x="1277260" y="116896"/>
                  <a:pt x="1278133" y="114634"/>
                </a:cubicBezTo>
                <a:cubicBezTo>
                  <a:pt x="1278810" y="113414"/>
                  <a:pt x="1280158" y="112725"/>
                  <a:pt x="1281546" y="112899"/>
                </a:cubicBezTo>
                <a:lnTo>
                  <a:pt x="1282587" y="112899"/>
                </a:lnTo>
                <a:cubicBezTo>
                  <a:pt x="1287157" y="112899"/>
                  <a:pt x="1291611" y="108734"/>
                  <a:pt x="1300577" y="98727"/>
                </a:cubicBezTo>
                <a:cubicBezTo>
                  <a:pt x="1305378" y="93347"/>
                  <a:pt x="1309774" y="88026"/>
                  <a:pt x="1309080" y="85538"/>
                </a:cubicBezTo>
                <a:cubicBezTo>
                  <a:pt x="1309080" y="84555"/>
                  <a:pt x="1307634" y="83745"/>
                  <a:pt x="1305320" y="82935"/>
                </a:cubicBezTo>
                <a:cubicBezTo>
                  <a:pt x="1300693" y="81374"/>
                  <a:pt x="1297511" y="78134"/>
                  <a:pt x="1297974" y="75416"/>
                </a:cubicBezTo>
                <a:cubicBezTo>
                  <a:pt x="1298437" y="72697"/>
                  <a:pt x="1300172" y="71367"/>
                  <a:pt x="1307518" y="71656"/>
                </a:cubicBezTo>
                <a:cubicBezTo>
                  <a:pt x="1312956" y="72142"/>
                  <a:pt x="1318353" y="73032"/>
                  <a:pt x="1323657" y="74317"/>
                </a:cubicBezTo>
                <a:cubicBezTo>
                  <a:pt x="1329788" y="75815"/>
                  <a:pt x="1336041" y="76746"/>
                  <a:pt x="1342341" y="77093"/>
                </a:cubicBezTo>
                <a:cubicBezTo>
                  <a:pt x="1344741" y="77278"/>
                  <a:pt x="1347136" y="76734"/>
                  <a:pt x="1349224" y="75531"/>
                </a:cubicBezTo>
                <a:cubicBezTo>
                  <a:pt x="1354430" y="71598"/>
                  <a:pt x="1368602" y="50774"/>
                  <a:pt x="1378898" y="35619"/>
                </a:cubicBezTo>
                <a:cubicBezTo>
                  <a:pt x="1382716" y="29834"/>
                  <a:pt x="1385955" y="25207"/>
                  <a:pt x="1388385" y="21852"/>
                </a:cubicBezTo>
                <a:cubicBezTo>
                  <a:pt x="1390814" y="18497"/>
                  <a:pt x="1391277" y="16414"/>
                  <a:pt x="1390409" y="14795"/>
                </a:cubicBezTo>
                <a:cubicBezTo>
                  <a:pt x="1389079" y="12192"/>
                  <a:pt x="1383757" y="10861"/>
                  <a:pt x="1374502" y="10861"/>
                </a:cubicBezTo>
                <a:cubicBezTo>
                  <a:pt x="1370742" y="10861"/>
                  <a:pt x="1366288" y="10861"/>
                  <a:pt x="1360909" y="11555"/>
                </a:cubicBezTo>
                <a:lnTo>
                  <a:pt x="1355818" y="11555"/>
                </a:lnTo>
                <a:cubicBezTo>
                  <a:pt x="1348293" y="11475"/>
                  <a:pt x="1340877" y="9780"/>
                  <a:pt x="1334069" y="6581"/>
                </a:cubicBezTo>
                <a:cubicBezTo>
                  <a:pt x="1328365" y="3851"/>
                  <a:pt x="1322211" y="2185"/>
                  <a:pt x="1315906" y="1664"/>
                </a:cubicBezTo>
                <a:cubicBezTo>
                  <a:pt x="1314055" y="1664"/>
                  <a:pt x="1311972" y="1664"/>
                  <a:pt x="1309774" y="1664"/>
                </a:cubicBezTo>
                <a:cubicBezTo>
                  <a:pt x="1289760" y="1664"/>
                  <a:pt x="1263499" y="6292"/>
                  <a:pt x="1259855" y="10572"/>
                </a:cubicBezTo>
                <a:cubicBezTo>
                  <a:pt x="1258177" y="12423"/>
                  <a:pt x="1259450" y="14101"/>
                  <a:pt x="1262863" y="17456"/>
                </a:cubicBezTo>
                <a:cubicBezTo>
                  <a:pt x="1266275" y="20811"/>
                  <a:pt x="1268647" y="23240"/>
                  <a:pt x="1267375" y="26479"/>
                </a:cubicBezTo>
                <a:cubicBezTo>
                  <a:pt x="1267010" y="28174"/>
                  <a:pt x="1265460" y="29354"/>
                  <a:pt x="1263730" y="29256"/>
                </a:cubicBezTo>
                <a:cubicBezTo>
                  <a:pt x="1261405" y="28972"/>
                  <a:pt x="1259149" y="28267"/>
                  <a:pt x="1257078" y="27174"/>
                </a:cubicBezTo>
                <a:cubicBezTo>
                  <a:pt x="1254070" y="25843"/>
                  <a:pt x="1250773" y="24570"/>
                  <a:pt x="1249211" y="25380"/>
                </a:cubicBezTo>
                <a:cubicBezTo>
                  <a:pt x="1247650" y="26190"/>
                  <a:pt x="1247881" y="27868"/>
                  <a:pt x="1248691" y="32784"/>
                </a:cubicBezTo>
                <a:cubicBezTo>
                  <a:pt x="1250120" y="40408"/>
                  <a:pt x="1250513" y="48194"/>
                  <a:pt x="1249848" y="55922"/>
                </a:cubicBezTo>
                <a:cubicBezTo>
                  <a:pt x="1248401" y="72581"/>
                  <a:pt x="1251988" y="76457"/>
                  <a:pt x="1256442" y="81374"/>
                </a:cubicBezTo>
                <a:cubicBezTo>
                  <a:pt x="1257668" y="82640"/>
                  <a:pt x="1258831" y="83971"/>
                  <a:pt x="1259913" y="85365"/>
                </a:cubicBezTo>
                <a:cubicBezTo>
                  <a:pt x="1265350" y="92422"/>
                  <a:pt x="1265234" y="101041"/>
                  <a:pt x="1265061" y="111915"/>
                </a:cubicBezTo>
                <a:cubicBezTo>
                  <a:pt x="1265061" y="113766"/>
                  <a:pt x="1265061" y="115617"/>
                  <a:pt x="1265061" y="117700"/>
                </a:cubicBezTo>
                <a:cubicBezTo>
                  <a:pt x="1265061" y="128343"/>
                  <a:pt x="1257541" y="130773"/>
                  <a:pt x="1251988" y="132566"/>
                </a:cubicBezTo>
                <a:cubicBezTo>
                  <a:pt x="1250467" y="132965"/>
                  <a:pt x="1249009" y="133566"/>
                  <a:pt x="1247650" y="134359"/>
                </a:cubicBezTo>
                <a:lnTo>
                  <a:pt x="1247360" y="134648"/>
                </a:lnTo>
                <a:cubicBezTo>
                  <a:pt x="1247360" y="135227"/>
                  <a:pt x="1249096" y="136788"/>
                  <a:pt x="1250310" y="137830"/>
                </a:cubicBezTo>
                <a:cubicBezTo>
                  <a:pt x="1253550" y="140722"/>
                  <a:pt x="1258062" y="144713"/>
                  <a:pt x="1256557" y="150093"/>
                </a:cubicBezTo>
                <a:cubicBezTo>
                  <a:pt x="1256181" y="152302"/>
                  <a:pt x="1254226" y="153887"/>
                  <a:pt x="1251988" y="153795"/>
                </a:cubicBezTo>
                <a:cubicBezTo>
                  <a:pt x="1249142" y="153424"/>
                  <a:pt x="1246394" y="152522"/>
                  <a:pt x="1243890" y="151134"/>
                </a:cubicBezTo>
                <a:cubicBezTo>
                  <a:pt x="1240749" y="149161"/>
                  <a:pt x="1237070" y="148213"/>
                  <a:pt x="1233362" y="148415"/>
                </a:cubicBezTo>
                <a:cubicBezTo>
                  <a:pt x="1228891" y="151539"/>
                  <a:pt x="1226016" y="156467"/>
                  <a:pt x="1225495" y="161893"/>
                </a:cubicBezTo>
                <a:cubicBezTo>
                  <a:pt x="1223916" y="166827"/>
                  <a:pt x="1224986" y="172224"/>
                  <a:pt x="1228330" y="176180"/>
                </a:cubicBezTo>
                <a:cubicBezTo>
                  <a:pt x="1229706" y="177383"/>
                  <a:pt x="1231152" y="178506"/>
                  <a:pt x="1232668" y="179535"/>
                </a:cubicBezTo>
                <a:cubicBezTo>
                  <a:pt x="1234982" y="181213"/>
                  <a:pt x="1236486" y="182312"/>
                  <a:pt x="1236717" y="184105"/>
                </a:cubicBezTo>
                <a:cubicBezTo>
                  <a:pt x="1236948" y="185898"/>
                  <a:pt x="1235791" y="187865"/>
                  <a:pt x="1233362" y="191104"/>
                </a:cubicBezTo>
                <a:cubicBezTo>
                  <a:pt x="1226710" y="199665"/>
                  <a:pt x="1221793" y="209904"/>
                  <a:pt x="1234924" y="220373"/>
                </a:cubicBezTo>
                <a:cubicBezTo>
                  <a:pt x="1243965" y="226135"/>
                  <a:pt x="1254151" y="229866"/>
                  <a:pt x="1264771" y="231306"/>
                </a:cubicBezTo>
                <a:cubicBezTo>
                  <a:pt x="1273593" y="232665"/>
                  <a:pt x="1282119" y="235500"/>
                  <a:pt x="1289991" y="239693"/>
                </a:cubicBezTo>
                <a:cubicBezTo>
                  <a:pt x="1294156" y="242470"/>
                  <a:pt x="1295776" y="244032"/>
                  <a:pt x="1295776" y="245478"/>
                </a:cubicBezTo>
                <a:cubicBezTo>
                  <a:pt x="1295776" y="246924"/>
                  <a:pt x="1294099" y="247560"/>
                  <a:pt x="1292595" y="248139"/>
                </a:cubicBezTo>
                <a:cubicBezTo>
                  <a:pt x="1291091" y="248717"/>
                  <a:pt x="1289702" y="249353"/>
                  <a:pt x="1289297" y="250453"/>
                </a:cubicBezTo>
                <a:cubicBezTo>
                  <a:pt x="1289072" y="251638"/>
                  <a:pt x="1289321" y="252865"/>
                  <a:pt x="1289991" y="253865"/>
                </a:cubicBezTo>
                <a:cubicBezTo>
                  <a:pt x="1293520" y="260575"/>
                  <a:pt x="1289529" y="264798"/>
                  <a:pt x="1286000" y="268500"/>
                </a:cubicBezTo>
                <a:cubicBezTo>
                  <a:pt x="1283629" y="270987"/>
                  <a:pt x="1281431" y="273359"/>
                  <a:pt x="1281604" y="276135"/>
                </a:cubicBezTo>
                <a:cubicBezTo>
                  <a:pt x="1281778" y="278912"/>
                  <a:pt x="1282298" y="279028"/>
                  <a:pt x="1282703" y="279028"/>
                </a:cubicBezTo>
                <a:cubicBezTo>
                  <a:pt x="1283108" y="279028"/>
                  <a:pt x="1285942" y="278680"/>
                  <a:pt x="1292826" y="265955"/>
                </a:cubicBezTo>
                <a:cubicBezTo>
                  <a:pt x="1294851" y="262311"/>
                  <a:pt x="1296875" y="260517"/>
                  <a:pt x="1299073" y="260517"/>
                </a:cubicBezTo>
                <a:cubicBezTo>
                  <a:pt x="1300334" y="260581"/>
                  <a:pt x="1301508" y="261171"/>
                  <a:pt x="1302312" y="262137"/>
                </a:cubicBezTo>
                <a:cubicBezTo>
                  <a:pt x="1306055" y="267956"/>
                  <a:pt x="1307744" y="274857"/>
                  <a:pt x="1307114" y="281746"/>
                </a:cubicBezTo>
                <a:cubicBezTo>
                  <a:pt x="1306709" y="288630"/>
                  <a:pt x="1302949" y="289844"/>
                  <a:pt x="1298957" y="291175"/>
                </a:cubicBezTo>
                <a:cubicBezTo>
                  <a:pt x="1294544" y="292245"/>
                  <a:pt x="1290674" y="294900"/>
                  <a:pt x="1288083" y="298637"/>
                </a:cubicBezTo>
                <a:cubicBezTo>
                  <a:pt x="1282298" y="307313"/>
                  <a:pt x="1276514" y="311016"/>
                  <a:pt x="1268300" y="311016"/>
                </a:cubicBezTo>
                <a:cubicBezTo>
                  <a:pt x="1265610" y="310958"/>
                  <a:pt x="1262938" y="310628"/>
                  <a:pt x="1260318" y="310032"/>
                </a:cubicBezTo>
                <a:cubicBezTo>
                  <a:pt x="1258177" y="309627"/>
                  <a:pt x="1256789" y="310032"/>
                  <a:pt x="1256037" y="311073"/>
                </a:cubicBezTo>
                <a:cubicBezTo>
                  <a:pt x="1253550" y="314949"/>
                  <a:pt x="1257483" y="326460"/>
                  <a:pt x="1261532" y="335136"/>
                </a:cubicBezTo>
                <a:cubicBezTo>
                  <a:pt x="1263499" y="338133"/>
                  <a:pt x="1263806" y="341927"/>
                  <a:pt x="1262342" y="345201"/>
                </a:cubicBezTo>
                <a:cubicBezTo>
                  <a:pt x="1260144" y="348730"/>
                  <a:pt x="1254360" y="349308"/>
                  <a:pt x="1245683" y="346995"/>
                </a:cubicBezTo>
                <a:cubicBezTo>
                  <a:pt x="1238452" y="345763"/>
                  <a:pt x="1232188" y="341285"/>
                  <a:pt x="1228677" y="334847"/>
                </a:cubicBezTo>
                <a:cubicBezTo>
                  <a:pt x="1227271" y="330804"/>
                  <a:pt x="1227936" y="326327"/>
                  <a:pt x="1230470" y="322874"/>
                </a:cubicBezTo>
                <a:cubicBezTo>
                  <a:pt x="1236254" y="314255"/>
                  <a:pt x="1239031" y="306504"/>
                  <a:pt x="1237758" y="304074"/>
                </a:cubicBezTo>
                <a:cubicBezTo>
                  <a:pt x="1237758" y="303669"/>
                  <a:pt x="1236833" y="303149"/>
                  <a:pt x="1235271" y="303380"/>
                </a:cubicBezTo>
                <a:cubicBezTo>
                  <a:pt x="1233507" y="303629"/>
                  <a:pt x="1231731" y="303744"/>
                  <a:pt x="1229949" y="303727"/>
                </a:cubicBezTo>
                <a:cubicBezTo>
                  <a:pt x="1222198" y="303727"/>
                  <a:pt x="1207679" y="301645"/>
                  <a:pt x="1202647" y="293836"/>
                </a:cubicBezTo>
                <a:cubicBezTo>
                  <a:pt x="1200911" y="291117"/>
                  <a:pt x="1200506" y="289440"/>
                  <a:pt x="1201201" y="288051"/>
                </a:cubicBezTo>
                <a:cubicBezTo>
                  <a:pt x="1202120" y="286871"/>
                  <a:pt x="1203595" y="286275"/>
                  <a:pt x="1205076" y="286489"/>
                </a:cubicBezTo>
                <a:cubicBezTo>
                  <a:pt x="1208009" y="286640"/>
                  <a:pt x="1210924" y="286993"/>
                  <a:pt x="1213811" y="287531"/>
                </a:cubicBezTo>
                <a:cubicBezTo>
                  <a:pt x="1216703" y="287936"/>
                  <a:pt x="1220000" y="288456"/>
                  <a:pt x="1223702" y="288861"/>
                </a:cubicBezTo>
                <a:lnTo>
                  <a:pt x="1226479" y="288861"/>
                </a:lnTo>
                <a:cubicBezTo>
                  <a:pt x="1231280" y="288861"/>
                  <a:pt x="1231280" y="287184"/>
                  <a:pt x="1231337" y="284349"/>
                </a:cubicBezTo>
                <a:cubicBezTo>
                  <a:pt x="1231395" y="281515"/>
                  <a:pt x="1231337" y="277755"/>
                  <a:pt x="1238105" y="277755"/>
                </a:cubicBezTo>
                <a:cubicBezTo>
                  <a:pt x="1241726" y="277853"/>
                  <a:pt x="1245330" y="278299"/>
                  <a:pt x="1248864" y="279085"/>
                </a:cubicBezTo>
                <a:cubicBezTo>
                  <a:pt x="1251681" y="279675"/>
                  <a:pt x="1254545" y="280023"/>
                  <a:pt x="1257425" y="280126"/>
                </a:cubicBezTo>
                <a:cubicBezTo>
                  <a:pt x="1261729" y="280213"/>
                  <a:pt x="1265888" y="278588"/>
                  <a:pt x="1268994" y="275615"/>
                </a:cubicBezTo>
                <a:cubicBezTo>
                  <a:pt x="1271846" y="273093"/>
                  <a:pt x="1272673" y="268980"/>
                  <a:pt x="1271019" y="265550"/>
                </a:cubicBezTo>
                <a:cubicBezTo>
                  <a:pt x="1268659" y="259372"/>
                  <a:pt x="1263239" y="254872"/>
                  <a:pt x="1256731" y="253692"/>
                </a:cubicBezTo>
                <a:cubicBezTo>
                  <a:pt x="1256135" y="253599"/>
                  <a:pt x="1255534" y="253599"/>
                  <a:pt x="1254938" y="253692"/>
                </a:cubicBezTo>
                <a:cubicBezTo>
                  <a:pt x="1244295" y="257510"/>
                  <a:pt x="1237585" y="258204"/>
                  <a:pt x="1234056" y="255832"/>
                </a:cubicBezTo>
                <a:cubicBezTo>
                  <a:pt x="1232437" y="254681"/>
                  <a:pt x="1231517" y="252784"/>
                  <a:pt x="1231627" y="250800"/>
                </a:cubicBezTo>
                <a:cubicBezTo>
                  <a:pt x="1231627" y="245015"/>
                  <a:pt x="1237411" y="245015"/>
                  <a:pt x="1239494" y="245015"/>
                </a:cubicBezTo>
                <a:cubicBezTo>
                  <a:pt x="1241425" y="245044"/>
                  <a:pt x="1243358" y="245183"/>
                  <a:pt x="1245278" y="245420"/>
                </a:cubicBezTo>
                <a:cubicBezTo>
                  <a:pt x="1248465" y="245825"/>
                  <a:pt x="1251693" y="245825"/>
                  <a:pt x="1254880" y="245420"/>
                </a:cubicBezTo>
                <a:cubicBezTo>
                  <a:pt x="1256615" y="245015"/>
                  <a:pt x="1256557" y="244321"/>
                  <a:pt x="1256500" y="244090"/>
                </a:cubicBezTo>
                <a:cubicBezTo>
                  <a:pt x="1256500" y="241834"/>
                  <a:pt x="1250426" y="237438"/>
                  <a:pt x="1243138" y="237438"/>
                </a:cubicBezTo>
                <a:cubicBezTo>
                  <a:pt x="1241755" y="237443"/>
                  <a:pt x="1240378" y="237599"/>
                  <a:pt x="1239031" y="237900"/>
                </a:cubicBezTo>
                <a:cubicBezTo>
                  <a:pt x="1234906" y="239098"/>
                  <a:pt x="1230655" y="239774"/>
                  <a:pt x="1226363" y="239925"/>
                </a:cubicBezTo>
                <a:cubicBezTo>
                  <a:pt x="1219115" y="239861"/>
                  <a:pt x="1212266" y="236576"/>
                  <a:pt x="1207679" y="230959"/>
                </a:cubicBezTo>
                <a:cubicBezTo>
                  <a:pt x="1203480" y="225973"/>
                  <a:pt x="1197504" y="222820"/>
                  <a:pt x="1191020" y="222167"/>
                </a:cubicBezTo>
                <a:cubicBezTo>
                  <a:pt x="1184368" y="222167"/>
                  <a:pt x="1179914" y="227546"/>
                  <a:pt x="1178121" y="237611"/>
                </a:cubicBezTo>
                <a:cubicBezTo>
                  <a:pt x="1175228" y="253576"/>
                  <a:pt x="1166552" y="253923"/>
                  <a:pt x="1159379" y="254154"/>
                </a:cubicBezTo>
                <a:cubicBezTo>
                  <a:pt x="1155446" y="254154"/>
                  <a:pt x="1152091" y="254444"/>
                  <a:pt x="1150008" y="256931"/>
                </a:cubicBezTo>
                <a:cubicBezTo>
                  <a:pt x="1148753" y="257995"/>
                  <a:pt x="1148290" y="259725"/>
                  <a:pt x="1148851" y="261269"/>
                </a:cubicBezTo>
                <a:cubicBezTo>
                  <a:pt x="1150645" y="265318"/>
                  <a:pt x="1160999" y="268558"/>
                  <a:pt x="1173435" y="269020"/>
                </a:cubicBezTo>
                <a:cubicBezTo>
                  <a:pt x="1186740" y="269541"/>
                  <a:pt x="1197614" y="279375"/>
                  <a:pt x="1197556" y="284176"/>
                </a:cubicBezTo>
                <a:cubicBezTo>
                  <a:pt x="1197556" y="284812"/>
                  <a:pt x="1197209" y="287010"/>
                  <a:pt x="1193970" y="287010"/>
                </a:cubicBezTo>
                <a:cubicBezTo>
                  <a:pt x="1190731" y="287010"/>
                  <a:pt x="1190094" y="288919"/>
                  <a:pt x="1189053" y="291117"/>
                </a:cubicBezTo>
                <a:cubicBezTo>
                  <a:pt x="1188012" y="293315"/>
                  <a:pt x="1187087" y="295224"/>
                  <a:pt x="1184368" y="295224"/>
                </a:cubicBezTo>
                <a:cubicBezTo>
                  <a:pt x="1183090" y="295149"/>
                  <a:pt x="1181846" y="294796"/>
                  <a:pt x="1180724" y="294183"/>
                </a:cubicBezTo>
                <a:cubicBezTo>
                  <a:pt x="1176212" y="291927"/>
                  <a:pt x="1170775" y="292332"/>
                  <a:pt x="1169618" y="294761"/>
                </a:cubicBezTo>
                <a:cubicBezTo>
                  <a:pt x="1169039" y="296034"/>
                  <a:pt x="1169618" y="297769"/>
                  <a:pt x="1171179" y="299678"/>
                </a:cubicBezTo>
                <a:cubicBezTo>
                  <a:pt x="1174234" y="302865"/>
                  <a:pt x="1174430" y="307828"/>
                  <a:pt x="1171642" y="311247"/>
                </a:cubicBezTo>
                <a:cubicBezTo>
                  <a:pt x="1170300" y="313202"/>
                  <a:pt x="1169594" y="315527"/>
                  <a:pt x="1169618" y="317899"/>
                </a:cubicBezTo>
                <a:cubicBezTo>
                  <a:pt x="1169803" y="319079"/>
                  <a:pt x="1169467" y="320282"/>
                  <a:pt x="1168692" y="321196"/>
                </a:cubicBezTo>
                <a:cubicBezTo>
                  <a:pt x="1166783" y="323278"/>
                  <a:pt x="1161809" y="322353"/>
                  <a:pt x="1155156" y="320791"/>
                </a:cubicBezTo>
                <a:cubicBezTo>
                  <a:pt x="1151142" y="319762"/>
                  <a:pt x="1147064" y="318986"/>
                  <a:pt x="1142951" y="318477"/>
                </a:cubicBezTo>
                <a:cubicBezTo>
                  <a:pt x="1141563" y="318477"/>
                  <a:pt x="1139943" y="318477"/>
                  <a:pt x="1138208" y="318477"/>
                </a:cubicBezTo>
                <a:cubicBezTo>
                  <a:pt x="1121977" y="319345"/>
                  <a:pt x="1105856" y="321624"/>
                  <a:pt x="1090024" y="325303"/>
                </a:cubicBezTo>
                <a:cubicBezTo>
                  <a:pt x="1086490" y="326072"/>
                  <a:pt x="1082880" y="326460"/>
                  <a:pt x="1079265" y="326460"/>
                </a:cubicBezTo>
                <a:cubicBezTo>
                  <a:pt x="1067089" y="326894"/>
                  <a:pt x="1055184" y="322769"/>
                  <a:pt x="1045889" y="314891"/>
                </a:cubicBezTo>
                <a:cubicBezTo>
                  <a:pt x="1039584" y="308065"/>
                  <a:pt x="1031428" y="308412"/>
                  <a:pt x="1021941" y="308528"/>
                </a:cubicBezTo>
                <a:lnTo>
                  <a:pt x="1017834" y="308528"/>
                </a:lnTo>
                <a:cubicBezTo>
                  <a:pt x="1013369" y="308644"/>
                  <a:pt x="1009152" y="306463"/>
                  <a:pt x="1006670" y="302744"/>
                </a:cubicBezTo>
                <a:cubicBezTo>
                  <a:pt x="1003668" y="298544"/>
                  <a:pt x="998757" y="296132"/>
                  <a:pt x="993597" y="296323"/>
                </a:cubicBezTo>
                <a:cubicBezTo>
                  <a:pt x="980293" y="295860"/>
                  <a:pt x="979715" y="286721"/>
                  <a:pt x="979252" y="279375"/>
                </a:cubicBezTo>
                <a:cubicBezTo>
                  <a:pt x="979159" y="277431"/>
                  <a:pt x="978928" y="275499"/>
                  <a:pt x="978558" y="273590"/>
                </a:cubicBezTo>
                <a:cubicBezTo>
                  <a:pt x="978037" y="271103"/>
                  <a:pt x="972773" y="269599"/>
                  <a:pt x="964733" y="269599"/>
                </a:cubicBezTo>
                <a:cubicBezTo>
                  <a:pt x="954605" y="269431"/>
                  <a:pt x="944574" y="271647"/>
                  <a:pt x="935464" y="276078"/>
                </a:cubicBezTo>
                <a:cubicBezTo>
                  <a:pt x="930061" y="279004"/>
                  <a:pt x="924190" y="280960"/>
                  <a:pt x="918111" y="281862"/>
                </a:cubicBezTo>
                <a:cubicBezTo>
                  <a:pt x="908798" y="283829"/>
                  <a:pt x="899195" y="285795"/>
                  <a:pt x="895725" y="293431"/>
                </a:cubicBezTo>
                <a:cubicBezTo>
                  <a:pt x="894047" y="297133"/>
                  <a:pt x="893700" y="299794"/>
                  <a:pt x="894626" y="301355"/>
                </a:cubicBezTo>
                <a:cubicBezTo>
                  <a:pt x="895551" y="302917"/>
                  <a:pt x="899253" y="303438"/>
                  <a:pt x="902088" y="303438"/>
                </a:cubicBezTo>
                <a:lnTo>
                  <a:pt x="906831" y="303438"/>
                </a:lnTo>
                <a:cubicBezTo>
                  <a:pt x="909683" y="303334"/>
                  <a:pt x="912378" y="302084"/>
                  <a:pt x="914293" y="299967"/>
                </a:cubicBezTo>
                <a:cubicBezTo>
                  <a:pt x="917827" y="296392"/>
                  <a:pt x="922686" y="294449"/>
                  <a:pt x="927713" y="294588"/>
                </a:cubicBezTo>
                <a:cubicBezTo>
                  <a:pt x="929280" y="294599"/>
                  <a:pt x="930848" y="294715"/>
                  <a:pt x="932398" y="294935"/>
                </a:cubicBezTo>
                <a:cubicBezTo>
                  <a:pt x="933324" y="295021"/>
                  <a:pt x="934249" y="295021"/>
                  <a:pt x="935175" y="294935"/>
                </a:cubicBezTo>
                <a:cubicBezTo>
                  <a:pt x="941971" y="294304"/>
                  <a:pt x="948456" y="291800"/>
                  <a:pt x="953916" y="287704"/>
                </a:cubicBezTo>
                <a:cubicBezTo>
                  <a:pt x="957080" y="285171"/>
                  <a:pt x="960846" y="283499"/>
                  <a:pt x="964849" y="282845"/>
                </a:cubicBezTo>
                <a:cubicBezTo>
                  <a:pt x="966584" y="282828"/>
                  <a:pt x="968244" y="283539"/>
                  <a:pt x="969419" y="284812"/>
                </a:cubicBezTo>
                <a:cubicBezTo>
                  <a:pt x="970599" y="285876"/>
                  <a:pt x="971009" y="287548"/>
                  <a:pt x="970460" y="289035"/>
                </a:cubicBezTo>
                <a:cubicBezTo>
                  <a:pt x="967683" y="297596"/>
                  <a:pt x="936389" y="308412"/>
                  <a:pt x="924184" y="310321"/>
                </a:cubicBezTo>
                <a:cubicBezTo>
                  <a:pt x="919499" y="311016"/>
                  <a:pt x="916722" y="312635"/>
                  <a:pt x="915566" y="315296"/>
                </a:cubicBezTo>
                <a:cubicBezTo>
                  <a:pt x="913252" y="320502"/>
                  <a:pt x="917127" y="330046"/>
                  <a:pt x="928002" y="346127"/>
                </a:cubicBezTo>
                <a:cubicBezTo>
                  <a:pt x="932745" y="353126"/>
                  <a:pt x="934307" y="357233"/>
                  <a:pt x="933208" y="359836"/>
                </a:cubicBezTo>
                <a:cubicBezTo>
                  <a:pt x="932109" y="362439"/>
                  <a:pt x="929680" y="362555"/>
                  <a:pt x="927424" y="362960"/>
                </a:cubicBezTo>
                <a:cubicBezTo>
                  <a:pt x="923895" y="363596"/>
                  <a:pt x="921639" y="364117"/>
                  <a:pt x="921639" y="367356"/>
                </a:cubicBezTo>
                <a:cubicBezTo>
                  <a:pt x="921639" y="370595"/>
                  <a:pt x="919557" y="372446"/>
                  <a:pt x="915855" y="372446"/>
                </a:cubicBezTo>
                <a:cubicBezTo>
                  <a:pt x="910070" y="372446"/>
                  <a:pt x="900410" y="367587"/>
                  <a:pt x="899774" y="363191"/>
                </a:cubicBezTo>
                <a:cubicBezTo>
                  <a:pt x="899774" y="362092"/>
                  <a:pt x="899774" y="360067"/>
                  <a:pt x="903245" y="358968"/>
                </a:cubicBezTo>
                <a:cubicBezTo>
                  <a:pt x="906715" y="357869"/>
                  <a:pt x="908451" y="356192"/>
                  <a:pt x="909029" y="353820"/>
                </a:cubicBezTo>
                <a:cubicBezTo>
                  <a:pt x="909839" y="349598"/>
                  <a:pt x="906195" y="343466"/>
                  <a:pt x="900005" y="338549"/>
                </a:cubicBezTo>
                <a:cubicBezTo>
                  <a:pt x="897235" y="336236"/>
                  <a:pt x="893724" y="335003"/>
                  <a:pt x="890114" y="335079"/>
                </a:cubicBezTo>
                <a:cubicBezTo>
                  <a:pt x="888494" y="335079"/>
                  <a:pt x="887106" y="335079"/>
                  <a:pt x="886238" y="333980"/>
                </a:cubicBezTo>
                <a:cubicBezTo>
                  <a:pt x="885371" y="332881"/>
                  <a:pt x="885371" y="331782"/>
                  <a:pt x="885660" y="329641"/>
                </a:cubicBezTo>
                <a:cubicBezTo>
                  <a:pt x="885897" y="329028"/>
                  <a:pt x="885897" y="328346"/>
                  <a:pt x="885660" y="327732"/>
                </a:cubicBezTo>
                <a:cubicBezTo>
                  <a:pt x="885197" y="327212"/>
                  <a:pt x="883520" y="327270"/>
                  <a:pt x="881380" y="327443"/>
                </a:cubicBezTo>
                <a:cubicBezTo>
                  <a:pt x="880147" y="327507"/>
                  <a:pt x="878910" y="327507"/>
                  <a:pt x="877677" y="327443"/>
                </a:cubicBezTo>
                <a:cubicBezTo>
                  <a:pt x="874207" y="327588"/>
                  <a:pt x="870794" y="326524"/>
                  <a:pt x="868018" y="324435"/>
                </a:cubicBezTo>
                <a:lnTo>
                  <a:pt x="865299" y="322237"/>
                </a:lnTo>
                <a:cubicBezTo>
                  <a:pt x="862175" y="318801"/>
                  <a:pt x="857929" y="316586"/>
                  <a:pt x="853325" y="315990"/>
                </a:cubicBezTo>
                <a:cubicBezTo>
                  <a:pt x="850410" y="316140"/>
                  <a:pt x="847570" y="316997"/>
                  <a:pt x="845053" y="318477"/>
                </a:cubicBezTo>
                <a:cubicBezTo>
                  <a:pt x="836730" y="322133"/>
                  <a:pt x="827764" y="324100"/>
                  <a:pt x="818676" y="324262"/>
                </a:cubicBezTo>
                <a:cubicBezTo>
                  <a:pt x="811793" y="324898"/>
                  <a:pt x="804042" y="325592"/>
                  <a:pt x="794440" y="327212"/>
                </a:cubicBezTo>
                <a:cubicBezTo>
                  <a:pt x="783281" y="328895"/>
                  <a:pt x="772002" y="329688"/>
                  <a:pt x="760716" y="329583"/>
                </a:cubicBezTo>
                <a:cubicBezTo>
                  <a:pt x="741512" y="329583"/>
                  <a:pt x="718895" y="327443"/>
                  <a:pt x="712879" y="321427"/>
                </a:cubicBezTo>
                <a:cubicBezTo>
                  <a:pt x="711063" y="319715"/>
                  <a:pt x="710554" y="317037"/>
                  <a:pt x="711607" y="314775"/>
                </a:cubicBezTo>
                <a:cubicBezTo>
                  <a:pt x="714788" y="307024"/>
                  <a:pt x="732893" y="298058"/>
                  <a:pt x="742264" y="298058"/>
                </a:cubicBezTo>
                <a:cubicBezTo>
                  <a:pt x="743137" y="298058"/>
                  <a:pt x="744011" y="298151"/>
                  <a:pt x="744867" y="298348"/>
                </a:cubicBezTo>
                <a:cubicBezTo>
                  <a:pt x="745405" y="298423"/>
                  <a:pt x="745949" y="298423"/>
                  <a:pt x="746487" y="298348"/>
                </a:cubicBezTo>
                <a:cubicBezTo>
                  <a:pt x="747528" y="298348"/>
                  <a:pt x="747644" y="298001"/>
                  <a:pt x="747701" y="297827"/>
                </a:cubicBezTo>
                <a:cubicBezTo>
                  <a:pt x="748511" y="295455"/>
                  <a:pt x="743537" y="287299"/>
                  <a:pt x="733587" y="279490"/>
                </a:cubicBezTo>
                <a:cubicBezTo>
                  <a:pt x="722348" y="271797"/>
                  <a:pt x="709281" y="267210"/>
                  <a:pt x="695699" y="266186"/>
                </a:cubicBezTo>
                <a:cubicBezTo>
                  <a:pt x="692402" y="266186"/>
                  <a:pt x="691535" y="266880"/>
                  <a:pt x="691303" y="267112"/>
                </a:cubicBezTo>
                <a:cubicBezTo>
                  <a:pt x="691228" y="267279"/>
                  <a:pt x="691228" y="267464"/>
                  <a:pt x="691303" y="267632"/>
                </a:cubicBezTo>
                <a:cubicBezTo>
                  <a:pt x="691407" y="268592"/>
                  <a:pt x="691118" y="269553"/>
                  <a:pt x="690493" y="270293"/>
                </a:cubicBezTo>
                <a:cubicBezTo>
                  <a:pt x="689082" y="271485"/>
                  <a:pt x="687237" y="272028"/>
                  <a:pt x="685403" y="271797"/>
                </a:cubicBezTo>
                <a:cubicBezTo>
                  <a:pt x="678606" y="271248"/>
                  <a:pt x="671873" y="270108"/>
                  <a:pt x="665273" y="268384"/>
                </a:cubicBezTo>
                <a:cubicBezTo>
                  <a:pt x="660646" y="267401"/>
                  <a:pt x="655382" y="266244"/>
                  <a:pt x="649944" y="265203"/>
                </a:cubicBezTo>
                <a:cubicBezTo>
                  <a:pt x="641887" y="263734"/>
                  <a:pt x="634089" y="261078"/>
                  <a:pt x="626807" y="257336"/>
                </a:cubicBezTo>
                <a:cubicBezTo>
                  <a:pt x="621740" y="254473"/>
                  <a:pt x="616077" y="252807"/>
                  <a:pt x="610263" y="252477"/>
                </a:cubicBezTo>
                <a:cubicBezTo>
                  <a:pt x="590533" y="252257"/>
                  <a:pt x="571323" y="246155"/>
                  <a:pt x="555080" y="234950"/>
                </a:cubicBezTo>
                <a:cubicBezTo>
                  <a:pt x="546126" y="229067"/>
                  <a:pt x="535529" y="226193"/>
                  <a:pt x="524827" y="226736"/>
                </a:cubicBezTo>
                <a:cubicBezTo>
                  <a:pt x="509961" y="226736"/>
                  <a:pt x="497409" y="231017"/>
                  <a:pt x="495037" y="236917"/>
                </a:cubicBezTo>
                <a:cubicBezTo>
                  <a:pt x="490121" y="249122"/>
                  <a:pt x="476817" y="249122"/>
                  <a:pt x="466115" y="249122"/>
                </a:cubicBezTo>
                <a:lnTo>
                  <a:pt x="462529" y="249122"/>
                </a:lnTo>
                <a:cubicBezTo>
                  <a:pt x="459637" y="249122"/>
                  <a:pt x="457844" y="248428"/>
                  <a:pt x="457034" y="246982"/>
                </a:cubicBezTo>
                <a:cubicBezTo>
                  <a:pt x="455703" y="244495"/>
                  <a:pt x="458017" y="241197"/>
                  <a:pt x="460447" y="237380"/>
                </a:cubicBezTo>
                <a:cubicBezTo>
                  <a:pt x="461777" y="235355"/>
                  <a:pt x="463628" y="232579"/>
                  <a:pt x="463397" y="231595"/>
                </a:cubicBezTo>
                <a:cubicBezTo>
                  <a:pt x="459810" y="229571"/>
                  <a:pt x="459637" y="225001"/>
                  <a:pt x="459405" y="220605"/>
                </a:cubicBezTo>
                <a:cubicBezTo>
                  <a:pt x="459116" y="214531"/>
                  <a:pt x="458653" y="210887"/>
                  <a:pt x="454546" y="210366"/>
                </a:cubicBezTo>
                <a:lnTo>
                  <a:pt x="454257" y="210366"/>
                </a:lnTo>
                <a:cubicBezTo>
                  <a:pt x="450960" y="210366"/>
                  <a:pt x="447027" y="217366"/>
                  <a:pt x="442688" y="224827"/>
                </a:cubicBezTo>
                <a:cubicBezTo>
                  <a:pt x="436268" y="236396"/>
                  <a:pt x="429037" y="249180"/>
                  <a:pt x="418336" y="249180"/>
                </a:cubicBezTo>
                <a:lnTo>
                  <a:pt x="417468" y="249180"/>
                </a:lnTo>
                <a:cubicBezTo>
                  <a:pt x="406420" y="248428"/>
                  <a:pt x="399189" y="233735"/>
                  <a:pt x="392132" y="219564"/>
                </a:cubicBezTo>
                <a:cubicBezTo>
                  <a:pt x="387158" y="209441"/>
                  <a:pt x="381952" y="198913"/>
                  <a:pt x="375705" y="194459"/>
                </a:cubicBezTo>
                <a:cubicBezTo>
                  <a:pt x="370817" y="190439"/>
                  <a:pt x="364946" y="187784"/>
                  <a:pt x="358698" y="186766"/>
                </a:cubicBezTo>
                <a:cubicBezTo>
                  <a:pt x="357831" y="186766"/>
                  <a:pt x="356732" y="186766"/>
                  <a:pt x="356327" y="187691"/>
                </a:cubicBezTo>
                <a:cubicBezTo>
                  <a:pt x="355922" y="188617"/>
                  <a:pt x="355517" y="190757"/>
                  <a:pt x="360897" y="197698"/>
                </a:cubicBezTo>
                <a:cubicBezTo>
                  <a:pt x="364309" y="202095"/>
                  <a:pt x="365466" y="204929"/>
                  <a:pt x="364656" y="206896"/>
                </a:cubicBezTo>
                <a:cubicBezTo>
                  <a:pt x="363847" y="208862"/>
                  <a:pt x="361012" y="209267"/>
                  <a:pt x="358062" y="209557"/>
                </a:cubicBezTo>
                <a:cubicBezTo>
                  <a:pt x="355112" y="209846"/>
                  <a:pt x="353030" y="210077"/>
                  <a:pt x="351989" y="211408"/>
                </a:cubicBezTo>
                <a:cubicBezTo>
                  <a:pt x="351445" y="212159"/>
                  <a:pt x="351237" y="213102"/>
                  <a:pt x="351410" y="214011"/>
                </a:cubicBezTo>
                <a:cubicBezTo>
                  <a:pt x="351451" y="218262"/>
                  <a:pt x="349733" y="222346"/>
                  <a:pt x="346667" y="225290"/>
                </a:cubicBezTo>
                <a:cubicBezTo>
                  <a:pt x="342861" y="229860"/>
                  <a:pt x="337661" y="233053"/>
                  <a:pt x="331859" y="234372"/>
                </a:cubicBezTo>
                <a:cubicBezTo>
                  <a:pt x="331078" y="234435"/>
                  <a:pt x="330309" y="234140"/>
                  <a:pt x="329776" y="233562"/>
                </a:cubicBezTo>
                <a:cubicBezTo>
                  <a:pt x="329279" y="233036"/>
                  <a:pt x="329065" y="232307"/>
                  <a:pt x="329198" y="231595"/>
                </a:cubicBezTo>
                <a:cubicBezTo>
                  <a:pt x="329273" y="230502"/>
                  <a:pt x="328874" y="229426"/>
                  <a:pt x="328099" y="228645"/>
                </a:cubicBezTo>
                <a:cubicBezTo>
                  <a:pt x="326450" y="227037"/>
                  <a:pt x="324212" y="226181"/>
                  <a:pt x="321910" y="226273"/>
                </a:cubicBezTo>
                <a:cubicBezTo>
                  <a:pt x="318728" y="226273"/>
                  <a:pt x="312250" y="227604"/>
                  <a:pt x="304556" y="236686"/>
                </a:cubicBezTo>
                <a:cubicBezTo>
                  <a:pt x="294491" y="248254"/>
                  <a:pt x="287203" y="250105"/>
                  <a:pt x="283848" y="250105"/>
                </a:cubicBezTo>
                <a:cubicBezTo>
                  <a:pt x="280279" y="250337"/>
                  <a:pt x="277115" y="247844"/>
                  <a:pt x="276502" y="244321"/>
                </a:cubicBezTo>
                <a:lnTo>
                  <a:pt x="276502" y="244321"/>
                </a:lnTo>
                <a:cubicBezTo>
                  <a:pt x="276195" y="244263"/>
                  <a:pt x="275883" y="244263"/>
                  <a:pt x="275576" y="244321"/>
                </a:cubicBezTo>
                <a:cubicBezTo>
                  <a:pt x="268462" y="244321"/>
                  <a:pt x="243241" y="257105"/>
                  <a:pt x="237341" y="264682"/>
                </a:cubicBezTo>
                <a:cubicBezTo>
                  <a:pt x="236242" y="266070"/>
                  <a:pt x="236242" y="266764"/>
                  <a:pt x="236300" y="266996"/>
                </a:cubicBezTo>
                <a:cubicBezTo>
                  <a:pt x="237000" y="269634"/>
                  <a:pt x="236398" y="272451"/>
                  <a:pt x="234680" y="274573"/>
                </a:cubicBezTo>
                <a:cubicBezTo>
                  <a:pt x="229972" y="279103"/>
                  <a:pt x="223453" y="281231"/>
                  <a:pt x="216980" y="280358"/>
                </a:cubicBezTo>
                <a:cubicBezTo>
                  <a:pt x="213220" y="280358"/>
                  <a:pt x="211196" y="279028"/>
                  <a:pt x="210617" y="276887"/>
                </a:cubicBezTo>
                <a:cubicBezTo>
                  <a:pt x="209576" y="272318"/>
                  <a:pt x="217790" y="266013"/>
                  <a:pt x="223169" y="263120"/>
                </a:cubicBezTo>
                <a:cubicBezTo>
                  <a:pt x="226293" y="261443"/>
                  <a:pt x="231152" y="258146"/>
                  <a:pt x="236821" y="254270"/>
                </a:cubicBezTo>
                <a:cubicBezTo>
                  <a:pt x="249778" y="245420"/>
                  <a:pt x="265743" y="234430"/>
                  <a:pt x="276213" y="232752"/>
                </a:cubicBezTo>
                <a:cubicBezTo>
                  <a:pt x="291426" y="230207"/>
                  <a:pt x="317803" y="218638"/>
                  <a:pt x="318265" y="213143"/>
                </a:cubicBezTo>
                <a:cubicBezTo>
                  <a:pt x="318398" y="212680"/>
                  <a:pt x="318289" y="212183"/>
                  <a:pt x="317976" y="211812"/>
                </a:cubicBezTo>
                <a:cubicBezTo>
                  <a:pt x="316779" y="211032"/>
                  <a:pt x="315338" y="210725"/>
                  <a:pt x="313927" y="210945"/>
                </a:cubicBezTo>
                <a:cubicBezTo>
                  <a:pt x="312250" y="210945"/>
                  <a:pt x="310283" y="210945"/>
                  <a:pt x="308143" y="211292"/>
                </a:cubicBezTo>
                <a:cubicBezTo>
                  <a:pt x="303955" y="211784"/>
                  <a:pt x="299721" y="211784"/>
                  <a:pt x="295533" y="211292"/>
                </a:cubicBezTo>
                <a:cubicBezTo>
                  <a:pt x="294839" y="211228"/>
                  <a:pt x="294144" y="211228"/>
                  <a:pt x="293450" y="211292"/>
                </a:cubicBezTo>
                <a:cubicBezTo>
                  <a:pt x="286682" y="211292"/>
                  <a:pt x="276849" y="216209"/>
                  <a:pt x="266437" y="221415"/>
                </a:cubicBezTo>
                <a:cubicBezTo>
                  <a:pt x="262099" y="223555"/>
                  <a:pt x="257587" y="225811"/>
                  <a:pt x="253191" y="227777"/>
                </a:cubicBezTo>
                <a:cubicBezTo>
                  <a:pt x="247314" y="230172"/>
                  <a:pt x="241211" y="231954"/>
                  <a:pt x="234970" y="233099"/>
                </a:cubicBezTo>
                <a:cubicBezTo>
                  <a:pt x="229185" y="234314"/>
                  <a:pt x="224037" y="235413"/>
                  <a:pt x="222996" y="237553"/>
                </a:cubicBezTo>
                <a:cubicBezTo>
                  <a:pt x="222631" y="238646"/>
                  <a:pt x="222799" y="239844"/>
                  <a:pt x="223459" y="240792"/>
                </a:cubicBezTo>
                <a:cubicBezTo>
                  <a:pt x="224326" y="242094"/>
                  <a:pt x="224500" y="243737"/>
                  <a:pt x="223921" y="245189"/>
                </a:cubicBezTo>
                <a:cubicBezTo>
                  <a:pt x="223007" y="246259"/>
                  <a:pt x="221619" y="246802"/>
                  <a:pt x="220219" y="246635"/>
                </a:cubicBezTo>
                <a:cubicBezTo>
                  <a:pt x="218530" y="246583"/>
                  <a:pt x="216847" y="246409"/>
                  <a:pt x="215187" y="246114"/>
                </a:cubicBezTo>
                <a:cubicBezTo>
                  <a:pt x="213157" y="245784"/>
                  <a:pt x="211109" y="245588"/>
                  <a:pt x="209055" y="245536"/>
                </a:cubicBezTo>
                <a:cubicBezTo>
                  <a:pt x="206452" y="245536"/>
                  <a:pt x="204775" y="246114"/>
                  <a:pt x="204023" y="247329"/>
                </a:cubicBezTo>
                <a:cubicBezTo>
                  <a:pt x="202976" y="249243"/>
                  <a:pt x="200998" y="250476"/>
                  <a:pt x="198817" y="250568"/>
                </a:cubicBezTo>
                <a:cubicBezTo>
                  <a:pt x="196521" y="250585"/>
                  <a:pt x="194490" y="249070"/>
                  <a:pt x="193842" y="246866"/>
                </a:cubicBezTo>
                <a:cubicBezTo>
                  <a:pt x="193322" y="244697"/>
                  <a:pt x="194380" y="242458"/>
                  <a:pt x="196387" y="241487"/>
                </a:cubicBezTo>
                <a:cubicBezTo>
                  <a:pt x="196387" y="241487"/>
                  <a:pt x="197024" y="241082"/>
                  <a:pt x="196966" y="240850"/>
                </a:cubicBezTo>
                <a:cubicBezTo>
                  <a:pt x="193767" y="237999"/>
                  <a:pt x="189677" y="236338"/>
                  <a:pt x="185397" y="236165"/>
                </a:cubicBezTo>
                <a:cubicBezTo>
                  <a:pt x="184124" y="236165"/>
                  <a:pt x="183835" y="236454"/>
                  <a:pt x="183835" y="236454"/>
                </a:cubicBezTo>
                <a:cubicBezTo>
                  <a:pt x="183835" y="239693"/>
                  <a:pt x="181984" y="247213"/>
                  <a:pt x="164573" y="247213"/>
                </a:cubicBezTo>
                <a:cubicBezTo>
                  <a:pt x="154335" y="247213"/>
                  <a:pt x="144964" y="252419"/>
                  <a:pt x="143402" y="257047"/>
                </a:cubicBezTo>
                <a:cubicBezTo>
                  <a:pt x="142795" y="259320"/>
                  <a:pt x="143824" y="261709"/>
                  <a:pt x="145889" y="262831"/>
                </a:cubicBezTo>
                <a:lnTo>
                  <a:pt x="148435" y="264798"/>
                </a:lnTo>
                <a:cubicBezTo>
                  <a:pt x="154624" y="269310"/>
                  <a:pt x="158673" y="272318"/>
                  <a:pt x="158904" y="275788"/>
                </a:cubicBezTo>
                <a:cubicBezTo>
                  <a:pt x="158939" y="277518"/>
                  <a:pt x="158199" y="279172"/>
                  <a:pt x="156880" y="280300"/>
                </a:cubicBezTo>
                <a:cubicBezTo>
                  <a:pt x="156076" y="281075"/>
                  <a:pt x="154988" y="281492"/>
                  <a:pt x="153872" y="281457"/>
                </a:cubicBezTo>
                <a:cubicBezTo>
                  <a:pt x="150320" y="280879"/>
                  <a:pt x="146931" y="279560"/>
                  <a:pt x="143923" y="277582"/>
                </a:cubicBezTo>
                <a:cubicBezTo>
                  <a:pt x="135246" y="272219"/>
                  <a:pt x="125199" y="269483"/>
                  <a:pt x="115001" y="269715"/>
                </a:cubicBezTo>
                <a:lnTo>
                  <a:pt x="112629" y="269715"/>
                </a:lnTo>
                <a:cubicBezTo>
                  <a:pt x="98862" y="269715"/>
                  <a:pt x="80525" y="260749"/>
                  <a:pt x="73237" y="256873"/>
                </a:cubicBezTo>
                <a:cubicBezTo>
                  <a:pt x="64676" y="252303"/>
                  <a:pt x="50099" y="243396"/>
                  <a:pt x="50099" y="238768"/>
                </a:cubicBezTo>
                <a:cubicBezTo>
                  <a:pt x="50099" y="236917"/>
                  <a:pt x="35754" y="236859"/>
                  <a:pt x="26962" y="236801"/>
                </a:cubicBezTo>
                <a:cubicBezTo>
                  <a:pt x="18169" y="236743"/>
                  <a:pt x="9608" y="236801"/>
                  <a:pt x="1684" y="235934"/>
                </a:cubicBezTo>
                <a:lnTo>
                  <a:pt x="1684" y="652817"/>
                </a:lnTo>
                <a:cubicBezTo>
                  <a:pt x="4518" y="654934"/>
                  <a:pt x="7838" y="656305"/>
                  <a:pt x="11344" y="656809"/>
                </a:cubicBezTo>
                <a:cubicBezTo>
                  <a:pt x="12420" y="656901"/>
                  <a:pt x="13472" y="656473"/>
                  <a:pt x="14178" y="655652"/>
                </a:cubicBezTo>
                <a:cubicBezTo>
                  <a:pt x="15728" y="653934"/>
                  <a:pt x="18007" y="653054"/>
                  <a:pt x="20309" y="653280"/>
                </a:cubicBezTo>
                <a:lnTo>
                  <a:pt x="22970" y="653280"/>
                </a:lnTo>
                <a:cubicBezTo>
                  <a:pt x="24145" y="653344"/>
                  <a:pt x="25325" y="653344"/>
                  <a:pt x="26499" y="653280"/>
                </a:cubicBezTo>
                <a:cubicBezTo>
                  <a:pt x="31045" y="653280"/>
                  <a:pt x="35534" y="652250"/>
                  <a:pt x="39629" y="650272"/>
                </a:cubicBezTo>
                <a:cubicBezTo>
                  <a:pt x="41856" y="649144"/>
                  <a:pt x="44309" y="648531"/>
                  <a:pt x="46802" y="648479"/>
                </a:cubicBezTo>
                <a:cubicBezTo>
                  <a:pt x="55652" y="648479"/>
                  <a:pt x="59817" y="658313"/>
                  <a:pt x="59817" y="665022"/>
                </a:cubicBezTo>
                <a:cubicBezTo>
                  <a:pt x="59817" y="668088"/>
                  <a:pt x="66122" y="673179"/>
                  <a:pt x="72254" y="678095"/>
                </a:cubicBezTo>
                <a:cubicBezTo>
                  <a:pt x="77685" y="682081"/>
                  <a:pt x="82631" y="686679"/>
                  <a:pt x="87004" y="691804"/>
                </a:cubicBezTo>
                <a:cubicBezTo>
                  <a:pt x="88277" y="693424"/>
                  <a:pt x="89491" y="695044"/>
                  <a:pt x="90590" y="696605"/>
                </a:cubicBezTo>
                <a:cubicBezTo>
                  <a:pt x="94755" y="702390"/>
                  <a:pt x="98052" y="706844"/>
                  <a:pt x="102159" y="706844"/>
                </a:cubicBezTo>
                <a:cubicBezTo>
                  <a:pt x="103808" y="706763"/>
                  <a:pt x="105398" y="706202"/>
                  <a:pt x="106729" y="705224"/>
                </a:cubicBezTo>
                <a:cubicBezTo>
                  <a:pt x="109557" y="703541"/>
                  <a:pt x="112496" y="702054"/>
                  <a:pt x="115521" y="700770"/>
                </a:cubicBezTo>
                <a:cubicBezTo>
                  <a:pt x="123214" y="697242"/>
                  <a:pt x="131197" y="693655"/>
                  <a:pt x="131197" y="686830"/>
                </a:cubicBezTo>
                <a:cubicBezTo>
                  <a:pt x="131197" y="680004"/>
                  <a:pt x="141146" y="677401"/>
                  <a:pt x="150922" y="677401"/>
                </a:cubicBezTo>
                <a:cubicBezTo>
                  <a:pt x="160698" y="677401"/>
                  <a:pt x="170647" y="680293"/>
                  <a:pt x="170647" y="688450"/>
                </a:cubicBezTo>
                <a:cubicBezTo>
                  <a:pt x="170647" y="694234"/>
                  <a:pt x="178687" y="701117"/>
                  <a:pt x="188868" y="709794"/>
                </a:cubicBezTo>
                <a:cubicBezTo>
                  <a:pt x="204966" y="722277"/>
                  <a:pt x="218681" y="737559"/>
                  <a:pt x="229359" y="754913"/>
                </a:cubicBezTo>
                <a:cubicBezTo>
                  <a:pt x="234160" y="763474"/>
                  <a:pt x="237804" y="770588"/>
                  <a:pt x="240928" y="776373"/>
                </a:cubicBezTo>
                <a:cubicBezTo>
                  <a:pt x="250877" y="795982"/>
                  <a:pt x="254232" y="802634"/>
                  <a:pt x="277427" y="811773"/>
                </a:cubicBezTo>
                <a:cubicBezTo>
                  <a:pt x="307391" y="823632"/>
                  <a:pt x="308490" y="830457"/>
                  <a:pt x="303920" y="842315"/>
                </a:cubicBezTo>
                <a:cubicBezTo>
                  <a:pt x="302416" y="846364"/>
                  <a:pt x="305482" y="849604"/>
                  <a:pt x="308721" y="853074"/>
                </a:cubicBezTo>
                <a:cubicBezTo>
                  <a:pt x="311960" y="856545"/>
                  <a:pt x="314043" y="858859"/>
                  <a:pt x="313696" y="861867"/>
                </a:cubicBezTo>
                <a:cubicBezTo>
                  <a:pt x="313094" y="864354"/>
                  <a:pt x="311451" y="866459"/>
                  <a:pt x="309184" y="867651"/>
                </a:cubicBezTo>
                <a:cubicBezTo>
                  <a:pt x="304730" y="870717"/>
                  <a:pt x="298193" y="875344"/>
                  <a:pt x="291136" y="880377"/>
                </a:cubicBezTo>
                <a:cubicBezTo>
                  <a:pt x="291888" y="884426"/>
                  <a:pt x="295475" y="887376"/>
                  <a:pt x="300334" y="891367"/>
                </a:cubicBezTo>
                <a:lnTo>
                  <a:pt x="302185" y="892929"/>
                </a:lnTo>
                <a:cubicBezTo>
                  <a:pt x="303451" y="893698"/>
                  <a:pt x="304203" y="895092"/>
                  <a:pt x="304151" y="896573"/>
                </a:cubicBezTo>
                <a:cubicBezTo>
                  <a:pt x="303804" y="898713"/>
                  <a:pt x="301144" y="899812"/>
                  <a:pt x="298367" y="900969"/>
                </a:cubicBezTo>
                <a:cubicBezTo>
                  <a:pt x="296863" y="901548"/>
                  <a:pt x="294318" y="902589"/>
                  <a:pt x="294202" y="903341"/>
                </a:cubicBezTo>
                <a:cubicBezTo>
                  <a:pt x="294087" y="904093"/>
                  <a:pt x="294202" y="903920"/>
                  <a:pt x="294954" y="904440"/>
                </a:cubicBezTo>
                <a:cubicBezTo>
                  <a:pt x="297673" y="907309"/>
                  <a:pt x="298743" y="911364"/>
                  <a:pt x="297788" y="915199"/>
                </a:cubicBezTo>
                <a:cubicBezTo>
                  <a:pt x="296111" y="920798"/>
                  <a:pt x="299287" y="926699"/>
                  <a:pt x="304886" y="928382"/>
                </a:cubicBezTo>
                <a:cubicBezTo>
                  <a:pt x="306147" y="928758"/>
                  <a:pt x="307466" y="928897"/>
                  <a:pt x="308779" y="928792"/>
                </a:cubicBezTo>
                <a:cubicBezTo>
                  <a:pt x="313609" y="928654"/>
                  <a:pt x="318248" y="926901"/>
                  <a:pt x="321968" y="923818"/>
                </a:cubicBezTo>
                <a:cubicBezTo>
                  <a:pt x="324050" y="921701"/>
                  <a:pt x="327457" y="921678"/>
                  <a:pt x="329574" y="923760"/>
                </a:cubicBezTo>
                <a:cubicBezTo>
                  <a:pt x="330048" y="924229"/>
                  <a:pt x="330430" y="924778"/>
                  <a:pt x="330702" y="925380"/>
                </a:cubicBezTo>
                <a:cubicBezTo>
                  <a:pt x="333010" y="930424"/>
                  <a:pt x="332645" y="936283"/>
                  <a:pt x="329719" y="940998"/>
                </a:cubicBezTo>
                <a:cubicBezTo>
                  <a:pt x="328249" y="943028"/>
                  <a:pt x="328053" y="945712"/>
                  <a:pt x="329198" y="947939"/>
                </a:cubicBezTo>
                <a:cubicBezTo>
                  <a:pt x="330390" y="949981"/>
                  <a:pt x="332622" y="951190"/>
                  <a:pt x="334982" y="951063"/>
                </a:cubicBezTo>
                <a:cubicBezTo>
                  <a:pt x="336810" y="951097"/>
                  <a:pt x="338551" y="950258"/>
                  <a:pt x="339668" y="948807"/>
                </a:cubicBezTo>
                <a:cubicBezTo>
                  <a:pt x="340564" y="947604"/>
                  <a:pt x="341982" y="946892"/>
                  <a:pt x="343486" y="946898"/>
                </a:cubicBezTo>
                <a:cubicBezTo>
                  <a:pt x="347708" y="946898"/>
                  <a:pt x="352741" y="952104"/>
                  <a:pt x="357195" y="956673"/>
                </a:cubicBezTo>
                <a:cubicBezTo>
                  <a:pt x="359063" y="958843"/>
                  <a:pt x="361180" y="960780"/>
                  <a:pt x="363500" y="962458"/>
                </a:cubicBezTo>
                <a:cubicBezTo>
                  <a:pt x="367607" y="964772"/>
                  <a:pt x="371540" y="969920"/>
                  <a:pt x="370614" y="973448"/>
                </a:cubicBezTo>
                <a:cubicBezTo>
                  <a:pt x="370267" y="974952"/>
                  <a:pt x="368937" y="976688"/>
                  <a:pt x="364830" y="976688"/>
                </a:cubicBezTo>
                <a:cubicBezTo>
                  <a:pt x="360723" y="976688"/>
                  <a:pt x="359566" y="979985"/>
                  <a:pt x="359450" y="983050"/>
                </a:cubicBezTo>
                <a:cubicBezTo>
                  <a:pt x="359335" y="986116"/>
                  <a:pt x="360897" y="990512"/>
                  <a:pt x="363731" y="990802"/>
                </a:cubicBezTo>
                <a:cubicBezTo>
                  <a:pt x="370904" y="991438"/>
                  <a:pt x="370846" y="999710"/>
                  <a:pt x="370788" y="1005205"/>
                </a:cubicBezTo>
                <a:lnTo>
                  <a:pt x="370788" y="1006477"/>
                </a:lnTo>
                <a:cubicBezTo>
                  <a:pt x="370788" y="1009890"/>
                  <a:pt x="385596" y="1016658"/>
                  <a:pt x="395198" y="1016658"/>
                </a:cubicBezTo>
                <a:cubicBezTo>
                  <a:pt x="396292" y="1016693"/>
                  <a:pt x="397385" y="1016554"/>
                  <a:pt x="398438" y="1016253"/>
                </a:cubicBezTo>
                <a:cubicBezTo>
                  <a:pt x="399560" y="1015906"/>
                  <a:pt x="400734" y="1015727"/>
                  <a:pt x="401908" y="1015732"/>
                </a:cubicBezTo>
                <a:cubicBezTo>
                  <a:pt x="409081" y="1015732"/>
                  <a:pt x="415212" y="1022269"/>
                  <a:pt x="418510" y="1028342"/>
                </a:cubicBezTo>
                <a:cubicBezTo>
                  <a:pt x="422582" y="1033531"/>
                  <a:pt x="428806" y="1036574"/>
                  <a:pt x="435400" y="1036614"/>
                </a:cubicBezTo>
                <a:cubicBezTo>
                  <a:pt x="437205" y="1036730"/>
                  <a:pt x="438998" y="1036244"/>
                  <a:pt x="440490" y="1035226"/>
                </a:cubicBezTo>
                <a:cubicBezTo>
                  <a:pt x="441312" y="1034555"/>
                  <a:pt x="442324" y="1034167"/>
                  <a:pt x="443383" y="1034127"/>
                </a:cubicBezTo>
                <a:cubicBezTo>
                  <a:pt x="449630" y="1034127"/>
                  <a:pt x="452117" y="1049282"/>
                  <a:pt x="452580" y="1052290"/>
                </a:cubicBezTo>
                <a:cubicBezTo>
                  <a:pt x="453042" y="1055298"/>
                  <a:pt x="454720" y="1056281"/>
                  <a:pt x="458364" y="1056281"/>
                </a:cubicBezTo>
                <a:cubicBezTo>
                  <a:pt x="461031" y="1056171"/>
                  <a:pt x="463686" y="1055819"/>
                  <a:pt x="466289" y="1055240"/>
                </a:cubicBezTo>
                <a:cubicBezTo>
                  <a:pt x="468313" y="1054893"/>
                  <a:pt x="470222" y="1054546"/>
                  <a:pt x="472073" y="1054372"/>
                </a:cubicBezTo>
                <a:cubicBezTo>
                  <a:pt x="476001" y="1054540"/>
                  <a:pt x="479680" y="1056322"/>
                  <a:pt x="482254" y="1059289"/>
                </a:cubicBezTo>
                <a:cubicBezTo>
                  <a:pt x="484452" y="1061256"/>
                  <a:pt x="486477" y="1062991"/>
                  <a:pt x="488038" y="1062355"/>
                </a:cubicBezTo>
                <a:cubicBezTo>
                  <a:pt x="489056" y="1061962"/>
                  <a:pt x="490132" y="1061748"/>
                  <a:pt x="491220" y="1061719"/>
                </a:cubicBezTo>
                <a:cubicBezTo>
                  <a:pt x="497698" y="1061719"/>
                  <a:pt x="501169" y="1069470"/>
                  <a:pt x="504871" y="1077684"/>
                </a:cubicBezTo>
                <a:cubicBezTo>
                  <a:pt x="506369" y="1081154"/>
                  <a:pt x="508070" y="1084533"/>
                  <a:pt x="509961" y="1087806"/>
                </a:cubicBezTo>
                <a:lnTo>
                  <a:pt x="1260780" y="1084394"/>
                </a:lnTo>
                <a:cubicBezTo>
                  <a:pt x="1260780" y="1080807"/>
                  <a:pt x="1262168" y="1070742"/>
                  <a:pt x="1267837" y="1070742"/>
                </a:cubicBezTo>
                <a:cubicBezTo>
                  <a:pt x="1269335" y="1070823"/>
                  <a:pt x="1270770" y="1071367"/>
                  <a:pt x="1271944" y="1072304"/>
                </a:cubicBezTo>
                <a:cubicBezTo>
                  <a:pt x="1275467" y="1075098"/>
                  <a:pt x="1277480" y="1079378"/>
                  <a:pt x="1277381" y="1083873"/>
                </a:cubicBezTo>
                <a:cubicBezTo>
                  <a:pt x="1277786" y="1088038"/>
                  <a:pt x="1278133" y="1091277"/>
                  <a:pt x="1283166" y="1093128"/>
                </a:cubicBezTo>
                <a:cubicBezTo>
                  <a:pt x="1286486" y="1094470"/>
                  <a:pt x="1289731" y="1095997"/>
                  <a:pt x="1292884" y="1097698"/>
                </a:cubicBezTo>
                <a:cubicBezTo>
                  <a:pt x="1298205" y="1100417"/>
                  <a:pt x="1302602" y="1102557"/>
                  <a:pt x="1305725" y="1101226"/>
                </a:cubicBezTo>
                <a:cubicBezTo>
                  <a:pt x="1306674" y="1100810"/>
                  <a:pt x="1307599" y="1100347"/>
                  <a:pt x="1308502" y="1099838"/>
                </a:cubicBezTo>
                <a:cubicBezTo>
                  <a:pt x="1311996" y="1097663"/>
                  <a:pt x="1315969" y="1096373"/>
                  <a:pt x="1320071" y="1096078"/>
                </a:cubicBezTo>
                <a:cubicBezTo>
                  <a:pt x="1324796" y="1096246"/>
                  <a:pt x="1329193" y="1098566"/>
                  <a:pt x="1331986" y="1102383"/>
                </a:cubicBezTo>
                <a:cubicBezTo>
                  <a:pt x="1334977" y="1106571"/>
                  <a:pt x="1340009" y="1108787"/>
                  <a:pt x="1345117" y="1108168"/>
                </a:cubicBezTo>
                <a:cubicBezTo>
                  <a:pt x="1348692" y="1107369"/>
                  <a:pt x="1352406" y="1108694"/>
                  <a:pt x="1354662" y="1111581"/>
                </a:cubicBezTo>
                <a:cubicBezTo>
                  <a:pt x="1357831" y="1116133"/>
                  <a:pt x="1362800" y="1119106"/>
                  <a:pt x="1368313" y="1119737"/>
                </a:cubicBezTo>
                <a:cubicBezTo>
                  <a:pt x="1371587" y="1119684"/>
                  <a:pt x="1374624" y="1118042"/>
                  <a:pt x="1376469" y="1115340"/>
                </a:cubicBezTo>
                <a:cubicBezTo>
                  <a:pt x="1378817" y="1113003"/>
                  <a:pt x="1382080" y="1111841"/>
                  <a:pt x="1385377" y="1112159"/>
                </a:cubicBezTo>
                <a:cubicBezTo>
                  <a:pt x="1395557" y="1113212"/>
                  <a:pt x="1405518" y="1115786"/>
                  <a:pt x="1414935" y="1119794"/>
                </a:cubicBezTo>
                <a:lnTo>
                  <a:pt x="1416208" y="1120257"/>
                </a:lnTo>
                <a:cubicBezTo>
                  <a:pt x="1421304" y="1115647"/>
                  <a:pt x="1425914" y="1110528"/>
                  <a:pt x="1429975" y="1104986"/>
                </a:cubicBezTo>
                <a:cubicBezTo>
                  <a:pt x="1437321" y="1095789"/>
                  <a:pt x="1444262" y="1087054"/>
                  <a:pt x="1452071" y="1087054"/>
                </a:cubicBezTo>
                <a:cubicBezTo>
                  <a:pt x="1472953" y="1087054"/>
                  <a:pt x="1508990" y="1092376"/>
                  <a:pt x="1511362" y="1112275"/>
                </a:cubicBezTo>
                <a:cubicBezTo>
                  <a:pt x="1512461" y="1121819"/>
                  <a:pt x="1518303" y="1121935"/>
                  <a:pt x="1525071" y="1122050"/>
                </a:cubicBezTo>
                <a:cubicBezTo>
                  <a:pt x="1531838" y="1122166"/>
                  <a:pt x="1539127" y="1122397"/>
                  <a:pt x="1540399" y="1132925"/>
                </a:cubicBezTo>
                <a:cubicBezTo>
                  <a:pt x="1541984" y="1140665"/>
                  <a:pt x="1545154" y="1147993"/>
                  <a:pt x="1549712" y="1154443"/>
                </a:cubicBezTo>
                <a:cubicBezTo>
                  <a:pt x="1553530" y="1160632"/>
                  <a:pt x="1556827" y="1166012"/>
                  <a:pt x="1555960" y="1170639"/>
                </a:cubicBezTo>
                <a:cubicBezTo>
                  <a:pt x="1560969" y="1173763"/>
                  <a:pt x="1565816" y="1177141"/>
                  <a:pt x="1570479" y="1180762"/>
                </a:cubicBezTo>
                <a:cubicBezTo>
                  <a:pt x="1578230" y="1178564"/>
                  <a:pt x="1598244" y="1181456"/>
                  <a:pt x="1612358" y="1186547"/>
                </a:cubicBezTo>
                <a:cubicBezTo>
                  <a:pt x="1616303" y="1187802"/>
                  <a:pt x="1620427" y="1188369"/>
                  <a:pt x="1624563" y="1188224"/>
                </a:cubicBezTo>
                <a:cubicBezTo>
                  <a:pt x="1627224" y="1188224"/>
                  <a:pt x="1629942" y="1188224"/>
                  <a:pt x="1632603" y="1188224"/>
                </a:cubicBezTo>
                <a:cubicBezTo>
                  <a:pt x="1635264" y="1188224"/>
                  <a:pt x="1637983" y="1188224"/>
                  <a:pt x="1640586" y="1188224"/>
                </a:cubicBezTo>
                <a:cubicBezTo>
                  <a:pt x="1649494" y="1188224"/>
                  <a:pt x="1659270" y="1189728"/>
                  <a:pt x="1663723" y="1201008"/>
                </a:cubicBezTo>
                <a:cubicBezTo>
                  <a:pt x="1666598" y="1207434"/>
                  <a:pt x="1670046" y="1213589"/>
                  <a:pt x="1674020" y="1219402"/>
                </a:cubicBezTo>
                <a:cubicBezTo>
                  <a:pt x="1678994" y="1227038"/>
                  <a:pt x="1682581" y="1232649"/>
                  <a:pt x="1680672" y="1236466"/>
                </a:cubicBezTo>
                <a:cubicBezTo>
                  <a:pt x="1679573" y="1238607"/>
                  <a:pt x="1676970" y="1239763"/>
                  <a:pt x="1672458" y="1240111"/>
                </a:cubicBezTo>
                <a:cubicBezTo>
                  <a:pt x="1664591" y="1240747"/>
                  <a:pt x="1655741" y="1235946"/>
                  <a:pt x="1648742" y="1232128"/>
                </a:cubicBezTo>
                <a:cubicBezTo>
                  <a:pt x="1645861" y="1230208"/>
                  <a:pt x="1642674" y="1228796"/>
                  <a:pt x="1639313" y="1227963"/>
                </a:cubicBezTo>
                <a:cubicBezTo>
                  <a:pt x="1638850" y="1227963"/>
                  <a:pt x="1638677" y="1227963"/>
                  <a:pt x="1638677" y="1227963"/>
                </a:cubicBezTo>
                <a:cubicBezTo>
                  <a:pt x="1638677" y="1227963"/>
                  <a:pt x="1638214" y="1228599"/>
                  <a:pt x="1638388" y="1230161"/>
                </a:cubicBezTo>
                <a:cubicBezTo>
                  <a:pt x="1639186" y="1233991"/>
                  <a:pt x="1637809" y="1237953"/>
                  <a:pt x="1634801" y="1240458"/>
                </a:cubicBezTo>
                <a:cubicBezTo>
                  <a:pt x="1632488" y="1242656"/>
                  <a:pt x="1629885" y="1245201"/>
                  <a:pt x="1629885" y="1254514"/>
                </a:cubicBezTo>
                <a:cubicBezTo>
                  <a:pt x="1629885" y="1272445"/>
                  <a:pt x="1618316" y="1298128"/>
                  <a:pt x="1609870" y="1298128"/>
                </a:cubicBezTo>
                <a:close/>
                <a:moveTo>
                  <a:pt x="1219769" y="1034763"/>
                </a:moveTo>
                <a:cubicBezTo>
                  <a:pt x="1212654" y="1034763"/>
                  <a:pt x="1211960" y="1026723"/>
                  <a:pt x="1211208" y="1018162"/>
                </a:cubicBezTo>
                <a:cubicBezTo>
                  <a:pt x="1210282" y="1006940"/>
                  <a:pt x="1209067" y="993000"/>
                  <a:pt x="1196399" y="986001"/>
                </a:cubicBezTo>
                <a:cubicBezTo>
                  <a:pt x="1167188" y="969920"/>
                  <a:pt x="1154000" y="939725"/>
                  <a:pt x="1154000" y="923413"/>
                </a:cubicBezTo>
                <a:cubicBezTo>
                  <a:pt x="1154000" y="911555"/>
                  <a:pt x="1165569" y="904209"/>
                  <a:pt x="1176501" y="904209"/>
                </a:cubicBezTo>
                <a:cubicBezTo>
                  <a:pt x="1182448" y="903989"/>
                  <a:pt x="1188163" y="906557"/>
                  <a:pt x="1191946" y="911150"/>
                </a:cubicBezTo>
                <a:cubicBezTo>
                  <a:pt x="1197730" y="918496"/>
                  <a:pt x="1205076" y="938105"/>
                  <a:pt x="1212075" y="957078"/>
                </a:cubicBezTo>
                <a:cubicBezTo>
                  <a:pt x="1215748" y="967936"/>
                  <a:pt x="1220035" y="978579"/>
                  <a:pt x="1224917" y="988951"/>
                </a:cubicBezTo>
                <a:cubicBezTo>
                  <a:pt x="1231627" y="1001503"/>
                  <a:pt x="1233304" y="1019782"/>
                  <a:pt x="1228503" y="1028863"/>
                </a:cubicBezTo>
                <a:cubicBezTo>
                  <a:pt x="1227092" y="1032004"/>
                  <a:pt x="1224165" y="1034191"/>
                  <a:pt x="1220752" y="1034647"/>
                </a:cubicBezTo>
                <a:close/>
                <a:moveTo>
                  <a:pt x="1176501" y="906465"/>
                </a:moveTo>
                <a:cubicBezTo>
                  <a:pt x="1166783" y="906465"/>
                  <a:pt x="1156256" y="912943"/>
                  <a:pt x="1156256" y="923413"/>
                </a:cubicBezTo>
                <a:cubicBezTo>
                  <a:pt x="1156256" y="939147"/>
                  <a:pt x="1169039" y="968416"/>
                  <a:pt x="1197499" y="984034"/>
                </a:cubicBezTo>
                <a:cubicBezTo>
                  <a:pt x="1211208" y="991554"/>
                  <a:pt x="1212480" y="1006246"/>
                  <a:pt x="1213464" y="1017988"/>
                </a:cubicBezTo>
                <a:cubicBezTo>
                  <a:pt x="1214216" y="1027012"/>
                  <a:pt x="1214967" y="1032507"/>
                  <a:pt x="1219769" y="1032507"/>
                </a:cubicBezTo>
                <a:lnTo>
                  <a:pt x="1220289" y="1032507"/>
                </a:lnTo>
                <a:cubicBezTo>
                  <a:pt x="1222875" y="1032004"/>
                  <a:pt x="1225044" y="1030246"/>
                  <a:pt x="1226074" y="1027822"/>
                </a:cubicBezTo>
                <a:cubicBezTo>
                  <a:pt x="1230528" y="1019319"/>
                  <a:pt x="1228850" y="1002023"/>
                  <a:pt x="1222429" y="990050"/>
                </a:cubicBezTo>
                <a:cubicBezTo>
                  <a:pt x="1217542" y="979568"/>
                  <a:pt x="1213215" y="968832"/>
                  <a:pt x="1209472" y="957888"/>
                </a:cubicBezTo>
                <a:cubicBezTo>
                  <a:pt x="1202531" y="939031"/>
                  <a:pt x="1195358" y="919595"/>
                  <a:pt x="1189747" y="912538"/>
                </a:cubicBezTo>
                <a:cubicBezTo>
                  <a:pt x="1186439" y="908668"/>
                  <a:pt x="1181591" y="906447"/>
                  <a:pt x="1176501" y="906465"/>
                </a:cubicBezTo>
                <a:close/>
                <a:moveTo>
                  <a:pt x="712590" y="629969"/>
                </a:moveTo>
                <a:cubicBezTo>
                  <a:pt x="686097" y="629969"/>
                  <a:pt x="670711" y="626845"/>
                  <a:pt x="666951" y="620656"/>
                </a:cubicBezTo>
                <a:cubicBezTo>
                  <a:pt x="666638" y="620118"/>
                  <a:pt x="666638" y="619459"/>
                  <a:pt x="666951" y="618921"/>
                </a:cubicBezTo>
                <a:cubicBezTo>
                  <a:pt x="667703" y="617359"/>
                  <a:pt x="670479" y="617012"/>
                  <a:pt x="676726" y="616375"/>
                </a:cubicBezTo>
                <a:cubicBezTo>
                  <a:pt x="682974" y="615739"/>
                  <a:pt x="694080" y="614640"/>
                  <a:pt x="694832" y="610591"/>
                </a:cubicBezTo>
                <a:cubicBezTo>
                  <a:pt x="696856" y="602030"/>
                  <a:pt x="704781" y="588495"/>
                  <a:pt x="717622" y="588495"/>
                </a:cubicBezTo>
                <a:cubicBezTo>
                  <a:pt x="721209" y="588495"/>
                  <a:pt x="723407" y="586991"/>
                  <a:pt x="724217" y="584272"/>
                </a:cubicBezTo>
                <a:cubicBezTo>
                  <a:pt x="725373" y="579182"/>
                  <a:pt x="720341" y="570968"/>
                  <a:pt x="708483" y="565125"/>
                </a:cubicBezTo>
                <a:cubicBezTo>
                  <a:pt x="704492" y="563216"/>
                  <a:pt x="702698" y="561134"/>
                  <a:pt x="703219" y="558994"/>
                </a:cubicBezTo>
                <a:cubicBezTo>
                  <a:pt x="704145" y="555003"/>
                  <a:pt x="713053" y="553210"/>
                  <a:pt x="721556" y="553210"/>
                </a:cubicBezTo>
                <a:cubicBezTo>
                  <a:pt x="731563" y="553210"/>
                  <a:pt x="744173" y="555755"/>
                  <a:pt x="749379" y="562985"/>
                </a:cubicBezTo>
                <a:cubicBezTo>
                  <a:pt x="757593" y="574554"/>
                  <a:pt x="769914" y="582421"/>
                  <a:pt x="779284" y="582421"/>
                </a:cubicBezTo>
                <a:cubicBezTo>
                  <a:pt x="783125" y="582519"/>
                  <a:pt x="786839" y="581010"/>
                  <a:pt x="789523" y="578256"/>
                </a:cubicBezTo>
                <a:cubicBezTo>
                  <a:pt x="799183" y="568596"/>
                  <a:pt x="843029" y="546673"/>
                  <a:pt x="858936" y="546673"/>
                </a:cubicBezTo>
                <a:cubicBezTo>
                  <a:pt x="864720" y="546673"/>
                  <a:pt x="865704" y="549739"/>
                  <a:pt x="865704" y="551590"/>
                </a:cubicBezTo>
                <a:cubicBezTo>
                  <a:pt x="865704" y="560614"/>
                  <a:pt x="850664" y="567208"/>
                  <a:pt x="833195" y="574728"/>
                </a:cubicBezTo>
                <a:cubicBezTo>
                  <a:pt x="821297" y="579211"/>
                  <a:pt x="810063" y="585302"/>
                  <a:pt x="799819" y="592833"/>
                </a:cubicBezTo>
                <a:cubicBezTo>
                  <a:pt x="785011" y="605732"/>
                  <a:pt x="782466" y="605964"/>
                  <a:pt x="774252" y="606831"/>
                </a:cubicBezTo>
                <a:cubicBezTo>
                  <a:pt x="771996" y="606831"/>
                  <a:pt x="769219" y="607294"/>
                  <a:pt x="765575" y="607930"/>
                </a:cubicBezTo>
                <a:cubicBezTo>
                  <a:pt x="758518" y="609203"/>
                  <a:pt x="757535" y="612963"/>
                  <a:pt x="756378" y="617301"/>
                </a:cubicBezTo>
                <a:cubicBezTo>
                  <a:pt x="755221" y="621639"/>
                  <a:pt x="753544" y="627887"/>
                  <a:pt x="742322" y="628870"/>
                </a:cubicBezTo>
                <a:cubicBezTo>
                  <a:pt x="736422" y="629448"/>
                  <a:pt x="724969" y="629969"/>
                  <a:pt x="712590" y="629969"/>
                </a:cubicBezTo>
                <a:close/>
                <a:moveTo>
                  <a:pt x="669091" y="619788"/>
                </a:moveTo>
                <a:cubicBezTo>
                  <a:pt x="672793" y="624936"/>
                  <a:pt x="688180" y="627713"/>
                  <a:pt x="712590" y="627713"/>
                </a:cubicBezTo>
                <a:cubicBezTo>
                  <a:pt x="724911" y="627713"/>
                  <a:pt x="736306" y="627019"/>
                  <a:pt x="741975" y="626614"/>
                </a:cubicBezTo>
                <a:cubicBezTo>
                  <a:pt x="751577" y="625920"/>
                  <a:pt x="752734" y="621755"/>
                  <a:pt x="754006" y="616896"/>
                </a:cubicBezTo>
                <a:cubicBezTo>
                  <a:pt x="754608" y="611094"/>
                  <a:pt x="759195" y="606507"/>
                  <a:pt x="764997" y="605906"/>
                </a:cubicBezTo>
                <a:cubicBezTo>
                  <a:pt x="768757" y="605269"/>
                  <a:pt x="771591" y="604980"/>
                  <a:pt x="773847" y="604749"/>
                </a:cubicBezTo>
                <a:cubicBezTo>
                  <a:pt x="781540" y="603939"/>
                  <a:pt x="783854" y="603707"/>
                  <a:pt x="798142" y="591271"/>
                </a:cubicBezTo>
                <a:cubicBezTo>
                  <a:pt x="808588" y="583607"/>
                  <a:pt x="820030" y="577400"/>
                  <a:pt x="832154" y="572819"/>
                </a:cubicBezTo>
                <a:cubicBezTo>
                  <a:pt x="848177" y="565820"/>
                  <a:pt x="863274" y="559167"/>
                  <a:pt x="863274" y="551648"/>
                </a:cubicBezTo>
                <a:cubicBezTo>
                  <a:pt x="863274" y="550896"/>
                  <a:pt x="863274" y="548987"/>
                  <a:pt x="858762" y="548987"/>
                </a:cubicBezTo>
                <a:cubicBezTo>
                  <a:pt x="843723" y="548987"/>
                  <a:pt x="800224" y="570678"/>
                  <a:pt x="791027" y="579876"/>
                </a:cubicBezTo>
                <a:cubicBezTo>
                  <a:pt x="787920" y="583075"/>
                  <a:pt x="783623" y="584833"/>
                  <a:pt x="779169" y="584735"/>
                </a:cubicBezTo>
                <a:cubicBezTo>
                  <a:pt x="768930" y="584735"/>
                  <a:pt x="756031" y="576521"/>
                  <a:pt x="747412" y="564373"/>
                </a:cubicBezTo>
                <a:cubicBezTo>
                  <a:pt x="742727" y="557837"/>
                  <a:pt x="730926" y="555523"/>
                  <a:pt x="721440" y="555523"/>
                </a:cubicBezTo>
                <a:cubicBezTo>
                  <a:pt x="711954" y="555523"/>
                  <a:pt x="705649" y="557837"/>
                  <a:pt x="705302" y="559572"/>
                </a:cubicBezTo>
                <a:cubicBezTo>
                  <a:pt x="705302" y="560267"/>
                  <a:pt x="706111" y="561597"/>
                  <a:pt x="709351" y="563159"/>
                </a:cubicBezTo>
                <a:cubicBezTo>
                  <a:pt x="722886" y="569811"/>
                  <a:pt x="727629" y="579066"/>
                  <a:pt x="726299" y="584850"/>
                </a:cubicBezTo>
                <a:cubicBezTo>
                  <a:pt x="725171" y="588662"/>
                  <a:pt x="721457" y="591109"/>
                  <a:pt x="717507" y="590635"/>
                </a:cubicBezTo>
                <a:cubicBezTo>
                  <a:pt x="706632" y="590635"/>
                  <a:pt x="698939" y="602551"/>
                  <a:pt x="696914" y="610996"/>
                </a:cubicBezTo>
                <a:cubicBezTo>
                  <a:pt x="695641" y="616780"/>
                  <a:pt x="685345" y="617590"/>
                  <a:pt x="676842" y="618458"/>
                </a:cubicBezTo>
                <a:cubicBezTo>
                  <a:pt x="674228" y="618683"/>
                  <a:pt x="671630" y="619129"/>
                  <a:pt x="669091" y="619788"/>
                </a:cubicBezTo>
                <a:close/>
                <a:moveTo>
                  <a:pt x="548081" y="459444"/>
                </a:moveTo>
                <a:cubicBezTo>
                  <a:pt x="547641" y="459502"/>
                  <a:pt x="547190" y="459502"/>
                  <a:pt x="546750" y="459444"/>
                </a:cubicBezTo>
                <a:cubicBezTo>
                  <a:pt x="545981" y="459322"/>
                  <a:pt x="545339" y="458790"/>
                  <a:pt x="545073" y="458056"/>
                </a:cubicBezTo>
                <a:cubicBezTo>
                  <a:pt x="544437" y="455915"/>
                  <a:pt x="547387" y="452734"/>
                  <a:pt x="553634" y="446198"/>
                </a:cubicBezTo>
                <a:cubicBezTo>
                  <a:pt x="559881" y="439661"/>
                  <a:pt x="567516" y="431679"/>
                  <a:pt x="567111" y="427340"/>
                </a:cubicBezTo>
                <a:cubicBezTo>
                  <a:pt x="567065" y="426611"/>
                  <a:pt x="566684" y="425946"/>
                  <a:pt x="566070" y="425547"/>
                </a:cubicBezTo>
                <a:cubicBezTo>
                  <a:pt x="564815" y="424674"/>
                  <a:pt x="563317" y="424228"/>
                  <a:pt x="561790" y="424275"/>
                </a:cubicBezTo>
                <a:cubicBezTo>
                  <a:pt x="551609" y="424275"/>
                  <a:pt x="535933" y="438446"/>
                  <a:pt x="535586" y="444462"/>
                </a:cubicBezTo>
                <a:cubicBezTo>
                  <a:pt x="535239" y="450478"/>
                  <a:pt x="528067" y="453833"/>
                  <a:pt x="514762" y="453833"/>
                </a:cubicBezTo>
                <a:cubicBezTo>
                  <a:pt x="513027" y="453833"/>
                  <a:pt x="511350" y="453833"/>
                  <a:pt x="509846" y="453833"/>
                </a:cubicBezTo>
                <a:cubicBezTo>
                  <a:pt x="503194" y="453486"/>
                  <a:pt x="493591" y="448685"/>
                  <a:pt x="493476" y="444636"/>
                </a:cubicBezTo>
                <a:cubicBezTo>
                  <a:pt x="493476" y="443595"/>
                  <a:pt x="493938" y="441859"/>
                  <a:pt x="497756" y="441454"/>
                </a:cubicBezTo>
                <a:cubicBezTo>
                  <a:pt x="501574" y="441049"/>
                  <a:pt x="502037" y="439141"/>
                  <a:pt x="503078" y="436248"/>
                </a:cubicBezTo>
                <a:cubicBezTo>
                  <a:pt x="504293" y="431251"/>
                  <a:pt x="508018" y="427242"/>
                  <a:pt x="512911" y="425663"/>
                </a:cubicBezTo>
                <a:cubicBezTo>
                  <a:pt x="515341" y="424737"/>
                  <a:pt x="516729" y="423696"/>
                  <a:pt x="517134" y="422481"/>
                </a:cubicBezTo>
                <a:cubicBezTo>
                  <a:pt x="517539" y="421267"/>
                  <a:pt x="516498" y="419069"/>
                  <a:pt x="515225" y="417044"/>
                </a:cubicBezTo>
                <a:cubicBezTo>
                  <a:pt x="513953" y="415019"/>
                  <a:pt x="511812" y="411260"/>
                  <a:pt x="513837" y="408714"/>
                </a:cubicBezTo>
                <a:cubicBezTo>
                  <a:pt x="515514" y="407147"/>
                  <a:pt x="517805" y="406407"/>
                  <a:pt x="520084" y="406690"/>
                </a:cubicBezTo>
                <a:cubicBezTo>
                  <a:pt x="522872" y="406771"/>
                  <a:pt x="525649" y="407002"/>
                  <a:pt x="528414" y="407384"/>
                </a:cubicBezTo>
                <a:cubicBezTo>
                  <a:pt x="531306" y="407818"/>
                  <a:pt x="534221" y="408072"/>
                  <a:pt x="537148" y="408136"/>
                </a:cubicBezTo>
                <a:cubicBezTo>
                  <a:pt x="542586" y="408136"/>
                  <a:pt x="543395" y="406459"/>
                  <a:pt x="543453" y="405012"/>
                </a:cubicBezTo>
                <a:cubicBezTo>
                  <a:pt x="543436" y="403266"/>
                  <a:pt x="542678" y="401605"/>
                  <a:pt x="541371" y="400443"/>
                </a:cubicBezTo>
                <a:cubicBezTo>
                  <a:pt x="534950" y="395150"/>
                  <a:pt x="526898" y="392252"/>
                  <a:pt x="518580" y="392229"/>
                </a:cubicBezTo>
                <a:cubicBezTo>
                  <a:pt x="515942" y="392073"/>
                  <a:pt x="513310" y="392674"/>
                  <a:pt x="511003" y="393964"/>
                </a:cubicBezTo>
                <a:cubicBezTo>
                  <a:pt x="500770" y="401628"/>
                  <a:pt x="488484" y="406077"/>
                  <a:pt x="475718" y="406748"/>
                </a:cubicBezTo>
                <a:cubicBezTo>
                  <a:pt x="469256" y="406719"/>
                  <a:pt x="462870" y="405342"/>
                  <a:pt x="456976" y="402699"/>
                </a:cubicBezTo>
                <a:cubicBezTo>
                  <a:pt x="455761" y="402178"/>
                  <a:pt x="455646" y="401368"/>
                  <a:pt x="455703" y="400963"/>
                </a:cubicBezTo>
                <a:cubicBezTo>
                  <a:pt x="455703" y="398939"/>
                  <a:pt x="460100" y="397898"/>
                  <a:pt x="479246" y="394080"/>
                </a:cubicBezTo>
                <a:cubicBezTo>
                  <a:pt x="498393" y="390262"/>
                  <a:pt x="522571" y="385461"/>
                  <a:pt x="528934" y="379677"/>
                </a:cubicBezTo>
                <a:cubicBezTo>
                  <a:pt x="538016" y="371347"/>
                  <a:pt x="569772" y="362844"/>
                  <a:pt x="586027" y="362844"/>
                </a:cubicBezTo>
                <a:cubicBezTo>
                  <a:pt x="592910" y="362844"/>
                  <a:pt x="597017" y="364232"/>
                  <a:pt x="598116" y="367067"/>
                </a:cubicBezTo>
                <a:cubicBezTo>
                  <a:pt x="600198" y="372157"/>
                  <a:pt x="594240" y="376206"/>
                  <a:pt x="589034" y="379792"/>
                </a:cubicBezTo>
                <a:cubicBezTo>
                  <a:pt x="585275" y="382337"/>
                  <a:pt x="581341" y="384941"/>
                  <a:pt x="581457" y="387254"/>
                </a:cubicBezTo>
                <a:cubicBezTo>
                  <a:pt x="581457" y="388486"/>
                  <a:pt x="582672" y="389759"/>
                  <a:pt x="585101" y="391072"/>
                </a:cubicBezTo>
                <a:cubicBezTo>
                  <a:pt x="590573" y="393935"/>
                  <a:pt x="596687" y="395347"/>
                  <a:pt x="602859" y="395179"/>
                </a:cubicBezTo>
                <a:cubicBezTo>
                  <a:pt x="614428" y="395179"/>
                  <a:pt x="626344" y="390783"/>
                  <a:pt x="629873" y="385172"/>
                </a:cubicBezTo>
                <a:cubicBezTo>
                  <a:pt x="632875" y="381331"/>
                  <a:pt x="637554" y="379173"/>
                  <a:pt x="642425" y="379387"/>
                </a:cubicBezTo>
                <a:cubicBezTo>
                  <a:pt x="646023" y="379035"/>
                  <a:pt x="649505" y="380764"/>
                  <a:pt x="651391" y="383841"/>
                </a:cubicBezTo>
                <a:cubicBezTo>
                  <a:pt x="652605" y="386387"/>
                  <a:pt x="652779" y="391014"/>
                  <a:pt x="646647" y="398650"/>
                </a:cubicBezTo>
                <a:cubicBezTo>
                  <a:pt x="634095" y="414210"/>
                  <a:pt x="627732" y="419763"/>
                  <a:pt x="617147" y="419763"/>
                </a:cubicBezTo>
                <a:cubicBezTo>
                  <a:pt x="614058" y="419688"/>
                  <a:pt x="610981" y="419358"/>
                  <a:pt x="607950" y="418779"/>
                </a:cubicBezTo>
                <a:cubicBezTo>
                  <a:pt x="605850" y="418386"/>
                  <a:pt x="603721" y="418195"/>
                  <a:pt x="601587" y="418201"/>
                </a:cubicBezTo>
                <a:cubicBezTo>
                  <a:pt x="593951" y="418201"/>
                  <a:pt x="589092" y="420862"/>
                  <a:pt x="588225" y="423523"/>
                </a:cubicBezTo>
                <a:cubicBezTo>
                  <a:pt x="587357" y="426183"/>
                  <a:pt x="589150" y="426878"/>
                  <a:pt x="590481" y="427861"/>
                </a:cubicBezTo>
                <a:cubicBezTo>
                  <a:pt x="593373" y="429885"/>
                  <a:pt x="597133" y="432951"/>
                  <a:pt x="596265" y="436364"/>
                </a:cubicBezTo>
                <a:cubicBezTo>
                  <a:pt x="595397" y="439777"/>
                  <a:pt x="591001" y="442148"/>
                  <a:pt x="581804" y="444347"/>
                </a:cubicBezTo>
                <a:cubicBezTo>
                  <a:pt x="574093" y="446394"/>
                  <a:pt x="566793" y="449761"/>
                  <a:pt x="560228" y="454296"/>
                </a:cubicBezTo>
                <a:cubicBezTo>
                  <a:pt x="556659" y="456974"/>
                  <a:pt x="552488" y="458744"/>
                  <a:pt x="548081" y="459444"/>
                </a:cubicBezTo>
                <a:close/>
                <a:moveTo>
                  <a:pt x="561790" y="421903"/>
                </a:moveTo>
                <a:cubicBezTo>
                  <a:pt x="563849" y="421810"/>
                  <a:pt x="565885" y="422400"/>
                  <a:pt x="567574" y="423580"/>
                </a:cubicBezTo>
                <a:cubicBezTo>
                  <a:pt x="568714" y="424385"/>
                  <a:pt x="569437" y="425657"/>
                  <a:pt x="569541" y="427051"/>
                </a:cubicBezTo>
                <a:cubicBezTo>
                  <a:pt x="570004" y="432373"/>
                  <a:pt x="562253" y="440471"/>
                  <a:pt x="555427" y="447644"/>
                </a:cubicBezTo>
                <a:cubicBezTo>
                  <a:pt x="552309" y="450455"/>
                  <a:pt x="549619" y="453711"/>
                  <a:pt x="547444" y="457304"/>
                </a:cubicBezTo>
                <a:cubicBezTo>
                  <a:pt x="547711" y="457246"/>
                  <a:pt x="547988" y="457246"/>
                  <a:pt x="548254" y="457304"/>
                </a:cubicBezTo>
                <a:cubicBezTo>
                  <a:pt x="552321" y="456407"/>
                  <a:pt x="556139" y="454608"/>
                  <a:pt x="559418" y="452040"/>
                </a:cubicBezTo>
                <a:cubicBezTo>
                  <a:pt x="566192" y="447389"/>
                  <a:pt x="573700" y="443907"/>
                  <a:pt x="581630" y="441743"/>
                </a:cubicBezTo>
                <a:cubicBezTo>
                  <a:pt x="591638" y="439488"/>
                  <a:pt x="594067" y="437174"/>
                  <a:pt x="594414" y="435612"/>
                </a:cubicBezTo>
                <a:cubicBezTo>
                  <a:pt x="594761" y="434050"/>
                  <a:pt x="593026" y="431910"/>
                  <a:pt x="589382" y="429365"/>
                </a:cubicBezTo>
                <a:cubicBezTo>
                  <a:pt x="585737" y="426820"/>
                  <a:pt x="585795" y="423870"/>
                  <a:pt x="586258" y="422481"/>
                </a:cubicBezTo>
                <a:cubicBezTo>
                  <a:pt x="587588" y="418374"/>
                  <a:pt x="593778" y="415598"/>
                  <a:pt x="601760" y="415598"/>
                </a:cubicBezTo>
                <a:cubicBezTo>
                  <a:pt x="604028" y="415592"/>
                  <a:pt x="606295" y="415789"/>
                  <a:pt x="608528" y="416176"/>
                </a:cubicBezTo>
                <a:cubicBezTo>
                  <a:pt x="611426" y="416749"/>
                  <a:pt x="614364" y="417079"/>
                  <a:pt x="617320" y="417160"/>
                </a:cubicBezTo>
                <a:cubicBezTo>
                  <a:pt x="627096" y="417160"/>
                  <a:pt x="632765" y="412069"/>
                  <a:pt x="645028" y="396856"/>
                </a:cubicBezTo>
                <a:cubicBezTo>
                  <a:pt x="649250" y="391650"/>
                  <a:pt x="650812" y="387196"/>
                  <a:pt x="649540" y="384478"/>
                </a:cubicBezTo>
                <a:cubicBezTo>
                  <a:pt x="648018" y="382181"/>
                  <a:pt x="645328" y="380949"/>
                  <a:pt x="642598" y="381296"/>
                </a:cubicBezTo>
                <a:cubicBezTo>
                  <a:pt x="638474" y="381111"/>
                  <a:pt x="634517" y="382922"/>
                  <a:pt x="631955" y="386155"/>
                </a:cubicBezTo>
                <a:cubicBezTo>
                  <a:pt x="627964" y="392460"/>
                  <a:pt x="615527" y="397203"/>
                  <a:pt x="603033" y="397203"/>
                </a:cubicBezTo>
                <a:cubicBezTo>
                  <a:pt x="596473" y="397360"/>
                  <a:pt x="589989" y="395850"/>
                  <a:pt x="584176" y="392807"/>
                </a:cubicBezTo>
                <a:cubicBezTo>
                  <a:pt x="581052" y="391014"/>
                  <a:pt x="579490" y="389163"/>
                  <a:pt x="579375" y="387023"/>
                </a:cubicBezTo>
                <a:cubicBezTo>
                  <a:pt x="579375" y="383494"/>
                  <a:pt x="583481" y="380660"/>
                  <a:pt x="587935" y="377594"/>
                </a:cubicBezTo>
                <a:cubicBezTo>
                  <a:pt x="592390" y="374528"/>
                  <a:pt x="597595" y="371058"/>
                  <a:pt x="596207" y="367587"/>
                </a:cubicBezTo>
                <a:cubicBezTo>
                  <a:pt x="595513" y="365794"/>
                  <a:pt x="591869" y="364811"/>
                  <a:pt x="586200" y="364811"/>
                </a:cubicBezTo>
                <a:cubicBezTo>
                  <a:pt x="568847" y="364811"/>
                  <a:pt x="538710" y="373603"/>
                  <a:pt x="530612" y="381065"/>
                </a:cubicBezTo>
                <a:cubicBezTo>
                  <a:pt x="523786" y="387254"/>
                  <a:pt x="499434" y="392113"/>
                  <a:pt x="479882" y="395989"/>
                </a:cubicBezTo>
                <a:cubicBezTo>
                  <a:pt x="472848" y="397215"/>
                  <a:pt x="465878" y="398800"/>
                  <a:pt x="459001" y="400732"/>
                </a:cubicBezTo>
                <a:cubicBezTo>
                  <a:pt x="464345" y="402999"/>
                  <a:pt x="470089" y="404179"/>
                  <a:pt x="475891" y="404203"/>
                </a:cubicBezTo>
                <a:cubicBezTo>
                  <a:pt x="488206" y="403549"/>
                  <a:pt x="500047" y="399240"/>
                  <a:pt x="509904" y="391824"/>
                </a:cubicBezTo>
                <a:cubicBezTo>
                  <a:pt x="512582" y="390256"/>
                  <a:pt x="515659" y="389510"/>
                  <a:pt x="518754" y="389684"/>
                </a:cubicBezTo>
                <a:cubicBezTo>
                  <a:pt x="527685" y="389684"/>
                  <a:pt x="536333" y="392836"/>
                  <a:pt x="543164" y="398592"/>
                </a:cubicBezTo>
                <a:cubicBezTo>
                  <a:pt x="544905" y="400200"/>
                  <a:pt x="545894" y="402467"/>
                  <a:pt x="545883" y="404839"/>
                </a:cubicBezTo>
                <a:cubicBezTo>
                  <a:pt x="545883" y="410103"/>
                  <a:pt x="539346" y="410103"/>
                  <a:pt x="537322" y="410103"/>
                </a:cubicBezTo>
                <a:cubicBezTo>
                  <a:pt x="534302" y="410010"/>
                  <a:pt x="531289" y="409761"/>
                  <a:pt x="528298" y="409351"/>
                </a:cubicBezTo>
                <a:cubicBezTo>
                  <a:pt x="525631" y="408975"/>
                  <a:pt x="522947" y="408743"/>
                  <a:pt x="520258" y="408657"/>
                </a:cubicBezTo>
                <a:cubicBezTo>
                  <a:pt x="517828" y="408657"/>
                  <a:pt x="516382" y="409004"/>
                  <a:pt x="515804" y="409756"/>
                </a:cubicBezTo>
                <a:cubicBezTo>
                  <a:pt x="515225" y="410508"/>
                  <a:pt x="515804" y="412937"/>
                  <a:pt x="517365" y="415540"/>
                </a:cubicBezTo>
                <a:cubicBezTo>
                  <a:pt x="519118" y="417553"/>
                  <a:pt x="519882" y="420249"/>
                  <a:pt x="519448" y="422886"/>
                </a:cubicBezTo>
                <a:cubicBezTo>
                  <a:pt x="518314" y="425212"/>
                  <a:pt x="516185" y="426889"/>
                  <a:pt x="513663" y="427456"/>
                </a:cubicBezTo>
                <a:cubicBezTo>
                  <a:pt x="509400" y="428798"/>
                  <a:pt x="506167" y="432298"/>
                  <a:pt x="505160" y="436653"/>
                </a:cubicBezTo>
                <a:cubicBezTo>
                  <a:pt x="504061" y="439661"/>
                  <a:pt x="502962" y="442843"/>
                  <a:pt x="497930" y="443363"/>
                </a:cubicBezTo>
                <a:cubicBezTo>
                  <a:pt x="496252" y="443363"/>
                  <a:pt x="495674" y="443999"/>
                  <a:pt x="495674" y="444231"/>
                </a:cubicBezTo>
                <a:cubicBezTo>
                  <a:pt x="495674" y="446082"/>
                  <a:pt x="503194" y="450883"/>
                  <a:pt x="509904" y="451230"/>
                </a:cubicBezTo>
                <a:cubicBezTo>
                  <a:pt x="511408" y="451230"/>
                  <a:pt x="513027" y="451230"/>
                  <a:pt x="514705" y="451230"/>
                </a:cubicBezTo>
                <a:cubicBezTo>
                  <a:pt x="521472" y="451230"/>
                  <a:pt x="532926" y="450247"/>
                  <a:pt x="533330" y="443999"/>
                </a:cubicBezTo>
                <a:cubicBezTo>
                  <a:pt x="533793" y="436538"/>
                  <a:pt x="550915" y="421903"/>
                  <a:pt x="561790" y="42190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69" name="Forma libre: forma 468">
            <a:extLst>
              <a:ext uri="{FF2B5EF4-FFF2-40B4-BE49-F238E27FC236}">
                <a16:creationId xmlns:a16="http://schemas.microsoft.com/office/drawing/2014/main" id="{088A47D8-BE87-2084-24EC-0797B3ADADD0}"/>
              </a:ext>
            </a:extLst>
          </p:cNvPr>
          <p:cNvSpPr/>
          <p:nvPr/>
        </p:nvSpPr>
        <p:spPr>
          <a:xfrm>
            <a:off x="4553440" y="2920401"/>
            <a:ext cx="182347" cy="167359"/>
          </a:xfrm>
          <a:custGeom>
            <a:avLst/>
            <a:gdLst>
              <a:gd name="connsiteX0" fmla="*/ 163600 w 182347"/>
              <a:gd name="connsiteY0" fmla="*/ 167102 h 167359"/>
              <a:gd name="connsiteX1" fmla="*/ 163600 w 182347"/>
              <a:gd name="connsiteY1" fmla="*/ 167102 h 167359"/>
              <a:gd name="connsiteX2" fmla="*/ 144164 w 182347"/>
              <a:gd name="connsiteY2" fmla="*/ 159929 h 167359"/>
              <a:gd name="connsiteX3" fmla="*/ 144164 w 182347"/>
              <a:gd name="connsiteY3" fmla="*/ 155417 h 167359"/>
              <a:gd name="connsiteX4" fmla="*/ 144627 w 182347"/>
              <a:gd name="connsiteY4" fmla="*/ 150616 h 167359"/>
              <a:gd name="connsiteX5" fmla="*/ 136355 w 182347"/>
              <a:gd name="connsiteY5" fmla="*/ 147088 h 167359"/>
              <a:gd name="connsiteX6" fmla="*/ 128720 w 182347"/>
              <a:gd name="connsiteY6" fmla="*/ 148939 h 167359"/>
              <a:gd name="connsiteX7" fmla="*/ 119060 w 182347"/>
              <a:gd name="connsiteY7" fmla="*/ 155186 h 167359"/>
              <a:gd name="connsiteX8" fmla="*/ 107144 w 182347"/>
              <a:gd name="connsiteY8" fmla="*/ 161664 h 167359"/>
              <a:gd name="connsiteX9" fmla="*/ 103615 w 182347"/>
              <a:gd name="connsiteY9" fmla="*/ 157673 h 167359"/>
              <a:gd name="connsiteX10" fmla="*/ 110846 w 182347"/>
              <a:gd name="connsiteY10" fmla="*/ 144196 h 167359"/>
              <a:gd name="connsiteX11" fmla="*/ 114432 w 182347"/>
              <a:gd name="connsiteY11" fmla="*/ 139279 h 167359"/>
              <a:gd name="connsiteX12" fmla="*/ 113217 w 182347"/>
              <a:gd name="connsiteY12" fmla="*/ 139279 h 167359"/>
              <a:gd name="connsiteX13" fmla="*/ 111367 w 182347"/>
              <a:gd name="connsiteY13" fmla="*/ 139279 h 167359"/>
              <a:gd name="connsiteX14" fmla="*/ 98525 w 182347"/>
              <a:gd name="connsiteY14" fmla="*/ 133899 h 167359"/>
              <a:gd name="connsiteX15" fmla="*/ 92452 w 182347"/>
              <a:gd name="connsiteY15" fmla="*/ 130255 h 167359"/>
              <a:gd name="connsiteX16" fmla="*/ 86667 w 182347"/>
              <a:gd name="connsiteY16" fmla="*/ 132627 h 167359"/>
              <a:gd name="connsiteX17" fmla="*/ 61563 w 182347"/>
              <a:gd name="connsiteY17" fmla="*/ 140320 h 167359"/>
              <a:gd name="connsiteX18" fmla="*/ 47101 w 182347"/>
              <a:gd name="connsiteY18" fmla="*/ 139279 h 167359"/>
              <a:gd name="connsiteX19" fmla="*/ 43110 w 182347"/>
              <a:gd name="connsiteY19" fmla="*/ 139279 h 167359"/>
              <a:gd name="connsiteX20" fmla="*/ 28302 w 182347"/>
              <a:gd name="connsiteY20" fmla="*/ 140898 h 167359"/>
              <a:gd name="connsiteX21" fmla="*/ 14825 w 182347"/>
              <a:gd name="connsiteY21" fmla="*/ 142402 h 167359"/>
              <a:gd name="connsiteX22" fmla="*/ 4702 w 182347"/>
              <a:gd name="connsiteY22" fmla="*/ 140204 h 167359"/>
              <a:gd name="connsiteX23" fmla="*/ 16 w 182347"/>
              <a:gd name="connsiteY23" fmla="*/ 134420 h 167359"/>
              <a:gd name="connsiteX24" fmla="*/ 7652 w 182347"/>
              <a:gd name="connsiteY24" fmla="*/ 118802 h 167359"/>
              <a:gd name="connsiteX25" fmla="*/ 13726 w 182347"/>
              <a:gd name="connsiteY25" fmla="*/ 108390 h 167359"/>
              <a:gd name="connsiteX26" fmla="*/ 12627 w 182347"/>
              <a:gd name="connsiteY26" fmla="*/ 106712 h 167359"/>
              <a:gd name="connsiteX27" fmla="*/ 9561 w 182347"/>
              <a:gd name="connsiteY27" fmla="*/ 98730 h 167359"/>
              <a:gd name="connsiteX28" fmla="*/ 28765 w 182347"/>
              <a:gd name="connsiteY28" fmla="*/ 88491 h 167359"/>
              <a:gd name="connsiteX29" fmla="*/ 29864 w 182347"/>
              <a:gd name="connsiteY29" fmla="*/ 88491 h 167359"/>
              <a:gd name="connsiteX30" fmla="*/ 39929 w 182347"/>
              <a:gd name="connsiteY30" fmla="*/ 63734 h 167359"/>
              <a:gd name="connsiteX31" fmla="*/ 85047 w 182347"/>
              <a:gd name="connsiteY31" fmla="*/ 1320 h 167359"/>
              <a:gd name="connsiteX32" fmla="*/ 93493 w 182347"/>
              <a:gd name="connsiteY32" fmla="*/ -126 h 167359"/>
              <a:gd name="connsiteX33" fmla="*/ 103905 w 182347"/>
              <a:gd name="connsiteY33" fmla="*/ 5022 h 167359"/>
              <a:gd name="connsiteX34" fmla="*/ 98988 w 182347"/>
              <a:gd name="connsiteY34" fmla="*/ 12484 h 167359"/>
              <a:gd name="connsiteX35" fmla="*/ 89848 w 182347"/>
              <a:gd name="connsiteY35" fmla="*/ 25499 h 167359"/>
              <a:gd name="connsiteX36" fmla="*/ 79842 w 182347"/>
              <a:gd name="connsiteY36" fmla="*/ 42852 h 167359"/>
              <a:gd name="connsiteX37" fmla="*/ 73594 w 182347"/>
              <a:gd name="connsiteY37" fmla="*/ 60900 h 167359"/>
              <a:gd name="connsiteX38" fmla="*/ 74693 w 182347"/>
              <a:gd name="connsiteY38" fmla="*/ 63329 h 167359"/>
              <a:gd name="connsiteX39" fmla="*/ 75503 w 182347"/>
              <a:gd name="connsiteY39" fmla="*/ 61189 h 167359"/>
              <a:gd name="connsiteX40" fmla="*/ 88807 w 182347"/>
              <a:gd name="connsiteY40" fmla="*/ 54190 h 167359"/>
              <a:gd name="connsiteX41" fmla="*/ 99393 w 182347"/>
              <a:gd name="connsiteY41" fmla="*/ 57950 h 167359"/>
              <a:gd name="connsiteX42" fmla="*/ 98409 w 182347"/>
              <a:gd name="connsiteY42" fmla="*/ 61478 h 167359"/>
              <a:gd name="connsiteX43" fmla="*/ 97484 w 182347"/>
              <a:gd name="connsiteY43" fmla="*/ 63214 h 167359"/>
              <a:gd name="connsiteX44" fmla="*/ 102285 w 182347"/>
              <a:gd name="connsiteY44" fmla="*/ 67610 h 167359"/>
              <a:gd name="connsiteX45" fmla="*/ 110788 w 182347"/>
              <a:gd name="connsiteY45" fmla="*/ 76460 h 167359"/>
              <a:gd name="connsiteX46" fmla="*/ 127389 w 182347"/>
              <a:gd name="connsiteY46" fmla="*/ 85079 h 167359"/>
              <a:gd name="connsiteX47" fmla="*/ 132827 w 182347"/>
              <a:gd name="connsiteY47" fmla="*/ 81666 h 167359"/>
              <a:gd name="connsiteX48" fmla="*/ 140115 w 182347"/>
              <a:gd name="connsiteY48" fmla="*/ 76923 h 167359"/>
              <a:gd name="connsiteX49" fmla="*/ 158394 w 182347"/>
              <a:gd name="connsiteY49" fmla="*/ 84616 h 167359"/>
              <a:gd name="connsiteX50" fmla="*/ 156312 w 182347"/>
              <a:gd name="connsiteY50" fmla="*/ 88318 h 167359"/>
              <a:gd name="connsiteX51" fmla="*/ 149486 w 182347"/>
              <a:gd name="connsiteY51" fmla="*/ 110414 h 167359"/>
              <a:gd name="connsiteX52" fmla="*/ 152031 w 182347"/>
              <a:gd name="connsiteY52" fmla="*/ 113480 h 167359"/>
              <a:gd name="connsiteX53" fmla="*/ 153651 w 182347"/>
              <a:gd name="connsiteY53" fmla="*/ 113017 h 167359"/>
              <a:gd name="connsiteX54" fmla="*/ 163427 w 182347"/>
              <a:gd name="connsiteY54" fmla="*/ 110588 h 167359"/>
              <a:gd name="connsiteX55" fmla="*/ 170426 w 182347"/>
              <a:gd name="connsiteY55" fmla="*/ 113885 h 167359"/>
              <a:gd name="connsiteX56" fmla="*/ 166145 w 182347"/>
              <a:gd name="connsiteY56" fmla="*/ 121347 h 167359"/>
              <a:gd name="connsiteX57" fmla="*/ 161691 w 182347"/>
              <a:gd name="connsiteY57" fmla="*/ 134073 h 167359"/>
              <a:gd name="connsiteX58" fmla="*/ 163831 w 182347"/>
              <a:gd name="connsiteY58" fmla="*/ 136560 h 167359"/>
              <a:gd name="connsiteX59" fmla="*/ 166087 w 182347"/>
              <a:gd name="connsiteY59" fmla="*/ 134420 h 167359"/>
              <a:gd name="connsiteX60" fmla="*/ 170252 w 182347"/>
              <a:gd name="connsiteY60" fmla="*/ 131701 h 167359"/>
              <a:gd name="connsiteX61" fmla="*/ 178813 w 182347"/>
              <a:gd name="connsiteY61" fmla="*/ 138642 h 167359"/>
              <a:gd name="connsiteX62" fmla="*/ 180201 w 182347"/>
              <a:gd name="connsiteY62" fmla="*/ 159756 h 167359"/>
              <a:gd name="connsiteX63" fmla="*/ 163600 w 182347"/>
              <a:gd name="connsiteY63" fmla="*/ 167102 h 167359"/>
              <a:gd name="connsiteX64" fmla="*/ 136298 w 182347"/>
              <a:gd name="connsiteY64" fmla="*/ 144832 h 167359"/>
              <a:gd name="connsiteX65" fmla="*/ 146536 w 182347"/>
              <a:gd name="connsiteY65" fmla="*/ 149459 h 167359"/>
              <a:gd name="connsiteX66" fmla="*/ 146073 w 182347"/>
              <a:gd name="connsiteY66" fmla="*/ 156574 h 167359"/>
              <a:gd name="connsiteX67" fmla="*/ 146073 w 182347"/>
              <a:gd name="connsiteY67" fmla="*/ 158830 h 167359"/>
              <a:gd name="connsiteX68" fmla="*/ 163427 w 182347"/>
              <a:gd name="connsiteY68" fmla="*/ 164615 h 167359"/>
              <a:gd name="connsiteX69" fmla="*/ 163427 w 182347"/>
              <a:gd name="connsiteY69" fmla="*/ 164615 h 167359"/>
              <a:gd name="connsiteX70" fmla="*/ 177888 w 182347"/>
              <a:gd name="connsiteY70" fmla="*/ 158367 h 167359"/>
              <a:gd name="connsiteX71" fmla="*/ 176499 w 182347"/>
              <a:gd name="connsiteY71" fmla="*/ 139452 h 167359"/>
              <a:gd name="connsiteX72" fmla="*/ 169905 w 182347"/>
              <a:gd name="connsiteY72" fmla="*/ 133668 h 167359"/>
              <a:gd name="connsiteX73" fmla="*/ 167707 w 182347"/>
              <a:gd name="connsiteY73" fmla="*/ 135230 h 167359"/>
              <a:gd name="connsiteX74" fmla="*/ 163484 w 182347"/>
              <a:gd name="connsiteY74" fmla="*/ 138527 h 167359"/>
              <a:gd name="connsiteX75" fmla="*/ 159204 w 182347"/>
              <a:gd name="connsiteY75" fmla="*/ 134535 h 167359"/>
              <a:gd name="connsiteX76" fmla="*/ 164410 w 182347"/>
              <a:gd name="connsiteY76" fmla="*/ 119265 h 167359"/>
              <a:gd name="connsiteX77" fmla="*/ 167938 w 182347"/>
              <a:gd name="connsiteY77" fmla="*/ 114290 h 167359"/>
              <a:gd name="connsiteX78" fmla="*/ 163080 w 182347"/>
              <a:gd name="connsiteY78" fmla="*/ 112555 h 167359"/>
              <a:gd name="connsiteX79" fmla="*/ 154287 w 182347"/>
              <a:gd name="connsiteY79" fmla="*/ 114753 h 167359"/>
              <a:gd name="connsiteX80" fmla="*/ 151684 w 182347"/>
              <a:gd name="connsiteY80" fmla="*/ 115447 h 167359"/>
              <a:gd name="connsiteX81" fmla="*/ 146941 w 182347"/>
              <a:gd name="connsiteY81" fmla="*/ 110704 h 167359"/>
              <a:gd name="connsiteX82" fmla="*/ 154865 w 182347"/>
              <a:gd name="connsiteY82" fmla="*/ 86062 h 167359"/>
              <a:gd name="connsiteX83" fmla="*/ 155907 w 182347"/>
              <a:gd name="connsiteY83" fmla="*/ 84905 h 167359"/>
              <a:gd name="connsiteX84" fmla="*/ 139768 w 182347"/>
              <a:gd name="connsiteY84" fmla="*/ 79121 h 167359"/>
              <a:gd name="connsiteX85" fmla="*/ 134736 w 182347"/>
              <a:gd name="connsiteY85" fmla="*/ 81608 h 167359"/>
              <a:gd name="connsiteX86" fmla="*/ 127042 w 182347"/>
              <a:gd name="connsiteY86" fmla="*/ 87392 h 167359"/>
              <a:gd name="connsiteX87" fmla="*/ 108301 w 182347"/>
              <a:gd name="connsiteY87" fmla="*/ 77212 h 167359"/>
              <a:gd name="connsiteX88" fmla="*/ 100665 w 182347"/>
              <a:gd name="connsiteY88" fmla="*/ 69519 h 167359"/>
              <a:gd name="connsiteX89" fmla="*/ 94881 w 182347"/>
              <a:gd name="connsiteY89" fmla="*/ 63734 h 167359"/>
              <a:gd name="connsiteX90" fmla="*/ 96385 w 182347"/>
              <a:gd name="connsiteY90" fmla="*/ 60148 h 167359"/>
              <a:gd name="connsiteX91" fmla="*/ 96906 w 182347"/>
              <a:gd name="connsiteY91" fmla="*/ 59106 h 167359"/>
              <a:gd name="connsiteX92" fmla="*/ 88402 w 182347"/>
              <a:gd name="connsiteY92" fmla="*/ 56735 h 167359"/>
              <a:gd name="connsiteX93" fmla="*/ 77296 w 182347"/>
              <a:gd name="connsiteY93" fmla="*/ 62057 h 167359"/>
              <a:gd name="connsiteX94" fmla="*/ 74230 w 182347"/>
              <a:gd name="connsiteY94" fmla="*/ 65874 h 167359"/>
              <a:gd name="connsiteX95" fmla="*/ 71570 w 182347"/>
              <a:gd name="connsiteY95" fmla="*/ 63561 h 167359"/>
              <a:gd name="connsiteX96" fmla="*/ 77817 w 182347"/>
              <a:gd name="connsiteY96" fmla="*/ 41638 h 167359"/>
              <a:gd name="connsiteX97" fmla="*/ 87303 w 182347"/>
              <a:gd name="connsiteY97" fmla="*/ 24978 h 167359"/>
              <a:gd name="connsiteX98" fmla="*/ 97426 w 182347"/>
              <a:gd name="connsiteY98" fmla="*/ 10749 h 167359"/>
              <a:gd name="connsiteX99" fmla="*/ 101302 w 182347"/>
              <a:gd name="connsiteY99" fmla="*/ 5832 h 167359"/>
              <a:gd name="connsiteX100" fmla="*/ 93088 w 182347"/>
              <a:gd name="connsiteY100" fmla="*/ 2361 h 167359"/>
              <a:gd name="connsiteX101" fmla="*/ 85510 w 182347"/>
              <a:gd name="connsiteY101" fmla="*/ 3865 h 167359"/>
              <a:gd name="connsiteX102" fmla="*/ 41838 w 182347"/>
              <a:gd name="connsiteY102" fmla="*/ 64197 h 167359"/>
              <a:gd name="connsiteX103" fmla="*/ 29459 w 182347"/>
              <a:gd name="connsiteY103" fmla="*/ 91210 h 167359"/>
              <a:gd name="connsiteX104" fmla="*/ 27377 w 182347"/>
              <a:gd name="connsiteY104" fmla="*/ 91210 h 167359"/>
              <a:gd name="connsiteX105" fmla="*/ 11585 w 182347"/>
              <a:gd name="connsiteY105" fmla="*/ 99945 h 167359"/>
              <a:gd name="connsiteX106" fmla="*/ 13841 w 182347"/>
              <a:gd name="connsiteY106" fmla="*/ 105382 h 167359"/>
              <a:gd name="connsiteX107" fmla="*/ 15866 w 182347"/>
              <a:gd name="connsiteY107" fmla="*/ 108621 h 167359"/>
              <a:gd name="connsiteX108" fmla="*/ 9329 w 182347"/>
              <a:gd name="connsiteY108" fmla="*/ 120769 h 167359"/>
              <a:gd name="connsiteX109" fmla="*/ 2157 w 182347"/>
              <a:gd name="connsiteY109" fmla="*/ 134478 h 167359"/>
              <a:gd name="connsiteX110" fmla="*/ 5685 w 182347"/>
              <a:gd name="connsiteY110" fmla="*/ 138469 h 167359"/>
              <a:gd name="connsiteX111" fmla="*/ 14709 w 182347"/>
              <a:gd name="connsiteY111" fmla="*/ 140378 h 167359"/>
              <a:gd name="connsiteX112" fmla="*/ 27840 w 182347"/>
              <a:gd name="connsiteY112" fmla="*/ 138874 h 167359"/>
              <a:gd name="connsiteX113" fmla="*/ 42995 w 182347"/>
              <a:gd name="connsiteY113" fmla="*/ 137254 h 167359"/>
              <a:gd name="connsiteX114" fmla="*/ 47275 w 182347"/>
              <a:gd name="connsiteY114" fmla="*/ 137254 h 167359"/>
              <a:gd name="connsiteX115" fmla="*/ 61447 w 182347"/>
              <a:gd name="connsiteY115" fmla="*/ 138295 h 167359"/>
              <a:gd name="connsiteX116" fmla="*/ 85221 w 182347"/>
              <a:gd name="connsiteY116" fmla="*/ 131007 h 167359"/>
              <a:gd name="connsiteX117" fmla="*/ 92162 w 182347"/>
              <a:gd name="connsiteY117" fmla="*/ 128230 h 167359"/>
              <a:gd name="connsiteX118" fmla="*/ 99798 w 182347"/>
              <a:gd name="connsiteY118" fmla="*/ 132511 h 167359"/>
              <a:gd name="connsiteX119" fmla="*/ 110788 w 182347"/>
              <a:gd name="connsiteY119" fmla="*/ 137254 h 167359"/>
              <a:gd name="connsiteX120" fmla="*/ 112928 w 182347"/>
              <a:gd name="connsiteY120" fmla="*/ 137254 h 167359"/>
              <a:gd name="connsiteX121" fmla="*/ 116225 w 182347"/>
              <a:gd name="connsiteY121" fmla="*/ 138642 h 167359"/>
              <a:gd name="connsiteX122" fmla="*/ 112292 w 182347"/>
              <a:gd name="connsiteY122" fmla="*/ 145931 h 167359"/>
              <a:gd name="connsiteX123" fmla="*/ 105582 w 182347"/>
              <a:gd name="connsiteY123" fmla="*/ 157789 h 167359"/>
              <a:gd name="connsiteX124" fmla="*/ 106855 w 182347"/>
              <a:gd name="connsiteY124" fmla="*/ 159698 h 167359"/>
              <a:gd name="connsiteX125" fmla="*/ 117440 w 182347"/>
              <a:gd name="connsiteY125" fmla="*/ 153624 h 167359"/>
              <a:gd name="connsiteX126" fmla="*/ 127389 w 182347"/>
              <a:gd name="connsiteY126" fmla="*/ 147203 h 167359"/>
              <a:gd name="connsiteX127" fmla="*/ 136298 w 182347"/>
              <a:gd name="connsiteY127" fmla="*/ 144832 h 167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82347" h="167359">
                <a:moveTo>
                  <a:pt x="163600" y="167102"/>
                </a:moveTo>
                <a:lnTo>
                  <a:pt x="163600" y="167102"/>
                </a:lnTo>
                <a:cubicBezTo>
                  <a:pt x="154981" y="167102"/>
                  <a:pt x="146247" y="163978"/>
                  <a:pt x="144164" y="159929"/>
                </a:cubicBezTo>
                <a:cubicBezTo>
                  <a:pt x="143291" y="158552"/>
                  <a:pt x="143291" y="156794"/>
                  <a:pt x="144164" y="155417"/>
                </a:cubicBezTo>
                <a:cubicBezTo>
                  <a:pt x="145234" y="154041"/>
                  <a:pt x="145414" y="152172"/>
                  <a:pt x="144627" y="150616"/>
                </a:cubicBezTo>
                <a:cubicBezTo>
                  <a:pt x="142643" y="148117"/>
                  <a:pt x="139531" y="146787"/>
                  <a:pt x="136355" y="147088"/>
                </a:cubicBezTo>
                <a:cubicBezTo>
                  <a:pt x="133700" y="147088"/>
                  <a:pt x="131080" y="147724"/>
                  <a:pt x="128720" y="148939"/>
                </a:cubicBezTo>
                <a:cubicBezTo>
                  <a:pt x="125348" y="150772"/>
                  <a:pt x="122114" y="152861"/>
                  <a:pt x="119060" y="155186"/>
                </a:cubicBezTo>
                <a:cubicBezTo>
                  <a:pt x="115670" y="158275"/>
                  <a:pt x="111581" y="160496"/>
                  <a:pt x="107144" y="161664"/>
                </a:cubicBezTo>
                <a:cubicBezTo>
                  <a:pt x="105987" y="161664"/>
                  <a:pt x="103963" y="161144"/>
                  <a:pt x="103615" y="157673"/>
                </a:cubicBezTo>
                <a:cubicBezTo>
                  <a:pt x="103210" y="153161"/>
                  <a:pt x="107433" y="148187"/>
                  <a:pt x="110846" y="144196"/>
                </a:cubicBezTo>
                <a:cubicBezTo>
                  <a:pt x="112298" y="142761"/>
                  <a:pt x="113507" y="141101"/>
                  <a:pt x="114432" y="139279"/>
                </a:cubicBezTo>
                <a:lnTo>
                  <a:pt x="113217" y="139279"/>
                </a:lnTo>
                <a:cubicBezTo>
                  <a:pt x="112599" y="139227"/>
                  <a:pt x="111980" y="139227"/>
                  <a:pt x="111367" y="139279"/>
                </a:cubicBezTo>
                <a:cubicBezTo>
                  <a:pt x="106450" y="139799"/>
                  <a:pt x="101602" y="137769"/>
                  <a:pt x="98525" y="133899"/>
                </a:cubicBezTo>
                <a:cubicBezTo>
                  <a:pt x="96501" y="131932"/>
                  <a:pt x="94708" y="130255"/>
                  <a:pt x="92452" y="130255"/>
                </a:cubicBezTo>
                <a:cubicBezTo>
                  <a:pt x="90317" y="130394"/>
                  <a:pt x="88287" y="131227"/>
                  <a:pt x="86667" y="132627"/>
                </a:cubicBezTo>
                <a:cubicBezTo>
                  <a:pt x="79408" y="137960"/>
                  <a:pt x="70557" y="140667"/>
                  <a:pt x="61563" y="140320"/>
                </a:cubicBezTo>
                <a:cubicBezTo>
                  <a:pt x="56727" y="140233"/>
                  <a:pt x="51897" y="139886"/>
                  <a:pt x="47101" y="139279"/>
                </a:cubicBezTo>
                <a:cubicBezTo>
                  <a:pt x="45887" y="139279"/>
                  <a:pt x="44499" y="139279"/>
                  <a:pt x="43110" y="139279"/>
                </a:cubicBezTo>
                <a:cubicBezTo>
                  <a:pt x="38136" y="139418"/>
                  <a:pt x="33184" y="139961"/>
                  <a:pt x="28302" y="140898"/>
                </a:cubicBezTo>
                <a:cubicBezTo>
                  <a:pt x="23854" y="141743"/>
                  <a:pt x="19348" y="142246"/>
                  <a:pt x="14825" y="142402"/>
                </a:cubicBezTo>
                <a:cubicBezTo>
                  <a:pt x="11319" y="142547"/>
                  <a:pt x="7831" y="141795"/>
                  <a:pt x="4702" y="140204"/>
                </a:cubicBezTo>
                <a:cubicBezTo>
                  <a:pt x="2313" y="139128"/>
                  <a:pt x="571" y="136982"/>
                  <a:pt x="16" y="134420"/>
                </a:cubicBezTo>
                <a:cubicBezTo>
                  <a:pt x="-909" y="129561"/>
                  <a:pt x="3429" y="124124"/>
                  <a:pt x="7652" y="118802"/>
                </a:cubicBezTo>
                <a:cubicBezTo>
                  <a:pt x="10833" y="114926"/>
                  <a:pt x="14073" y="110877"/>
                  <a:pt x="13726" y="108390"/>
                </a:cubicBezTo>
                <a:cubicBezTo>
                  <a:pt x="13662" y="107684"/>
                  <a:pt x="13251" y="107054"/>
                  <a:pt x="12627" y="106712"/>
                </a:cubicBezTo>
                <a:cubicBezTo>
                  <a:pt x="9856" y="105099"/>
                  <a:pt x="8583" y="101778"/>
                  <a:pt x="9561" y="98730"/>
                </a:cubicBezTo>
                <a:cubicBezTo>
                  <a:pt x="13332" y="91777"/>
                  <a:pt x="20892" y="87745"/>
                  <a:pt x="28765" y="88491"/>
                </a:cubicBezTo>
                <a:lnTo>
                  <a:pt x="29864" y="88491"/>
                </a:lnTo>
                <a:cubicBezTo>
                  <a:pt x="38714" y="88491"/>
                  <a:pt x="39929" y="76576"/>
                  <a:pt x="39929" y="63734"/>
                </a:cubicBezTo>
                <a:cubicBezTo>
                  <a:pt x="39929" y="50893"/>
                  <a:pt x="72437" y="6353"/>
                  <a:pt x="85047" y="1320"/>
                </a:cubicBezTo>
                <a:cubicBezTo>
                  <a:pt x="87749" y="319"/>
                  <a:pt x="90612" y="-172"/>
                  <a:pt x="93493" y="-126"/>
                </a:cubicBezTo>
                <a:cubicBezTo>
                  <a:pt x="98930" y="-126"/>
                  <a:pt x="103095" y="1956"/>
                  <a:pt x="103905" y="5022"/>
                </a:cubicBezTo>
                <a:cubicBezTo>
                  <a:pt x="104310" y="6526"/>
                  <a:pt x="104194" y="9476"/>
                  <a:pt x="98988" y="12484"/>
                </a:cubicBezTo>
                <a:cubicBezTo>
                  <a:pt x="94320" y="15422"/>
                  <a:pt x="91028" y="20114"/>
                  <a:pt x="89848" y="25499"/>
                </a:cubicBezTo>
                <a:cubicBezTo>
                  <a:pt x="87847" y="31954"/>
                  <a:pt x="84428" y="37884"/>
                  <a:pt x="79842" y="42852"/>
                </a:cubicBezTo>
                <a:cubicBezTo>
                  <a:pt x="75064" y="47567"/>
                  <a:pt x="72755" y="54242"/>
                  <a:pt x="73594" y="60900"/>
                </a:cubicBezTo>
                <a:cubicBezTo>
                  <a:pt x="73687" y="61808"/>
                  <a:pt x="74069" y="62664"/>
                  <a:pt x="74693" y="63329"/>
                </a:cubicBezTo>
                <a:cubicBezTo>
                  <a:pt x="75058" y="62658"/>
                  <a:pt x="75330" y="61935"/>
                  <a:pt x="75503" y="61189"/>
                </a:cubicBezTo>
                <a:cubicBezTo>
                  <a:pt x="76834" y="56041"/>
                  <a:pt x="83254" y="54190"/>
                  <a:pt x="88807" y="54190"/>
                </a:cubicBezTo>
                <a:cubicBezTo>
                  <a:pt x="93319" y="54190"/>
                  <a:pt x="98294" y="55347"/>
                  <a:pt x="99393" y="57950"/>
                </a:cubicBezTo>
                <a:cubicBezTo>
                  <a:pt x="99879" y="59216"/>
                  <a:pt x="99479" y="60651"/>
                  <a:pt x="98409" y="61478"/>
                </a:cubicBezTo>
                <a:cubicBezTo>
                  <a:pt x="97426" y="62462"/>
                  <a:pt x="97484" y="63040"/>
                  <a:pt x="97484" y="63214"/>
                </a:cubicBezTo>
                <a:cubicBezTo>
                  <a:pt x="97484" y="64486"/>
                  <a:pt x="99971" y="66048"/>
                  <a:pt x="102285" y="67610"/>
                </a:cubicBezTo>
                <a:cubicBezTo>
                  <a:pt x="106045" y="69507"/>
                  <a:pt x="109041" y="72631"/>
                  <a:pt x="110788" y="76460"/>
                </a:cubicBezTo>
                <a:cubicBezTo>
                  <a:pt x="112176" y="81030"/>
                  <a:pt x="121200" y="85079"/>
                  <a:pt x="127389" y="85079"/>
                </a:cubicBezTo>
                <a:cubicBezTo>
                  <a:pt x="129877" y="85079"/>
                  <a:pt x="132827" y="84500"/>
                  <a:pt x="132827" y="81666"/>
                </a:cubicBezTo>
                <a:cubicBezTo>
                  <a:pt x="132827" y="80220"/>
                  <a:pt x="133521" y="76923"/>
                  <a:pt x="140115" y="76923"/>
                </a:cubicBezTo>
                <a:cubicBezTo>
                  <a:pt x="146710" y="76923"/>
                  <a:pt x="157468" y="80451"/>
                  <a:pt x="158394" y="84616"/>
                </a:cubicBezTo>
                <a:cubicBezTo>
                  <a:pt x="158394" y="85426"/>
                  <a:pt x="158394" y="87045"/>
                  <a:pt x="156312" y="88318"/>
                </a:cubicBezTo>
                <a:cubicBezTo>
                  <a:pt x="151048" y="91210"/>
                  <a:pt x="147751" y="103762"/>
                  <a:pt x="149486" y="110414"/>
                </a:cubicBezTo>
                <a:cubicBezTo>
                  <a:pt x="149833" y="111803"/>
                  <a:pt x="150527" y="113480"/>
                  <a:pt x="152031" y="113480"/>
                </a:cubicBezTo>
                <a:cubicBezTo>
                  <a:pt x="152598" y="113440"/>
                  <a:pt x="153147" y="113283"/>
                  <a:pt x="153651" y="113017"/>
                </a:cubicBezTo>
                <a:cubicBezTo>
                  <a:pt x="156682" y="111467"/>
                  <a:pt x="160025" y="110640"/>
                  <a:pt x="163427" y="110588"/>
                </a:cubicBezTo>
                <a:cubicBezTo>
                  <a:pt x="167186" y="110588"/>
                  <a:pt x="169731" y="111803"/>
                  <a:pt x="170426" y="113885"/>
                </a:cubicBezTo>
                <a:cubicBezTo>
                  <a:pt x="171120" y="115968"/>
                  <a:pt x="169731" y="118570"/>
                  <a:pt x="166145" y="121347"/>
                </a:cubicBezTo>
                <a:cubicBezTo>
                  <a:pt x="162084" y="124199"/>
                  <a:pt x="160297" y="129312"/>
                  <a:pt x="161691" y="134073"/>
                </a:cubicBezTo>
                <a:cubicBezTo>
                  <a:pt x="162212" y="135577"/>
                  <a:pt x="163080" y="136560"/>
                  <a:pt x="163831" y="136560"/>
                </a:cubicBezTo>
                <a:cubicBezTo>
                  <a:pt x="164583" y="136560"/>
                  <a:pt x="165335" y="135750"/>
                  <a:pt x="166087" y="134420"/>
                </a:cubicBezTo>
                <a:cubicBezTo>
                  <a:pt x="166816" y="132771"/>
                  <a:pt x="168447" y="131707"/>
                  <a:pt x="170252" y="131701"/>
                </a:cubicBezTo>
                <a:cubicBezTo>
                  <a:pt x="173086" y="131701"/>
                  <a:pt x="176037" y="134246"/>
                  <a:pt x="178813" y="138642"/>
                </a:cubicBezTo>
                <a:cubicBezTo>
                  <a:pt x="182822" y="144988"/>
                  <a:pt x="183348" y="152936"/>
                  <a:pt x="180201" y="159756"/>
                </a:cubicBezTo>
                <a:cubicBezTo>
                  <a:pt x="176430" y="165060"/>
                  <a:pt x="170061" y="167883"/>
                  <a:pt x="163600" y="167102"/>
                </a:cubicBezTo>
                <a:close/>
                <a:moveTo>
                  <a:pt x="136298" y="144832"/>
                </a:moveTo>
                <a:cubicBezTo>
                  <a:pt x="140283" y="144502"/>
                  <a:pt x="144153" y="146249"/>
                  <a:pt x="146536" y="149459"/>
                </a:cubicBezTo>
                <a:cubicBezTo>
                  <a:pt x="147745" y="151727"/>
                  <a:pt x="147566" y="154480"/>
                  <a:pt x="146073" y="156574"/>
                </a:cubicBezTo>
                <a:cubicBezTo>
                  <a:pt x="145616" y="157257"/>
                  <a:pt x="145616" y="158148"/>
                  <a:pt x="146073" y="158830"/>
                </a:cubicBezTo>
                <a:cubicBezTo>
                  <a:pt x="150816" y="163059"/>
                  <a:pt x="157092" y="165152"/>
                  <a:pt x="163427" y="164615"/>
                </a:cubicBezTo>
                <a:lnTo>
                  <a:pt x="163427" y="164615"/>
                </a:lnTo>
                <a:cubicBezTo>
                  <a:pt x="168997" y="165118"/>
                  <a:pt x="174440" y="162769"/>
                  <a:pt x="177888" y="158367"/>
                </a:cubicBezTo>
                <a:cubicBezTo>
                  <a:pt x="180641" y="152230"/>
                  <a:pt x="180120" y="145121"/>
                  <a:pt x="176499" y="139452"/>
                </a:cubicBezTo>
                <a:cubicBezTo>
                  <a:pt x="174475" y="135982"/>
                  <a:pt x="171814" y="133668"/>
                  <a:pt x="169905" y="133668"/>
                </a:cubicBezTo>
                <a:cubicBezTo>
                  <a:pt x="168928" y="133714"/>
                  <a:pt x="168071" y="134322"/>
                  <a:pt x="167707" y="135230"/>
                </a:cubicBezTo>
                <a:cubicBezTo>
                  <a:pt x="166261" y="137948"/>
                  <a:pt x="164583" y="138527"/>
                  <a:pt x="163484" y="138527"/>
                </a:cubicBezTo>
                <a:cubicBezTo>
                  <a:pt x="162385" y="138527"/>
                  <a:pt x="160072" y="137023"/>
                  <a:pt x="159204" y="134535"/>
                </a:cubicBezTo>
                <a:cubicBezTo>
                  <a:pt x="157538" y="128855"/>
                  <a:pt x="159620" y="122741"/>
                  <a:pt x="164410" y="119265"/>
                </a:cubicBezTo>
                <a:cubicBezTo>
                  <a:pt x="167013" y="117240"/>
                  <a:pt x="168343" y="115389"/>
                  <a:pt x="167938" y="114290"/>
                </a:cubicBezTo>
                <a:cubicBezTo>
                  <a:pt x="167533" y="113191"/>
                  <a:pt x="165624" y="112555"/>
                  <a:pt x="163080" y="112555"/>
                </a:cubicBezTo>
                <a:cubicBezTo>
                  <a:pt x="160019" y="112618"/>
                  <a:pt x="157017" y="113370"/>
                  <a:pt x="154287" y="114753"/>
                </a:cubicBezTo>
                <a:cubicBezTo>
                  <a:pt x="153489" y="115187"/>
                  <a:pt x="152592" y="115424"/>
                  <a:pt x="151684" y="115447"/>
                </a:cubicBezTo>
                <a:cubicBezTo>
                  <a:pt x="150354" y="115447"/>
                  <a:pt x="147982" y="114811"/>
                  <a:pt x="146941" y="110704"/>
                </a:cubicBezTo>
                <a:cubicBezTo>
                  <a:pt x="145206" y="103762"/>
                  <a:pt x="148098" y="89706"/>
                  <a:pt x="154865" y="86062"/>
                </a:cubicBezTo>
                <a:cubicBezTo>
                  <a:pt x="155617" y="85657"/>
                  <a:pt x="155964" y="85252"/>
                  <a:pt x="155907" y="84905"/>
                </a:cubicBezTo>
                <a:cubicBezTo>
                  <a:pt x="155270" y="82591"/>
                  <a:pt x="146362" y="79121"/>
                  <a:pt x="139768" y="79121"/>
                </a:cubicBezTo>
                <a:cubicBezTo>
                  <a:pt x="137454" y="79121"/>
                  <a:pt x="134736" y="79583"/>
                  <a:pt x="134736" y="81608"/>
                </a:cubicBezTo>
                <a:cubicBezTo>
                  <a:pt x="134736" y="85136"/>
                  <a:pt x="131901" y="87392"/>
                  <a:pt x="127042" y="87392"/>
                </a:cubicBezTo>
                <a:cubicBezTo>
                  <a:pt x="119812" y="87392"/>
                  <a:pt x="109689" y="82938"/>
                  <a:pt x="108301" y="77212"/>
                </a:cubicBezTo>
                <a:cubicBezTo>
                  <a:pt x="107318" y="73973"/>
                  <a:pt x="103789" y="71427"/>
                  <a:pt x="100665" y="69519"/>
                </a:cubicBezTo>
                <a:cubicBezTo>
                  <a:pt x="97542" y="67610"/>
                  <a:pt x="95170" y="65816"/>
                  <a:pt x="94881" y="63734"/>
                </a:cubicBezTo>
                <a:cubicBezTo>
                  <a:pt x="94829" y="62375"/>
                  <a:pt x="95378" y="61062"/>
                  <a:pt x="96385" y="60148"/>
                </a:cubicBezTo>
                <a:cubicBezTo>
                  <a:pt x="96848" y="59725"/>
                  <a:pt x="97021" y="59378"/>
                  <a:pt x="96906" y="59106"/>
                </a:cubicBezTo>
                <a:cubicBezTo>
                  <a:pt x="96501" y="58123"/>
                  <a:pt x="93319" y="56735"/>
                  <a:pt x="88402" y="56735"/>
                </a:cubicBezTo>
                <a:cubicBezTo>
                  <a:pt x="83486" y="56735"/>
                  <a:pt x="78280" y="58123"/>
                  <a:pt x="77296" y="62057"/>
                </a:cubicBezTo>
                <a:cubicBezTo>
                  <a:pt x="76313" y="65990"/>
                  <a:pt x="75214" y="65874"/>
                  <a:pt x="74230" y="65874"/>
                </a:cubicBezTo>
                <a:cubicBezTo>
                  <a:pt x="73247" y="65874"/>
                  <a:pt x="72437" y="65585"/>
                  <a:pt x="71570" y="63561"/>
                </a:cubicBezTo>
                <a:cubicBezTo>
                  <a:pt x="69430" y="55659"/>
                  <a:pt x="71836" y="47225"/>
                  <a:pt x="77817" y="41638"/>
                </a:cubicBezTo>
                <a:cubicBezTo>
                  <a:pt x="82149" y="36837"/>
                  <a:pt x="85389" y="31156"/>
                  <a:pt x="87303" y="24978"/>
                </a:cubicBezTo>
                <a:cubicBezTo>
                  <a:pt x="88657" y="19078"/>
                  <a:pt x="92295" y="13959"/>
                  <a:pt x="97426" y="10749"/>
                </a:cubicBezTo>
                <a:cubicBezTo>
                  <a:pt x="100318" y="9071"/>
                  <a:pt x="101706" y="7336"/>
                  <a:pt x="101302" y="5832"/>
                </a:cubicBezTo>
                <a:cubicBezTo>
                  <a:pt x="100897" y="4328"/>
                  <a:pt x="97831" y="2361"/>
                  <a:pt x="93088" y="2361"/>
                </a:cubicBezTo>
                <a:cubicBezTo>
                  <a:pt x="90491" y="2379"/>
                  <a:pt x="87917" y="2888"/>
                  <a:pt x="85510" y="3865"/>
                </a:cubicBezTo>
                <a:cubicBezTo>
                  <a:pt x="73941" y="8609"/>
                  <a:pt x="41838" y="52570"/>
                  <a:pt x="41838" y="64197"/>
                </a:cubicBezTo>
                <a:cubicBezTo>
                  <a:pt x="41838" y="73625"/>
                  <a:pt x="41838" y="91210"/>
                  <a:pt x="29459" y="91210"/>
                </a:cubicBezTo>
                <a:lnTo>
                  <a:pt x="27377" y="91210"/>
                </a:lnTo>
                <a:cubicBezTo>
                  <a:pt x="20892" y="90938"/>
                  <a:pt x="14801" y="94311"/>
                  <a:pt x="11585" y="99945"/>
                </a:cubicBezTo>
                <a:cubicBezTo>
                  <a:pt x="10960" y="102062"/>
                  <a:pt x="11903" y="104329"/>
                  <a:pt x="13841" y="105382"/>
                </a:cubicBezTo>
                <a:cubicBezTo>
                  <a:pt x="14946" y="106122"/>
                  <a:pt x="15680" y="107302"/>
                  <a:pt x="15866" y="108621"/>
                </a:cubicBezTo>
                <a:cubicBezTo>
                  <a:pt x="16328" y="112034"/>
                  <a:pt x="12916" y="116257"/>
                  <a:pt x="9329" y="120769"/>
                </a:cubicBezTo>
                <a:cubicBezTo>
                  <a:pt x="5743" y="125280"/>
                  <a:pt x="1347" y="130660"/>
                  <a:pt x="2157" y="134478"/>
                </a:cubicBezTo>
                <a:cubicBezTo>
                  <a:pt x="2614" y="136306"/>
                  <a:pt x="3933" y="137792"/>
                  <a:pt x="5685" y="138469"/>
                </a:cubicBezTo>
                <a:cubicBezTo>
                  <a:pt x="8490" y="139846"/>
                  <a:pt x="11591" y="140499"/>
                  <a:pt x="14709" y="140378"/>
                </a:cubicBezTo>
                <a:cubicBezTo>
                  <a:pt x="19117" y="140210"/>
                  <a:pt x="23507" y="139712"/>
                  <a:pt x="27840" y="138874"/>
                </a:cubicBezTo>
                <a:cubicBezTo>
                  <a:pt x="32843" y="137960"/>
                  <a:pt x="37910" y="137416"/>
                  <a:pt x="42995" y="137254"/>
                </a:cubicBezTo>
                <a:cubicBezTo>
                  <a:pt x="44499" y="137254"/>
                  <a:pt x="45887" y="137254"/>
                  <a:pt x="47275" y="137254"/>
                </a:cubicBezTo>
                <a:cubicBezTo>
                  <a:pt x="51978" y="137862"/>
                  <a:pt x="56709" y="138214"/>
                  <a:pt x="61447" y="138295"/>
                </a:cubicBezTo>
                <a:cubicBezTo>
                  <a:pt x="69967" y="138625"/>
                  <a:pt x="78349" y="136057"/>
                  <a:pt x="85221" y="131007"/>
                </a:cubicBezTo>
                <a:cubicBezTo>
                  <a:pt x="87194" y="129387"/>
                  <a:pt x="89617" y="128415"/>
                  <a:pt x="92162" y="128230"/>
                </a:cubicBezTo>
                <a:cubicBezTo>
                  <a:pt x="95170" y="128601"/>
                  <a:pt x="97912" y="130139"/>
                  <a:pt x="99798" y="132511"/>
                </a:cubicBezTo>
                <a:cubicBezTo>
                  <a:pt x="102418" y="135860"/>
                  <a:pt x="106554" y="137647"/>
                  <a:pt x="110788" y="137254"/>
                </a:cubicBezTo>
                <a:lnTo>
                  <a:pt x="112928" y="137254"/>
                </a:lnTo>
                <a:cubicBezTo>
                  <a:pt x="113564" y="137254"/>
                  <a:pt x="115531" y="137254"/>
                  <a:pt x="116225" y="138642"/>
                </a:cubicBezTo>
                <a:cubicBezTo>
                  <a:pt x="116920" y="140031"/>
                  <a:pt x="115126" y="142634"/>
                  <a:pt x="112292" y="145931"/>
                </a:cubicBezTo>
                <a:cubicBezTo>
                  <a:pt x="109458" y="149228"/>
                  <a:pt x="105293" y="154145"/>
                  <a:pt x="105582" y="157789"/>
                </a:cubicBezTo>
                <a:cubicBezTo>
                  <a:pt x="105582" y="159698"/>
                  <a:pt x="106450" y="159698"/>
                  <a:pt x="106855" y="159698"/>
                </a:cubicBezTo>
                <a:cubicBezTo>
                  <a:pt x="110759" y="158419"/>
                  <a:pt x="114363" y="156349"/>
                  <a:pt x="117440" y="153624"/>
                </a:cubicBezTo>
                <a:cubicBezTo>
                  <a:pt x="120593" y="151241"/>
                  <a:pt x="123919" y="149095"/>
                  <a:pt x="127389" y="147203"/>
                </a:cubicBezTo>
                <a:cubicBezTo>
                  <a:pt x="130131" y="145723"/>
                  <a:pt x="133180" y="144907"/>
                  <a:pt x="136298" y="144832"/>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0" name="Forma libre: forma 469">
            <a:extLst>
              <a:ext uri="{FF2B5EF4-FFF2-40B4-BE49-F238E27FC236}">
                <a16:creationId xmlns:a16="http://schemas.microsoft.com/office/drawing/2014/main" id="{619ADE8A-BA58-A130-C9E5-2518E8AB803E}"/>
              </a:ext>
            </a:extLst>
          </p:cNvPr>
          <p:cNvSpPr/>
          <p:nvPr/>
        </p:nvSpPr>
        <p:spPr>
          <a:xfrm>
            <a:off x="4411938" y="2980157"/>
            <a:ext cx="77475" cy="33086"/>
          </a:xfrm>
          <a:custGeom>
            <a:avLst/>
            <a:gdLst>
              <a:gd name="connsiteX0" fmla="*/ 68982 w 77475"/>
              <a:gd name="connsiteY0" fmla="*/ 32958 h 33086"/>
              <a:gd name="connsiteX1" fmla="*/ 68982 w 77475"/>
              <a:gd name="connsiteY1" fmla="*/ 32958 h 33086"/>
              <a:gd name="connsiteX2" fmla="*/ -26 w 77475"/>
              <a:gd name="connsiteY2" fmla="*/ 3226 h 33086"/>
              <a:gd name="connsiteX3" fmla="*/ 321 w 77475"/>
              <a:gd name="connsiteY3" fmla="*/ 1317 h 33086"/>
              <a:gd name="connsiteX4" fmla="*/ 5700 w 77475"/>
              <a:gd name="connsiteY4" fmla="*/ -129 h 33086"/>
              <a:gd name="connsiteX5" fmla="*/ 75576 w 77475"/>
              <a:gd name="connsiteY5" fmla="*/ 23645 h 33086"/>
              <a:gd name="connsiteX6" fmla="*/ 77311 w 77475"/>
              <a:gd name="connsiteY6" fmla="*/ 28620 h 33086"/>
              <a:gd name="connsiteX7" fmla="*/ 68982 w 77475"/>
              <a:gd name="connsiteY7" fmla="*/ 32958 h 33086"/>
              <a:gd name="connsiteX8" fmla="*/ 5700 w 77475"/>
              <a:gd name="connsiteY8" fmla="*/ 2127 h 33086"/>
              <a:gd name="connsiteX9" fmla="*/ 2114 w 77475"/>
              <a:gd name="connsiteY9" fmla="*/ 2705 h 33086"/>
              <a:gd name="connsiteX10" fmla="*/ 68982 w 77475"/>
              <a:gd name="connsiteY10" fmla="*/ 30702 h 33086"/>
              <a:gd name="connsiteX11" fmla="*/ 68982 w 77475"/>
              <a:gd name="connsiteY11" fmla="*/ 30702 h 33086"/>
              <a:gd name="connsiteX12" fmla="*/ 75055 w 77475"/>
              <a:gd name="connsiteY12" fmla="*/ 28215 h 33086"/>
              <a:gd name="connsiteX13" fmla="*/ 73841 w 77475"/>
              <a:gd name="connsiteY13" fmla="*/ 25091 h 33086"/>
              <a:gd name="connsiteX14" fmla="*/ 5700 w 77475"/>
              <a:gd name="connsiteY14" fmla="*/ 2127 h 3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475" h="33086">
                <a:moveTo>
                  <a:pt x="68982" y="32958"/>
                </a:moveTo>
                <a:lnTo>
                  <a:pt x="68982" y="32958"/>
                </a:lnTo>
                <a:cubicBezTo>
                  <a:pt x="50587" y="32958"/>
                  <a:pt x="2172" y="12134"/>
                  <a:pt x="-26" y="3226"/>
                </a:cubicBezTo>
                <a:cubicBezTo>
                  <a:pt x="-211" y="2572"/>
                  <a:pt x="-84" y="1867"/>
                  <a:pt x="321" y="1317"/>
                </a:cubicBezTo>
                <a:cubicBezTo>
                  <a:pt x="1131" y="334"/>
                  <a:pt x="2808" y="-129"/>
                  <a:pt x="5700" y="-129"/>
                </a:cubicBezTo>
                <a:cubicBezTo>
                  <a:pt x="20219" y="-129"/>
                  <a:pt x="66321" y="12539"/>
                  <a:pt x="75576" y="23645"/>
                </a:cubicBezTo>
                <a:cubicBezTo>
                  <a:pt x="76918" y="24929"/>
                  <a:pt x="77566" y="26780"/>
                  <a:pt x="77311" y="28620"/>
                </a:cubicBezTo>
                <a:cubicBezTo>
                  <a:pt x="76791" y="31512"/>
                  <a:pt x="73956" y="32958"/>
                  <a:pt x="68982" y="32958"/>
                </a:cubicBezTo>
                <a:close/>
                <a:moveTo>
                  <a:pt x="5700" y="2127"/>
                </a:moveTo>
                <a:cubicBezTo>
                  <a:pt x="2635" y="2127"/>
                  <a:pt x="2114" y="2705"/>
                  <a:pt x="2114" y="2705"/>
                </a:cubicBezTo>
                <a:cubicBezTo>
                  <a:pt x="3965" y="9820"/>
                  <a:pt x="50819" y="30702"/>
                  <a:pt x="68982" y="30702"/>
                </a:cubicBezTo>
                <a:lnTo>
                  <a:pt x="68982" y="30702"/>
                </a:lnTo>
                <a:cubicBezTo>
                  <a:pt x="71585" y="30702"/>
                  <a:pt x="74766" y="30297"/>
                  <a:pt x="75055" y="28215"/>
                </a:cubicBezTo>
                <a:cubicBezTo>
                  <a:pt x="75142" y="27041"/>
                  <a:pt x="74697" y="25895"/>
                  <a:pt x="73841" y="25091"/>
                </a:cubicBezTo>
                <a:cubicBezTo>
                  <a:pt x="65164" y="14621"/>
                  <a:pt x="19525" y="2127"/>
                  <a:pt x="5700" y="212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1" name="Forma libre: forma 470">
            <a:extLst>
              <a:ext uri="{FF2B5EF4-FFF2-40B4-BE49-F238E27FC236}">
                <a16:creationId xmlns:a16="http://schemas.microsoft.com/office/drawing/2014/main" id="{A2DEE0D1-1FA1-110C-D2A2-EAC71BADCC8D}"/>
              </a:ext>
            </a:extLst>
          </p:cNvPr>
          <p:cNvSpPr/>
          <p:nvPr/>
        </p:nvSpPr>
        <p:spPr>
          <a:xfrm>
            <a:off x="3459730" y="2831832"/>
            <a:ext cx="74983" cy="128368"/>
          </a:xfrm>
          <a:custGeom>
            <a:avLst/>
            <a:gdLst>
              <a:gd name="connsiteX0" fmla="*/ 64503 w 74983"/>
              <a:gd name="connsiteY0" fmla="*/ 128240 h 128368"/>
              <a:gd name="connsiteX1" fmla="*/ 64503 w 74983"/>
              <a:gd name="connsiteY1" fmla="*/ 128240 h 128368"/>
              <a:gd name="connsiteX2" fmla="*/ 57099 w 74983"/>
              <a:gd name="connsiteY2" fmla="*/ 112680 h 128368"/>
              <a:gd name="connsiteX3" fmla="*/ 41654 w 74983"/>
              <a:gd name="connsiteY3" fmla="*/ 79593 h 128368"/>
              <a:gd name="connsiteX4" fmla="*/ -110 w 74983"/>
              <a:gd name="connsiteY4" fmla="*/ 17989 h 128368"/>
              <a:gd name="connsiteX5" fmla="*/ 21235 w 74983"/>
              <a:gd name="connsiteY5" fmla="*/ -117 h 128368"/>
              <a:gd name="connsiteX6" fmla="*/ 35812 w 74983"/>
              <a:gd name="connsiteY6" fmla="*/ 6420 h 128368"/>
              <a:gd name="connsiteX7" fmla="*/ 55710 w 74983"/>
              <a:gd name="connsiteY7" fmla="*/ 52059 h 128368"/>
              <a:gd name="connsiteX8" fmla="*/ 68610 w 74983"/>
              <a:gd name="connsiteY8" fmla="*/ 84105 h 128368"/>
              <a:gd name="connsiteX9" fmla="*/ 72254 w 74983"/>
              <a:gd name="connsiteY9" fmla="*/ 122918 h 128368"/>
              <a:gd name="connsiteX10" fmla="*/ 65370 w 74983"/>
              <a:gd name="connsiteY10" fmla="*/ 128182 h 128368"/>
              <a:gd name="connsiteX11" fmla="*/ 21235 w 74983"/>
              <a:gd name="connsiteY11" fmla="*/ 3296 h 128368"/>
              <a:gd name="connsiteX12" fmla="*/ 3246 w 74983"/>
              <a:gd name="connsiteY12" fmla="*/ 17989 h 128368"/>
              <a:gd name="connsiteX13" fmla="*/ 43274 w 74983"/>
              <a:gd name="connsiteY13" fmla="*/ 76585 h 128368"/>
              <a:gd name="connsiteX14" fmla="*/ 60627 w 74983"/>
              <a:gd name="connsiteY14" fmla="*/ 112391 h 128368"/>
              <a:gd name="connsiteX15" fmla="*/ 65139 w 74983"/>
              <a:gd name="connsiteY15" fmla="*/ 124827 h 128368"/>
              <a:gd name="connsiteX16" fmla="*/ 69419 w 74983"/>
              <a:gd name="connsiteY16" fmla="*/ 121356 h 128368"/>
              <a:gd name="connsiteX17" fmla="*/ 65833 w 74983"/>
              <a:gd name="connsiteY17" fmla="*/ 85666 h 128368"/>
              <a:gd name="connsiteX18" fmla="*/ 52760 w 74983"/>
              <a:gd name="connsiteY18" fmla="*/ 53274 h 128368"/>
              <a:gd name="connsiteX19" fmla="*/ 33324 w 74983"/>
              <a:gd name="connsiteY19" fmla="*/ 8502 h 128368"/>
              <a:gd name="connsiteX20" fmla="*/ 21235 w 74983"/>
              <a:gd name="connsiteY20" fmla="*/ 3296 h 12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83" h="128368">
                <a:moveTo>
                  <a:pt x="64503" y="128240"/>
                </a:moveTo>
                <a:lnTo>
                  <a:pt x="64503" y="128240"/>
                </a:lnTo>
                <a:cubicBezTo>
                  <a:pt x="58429" y="128240"/>
                  <a:pt x="57793" y="121009"/>
                  <a:pt x="57099" y="112680"/>
                </a:cubicBezTo>
                <a:cubicBezTo>
                  <a:pt x="56115" y="101111"/>
                  <a:pt x="54900" y="86823"/>
                  <a:pt x="41654" y="79593"/>
                </a:cubicBezTo>
                <a:cubicBezTo>
                  <a:pt x="12732" y="63744"/>
                  <a:pt x="-110" y="34012"/>
                  <a:pt x="-110" y="17989"/>
                </a:cubicBezTo>
                <a:cubicBezTo>
                  <a:pt x="-110" y="6825"/>
                  <a:pt x="10939" y="-117"/>
                  <a:pt x="21235" y="-117"/>
                </a:cubicBezTo>
                <a:cubicBezTo>
                  <a:pt x="26846" y="-325"/>
                  <a:pt x="32237" y="2093"/>
                  <a:pt x="35812" y="6420"/>
                </a:cubicBezTo>
                <a:cubicBezTo>
                  <a:pt x="41596" y="13650"/>
                  <a:pt x="48769" y="33144"/>
                  <a:pt x="55710" y="52059"/>
                </a:cubicBezTo>
                <a:cubicBezTo>
                  <a:pt x="59441" y="62963"/>
                  <a:pt x="63745" y="73658"/>
                  <a:pt x="68610" y="84105"/>
                </a:cubicBezTo>
                <a:cubicBezTo>
                  <a:pt x="75204" y="96310"/>
                  <a:pt x="76881" y="114126"/>
                  <a:pt x="72254" y="122918"/>
                </a:cubicBezTo>
                <a:cubicBezTo>
                  <a:pt x="71004" y="125730"/>
                  <a:pt x="68413" y="127714"/>
                  <a:pt x="65370" y="128182"/>
                </a:cubicBezTo>
                <a:close/>
                <a:moveTo>
                  <a:pt x="21235" y="3296"/>
                </a:moveTo>
                <a:cubicBezTo>
                  <a:pt x="12616" y="3296"/>
                  <a:pt x="3246" y="9081"/>
                  <a:pt x="3246" y="17989"/>
                </a:cubicBezTo>
                <a:cubicBezTo>
                  <a:pt x="3246" y="33202"/>
                  <a:pt x="15682" y="61430"/>
                  <a:pt x="43274" y="76585"/>
                </a:cubicBezTo>
                <a:cubicBezTo>
                  <a:pt x="58082" y="84741"/>
                  <a:pt x="59470" y="100706"/>
                  <a:pt x="60627" y="112391"/>
                </a:cubicBezTo>
                <a:cubicBezTo>
                  <a:pt x="61437" y="121761"/>
                  <a:pt x="62189" y="125290"/>
                  <a:pt x="65139" y="124827"/>
                </a:cubicBezTo>
                <a:cubicBezTo>
                  <a:pt x="67059" y="124468"/>
                  <a:pt x="68673" y="123161"/>
                  <a:pt x="69419" y="121356"/>
                </a:cubicBezTo>
                <a:cubicBezTo>
                  <a:pt x="73526" y="113547"/>
                  <a:pt x="71849" y="96888"/>
                  <a:pt x="65833" y="85666"/>
                </a:cubicBezTo>
                <a:cubicBezTo>
                  <a:pt x="60870" y="75121"/>
                  <a:pt x="56503" y="64310"/>
                  <a:pt x="52760" y="53274"/>
                </a:cubicBezTo>
                <a:cubicBezTo>
                  <a:pt x="46166" y="35458"/>
                  <a:pt x="38762" y="15328"/>
                  <a:pt x="33324" y="8502"/>
                </a:cubicBezTo>
                <a:cubicBezTo>
                  <a:pt x="30328" y="4974"/>
                  <a:pt x="25857" y="3048"/>
                  <a:pt x="21235" y="3296"/>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2" name="Forma libre: forma 471">
            <a:extLst>
              <a:ext uri="{FF2B5EF4-FFF2-40B4-BE49-F238E27FC236}">
                <a16:creationId xmlns:a16="http://schemas.microsoft.com/office/drawing/2014/main" id="{188AA98A-206A-EDCF-CD40-FAB367D92FA4}"/>
              </a:ext>
            </a:extLst>
          </p:cNvPr>
          <p:cNvSpPr/>
          <p:nvPr/>
        </p:nvSpPr>
        <p:spPr>
          <a:xfrm>
            <a:off x="3066825" y="1665987"/>
            <a:ext cx="116475" cy="33915"/>
          </a:xfrm>
          <a:custGeom>
            <a:avLst/>
            <a:gdLst>
              <a:gd name="connsiteX0" fmla="*/ 95419 w 116475"/>
              <a:gd name="connsiteY0" fmla="*/ 33773 h 33915"/>
              <a:gd name="connsiteX1" fmla="*/ 68463 w 116475"/>
              <a:gd name="connsiteY1" fmla="*/ 26543 h 33915"/>
              <a:gd name="connsiteX2" fmla="*/ 63893 w 116475"/>
              <a:gd name="connsiteY2" fmla="*/ 24865 h 33915"/>
              <a:gd name="connsiteX3" fmla="*/ 54349 w 116475"/>
              <a:gd name="connsiteY3" fmla="*/ 27758 h 33915"/>
              <a:gd name="connsiteX4" fmla="*/ 41508 w 116475"/>
              <a:gd name="connsiteY4" fmla="*/ 31344 h 33915"/>
              <a:gd name="connsiteX5" fmla="*/ 36070 w 116475"/>
              <a:gd name="connsiteY5" fmla="*/ 30303 h 33915"/>
              <a:gd name="connsiteX6" fmla="*/ 28898 w 116475"/>
              <a:gd name="connsiteY6" fmla="*/ 29030 h 33915"/>
              <a:gd name="connsiteX7" fmla="*/ 20568 w 116475"/>
              <a:gd name="connsiteY7" fmla="*/ 29956 h 33915"/>
              <a:gd name="connsiteX8" fmla="*/ 12701 w 116475"/>
              <a:gd name="connsiteY8" fmla="*/ 30881 h 33915"/>
              <a:gd name="connsiteX9" fmla="*/ 3099 w 116475"/>
              <a:gd name="connsiteY9" fmla="*/ 27758 h 33915"/>
              <a:gd name="connsiteX10" fmla="*/ -25 w 116475"/>
              <a:gd name="connsiteY10" fmla="*/ 21973 h 33915"/>
              <a:gd name="connsiteX11" fmla="*/ 30922 w 116475"/>
              <a:gd name="connsiteY11" fmla="*/ 10404 h 33915"/>
              <a:gd name="connsiteX12" fmla="*/ 55332 w 116475"/>
              <a:gd name="connsiteY12" fmla="*/ 3868 h 33915"/>
              <a:gd name="connsiteX13" fmla="*/ 76677 w 116475"/>
              <a:gd name="connsiteY13" fmla="*/ -66 h 33915"/>
              <a:gd name="connsiteX14" fmla="*/ 116358 w 116475"/>
              <a:gd name="connsiteY14" fmla="*/ 19370 h 33915"/>
              <a:gd name="connsiteX15" fmla="*/ 95419 w 116475"/>
              <a:gd name="connsiteY15" fmla="*/ 33773 h 33915"/>
              <a:gd name="connsiteX16" fmla="*/ 63893 w 116475"/>
              <a:gd name="connsiteY16" fmla="*/ 22609 h 33915"/>
              <a:gd name="connsiteX17" fmla="*/ 69967 w 116475"/>
              <a:gd name="connsiteY17" fmla="*/ 24807 h 33915"/>
              <a:gd name="connsiteX18" fmla="*/ 95419 w 116475"/>
              <a:gd name="connsiteY18" fmla="*/ 31517 h 33915"/>
              <a:gd name="connsiteX19" fmla="*/ 114102 w 116475"/>
              <a:gd name="connsiteY19" fmla="*/ 19601 h 33915"/>
              <a:gd name="connsiteX20" fmla="*/ 76677 w 116475"/>
              <a:gd name="connsiteY20" fmla="*/ 2248 h 33915"/>
              <a:gd name="connsiteX21" fmla="*/ 56489 w 116475"/>
              <a:gd name="connsiteY21" fmla="*/ 5892 h 33915"/>
              <a:gd name="connsiteX22" fmla="*/ 31385 w 116475"/>
              <a:gd name="connsiteY22" fmla="*/ 12660 h 33915"/>
              <a:gd name="connsiteX23" fmla="*/ 2174 w 116475"/>
              <a:gd name="connsiteY23" fmla="*/ 22320 h 33915"/>
              <a:gd name="connsiteX24" fmla="*/ 4487 w 116475"/>
              <a:gd name="connsiteY24" fmla="*/ 25849 h 33915"/>
              <a:gd name="connsiteX25" fmla="*/ 12701 w 116475"/>
              <a:gd name="connsiteY25" fmla="*/ 28452 h 33915"/>
              <a:gd name="connsiteX26" fmla="*/ 20163 w 116475"/>
              <a:gd name="connsiteY26" fmla="*/ 27584 h 33915"/>
              <a:gd name="connsiteX27" fmla="*/ 28898 w 116475"/>
              <a:gd name="connsiteY27" fmla="*/ 26601 h 33915"/>
              <a:gd name="connsiteX28" fmla="*/ 36938 w 116475"/>
              <a:gd name="connsiteY28" fmla="*/ 28047 h 33915"/>
              <a:gd name="connsiteX29" fmla="*/ 41508 w 116475"/>
              <a:gd name="connsiteY29" fmla="*/ 28914 h 33915"/>
              <a:gd name="connsiteX30" fmla="*/ 53424 w 116475"/>
              <a:gd name="connsiteY30" fmla="*/ 25502 h 33915"/>
              <a:gd name="connsiteX31" fmla="*/ 63893 w 116475"/>
              <a:gd name="connsiteY31" fmla="*/ 22551 h 3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6475" h="33915">
                <a:moveTo>
                  <a:pt x="95419" y="33773"/>
                </a:moveTo>
                <a:cubicBezTo>
                  <a:pt x="85926" y="33993"/>
                  <a:pt x="76573" y="31483"/>
                  <a:pt x="68463" y="26543"/>
                </a:cubicBezTo>
                <a:cubicBezTo>
                  <a:pt x="67214" y="25409"/>
                  <a:pt x="65577" y="24807"/>
                  <a:pt x="63893" y="24865"/>
                </a:cubicBezTo>
                <a:cubicBezTo>
                  <a:pt x="60556" y="25218"/>
                  <a:pt x="57317" y="26196"/>
                  <a:pt x="54349" y="27758"/>
                </a:cubicBezTo>
                <a:cubicBezTo>
                  <a:pt x="50358" y="29817"/>
                  <a:pt x="45991" y="31037"/>
                  <a:pt x="41508" y="31344"/>
                </a:cubicBezTo>
                <a:cubicBezTo>
                  <a:pt x="39645" y="31350"/>
                  <a:pt x="37800" y="30997"/>
                  <a:pt x="36070" y="30303"/>
                </a:cubicBezTo>
                <a:cubicBezTo>
                  <a:pt x="33780" y="29423"/>
                  <a:pt x="31350" y="28995"/>
                  <a:pt x="28898" y="29030"/>
                </a:cubicBezTo>
                <a:cubicBezTo>
                  <a:pt x="26098" y="29105"/>
                  <a:pt x="23316" y="29412"/>
                  <a:pt x="20568" y="29956"/>
                </a:cubicBezTo>
                <a:cubicBezTo>
                  <a:pt x="17982" y="30511"/>
                  <a:pt x="15345" y="30823"/>
                  <a:pt x="12701" y="30881"/>
                </a:cubicBezTo>
                <a:cubicBezTo>
                  <a:pt x="9236" y="30985"/>
                  <a:pt x="5841" y="29880"/>
                  <a:pt x="3099" y="27758"/>
                </a:cubicBezTo>
                <a:cubicBezTo>
                  <a:pt x="612" y="25849"/>
                  <a:pt x="-429" y="23882"/>
                  <a:pt x="-25" y="21973"/>
                </a:cubicBezTo>
                <a:cubicBezTo>
                  <a:pt x="1190" y="16825"/>
                  <a:pt x="12990" y="14106"/>
                  <a:pt x="30922" y="10404"/>
                </a:cubicBezTo>
                <a:cubicBezTo>
                  <a:pt x="39298" y="9236"/>
                  <a:pt x="47495" y="7043"/>
                  <a:pt x="55332" y="3868"/>
                </a:cubicBezTo>
                <a:cubicBezTo>
                  <a:pt x="62042" y="900"/>
                  <a:pt x="69354" y="-447"/>
                  <a:pt x="76677" y="-66"/>
                </a:cubicBezTo>
                <a:cubicBezTo>
                  <a:pt x="95823" y="-66"/>
                  <a:pt x="116358" y="5719"/>
                  <a:pt x="116358" y="19370"/>
                </a:cubicBezTo>
                <a:cubicBezTo>
                  <a:pt x="116647" y="28567"/>
                  <a:pt x="108723" y="33773"/>
                  <a:pt x="95419" y="33773"/>
                </a:cubicBezTo>
                <a:close/>
                <a:moveTo>
                  <a:pt x="63893" y="22609"/>
                </a:moveTo>
                <a:cubicBezTo>
                  <a:pt x="66121" y="22557"/>
                  <a:pt x="68290" y="23338"/>
                  <a:pt x="69967" y="24807"/>
                </a:cubicBezTo>
                <a:cubicBezTo>
                  <a:pt x="77643" y="29412"/>
                  <a:pt x="86470" y="31737"/>
                  <a:pt x="95419" y="31517"/>
                </a:cubicBezTo>
                <a:cubicBezTo>
                  <a:pt x="102418" y="31517"/>
                  <a:pt x="114102" y="29956"/>
                  <a:pt x="114102" y="19601"/>
                </a:cubicBezTo>
                <a:cubicBezTo>
                  <a:pt x="114102" y="8322"/>
                  <a:pt x="95303" y="2248"/>
                  <a:pt x="76677" y="2248"/>
                </a:cubicBezTo>
                <a:cubicBezTo>
                  <a:pt x="69753" y="1837"/>
                  <a:pt x="62829" y="3087"/>
                  <a:pt x="56489" y="5892"/>
                </a:cubicBezTo>
                <a:cubicBezTo>
                  <a:pt x="48443" y="9213"/>
                  <a:pt x="40010" y="11486"/>
                  <a:pt x="31385" y="12660"/>
                </a:cubicBezTo>
                <a:cubicBezTo>
                  <a:pt x="18775" y="15147"/>
                  <a:pt x="3157" y="18445"/>
                  <a:pt x="2174" y="22320"/>
                </a:cubicBezTo>
                <a:cubicBezTo>
                  <a:pt x="2174" y="23535"/>
                  <a:pt x="3273" y="24923"/>
                  <a:pt x="4487" y="25849"/>
                </a:cubicBezTo>
                <a:cubicBezTo>
                  <a:pt x="6847" y="27630"/>
                  <a:pt x="9746" y="28550"/>
                  <a:pt x="12701" y="28452"/>
                </a:cubicBezTo>
                <a:cubicBezTo>
                  <a:pt x="15212" y="28376"/>
                  <a:pt x="17705" y="28087"/>
                  <a:pt x="20163" y="27584"/>
                </a:cubicBezTo>
                <a:cubicBezTo>
                  <a:pt x="23038" y="26988"/>
                  <a:pt x="25965" y="26658"/>
                  <a:pt x="28898" y="26601"/>
                </a:cubicBezTo>
                <a:cubicBezTo>
                  <a:pt x="31645" y="26566"/>
                  <a:pt x="34376" y="27058"/>
                  <a:pt x="36938" y="28047"/>
                </a:cubicBezTo>
                <a:cubicBezTo>
                  <a:pt x="38390" y="28631"/>
                  <a:pt x="39940" y="28926"/>
                  <a:pt x="41508" y="28914"/>
                </a:cubicBezTo>
                <a:cubicBezTo>
                  <a:pt x="45667" y="28579"/>
                  <a:pt x="49716" y="27422"/>
                  <a:pt x="53424" y="25502"/>
                </a:cubicBezTo>
                <a:cubicBezTo>
                  <a:pt x="56698" y="23865"/>
                  <a:pt x="60249" y="22864"/>
                  <a:pt x="63893" y="22551"/>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3" name="Forma libre: forma 472">
            <a:extLst>
              <a:ext uri="{FF2B5EF4-FFF2-40B4-BE49-F238E27FC236}">
                <a16:creationId xmlns:a16="http://schemas.microsoft.com/office/drawing/2014/main" id="{9EB833FE-453B-B7E0-F94F-16DEE819DB89}"/>
              </a:ext>
            </a:extLst>
          </p:cNvPr>
          <p:cNvSpPr/>
          <p:nvPr/>
        </p:nvSpPr>
        <p:spPr>
          <a:xfrm>
            <a:off x="3271964" y="1720903"/>
            <a:ext cx="44658" cy="43138"/>
          </a:xfrm>
          <a:custGeom>
            <a:avLst/>
            <a:gdLst>
              <a:gd name="connsiteX0" fmla="*/ 34774 w 44658"/>
              <a:gd name="connsiteY0" fmla="*/ 43007 h 43138"/>
              <a:gd name="connsiteX1" fmla="*/ 34774 w 44658"/>
              <a:gd name="connsiteY1" fmla="*/ 43007 h 43138"/>
              <a:gd name="connsiteX2" fmla="*/ 9149 w 44658"/>
              <a:gd name="connsiteY2" fmla="*/ 28025 h 43138"/>
              <a:gd name="connsiteX3" fmla="*/ -106 w 44658"/>
              <a:gd name="connsiteY3" fmla="*/ 5697 h 43138"/>
              <a:gd name="connsiteX4" fmla="*/ 5638 w 44658"/>
              <a:gd name="connsiteY4" fmla="*/ -128 h 43138"/>
              <a:gd name="connsiteX5" fmla="*/ 6373 w 44658"/>
              <a:gd name="connsiteY5" fmla="*/ -87 h 43138"/>
              <a:gd name="connsiteX6" fmla="*/ 42873 w 44658"/>
              <a:gd name="connsiteY6" fmla="*/ 28256 h 43138"/>
              <a:gd name="connsiteX7" fmla="*/ 42873 w 44658"/>
              <a:gd name="connsiteY7" fmla="*/ 39247 h 43138"/>
              <a:gd name="connsiteX8" fmla="*/ 34774 w 44658"/>
              <a:gd name="connsiteY8" fmla="*/ 43007 h 43138"/>
              <a:gd name="connsiteX9" fmla="*/ 6373 w 44658"/>
              <a:gd name="connsiteY9" fmla="*/ 1995 h 43138"/>
              <a:gd name="connsiteX10" fmla="*/ 2116 w 44658"/>
              <a:gd name="connsiteY10" fmla="*/ 5442 h 43138"/>
              <a:gd name="connsiteX11" fmla="*/ 2092 w 44658"/>
              <a:gd name="connsiteY11" fmla="*/ 5813 h 43138"/>
              <a:gd name="connsiteX12" fmla="*/ 10827 w 44658"/>
              <a:gd name="connsiteY12" fmla="*/ 26347 h 43138"/>
              <a:gd name="connsiteX13" fmla="*/ 34774 w 44658"/>
              <a:gd name="connsiteY13" fmla="*/ 40577 h 43138"/>
              <a:gd name="connsiteX14" fmla="*/ 34774 w 44658"/>
              <a:gd name="connsiteY14" fmla="*/ 40577 h 43138"/>
              <a:gd name="connsiteX15" fmla="*/ 41311 w 44658"/>
              <a:gd name="connsiteY15" fmla="*/ 37685 h 43138"/>
              <a:gd name="connsiteX16" fmla="*/ 40848 w 44658"/>
              <a:gd name="connsiteY16" fmla="*/ 29066 h 43138"/>
              <a:gd name="connsiteX17" fmla="*/ 6373 w 44658"/>
              <a:gd name="connsiteY17" fmla="*/ 1995 h 4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658" h="43138">
                <a:moveTo>
                  <a:pt x="34774" y="43007"/>
                </a:moveTo>
                <a:lnTo>
                  <a:pt x="34774" y="43007"/>
                </a:lnTo>
                <a:cubicBezTo>
                  <a:pt x="27255" y="43007"/>
                  <a:pt x="16958" y="37222"/>
                  <a:pt x="9149" y="28025"/>
                </a:cubicBezTo>
                <a:cubicBezTo>
                  <a:pt x="3116" y="22177"/>
                  <a:pt x="-239" y="14096"/>
                  <a:pt x="-106" y="5697"/>
                </a:cubicBezTo>
                <a:cubicBezTo>
                  <a:pt x="-129" y="2504"/>
                  <a:pt x="2439" y="-105"/>
                  <a:pt x="5638" y="-128"/>
                </a:cubicBezTo>
                <a:cubicBezTo>
                  <a:pt x="5881" y="-134"/>
                  <a:pt x="6130" y="-116"/>
                  <a:pt x="6373" y="-87"/>
                </a:cubicBezTo>
                <a:cubicBezTo>
                  <a:pt x="16438" y="-87"/>
                  <a:pt x="36857" y="15820"/>
                  <a:pt x="42873" y="28256"/>
                </a:cubicBezTo>
                <a:cubicBezTo>
                  <a:pt x="45649" y="34041"/>
                  <a:pt x="44492" y="37454"/>
                  <a:pt x="42873" y="39247"/>
                </a:cubicBezTo>
                <a:cubicBezTo>
                  <a:pt x="40906" y="41694"/>
                  <a:pt x="37909" y="43088"/>
                  <a:pt x="34774" y="43007"/>
                </a:cubicBezTo>
                <a:close/>
                <a:moveTo>
                  <a:pt x="6373" y="1995"/>
                </a:moveTo>
                <a:cubicBezTo>
                  <a:pt x="4244" y="1769"/>
                  <a:pt x="2335" y="3314"/>
                  <a:pt x="2116" y="5442"/>
                </a:cubicBezTo>
                <a:cubicBezTo>
                  <a:pt x="2098" y="5564"/>
                  <a:pt x="2092" y="5691"/>
                  <a:pt x="2092" y="5813"/>
                </a:cubicBezTo>
                <a:cubicBezTo>
                  <a:pt x="2092" y="13558"/>
                  <a:pt x="5245" y="20974"/>
                  <a:pt x="10827" y="26347"/>
                </a:cubicBezTo>
                <a:cubicBezTo>
                  <a:pt x="18173" y="34735"/>
                  <a:pt x="28180" y="40577"/>
                  <a:pt x="34774" y="40577"/>
                </a:cubicBezTo>
                <a:lnTo>
                  <a:pt x="34774" y="40577"/>
                </a:lnTo>
                <a:cubicBezTo>
                  <a:pt x="37285" y="40687"/>
                  <a:pt x="39703" y="39617"/>
                  <a:pt x="41311" y="37685"/>
                </a:cubicBezTo>
                <a:cubicBezTo>
                  <a:pt x="42745" y="34943"/>
                  <a:pt x="42572" y="31634"/>
                  <a:pt x="40848" y="29066"/>
                </a:cubicBezTo>
                <a:cubicBezTo>
                  <a:pt x="35237" y="17613"/>
                  <a:pt x="15628" y="1995"/>
                  <a:pt x="6373" y="199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4" name="Forma libre: forma 473">
            <a:extLst>
              <a:ext uri="{FF2B5EF4-FFF2-40B4-BE49-F238E27FC236}">
                <a16:creationId xmlns:a16="http://schemas.microsoft.com/office/drawing/2014/main" id="{2BF294C7-9094-9587-7FFE-9799C8AB7D03}"/>
              </a:ext>
            </a:extLst>
          </p:cNvPr>
          <p:cNvSpPr/>
          <p:nvPr/>
        </p:nvSpPr>
        <p:spPr>
          <a:xfrm>
            <a:off x="3280391" y="1623987"/>
            <a:ext cx="181025" cy="97478"/>
          </a:xfrm>
          <a:custGeom>
            <a:avLst/>
            <a:gdLst>
              <a:gd name="connsiteX0" fmla="*/ 158290 w 181025"/>
              <a:gd name="connsiteY0" fmla="*/ 97349 h 97478"/>
              <a:gd name="connsiteX1" fmla="*/ 125145 w 181025"/>
              <a:gd name="connsiteY1" fmla="*/ 81847 h 97478"/>
              <a:gd name="connsiteX2" fmla="*/ 53476 w 181025"/>
              <a:gd name="connsiteY2" fmla="*/ 68716 h 97478"/>
              <a:gd name="connsiteX3" fmla="*/ 16919 w 181025"/>
              <a:gd name="connsiteY3" fmla="*/ 58304 h 97478"/>
              <a:gd name="connsiteX4" fmla="*/ 17266 w 181025"/>
              <a:gd name="connsiteY4" fmla="*/ 55239 h 97478"/>
              <a:gd name="connsiteX5" fmla="*/ 25480 w 181025"/>
              <a:gd name="connsiteY5" fmla="*/ 53098 h 97478"/>
              <a:gd name="connsiteX6" fmla="*/ 35371 w 181025"/>
              <a:gd name="connsiteY6" fmla="*/ 53561 h 97478"/>
              <a:gd name="connsiteX7" fmla="*/ 46940 w 181025"/>
              <a:gd name="connsiteY7" fmla="*/ 54140 h 97478"/>
              <a:gd name="connsiteX8" fmla="*/ 60360 w 181025"/>
              <a:gd name="connsiteY8" fmla="*/ 50148 h 97478"/>
              <a:gd name="connsiteX9" fmla="*/ 59261 w 181025"/>
              <a:gd name="connsiteY9" fmla="*/ 43207 h 97478"/>
              <a:gd name="connsiteX10" fmla="*/ 36123 w 181025"/>
              <a:gd name="connsiteY10" fmla="*/ 31638 h 97478"/>
              <a:gd name="connsiteX11" fmla="*/ 25885 w 181025"/>
              <a:gd name="connsiteY11" fmla="*/ 34473 h 97478"/>
              <a:gd name="connsiteX12" fmla="*/ 19580 w 181025"/>
              <a:gd name="connsiteY12" fmla="*/ 36439 h 97478"/>
              <a:gd name="connsiteX13" fmla="*/ 19580 w 181025"/>
              <a:gd name="connsiteY13" fmla="*/ 36439 h 97478"/>
              <a:gd name="connsiteX14" fmla="*/ 433 w 181025"/>
              <a:gd name="connsiteY14" fmla="*/ 16772 h 97478"/>
              <a:gd name="connsiteX15" fmla="*/ 6680 w 181025"/>
              <a:gd name="connsiteY15" fmla="*/ 3410 h 97478"/>
              <a:gd name="connsiteX16" fmla="*/ 36701 w 181025"/>
              <a:gd name="connsiteY16" fmla="*/ -61 h 97478"/>
              <a:gd name="connsiteX17" fmla="*/ 86968 w 181025"/>
              <a:gd name="connsiteY17" fmla="*/ 15326 h 97478"/>
              <a:gd name="connsiteX18" fmla="*/ 87836 w 181025"/>
              <a:gd name="connsiteY18" fmla="*/ 21978 h 97478"/>
              <a:gd name="connsiteX19" fmla="*/ 89629 w 181025"/>
              <a:gd name="connsiteY19" fmla="*/ 23309 h 97478"/>
              <a:gd name="connsiteX20" fmla="*/ 96859 w 181025"/>
              <a:gd name="connsiteY20" fmla="*/ 20185 h 97478"/>
              <a:gd name="connsiteX21" fmla="*/ 103569 w 181025"/>
              <a:gd name="connsiteY21" fmla="*/ 16714 h 97478"/>
              <a:gd name="connsiteX22" fmla="*/ 106867 w 181025"/>
              <a:gd name="connsiteY22" fmla="*/ 15962 h 97478"/>
              <a:gd name="connsiteX23" fmla="*/ 118840 w 181025"/>
              <a:gd name="connsiteY23" fmla="*/ 25333 h 97478"/>
              <a:gd name="connsiteX24" fmla="*/ 133070 w 181025"/>
              <a:gd name="connsiteY24" fmla="*/ 35976 h 97478"/>
              <a:gd name="connsiteX25" fmla="*/ 166504 w 181025"/>
              <a:gd name="connsiteY25" fmla="*/ 48413 h 97478"/>
              <a:gd name="connsiteX26" fmla="*/ 166504 w 181025"/>
              <a:gd name="connsiteY26" fmla="*/ 57032 h 97478"/>
              <a:gd name="connsiteX27" fmla="*/ 172693 w 181025"/>
              <a:gd name="connsiteY27" fmla="*/ 68080 h 97478"/>
              <a:gd name="connsiteX28" fmla="*/ 180907 w 181025"/>
              <a:gd name="connsiteY28" fmla="*/ 78492 h 97478"/>
              <a:gd name="connsiteX29" fmla="*/ 177263 w 181025"/>
              <a:gd name="connsiteY29" fmla="*/ 87516 h 97478"/>
              <a:gd name="connsiteX30" fmla="*/ 158290 w 181025"/>
              <a:gd name="connsiteY30" fmla="*/ 97349 h 97478"/>
              <a:gd name="connsiteX31" fmla="*/ 78581 w 181025"/>
              <a:gd name="connsiteY31" fmla="*/ 62643 h 97478"/>
              <a:gd name="connsiteX32" fmla="*/ 126534 w 181025"/>
              <a:gd name="connsiteY32" fmla="*/ 79996 h 97478"/>
              <a:gd name="connsiteX33" fmla="*/ 158290 w 181025"/>
              <a:gd name="connsiteY33" fmla="*/ 95036 h 97478"/>
              <a:gd name="connsiteX34" fmla="*/ 175643 w 181025"/>
              <a:gd name="connsiteY34" fmla="*/ 86185 h 97478"/>
              <a:gd name="connsiteX35" fmla="*/ 178767 w 181025"/>
              <a:gd name="connsiteY35" fmla="*/ 78839 h 97478"/>
              <a:gd name="connsiteX36" fmla="*/ 171363 w 181025"/>
              <a:gd name="connsiteY36" fmla="*/ 69989 h 97478"/>
              <a:gd name="connsiteX37" fmla="*/ 164537 w 181025"/>
              <a:gd name="connsiteY37" fmla="*/ 56164 h 97478"/>
              <a:gd name="connsiteX38" fmla="*/ 164537 w 181025"/>
              <a:gd name="connsiteY38" fmla="*/ 49743 h 97478"/>
              <a:gd name="connsiteX39" fmla="*/ 133012 w 181025"/>
              <a:gd name="connsiteY39" fmla="*/ 38175 h 97478"/>
              <a:gd name="connsiteX40" fmla="*/ 116989 w 181025"/>
              <a:gd name="connsiteY40" fmla="*/ 26606 h 97478"/>
              <a:gd name="connsiteX41" fmla="*/ 106809 w 181025"/>
              <a:gd name="connsiteY41" fmla="*/ 18103 h 97478"/>
              <a:gd name="connsiteX42" fmla="*/ 104437 w 181025"/>
              <a:gd name="connsiteY42" fmla="*/ 18681 h 97478"/>
              <a:gd name="connsiteX43" fmla="*/ 97901 w 181025"/>
              <a:gd name="connsiteY43" fmla="*/ 22036 h 97478"/>
              <a:gd name="connsiteX44" fmla="*/ 89571 w 181025"/>
              <a:gd name="connsiteY44" fmla="*/ 25449 h 97478"/>
              <a:gd name="connsiteX45" fmla="*/ 85753 w 181025"/>
              <a:gd name="connsiteY45" fmla="*/ 22788 h 97478"/>
              <a:gd name="connsiteX46" fmla="*/ 84654 w 181025"/>
              <a:gd name="connsiteY46" fmla="*/ 15210 h 97478"/>
              <a:gd name="connsiteX47" fmla="*/ 36643 w 181025"/>
              <a:gd name="connsiteY47" fmla="*/ 2080 h 97478"/>
              <a:gd name="connsiteX48" fmla="*/ 7432 w 181025"/>
              <a:gd name="connsiteY48" fmla="*/ 5377 h 97478"/>
              <a:gd name="connsiteX49" fmla="*/ 2573 w 181025"/>
              <a:gd name="connsiteY49" fmla="*/ 16252 h 97478"/>
              <a:gd name="connsiteX50" fmla="*/ 19522 w 181025"/>
              <a:gd name="connsiteY50" fmla="*/ 34068 h 97478"/>
              <a:gd name="connsiteX51" fmla="*/ 19522 w 181025"/>
              <a:gd name="connsiteY51" fmla="*/ 34068 h 97478"/>
              <a:gd name="connsiteX52" fmla="*/ 24554 w 181025"/>
              <a:gd name="connsiteY52" fmla="*/ 32448 h 97478"/>
              <a:gd name="connsiteX53" fmla="*/ 36123 w 181025"/>
              <a:gd name="connsiteY53" fmla="*/ 29267 h 97478"/>
              <a:gd name="connsiteX54" fmla="*/ 61401 w 181025"/>
              <a:gd name="connsiteY54" fmla="*/ 41703 h 97478"/>
              <a:gd name="connsiteX55" fmla="*/ 62673 w 181025"/>
              <a:gd name="connsiteY55" fmla="*/ 50785 h 97478"/>
              <a:gd name="connsiteX56" fmla="*/ 47171 w 181025"/>
              <a:gd name="connsiteY56" fmla="*/ 56106 h 97478"/>
              <a:gd name="connsiteX57" fmla="*/ 35197 w 181025"/>
              <a:gd name="connsiteY57" fmla="*/ 55528 h 97478"/>
              <a:gd name="connsiteX58" fmla="*/ 25480 w 181025"/>
              <a:gd name="connsiteY58" fmla="*/ 55065 h 97478"/>
              <a:gd name="connsiteX59" fmla="*/ 19117 w 181025"/>
              <a:gd name="connsiteY59" fmla="*/ 56280 h 97478"/>
              <a:gd name="connsiteX60" fmla="*/ 19117 w 181025"/>
              <a:gd name="connsiteY60" fmla="*/ 57263 h 97478"/>
              <a:gd name="connsiteX61" fmla="*/ 37338 w 181025"/>
              <a:gd name="connsiteY61" fmla="*/ 68832 h 97478"/>
              <a:gd name="connsiteX62" fmla="*/ 52898 w 181025"/>
              <a:gd name="connsiteY62" fmla="*/ 66229 h 97478"/>
              <a:gd name="connsiteX63" fmla="*/ 78581 w 181025"/>
              <a:gd name="connsiteY63" fmla="*/ 62643 h 9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81025" h="97478">
                <a:moveTo>
                  <a:pt x="158290" y="97349"/>
                </a:moveTo>
                <a:cubicBezTo>
                  <a:pt x="148804" y="97349"/>
                  <a:pt x="137987" y="92259"/>
                  <a:pt x="125145" y="81847"/>
                </a:cubicBezTo>
                <a:cubicBezTo>
                  <a:pt x="105154" y="65333"/>
                  <a:pt x="78025" y="60364"/>
                  <a:pt x="53476" y="68716"/>
                </a:cubicBezTo>
                <a:cubicBezTo>
                  <a:pt x="33751" y="74501"/>
                  <a:pt x="21141" y="70799"/>
                  <a:pt x="16919" y="58304"/>
                </a:cubicBezTo>
                <a:cubicBezTo>
                  <a:pt x="16531" y="57286"/>
                  <a:pt x="16658" y="56141"/>
                  <a:pt x="17266" y="55239"/>
                </a:cubicBezTo>
                <a:cubicBezTo>
                  <a:pt x="18365" y="53735"/>
                  <a:pt x="20794" y="53098"/>
                  <a:pt x="25480" y="53098"/>
                </a:cubicBezTo>
                <a:cubicBezTo>
                  <a:pt x="28372" y="53098"/>
                  <a:pt x="31785" y="53098"/>
                  <a:pt x="35371" y="53561"/>
                </a:cubicBezTo>
                <a:cubicBezTo>
                  <a:pt x="38957" y="54024"/>
                  <a:pt x="43411" y="54140"/>
                  <a:pt x="46940" y="54140"/>
                </a:cubicBezTo>
                <a:cubicBezTo>
                  <a:pt x="54807" y="54140"/>
                  <a:pt x="59203" y="52867"/>
                  <a:pt x="60360" y="50148"/>
                </a:cubicBezTo>
                <a:cubicBezTo>
                  <a:pt x="61204" y="47800"/>
                  <a:pt x="60794" y="45180"/>
                  <a:pt x="59261" y="43207"/>
                </a:cubicBezTo>
                <a:cubicBezTo>
                  <a:pt x="53638" y="36121"/>
                  <a:pt x="45164" y="31887"/>
                  <a:pt x="36123" y="31638"/>
                </a:cubicBezTo>
                <a:cubicBezTo>
                  <a:pt x="32502" y="31523"/>
                  <a:pt x="28933" y="32512"/>
                  <a:pt x="25885" y="34473"/>
                </a:cubicBezTo>
                <a:cubicBezTo>
                  <a:pt x="24016" y="35728"/>
                  <a:pt x="21830" y="36410"/>
                  <a:pt x="19580" y="36439"/>
                </a:cubicBezTo>
                <a:lnTo>
                  <a:pt x="19580" y="36439"/>
                </a:lnTo>
                <a:cubicBezTo>
                  <a:pt x="10671" y="36439"/>
                  <a:pt x="2226" y="26027"/>
                  <a:pt x="433" y="16772"/>
                </a:cubicBezTo>
                <a:cubicBezTo>
                  <a:pt x="-1349" y="11370"/>
                  <a:pt x="1393" y="5510"/>
                  <a:pt x="6680" y="3410"/>
                </a:cubicBezTo>
                <a:cubicBezTo>
                  <a:pt x="16450" y="738"/>
                  <a:pt x="26579" y="-437"/>
                  <a:pt x="36701" y="-61"/>
                </a:cubicBezTo>
                <a:cubicBezTo>
                  <a:pt x="59839" y="-61"/>
                  <a:pt x="86968" y="3989"/>
                  <a:pt x="86968" y="15326"/>
                </a:cubicBezTo>
                <a:cubicBezTo>
                  <a:pt x="86841" y="17576"/>
                  <a:pt x="87136" y="19832"/>
                  <a:pt x="87836" y="21978"/>
                </a:cubicBezTo>
                <a:cubicBezTo>
                  <a:pt x="88414" y="23135"/>
                  <a:pt x="89050" y="23309"/>
                  <a:pt x="89629" y="23309"/>
                </a:cubicBezTo>
                <a:cubicBezTo>
                  <a:pt x="92226" y="22771"/>
                  <a:pt x="94684" y="21706"/>
                  <a:pt x="96859" y="20185"/>
                </a:cubicBezTo>
                <a:cubicBezTo>
                  <a:pt x="98884" y="19086"/>
                  <a:pt x="101140" y="17813"/>
                  <a:pt x="103569" y="16714"/>
                </a:cubicBezTo>
                <a:cubicBezTo>
                  <a:pt x="104605" y="16246"/>
                  <a:pt x="105727" y="15991"/>
                  <a:pt x="106867" y="15962"/>
                </a:cubicBezTo>
                <a:cubicBezTo>
                  <a:pt x="111610" y="15962"/>
                  <a:pt x="115138" y="20532"/>
                  <a:pt x="118840" y="25333"/>
                </a:cubicBezTo>
                <a:cubicBezTo>
                  <a:pt x="122542" y="30134"/>
                  <a:pt x="127170" y="35976"/>
                  <a:pt x="133070" y="35976"/>
                </a:cubicBezTo>
                <a:cubicBezTo>
                  <a:pt x="143597" y="35976"/>
                  <a:pt x="161587" y="40430"/>
                  <a:pt x="166504" y="48413"/>
                </a:cubicBezTo>
                <a:cubicBezTo>
                  <a:pt x="168095" y="51068"/>
                  <a:pt x="168095" y="54377"/>
                  <a:pt x="166504" y="57032"/>
                </a:cubicBezTo>
                <a:cubicBezTo>
                  <a:pt x="164421" y="61312"/>
                  <a:pt x="167429" y="64031"/>
                  <a:pt x="172693" y="68080"/>
                </a:cubicBezTo>
                <a:cubicBezTo>
                  <a:pt x="176511" y="71030"/>
                  <a:pt x="180444" y="73864"/>
                  <a:pt x="180907" y="78492"/>
                </a:cubicBezTo>
                <a:cubicBezTo>
                  <a:pt x="181040" y="81882"/>
                  <a:pt x="179716" y="85167"/>
                  <a:pt x="177263" y="87516"/>
                </a:cubicBezTo>
                <a:cubicBezTo>
                  <a:pt x="172774" y="93520"/>
                  <a:pt x="165787" y="97141"/>
                  <a:pt x="158290" y="97349"/>
                </a:cubicBezTo>
                <a:close/>
                <a:moveTo>
                  <a:pt x="78581" y="62643"/>
                </a:moveTo>
                <a:cubicBezTo>
                  <a:pt x="96113" y="62579"/>
                  <a:pt x="113102" y="68728"/>
                  <a:pt x="126534" y="79996"/>
                </a:cubicBezTo>
                <a:cubicBezTo>
                  <a:pt x="138796" y="90003"/>
                  <a:pt x="149671" y="95036"/>
                  <a:pt x="158290" y="95036"/>
                </a:cubicBezTo>
                <a:cubicBezTo>
                  <a:pt x="165127" y="94908"/>
                  <a:pt x="171525" y="91640"/>
                  <a:pt x="175643" y="86185"/>
                </a:cubicBezTo>
                <a:cubicBezTo>
                  <a:pt x="177633" y="84259"/>
                  <a:pt x="178761" y="81610"/>
                  <a:pt x="178767" y="78839"/>
                </a:cubicBezTo>
                <a:cubicBezTo>
                  <a:pt x="178362" y="75368"/>
                  <a:pt x="174776" y="72650"/>
                  <a:pt x="171363" y="69989"/>
                </a:cubicBezTo>
                <a:cubicBezTo>
                  <a:pt x="166735" y="66403"/>
                  <a:pt x="161472" y="62353"/>
                  <a:pt x="164537" y="56164"/>
                </a:cubicBezTo>
                <a:cubicBezTo>
                  <a:pt x="165746" y="54197"/>
                  <a:pt x="165746" y="51710"/>
                  <a:pt x="164537" y="49743"/>
                </a:cubicBezTo>
                <a:cubicBezTo>
                  <a:pt x="160199" y="42686"/>
                  <a:pt x="143250" y="38175"/>
                  <a:pt x="133012" y="38175"/>
                </a:cubicBezTo>
                <a:cubicBezTo>
                  <a:pt x="126013" y="38175"/>
                  <a:pt x="121443" y="31985"/>
                  <a:pt x="116989" y="26606"/>
                </a:cubicBezTo>
                <a:cubicBezTo>
                  <a:pt x="113634" y="22210"/>
                  <a:pt x="110453" y="18103"/>
                  <a:pt x="106809" y="18103"/>
                </a:cubicBezTo>
                <a:cubicBezTo>
                  <a:pt x="105981" y="18103"/>
                  <a:pt x="105172" y="18299"/>
                  <a:pt x="104437" y="18681"/>
                </a:cubicBezTo>
                <a:cubicBezTo>
                  <a:pt x="102065" y="19722"/>
                  <a:pt x="99867" y="20937"/>
                  <a:pt x="97901" y="22036"/>
                </a:cubicBezTo>
                <a:cubicBezTo>
                  <a:pt x="95419" y="23789"/>
                  <a:pt x="92567" y="24957"/>
                  <a:pt x="89571" y="25449"/>
                </a:cubicBezTo>
                <a:cubicBezTo>
                  <a:pt x="87859" y="25472"/>
                  <a:pt x="86326" y="24402"/>
                  <a:pt x="85753" y="22788"/>
                </a:cubicBezTo>
                <a:cubicBezTo>
                  <a:pt x="84874" y="20364"/>
                  <a:pt x="84504" y="17784"/>
                  <a:pt x="84654" y="15210"/>
                </a:cubicBezTo>
                <a:cubicBezTo>
                  <a:pt x="84654" y="6592"/>
                  <a:pt x="60533" y="2080"/>
                  <a:pt x="36643" y="2080"/>
                </a:cubicBezTo>
                <a:cubicBezTo>
                  <a:pt x="26798" y="1710"/>
                  <a:pt x="16947" y="2820"/>
                  <a:pt x="7432" y="5377"/>
                </a:cubicBezTo>
                <a:cubicBezTo>
                  <a:pt x="3273" y="7228"/>
                  <a:pt x="1173" y="11919"/>
                  <a:pt x="2573" y="16252"/>
                </a:cubicBezTo>
                <a:cubicBezTo>
                  <a:pt x="4135" y="24466"/>
                  <a:pt x="11828" y="34068"/>
                  <a:pt x="19522" y="34068"/>
                </a:cubicBezTo>
                <a:lnTo>
                  <a:pt x="19522" y="34068"/>
                </a:lnTo>
                <a:cubicBezTo>
                  <a:pt x="21326" y="34044"/>
                  <a:pt x="23079" y="33483"/>
                  <a:pt x="24554" y="32448"/>
                </a:cubicBezTo>
                <a:cubicBezTo>
                  <a:pt x="28007" y="30256"/>
                  <a:pt x="32033" y="29151"/>
                  <a:pt x="36123" y="29267"/>
                </a:cubicBezTo>
                <a:cubicBezTo>
                  <a:pt x="45997" y="29382"/>
                  <a:pt x="55287" y="33952"/>
                  <a:pt x="61401" y="41703"/>
                </a:cubicBezTo>
                <a:cubicBezTo>
                  <a:pt x="63367" y="44306"/>
                  <a:pt x="63848" y="47742"/>
                  <a:pt x="62673" y="50785"/>
                </a:cubicBezTo>
                <a:cubicBezTo>
                  <a:pt x="60591" y="55528"/>
                  <a:pt x="53303" y="56106"/>
                  <a:pt x="47171" y="56106"/>
                </a:cubicBezTo>
                <a:cubicBezTo>
                  <a:pt x="43296" y="56106"/>
                  <a:pt x="39189" y="55817"/>
                  <a:pt x="35197" y="55528"/>
                </a:cubicBezTo>
                <a:cubicBezTo>
                  <a:pt x="31206" y="55239"/>
                  <a:pt x="28314" y="55065"/>
                  <a:pt x="25480" y="55065"/>
                </a:cubicBezTo>
                <a:cubicBezTo>
                  <a:pt x="20678" y="55065"/>
                  <a:pt x="19406" y="55817"/>
                  <a:pt x="19117" y="56280"/>
                </a:cubicBezTo>
                <a:cubicBezTo>
                  <a:pt x="18827" y="56743"/>
                  <a:pt x="18827" y="56627"/>
                  <a:pt x="19117" y="57263"/>
                </a:cubicBezTo>
                <a:cubicBezTo>
                  <a:pt x="20100" y="60155"/>
                  <a:pt x="22992" y="68832"/>
                  <a:pt x="37338" y="68832"/>
                </a:cubicBezTo>
                <a:cubicBezTo>
                  <a:pt x="42619" y="68705"/>
                  <a:pt x="47859" y="67826"/>
                  <a:pt x="52898" y="66229"/>
                </a:cubicBezTo>
                <a:cubicBezTo>
                  <a:pt x="61250" y="63846"/>
                  <a:pt x="69892" y="62637"/>
                  <a:pt x="78581" y="6264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5" name="Forma libre: forma 474">
            <a:extLst>
              <a:ext uri="{FF2B5EF4-FFF2-40B4-BE49-F238E27FC236}">
                <a16:creationId xmlns:a16="http://schemas.microsoft.com/office/drawing/2014/main" id="{DA88A9AD-C140-A519-31F3-52B83663125E}"/>
              </a:ext>
            </a:extLst>
          </p:cNvPr>
          <p:cNvSpPr/>
          <p:nvPr/>
        </p:nvSpPr>
        <p:spPr>
          <a:xfrm>
            <a:off x="3024736" y="1712268"/>
            <a:ext cx="39501" cy="20336"/>
          </a:xfrm>
          <a:custGeom>
            <a:avLst/>
            <a:gdLst>
              <a:gd name="connsiteX0" fmla="*/ 26678 w 39501"/>
              <a:gd name="connsiteY0" fmla="*/ 20174 h 20336"/>
              <a:gd name="connsiteX1" fmla="*/ 26678 w 39501"/>
              <a:gd name="connsiteY1" fmla="*/ 20174 h 20336"/>
              <a:gd name="connsiteX2" fmla="*/ 185 w 39501"/>
              <a:gd name="connsiteY2" fmla="*/ 5482 h 20336"/>
              <a:gd name="connsiteX3" fmla="*/ 185 w 39501"/>
              <a:gd name="connsiteY3" fmla="*/ 3342 h 20336"/>
              <a:gd name="connsiteX4" fmla="*/ 16266 w 39501"/>
              <a:gd name="connsiteY4" fmla="*/ -129 h 20336"/>
              <a:gd name="connsiteX5" fmla="*/ 38363 w 39501"/>
              <a:gd name="connsiteY5" fmla="*/ 6234 h 20336"/>
              <a:gd name="connsiteX6" fmla="*/ 38768 w 39501"/>
              <a:gd name="connsiteY6" fmla="*/ 12481 h 20336"/>
              <a:gd name="connsiteX7" fmla="*/ 26678 w 39501"/>
              <a:gd name="connsiteY7" fmla="*/ 20174 h 20336"/>
              <a:gd name="connsiteX8" fmla="*/ 2094 w 39501"/>
              <a:gd name="connsiteY8" fmla="*/ 4209 h 20336"/>
              <a:gd name="connsiteX9" fmla="*/ 26678 w 39501"/>
              <a:gd name="connsiteY9" fmla="*/ 17918 h 20336"/>
              <a:gd name="connsiteX10" fmla="*/ 26678 w 39501"/>
              <a:gd name="connsiteY10" fmla="*/ 17918 h 20336"/>
              <a:gd name="connsiteX11" fmla="*/ 36396 w 39501"/>
              <a:gd name="connsiteY11" fmla="*/ 11613 h 20336"/>
              <a:gd name="connsiteX12" fmla="*/ 36396 w 39501"/>
              <a:gd name="connsiteY12" fmla="*/ 7449 h 20336"/>
              <a:gd name="connsiteX13" fmla="*/ 16208 w 39501"/>
              <a:gd name="connsiteY13" fmla="*/ 2127 h 20336"/>
              <a:gd name="connsiteX14" fmla="*/ 2094 w 39501"/>
              <a:gd name="connsiteY14" fmla="*/ 4209 h 2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01" h="20336">
                <a:moveTo>
                  <a:pt x="26678" y="20174"/>
                </a:moveTo>
                <a:lnTo>
                  <a:pt x="26678" y="20174"/>
                </a:lnTo>
                <a:cubicBezTo>
                  <a:pt x="16226" y="19052"/>
                  <a:pt x="6670" y="13754"/>
                  <a:pt x="185" y="5482"/>
                </a:cubicBezTo>
                <a:cubicBezTo>
                  <a:pt x="-208" y="4822"/>
                  <a:pt x="-208" y="4001"/>
                  <a:pt x="185" y="3342"/>
                </a:cubicBezTo>
                <a:cubicBezTo>
                  <a:pt x="1863" y="-13"/>
                  <a:pt x="14820" y="-129"/>
                  <a:pt x="16266" y="-129"/>
                </a:cubicBezTo>
                <a:cubicBezTo>
                  <a:pt x="20489" y="-129"/>
                  <a:pt x="34429" y="334"/>
                  <a:pt x="38363" y="6234"/>
                </a:cubicBezTo>
                <a:cubicBezTo>
                  <a:pt x="39572" y="8102"/>
                  <a:pt x="39728" y="10468"/>
                  <a:pt x="38768" y="12481"/>
                </a:cubicBezTo>
                <a:cubicBezTo>
                  <a:pt x="36888" y="17438"/>
                  <a:pt x="31965" y="20568"/>
                  <a:pt x="26678" y="20174"/>
                </a:cubicBezTo>
                <a:close/>
                <a:moveTo>
                  <a:pt x="2094" y="4209"/>
                </a:moveTo>
                <a:cubicBezTo>
                  <a:pt x="8151" y="11851"/>
                  <a:pt x="16995" y="16785"/>
                  <a:pt x="26678" y="17918"/>
                </a:cubicBezTo>
                <a:lnTo>
                  <a:pt x="26678" y="17918"/>
                </a:lnTo>
                <a:cubicBezTo>
                  <a:pt x="30947" y="18167"/>
                  <a:pt x="34886" y="15616"/>
                  <a:pt x="36396" y="11613"/>
                </a:cubicBezTo>
                <a:cubicBezTo>
                  <a:pt x="37131" y="10324"/>
                  <a:pt x="37131" y="8739"/>
                  <a:pt x="36396" y="7449"/>
                </a:cubicBezTo>
                <a:cubicBezTo>
                  <a:pt x="34256" y="4209"/>
                  <a:pt x="26331" y="2127"/>
                  <a:pt x="16208" y="2127"/>
                </a:cubicBezTo>
                <a:cubicBezTo>
                  <a:pt x="11407" y="1745"/>
                  <a:pt x="6583" y="2457"/>
                  <a:pt x="2094" y="4209"/>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6" name="Forma libre: forma 475">
            <a:extLst>
              <a:ext uri="{FF2B5EF4-FFF2-40B4-BE49-F238E27FC236}">
                <a16:creationId xmlns:a16="http://schemas.microsoft.com/office/drawing/2014/main" id="{B41A8E9C-D015-9526-D2B3-A5ECBBF735C8}"/>
              </a:ext>
            </a:extLst>
          </p:cNvPr>
          <p:cNvSpPr/>
          <p:nvPr/>
        </p:nvSpPr>
        <p:spPr>
          <a:xfrm>
            <a:off x="3075644" y="1705674"/>
            <a:ext cx="96368" cy="49109"/>
          </a:xfrm>
          <a:custGeom>
            <a:avLst/>
            <a:gdLst>
              <a:gd name="connsiteX0" fmla="*/ 41018 w 96368"/>
              <a:gd name="connsiteY0" fmla="*/ 48981 h 49109"/>
              <a:gd name="connsiteX1" fmla="*/ 41018 w 96368"/>
              <a:gd name="connsiteY1" fmla="*/ 48981 h 49109"/>
              <a:gd name="connsiteX2" fmla="*/ 37258 w 96368"/>
              <a:gd name="connsiteY2" fmla="*/ 48981 h 49109"/>
              <a:gd name="connsiteX3" fmla="*/ -110 w 96368"/>
              <a:gd name="connsiteY3" fmla="*/ 23645 h 49109"/>
              <a:gd name="connsiteX4" fmla="*/ 53396 w 96368"/>
              <a:gd name="connsiteY4" fmla="*/ 2590 h 49109"/>
              <a:gd name="connsiteX5" fmla="*/ 69940 w 96368"/>
              <a:gd name="connsiteY5" fmla="*/ 739 h 49109"/>
              <a:gd name="connsiteX6" fmla="*/ 78906 w 96368"/>
              <a:gd name="connsiteY6" fmla="*/ -129 h 49109"/>
              <a:gd name="connsiteX7" fmla="*/ 96259 w 96368"/>
              <a:gd name="connsiteY7" fmla="*/ 7159 h 49109"/>
              <a:gd name="connsiteX8" fmla="*/ 87004 w 96368"/>
              <a:gd name="connsiteY8" fmla="*/ 13696 h 49109"/>
              <a:gd name="connsiteX9" fmla="*/ 70461 w 96368"/>
              <a:gd name="connsiteY9" fmla="*/ 21042 h 49109"/>
              <a:gd name="connsiteX10" fmla="*/ 75898 w 96368"/>
              <a:gd name="connsiteY10" fmla="*/ 22315 h 49109"/>
              <a:gd name="connsiteX11" fmla="*/ 80352 w 96368"/>
              <a:gd name="connsiteY11" fmla="*/ 24281 h 49109"/>
              <a:gd name="connsiteX12" fmla="*/ 79600 w 96368"/>
              <a:gd name="connsiteY12" fmla="*/ 30066 h 49109"/>
              <a:gd name="connsiteX13" fmla="*/ 41018 w 96368"/>
              <a:gd name="connsiteY13" fmla="*/ 48981 h 49109"/>
              <a:gd name="connsiteX14" fmla="*/ 79021 w 96368"/>
              <a:gd name="connsiteY14" fmla="*/ 2127 h 49109"/>
              <a:gd name="connsiteX15" fmla="*/ 70229 w 96368"/>
              <a:gd name="connsiteY15" fmla="*/ 2763 h 49109"/>
              <a:gd name="connsiteX16" fmla="*/ 53628 w 96368"/>
              <a:gd name="connsiteY16" fmla="*/ 4672 h 49109"/>
              <a:gd name="connsiteX17" fmla="*/ 2146 w 96368"/>
              <a:gd name="connsiteY17" fmla="*/ 23471 h 49109"/>
              <a:gd name="connsiteX18" fmla="*/ 37489 w 96368"/>
              <a:gd name="connsiteY18" fmla="*/ 46609 h 49109"/>
              <a:gd name="connsiteX19" fmla="*/ 77980 w 96368"/>
              <a:gd name="connsiteY19" fmla="*/ 28793 h 49109"/>
              <a:gd name="connsiteX20" fmla="*/ 78732 w 96368"/>
              <a:gd name="connsiteY20" fmla="*/ 25438 h 49109"/>
              <a:gd name="connsiteX21" fmla="*/ 76245 w 96368"/>
              <a:gd name="connsiteY21" fmla="*/ 24628 h 49109"/>
              <a:gd name="connsiteX22" fmla="*/ 68552 w 96368"/>
              <a:gd name="connsiteY22" fmla="*/ 21273 h 49109"/>
              <a:gd name="connsiteX23" fmla="*/ 87004 w 96368"/>
              <a:gd name="connsiteY23" fmla="*/ 11498 h 49109"/>
              <a:gd name="connsiteX24" fmla="*/ 94350 w 96368"/>
              <a:gd name="connsiteY24" fmla="*/ 7391 h 49109"/>
              <a:gd name="connsiteX25" fmla="*/ 78906 w 96368"/>
              <a:gd name="connsiteY25" fmla="*/ 2127 h 4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6368" h="49109">
                <a:moveTo>
                  <a:pt x="41018" y="48981"/>
                </a:moveTo>
                <a:lnTo>
                  <a:pt x="41018" y="48981"/>
                </a:lnTo>
                <a:lnTo>
                  <a:pt x="37258" y="48981"/>
                </a:lnTo>
                <a:cubicBezTo>
                  <a:pt x="10013" y="46609"/>
                  <a:pt x="-110" y="39726"/>
                  <a:pt x="-110" y="23645"/>
                </a:cubicBezTo>
                <a:cubicBezTo>
                  <a:pt x="-110" y="7564"/>
                  <a:pt x="28350" y="5135"/>
                  <a:pt x="53396" y="2590"/>
                </a:cubicBezTo>
                <a:cubicBezTo>
                  <a:pt x="59181" y="2011"/>
                  <a:pt x="64965" y="1433"/>
                  <a:pt x="69940" y="739"/>
                </a:cubicBezTo>
                <a:cubicBezTo>
                  <a:pt x="72902" y="235"/>
                  <a:pt x="75898" y="-54"/>
                  <a:pt x="78906" y="-129"/>
                </a:cubicBezTo>
                <a:cubicBezTo>
                  <a:pt x="88855" y="-129"/>
                  <a:pt x="96259" y="2879"/>
                  <a:pt x="96259" y="7159"/>
                </a:cubicBezTo>
                <a:cubicBezTo>
                  <a:pt x="96259" y="10283"/>
                  <a:pt x="93020" y="12944"/>
                  <a:pt x="87004" y="13696"/>
                </a:cubicBezTo>
                <a:cubicBezTo>
                  <a:pt x="76014" y="15373"/>
                  <a:pt x="70345" y="19480"/>
                  <a:pt x="70461" y="21042"/>
                </a:cubicBezTo>
                <a:cubicBezTo>
                  <a:pt x="70461" y="21389"/>
                  <a:pt x="71560" y="22315"/>
                  <a:pt x="75898" y="22315"/>
                </a:cubicBezTo>
                <a:cubicBezTo>
                  <a:pt x="77633" y="22101"/>
                  <a:pt x="79345" y="22858"/>
                  <a:pt x="80352" y="24281"/>
                </a:cubicBezTo>
                <a:cubicBezTo>
                  <a:pt x="80930" y="25265"/>
                  <a:pt x="81220" y="27000"/>
                  <a:pt x="79600" y="30066"/>
                </a:cubicBezTo>
                <a:cubicBezTo>
                  <a:pt x="75319" y="37701"/>
                  <a:pt x="58892" y="48981"/>
                  <a:pt x="41018" y="48981"/>
                </a:cubicBezTo>
                <a:close/>
                <a:moveTo>
                  <a:pt x="79021" y="2127"/>
                </a:moveTo>
                <a:cubicBezTo>
                  <a:pt x="76083" y="2150"/>
                  <a:pt x="73144" y="2364"/>
                  <a:pt x="70229" y="2763"/>
                </a:cubicBezTo>
                <a:cubicBezTo>
                  <a:pt x="65255" y="3515"/>
                  <a:pt x="59586" y="4094"/>
                  <a:pt x="53628" y="4672"/>
                </a:cubicBezTo>
                <a:cubicBezTo>
                  <a:pt x="30490" y="6986"/>
                  <a:pt x="2146" y="9878"/>
                  <a:pt x="2146" y="23471"/>
                </a:cubicBezTo>
                <a:cubicBezTo>
                  <a:pt x="2146" y="35850"/>
                  <a:pt x="7931" y="44006"/>
                  <a:pt x="37489" y="46609"/>
                </a:cubicBezTo>
                <a:cubicBezTo>
                  <a:pt x="55884" y="48287"/>
                  <a:pt x="73353" y="36660"/>
                  <a:pt x="77980" y="28793"/>
                </a:cubicBezTo>
                <a:cubicBezTo>
                  <a:pt x="78848" y="27347"/>
                  <a:pt x="79137" y="26074"/>
                  <a:pt x="78732" y="25438"/>
                </a:cubicBezTo>
                <a:cubicBezTo>
                  <a:pt x="78327" y="24802"/>
                  <a:pt x="77575" y="24628"/>
                  <a:pt x="76245" y="24628"/>
                </a:cubicBezTo>
                <a:cubicBezTo>
                  <a:pt x="71328" y="24628"/>
                  <a:pt x="68725" y="23529"/>
                  <a:pt x="68552" y="21273"/>
                </a:cubicBezTo>
                <a:cubicBezTo>
                  <a:pt x="68262" y="17514"/>
                  <a:pt x="76534" y="13117"/>
                  <a:pt x="87004" y="11498"/>
                </a:cubicBezTo>
                <a:cubicBezTo>
                  <a:pt x="92210" y="10688"/>
                  <a:pt x="94466" y="8837"/>
                  <a:pt x="94350" y="7391"/>
                </a:cubicBezTo>
                <a:cubicBezTo>
                  <a:pt x="94234" y="5945"/>
                  <a:pt x="89202" y="2127"/>
                  <a:pt x="78906" y="2127"/>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7" name="Forma libre: forma 476">
            <a:extLst>
              <a:ext uri="{FF2B5EF4-FFF2-40B4-BE49-F238E27FC236}">
                <a16:creationId xmlns:a16="http://schemas.microsoft.com/office/drawing/2014/main" id="{BB730D13-B92E-032C-A24E-14403B5D31CC}"/>
              </a:ext>
            </a:extLst>
          </p:cNvPr>
          <p:cNvSpPr/>
          <p:nvPr/>
        </p:nvSpPr>
        <p:spPr>
          <a:xfrm>
            <a:off x="2957562" y="1780293"/>
            <a:ext cx="325615" cy="138885"/>
          </a:xfrm>
          <a:custGeom>
            <a:avLst/>
            <a:gdLst>
              <a:gd name="connsiteX0" fmla="*/ 117047 w 325615"/>
              <a:gd name="connsiteY0" fmla="*/ 138755 h 138885"/>
              <a:gd name="connsiteX1" fmla="*/ 106751 w 325615"/>
              <a:gd name="connsiteY1" fmla="*/ 137772 h 138885"/>
              <a:gd name="connsiteX2" fmla="*/ 83613 w 325615"/>
              <a:gd name="connsiteY2" fmla="*/ 121460 h 138885"/>
              <a:gd name="connsiteX3" fmla="*/ 108024 w 325615"/>
              <a:gd name="connsiteY3" fmla="*/ 109891 h 138885"/>
              <a:gd name="connsiteX4" fmla="*/ 159332 w 325615"/>
              <a:gd name="connsiteY4" fmla="*/ 92133 h 138885"/>
              <a:gd name="connsiteX5" fmla="*/ 150713 w 325615"/>
              <a:gd name="connsiteY5" fmla="*/ 90282 h 138885"/>
              <a:gd name="connsiteX6" fmla="*/ 148110 w 325615"/>
              <a:gd name="connsiteY6" fmla="*/ 90282 h 138885"/>
              <a:gd name="connsiteX7" fmla="*/ 118320 w 325615"/>
              <a:gd name="connsiteY7" fmla="*/ 93984 h 138885"/>
              <a:gd name="connsiteX8" fmla="*/ 102181 w 325615"/>
              <a:gd name="connsiteY8" fmla="*/ 96124 h 138885"/>
              <a:gd name="connsiteX9" fmla="*/ 94951 w 325615"/>
              <a:gd name="connsiteY9" fmla="*/ 93579 h 138885"/>
              <a:gd name="connsiteX10" fmla="*/ 94951 w 325615"/>
              <a:gd name="connsiteY10" fmla="*/ 85191 h 138885"/>
              <a:gd name="connsiteX11" fmla="*/ 95992 w 325615"/>
              <a:gd name="connsiteY11" fmla="*/ 78019 h 138885"/>
              <a:gd name="connsiteX12" fmla="*/ 95472 w 325615"/>
              <a:gd name="connsiteY12" fmla="*/ 78019 h 138885"/>
              <a:gd name="connsiteX13" fmla="*/ 75053 w 325615"/>
              <a:gd name="connsiteY13" fmla="*/ 95025 h 138885"/>
              <a:gd name="connsiteX14" fmla="*/ 56832 w 325615"/>
              <a:gd name="connsiteY14" fmla="*/ 104453 h 138885"/>
              <a:gd name="connsiteX15" fmla="*/ 36297 w 325615"/>
              <a:gd name="connsiteY15" fmla="*/ 98958 h 138885"/>
              <a:gd name="connsiteX16" fmla="*/ 15415 w 325615"/>
              <a:gd name="connsiteY16" fmla="*/ 93868 h 138885"/>
              <a:gd name="connsiteX17" fmla="*/ 665 w 325615"/>
              <a:gd name="connsiteY17" fmla="*/ 88836 h 138885"/>
              <a:gd name="connsiteX18" fmla="*/ 86 w 325615"/>
              <a:gd name="connsiteY18" fmla="*/ 85654 h 138885"/>
              <a:gd name="connsiteX19" fmla="*/ 29934 w 325615"/>
              <a:gd name="connsiteY19" fmla="*/ 75821 h 138885"/>
              <a:gd name="connsiteX20" fmla="*/ 49659 w 325615"/>
              <a:gd name="connsiteY20" fmla="*/ 71367 h 138885"/>
              <a:gd name="connsiteX21" fmla="*/ 52667 w 325615"/>
              <a:gd name="connsiteY21" fmla="*/ 70152 h 138885"/>
              <a:gd name="connsiteX22" fmla="*/ 48791 w 325615"/>
              <a:gd name="connsiteY22" fmla="*/ 70152 h 138885"/>
              <a:gd name="connsiteX23" fmla="*/ 22414 w 325615"/>
              <a:gd name="connsiteY23" fmla="*/ 73796 h 138885"/>
              <a:gd name="connsiteX24" fmla="*/ 13217 w 325615"/>
              <a:gd name="connsiteY24" fmla="*/ 73218 h 138885"/>
              <a:gd name="connsiteX25" fmla="*/ 11540 w 325615"/>
              <a:gd name="connsiteY25" fmla="*/ 69747 h 138885"/>
              <a:gd name="connsiteX26" fmla="*/ 42775 w 325615"/>
              <a:gd name="connsiteY26" fmla="*/ 53319 h 138885"/>
              <a:gd name="connsiteX27" fmla="*/ 49543 w 325615"/>
              <a:gd name="connsiteY27" fmla="*/ 53319 h 138885"/>
              <a:gd name="connsiteX28" fmla="*/ 60013 w 325615"/>
              <a:gd name="connsiteY28" fmla="*/ 52452 h 138885"/>
              <a:gd name="connsiteX29" fmla="*/ 45147 w 325615"/>
              <a:gd name="connsiteY29" fmla="*/ 50600 h 138885"/>
              <a:gd name="connsiteX30" fmla="*/ 28546 w 325615"/>
              <a:gd name="connsiteY30" fmla="*/ 40246 h 138885"/>
              <a:gd name="connsiteX31" fmla="*/ 41445 w 325615"/>
              <a:gd name="connsiteY31" fmla="*/ 30181 h 138885"/>
              <a:gd name="connsiteX32" fmla="*/ 54344 w 325615"/>
              <a:gd name="connsiteY32" fmla="*/ 21794 h 138885"/>
              <a:gd name="connsiteX33" fmla="*/ 70656 w 325615"/>
              <a:gd name="connsiteY33" fmla="*/ 13233 h 138885"/>
              <a:gd name="connsiteX34" fmla="*/ 85696 w 325615"/>
              <a:gd name="connsiteY34" fmla="*/ 23240 h 138885"/>
              <a:gd name="connsiteX35" fmla="*/ 94546 w 325615"/>
              <a:gd name="connsiteY35" fmla="*/ 29719 h 138885"/>
              <a:gd name="connsiteX36" fmla="*/ 99405 w 325615"/>
              <a:gd name="connsiteY36" fmla="*/ 29025 h 138885"/>
              <a:gd name="connsiteX37" fmla="*/ 105652 w 325615"/>
              <a:gd name="connsiteY37" fmla="*/ 28273 h 138885"/>
              <a:gd name="connsiteX38" fmla="*/ 165000 w 325615"/>
              <a:gd name="connsiteY38" fmla="*/ 58930 h 138885"/>
              <a:gd name="connsiteX39" fmla="*/ 211854 w 325615"/>
              <a:gd name="connsiteY39" fmla="*/ 72061 h 138885"/>
              <a:gd name="connsiteX40" fmla="*/ 225968 w 325615"/>
              <a:gd name="connsiteY40" fmla="*/ 69458 h 138885"/>
              <a:gd name="connsiteX41" fmla="*/ 225968 w 325615"/>
              <a:gd name="connsiteY41" fmla="*/ 68359 h 138885"/>
              <a:gd name="connsiteX42" fmla="*/ 213995 w 325615"/>
              <a:gd name="connsiteY42" fmla="*/ 60029 h 138885"/>
              <a:gd name="connsiteX43" fmla="*/ 202946 w 325615"/>
              <a:gd name="connsiteY43" fmla="*/ 51468 h 138885"/>
              <a:gd name="connsiteX44" fmla="*/ 205665 w 325615"/>
              <a:gd name="connsiteY44" fmla="*/ 48460 h 138885"/>
              <a:gd name="connsiteX45" fmla="*/ 215614 w 325615"/>
              <a:gd name="connsiteY45" fmla="*/ 38164 h 138885"/>
              <a:gd name="connsiteX46" fmla="*/ 203583 w 325615"/>
              <a:gd name="connsiteY46" fmla="*/ 32380 h 138885"/>
              <a:gd name="connsiteX47" fmla="*/ 196121 w 325615"/>
              <a:gd name="connsiteY47" fmla="*/ 26884 h 138885"/>
              <a:gd name="connsiteX48" fmla="*/ 232620 w 325615"/>
              <a:gd name="connsiteY48" fmla="*/ -129 h 138885"/>
              <a:gd name="connsiteX49" fmla="*/ 235166 w 325615"/>
              <a:gd name="connsiteY49" fmla="*/ -129 h 138885"/>
              <a:gd name="connsiteX50" fmla="*/ 246098 w 325615"/>
              <a:gd name="connsiteY50" fmla="*/ 13580 h 138885"/>
              <a:gd name="connsiteX51" fmla="*/ 252982 w 325615"/>
              <a:gd name="connsiteY51" fmla="*/ 29487 h 138885"/>
              <a:gd name="connsiteX52" fmla="*/ 261658 w 325615"/>
              <a:gd name="connsiteY52" fmla="*/ 39668 h 138885"/>
              <a:gd name="connsiteX53" fmla="*/ 281152 w 325615"/>
              <a:gd name="connsiteY53" fmla="*/ 54823 h 138885"/>
              <a:gd name="connsiteX54" fmla="*/ 283466 w 325615"/>
              <a:gd name="connsiteY54" fmla="*/ 54823 h 138885"/>
              <a:gd name="connsiteX55" fmla="*/ 294398 w 325615"/>
              <a:gd name="connsiteY55" fmla="*/ 48171 h 138885"/>
              <a:gd name="connsiteX56" fmla="*/ 305967 w 325615"/>
              <a:gd name="connsiteY56" fmla="*/ 42040 h 138885"/>
              <a:gd name="connsiteX57" fmla="*/ 314297 w 325615"/>
              <a:gd name="connsiteY57" fmla="*/ 44006 h 138885"/>
              <a:gd name="connsiteX58" fmla="*/ 325287 w 325615"/>
              <a:gd name="connsiteY58" fmla="*/ 72350 h 138885"/>
              <a:gd name="connsiteX59" fmla="*/ 304347 w 325615"/>
              <a:gd name="connsiteY59" fmla="*/ 101851 h 138885"/>
              <a:gd name="connsiteX60" fmla="*/ 290118 w 325615"/>
              <a:gd name="connsiteY60" fmla="*/ 103181 h 138885"/>
              <a:gd name="connsiteX61" fmla="*/ 273285 w 325615"/>
              <a:gd name="connsiteY61" fmla="*/ 102198 h 138885"/>
              <a:gd name="connsiteX62" fmla="*/ 259171 w 325615"/>
              <a:gd name="connsiteY62" fmla="*/ 101388 h 138885"/>
              <a:gd name="connsiteX63" fmla="*/ 242975 w 325615"/>
              <a:gd name="connsiteY63" fmla="*/ 105321 h 138885"/>
              <a:gd name="connsiteX64" fmla="*/ 234298 w 325615"/>
              <a:gd name="connsiteY64" fmla="*/ 108213 h 138885"/>
              <a:gd name="connsiteX65" fmla="*/ 223654 w 325615"/>
              <a:gd name="connsiteY65" fmla="*/ 105668 h 138885"/>
              <a:gd name="connsiteX66" fmla="*/ 213821 w 325615"/>
              <a:gd name="connsiteY66" fmla="*/ 103297 h 138885"/>
              <a:gd name="connsiteX67" fmla="*/ 204392 w 325615"/>
              <a:gd name="connsiteY67" fmla="*/ 107635 h 138885"/>
              <a:gd name="connsiteX68" fmla="*/ 117047 w 325615"/>
              <a:gd name="connsiteY68" fmla="*/ 138755 h 138885"/>
              <a:gd name="connsiteX69" fmla="*/ 150829 w 325615"/>
              <a:gd name="connsiteY69" fmla="*/ 88199 h 138885"/>
              <a:gd name="connsiteX70" fmla="*/ 161703 w 325615"/>
              <a:gd name="connsiteY70" fmla="*/ 92248 h 138885"/>
              <a:gd name="connsiteX71" fmla="*/ 108313 w 325615"/>
              <a:gd name="connsiteY71" fmla="*/ 112320 h 138885"/>
              <a:gd name="connsiteX72" fmla="*/ 85985 w 325615"/>
              <a:gd name="connsiteY72" fmla="*/ 121575 h 138885"/>
              <a:gd name="connsiteX73" fmla="*/ 107272 w 325615"/>
              <a:gd name="connsiteY73" fmla="*/ 135574 h 138885"/>
              <a:gd name="connsiteX74" fmla="*/ 117047 w 325615"/>
              <a:gd name="connsiteY74" fmla="*/ 136499 h 138885"/>
              <a:gd name="connsiteX75" fmla="*/ 203120 w 325615"/>
              <a:gd name="connsiteY75" fmla="*/ 105553 h 138885"/>
              <a:gd name="connsiteX76" fmla="*/ 214168 w 325615"/>
              <a:gd name="connsiteY76" fmla="*/ 100578 h 138885"/>
              <a:gd name="connsiteX77" fmla="*/ 224753 w 325615"/>
              <a:gd name="connsiteY77" fmla="*/ 103123 h 138885"/>
              <a:gd name="connsiteX78" fmla="*/ 234645 w 325615"/>
              <a:gd name="connsiteY78" fmla="*/ 105495 h 138885"/>
              <a:gd name="connsiteX79" fmla="*/ 241991 w 325615"/>
              <a:gd name="connsiteY79" fmla="*/ 103007 h 138885"/>
              <a:gd name="connsiteX80" fmla="*/ 259344 w 325615"/>
              <a:gd name="connsiteY80" fmla="*/ 98611 h 138885"/>
              <a:gd name="connsiteX81" fmla="*/ 273632 w 325615"/>
              <a:gd name="connsiteY81" fmla="*/ 99479 h 138885"/>
              <a:gd name="connsiteX82" fmla="*/ 290291 w 325615"/>
              <a:gd name="connsiteY82" fmla="*/ 100462 h 138885"/>
              <a:gd name="connsiteX83" fmla="*/ 304058 w 325615"/>
              <a:gd name="connsiteY83" fmla="*/ 99190 h 138885"/>
              <a:gd name="connsiteX84" fmla="*/ 323205 w 325615"/>
              <a:gd name="connsiteY84" fmla="*/ 71656 h 138885"/>
              <a:gd name="connsiteX85" fmla="*/ 313545 w 325615"/>
              <a:gd name="connsiteY85" fmla="*/ 45626 h 138885"/>
              <a:gd name="connsiteX86" fmla="*/ 306140 w 325615"/>
              <a:gd name="connsiteY86" fmla="*/ 43833 h 138885"/>
              <a:gd name="connsiteX87" fmla="*/ 296018 w 325615"/>
              <a:gd name="connsiteY87" fmla="*/ 49328 h 138885"/>
              <a:gd name="connsiteX88" fmla="*/ 283928 w 325615"/>
              <a:gd name="connsiteY88" fmla="*/ 56558 h 138885"/>
              <a:gd name="connsiteX89" fmla="*/ 281210 w 325615"/>
              <a:gd name="connsiteY89" fmla="*/ 56848 h 138885"/>
              <a:gd name="connsiteX90" fmla="*/ 259923 w 325615"/>
              <a:gd name="connsiteY90" fmla="*/ 40883 h 138885"/>
              <a:gd name="connsiteX91" fmla="*/ 251420 w 325615"/>
              <a:gd name="connsiteY91" fmla="*/ 30818 h 138885"/>
              <a:gd name="connsiteX92" fmla="*/ 243958 w 325615"/>
              <a:gd name="connsiteY92" fmla="*/ 13869 h 138885"/>
              <a:gd name="connsiteX93" fmla="*/ 233025 w 325615"/>
              <a:gd name="connsiteY93" fmla="*/ 2301 h 138885"/>
              <a:gd name="connsiteX94" fmla="*/ 198319 w 325615"/>
              <a:gd name="connsiteY94" fmla="*/ 27058 h 138885"/>
              <a:gd name="connsiteX95" fmla="*/ 203756 w 325615"/>
              <a:gd name="connsiteY95" fmla="*/ 30355 h 138885"/>
              <a:gd name="connsiteX96" fmla="*/ 217812 w 325615"/>
              <a:gd name="connsiteY96" fmla="*/ 38048 h 138885"/>
              <a:gd name="connsiteX97" fmla="*/ 206533 w 325615"/>
              <a:gd name="connsiteY97" fmla="*/ 50658 h 138885"/>
              <a:gd name="connsiteX98" fmla="*/ 205144 w 325615"/>
              <a:gd name="connsiteY98" fmla="*/ 51700 h 138885"/>
              <a:gd name="connsiteX99" fmla="*/ 214978 w 325615"/>
              <a:gd name="connsiteY99" fmla="*/ 58236 h 138885"/>
              <a:gd name="connsiteX100" fmla="*/ 228109 w 325615"/>
              <a:gd name="connsiteY100" fmla="*/ 67954 h 138885"/>
              <a:gd name="connsiteX101" fmla="*/ 227588 w 325615"/>
              <a:gd name="connsiteY101" fmla="*/ 70904 h 138885"/>
              <a:gd name="connsiteX102" fmla="*/ 211623 w 325615"/>
              <a:gd name="connsiteY102" fmla="*/ 74490 h 138885"/>
              <a:gd name="connsiteX103" fmla="*/ 162571 w 325615"/>
              <a:gd name="connsiteY103" fmla="*/ 59566 h 138885"/>
              <a:gd name="connsiteX104" fmla="*/ 105421 w 325615"/>
              <a:gd name="connsiteY104" fmla="*/ 30644 h 138885"/>
              <a:gd name="connsiteX105" fmla="*/ 99636 w 325615"/>
              <a:gd name="connsiteY105" fmla="*/ 31280 h 138885"/>
              <a:gd name="connsiteX106" fmla="*/ 94199 w 325615"/>
              <a:gd name="connsiteY106" fmla="*/ 32090 h 138885"/>
              <a:gd name="connsiteX107" fmla="*/ 83440 w 325615"/>
              <a:gd name="connsiteY107" fmla="*/ 24571 h 138885"/>
              <a:gd name="connsiteX108" fmla="*/ 70194 w 325615"/>
              <a:gd name="connsiteY108" fmla="*/ 15547 h 138885"/>
              <a:gd name="connsiteX109" fmla="*/ 55848 w 325615"/>
              <a:gd name="connsiteY109" fmla="*/ 23182 h 138885"/>
              <a:gd name="connsiteX110" fmla="*/ 41271 w 325615"/>
              <a:gd name="connsiteY110" fmla="*/ 32495 h 138885"/>
              <a:gd name="connsiteX111" fmla="*/ 30455 w 325615"/>
              <a:gd name="connsiteY111" fmla="*/ 40304 h 138885"/>
              <a:gd name="connsiteX112" fmla="*/ 44800 w 325615"/>
              <a:gd name="connsiteY112" fmla="*/ 48460 h 138885"/>
              <a:gd name="connsiteX113" fmla="*/ 62500 w 325615"/>
              <a:gd name="connsiteY113" fmla="*/ 52625 h 138885"/>
              <a:gd name="connsiteX114" fmla="*/ 49196 w 325615"/>
              <a:gd name="connsiteY114" fmla="*/ 55691 h 138885"/>
              <a:gd name="connsiteX115" fmla="*/ 42313 w 325615"/>
              <a:gd name="connsiteY115" fmla="*/ 55691 h 138885"/>
              <a:gd name="connsiteX116" fmla="*/ 13391 w 325615"/>
              <a:gd name="connsiteY116" fmla="*/ 69805 h 138885"/>
              <a:gd name="connsiteX117" fmla="*/ 14143 w 325615"/>
              <a:gd name="connsiteY117" fmla="*/ 71482 h 138885"/>
              <a:gd name="connsiteX118" fmla="*/ 21489 w 325615"/>
              <a:gd name="connsiteY118" fmla="*/ 71482 h 138885"/>
              <a:gd name="connsiteX119" fmla="*/ 48386 w 325615"/>
              <a:gd name="connsiteY119" fmla="*/ 67780 h 138885"/>
              <a:gd name="connsiteX120" fmla="*/ 55270 w 325615"/>
              <a:gd name="connsiteY120" fmla="*/ 69805 h 138885"/>
              <a:gd name="connsiteX121" fmla="*/ 49948 w 325615"/>
              <a:gd name="connsiteY121" fmla="*/ 73622 h 138885"/>
              <a:gd name="connsiteX122" fmla="*/ 29934 w 325615"/>
              <a:gd name="connsiteY122" fmla="*/ 78134 h 138885"/>
              <a:gd name="connsiteX123" fmla="*/ 1764 w 325615"/>
              <a:gd name="connsiteY123" fmla="*/ 86580 h 138885"/>
              <a:gd name="connsiteX124" fmla="*/ 2053 w 325615"/>
              <a:gd name="connsiteY124" fmla="*/ 87621 h 138885"/>
              <a:gd name="connsiteX125" fmla="*/ 15357 w 325615"/>
              <a:gd name="connsiteY125" fmla="*/ 91728 h 138885"/>
              <a:gd name="connsiteX126" fmla="*/ 36702 w 325615"/>
              <a:gd name="connsiteY126" fmla="*/ 96934 h 138885"/>
              <a:gd name="connsiteX127" fmla="*/ 56427 w 325615"/>
              <a:gd name="connsiteY127" fmla="*/ 102313 h 138885"/>
              <a:gd name="connsiteX128" fmla="*/ 72970 w 325615"/>
              <a:gd name="connsiteY128" fmla="*/ 93579 h 138885"/>
              <a:gd name="connsiteX129" fmla="*/ 95067 w 325615"/>
              <a:gd name="connsiteY129" fmla="*/ 75878 h 138885"/>
              <a:gd name="connsiteX130" fmla="*/ 97438 w 325615"/>
              <a:gd name="connsiteY130" fmla="*/ 77035 h 138885"/>
              <a:gd name="connsiteX131" fmla="*/ 96686 w 325615"/>
              <a:gd name="connsiteY131" fmla="*/ 86233 h 138885"/>
              <a:gd name="connsiteX132" fmla="*/ 96686 w 325615"/>
              <a:gd name="connsiteY132" fmla="*/ 92595 h 138885"/>
              <a:gd name="connsiteX133" fmla="*/ 102066 w 325615"/>
              <a:gd name="connsiteY133" fmla="*/ 94215 h 138885"/>
              <a:gd name="connsiteX134" fmla="*/ 117799 w 325615"/>
              <a:gd name="connsiteY134" fmla="*/ 92133 h 138885"/>
              <a:gd name="connsiteX135" fmla="*/ 147936 w 325615"/>
              <a:gd name="connsiteY135" fmla="*/ 88373 h 13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25615" h="138885">
                <a:moveTo>
                  <a:pt x="117047" y="138755"/>
                </a:moveTo>
                <a:cubicBezTo>
                  <a:pt x="113588" y="138784"/>
                  <a:pt x="110141" y="138454"/>
                  <a:pt x="106751" y="137772"/>
                </a:cubicBezTo>
                <a:cubicBezTo>
                  <a:pt x="92464" y="134475"/>
                  <a:pt x="83266" y="127938"/>
                  <a:pt x="83613" y="121460"/>
                </a:cubicBezTo>
                <a:cubicBezTo>
                  <a:pt x="83961" y="114981"/>
                  <a:pt x="92984" y="111163"/>
                  <a:pt x="108024" y="109891"/>
                </a:cubicBezTo>
                <a:cubicBezTo>
                  <a:pt x="133302" y="108098"/>
                  <a:pt x="159447" y="96413"/>
                  <a:pt x="159332" y="92133"/>
                </a:cubicBezTo>
                <a:cubicBezTo>
                  <a:pt x="159332" y="91496"/>
                  <a:pt x="157481" y="90282"/>
                  <a:pt x="150713" y="90282"/>
                </a:cubicBezTo>
                <a:lnTo>
                  <a:pt x="148110" y="90282"/>
                </a:lnTo>
                <a:cubicBezTo>
                  <a:pt x="138109" y="90831"/>
                  <a:pt x="128154" y="92069"/>
                  <a:pt x="118320" y="93984"/>
                </a:cubicBezTo>
                <a:cubicBezTo>
                  <a:pt x="113004" y="95112"/>
                  <a:pt x="107607" y="95829"/>
                  <a:pt x="102181" y="96124"/>
                </a:cubicBezTo>
                <a:cubicBezTo>
                  <a:pt x="99503" y="96500"/>
                  <a:pt x="96802" y="95551"/>
                  <a:pt x="94951" y="93579"/>
                </a:cubicBezTo>
                <a:cubicBezTo>
                  <a:pt x="93603" y="90947"/>
                  <a:pt x="93603" y="87823"/>
                  <a:pt x="94951" y="85191"/>
                </a:cubicBezTo>
                <a:cubicBezTo>
                  <a:pt x="96802" y="79754"/>
                  <a:pt x="96223" y="78308"/>
                  <a:pt x="95992" y="78019"/>
                </a:cubicBezTo>
                <a:cubicBezTo>
                  <a:pt x="95761" y="77729"/>
                  <a:pt x="95992" y="78019"/>
                  <a:pt x="95472" y="78019"/>
                </a:cubicBezTo>
                <a:cubicBezTo>
                  <a:pt x="92522" y="78019"/>
                  <a:pt x="84308" y="84844"/>
                  <a:pt x="75053" y="95025"/>
                </a:cubicBezTo>
                <a:cubicBezTo>
                  <a:pt x="70714" y="100757"/>
                  <a:pt x="64016" y="104222"/>
                  <a:pt x="56832" y="104453"/>
                </a:cubicBezTo>
                <a:cubicBezTo>
                  <a:pt x="49717" y="103829"/>
                  <a:pt x="42770" y="101972"/>
                  <a:pt x="36297" y="98958"/>
                </a:cubicBezTo>
                <a:cubicBezTo>
                  <a:pt x="29529" y="96552"/>
                  <a:pt x="22530" y="94846"/>
                  <a:pt x="15415" y="93868"/>
                </a:cubicBezTo>
                <a:cubicBezTo>
                  <a:pt x="8127" y="92653"/>
                  <a:pt x="2805" y="91786"/>
                  <a:pt x="665" y="88836"/>
                </a:cubicBezTo>
                <a:cubicBezTo>
                  <a:pt x="-93" y="87962"/>
                  <a:pt x="-313" y="86742"/>
                  <a:pt x="86" y="85654"/>
                </a:cubicBezTo>
                <a:cubicBezTo>
                  <a:pt x="1706" y="81431"/>
                  <a:pt x="12407" y="79118"/>
                  <a:pt x="29934" y="75821"/>
                </a:cubicBezTo>
                <a:cubicBezTo>
                  <a:pt x="36586" y="74698"/>
                  <a:pt x="43169" y="73212"/>
                  <a:pt x="49659" y="71367"/>
                </a:cubicBezTo>
                <a:cubicBezTo>
                  <a:pt x="50689" y="71037"/>
                  <a:pt x="51695" y="70632"/>
                  <a:pt x="52667" y="70152"/>
                </a:cubicBezTo>
                <a:cubicBezTo>
                  <a:pt x="51377" y="70048"/>
                  <a:pt x="50081" y="70048"/>
                  <a:pt x="48791" y="70152"/>
                </a:cubicBezTo>
                <a:cubicBezTo>
                  <a:pt x="39889" y="70372"/>
                  <a:pt x="31039" y="71592"/>
                  <a:pt x="22414" y="73796"/>
                </a:cubicBezTo>
                <a:cubicBezTo>
                  <a:pt x="19412" y="74941"/>
                  <a:pt x="16051" y="74733"/>
                  <a:pt x="13217" y="73218"/>
                </a:cubicBezTo>
                <a:cubicBezTo>
                  <a:pt x="12124" y="72402"/>
                  <a:pt x="11499" y="71106"/>
                  <a:pt x="11540" y="69747"/>
                </a:cubicBezTo>
                <a:cubicBezTo>
                  <a:pt x="11540" y="62979"/>
                  <a:pt x="24034" y="52394"/>
                  <a:pt x="42775" y="53319"/>
                </a:cubicBezTo>
                <a:lnTo>
                  <a:pt x="49543" y="53319"/>
                </a:lnTo>
                <a:cubicBezTo>
                  <a:pt x="53054" y="53493"/>
                  <a:pt x="56577" y="53198"/>
                  <a:pt x="60013" y="52452"/>
                </a:cubicBezTo>
                <a:cubicBezTo>
                  <a:pt x="55200" y="50982"/>
                  <a:pt x="50174" y="50358"/>
                  <a:pt x="45147" y="50600"/>
                </a:cubicBezTo>
                <a:cubicBezTo>
                  <a:pt x="33983" y="50600"/>
                  <a:pt x="28719" y="45221"/>
                  <a:pt x="28546" y="40246"/>
                </a:cubicBezTo>
                <a:cubicBezTo>
                  <a:pt x="28372" y="35272"/>
                  <a:pt x="32306" y="30818"/>
                  <a:pt x="41445" y="30181"/>
                </a:cubicBezTo>
                <a:cubicBezTo>
                  <a:pt x="46952" y="29950"/>
                  <a:pt x="51897" y="26734"/>
                  <a:pt x="54344" y="21794"/>
                </a:cubicBezTo>
                <a:cubicBezTo>
                  <a:pt x="57283" y="15639"/>
                  <a:pt x="63923" y="12157"/>
                  <a:pt x="70656" y="13233"/>
                </a:cubicBezTo>
                <a:cubicBezTo>
                  <a:pt x="77147" y="13493"/>
                  <a:pt x="82948" y="17352"/>
                  <a:pt x="85696" y="23240"/>
                </a:cubicBezTo>
                <a:cubicBezTo>
                  <a:pt x="87952" y="26884"/>
                  <a:pt x="89687" y="29719"/>
                  <a:pt x="94546" y="29719"/>
                </a:cubicBezTo>
                <a:cubicBezTo>
                  <a:pt x="96189" y="29684"/>
                  <a:pt x="97820" y="29453"/>
                  <a:pt x="99405" y="29025"/>
                </a:cubicBezTo>
                <a:cubicBezTo>
                  <a:pt x="101441" y="28492"/>
                  <a:pt x="103547" y="28238"/>
                  <a:pt x="105652" y="28273"/>
                </a:cubicBezTo>
                <a:cubicBezTo>
                  <a:pt x="126071" y="28273"/>
                  <a:pt x="162629" y="47188"/>
                  <a:pt x="165000" y="58930"/>
                </a:cubicBezTo>
                <a:cubicBezTo>
                  <a:pt x="166389" y="66045"/>
                  <a:pt x="191956" y="72061"/>
                  <a:pt x="211854" y="72061"/>
                </a:cubicBezTo>
                <a:cubicBezTo>
                  <a:pt x="220936" y="72061"/>
                  <a:pt x="225101" y="70730"/>
                  <a:pt x="225968" y="69458"/>
                </a:cubicBezTo>
                <a:cubicBezTo>
                  <a:pt x="226136" y="69111"/>
                  <a:pt x="226136" y="68706"/>
                  <a:pt x="225968" y="68359"/>
                </a:cubicBezTo>
                <a:cubicBezTo>
                  <a:pt x="225332" y="65871"/>
                  <a:pt x="219027" y="62574"/>
                  <a:pt x="213995" y="60029"/>
                </a:cubicBezTo>
                <a:cubicBezTo>
                  <a:pt x="207111" y="56501"/>
                  <a:pt x="202888" y="54245"/>
                  <a:pt x="202946" y="51468"/>
                </a:cubicBezTo>
                <a:cubicBezTo>
                  <a:pt x="202946" y="50253"/>
                  <a:pt x="203872" y="49212"/>
                  <a:pt x="205665" y="48460"/>
                </a:cubicBezTo>
                <a:cubicBezTo>
                  <a:pt x="211796" y="45742"/>
                  <a:pt x="216077" y="41288"/>
                  <a:pt x="215614" y="38164"/>
                </a:cubicBezTo>
                <a:cubicBezTo>
                  <a:pt x="215152" y="35040"/>
                  <a:pt x="210929" y="33305"/>
                  <a:pt x="203583" y="32380"/>
                </a:cubicBezTo>
                <a:cubicBezTo>
                  <a:pt x="197509" y="31685"/>
                  <a:pt x="196178" y="29025"/>
                  <a:pt x="196121" y="26884"/>
                </a:cubicBezTo>
                <a:cubicBezTo>
                  <a:pt x="196121" y="17514"/>
                  <a:pt x="220705" y="1722"/>
                  <a:pt x="232620" y="-129"/>
                </a:cubicBezTo>
                <a:lnTo>
                  <a:pt x="235166" y="-129"/>
                </a:lnTo>
                <a:cubicBezTo>
                  <a:pt x="243090" y="-129"/>
                  <a:pt x="244536" y="6523"/>
                  <a:pt x="246098" y="13580"/>
                </a:cubicBezTo>
                <a:cubicBezTo>
                  <a:pt x="246781" y="19446"/>
                  <a:pt x="249175" y="24975"/>
                  <a:pt x="252982" y="29487"/>
                </a:cubicBezTo>
                <a:cubicBezTo>
                  <a:pt x="256059" y="32721"/>
                  <a:pt x="258957" y="36116"/>
                  <a:pt x="261658" y="39668"/>
                </a:cubicBezTo>
                <a:cubicBezTo>
                  <a:pt x="267443" y="47477"/>
                  <a:pt x="273227" y="54823"/>
                  <a:pt x="281152" y="54823"/>
                </a:cubicBezTo>
                <a:cubicBezTo>
                  <a:pt x="281921" y="54875"/>
                  <a:pt x="282696" y="54875"/>
                  <a:pt x="283466" y="54823"/>
                </a:cubicBezTo>
                <a:cubicBezTo>
                  <a:pt x="287717" y="53811"/>
                  <a:pt x="291541" y="51480"/>
                  <a:pt x="294398" y="48171"/>
                </a:cubicBezTo>
                <a:cubicBezTo>
                  <a:pt x="297238" y="44614"/>
                  <a:pt x="301426" y="42392"/>
                  <a:pt x="305967" y="42040"/>
                </a:cubicBezTo>
                <a:cubicBezTo>
                  <a:pt x="308848" y="42126"/>
                  <a:pt x="311682" y="42797"/>
                  <a:pt x="314297" y="44006"/>
                </a:cubicBezTo>
                <a:cubicBezTo>
                  <a:pt x="323436" y="47940"/>
                  <a:pt x="326386" y="61360"/>
                  <a:pt x="325287" y="72350"/>
                </a:cubicBezTo>
                <a:cubicBezTo>
                  <a:pt x="324188" y="83340"/>
                  <a:pt x="317941" y="99016"/>
                  <a:pt x="304347" y="101851"/>
                </a:cubicBezTo>
                <a:cubicBezTo>
                  <a:pt x="299668" y="102805"/>
                  <a:pt x="294896" y="103250"/>
                  <a:pt x="290118" y="103181"/>
                </a:cubicBezTo>
                <a:cubicBezTo>
                  <a:pt x="284333" y="103181"/>
                  <a:pt x="278549" y="102718"/>
                  <a:pt x="273285" y="102198"/>
                </a:cubicBezTo>
                <a:cubicBezTo>
                  <a:pt x="268021" y="101677"/>
                  <a:pt x="263567" y="101388"/>
                  <a:pt x="259171" y="101388"/>
                </a:cubicBezTo>
                <a:cubicBezTo>
                  <a:pt x="253491" y="100942"/>
                  <a:pt x="247816" y="102319"/>
                  <a:pt x="242975" y="105321"/>
                </a:cubicBezTo>
                <a:cubicBezTo>
                  <a:pt x="240482" y="107224"/>
                  <a:pt x="237433" y="108237"/>
                  <a:pt x="234298" y="108213"/>
                </a:cubicBezTo>
                <a:cubicBezTo>
                  <a:pt x="230631" y="107999"/>
                  <a:pt x="227027" y="107137"/>
                  <a:pt x="223654" y="105668"/>
                </a:cubicBezTo>
                <a:cubicBezTo>
                  <a:pt x="220537" y="104326"/>
                  <a:pt x="217211" y="103528"/>
                  <a:pt x="213821" y="103297"/>
                </a:cubicBezTo>
                <a:cubicBezTo>
                  <a:pt x="210206" y="103343"/>
                  <a:pt x="206781" y="104922"/>
                  <a:pt x="204392" y="107635"/>
                </a:cubicBezTo>
                <a:cubicBezTo>
                  <a:pt x="192824" y="119030"/>
                  <a:pt x="145912" y="138755"/>
                  <a:pt x="117047" y="138755"/>
                </a:cubicBezTo>
                <a:close/>
                <a:moveTo>
                  <a:pt x="150829" y="88199"/>
                </a:moveTo>
                <a:cubicBezTo>
                  <a:pt x="158059" y="88199"/>
                  <a:pt x="161588" y="89530"/>
                  <a:pt x="161703" y="92248"/>
                </a:cubicBezTo>
                <a:cubicBezTo>
                  <a:pt x="161703" y="99363"/>
                  <a:pt x="132029" y="110643"/>
                  <a:pt x="108313" y="112320"/>
                </a:cubicBezTo>
                <a:cubicBezTo>
                  <a:pt x="94720" y="113304"/>
                  <a:pt x="86390" y="116774"/>
                  <a:pt x="85985" y="121575"/>
                </a:cubicBezTo>
                <a:cubicBezTo>
                  <a:pt x="85580" y="126377"/>
                  <a:pt x="92869" y="132277"/>
                  <a:pt x="107272" y="135574"/>
                </a:cubicBezTo>
                <a:cubicBezTo>
                  <a:pt x="110488" y="136239"/>
                  <a:pt x="113762" y="136551"/>
                  <a:pt x="117047" y="136499"/>
                </a:cubicBezTo>
                <a:cubicBezTo>
                  <a:pt x="145449" y="136499"/>
                  <a:pt x="191493" y="117237"/>
                  <a:pt x="203120" y="105553"/>
                </a:cubicBezTo>
                <a:cubicBezTo>
                  <a:pt x="205948" y="102429"/>
                  <a:pt x="209951" y="100630"/>
                  <a:pt x="214168" y="100578"/>
                </a:cubicBezTo>
                <a:cubicBezTo>
                  <a:pt x="217818" y="100792"/>
                  <a:pt x="221404" y="101654"/>
                  <a:pt x="224753" y="103123"/>
                </a:cubicBezTo>
                <a:cubicBezTo>
                  <a:pt x="227894" y="104465"/>
                  <a:pt x="231238" y="105263"/>
                  <a:pt x="234645" y="105495"/>
                </a:cubicBezTo>
                <a:cubicBezTo>
                  <a:pt x="237300" y="105506"/>
                  <a:pt x="239886" y="104627"/>
                  <a:pt x="241991" y="103007"/>
                </a:cubicBezTo>
                <a:cubicBezTo>
                  <a:pt x="247163" y="99745"/>
                  <a:pt x="253242" y="98206"/>
                  <a:pt x="259344" y="98611"/>
                </a:cubicBezTo>
                <a:cubicBezTo>
                  <a:pt x="263798" y="98611"/>
                  <a:pt x="268600" y="99074"/>
                  <a:pt x="273632" y="99479"/>
                </a:cubicBezTo>
                <a:cubicBezTo>
                  <a:pt x="278664" y="99884"/>
                  <a:pt x="284680" y="100462"/>
                  <a:pt x="290291" y="100462"/>
                </a:cubicBezTo>
                <a:cubicBezTo>
                  <a:pt x="294913" y="100520"/>
                  <a:pt x="299529" y="100092"/>
                  <a:pt x="304058" y="99190"/>
                </a:cubicBezTo>
                <a:cubicBezTo>
                  <a:pt x="316437" y="96587"/>
                  <a:pt x="322106" y="82704"/>
                  <a:pt x="323205" y="71656"/>
                </a:cubicBezTo>
                <a:cubicBezTo>
                  <a:pt x="324304" y="60608"/>
                  <a:pt x="321643" y="49097"/>
                  <a:pt x="313545" y="45626"/>
                </a:cubicBezTo>
                <a:cubicBezTo>
                  <a:pt x="311225" y="44533"/>
                  <a:pt x="308703" y="43925"/>
                  <a:pt x="306140" y="43833"/>
                </a:cubicBezTo>
                <a:cubicBezTo>
                  <a:pt x="302143" y="44162"/>
                  <a:pt x="298470" y="46158"/>
                  <a:pt x="296018" y="49328"/>
                </a:cubicBezTo>
                <a:cubicBezTo>
                  <a:pt x="292865" y="52972"/>
                  <a:pt x="288625" y="55506"/>
                  <a:pt x="283928" y="56558"/>
                </a:cubicBezTo>
                <a:cubicBezTo>
                  <a:pt x="283032" y="56738"/>
                  <a:pt x="282123" y="56836"/>
                  <a:pt x="281210" y="56848"/>
                </a:cubicBezTo>
                <a:cubicBezTo>
                  <a:pt x="272417" y="56848"/>
                  <a:pt x="266344" y="49097"/>
                  <a:pt x="259923" y="40883"/>
                </a:cubicBezTo>
                <a:cubicBezTo>
                  <a:pt x="257274" y="37377"/>
                  <a:pt x="254433" y="34016"/>
                  <a:pt x="251420" y="30818"/>
                </a:cubicBezTo>
                <a:cubicBezTo>
                  <a:pt x="247324" y="26022"/>
                  <a:pt x="244727" y="20128"/>
                  <a:pt x="243958" y="13869"/>
                </a:cubicBezTo>
                <a:cubicBezTo>
                  <a:pt x="242049" y="5308"/>
                  <a:pt x="240719" y="970"/>
                  <a:pt x="233025" y="2301"/>
                </a:cubicBezTo>
                <a:cubicBezTo>
                  <a:pt x="220589" y="4209"/>
                  <a:pt x="198319" y="20174"/>
                  <a:pt x="198319" y="27058"/>
                </a:cubicBezTo>
                <a:cubicBezTo>
                  <a:pt x="198319" y="28793"/>
                  <a:pt x="200170" y="29892"/>
                  <a:pt x="203756" y="30355"/>
                </a:cubicBezTo>
                <a:cubicBezTo>
                  <a:pt x="214631" y="31628"/>
                  <a:pt x="217349" y="35214"/>
                  <a:pt x="217812" y="38048"/>
                </a:cubicBezTo>
                <a:cubicBezTo>
                  <a:pt x="218506" y="42965"/>
                  <a:pt x="212491" y="48055"/>
                  <a:pt x="206533" y="50658"/>
                </a:cubicBezTo>
                <a:cubicBezTo>
                  <a:pt x="205434" y="51179"/>
                  <a:pt x="205144" y="51584"/>
                  <a:pt x="205144" y="51700"/>
                </a:cubicBezTo>
                <a:cubicBezTo>
                  <a:pt x="205144" y="53146"/>
                  <a:pt x="210929" y="56211"/>
                  <a:pt x="214978" y="58236"/>
                </a:cubicBezTo>
                <a:cubicBezTo>
                  <a:pt x="221283" y="61417"/>
                  <a:pt x="227241" y="64483"/>
                  <a:pt x="228109" y="67954"/>
                </a:cubicBezTo>
                <a:cubicBezTo>
                  <a:pt x="228398" y="68966"/>
                  <a:pt x="228207" y="70054"/>
                  <a:pt x="227588" y="70904"/>
                </a:cubicBezTo>
                <a:cubicBezTo>
                  <a:pt x="225968" y="73275"/>
                  <a:pt x="220589" y="74490"/>
                  <a:pt x="211623" y="74490"/>
                </a:cubicBezTo>
                <a:cubicBezTo>
                  <a:pt x="195080" y="74490"/>
                  <a:pt x="164538" y="69516"/>
                  <a:pt x="162571" y="59566"/>
                </a:cubicBezTo>
                <a:cubicBezTo>
                  <a:pt x="160604" y="49617"/>
                  <a:pt x="126071" y="30644"/>
                  <a:pt x="105421" y="30644"/>
                </a:cubicBezTo>
                <a:cubicBezTo>
                  <a:pt x="103472" y="30615"/>
                  <a:pt x="101534" y="30829"/>
                  <a:pt x="99636" y="31280"/>
                </a:cubicBezTo>
                <a:cubicBezTo>
                  <a:pt x="97872" y="31801"/>
                  <a:pt x="96038" y="32079"/>
                  <a:pt x="94199" y="32090"/>
                </a:cubicBezTo>
                <a:cubicBezTo>
                  <a:pt x="89439" y="31934"/>
                  <a:pt x="85222" y="28984"/>
                  <a:pt x="83440" y="24571"/>
                </a:cubicBezTo>
                <a:cubicBezTo>
                  <a:pt x="81120" y="19272"/>
                  <a:pt x="75972" y="15767"/>
                  <a:pt x="70194" y="15547"/>
                </a:cubicBezTo>
                <a:cubicBezTo>
                  <a:pt x="64253" y="14656"/>
                  <a:pt x="58428" y="17757"/>
                  <a:pt x="55848" y="23182"/>
                </a:cubicBezTo>
                <a:cubicBezTo>
                  <a:pt x="52991" y="28660"/>
                  <a:pt x="47444" y="32206"/>
                  <a:pt x="41271" y="32495"/>
                </a:cubicBezTo>
                <a:cubicBezTo>
                  <a:pt x="33578" y="33074"/>
                  <a:pt x="30281" y="36834"/>
                  <a:pt x="30455" y="40304"/>
                </a:cubicBezTo>
                <a:cubicBezTo>
                  <a:pt x="30628" y="43775"/>
                  <a:pt x="35140" y="48460"/>
                  <a:pt x="44800" y="48460"/>
                </a:cubicBezTo>
                <a:cubicBezTo>
                  <a:pt x="46651" y="48460"/>
                  <a:pt x="62500" y="48460"/>
                  <a:pt x="62500" y="52625"/>
                </a:cubicBezTo>
                <a:cubicBezTo>
                  <a:pt x="62500" y="53608"/>
                  <a:pt x="62500" y="55691"/>
                  <a:pt x="49196" y="55691"/>
                </a:cubicBezTo>
                <a:lnTo>
                  <a:pt x="42313" y="55691"/>
                </a:lnTo>
                <a:cubicBezTo>
                  <a:pt x="24670" y="54997"/>
                  <a:pt x="13391" y="64772"/>
                  <a:pt x="13391" y="69805"/>
                </a:cubicBezTo>
                <a:cubicBezTo>
                  <a:pt x="13350" y="70453"/>
                  <a:pt x="13628" y="71083"/>
                  <a:pt x="14143" y="71482"/>
                </a:cubicBezTo>
                <a:cubicBezTo>
                  <a:pt x="16497" y="72448"/>
                  <a:pt x="19134" y="72448"/>
                  <a:pt x="21489" y="71482"/>
                </a:cubicBezTo>
                <a:cubicBezTo>
                  <a:pt x="30293" y="69261"/>
                  <a:pt x="39311" y="68023"/>
                  <a:pt x="48386" y="67780"/>
                </a:cubicBezTo>
                <a:cubicBezTo>
                  <a:pt x="53824" y="67780"/>
                  <a:pt x="55096" y="68590"/>
                  <a:pt x="55270" y="69805"/>
                </a:cubicBezTo>
                <a:cubicBezTo>
                  <a:pt x="55443" y="71019"/>
                  <a:pt x="54055" y="72234"/>
                  <a:pt x="49948" y="73622"/>
                </a:cubicBezTo>
                <a:cubicBezTo>
                  <a:pt x="43365" y="75508"/>
                  <a:pt x="36684" y="77012"/>
                  <a:pt x="29934" y="78134"/>
                </a:cubicBezTo>
                <a:cubicBezTo>
                  <a:pt x="18365" y="80275"/>
                  <a:pt x="3036" y="83283"/>
                  <a:pt x="1764" y="86580"/>
                </a:cubicBezTo>
                <a:cubicBezTo>
                  <a:pt x="1764" y="86580"/>
                  <a:pt x="1764" y="86985"/>
                  <a:pt x="2053" y="87621"/>
                </a:cubicBezTo>
                <a:cubicBezTo>
                  <a:pt x="3673" y="89819"/>
                  <a:pt x="8821" y="90687"/>
                  <a:pt x="15357" y="91728"/>
                </a:cubicBezTo>
                <a:cubicBezTo>
                  <a:pt x="22628" y="92752"/>
                  <a:pt x="29778" y="94493"/>
                  <a:pt x="36702" y="96934"/>
                </a:cubicBezTo>
                <a:cubicBezTo>
                  <a:pt x="42914" y="99855"/>
                  <a:pt x="49590" y="101677"/>
                  <a:pt x="56427" y="102313"/>
                </a:cubicBezTo>
                <a:cubicBezTo>
                  <a:pt x="62981" y="102059"/>
                  <a:pt x="69066" y="98848"/>
                  <a:pt x="72970" y="93579"/>
                </a:cubicBezTo>
                <a:cubicBezTo>
                  <a:pt x="77829" y="88257"/>
                  <a:pt x="89687" y="75878"/>
                  <a:pt x="95067" y="75878"/>
                </a:cubicBezTo>
                <a:cubicBezTo>
                  <a:pt x="95998" y="75850"/>
                  <a:pt x="96889" y="76283"/>
                  <a:pt x="97438" y="77035"/>
                </a:cubicBezTo>
                <a:cubicBezTo>
                  <a:pt x="98537" y="78539"/>
                  <a:pt x="98306" y="81489"/>
                  <a:pt x="96686" y="86233"/>
                </a:cubicBezTo>
                <a:cubicBezTo>
                  <a:pt x="95703" y="89298"/>
                  <a:pt x="95587" y="91439"/>
                  <a:pt x="96686" y="92595"/>
                </a:cubicBezTo>
                <a:cubicBezTo>
                  <a:pt x="97785" y="93752"/>
                  <a:pt x="99232" y="94215"/>
                  <a:pt x="102066" y="94215"/>
                </a:cubicBezTo>
                <a:cubicBezTo>
                  <a:pt x="107359" y="93937"/>
                  <a:pt x="112617" y="93238"/>
                  <a:pt x="117799" y="92133"/>
                </a:cubicBezTo>
                <a:cubicBezTo>
                  <a:pt x="127743" y="90166"/>
                  <a:pt x="137814" y="88911"/>
                  <a:pt x="147936" y="88373"/>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478" name="Forma libre: forma 477">
            <a:extLst>
              <a:ext uri="{FF2B5EF4-FFF2-40B4-BE49-F238E27FC236}">
                <a16:creationId xmlns:a16="http://schemas.microsoft.com/office/drawing/2014/main" id="{3DD51681-5B59-6F77-0FCC-CAEA79282BE5}"/>
              </a:ext>
            </a:extLst>
          </p:cNvPr>
          <p:cNvSpPr/>
          <p:nvPr/>
        </p:nvSpPr>
        <p:spPr>
          <a:xfrm>
            <a:off x="2807407" y="1734943"/>
            <a:ext cx="205187" cy="104524"/>
          </a:xfrm>
          <a:custGeom>
            <a:avLst/>
            <a:gdLst>
              <a:gd name="connsiteX0" fmla="*/ 73019 w 205187"/>
              <a:gd name="connsiteY0" fmla="*/ 104396 h 104524"/>
              <a:gd name="connsiteX1" fmla="*/ 57633 w 205187"/>
              <a:gd name="connsiteY1" fmla="*/ 87389 h 104524"/>
              <a:gd name="connsiteX2" fmla="*/ 55203 w 205187"/>
              <a:gd name="connsiteY2" fmla="*/ 81605 h 104524"/>
              <a:gd name="connsiteX3" fmla="*/ 54451 w 205187"/>
              <a:gd name="connsiteY3" fmla="*/ 82126 h 104524"/>
              <a:gd name="connsiteX4" fmla="*/ 50402 w 205187"/>
              <a:gd name="connsiteY4" fmla="*/ 87274 h 104524"/>
              <a:gd name="connsiteX5" fmla="*/ 37156 w 205187"/>
              <a:gd name="connsiteY5" fmla="*/ 96760 h 104524"/>
              <a:gd name="connsiteX6" fmla="*/ 31372 w 205187"/>
              <a:gd name="connsiteY6" fmla="*/ 95719 h 104524"/>
              <a:gd name="connsiteX7" fmla="*/ 25587 w 205187"/>
              <a:gd name="connsiteY7" fmla="*/ 94562 h 104524"/>
              <a:gd name="connsiteX8" fmla="*/ 12861 w 205187"/>
              <a:gd name="connsiteY8" fmla="*/ 99305 h 104524"/>
              <a:gd name="connsiteX9" fmla="*/ 9506 w 205187"/>
              <a:gd name="connsiteY9" fmla="*/ 100289 h 104524"/>
              <a:gd name="connsiteX10" fmla="*/ 5862 w 205187"/>
              <a:gd name="connsiteY10" fmla="*/ 93116 h 104524"/>
              <a:gd name="connsiteX11" fmla="*/ 2160 w 205187"/>
              <a:gd name="connsiteY11" fmla="*/ 83572 h 104524"/>
              <a:gd name="connsiteX12" fmla="*/ -38 w 205187"/>
              <a:gd name="connsiteY12" fmla="*/ 79754 h 104524"/>
              <a:gd name="connsiteX13" fmla="*/ 37040 w 205187"/>
              <a:gd name="connsiteY13" fmla="*/ 61996 h 104524"/>
              <a:gd name="connsiteX14" fmla="*/ 39007 w 205187"/>
              <a:gd name="connsiteY14" fmla="*/ 61996 h 104524"/>
              <a:gd name="connsiteX15" fmla="*/ 59368 w 205187"/>
              <a:gd name="connsiteY15" fmla="*/ 51237 h 104524"/>
              <a:gd name="connsiteX16" fmla="*/ 77242 w 205187"/>
              <a:gd name="connsiteY16" fmla="*/ 36602 h 104524"/>
              <a:gd name="connsiteX17" fmla="*/ 96851 w 205187"/>
              <a:gd name="connsiteY17" fmla="*/ 23819 h 104524"/>
              <a:gd name="connsiteX18" fmla="*/ 123170 w 205187"/>
              <a:gd name="connsiteY18" fmla="*/ 10341 h 104524"/>
              <a:gd name="connsiteX19" fmla="*/ 127798 w 205187"/>
              <a:gd name="connsiteY19" fmla="*/ 11151 h 104524"/>
              <a:gd name="connsiteX20" fmla="*/ 157298 w 205187"/>
              <a:gd name="connsiteY20" fmla="*/ 18092 h 104524"/>
              <a:gd name="connsiteX21" fmla="*/ 162620 w 205187"/>
              <a:gd name="connsiteY21" fmla="*/ 15836 h 104524"/>
              <a:gd name="connsiteX22" fmla="*/ 172801 w 205187"/>
              <a:gd name="connsiteY22" fmla="*/ -129 h 104524"/>
              <a:gd name="connsiteX23" fmla="*/ 181477 w 205187"/>
              <a:gd name="connsiteY23" fmla="*/ 4094 h 104524"/>
              <a:gd name="connsiteX24" fmla="*/ 199293 w 205187"/>
              <a:gd name="connsiteY24" fmla="*/ 11266 h 104524"/>
              <a:gd name="connsiteX25" fmla="*/ 205078 w 205187"/>
              <a:gd name="connsiteY25" fmla="*/ 13754 h 104524"/>
              <a:gd name="connsiteX26" fmla="*/ 203111 w 205187"/>
              <a:gd name="connsiteY26" fmla="*/ 17861 h 104524"/>
              <a:gd name="connsiteX27" fmla="*/ 191947 w 205187"/>
              <a:gd name="connsiteY27" fmla="*/ 23645 h 104524"/>
              <a:gd name="connsiteX28" fmla="*/ 185237 w 205187"/>
              <a:gd name="connsiteY28" fmla="*/ 27289 h 104524"/>
              <a:gd name="connsiteX29" fmla="*/ 186279 w 205187"/>
              <a:gd name="connsiteY29" fmla="*/ 31107 h 104524"/>
              <a:gd name="connsiteX30" fmla="*/ 187609 w 205187"/>
              <a:gd name="connsiteY30" fmla="*/ 44585 h 104524"/>
              <a:gd name="connsiteX31" fmla="*/ 186452 w 205187"/>
              <a:gd name="connsiteY31" fmla="*/ 52162 h 104524"/>
              <a:gd name="connsiteX32" fmla="*/ 185584 w 205187"/>
              <a:gd name="connsiteY32" fmla="*/ 55691 h 104524"/>
              <a:gd name="connsiteX33" fmla="*/ 174652 w 205187"/>
              <a:gd name="connsiteY33" fmla="*/ 59451 h 104524"/>
              <a:gd name="connsiteX34" fmla="*/ 164645 w 205187"/>
              <a:gd name="connsiteY34" fmla="*/ 63384 h 104524"/>
              <a:gd name="connsiteX35" fmla="*/ 148101 w 205187"/>
              <a:gd name="connsiteY35" fmla="*/ 77498 h 104524"/>
              <a:gd name="connsiteX36" fmla="*/ 137111 w 205187"/>
              <a:gd name="connsiteY36" fmla="*/ 69805 h 104524"/>
              <a:gd name="connsiteX37" fmla="*/ 135260 w 205187"/>
              <a:gd name="connsiteY37" fmla="*/ 54534 h 104524"/>
              <a:gd name="connsiteX38" fmla="*/ 134624 w 205187"/>
              <a:gd name="connsiteY38" fmla="*/ 46725 h 104524"/>
              <a:gd name="connsiteX39" fmla="*/ 129822 w 205187"/>
              <a:gd name="connsiteY39" fmla="*/ 46146 h 104524"/>
              <a:gd name="connsiteX40" fmla="*/ 116171 w 205187"/>
              <a:gd name="connsiteY40" fmla="*/ 65351 h 104524"/>
              <a:gd name="connsiteX41" fmla="*/ 114899 w 205187"/>
              <a:gd name="connsiteY41" fmla="*/ 70788 h 104524"/>
              <a:gd name="connsiteX42" fmla="*/ 103041 w 205187"/>
              <a:gd name="connsiteY42" fmla="*/ 86580 h 104524"/>
              <a:gd name="connsiteX43" fmla="*/ 95058 w 205187"/>
              <a:gd name="connsiteY43" fmla="*/ 83514 h 104524"/>
              <a:gd name="connsiteX44" fmla="*/ 91703 w 205187"/>
              <a:gd name="connsiteY44" fmla="*/ 82183 h 104524"/>
              <a:gd name="connsiteX45" fmla="*/ 85340 w 205187"/>
              <a:gd name="connsiteY45" fmla="*/ 90860 h 104524"/>
              <a:gd name="connsiteX46" fmla="*/ 73019 w 205187"/>
              <a:gd name="connsiteY46" fmla="*/ 104396 h 104524"/>
              <a:gd name="connsiteX47" fmla="*/ 55203 w 205187"/>
              <a:gd name="connsiteY47" fmla="*/ 79465 h 104524"/>
              <a:gd name="connsiteX48" fmla="*/ 59773 w 205187"/>
              <a:gd name="connsiteY48" fmla="*/ 86695 h 104524"/>
              <a:gd name="connsiteX49" fmla="*/ 73019 w 205187"/>
              <a:gd name="connsiteY49" fmla="*/ 102140 h 104524"/>
              <a:gd name="connsiteX50" fmla="*/ 83605 w 205187"/>
              <a:gd name="connsiteY50" fmla="*/ 90050 h 104524"/>
              <a:gd name="connsiteX51" fmla="*/ 92050 w 205187"/>
              <a:gd name="connsiteY51" fmla="*/ 79985 h 104524"/>
              <a:gd name="connsiteX52" fmla="*/ 96678 w 205187"/>
              <a:gd name="connsiteY52" fmla="*/ 81721 h 104524"/>
              <a:gd name="connsiteX53" fmla="*/ 103388 w 205187"/>
              <a:gd name="connsiteY53" fmla="*/ 84382 h 104524"/>
              <a:gd name="connsiteX54" fmla="*/ 113106 w 205187"/>
              <a:gd name="connsiteY54" fmla="*/ 70210 h 104524"/>
              <a:gd name="connsiteX55" fmla="*/ 114320 w 205187"/>
              <a:gd name="connsiteY55" fmla="*/ 65004 h 104524"/>
              <a:gd name="connsiteX56" fmla="*/ 129765 w 205187"/>
              <a:gd name="connsiteY56" fmla="*/ 44006 h 104524"/>
              <a:gd name="connsiteX57" fmla="*/ 136648 w 205187"/>
              <a:gd name="connsiteY57" fmla="*/ 45279 h 104524"/>
              <a:gd name="connsiteX58" fmla="*/ 137863 w 205187"/>
              <a:gd name="connsiteY58" fmla="*/ 54765 h 104524"/>
              <a:gd name="connsiteX59" fmla="*/ 139425 w 205187"/>
              <a:gd name="connsiteY59" fmla="*/ 68764 h 104524"/>
              <a:gd name="connsiteX60" fmla="*/ 148448 w 205187"/>
              <a:gd name="connsiteY60" fmla="*/ 75300 h 104524"/>
              <a:gd name="connsiteX61" fmla="*/ 162794 w 205187"/>
              <a:gd name="connsiteY61" fmla="*/ 63095 h 104524"/>
              <a:gd name="connsiteX62" fmla="*/ 174710 w 205187"/>
              <a:gd name="connsiteY62" fmla="*/ 57310 h 104524"/>
              <a:gd name="connsiteX63" fmla="*/ 184138 w 205187"/>
              <a:gd name="connsiteY63" fmla="*/ 54476 h 104524"/>
              <a:gd name="connsiteX64" fmla="*/ 184543 w 205187"/>
              <a:gd name="connsiteY64" fmla="*/ 52567 h 104524"/>
              <a:gd name="connsiteX65" fmla="*/ 185816 w 205187"/>
              <a:gd name="connsiteY65" fmla="*/ 43891 h 104524"/>
              <a:gd name="connsiteX66" fmla="*/ 184717 w 205187"/>
              <a:gd name="connsiteY66" fmla="*/ 32322 h 104524"/>
              <a:gd name="connsiteX67" fmla="*/ 183444 w 205187"/>
              <a:gd name="connsiteY67" fmla="*/ 26537 h 104524"/>
              <a:gd name="connsiteX68" fmla="*/ 191600 w 205187"/>
              <a:gd name="connsiteY68" fmla="*/ 21505 h 104524"/>
              <a:gd name="connsiteX69" fmla="*/ 201839 w 205187"/>
              <a:gd name="connsiteY69" fmla="*/ 16357 h 104524"/>
              <a:gd name="connsiteX70" fmla="*/ 203285 w 205187"/>
              <a:gd name="connsiteY70" fmla="*/ 14506 h 104524"/>
              <a:gd name="connsiteX71" fmla="*/ 199062 w 205187"/>
              <a:gd name="connsiteY71" fmla="*/ 13638 h 104524"/>
              <a:gd name="connsiteX72" fmla="*/ 180089 w 205187"/>
              <a:gd name="connsiteY72" fmla="*/ 5887 h 104524"/>
              <a:gd name="connsiteX73" fmla="*/ 172916 w 205187"/>
              <a:gd name="connsiteY73" fmla="*/ 2243 h 104524"/>
              <a:gd name="connsiteX74" fmla="*/ 164992 w 205187"/>
              <a:gd name="connsiteY74" fmla="*/ 15952 h 104524"/>
              <a:gd name="connsiteX75" fmla="*/ 157414 w 205187"/>
              <a:gd name="connsiteY75" fmla="*/ 20464 h 104524"/>
              <a:gd name="connsiteX76" fmla="*/ 127335 w 205187"/>
              <a:gd name="connsiteY76" fmla="*/ 13407 h 104524"/>
              <a:gd name="connsiteX77" fmla="*/ 123460 w 205187"/>
              <a:gd name="connsiteY77" fmla="*/ 12770 h 104524"/>
              <a:gd name="connsiteX78" fmla="*/ 98529 w 205187"/>
              <a:gd name="connsiteY78" fmla="*/ 25785 h 104524"/>
              <a:gd name="connsiteX79" fmla="*/ 78515 w 205187"/>
              <a:gd name="connsiteY79" fmla="*/ 38800 h 104524"/>
              <a:gd name="connsiteX80" fmla="*/ 61161 w 205187"/>
              <a:gd name="connsiteY80" fmla="*/ 52914 h 104524"/>
              <a:gd name="connsiteX81" fmla="*/ 39065 w 205187"/>
              <a:gd name="connsiteY81" fmla="*/ 64483 h 104524"/>
              <a:gd name="connsiteX82" fmla="*/ 37214 w 205187"/>
              <a:gd name="connsiteY82" fmla="*/ 64483 h 104524"/>
              <a:gd name="connsiteX83" fmla="*/ 2507 w 205187"/>
              <a:gd name="connsiteY83" fmla="*/ 80448 h 104524"/>
              <a:gd name="connsiteX84" fmla="*/ 3433 w 205187"/>
              <a:gd name="connsiteY84" fmla="*/ 81721 h 104524"/>
              <a:gd name="connsiteX85" fmla="*/ 8465 w 205187"/>
              <a:gd name="connsiteY85" fmla="*/ 93290 h 104524"/>
              <a:gd name="connsiteX86" fmla="*/ 9853 w 205187"/>
              <a:gd name="connsiteY86" fmla="*/ 98264 h 104524"/>
              <a:gd name="connsiteX87" fmla="*/ 12167 w 205187"/>
              <a:gd name="connsiteY87" fmla="*/ 97512 h 104524"/>
              <a:gd name="connsiteX88" fmla="*/ 25934 w 205187"/>
              <a:gd name="connsiteY88" fmla="*/ 92538 h 104524"/>
              <a:gd name="connsiteX89" fmla="*/ 32413 w 205187"/>
              <a:gd name="connsiteY89" fmla="*/ 93810 h 104524"/>
              <a:gd name="connsiteX90" fmla="*/ 37387 w 205187"/>
              <a:gd name="connsiteY90" fmla="*/ 94736 h 104524"/>
              <a:gd name="connsiteX91" fmla="*/ 48956 w 205187"/>
              <a:gd name="connsiteY91" fmla="*/ 86233 h 104524"/>
              <a:gd name="connsiteX92" fmla="*/ 53237 w 205187"/>
              <a:gd name="connsiteY92" fmla="*/ 80737 h 104524"/>
              <a:gd name="connsiteX93" fmla="*/ 55203 w 205187"/>
              <a:gd name="connsiteY93" fmla="*/ 79465 h 10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05187" h="104524">
                <a:moveTo>
                  <a:pt x="73019" y="104396"/>
                </a:moveTo>
                <a:cubicBezTo>
                  <a:pt x="62954" y="104396"/>
                  <a:pt x="59773" y="94157"/>
                  <a:pt x="57633" y="87389"/>
                </a:cubicBezTo>
                <a:cubicBezTo>
                  <a:pt x="56996" y="85365"/>
                  <a:pt x="55840" y="81605"/>
                  <a:pt x="55203" y="81605"/>
                </a:cubicBezTo>
                <a:cubicBezTo>
                  <a:pt x="54567" y="81605"/>
                  <a:pt x="55203" y="81605"/>
                  <a:pt x="54451" y="82126"/>
                </a:cubicBezTo>
                <a:cubicBezTo>
                  <a:pt x="52936" y="83705"/>
                  <a:pt x="51582" y="85428"/>
                  <a:pt x="50402" y="87274"/>
                </a:cubicBezTo>
                <a:cubicBezTo>
                  <a:pt x="47163" y="91959"/>
                  <a:pt x="43808" y="96760"/>
                  <a:pt x="37156" y="96760"/>
                </a:cubicBezTo>
                <a:cubicBezTo>
                  <a:pt x="35183" y="96743"/>
                  <a:pt x="33228" y="96390"/>
                  <a:pt x="31372" y="95719"/>
                </a:cubicBezTo>
                <a:cubicBezTo>
                  <a:pt x="29520" y="95019"/>
                  <a:pt x="27565" y="94632"/>
                  <a:pt x="25587" y="94562"/>
                </a:cubicBezTo>
                <a:cubicBezTo>
                  <a:pt x="21040" y="95164"/>
                  <a:pt x="16691" y="96789"/>
                  <a:pt x="12861" y="99305"/>
                </a:cubicBezTo>
                <a:cubicBezTo>
                  <a:pt x="11826" y="99872"/>
                  <a:pt x="10681" y="100208"/>
                  <a:pt x="9506" y="100289"/>
                </a:cubicBezTo>
                <a:cubicBezTo>
                  <a:pt x="6151" y="100289"/>
                  <a:pt x="5978" y="96644"/>
                  <a:pt x="5862" y="93116"/>
                </a:cubicBezTo>
                <a:cubicBezTo>
                  <a:pt x="5747" y="89588"/>
                  <a:pt x="5862" y="85018"/>
                  <a:pt x="2160" y="83572"/>
                </a:cubicBezTo>
                <a:cubicBezTo>
                  <a:pt x="558" y="83045"/>
                  <a:pt x="-385" y="81403"/>
                  <a:pt x="-38" y="79754"/>
                </a:cubicBezTo>
                <a:cubicBezTo>
                  <a:pt x="1350" y="72986"/>
                  <a:pt x="22290" y="61996"/>
                  <a:pt x="37040" y="61996"/>
                </a:cubicBezTo>
                <a:lnTo>
                  <a:pt x="39007" y="61996"/>
                </a:lnTo>
                <a:cubicBezTo>
                  <a:pt x="48898" y="62574"/>
                  <a:pt x="53468" y="57657"/>
                  <a:pt x="59368" y="51237"/>
                </a:cubicBezTo>
                <a:cubicBezTo>
                  <a:pt x="64291" y="45215"/>
                  <a:pt x="70370" y="40241"/>
                  <a:pt x="77242" y="36602"/>
                </a:cubicBezTo>
                <a:cubicBezTo>
                  <a:pt x="84131" y="32906"/>
                  <a:pt x="90691" y="28631"/>
                  <a:pt x="96851" y="23819"/>
                </a:cubicBezTo>
                <a:cubicBezTo>
                  <a:pt x="106338" y="16877"/>
                  <a:pt x="115246" y="10341"/>
                  <a:pt x="123170" y="10341"/>
                </a:cubicBezTo>
                <a:cubicBezTo>
                  <a:pt x="124750" y="10312"/>
                  <a:pt x="126323" y="10590"/>
                  <a:pt x="127798" y="11151"/>
                </a:cubicBezTo>
                <a:cubicBezTo>
                  <a:pt x="137255" y="14841"/>
                  <a:pt x="147187" y="17178"/>
                  <a:pt x="157298" y="18092"/>
                </a:cubicBezTo>
                <a:cubicBezTo>
                  <a:pt x="160827" y="18092"/>
                  <a:pt x="162620" y="17340"/>
                  <a:pt x="162620" y="15836"/>
                </a:cubicBezTo>
                <a:cubicBezTo>
                  <a:pt x="162620" y="9415"/>
                  <a:pt x="165859" y="-129"/>
                  <a:pt x="172801" y="-129"/>
                </a:cubicBezTo>
                <a:cubicBezTo>
                  <a:pt x="176110" y="183"/>
                  <a:pt x="179187" y="1687"/>
                  <a:pt x="181477" y="4094"/>
                </a:cubicBezTo>
                <a:cubicBezTo>
                  <a:pt x="186562" y="8218"/>
                  <a:pt x="192769" y="10717"/>
                  <a:pt x="199293" y="11266"/>
                </a:cubicBezTo>
                <a:cubicBezTo>
                  <a:pt x="202706" y="11787"/>
                  <a:pt x="205078" y="12134"/>
                  <a:pt x="205078" y="13754"/>
                </a:cubicBezTo>
                <a:cubicBezTo>
                  <a:pt x="205078" y="15373"/>
                  <a:pt x="204326" y="16646"/>
                  <a:pt x="203111" y="17861"/>
                </a:cubicBezTo>
                <a:cubicBezTo>
                  <a:pt x="199907" y="20654"/>
                  <a:pt x="196077" y="22639"/>
                  <a:pt x="191947" y="23645"/>
                </a:cubicBezTo>
                <a:cubicBezTo>
                  <a:pt x="188824" y="24686"/>
                  <a:pt x="185816" y="25670"/>
                  <a:pt x="185237" y="27289"/>
                </a:cubicBezTo>
                <a:cubicBezTo>
                  <a:pt x="184994" y="28654"/>
                  <a:pt x="185376" y="30054"/>
                  <a:pt x="186279" y="31107"/>
                </a:cubicBezTo>
                <a:cubicBezTo>
                  <a:pt x="189211" y="34994"/>
                  <a:pt x="189720" y="40194"/>
                  <a:pt x="187609" y="44585"/>
                </a:cubicBezTo>
                <a:cubicBezTo>
                  <a:pt x="186539" y="46956"/>
                  <a:pt x="186140" y="49577"/>
                  <a:pt x="186452" y="52162"/>
                </a:cubicBezTo>
                <a:cubicBezTo>
                  <a:pt x="186649" y="53406"/>
                  <a:pt x="186336" y="54679"/>
                  <a:pt x="185584" y="55691"/>
                </a:cubicBezTo>
                <a:cubicBezTo>
                  <a:pt x="183733" y="58178"/>
                  <a:pt x="179337" y="58814"/>
                  <a:pt x="174652" y="59451"/>
                </a:cubicBezTo>
                <a:cubicBezTo>
                  <a:pt x="169966" y="60087"/>
                  <a:pt x="165107" y="60781"/>
                  <a:pt x="164645" y="63384"/>
                </a:cubicBezTo>
                <a:cubicBezTo>
                  <a:pt x="162481" y="70996"/>
                  <a:pt x="155957" y="76561"/>
                  <a:pt x="148101" y="77498"/>
                </a:cubicBezTo>
                <a:cubicBezTo>
                  <a:pt x="143260" y="77272"/>
                  <a:pt x="138979" y="74276"/>
                  <a:pt x="137111" y="69805"/>
                </a:cubicBezTo>
                <a:cubicBezTo>
                  <a:pt x="134982" y="65015"/>
                  <a:pt x="134340" y="59694"/>
                  <a:pt x="135260" y="54534"/>
                </a:cubicBezTo>
                <a:cubicBezTo>
                  <a:pt x="135549" y="51005"/>
                  <a:pt x="135780" y="47997"/>
                  <a:pt x="134624" y="46725"/>
                </a:cubicBezTo>
                <a:cubicBezTo>
                  <a:pt x="133467" y="45452"/>
                  <a:pt x="132252" y="45684"/>
                  <a:pt x="129822" y="46146"/>
                </a:cubicBezTo>
                <a:cubicBezTo>
                  <a:pt x="119758" y="47997"/>
                  <a:pt x="117849" y="57253"/>
                  <a:pt x="116171" y="65351"/>
                </a:cubicBezTo>
                <a:cubicBezTo>
                  <a:pt x="115842" y="67184"/>
                  <a:pt x="115413" y="69001"/>
                  <a:pt x="114899" y="70788"/>
                </a:cubicBezTo>
                <a:cubicBezTo>
                  <a:pt x="113163" y="77093"/>
                  <a:pt x="110445" y="86580"/>
                  <a:pt x="103041" y="86580"/>
                </a:cubicBezTo>
                <a:cubicBezTo>
                  <a:pt x="100131" y="86383"/>
                  <a:pt x="97349" y="85319"/>
                  <a:pt x="95058" y="83514"/>
                </a:cubicBezTo>
                <a:cubicBezTo>
                  <a:pt x="94086" y="82768"/>
                  <a:pt x="92924" y="82305"/>
                  <a:pt x="91703" y="82183"/>
                </a:cubicBezTo>
                <a:cubicBezTo>
                  <a:pt x="88926" y="82183"/>
                  <a:pt x="87191" y="86406"/>
                  <a:pt x="85340" y="90860"/>
                </a:cubicBezTo>
                <a:cubicBezTo>
                  <a:pt x="83084" y="97223"/>
                  <a:pt x="80134" y="104396"/>
                  <a:pt x="73019" y="104396"/>
                </a:cubicBezTo>
                <a:close/>
                <a:moveTo>
                  <a:pt x="55203" y="79465"/>
                </a:moveTo>
                <a:cubicBezTo>
                  <a:pt x="57517" y="79465"/>
                  <a:pt x="58443" y="82473"/>
                  <a:pt x="59773" y="86695"/>
                </a:cubicBezTo>
                <a:cubicBezTo>
                  <a:pt x="61798" y="93174"/>
                  <a:pt x="64632" y="102140"/>
                  <a:pt x="73019" y="102140"/>
                </a:cubicBezTo>
                <a:cubicBezTo>
                  <a:pt x="78804" y="102140"/>
                  <a:pt x="81175" y="96008"/>
                  <a:pt x="83605" y="90050"/>
                </a:cubicBezTo>
                <a:cubicBezTo>
                  <a:pt x="86034" y="84092"/>
                  <a:pt x="87770" y="79985"/>
                  <a:pt x="92050" y="79985"/>
                </a:cubicBezTo>
                <a:cubicBezTo>
                  <a:pt x="93733" y="80078"/>
                  <a:pt x="95347" y="80685"/>
                  <a:pt x="96678" y="81721"/>
                </a:cubicBezTo>
                <a:cubicBezTo>
                  <a:pt x="98592" y="83265"/>
                  <a:pt x="100935" y="84191"/>
                  <a:pt x="103388" y="84382"/>
                </a:cubicBezTo>
                <a:cubicBezTo>
                  <a:pt x="109172" y="84382"/>
                  <a:pt x="111486" y="75878"/>
                  <a:pt x="113106" y="70210"/>
                </a:cubicBezTo>
                <a:cubicBezTo>
                  <a:pt x="113568" y="68648"/>
                  <a:pt x="113915" y="66855"/>
                  <a:pt x="114320" y="65004"/>
                </a:cubicBezTo>
                <a:cubicBezTo>
                  <a:pt x="116055" y="56558"/>
                  <a:pt x="118196" y="46089"/>
                  <a:pt x="129765" y="44006"/>
                </a:cubicBezTo>
                <a:cubicBezTo>
                  <a:pt x="132119" y="43167"/>
                  <a:pt x="134745" y="43653"/>
                  <a:pt x="136648" y="45279"/>
                </a:cubicBezTo>
                <a:cubicBezTo>
                  <a:pt x="138499" y="47303"/>
                  <a:pt x="138210" y="51063"/>
                  <a:pt x="137863" y="54765"/>
                </a:cubicBezTo>
                <a:cubicBezTo>
                  <a:pt x="136955" y="59480"/>
                  <a:pt x="137504" y="64362"/>
                  <a:pt x="139425" y="68764"/>
                </a:cubicBezTo>
                <a:cubicBezTo>
                  <a:pt x="140929" y="72495"/>
                  <a:pt x="144434" y="75034"/>
                  <a:pt x="148448" y="75300"/>
                </a:cubicBezTo>
                <a:cubicBezTo>
                  <a:pt x="155170" y="74311"/>
                  <a:pt x="160740" y="69573"/>
                  <a:pt x="162794" y="63095"/>
                </a:cubicBezTo>
                <a:cubicBezTo>
                  <a:pt x="163488" y="58814"/>
                  <a:pt x="169214" y="58005"/>
                  <a:pt x="174710" y="57310"/>
                </a:cubicBezTo>
                <a:cubicBezTo>
                  <a:pt x="178701" y="56790"/>
                  <a:pt x="182808" y="56211"/>
                  <a:pt x="184138" y="54476"/>
                </a:cubicBezTo>
                <a:cubicBezTo>
                  <a:pt x="184549" y="53932"/>
                  <a:pt x="184693" y="53232"/>
                  <a:pt x="184543" y="52567"/>
                </a:cubicBezTo>
                <a:cubicBezTo>
                  <a:pt x="184219" y="49611"/>
                  <a:pt x="184653" y="46627"/>
                  <a:pt x="185816" y="43891"/>
                </a:cubicBezTo>
                <a:cubicBezTo>
                  <a:pt x="187788" y="40160"/>
                  <a:pt x="187354" y="35613"/>
                  <a:pt x="184717" y="32322"/>
                </a:cubicBezTo>
                <a:cubicBezTo>
                  <a:pt x="183409" y="30696"/>
                  <a:pt x="182941" y="28556"/>
                  <a:pt x="183444" y="26537"/>
                </a:cubicBezTo>
                <a:cubicBezTo>
                  <a:pt x="184427" y="23876"/>
                  <a:pt x="187725" y="22777"/>
                  <a:pt x="191600" y="21505"/>
                </a:cubicBezTo>
                <a:cubicBezTo>
                  <a:pt x="195366" y="20608"/>
                  <a:pt x="198871" y="18844"/>
                  <a:pt x="201839" y="16357"/>
                </a:cubicBezTo>
                <a:cubicBezTo>
                  <a:pt x="203227" y="14968"/>
                  <a:pt x="203285" y="14506"/>
                  <a:pt x="203285" y="14506"/>
                </a:cubicBezTo>
                <a:cubicBezTo>
                  <a:pt x="201908" y="14072"/>
                  <a:pt x="200497" y="13783"/>
                  <a:pt x="199062" y="13638"/>
                </a:cubicBezTo>
                <a:cubicBezTo>
                  <a:pt x="192103" y="13025"/>
                  <a:pt x="185486" y="10324"/>
                  <a:pt x="180089" y="5887"/>
                </a:cubicBezTo>
                <a:cubicBezTo>
                  <a:pt x="178209" y="3851"/>
                  <a:pt x="175664" y="2561"/>
                  <a:pt x="172916" y="2243"/>
                </a:cubicBezTo>
                <a:cubicBezTo>
                  <a:pt x="167132" y="2243"/>
                  <a:pt x="164992" y="11151"/>
                  <a:pt x="164992" y="15952"/>
                </a:cubicBezTo>
                <a:cubicBezTo>
                  <a:pt x="164992" y="17976"/>
                  <a:pt x="163719" y="20464"/>
                  <a:pt x="157414" y="20464"/>
                </a:cubicBezTo>
                <a:cubicBezTo>
                  <a:pt x="147101" y="19561"/>
                  <a:pt x="136972" y="17184"/>
                  <a:pt x="127335" y="13407"/>
                </a:cubicBezTo>
                <a:cubicBezTo>
                  <a:pt x="126086" y="12984"/>
                  <a:pt x="124779" y="12770"/>
                  <a:pt x="123460" y="12770"/>
                </a:cubicBezTo>
                <a:cubicBezTo>
                  <a:pt x="116287" y="12770"/>
                  <a:pt x="107610" y="19075"/>
                  <a:pt x="98529" y="25785"/>
                </a:cubicBezTo>
                <a:cubicBezTo>
                  <a:pt x="92241" y="30690"/>
                  <a:pt x="85548" y="35040"/>
                  <a:pt x="78515" y="38800"/>
                </a:cubicBezTo>
                <a:cubicBezTo>
                  <a:pt x="71874" y="42346"/>
                  <a:pt x="65986" y="47136"/>
                  <a:pt x="61161" y="52914"/>
                </a:cubicBezTo>
                <a:cubicBezTo>
                  <a:pt x="55377" y="59508"/>
                  <a:pt x="49997" y="65119"/>
                  <a:pt x="39065" y="64483"/>
                </a:cubicBezTo>
                <a:lnTo>
                  <a:pt x="37214" y="64483"/>
                </a:lnTo>
                <a:cubicBezTo>
                  <a:pt x="22174" y="64483"/>
                  <a:pt x="3317" y="75647"/>
                  <a:pt x="2507" y="80448"/>
                </a:cubicBezTo>
                <a:cubicBezTo>
                  <a:pt x="2507" y="80737"/>
                  <a:pt x="2507" y="81258"/>
                  <a:pt x="3433" y="81721"/>
                </a:cubicBezTo>
                <a:cubicBezTo>
                  <a:pt x="8118" y="83745"/>
                  <a:pt x="8349" y="89240"/>
                  <a:pt x="8465" y="93290"/>
                </a:cubicBezTo>
                <a:cubicBezTo>
                  <a:pt x="8581" y="97339"/>
                  <a:pt x="8465" y="98264"/>
                  <a:pt x="9853" y="98264"/>
                </a:cubicBezTo>
                <a:cubicBezTo>
                  <a:pt x="10675" y="98201"/>
                  <a:pt x="11467" y="97946"/>
                  <a:pt x="12167" y="97512"/>
                </a:cubicBezTo>
                <a:cubicBezTo>
                  <a:pt x="16315" y="94822"/>
                  <a:pt x="21023" y="93122"/>
                  <a:pt x="25934" y="92538"/>
                </a:cubicBezTo>
                <a:cubicBezTo>
                  <a:pt x="28150" y="92613"/>
                  <a:pt x="30336" y="93041"/>
                  <a:pt x="32413" y="93810"/>
                </a:cubicBezTo>
                <a:cubicBezTo>
                  <a:pt x="34015" y="94371"/>
                  <a:pt x="35693" y="94684"/>
                  <a:pt x="37387" y="94736"/>
                </a:cubicBezTo>
                <a:cubicBezTo>
                  <a:pt x="42882" y="94736"/>
                  <a:pt x="45717" y="90571"/>
                  <a:pt x="48956" y="86233"/>
                </a:cubicBezTo>
                <a:cubicBezTo>
                  <a:pt x="50223" y="84277"/>
                  <a:pt x="51652" y="82444"/>
                  <a:pt x="53237" y="80737"/>
                </a:cubicBezTo>
                <a:cubicBezTo>
                  <a:pt x="53717" y="80089"/>
                  <a:pt x="54417" y="79633"/>
                  <a:pt x="55203" y="79465"/>
                </a:cubicBezTo>
                <a:close/>
              </a:path>
            </a:pathLst>
          </a:custGeom>
          <a:solidFill>
            <a:srgbClr val="FFFFFF"/>
          </a:solidFill>
          <a:ln w="57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545354"/>
              </a:solidFill>
              <a:effectLst/>
              <a:uLnTx/>
              <a:uFillTx/>
              <a:latin typeface="Poppins Light"/>
              <a:ea typeface="+mn-ea"/>
              <a:cs typeface="+mn-cs"/>
            </a:endParaRPr>
          </a:p>
        </p:txBody>
      </p:sp>
      <p:pic>
        <p:nvPicPr>
          <p:cNvPr id="4" name="Picture 2" descr="Belcorp | Brands of the World™ | Download vector logos and ...">
            <a:extLst>
              <a:ext uri="{FF2B5EF4-FFF2-40B4-BE49-F238E27FC236}">
                <a16:creationId xmlns:a16="http://schemas.microsoft.com/office/drawing/2014/main" id="{CBE9C695-365F-A0FB-6EED-F85FACEBE5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55880"/>
      </p:ext>
    </p:extLst>
  </p:cSld>
  <p:clrMapOvr>
    <a:masterClrMapping/>
  </p:clrMapOvr>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A1C91E4D-A927-263A-8677-2AE4226F53B3}"/>
              </a:ext>
            </a:extLst>
          </p:cNvPr>
          <p:cNvSpPr txBox="1">
            <a:spLocks/>
          </p:cNvSpPr>
          <p:nvPr/>
        </p:nvSpPr>
        <p:spPr>
          <a:xfrm>
            <a:off x="1277615" y="467226"/>
            <a:ext cx="6749444" cy="286688"/>
          </a:xfrm>
          <a:prstGeom prst="rect">
            <a:avLst/>
          </a:prstGeom>
        </p:spPr>
        <p:txBody>
          <a:bodyPr vert="horz" lIns="91440" tIns="45720" rIns="91440" bIns="45720" rtlCol="0" anchor="ctr">
            <a:no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2400" b="0" i="0" u="none" strike="noStrike" kern="1200" cap="none" spc="-150" normalizeH="0" baseline="0" noProof="0">
                <a:ln>
                  <a:noFill/>
                </a:ln>
                <a:solidFill>
                  <a:srgbClr val="5E3FD1"/>
                </a:solidFill>
                <a:effectLst/>
                <a:uLnTx/>
                <a:uFillTx/>
                <a:latin typeface="Poppins"/>
                <a:ea typeface="+mj-ea"/>
                <a:cs typeface="Poppins"/>
              </a:rPr>
              <a:t>CPG </a:t>
            </a:r>
            <a:r>
              <a:rPr kumimoji="0" lang="es-CO" sz="2400" b="0" i="0" u="none" strike="noStrike" kern="1200" cap="none" spc="-150" normalizeH="0" baseline="0" noProof="0" err="1">
                <a:ln>
                  <a:noFill/>
                </a:ln>
                <a:solidFill>
                  <a:srgbClr val="5E3FD1"/>
                </a:solidFill>
                <a:effectLst/>
                <a:uLnTx/>
                <a:uFillTx/>
                <a:latin typeface="Poppins"/>
                <a:ea typeface="+mj-ea"/>
                <a:cs typeface="Poppins"/>
              </a:rPr>
              <a:t>Industry</a:t>
            </a:r>
            <a:r>
              <a:rPr kumimoji="0" lang="es-CO" sz="2400" b="0" i="0" u="none" strike="noStrike" kern="1200" cap="none" spc="-150" normalizeH="0" baseline="0" noProof="0">
                <a:ln>
                  <a:noFill/>
                </a:ln>
                <a:solidFill>
                  <a:srgbClr val="5E3FD1"/>
                </a:solidFill>
                <a:effectLst/>
                <a:uLnTx/>
                <a:uFillTx/>
                <a:latin typeface="Poppins"/>
                <a:ea typeface="+mj-ea"/>
                <a:cs typeface="Poppins"/>
              </a:rPr>
              <a:t> </a:t>
            </a:r>
            <a:r>
              <a:rPr kumimoji="0" lang="es-CO" sz="2400" b="0" i="0" u="none" strike="noStrike" kern="1200" cap="none" spc="-150" normalizeH="0" baseline="0" noProof="0" err="1">
                <a:ln>
                  <a:noFill/>
                </a:ln>
                <a:solidFill>
                  <a:srgbClr val="5E3FD1"/>
                </a:solidFill>
                <a:effectLst/>
                <a:uLnTx/>
                <a:uFillTx/>
                <a:latin typeface="Poppins"/>
                <a:ea typeface="+mj-ea"/>
                <a:cs typeface="Poppins"/>
              </a:rPr>
              <a:t>Experience</a:t>
            </a:r>
            <a:r>
              <a:rPr kumimoji="0" lang="es-CO" sz="2400" b="0" i="0" u="none" strike="noStrike" kern="1200" cap="none" spc="-150" normalizeH="0" baseline="0" noProof="0">
                <a:ln>
                  <a:noFill/>
                </a:ln>
                <a:solidFill>
                  <a:srgbClr val="5E3FD1"/>
                </a:solidFill>
                <a:effectLst/>
                <a:uLnTx/>
                <a:uFillTx/>
                <a:latin typeface="Poppins"/>
                <a:ea typeface="+mj-ea"/>
                <a:cs typeface="Poppins"/>
              </a:rPr>
              <a:t>: </a:t>
            </a:r>
            <a:endParaRPr kumimoji="0" lang="en-US" sz="2400" b="0" i="0" u="none" strike="noStrike" kern="1200" cap="none" spc="0" normalizeH="0" baseline="0" noProof="0">
              <a:ln>
                <a:noFill/>
              </a:ln>
              <a:solidFill>
                <a:srgbClr val="5E3FD1"/>
              </a:solidFill>
              <a:effectLst/>
              <a:uLnTx/>
              <a:uFillTx/>
              <a:latin typeface="Poppins"/>
              <a:ea typeface="+mj-ea"/>
              <a:cs typeface="Poppin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1800" b="0" i="0" u="none" strike="noStrike" kern="1200" cap="none" spc="-150" normalizeH="0" baseline="0" noProof="0">
                <a:ln>
                  <a:noFill/>
                </a:ln>
                <a:solidFill>
                  <a:srgbClr val="8D80FF"/>
                </a:solidFill>
                <a:effectLst/>
                <a:uLnTx/>
                <a:uFillTx/>
                <a:latin typeface="Poppins"/>
                <a:ea typeface="+mj-ea"/>
                <a:cs typeface="Poppins"/>
              </a:rPr>
              <a:t>A </a:t>
            </a:r>
            <a:r>
              <a:rPr kumimoji="0" lang="es-CO" sz="1800" b="0" i="0" u="none" strike="noStrike" kern="1200" cap="none" spc="-150" normalizeH="0" baseline="0" noProof="0" err="1">
                <a:ln>
                  <a:noFill/>
                </a:ln>
                <a:solidFill>
                  <a:srgbClr val="8D80FF"/>
                </a:solidFill>
                <a:effectLst/>
                <a:uLnTx/>
                <a:uFillTx/>
                <a:latin typeface="Poppins"/>
                <a:ea typeface="+mj-ea"/>
                <a:cs typeface="Poppins"/>
              </a:rPr>
              <a:t>Glimpse</a:t>
            </a:r>
            <a:r>
              <a:rPr kumimoji="0" lang="es-CO" sz="1800" b="0" i="0" u="none" strike="noStrike" kern="1200" cap="none" spc="-150" normalizeH="0" baseline="0" noProof="0">
                <a:ln>
                  <a:noFill/>
                </a:ln>
                <a:solidFill>
                  <a:srgbClr val="8D80FF"/>
                </a:solidFill>
                <a:effectLst/>
                <a:uLnTx/>
                <a:uFillTx/>
                <a:latin typeface="Poppins"/>
                <a:ea typeface="+mj-ea"/>
                <a:cs typeface="Poppins"/>
              </a:rPr>
              <a:t> </a:t>
            </a:r>
            <a:r>
              <a:rPr kumimoji="0" lang="es-CO" sz="1800" b="0" i="0" u="none" strike="noStrike" kern="1200" cap="none" spc="-150" normalizeH="0" baseline="0" noProof="0" err="1">
                <a:ln>
                  <a:noFill/>
                </a:ln>
                <a:solidFill>
                  <a:srgbClr val="8D80FF"/>
                </a:solidFill>
                <a:effectLst/>
                <a:uLnTx/>
                <a:uFillTx/>
                <a:latin typeface="Poppins"/>
                <a:ea typeface="+mj-ea"/>
                <a:cs typeface="Poppins"/>
              </a:rPr>
              <a:t>Into</a:t>
            </a:r>
            <a:r>
              <a:rPr kumimoji="0" lang="es-CO" sz="1800" b="0" i="0" u="none" strike="noStrike" kern="1200" cap="none" spc="-150" normalizeH="0" baseline="0" noProof="0">
                <a:ln>
                  <a:noFill/>
                </a:ln>
                <a:solidFill>
                  <a:srgbClr val="8D80FF"/>
                </a:solidFill>
                <a:effectLst/>
                <a:uLnTx/>
                <a:uFillTx/>
                <a:latin typeface="Poppins"/>
                <a:ea typeface="+mj-ea"/>
                <a:cs typeface="Poppins"/>
              </a:rPr>
              <a:t> </a:t>
            </a:r>
            <a:r>
              <a:rPr kumimoji="0" lang="es-CO" sz="1800" b="0" i="0" u="none" strike="noStrike" kern="1200" cap="none" spc="-150" normalizeH="0" baseline="0" noProof="0" err="1">
                <a:ln>
                  <a:noFill/>
                </a:ln>
                <a:solidFill>
                  <a:srgbClr val="8D80FF"/>
                </a:solidFill>
                <a:effectLst/>
                <a:uLnTx/>
                <a:uFillTx/>
                <a:latin typeface="Poppins"/>
                <a:ea typeface="+mj-ea"/>
                <a:cs typeface="Poppins"/>
              </a:rPr>
              <a:t>Our</a:t>
            </a:r>
            <a:r>
              <a:rPr kumimoji="0" lang="es-CO" sz="1800" b="0" i="0" u="none" strike="noStrike" kern="1200" cap="none" spc="-150" normalizeH="0" baseline="0" noProof="0">
                <a:ln>
                  <a:noFill/>
                </a:ln>
                <a:solidFill>
                  <a:srgbClr val="8D80FF"/>
                </a:solidFill>
                <a:effectLst/>
                <a:uLnTx/>
                <a:uFillTx/>
                <a:latin typeface="Poppins"/>
                <a:ea typeface="+mj-ea"/>
                <a:cs typeface="Poppins"/>
              </a:rPr>
              <a:t> Portfolio </a:t>
            </a:r>
            <a:r>
              <a:rPr kumimoji="0" lang="es-CO" sz="1800" b="0" i="0" u="none" strike="noStrike" kern="1200" cap="none" spc="-150" normalizeH="0" baseline="0" noProof="0" err="1">
                <a:ln>
                  <a:noFill/>
                </a:ln>
                <a:solidFill>
                  <a:srgbClr val="8D80FF"/>
                </a:solidFill>
                <a:effectLst/>
                <a:uLnTx/>
                <a:uFillTx/>
                <a:latin typeface="Poppins"/>
                <a:ea typeface="+mj-ea"/>
                <a:cs typeface="Poppins"/>
              </a:rPr>
              <a:t>of</a:t>
            </a:r>
            <a:r>
              <a:rPr kumimoji="0" lang="es-CO" sz="1800" b="0" i="0" u="none" strike="noStrike" kern="1200" cap="none" spc="-150" normalizeH="0" baseline="0" noProof="0">
                <a:ln>
                  <a:noFill/>
                </a:ln>
                <a:solidFill>
                  <a:srgbClr val="8D80FF"/>
                </a:solidFill>
                <a:effectLst/>
                <a:uLnTx/>
                <a:uFillTx/>
                <a:latin typeface="Poppins"/>
                <a:ea typeface="+mj-ea"/>
                <a:cs typeface="Poppins"/>
              </a:rPr>
              <a:t> </a:t>
            </a:r>
            <a:r>
              <a:rPr kumimoji="0" lang="es-CO" sz="1800" b="0" i="0" u="none" strike="noStrike" kern="1200" cap="none" spc="-150" normalizeH="0" baseline="0" noProof="0" err="1">
                <a:ln>
                  <a:noFill/>
                </a:ln>
                <a:solidFill>
                  <a:srgbClr val="8D80FF"/>
                </a:solidFill>
                <a:effectLst/>
                <a:uLnTx/>
                <a:uFillTx/>
                <a:latin typeface="Poppins"/>
                <a:ea typeface="+mj-ea"/>
                <a:cs typeface="Poppins"/>
              </a:rPr>
              <a:t>Clients</a:t>
            </a:r>
            <a:r>
              <a:rPr kumimoji="0" lang="es-CO" sz="1800" b="0" i="0" u="none" strike="noStrike" kern="1200" cap="none" spc="-150" normalizeH="0" baseline="0" noProof="0">
                <a:ln>
                  <a:noFill/>
                </a:ln>
                <a:solidFill>
                  <a:srgbClr val="8D80FF"/>
                </a:solidFill>
                <a:effectLst/>
                <a:uLnTx/>
                <a:uFillTx/>
                <a:latin typeface="Poppins"/>
                <a:ea typeface="+mj-ea"/>
                <a:cs typeface="Poppins"/>
              </a:rPr>
              <a:t> as IOTA </a:t>
            </a:r>
            <a:r>
              <a:rPr kumimoji="0" lang="es-CO" sz="1800" b="0" i="0" u="none" strike="noStrike" kern="1200" cap="none" spc="-150" normalizeH="0" baseline="0" noProof="0" err="1">
                <a:ln>
                  <a:noFill/>
                </a:ln>
                <a:solidFill>
                  <a:srgbClr val="8D80FF"/>
                </a:solidFill>
                <a:effectLst/>
                <a:uLnTx/>
                <a:uFillTx/>
                <a:latin typeface="Poppins"/>
                <a:ea typeface="+mj-ea"/>
                <a:cs typeface="Poppins"/>
              </a:rPr>
              <a:t>Impact</a:t>
            </a:r>
            <a:r>
              <a:rPr kumimoji="0" lang="es-CO" sz="1800" b="0" i="0" u="none" strike="noStrike" kern="1200" cap="none" spc="-150" normalizeH="0" baseline="0" noProof="0">
                <a:ln>
                  <a:noFill/>
                </a:ln>
                <a:solidFill>
                  <a:srgbClr val="8D80FF"/>
                </a:solidFill>
                <a:effectLst/>
                <a:uLnTx/>
                <a:uFillTx/>
                <a:latin typeface="Poppins"/>
                <a:ea typeface="+mj-ea"/>
                <a:cs typeface="Poppins"/>
              </a:rPr>
              <a:t> and partners</a:t>
            </a:r>
            <a:endParaRPr kumimoji="0" lang="en-US" sz="1800" b="0" i="0" u="none" strike="noStrike" kern="1200" cap="none" spc="0" normalizeH="0" baseline="0" noProof="0">
              <a:ln>
                <a:noFill/>
              </a:ln>
              <a:solidFill>
                <a:srgbClr val="8D80FF"/>
              </a:solidFill>
              <a:effectLst/>
              <a:uLnTx/>
              <a:uFillTx/>
              <a:latin typeface="Poppins"/>
              <a:ea typeface="+mj-ea"/>
              <a:cs typeface="Poppins"/>
            </a:endParaRPr>
          </a:p>
        </p:txBody>
      </p:sp>
      <p:pic>
        <p:nvPicPr>
          <p:cNvPr id="2" name="Picture 1">
            <a:extLst>
              <a:ext uri="{FF2B5EF4-FFF2-40B4-BE49-F238E27FC236}">
                <a16:creationId xmlns:a16="http://schemas.microsoft.com/office/drawing/2014/main" id="{47937B0B-AEDE-C542-B999-8AD41D05D1A2}"/>
              </a:ext>
            </a:extLst>
          </p:cNvPr>
          <p:cNvPicPr>
            <a:picLocks noChangeAspect="1"/>
          </p:cNvPicPr>
          <p:nvPr/>
        </p:nvPicPr>
        <p:blipFill>
          <a:blip r:embed="rId2"/>
          <a:stretch>
            <a:fillRect/>
          </a:stretch>
        </p:blipFill>
        <p:spPr>
          <a:xfrm>
            <a:off x="10465444" y="1452932"/>
            <a:ext cx="1246257" cy="221480"/>
          </a:xfrm>
          <a:prstGeom prst="rect">
            <a:avLst/>
          </a:prstGeom>
        </p:spPr>
      </p:pic>
      <p:pic>
        <p:nvPicPr>
          <p:cNvPr id="4" name="Picture 3">
            <a:extLst>
              <a:ext uri="{FF2B5EF4-FFF2-40B4-BE49-F238E27FC236}">
                <a16:creationId xmlns:a16="http://schemas.microsoft.com/office/drawing/2014/main" id="{02867734-A270-FF31-DE51-FE0CF4624A7B}"/>
              </a:ext>
            </a:extLst>
          </p:cNvPr>
          <p:cNvPicPr>
            <a:picLocks noChangeAspect="1"/>
          </p:cNvPicPr>
          <p:nvPr/>
        </p:nvPicPr>
        <p:blipFill>
          <a:blip r:embed="rId3"/>
          <a:stretch>
            <a:fillRect/>
          </a:stretch>
        </p:blipFill>
        <p:spPr>
          <a:xfrm>
            <a:off x="10520751" y="1907983"/>
            <a:ext cx="1135643" cy="647643"/>
          </a:xfrm>
          <a:prstGeom prst="rect">
            <a:avLst/>
          </a:prstGeom>
        </p:spPr>
      </p:pic>
      <p:pic>
        <p:nvPicPr>
          <p:cNvPr id="5" name="Picture 4">
            <a:extLst>
              <a:ext uri="{FF2B5EF4-FFF2-40B4-BE49-F238E27FC236}">
                <a16:creationId xmlns:a16="http://schemas.microsoft.com/office/drawing/2014/main" id="{4D21DB8B-D9D3-A6B1-3B5A-B4FB5E012965}"/>
              </a:ext>
            </a:extLst>
          </p:cNvPr>
          <p:cNvPicPr>
            <a:picLocks noChangeAspect="1"/>
          </p:cNvPicPr>
          <p:nvPr/>
        </p:nvPicPr>
        <p:blipFill>
          <a:blip r:embed="rId4"/>
          <a:stretch>
            <a:fillRect/>
          </a:stretch>
        </p:blipFill>
        <p:spPr>
          <a:xfrm>
            <a:off x="10576058" y="3288849"/>
            <a:ext cx="1025029" cy="847791"/>
          </a:xfrm>
          <a:prstGeom prst="rect">
            <a:avLst/>
          </a:prstGeom>
        </p:spPr>
      </p:pic>
      <p:pic>
        <p:nvPicPr>
          <p:cNvPr id="10" name="Imagen 9">
            <a:extLst>
              <a:ext uri="{FF2B5EF4-FFF2-40B4-BE49-F238E27FC236}">
                <a16:creationId xmlns:a16="http://schemas.microsoft.com/office/drawing/2014/main" id="{2BEF941A-5157-AF52-143A-CBAA9603B7C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65444" y="4129460"/>
            <a:ext cx="1246257" cy="777873"/>
          </a:xfrm>
          <a:prstGeom prst="rect">
            <a:avLst/>
          </a:prstGeom>
        </p:spPr>
      </p:pic>
      <p:pic>
        <p:nvPicPr>
          <p:cNvPr id="7" name="Picture 6">
            <a:extLst>
              <a:ext uri="{FF2B5EF4-FFF2-40B4-BE49-F238E27FC236}">
                <a16:creationId xmlns:a16="http://schemas.microsoft.com/office/drawing/2014/main" id="{F7C5D761-98F1-345B-3BDF-07BDA8EFF1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67721" y="5064382"/>
            <a:ext cx="1204106" cy="367101"/>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7" descr="Logotipo&#10;&#10;Descripción generada automáticamente">
            <a:extLst>
              <a:ext uri="{FF2B5EF4-FFF2-40B4-BE49-F238E27FC236}">
                <a16:creationId xmlns:a16="http://schemas.microsoft.com/office/drawing/2014/main" id="{030A9CBB-9A3F-4282-B8A2-BB03730FC08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99286" y="1415454"/>
            <a:ext cx="1073943" cy="296436"/>
          </a:xfrm>
          <a:prstGeom prst="rect">
            <a:avLst/>
          </a:prstGeom>
        </p:spPr>
      </p:pic>
      <p:pic>
        <p:nvPicPr>
          <p:cNvPr id="12" name="Imagen 24" descr="Logotipo&#10;&#10;Descripción generada automáticamente">
            <a:extLst>
              <a:ext uri="{FF2B5EF4-FFF2-40B4-BE49-F238E27FC236}">
                <a16:creationId xmlns:a16="http://schemas.microsoft.com/office/drawing/2014/main" id="{9F899A14-6900-4911-70AC-45FD88F5D434}"/>
              </a:ext>
            </a:extLst>
          </p:cNvPr>
          <p:cNvPicPr>
            <a:picLocks noChangeAspect="1"/>
          </p:cNvPicPr>
          <p:nvPr/>
        </p:nvPicPr>
        <p:blipFill>
          <a:blip r:embed="rId8">
            <a:extLst>
              <a:ext uri="{BEBA8EAE-BF5A-486C-A8C5-ECC9F3942E4B}">
                <a14:imgProps xmlns:a14="http://schemas.microsoft.com/office/drawing/2010/main">
                  <a14:imgLayer r:embed="rId9">
                    <a14:imgEffect>
                      <a14:colorTemperature colorTemp="5300"/>
                    </a14:imgEffect>
                    <a14:imgEffect>
                      <a14:saturation sat="0"/>
                    </a14:imgEffect>
                  </a14:imgLayer>
                </a14:imgProps>
              </a:ext>
              <a:ext uri="{28A0092B-C50C-407E-A947-70E740481C1C}">
                <a14:useLocalDpi xmlns:a14="http://schemas.microsoft.com/office/drawing/2010/main" val="0"/>
              </a:ext>
            </a:extLst>
          </a:blip>
          <a:stretch>
            <a:fillRect/>
          </a:stretch>
        </p:blipFill>
        <p:spPr>
          <a:xfrm>
            <a:off x="8699561" y="2849306"/>
            <a:ext cx="1273392" cy="352925"/>
          </a:xfrm>
          <a:prstGeom prst="rect">
            <a:avLst/>
          </a:prstGeom>
        </p:spPr>
      </p:pic>
      <p:pic>
        <p:nvPicPr>
          <p:cNvPr id="13" name="Imagen 15" descr="Logotipo&#10;&#10;Descripción generada automáticamente">
            <a:extLst>
              <a:ext uri="{FF2B5EF4-FFF2-40B4-BE49-F238E27FC236}">
                <a16:creationId xmlns:a16="http://schemas.microsoft.com/office/drawing/2014/main" id="{6D00321D-266E-B429-EDFD-28EDD5D683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923677" y="1997023"/>
            <a:ext cx="825160" cy="469562"/>
          </a:xfrm>
          <a:prstGeom prst="rect">
            <a:avLst/>
          </a:prstGeom>
        </p:spPr>
      </p:pic>
      <p:pic>
        <p:nvPicPr>
          <p:cNvPr id="15" name="Picture 14">
            <a:extLst>
              <a:ext uri="{FF2B5EF4-FFF2-40B4-BE49-F238E27FC236}">
                <a16:creationId xmlns:a16="http://schemas.microsoft.com/office/drawing/2014/main" id="{CB641E5E-9C0F-BFAA-9098-7E7AE1637AE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29583" y="1408352"/>
            <a:ext cx="944557" cy="310641"/>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n 74" descr="Logotipo&#10;&#10;Descripción generada automáticamente">
            <a:extLst>
              <a:ext uri="{FF2B5EF4-FFF2-40B4-BE49-F238E27FC236}">
                <a16:creationId xmlns:a16="http://schemas.microsoft.com/office/drawing/2014/main" id="{19DDCEBF-3E64-EF23-4C59-6AB3FF56D76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236816" y="2830231"/>
            <a:ext cx="1130090" cy="391075"/>
          </a:xfrm>
          <a:prstGeom prst="rect">
            <a:avLst/>
          </a:prstGeom>
        </p:spPr>
      </p:pic>
      <p:pic>
        <p:nvPicPr>
          <p:cNvPr id="17" name="Imagen 9" descr="Logotipo&#10;&#10;Descripción generada automáticamente">
            <a:extLst>
              <a:ext uri="{FF2B5EF4-FFF2-40B4-BE49-F238E27FC236}">
                <a16:creationId xmlns:a16="http://schemas.microsoft.com/office/drawing/2014/main" id="{4CCE19FD-FDF1-A03A-8CD6-8F7BDB318DC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504643" y="4077175"/>
            <a:ext cx="594436" cy="770484"/>
          </a:xfrm>
          <a:prstGeom prst="rect">
            <a:avLst/>
          </a:prstGeom>
        </p:spPr>
      </p:pic>
      <p:pic>
        <p:nvPicPr>
          <p:cNvPr id="18" name="Imagen 26" descr="Interfaz de usuario gráfica, Aplicación&#10;&#10;Descripción generada automáticamente">
            <a:extLst>
              <a:ext uri="{FF2B5EF4-FFF2-40B4-BE49-F238E27FC236}">
                <a16:creationId xmlns:a16="http://schemas.microsoft.com/office/drawing/2014/main" id="{BD443D70-6621-8E37-F870-57AB86913C3F}"/>
              </a:ext>
            </a:extLst>
          </p:cNvPr>
          <p:cNvPicPr>
            <a:picLocks noChangeAspect="1"/>
          </p:cNvPicPr>
          <p:nvPr/>
        </p:nvPicPr>
        <p:blipFill rotWithShape="1">
          <a:blip r:embed="rId14">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rcRect t="40000" b="38521"/>
          <a:stretch/>
        </p:blipFill>
        <p:spPr>
          <a:xfrm>
            <a:off x="4945844" y="3536219"/>
            <a:ext cx="1559927" cy="336625"/>
          </a:xfrm>
          <a:prstGeom prst="rect">
            <a:avLst/>
          </a:prstGeom>
        </p:spPr>
      </p:pic>
      <p:pic>
        <p:nvPicPr>
          <p:cNvPr id="19" name="Imagen 62" descr="Logotipo, nombre de la empresa&#10;&#10;Descripción generada automáticamente">
            <a:extLst>
              <a:ext uri="{FF2B5EF4-FFF2-40B4-BE49-F238E27FC236}">
                <a16:creationId xmlns:a16="http://schemas.microsoft.com/office/drawing/2014/main" id="{CF0C28D0-DE3A-D8E0-45BD-CC79EB844B57}"/>
              </a:ext>
            </a:extLst>
          </p:cNvPr>
          <p:cNvPicPr>
            <a:picLocks noChangeAspect="1"/>
          </p:cNvPicPr>
          <p:nvPr/>
        </p:nvPicPr>
        <p:blipFill rotWithShape="1">
          <a:blip r:embed="rId16">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val="0"/>
              </a:ext>
            </a:extLst>
          </a:blip>
          <a:srcRect l="9400" t="33982" r="7193" b="34834"/>
          <a:stretch/>
        </p:blipFill>
        <p:spPr>
          <a:xfrm>
            <a:off x="5317471" y="1410295"/>
            <a:ext cx="816673" cy="306755"/>
          </a:xfrm>
          <a:prstGeom prst="rect">
            <a:avLst/>
          </a:prstGeom>
        </p:spPr>
      </p:pic>
      <p:pic>
        <p:nvPicPr>
          <p:cNvPr id="20" name="Picture 19" descr="Nacional Monte de Piedad">
            <a:extLst>
              <a:ext uri="{FF2B5EF4-FFF2-40B4-BE49-F238E27FC236}">
                <a16:creationId xmlns:a16="http://schemas.microsoft.com/office/drawing/2014/main" id="{6B6D244C-5CAE-AAAB-AA3B-E77CFA6575D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913357" y="3279652"/>
            <a:ext cx="845800" cy="849758"/>
          </a:xfrm>
          <a:prstGeom prst="rect">
            <a:avLst/>
          </a:prstGeom>
          <a:noFill/>
          <a:extLst>
            <a:ext uri="{909E8E84-426E-40DD-AFC4-6F175D3DCCD1}">
              <a14:hiddenFill xmlns:a14="http://schemas.microsoft.com/office/drawing/2010/main">
                <a:solidFill>
                  <a:srgbClr val="FFFFFF"/>
                </a:solidFill>
              </a14:hiddenFill>
            </a:ext>
          </a:extLst>
        </p:spPr>
      </p:pic>
      <p:pic>
        <p:nvPicPr>
          <p:cNvPr id="21" name="Imagen 20">
            <a:extLst>
              <a:ext uri="{FF2B5EF4-FFF2-40B4-BE49-F238E27FC236}">
                <a16:creationId xmlns:a16="http://schemas.microsoft.com/office/drawing/2014/main" id="{69D84A9F-23DE-C854-2159-C0AFB6460829}"/>
              </a:ext>
            </a:extLst>
          </p:cNvPr>
          <p:cNvPicPr>
            <a:picLocks noChangeAspect="1"/>
          </p:cNvPicPr>
          <p:nvPr/>
        </p:nvPicPr>
        <p:blipFill>
          <a:blip r:embed="rId19" cstate="email">
            <a:extLst>
              <a:ext uri="{BEBA8EAE-BF5A-486C-A8C5-ECC9F3942E4B}">
                <a14:imgProps xmlns:a14="http://schemas.microsoft.com/office/drawing/2010/main">
                  <a14:imgLayer r:embed="rId20">
                    <a14:imgEffect>
                      <a14:saturation sat="0"/>
                    </a14:imgEffect>
                  </a14:imgLayer>
                </a14:imgProps>
              </a:ext>
              <a:ext uri="{28A0092B-C50C-407E-A947-70E740481C1C}">
                <a14:useLocalDpi xmlns:a14="http://schemas.microsoft.com/office/drawing/2010/main"/>
              </a:ext>
            </a:extLst>
          </a:blip>
          <a:stretch>
            <a:fillRect/>
          </a:stretch>
        </p:blipFill>
        <p:spPr>
          <a:xfrm>
            <a:off x="5072990" y="2868359"/>
            <a:ext cx="1305634" cy="314818"/>
          </a:xfrm>
          <a:prstGeom prst="rect">
            <a:avLst/>
          </a:prstGeom>
        </p:spPr>
      </p:pic>
      <p:pic>
        <p:nvPicPr>
          <p:cNvPr id="22" name="Imagen 22" descr="Logotipo, nombre de la empresa&#10;&#10;Descripción generada automáticamente">
            <a:extLst>
              <a:ext uri="{FF2B5EF4-FFF2-40B4-BE49-F238E27FC236}">
                <a16:creationId xmlns:a16="http://schemas.microsoft.com/office/drawing/2014/main" id="{7C5983F0-D270-4A67-92A0-B4A19C9D95E9}"/>
              </a:ext>
            </a:extLst>
          </p:cNvPr>
          <p:cNvPicPr>
            <a:picLocks noChangeAspect="1"/>
          </p:cNvPicPr>
          <p:nvPr/>
        </p:nvPicPr>
        <p:blipFill>
          <a:blip r:embed="rId21">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val="0"/>
              </a:ext>
            </a:extLst>
          </a:blip>
          <a:stretch>
            <a:fillRect/>
          </a:stretch>
        </p:blipFill>
        <p:spPr>
          <a:xfrm>
            <a:off x="7270315" y="3444137"/>
            <a:ext cx="798919" cy="601994"/>
          </a:xfrm>
          <a:prstGeom prst="rect">
            <a:avLst/>
          </a:prstGeom>
        </p:spPr>
      </p:pic>
      <p:pic>
        <p:nvPicPr>
          <p:cNvPr id="23" name="Imagen 17" descr="Logotipo&#10;&#10;Descripción generada automáticamente">
            <a:extLst>
              <a:ext uri="{FF2B5EF4-FFF2-40B4-BE49-F238E27FC236}">
                <a16:creationId xmlns:a16="http://schemas.microsoft.com/office/drawing/2014/main" id="{922F8BD7-1B2E-1806-7079-AAB90485F135}"/>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991600" y="2098414"/>
            <a:ext cx="1468414" cy="266781"/>
          </a:xfrm>
          <a:prstGeom prst="rect">
            <a:avLst/>
          </a:prstGeom>
        </p:spPr>
      </p:pic>
      <p:pic>
        <p:nvPicPr>
          <p:cNvPr id="57" name="Imagen 66" descr="Logotipo&#10;&#10;Descripción generada automáticamente">
            <a:extLst>
              <a:ext uri="{FF2B5EF4-FFF2-40B4-BE49-F238E27FC236}">
                <a16:creationId xmlns:a16="http://schemas.microsoft.com/office/drawing/2014/main" id="{AF6BC6D2-D10D-C5D6-404C-2F08FA4F5AE4}"/>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69584" y="3536219"/>
            <a:ext cx="1156830" cy="290561"/>
          </a:xfrm>
          <a:prstGeom prst="rect">
            <a:avLst/>
          </a:prstGeom>
        </p:spPr>
      </p:pic>
      <p:pic>
        <p:nvPicPr>
          <p:cNvPr id="58" name="Imagen 18" descr="Icono&#10;&#10;Descripción generada automáticamente">
            <a:extLst>
              <a:ext uri="{FF2B5EF4-FFF2-40B4-BE49-F238E27FC236}">
                <a16:creationId xmlns:a16="http://schemas.microsoft.com/office/drawing/2014/main" id="{D939879B-40E9-BC03-2FE3-7251BB95200D}"/>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526176" y="2854639"/>
            <a:ext cx="643646" cy="342259"/>
          </a:xfrm>
          <a:prstGeom prst="rect">
            <a:avLst/>
          </a:prstGeom>
        </p:spPr>
      </p:pic>
      <p:pic>
        <p:nvPicPr>
          <p:cNvPr id="59" name="Imagen 72" descr="Logotipo&#10;&#10;Descripción generada automáticamente">
            <a:extLst>
              <a:ext uri="{FF2B5EF4-FFF2-40B4-BE49-F238E27FC236}">
                <a16:creationId xmlns:a16="http://schemas.microsoft.com/office/drawing/2014/main" id="{269BE2D6-CFC9-1E45-2D37-389A86CA1682}"/>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375391" y="2065855"/>
            <a:ext cx="945217" cy="331899"/>
          </a:xfrm>
          <a:prstGeom prst="rect">
            <a:avLst/>
          </a:prstGeom>
        </p:spPr>
      </p:pic>
      <p:pic>
        <p:nvPicPr>
          <p:cNvPr id="60" name="Imagen 25" descr="Logotipo&#10;&#10;Descripción generada automáticamente">
            <a:extLst>
              <a:ext uri="{FF2B5EF4-FFF2-40B4-BE49-F238E27FC236}">
                <a16:creationId xmlns:a16="http://schemas.microsoft.com/office/drawing/2014/main" id="{8802E2B0-BD2D-6DA2-A9D8-0E27DAE677E6}"/>
              </a:ext>
            </a:extLst>
          </p:cNvPr>
          <p:cNvPicPr>
            <a:picLocks noChangeAspect="1"/>
          </p:cNvPicPr>
          <p:nvPr/>
        </p:nvPicPr>
        <p:blipFill rotWithShape="1">
          <a:blip r:embed="rId27">
            <a:extLst>
              <a:ext uri="{28A0092B-C50C-407E-A947-70E740481C1C}">
                <a14:useLocalDpi xmlns:a14="http://schemas.microsoft.com/office/drawing/2010/main" val="0"/>
              </a:ext>
            </a:extLst>
          </a:blip>
          <a:srcRect l="23601" t="34379" r="23516" b="35354"/>
          <a:stretch/>
        </p:blipFill>
        <p:spPr>
          <a:xfrm>
            <a:off x="1418355" y="1378382"/>
            <a:ext cx="859288" cy="370580"/>
          </a:xfrm>
          <a:prstGeom prst="rect">
            <a:avLst/>
          </a:prstGeom>
        </p:spPr>
      </p:pic>
      <p:pic>
        <p:nvPicPr>
          <p:cNvPr id="26" name="Imagen 76" descr="Logotipo, nombre de la empresa&#10;&#10;Descripción generada automáticamente">
            <a:extLst>
              <a:ext uri="{FF2B5EF4-FFF2-40B4-BE49-F238E27FC236}">
                <a16:creationId xmlns:a16="http://schemas.microsoft.com/office/drawing/2014/main" id="{CA13254C-8B3C-C1F4-CB09-A21371C1F48F}"/>
              </a:ext>
            </a:extLst>
          </p:cNvPr>
          <p:cNvPicPr>
            <a:picLocks noChangeAspect="1"/>
          </p:cNvPicPr>
          <p:nvPr/>
        </p:nvPicPr>
        <p:blipFill rotWithShape="1">
          <a:blip r:embed="rId28">
            <a:extLst>
              <a:ext uri="{28A0092B-C50C-407E-A947-70E740481C1C}">
                <a14:useLocalDpi xmlns:a14="http://schemas.microsoft.com/office/drawing/2010/main" val="0"/>
              </a:ext>
            </a:extLst>
          </a:blip>
          <a:srcRect t="23348" r="2539" b="21667"/>
          <a:stretch/>
        </p:blipFill>
        <p:spPr>
          <a:xfrm>
            <a:off x="7158664" y="4301120"/>
            <a:ext cx="1022220" cy="434553"/>
          </a:xfrm>
          <a:prstGeom prst="rect">
            <a:avLst/>
          </a:prstGeom>
        </p:spPr>
      </p:pic>
      <p:pic>
        <p:nvPicPr>
          <p:cNvPr id="27" name="Imagen 69" descr="Imagen que contiene Diagrama&#10;&#10;Descripción generada automáticamente">
            <a:extLst>
              <a:ext uri="{FF2B5EF4-FFF2-40B4-BE49-F238E27FC236}">
                <a16:creationId xmlns:a16="http://schemas.microsoft.com/office/drawing/2014/main" id="{B7542A42-EEC7-C50F-2A16-7C2166EE5394}"/>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858470" y="5793626"/>
            <a:ext cx="955575" cy="528914"/>
          </a:xfrm>
          <a:prstGeom prst="rect">
            <a:avLst/>
          </a:prstGeom>
        </p:spPr>
      </p:pic>
      <p:pic>
        <p:nvPicPr>
          <p:cNvPr id="28" name="Imagen 70" descr="Logotipo&#10;&#10;Descripción generada automáticamente">
            <a:extLst>
              <a:ext uri="{FF2B5EF4-FFF2-40B4-BE49-F238E27FC236}">
                <a16:creationId xmlns:a16="http://schemas.microsoft.com/office/drawing/2014/main" id="{800163F3-8013-E65D-EB9F-F64412A55A55}"/>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115492" y="5152732"/>
            <a:ext cx="1220630" cy="190401"/>
          </a:xfrm>
          <a:prstGeom prst="rect">
            <a:avLst/>
          </a:prstGeom>
        </p:spPr>
      </p:pic>
      <p:pic>
        <p:nvPicPr>
          <p:cNvPr id="29" name="Imagen 11" descr="Logotipo&#10;&#10;Descripción generada automáticamente">
            <a:extLst>
              <a:ext uri="{FF2B5EF4-FFF2-40B4-BE49-F238E27FC236}">
                <a16:creationId xmlns:a16="http://schemas.microsoft.com/office/drawing/2014/main" id="{3F4963BA-C988-A0F9-BA26-85AAA7CB9B29}"/>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5202120" y="3994540"/>
            <a:ext cx="1021639" cy="1026420"/>
          </a:xfrm>
          <a:prstGeom prst="rect">
            <a:avLst/>
          </a:prstGeom>
        </p:spPr>
      </p:pic>
      <p:pic>
        <p:nvPicPr>
          <p:cNvPr id="53" name="Imagen 6" descr="Forma&#10;&#10;Descripción generada automáticamente con confianza baja">
            <a:extLst>
              <a:ext uri="{FF2B5EF4-FFF2-40B4-BE49-F238E27FC236}">
                <a16:creationId xmlns:a16="http://schemas.microsoft.com/office/drawing/2014/main" id="{7808EECA-F080-44DA-A6ED-24F89022BF9E}"/>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3402170" y="5793626"/>
            <a:ext cx="799383" cy="528915"/>
          </a:xfrm>
          <a:prstGeom prst="rect">
            <a:avLst/>
          </a:prstGeom>
        </p:spPr>
      </p:pic>
      <p:pic>
        <p:nvPicPr>
          <p:cNvPr id="54" name="Imagen 8" descr="Forma&#10;&#10;Descripción generada automáticamente con confianza baja">
            <a:extLst>
              <a:ext uri="{FF2B5EF4-FFF2-40B4-BE49-F238E27FC236}">
                <a16:creationId xmlns:a16="http://schemas.microsoft.com/office/drawing/2014/main" id="{8F7CEFA1-C4EA-070B-8FBF-3A0E0BE98525}"/>
              </a:ext>
            </a:extLst>
          </p:cNvPr>
          <p:cNvPicPr>
            <a:picLocks noChangeAspect="1"/>
          </p:cNvPicPr>
          <p:nvPr/>
        </p:nvPicPr>
        <p:blipFill rotWithShape="1">
          <a:blip r:embed="rId33">
            <a:extLst>
              <a:ext uri="{28A0092B-C50C-407E-A947-70E740481C1C}">
                <a14:useLocalDpi xmlns:a14="http://schemas.microsoft.com/office/drawing/2010/main" val="0"/>
              </a:ext>
            </a:extLst>
          </a:blip>
          <a:srcRect t="19249" b="19824"/>
          <a:stretch/>
        </p:blipFill>
        <p:spPr>
          <a:xfrm>
            <a:off x="1364990" y="4150990"/>
            <a:ext cx="966018" cy="591314"/>
          </a:xfrm>
          <a:prstGeom prst="rect">
            <a:avLst/>
          </a:prstGeom>
        </p:spPr>
      </p:pic>
      <p:pic>
        <p:nvPicPr>
          <p:cNvPr id="55" name="Imagen 16" descr="Forma&#10;&#10;Descripción generada automáticamente con confianza media">
            <a:extLst>
              <a:ext uri="{FF2B5EF4-FFF2-40B4-BE49-F238E27FC236}">
                <a16:creationId xmlns:a16="http://schemas.microsoft.com/office/drawing/2014/main" id="{E21C7016-9A44-7789-0EDE-88E43895A08C}"/>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077395" y="5247932"/>
            <a:ext cx="1510673" cy="156328"/>
          </a:xfrm>
          <a:prstGeom prst="rect">
            <a:avLst/>
          </a:prstGeom>
        </p:spPr>
      </p:pic>
      <p:pic>
        <p:nvPicPr>
          <p:cNvPr id="50" name="Picture 49" descr="Carnival Home Page">
            <a:extLst>
              <a:ext uri="{FF2B5EF4-FFF2-40B4-BE49-F238E27FC236}">
                <a16:creationId xmlns:a16="http://schemas.microsoft.com/office/drawing/2014/main" id="{EFD5E866-0412-ACE6-1052-8463FFC86C76}"/>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3157749" y="5094021"/>
            <a:ext cx="1288225" cy="307823"/>
          </a:xfrm>
          <a:prstGeom prst="rect">
            <a:avLst/>
          </a:prstGeom>
          <a:noFill/>
          <a:extLst>
            <a:ext uri="{909E8E84-426E-40DD-AFC4-6F175D3DCCD1}">
              <a14:hiddenFill xmlns:a14="http://schemas.microsoft.com/office/drawing/2010/main">
                <a:solidFill>
                  <a:srgbClr val="FFFFFF"/>
                </a:solidFill>
              </a14:hiddenFill>
            </a:ext>
          </a:extLst>
        </p:spPr>
      </p:pic>
      <p:pic>
        <p:nvPicPr>
          <p:cNvPr id="51" name="Imagen 2" descr="Imagen que contiene Flecha&#10;&#10;Descripción generada automáticamente">
            <a:extLst>
              <a:ext uri="{FF2B5EF4-FFF2-40B4-BE49-F238E27FC236}">
                <a16:creationId xmlns:a16="http://schemas.microsoft.com/office/drawing/2014/main" id="{6020E35B-D5C8-610F-9C73-92F201550581}"/>
              </a:ext>
            </a:extLst>
          </p:cNvPr>
          <p:cNvPicPr>
            <a:picLocks noChangeAspect="1"/>
          </p:cNvPicPr>
          <p:nvPr/>
        </p:nvPicPr>
        <p:blipFill rotWithShape="1">
          <a:blip r:embed="rId36">
            <a:extLst>
              <a:ext uri="{28A0092B-C50C-407E-A947-70E740481C1C}">
                <a14:useLocalDpi xmlns:a14="http://schemas.microsoft.com/office/drawing/2010/main" val="0"/>
              </a:ext>
            </a:extLst>
          </a:blip>
          <a:srcRect l="9281" t="31783" r="11433" b="33506"/>
          <a:stretch/>
        </p:blipFill>
        <p:spPr>
          <a:xfrm>
            <a:off x="5137802" y="5899008"/>
            <a:ext cx="1176011" cy="387939"/>
          </a:xfrm>
          <a:prstGeom prst="rect">
            <a:avLst/>
          </a:prstGeom>
        </p:spPr>
      </p:pic>
      <p:pic>
        <p:nvPicPr>
          <p:cNvPr id="46" name="Imagen 28" descr="Imagen que contiene dibujo, alimentos&#10;&#10;Descripción generada automáticamente">
            <a:extLst>
              <a:ext uri="{FF2B5EF4-FFF2-40B4-BE49-F238E27FC236}">
                <a16:creationId xmlns:a16="http://schemas.microsoft.com/office/drawing/2014/main" id="{287B6CCC-20F8-7E55-121E-0889F4BE540D}"/>
              </a:ext>
            </a:extLst>
          </p:cNvPr>
          <p:cNvPicPr>
            <a:picLocks noChangeAspect="1"/>
          </p:cNvPicPr>
          <p:nvPr/>
        </p:nvPicPr>
        <p:blipFill>
          <a:blip r:embed="rId37">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8716063" y="4382985"/>
            <a:ext cx="1240389" cy="270822"/>
          </a:xfrm>
          <a:prstGeom prst="rect">
            <a:avLst/>
          </a:prstGeom>
        </p:spPr>
      </p:pic>
      <p:pic>
        <p:nvPicPr>
          <p:cNvPr id="47" name="Imagen 64" descr="Un dibujo de una cara feliz&#10;&#10;Descripción generada automáticamente con confianza baja">
            <a:extLst>
              <a:ext uri="{FF2B5EF4-FFF2-40B4-BE49-F238E27FC236}">
                <a16:creationId xmlns:a16="http://schemas.microsoft.com/office/drawing/2014/main" id="{38822A11-3FAB-17C7-B0D3-5FB790F12FA3}"/>
              </a:ext>
            </a:extLst>
          </p:cNvPr>
          <p:cNvPicPr>
            <a:picLocks noChangeAspect="1"/>
          </p:cNvPicPr>
          <p:nvPr/>
        </p:nvPicPr>
        <p:blipFill>
          <a:blip r:embed="rId39">
            <a:extLst>
              <a:ext uri="{BEBA8EAE-BF5A-486C-A8C5-ECC9F3942E4B}">
                <a14:imgProps xmlns:a14="http://schemas.microsoft.com/office/drawing/2010/main">
                  <a14:imgLayer r:embed="rId40">
                    <a14:imgEffect>
                      <a14:backgroundRemoval t="2296" b="95918" l="3741" r="95511">
                        <a14:foregroundMark x1="30923" y1="13520" x2="30923" y2="13520"/>
                        <a14:foregroundMark x1="54613" y1="28061" x2="59102" y2="29847"/>
                        <a14:foregroundMark x1="50374" y1="33163" x2="81546" y2="55102"/>
                        <a14:foregroundMark x1="81546" y1="55102" x2="73566" y2="77041"/>
                        <a14:foregroundMark x1="73566" y1="77041" x2="48379" y2="75765"/>
                        <a14:foregroundMark x1="48379" y1="75765" x2="26434" y2="47194"/>
                        <a14:foregroundMark x1="26434" y1="47194" x2="41147" y2="11990"/>
                        <a14:foregroundMark x1="41147" y1="11990" x2="61845" y2="17092"/>
                        <a14:foregroundMark x1="61845" y1="17092" x2="73317" y2="28316"/>
                        <a14:foregroundMark x1="73317" y1="28316" x2="80299" y2="48214"/>
                        <a14:foregroundMark x1="80299" y1="48214" x2="73566" y2="74235"/>
                        <a14:foregroundMark x1="73566" y1="74235" x2="54613" y2="86480"/>
                        <a14:foregroundMark x1="54613" y1="86480" x2="31172" y2="77041"/>
                        <a14:foregroundMark x1="31172" y1="77041" x2="9227" y2="58418"/>
                        <a14:foregroundMark x1="9227" y1="58418" x2="15960" y2="29847"/>
                        <a14:foregroundMark x1="15960" y1="29847" x2="29426" y2="11480"/>
                        <a14:foregroundMark x1="29426" y1="11480" x2="47132" y2="6122"/>
                        <a14:foregroundMark x1="47132" y1="6122" x2="79302" y2="22959"/>
                        <a14:foregroundMark x1="79302" y1="22959" x2="89776" y2="38520"/>
                        <a14:foregroundMark x1="48130" y1="2551" x2="48130" y2="2551"/>
                        <a14:foregroundMark x1="74813" y1="32143" x2="53117" y2="25765"/>
                        <a14:foregroundMark x1="53117" y1="25765" x2="31671" y2="31122"/>
                        <a14:foregroundMark x1="31671" y1="31122" x2="58105" y2="34184"/>
                        <a14:foregroundMark x1="58105" y1="34184" x2="32170" y2="28827"/>
                        <a14:foregroundMark x1="32170" y1="28827" x2="29177" y2="23214"/>
                        <a14:foregroundMark x1="80299" y1="30357" x2="90025" y2="52551"/>
                        <a14:foregroundMark x1="90025" y1="52551" x2="85536" y2="70918"/>
                        <a14:foregroundMark x1="85536" y1="70918" x2="76559" y2="84184"/>
                        <a14:foregroundMark x1="76559" y1="84184" x2="60848" y2="91582"/>
                        <a14:foregroundMark x1="60848" y1="91582" x2="37157" y2="92092"/>
                        <a14:foregroundMark x1="37157" y1="92092" x2="21197" y2="84694"/>
                        <a14:foregroundMark x1="21197" y1="84694" x2="8728" y2="58418"/>
                        <a14:foregroundMark x1="8728" y1="58418" x2="10224" y2="38520"/>
                        <a14:foregroundMark x1="10224" y1="38520" x2="12718" y2="33929"/>
                        <a14:foregroundMark x1="19202" y1="55867" x2="42893" y2="70918"/>
                        <a14:foregroundMark x1="42893" y1="70918" x2="69825" y2="71684"/>
                        <a14:foregroundMark x1="69825" y1="71684" x2="40648" y2="54592"/>
                        <a14:foregroundMark x1="40648" y1="54592" x2="49875" y2="41582"/>
                        <a14:foregroundMark x1="49875" y1="41582" x2="28180" y2="38776"/>
                        <a14:foregroundMark x1="28180" y1="38776" x2="29676" y2="58163"/>
                        <a14:foregroundMark x1="85287" y1="24235" x2="93267" y2="40051"/>
                        <a14:foregroundMark x1="93267" y1="40051" x2="90274" y2="64796"/>
                        <a14:foregroundMark x1="90274" y1="64796" x2="62344" y2="88265"/>
                        <a14:foregroundMark x1="80299" y1="71173" x2="79052" y2="62245"/>
                        <a14:foregroundMark x1="24688" y1="41327" x2="28180" y2="59949"/>
                        <a14:foregroundMark x1="28180" y1="59949" x2="28678" y2="59949"/>
                        <a14:foregroundMark x1="30175" y1="17857" x2="30923" y2="31633"/>
                        <a14:foregroundMark x1="70324" y1="31122" x2="37905" y2="34184"/>
                        <a14:foregroundMark x1="37905" y1="34184" x2="26933" y2="30357"/>
                        <a14:foregroundMark x1="7731" y1="66071" x2="4239" y2="47449"/>
                        <a14:foregroundMark x1="4239" y1="47449" x2="5486" y2="37755"/>
                        <a14:foregroundMark x1="26933" y1="87755" x2="43142" y2="96684"/>
                        <a14:foregroundMark x1="43142" y1="96684" x2="61097" y2="96173"/>
                        <a14:foregroundMark x1="61097" y1="96173" x2="72569" y2="91582"/>
                        <a14:foregroundMark x1="91272" y1="27551" x2="98753" y2="45153"/>
                        <a14:foregroundMark x1="98753" y1="45153" x2="95511" y2="63265"/>
                        <a14:foregroundMark x1="95511" y1="63265" x2="87282" y2="71939"/>
                        <a14:foregroundMark x1="29676" y1="23724" x2="22693" y2="38520"/>
                        <a14:foregroundMark x1="31421" y1="32143" x2="24190" y2="21429"/>
                        <a14:foregroundMark x1="35411" y1="31122" x2="53616" y2="33929"/>
                        <a14:foregroundMark x1="53616" y1="33929" x2="65835" y2="31122"/>
                        <a14:foregroundMark x1="68579" y1="33163" x2="68080" y2="34949"/>
                        <a14:foregroundMark x1="64589" y1="33929" x2="61845" y2="36224"/>
                        <a14:foregroundMark x1="42643" y1="33418" x2="45137" y2="37755"/>
                        <a14:foregroundMark x1="24688" y1="32143" x2="23192" y2="33929"/>
                        <a14:foregroundMark x1="30424" y1="50255" x2="30923" y2="58673"/>
                        <a14:foregroundMark x1="26933" y1="44133" x2="30175" y2="60459"/>
                        <a14:foregroundMark x1="30175" y1="60459" x2="30424" y2="60459"/>
                        <a14:foregroundMark x1="26434" y1="46429" x2="28678" y2="58163"/>
                        <a14:foregroundMark x1="23691" y1="44643" x2="30424" y2="60714"/>
                        <a14:foregroundMark x1="30424" y1="60714" x2="31421" y2="60969"/>
                        <a14:foregroundMark x1="24688" y1="45153" x2="29925" y2="61735"/>
                        <a14:foregroundMark x1="29925" y1="61735" x2="30424" y2="61735"/>
                        <a14:foregroundMark x1="23691" y1="46939" x2="28678" y2="58929"/>
                        <a14:foregroundMark x1="28180" y1="58929" x2="28678" y2="58929"/>
                        <a14:foregroundMark x1="30175" y1="67857" x2="25436" y2="64541"/>
                        <a14:foregroundMark x1="41895" y1="61480" x2="46883" y2="56633"/>
                        <a14:foregroundMark x1="53616" y1="57143" x2="34165" y2="65561"/>
                        <a14:foregroundMark x1="34165" y1="65561" x2="49875" y2="67602"/>
                        <a14:foregroundMark x1="49875" y1="67602" x2="55860" y2="59949"/>
                        <a14:foregroundMark x1="48628" y1="54337" x2="48628" y2="54337"/>
                        <a14:foregroundMark x1="37406" y1="55357" x2="37406" y2="55357"/>
                        <a14:foregroundMark x1="39651" y1="49235" x2="41397" y2="61480"/>
                        <a14:foregroundMark x1="36908" y1="51531" x2="36908" y2="51531"/>
                        <a14:foregroundMark x1="36908" y1="51531" x2="36908" y2="51531"/>
                        <a14:foregroundMark x1="38653" y1="58163" x2="38653" y2="58163"/>
                        <a14:foregroundMark x1="38155" y1="53827" x2="38155" y2="53827"/>
                        <a14:foregroundMark x1="35910" y1="48469" x2="35910" y2="48469"/>
                        <a14:foregroundMark x1="38155" y1="48469" x2="38155" y2="48469"/>
                        <a14:foregroundMark x1="23192" y1="54337" x2="23192" y2="54337"/>
                        <a14:foregroundMark x1="23691" y1="55867" x2="23691" y2="55867"/>
                        <a14:foregroundMark x1="25436" y1="57143" x2="25436" y2="57143"/>
                        <a14:foregroundMark x1="23691" y1="77041" x2="23691" y2="77041"/>
                        <a14:foregroundMark x1="23691" y1="77041" x2="23691" y2="77041"/>
                        <a14:foregroundMark x1="23691" y1="77041" x2="23691" y2="77041"/>
                        <a14:foregroundMark x1="40399" y1="74745" x2="40399" y2="74745"/>
                        <a14:foregroundMark x1="40399" y1="74745" x2="40399" y2="74745"/>
                        <a14:foregroundMark x1="40399" y1="74745" x2="40399" y2="74745"/>
                      </a14:backgroundRemoval>
                    </a14:imgEffect>
                    <a14:imgEffect>
                      <a14:saturation sat="0"/>
                    </a14:imgEffect>
                  </a14:imgLayer>
                </a14:imgProps>
              </a:ext>
              <a:ext uri="{28A0092B-C50C-407E-A947-70E740481C1C}">
                <a14:useLocalDpi xmlns:a14="http://schemas.microsoft.com/office/drawing/2010/main" val="0"/>
              </a:ext>
            </a:extLst>
          </a:blip>
          <a:stretch>
            <a:fillRect/>
          </a:stretch>
        </p:blipFill>
        <p:spPr>
          <a:xfrm>
            <a:off x="10829457" y="4993447"/>
            <a:ext cx="518231" cy="508971"/>
          </a:xfrm>
          <a:prstGeom prst="rect">
            <a:avLst/>
          </a:prstGeom>
        </p:spPr>
      </p:pic>
      <p:pic>
        <p:nvPicPr>
          <p:cNvPr id="48" name="Picture 47">
            <a:extLst>
              <a:ext uri="{FF2B5EF4-FFF2-40B4-BE49-F238E27FC236}">
                <a16:creationId xmlns:a16="http://schemas.microsoft.com/office/drawing/2014/main" id="{9F74FB94-433C-0C99-93B8-712D689EC1D1}"/>
              </a:ext>
            </a:extLst>
          </p:cNvPr>
          <p:cNvPicPr>
            <a:picLocks noChangeAspect="1"/>
          </p:cNvPicPr>
          <p:nvPr/>
        </p:nvPicPr>
        <p:blipFill>
          <a:blip r:embed="rId41">
            <a:extLst>
              <a:ext uri="{BEBA8EAE-BF5A-486C-A8C5-ECC9F3942E4B}">
                <a14:imgProps xmlns:a14="http://schemas.microsoft.com/office/drawing/2010/main">
                  <a14:imgLayer r:embed="rId42">
                    <a14:imgEffect>
                      <a14:sharpenSoften amount="-50000"/>
                    </a14:imgEffect>
                  </a14:imgLayer>
                </a14:imgProps>
              </a:ext>
            </a:extLst>
          </a:blip>
          <a:stretch>
            <a:fillRect/>
          </a:stretch>
        </p:blipFill>
        <p:spPr>
          <a:xfrm>
            <a:off x="8812890" y="5047620"/>
            <a:ext cx="1046735" cy="400624"/>
          </a:xfrm>
          <a:prstGeom prst="rect">
            <a:avLst/>
          </a:prstGeom>
        </p:spPr>
      </p:pic>
      <p:sp>
        <p:nvSpPr>
          <p:cNvPr id="37" name="TextBox 1">
            <a:extLst>
              <a:ext uri="{FF2B5EF4-FFF2-40B4-BE49-F238E27FC236}">
                <a16:creationId xmlns:a16="http://schemas.microsoft.com/office/drawing/2014/main" id="{43C1BE7D-71C4-4C48-F5F3-E59A46AB922F}"/>
              </a:ext>
            </a:extLst>
          </p:cNvPr>
          <p:cNvSpPr txBox="1"/>
          <p:nvPr/>
        </p:nvSpPr>
        <p:spPr>
          <a:xfrm>
            <a:off x="884380" y="6532207"/>
            <a:ext cx="7391494" cy="212751"/>
          </a:xfrm>
          <a:prstGeom prst="rect">
            <a:avLst/>
          </a:prstGeom>
          <a:noFill/>
        </p:spPr>
        <p:txBody>
          <a:bodyPr wrap="square" lIns="68580" tIns="34290" rIns="68580" bIns="3429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7000"/>
              </a:lnSpc>
              <a:spcBef>
                <a:spcPts val="0"/>
              </a:spcBef>
              <a:spcAft>
                <a:spcPts val="225"/>
              </a:spcAft>
              <a:buClrTx/>
              <a:buSzTx/>
              <a:buFontTx/>
              <a:buNone/>
              <a:tabLst/>
              <a:defRPr/>
            </a:pPr>
            <a:r>
              <a:rPr kumimoji="0" lang="en-US" sz="900" b="0" i="0" u="none" strike="noStrike" kern="1200" cap="none" spc="0" normalizeH="0" baseline="0" noProof="0">
                <a:ln>
                  <a:noFill/>
                </a:ln>
                <a:solidFill>
                  <a:srgbClr val="F2F3F2">
                    <a:lumMod val="75000"/>
                  </a:srgbClr>
                </a:solidFill>
                <a:effectLst/>
                <a:uLnTx/>
                <a:uFillTx/>
                <a:latin typeface="Poppins"/>
                <a:ea typeface="+mn-lt"/>
                <a:cs typeface="Poppins"/>
              </a:rPr>
              <a:t>NOTE: The clients presented here have approved the publication of their names.</a:t>
            </a:r>
            <a:endParaRPr kumimoji="0" lang="en-US" sz="1800" b="0" i="0" u="none" strike="noStrike" kern="1200" cap="none" spc="0" normalizeH="0" baseline="0" noProof="0">
              <a:ln>
                <a:noFill/>
              </a:ln>
              <a:solidFill>
                <a:srgbClr val="F2F3F2">
                  <a:lumMod val="75000"/>
                </a:srgbClr>
              </a:solidFill>
              <a:effectLst/>
              <a:uLnTx/>
              <a:uFillTx/>
              <a:latin typeface="Poppins Light"/>
              <a:ea typeface="+mn-ea"/>
              <a:cs typeface="+mn-cs"/>
            </a:endParaRPr>
          </a:p>
        </p:txBody>
      </p:sp>
      <p:pic>
        <p:nvPicPr>
          <p:cNvPr id="42" name="Imagen 30" descr="Un letrero de color blanco&#10;&#10;Descripción generada automáticamente con confianza media">
            <a:extLst>
              <a:ext uri="{FF2B5EF4-FFF2-40B4-BE49-F238E27FC236}">
                <a16:creationId xmlns:a16="http://schemas.microsoft.com/office/drawing/2014/main" id="{FE884B59-BABC-5A31-EF21-D2FE46BBE012}"/>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7451476" y="1344352"/>
            <a:ext cx="436597" cy="438640"/>
          </a:xfrm>
          <a:prstGeom prst="rect">
            <a:avLst/>
          </a:prstGeom>
        </p:spPr>
      </p:pic>
      <p:pic>
        <p:nvPicPr>
          <p:cNvPr id="43" name="Imagen 14" descr="Logotipo&#10;&#10;Descripción generada automáticamente">
            <a:extLst>
              <a:ext uri="{FF2B5EF4-FFF2-40B4-BE49-F238E27FC236}">
                <a16:creationId xmlns:a16="http://schemas.microsoft.com/office/drawing/2014/main" id="{1D04CBBA-282B-C4BF-D845-37952E3090AC}"/>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7208826" y="2057205"/>
            <a:ext cx="921896" cy="349199"/>
          </a:xfrm>
          <a:prstGeom prst="rect">
            <a:avLst/>
          </a:prstGeom>
        </p:spPr>
      </p:pic>
      <p:pic>
        <p:nvPicPr>
          <p:cNvPr id="44" name="Picture 43" descr="Polar Logo : valor, história, png, vector">
            <a:extLst>
              <a:ext uri="{FF2B5EF4-FFF2-40B4-BE49-F238E27FC236}">
                <a16:creationId xmlns:a16="http://schemas.microsoft.com/office/drawing/2014/main" id="{B02F9125-AF20-5350-BEA4-D3D1436BDF34}"/>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7145929" y="2729726"/>
            <a:ext cx="1047691" cy="592084"/>
          </a:xfrm>
          <a:prstGeom prst="rect">
            <a:avLst/>
          </a:prstGeom>
          <a:noFill/>
          <a:extLst>
            <a:ext uri="{909E8E84-426E-40DD-AFC4-6F175D3DCCD1}">
              <a14:hiddenFill xmlns:a14="http://schemas.microsoft.com/office/drawing/2010/main">
                <a:solidFill>
                  <a:srgbClr val="FFFFFF"/>
                </a:solidFill>
              </a14:hiddenFill>
            </a:ext>
          </a:extLst>
        </p:spPr>
      </p:pic>
      <p:pic>
        <p:nvPicPr>
          <p:cNvPr id="41" name="Imagen 3" descr="Forma&#10;&#10;Descripción generada automáticamente con confianza media">
            <a:extLst>
              <a:ext uri="{FF2B5EF4-FFF2-40B4-BE49-F238E27FC236}">
                <a16:creationId xmlns:a16="http://schemas.microsoft.com/office/drawing/2014/main" id="{D21699DB-D29C-4EFC-FE92-4EEAEF4B6EAA}"/>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7280182" y="5790616"/>
            <a:ext cx="779184" cy="534934"/>
          </a:xfrm>
          <a:prstGeom prst="rect">
            <a:avLst/>
          </a:prstGeom>
        </p:spPr>
      </p:pic>
      <p:pic>
        <p:nvPicPr>
          <p:cNvPr id="63" name="Imagen 19">
            <a:extLst>
              <a:ext uri="{FF2B5EF4-FFF2-40B4-BE49-F238E27FC236}">
                <a16:creationId xmlns:a16="http://schemas.microsoft.com/office/drawing/2014/main" id="{26573F39-AFFB-0EFB-7B4B-5FE12D22278E}"/>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3317618" y="1904228"/>
            <a:ext cx="968486" cy="655152"/>
          </a:xfrm>
          <a:prstGeom prst="rect">
            <a:avLst/>
          </a:prstGeom>
        </p:spPr>
      </p:pic>
      <p:pic>
        <p:nvPicPr>
          <p:cNvPr id="65" name="Imagen 21">
            <a:extLst>
              <a:ext uri="{FF2B5EF4-FFF2-40B4-BE49-F238E27FC236}">
                <a16:creationId xmlns:a16="http://schemas.microsoft.com/office/drawing/2014/main" id="{8C8A66DD-3130-CBB8-C237-EDEFC0F95F12}"/>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3291042" y="3417195"/>
            <a:ext cx="1021639" cy="574672"/>
          </a:xfrm>
          <a:prstGeom prst="rect">
            <a:avLst/>
          </a:prstGeom>
        </p:spPr>
      </p:pic>
      <p:pic>
        <p:nvPicPr>
          <p:cNvPr id="1026" name="Picture 2" descr="Contact Us - PPI Beauty">
            <a:extLst>
              <a:ext uri="{FF2B5EF4-FFF2-40B4-BE49-F238E27FC236}">
                <a16:creationId xmlns:a16="http://schemas.microsoft.com/office/drawing/2014/main" id="{01243EF7-DC85-1A3C-C3B2-0719FF9B7BA2}"/>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077222" y="5790616"/>
            <a:ext cx="1468415" cy="47948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Vector Solutions Training - University Compliance">
            <a:extLst>
              <a:ext uri="{FF2B5EF4-FFF2-40B4-BE49-F238E27FC236}">
                <a16:creationId xmlns:a16="http://schemas.microsoft.com/office/drawing/2014/main" id="{BA4D9D89-B861-4877-0D19-1B45894C4B64}"/>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0465444" y="5812685"/>
            <a:ext cx="1100903" cy="43534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Belcorp | Brands of the World™ | Download vector logos and ...">
            <a:extLst>
              <a:ext uri="{FF2B5EF4-FFF2-40B4-BE49-F238E27FC236}">
                <a16:creationId xmlns:a16="http://schemas.microsoft.com/office/drawing/2014/main" id="{1E8A055B-D895-52D9-99B2-E02F997D97E3}"/>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703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n 16">
            <a:extLst>
              <a:ext uri="{FF2B5EF4-FFF2-40B4-BE49-F238E27FC236}">
                <a16:creationId xmlns:a16="http://schemas.microsoft.com/office/drawing/2014/main" id="{0586F5E8-DE82-3B59-FBF6-1C1782E41BC4}"/>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t="15092" r="13553" b="2250"/>
          <a:stretch/>
        </p:blipFill>
        <p:spPr>
          <a:xfrm flipH="1">
            <a:off x="-2" y="-1"/>
            <a:ext cx="12308115" cy="6866470"/>
          </a:xfrm>
          <a:prstGeom prst="rect">
            <a:avLst/>
          </a:prstGeom>
        </p:spPr>
      </p:pic>
      <p:sp>
        <p:nvSpPr>
          <p:cNvPr id="8" name="object 5">
            <a:extLst>
              <a:ext uri="{FF2B5EF4-FFF2-40B4-BE49-F238E27FC236}">
                <a16:creationId xmlns:a16="http://schemas.microsoft.com/office/drawing/2014/main" id="{0851A6AA-9200-8BAA-9205-62F20CD08CB7}"/>
              </a:ext>
            </a:extLst>
          </p:cNvPr>
          <p:cNvSpPr/>
          <p:nvPr/>
        </p:nvSpPr>
        <p:spPr>
          <a:xfrm>
            <a:off x="4925182" y="4513793"/>
            <a:ext cx="7382933" cy="2370667"/>
          </a:xfrm>
          <a:custGeom>
            <a:avLst/>
            <a:gdLst/>
            <a:ahLst/>
            <a:cxnLst/>
            <a:rect l="l" t="t" r="r" b="b"/>
            <a:pathLst>
              <a:path w="5537200" h="1778000">
                <a:moveTo>
                  <a:pt x="5537200" y="0"/>
                </a:moveTo>
                <a:lnTo>
                  <a:pt x="877849" y="0"/>
                </a:lnTo>
                <a:lnTo>
                  <a:pt x="0" y="1778000"/>
                </a:lnTo>
                <a:lnTo>
                  <a:pt x="5537200" y="1778000"/>
                </a:lnTo>
                <a:lnTo>
                  <a:pt x="5537200" y="0"/>
                </a:lnTo>
                <a:close/>
              </a:path>
            </a:pathLst>
          </a:custGeom>
          <a:solidFill>
            <a:srgbClr val="4F37A2">
              <a:alpha val="63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9" name="object 6">
            <a:extLst>
              <a:ext uri="{FF2B5EF4-FFF2-40B4-BE49-F238E27FC236}">
                <a16:creationId xmlns:a16="http://schemas.microsoft.com/office/drawing/2014/main" id="{A5B83916-7DAA-9A3F-DB82-A5E158DDD51E}"/>
              </a:ext>
            </a:extLst>
          </p:cNvPr>
          <p:cNvSpPr txBox="1"/>
          <p:nvPr/>
        </p:nvSpPr>
        <p:spPr>
          <a:xfrm>
            <a:off x="6131718" y="4746313"/>
            <a:ext cx="5694407" cy="613844"/>
          </a:xfrm>
          <a:prstGeom prst="rect">
            <a:avLst/>
          </a:prstGeom>
        </p:spPr>
        <p:txBody>
          <a:bodyPr vert="horz" wrap="square" lIns="0" tIns="84667" rIns="0" bIns="0" rtlCol="0" anchor="t">
            <a:spAutoFit/>
          </a:bodyPr>
          <a:lstStyle/>
          <a:p>
            <a:pPr marL="16510" marR="6350" lvl="0" indent="475615" algn="l" defTabSz="914400" rtl="0" eaLnBrk="1" fontAlgn="auto" latinLnBrk="0" hangingPunct="1">
              <a:lnSpc>
                <a:spcPts val="4000"/>
              </a:lnSpc>
              <a:spcBef>
                <a:spcPts val="667"/>
              </a:spcBef>
              <a:spcAft>
                <a:spcPts val="0"/>
              </a:spcAft>
              <a:buClrTx/>
              <a:buSzTx/>
              <a:buFontTx/>
              <a:buNone/>
              <a:tabLst/>
              <a:defRPr/>
            </a:pPr>
            <a:r>
              <a:rPr kumimoji="0" lang="es-MX" sz="4000" b="1" i="0" u="none" strike="noStrike" kern="1200" cap="none" spc="0" normalizeH="0" baseline="0" noProof="0" err="1">
                <a:ln>
                  <a:noFill/>
                </a:ln>
                <a:solidFill>
                  <a:srgbClr val="FFFFFF"/>
                </a:solidFill>
                <a:effectLst/>
                <a:uLnTx/>
                <a:uFillTx/>
                <a:latin typeface="Poppins Bold"/>
                <a:ea typeface="+mn-ea"/>
                <a:cs typeface="Poppins Bold"/>
              </a:rPr>
              <a:t>The</a:t>
            </a:r>
            <a:r>
              <a:rPr kumimoji="0" lang="es-MX" sz="4000" b="1" i="0" u="none" strike="noStrike" kern="1200" cap="none" spc="0" normalizeH="0" baseline="0" noProof="0">
                <a:ln>
                  <a:noFill/>
                </a:ln>
                <a:solidFill>
                  <a:srgbClr val="FFFFFF"/>
                </a:solidFill>
                <a:effectLst/>
                <a:uLnTx/>
                <a:uFillTx/>
                <a:latin typeface="Poppins Bold"/>
                <a:ea typeface="+mn-ea"/>
                <a:cs typeface="Poppins Bold"/>
              </a:rPr>
              <a:t> </a:t>
            </a:r>
            <a:r>
              <a:rPr kumimoji="0" lang="es-MX" sz="4000" b="1" i="0" u="none" strike="noStrike" kern="1200" cap="none" spc="0" normalizeH="0" baseline="0" noProof="0" err="1">
                <a:ln>
                  <a:noFill/>
                </a:ln>
                <a:solidFill>
                  <a:srgbClr val="FFFFFF"/>
                </a:solidFill>
                <a:effectLst/>
                <a:uLnTx/>
                <a:uFillTx/>
                <a:latin typeface="Poppins Bold"/>
                <a:ea typeface="+mn-ea"/>
                <a:cs typeface="Poppins Bold"/>
              </a:rPr>
              <a:t>Challenge</a:t>
            </a:r>
            <a:endParaRPr kumimoji="0" lang="es-MX" sz="4000" b="0" i="0" u="none" strike="noStrike" kern="1200" cap="none" spc="0" normalizeH="0" baseline="0" noProof="0" err="1">
              <a:ln>
                <a:noFill/>
              </a:ln>
              <a:solidFill>
                <a:srgbClr val="545354"/>
              </a:solidFill>
              <a:effectLst/>
              <a:uLnTx/>
              <a:uFillTx/>
              <a:latin typeface="Poppins Bold"/>
              <a:ea typeface="+mn-ea"/>
              <a:cs typeface="Poppins Bold"/>
            </a:endParaRPr>
          </a:p>
        </p:txBody>
      </p:sp>
      <p:sp>
        <p:nvSpPr>
          <p:cNvPr id="10" name="object 7">
            <a:extLst>
              <a:ext uri="{FF2B5EF4-FFF2-40B4-BE49-F238E27FC236}">
                <a16:creationId xmlns:a16="http://schemas.microsoft.com/office/drawing/2014/main" id="{4D581902-1096-EC3B-AA2B-5B10EB8A695C}"/>
              </a:ext>
            </a:extLst>
          </p:cNvPr>
          <p:cNvSpPr/>
          <p:nvPr/>
        </p:nvSpPr>
        <p:spPr>
          <a:xfrm>
            <a:off x="0" y="-1"/>
            <a:ext cx="1676400" cy="1137073"/>
          </a:xfrm>
          <a:custGeom>
            <a:avLst/>
            <a:gdLst/>
            <a:ahLst/>
            <a:cxnLst/>
            <a:rect l="l" t="t" r="r" b="b"/>
            <a:pathLst>
              <a:path w="1257300" h="852805">
                <a:moveTo>
                  <a:pt x="1257058" y="0"/>
                </a:moveTo>
                <a:lnTo>
                  <a:pt x="0" y="0"/>
                </a:lnTo>
                <a:lnTo>
                  <a:pt x="0" y="852424"/>
                </a:lnTo>
                <a:lnTo>
                  <a:pt x="1257058" y="0"/>
                </a:lnTo>
                <a:close/>
              </a:path>
            </a:pathLst>
          </a:custGeom>
          <a:solidFill>
            <a:srgbClr val="472C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11" name="object 8">
            <a:extLst>
              <a:ext uri="{FF2B5EF4-FFF2-40B4-BE49-F238E27FC236}">
                <a16:creationId xmlns:a16="http://schemas.microsoft.com/office/drawing/2014/main" id="{5A2B73B9-A9AC-F457-F447-0ADF8857395D}"/>
              </a:ext>
            </a:extLst>
          </p:cNvPr>
          <p:cNvSpPr/>
          <p:nvPr/>
        </p:nvSpPr>
        <p:spPr>
          <a:xfrm>
            <a:off x="6810921" y="488709"/>
            <a:ext cx="2097193" cy="2545080"/>
          </a:xfrm>
          <a:custGeom>
            <a:avLst/>
            <a:gdLst/>
            <a:ahLst/>
            <a:cxnLst/>
            <a:rect l="l" t="t" r="r" b="b"/>
            <a:pathLst>
              <a:path w="1572895" h="1908810">
                <a:moveTo>
                  <a:pt x="1103426" y="0"/>
                </a:moveTo>
                <a:lnTo>
                  <a:pt x="1102944" y="838"/>
                </a:lnTo>
                <a:lnTo>
                  <a:pt x="1102461" y="0"/>
                </a:lnTo>
                <a:lnTo>
                  <a:pt x="880846" y="383844"/>
                </a:lnTo>
                <a:lnTo>
                  <a:pt x="881354" y="384721"/>
                </a:lnTo>
                <a:lnTo>
                  <a:pt x="223240" y="1524609"/>
                </a:lnTo>
                <a:lnTo>
                  <a:pt x="221576" y="1524609"/>
                </a:lnTo>
                <a:lnTo>
                  <a:pt x="0" y="1908403"/>
                </a:lnTo>
                <a:lnTo>
                  <a:pt x="1572895" y="1908403"/>
                </a:lnTo>
                <a:lnTo>
                  <a:pt x="1351318" y="1524609"/>
                </a:lnTo>
                <a:lnTo>
                  <a:pt x="666407" y="1524609"/>
                </a:lnTo>
                <a:lnTo>
                  <a:pt x="1102944" y="768502"/>
                </a:lnTo>
                <a:lnTo>
                  <a:pt x="1142365" y="836777"/>
                </a:lnTo>
                <a:lnTo>
                  <a:pt x="1363954" y="452996"/>
                </a:lnTo>
                <a:lnTo>
                  <a:pt x="1324533" y="384721"/>
                </a:lnTo>
                <a:lnTo>
                  <a:pt x="1325041" y="383844"/>
                </a:lnTo>
                <a:lnTo>
                  <a:pt x="1103426" y="0"/>
                </a:lnTo>
                <a:close/>
              </a:path>
            </a:pathLst>
          </a:custGeom>
          <a:solidFill>
            <a:srgbClr val="8D80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12" name="object 9">
            <a:extLst>
              <a:ext uri="{FF2B5EF4-FFF2-40B4-BE49-F238E27FC236}">
                <a16:creationId xmlns:a16="http://schemas.microsoft.com/office/drawing/2014/main" id="{8780E9BB-E5EA-C3FC-D51B-48266A6F7BED}"/>
              </a:ext>
            </a:extLst>
          </p:cNvPr>
          <p:cNvSpPr txBox="1">
            <a:spLocks noGrp="1"/>
          </p:cNvSpPr>
          <p:nvPr>
            <p:ph type="title"/>
          </p:nvPr>
        </p:nvSpPr>
        <p:spPr>
          <a:xfrm>
            <a:off x="8804550" y="1081096"/>
            <a:ext cx="2297005" cy="2492135"/>
          </a:xfrm>
          <a:prstGeom prst="rect">
            <a:avLst/>
          </a:prstGeom>
          <a:noFill/>
        </p:spPr>
        <p:txBody>
          <a:bodyPr spcFirstLastPara="1" vert="horz" wrap="square" lIns="0" tIns="16933" rIns="0" bIns="0" rtlCol="0" anchor="ctr" anchorCtr="0">
            <a:spAutoFit/>
          </a:bodyPr>
          <a:lstStyle/>
          <a:p>
            <a:pPr marL="16933">
              <a:spcBef>
                <a:spcPts val="133"/>
              </a:spcBef>
            </a:pPr>
            <a:r>
              <a:rPr sz="16000" b="1" spc="-33">
                <a:solidFill>
                  <a:schemeClr val="bg1"/>
                </a:solidFill>
                <a:latin typeface="Poppins" pitchFamily="2" charset="77"/>
                <a:cs typeface="Poppins" pitchFamily="2" charset="77"/>
              </a:rPr>
              <a:t>01</a:t>
            </a:r>
          </a:p>
        </p:txBody>
      </p:sp>
      <p:sp>
        <p:nvSpPr>
          <p:cNvPr id="2" name="Google Shape;289;p35">
            <a:extLst>
              <a:ext uri="{FF2B5EF4-FFF2-40B4-BE49-F238E27FC236}">
                <a16:creationId xmlns:a16="http://schemas.microsoft.com/office/drawing/2014/main" id="{8FA0E57B-CE0C-85FA-76AA-03C1A92291B6}"/>
              </a:ext>
            </a:extLst>
          </p:cNvPr>
          <p:cNvSpPr txBox="1">
            <a:spLocks noGrp="1"/>
          </p:cNvSpPr>
          <p:nvPr/>
        </p:nvSpPr>
        <p:spPr>
          <a:xfrm>
            <a:off x="1857951" y="4526158"/>
            <a:ext cx="699770" cy="346010"/>
          </a:xfrm>
          <a:prstGeom prst="rect">
            <a:avLst/>
          </a:prstGeom>
          <a:gradFill flip="none" rotWithShape="1">
            <a:gsLst>
              <a:gs pos="0">
                <a:srgbClr val="8C80FF">
                  <a:shade val="30000"/>
                  <a:satMod val="115000"/>
                </a:srgbClr>
              </a:gs>
              <a:gs pos="50000">
                <a:srgbClr val="8C80FF">
                  <a:shade val="67500"/>
                  <a:satMod val="115000"/>
                </a:srgbClr>
              </a:gs>
              <a:gs pos="100000">
                <a:srgbClr val="8C80FF">
                  <a:shade val="100000"/>
                  <a:satMod val="115000"/>
                </a:srgbClr>
              </a:gs>
            </a:gsLst>
            <a:lin ang="0" scaled="1"/>
            <a:tileRect/>
          </a:gradFill>
        </p:spPr>
        <p:txBody>
          <a:bodyPr spcFirstLastPara="1" wrap="square" lIns="91425" tIns="91425" rIns="91425" bIns="91425" anchor="ctr" anchorCtr="0">
            <a:noAutofit/>
          </a:bodyPr>
          <a:lstStyle>
            <a:lvl1pPr lvl="0" algn="r" defTabSz="685800" rtl="0" eaLnBrk="1" latinLnBrk="0" hangingPunct="1">
              <a:lnSpc>
                <a:spcPct val="115000"/>
              </a:lnSpc>
              <a:spcBef>
                <a:spcPts val="0"/>
              </a:spcBef>
              <a:spcAft>
                <a:spcPts val="0"/>
              </a:spcAft>
              <a:buSzPts val="3000"/>
              <a:buNone/>
              <a:defRPr sz="3100" b="0" i="0" kern="1200">
                <a:solidFill>
                  <a:schemeClr val="lt1"/>
                </a:solidFill>
                <a:latin typeface="+mj-lt"/>
                <a:ea typeface="+mj-ea"/>
                <a:cs typeface="+mj-cs"/>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pPr marL="0" marR="0" lvl="0" indent="0" algn="r" defTabSz="685800" rtl="0" eaLnBrk="1" fontAlgn="auto" latinLnBrk="0" hangingPunct="1">
              <a:lnSpc>
                <a:spcPct val="115000"/>
              </a:lnSpc>
              <a:spcBef>
                <a:spcPts val="0"/>
              </a:spcBef>
              <a:spcAft>
                <a:spcPts val="0"/>
              </a:spcAft>
              <a:buClrTx/>
              <a:buSzPts val="3000"/>
              <a:buFontTx/>
              <a:buNone/>
              <a:tabLst/>
              <a:defRPr/>
            </a:pPr>
            <a:r>
              <a:rPr kumimoji="0" lang="en" sz="1800" b="1" i="0" u="none" strike="noStrike" kern="1200" cap="none" spc="0" normalizeH="0" baseline="0" noProof="0">
                <a:ln>
                  <a:noFill/>
                </a:ln>
                <a:solidFill>
                  <a:srgbClr val="FFFFFF"/>
                </a:solidFill>
                <a:effectLst/>
                <a:uLnTx/>
                <a:uFillTx/>
                <a:latin typeface="Poppins"/>
                <a:ea typeface="+mj-ea"/>
                <a:cs typeface="+mj-cs"/>
              </a:rPr>
              <a:t>04</a:t>
            </a:r>
            <a:endParaRPr kumimoji="0" sz="1800" b="1" i="0" u="none" strike="noStrike" kern="1200" cap="none" spc="0" normalizeH="0" baseline="0" noProof="0">
              <a:ln>
                <a:noFill/>
              </a:ln>
              <a:solidFill>
                <a:srgbClr val="FFFFFF"/>
              </a:solidFill>
              <a:effectLst/>
              <a:uLnTx/>
              <a:uFillTx/>
              <a:latin typeface="Poppins"/>
              <a:ea typeface="+mj-ea"/>
              <a:cs typeface="+mj-cs"/>
            </a:endParaRPr>
          </a:p>
        </p:txBody>
      </p:sp>
    </p:spTree>
    <p:extLst>
      <p:ext uri="{BB962C8B-B14F-4D97-AF65-F5344CB8AC3E}">
        <p14:creationId xmlns:p14="http://schemas.microsoft.com/office/powerpoint/2010/main" val="14555601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arcador de contenido 4">
            <a:extLst>
              <a:ext uri="{FF2B5EF4-FFF2-40B4-BE49-F238E27FC236}">
                <a16:creationId xmlns:a16="http://schemas.microsoft.com/office/drawing/2014/main" id="{40240AFA-B973-186D-569E-1F0A61FE6D29}"/>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p:spPr>
      </p:pic>
      <p:sp>
        <p:nvSpPr>
          <p:cNvPr id="6" name="Título 1">
            <a:extLst>
              <a:ext uri="{FF2B5EF4-FFF2-40B4-BE49-F238E27FC236}">
                <a16:creationId xmlns:a16="http://schemas.microsoft.com/office/drawing/2014/main" id="{9A514F57-FDB8-4625-AC4B-7A030B4C3C49}"/>
              </a:ext>
            </a:extLst>
          </p:cNvPr>
          <p:cNvSpPr txBox="1">
            <a:spLocks/>
          </p:cNvSpPr>
          <p:nvPr/>
        </p:nvSpPr>
        <p:spPr>
          <a:xfrm>
            <a:off x="754810" y="1162438"/>
            <a:ext cx="6094563" cy="402374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1300" b="1"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rPr>
            </a:br>
            <a:br>
              <a:rPr kumimoji="0" lang="en-US" sz="1000" b="1" i="0" u="none" strike="noStrike" kern="1200" cap="none" spc="-150" normalizeH="0" baseline="0" noProof="0">
                <a:ln>
                  <a:noFill/>
                </a:ln>
                <a:solidFill>
                  <a:prstClr val="black"/>
                </a:solidFill>
                <a:effectLst/>
                <a:uLnTx/>
                <a:uFillTx/>
                <a:latin typeface="Poppins" panose="00000500000000000000" pitchFamily="2" charset="0"/>
                <a:ea typeface="+mj-ea"/>
                <a:cs typeface="Poppins" panose="00000500000000000000" pitchFamily="2" charset="0"/>
              </a:rPr>
            </a:br>
            <a:r>
              <a:rPr kumimoji="0" lang="en-US" sz="4700" b="1" i="0" u="none" strike="noStrike" kern="1200" cap="none" spc="-150" normalizeH="0" baseline="0" noProof="0">
                <a:ln>
                  <a:noFill/>
                </a:ln>
                <a:solidFill>
                  <a:srgbClr val="9583FF"/>
                </a:solidFill>
                <a:effectLst/>
                <a:uLnTx/>
                <a:uFillTx/>
                <a:latin typeface="Poppins" panose="00000500000000000000" pitchFamily="2" charset="0"/>
                <a:ea typeface="+mj-ea"/>
                <a:cs typeface="Poppins" panose="00000500000000000000" pitchFamily="2" charset="0"/>
              </a:rPr>
              <a:t>Let’s Future-Proof Your Business.</a:t>
            </a:r>
            <a:br>
              <a:rPr kumimoji="0" lang="en-US" sz="1400" b="0"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rPr>
            </a:br>
            <a:endParaRPr kumimoji="0" lang="en-US" sz="1400" b="0"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rPr>
              <a:t>CUTTING-EDGE RESEARCH</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rPr>
              <a:t>&amp; CONSULTING SOLUTION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s-CO" sz="1400" b="1" i="0" u="none" strike="noStrike" kern="1200" cap="none" spc="0" normalizeH="0" baseline="0" noProof="0">
                <a:ln>
                  <a:noFill/>
                </a:ln>
                <a:solidFill>
                  <a:prstClr val="white"/>
                </a:solidFill>
                <a:effectLst/>
                <a:uLnTx/>
                <a:uFillTx/>
                <a:latin typeface="Poppins" panose="00000500000000000000" pitchFamily="2" charset="0"/>
                <a:ea typeface="+mj-ea"/>
                <a:cs typeface="Poppins" panose="00000500000000000000" pitchFamily="2" charset="0"/>
              </a:rPr>
              <a:t>www.iotaimpact.com</a:t>
            </a:r>
          </a:p>
        </p:txBody>
      </p:sp>
      <p:pic>
        <p:nvPicPr>
          <p:cNvPr id="10" name="Gráfico 9">
            <a:extLst>
              <a:ext uri="{FF2B5EF4-FFF2-40B4-BE49-F238E27FC236}">
                <a16:creationId xmlns:a16="http://schemas.microsoft.com/office/drawing/2014/main" id="{EF0908BB-24B2-74AF-86A0-54E09CCFBC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0140" y="5612854"/>
            <a:ext cx="2590068" cy="604866"/>
          </a:xfrm>
          <a:prstGeom prst="rect">
            <a:avLst/>
          </a:prstGeom>
        </p:spPr>
      </p:pic>
    </p:spTree>
    <p:extLst>
      <p:ext uri="{BB962C8B-B14F-4D97-AF65-F5344CB8AC3E}">
        <p14:creationId xmlns:p14="http://schemas.microsoft.com/office/powerpoint/2010/main" val="1993474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grpId="1" nodeType="clickEffect">
                                  <p:stCondLst>
                                    <p:cond delay="0"/>
                                  </p:stCondLst>
                                  <p:childTnLst>
                                    <p:animEffect transition="out" filter="fade">
                                      <p:cBhvr>
                                        <p:cTn id="11" dur="500" tmFilter="0, 0; .2, .5; .8, .5; 1, 0"/>
                                        <p:tgtEl>
                                          <p:spTgt spid="6"/>
                                        </p:tgtEl>
                                      </p:cBhvr>
                                    </p:animEffect>
                                    <p:animScale>
                                      <p:cBhvr>
                                        <p:cTn id="12" dur="250" autoRev="1" fill="hold"/>
                                        <p:tgtEl>
                                          <p:spTgt spid="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ángulo 14">
            <a:extLst>
              <a:ext uri="{FF2B5EF4-FFF2-40B4-BE49-F238E27FC236}">
                <a16:creationId xmlns:a16="http://schemas.microsoft.com/office/drawing/2014/main" id="{31C21429-DD6A-3121-68B1-5A104C05D55C}"/>
              </a:ext>
            </a:extLst>
          </p:cNvPr>
          <p:cNvSpPr/>
          <p:nvPr/>
        </p:nvSpPr>
        <p:spPr>
          <a:xfrm>
            <a:off x="693683" y="1744717"/>
            <a:ext cx="11498317" cy="1713317"/>
          </a:xfrm>
          <a:prstGeom prst="rect">
            <a:avLst/>
          </a:prstGeom>
          <a:solidFill>
            <a:srgbClr val="442E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Marcador de contenido 4">
            <a:extLst>
              <a:ext uri="{FF2B5EF4-FFF2-40B4-BE49-F238E27FC236}">
                <a16:creationId xmlns:a16="http://schemas.microsoft.com/office/drawing/2014/main" id="{9B0D4959-D94B-BF6D-241D-E811D32FDF18}"/>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 y="17507"/>
            <a:ext cx="12192001" cy="6858001"/>
          </a:xfrm>
        </p:spPr>
      </p:pic>
      <p:sp>
        <p:nvSpPr>
          <p:cNvPr id="2" name="Título 1">
            <a:extLst>
              <a:ext uri="{FF2B5EF4-FFF2-40B4-BE49-F238E27FC236}">
                <a16:creationId xmlns:a16="http://schemas.microsoft.com/office/drawing/2014/main" id="{1E79E62D-26CF-7705-8486-F7B7D7486E09}"/>
              </a:ext>
            </a:extLst>
          </p:cNvPr>
          <p:cNvSpPr>
            <a:spLocks noGrp="1"/>
          </p:cNvSpPr>
          <p:nvPr>
            <p:ph type="title" idx="4294967295"/>
          </p:nvPr>
        </p:nvSpPr>
        <p:spPr>
          <a:xfrm>
            <a:off x="939654" y="410872"/>
            <a:ext cx="9184060" cy="989223"/>
          </a:xfrm>
        </p:spPr>
        <p:txBody>
          <a:bodyPr>
            <a:noAutofit/>
          </a:bodyPr>
          <a:lstStyle/>
          <a:p>
            <a:r>
              <a:rPr lang="en-US">
                <a:solidFill>
                  <a:schemeClr val="accent4"/>
                </a:solidFill>
                <a:latin typeface="+mj-lt"/>
                <a:cs typeface="Poppins"/>
              </a:rPr>
              <a:t>The Challenge: </a:t>
            </a:r>
            <a:br>
              <a:rPr lang="en-US" sz="2800" b="1">
                <a:cs typeface="Poppins"/>
              </a:rPr>
            </a:br>
            <a:r>
              <a:rPr lang="en-US" sz="1800">
                <a:solidFill>
                  <a:schemeClr val="accent3"/>
                </a:solidFill>
                <a:cs typeface="Poppins"/>
              </a:rPr>
              <a:t>Secure successful US market entry and retailer understanding with Advanced Data Analytics</a:t>
            </a:r>
          </a:p>
        </p:txBody>
      </p:sp>
      <p:sp>
        <p:nvSpPr>
          <p:cNvPr id="3" name="CuadroTexto 2">
            <a:extLst>
              <a:ext uri="{FF2B5EF4-FFF2-40B4-BE49-F238E27FC236}">
                <a16:creationId xmlns:a16="http://schemas.microsoft.com/office/drawing/2014/main" id="{ED4F66A0-DBF2-2A33-3140-85CDA45146A6}"/>
              </a:ext>
            </a:extLst>
          </p:cNvPr>
          <p:cNvSpPr txBox="1"/>
          <p:nvPr/>
        </p:nvSpPr>
        <p:spPr>
          <a:xfrm>
            <a:off x="1312385" y="2405600"/>
            <a:ext cx="10185932" cy="800219"/>
          </a:xfrm>
          <a:prstGeom prst="rect">
            <a:avLst/>
          </a:prstGeom>
          <a:noFill/>
        </p:spPr>
        <p:txBody>
          <a:bodyPr wrap="square" lIns="91440" tIns="45720" rIns="91440" bIns="45720" rtlCol="0" anchor="t">
            <a:spAutoFit/>
          </a:bodyPr>
          <a:lstStyle/>
          <a:p>
            <a:r>
              <a:rPr lang="en-US" sz="1600" err="1">
                <a:solidFill>
                  <a:schemeClr val="bg1"/>
                </a:solidFill>
                <a:latin typeface="Poppins Light"/>
                <a:ea typeface="+mj-lt"/>
                <a:cs typeface="Poppins Light"/>
              </a:rPr>
              <a:t>Belcorp</a:t>
            </a:r>
            <a:r>
              <a:rPr lang="en-US" sz="1600">
                <a:solidFill>
                  <a:schemeClr val="bg1"/>
                </a:solidFill>
                <a:latin typeface="Poppins Light"/>
                <a:ea typeface="+mj-lt"/>
                <a:cs typeface="Poppins Light"/>
              </a:rPr>
              <a:t> requires to gain deep understanding of the beauty US market focusing in the B2BC sales model, identifying retailer strategy and planning marketing and sales cycles</a:t>
            </a:r>
            <a:endParaRPr lang="en-US" sz="1600">
              <a:solidFill>
                <a:schemeClr val="bg1"/>
              </a:solidFill>
              <a:latin typeface="Poppins Light"/>
              <a:cs typeface="Poppins Light"/>
            </a:endParaRPr>
          </a:p>
          <a:p>
            <a:endParaRPr lang="en-US" sz="1400">
              <a:solidFill>
                <a:schemeClr val="bg1"/>
              </a:solidFill>
              <a:latin typeface="Poppins Light"/>
              <a:cs typeface="Poppins Light"/>
            </a:endParaRPr>
          </a:p>
        </p:txBody>
      </p:sp>
      <p:sp>
        <p:nvSpPr>
          <p:cNvPr id="4" name="CuadroTexto 3">
            <a:extLst>
              <a:ext uri="{FF2B5EF4-FFF2-40B4-BE49-F238E27FC236}">
                <a16:creationId xmlns:a16="http://schemas.microsoft.com/office/drawing/2014/main" id="{C79DFF92-D613-2AB6-C4F7-0B656CD1C112}"/>
              </a:ext>
            </a:extLst>
          </p:cNvPr>
          <p:cNvSpPr txBox="1"/>
          <p:nvPr/>
        </p:nvSpPr>
        <p:spPr>
          <a:xfrm>
            <a:off x="1312386" y="1997282"/>
            <a:ext cx="5981043" cy="369332"/>
          </a:xfrm>
          <a:prstGeom prst="rect">
            <a:avLst/>
          </a:prstGeom>
          <a:noFill/>
        </p:spPr>
        <p:txBody>
          <a:bodyPr wrap="square" rtlCol="0">
            <a:spAutoFit/>
          </a:bodyPr>
          <a:lstStyle/>
          <a:p>
            <a:r>
              <a:rPr lang="en-US" b="1">
                <a:solidFill>
                  <a:schemeClr val="bg1"/>
                </a:solidFill>
                <a:latin typeface="Poppins"/>
                <a:ea typeface="+mj-lt"/>
                <a:cs typeface="Poppins"/>
              </a:rPr>
              <a:t>Strategic Data Based </a:t>
            </a:r>
            <a:r>
              <a:rPr lang="en-US" sz="1800" b="1">
                <a:solidFill>
                  <a:schemeClr val="bg1"/>
                </a:solidFill>
                <a:latin typeface="Poppins"/>
                <a:ea typeface="+mj-lt"/>
                <a:cs typeface="Poppins"/>
              </a:rPr>
              <a:t>Decision-Making</a:t>
            </a:r>
            <a:endParaRPr lang="en-US" sz="1800">
              <a:solidFill>
                <a:schemeClr val="bg1"/>
              </a:solidFill>
              <a:latin typeface="Calibri Light" panose="020F0302020204030204"/>
              <a:ea typeface="+mj-lt"/>
              <a:cs typeface="Calibri Light" panose="020F0302020204030204"/>
            </a:endParaRPr>
          </a:p>
        </p:txBody>
      </p:sp>
      <p:sp>
        <p:nvSpPr>
          <p:cNvPr id="6" name="CuadroTexto 5">
            <a:extLst>
              <a:ext uri="{FF2B5EF4-FFF2-40B4-BE49-F238E27FC236}">
                <a16:creationId xmlns:a16="http://schemas.microsoft.com/office/drawing/2014/main" id="{A0DFD1A0-E2C2-2F24-EEB1-044F57562EA3}"/>
              </a:ext>
            </a:extLst>
          </p:cNvPr>
          <p:cNvSpPr txBox="1"/>
          <p:nvPr/>
        </p:nvSpPr>
        <p:spPr>
          <a:xfrm>
            <a:off x="1312386" y="3888291"/>
            <a:ext cx="3260829" cy="369332"/>
          </a:xfrm>
          <a:prstGeom prst="rect">
            <a:avLst/>
          </a:prstGeom>
          <a:noFill/>
        </p:spPr>
        <p:txBody>
          <a:bodyPr wrap="none" rtlCol="0">
            <a:spAutoFit/>
          </a:bodyPr>
          <a:lstStyle/>
          <a:p>
            <a:r>
              <a:rPr lang="en-US" sz="1800" b="1">
                <a:solidFill>
                  <a:srgbClr val="442E8E"/>
                </a:solidFill>
                <a:latin typeface="Poppins"/>
                <a:ea typeface="+mj-lt"/>
                <a:cs typeface="Poppins"/>
              </a:rPr>
              <a:t>Data Asset Requirements</a:t>
            </a:r>
            <a:r>
              <a:rPr lang="en-US" sz="1800">
                <a:solidFill>
                  <a:srgbClr val="442E8E"/>
                </a:solidFill>
                <a:latin typeface="Poppins"/>
                <a:ea typeface="+mj-lt"/>
                <a:cs typeface="Poppins"/>
              </a:rPr>
              <a:t> </a:t>
            </a:r>
            <a:endParaRPr lang="en-US" sz="1800">
              <a:solidFill>
                <a:srgbClr val="442E8E"/>
              </a:solidFill>
              <a:latin typeface="Calibri Light" panose="020F0302020204030204"/>
              <a:ea typeface="+mj-lt"/>
              <a:cs typeface="Calibri Light"/>
            </a:endParaRPr>
          </a:p>
        </p:txBody>
      </p:sp>
      <p:sp>
        <p:nvSpPr>
          <p:cNvPr id="7" name="CuadroTexto 6">
            <a:extLst>
              <a:ext uri="{FF2B5EF4-FFF2-40B4-BE49-F238E27FC236}">
                <a16:creationId xmlns:a16="http://schemas.microsoft.com/office/drawing/2014/main" id="{D8095457-D9BE-7A48-7CC5-E740061B911F}"/>
              </a:ext>
            </a:extLst>
          </p:cNvPr>
          <p:cNvSpPr txBox="1"/>
          <p:nvPr/>
        </p:nvSpPr>
        <p:spPr>
          <a:xfrm>
            <a:off x="1295481" y="4225778"/>
            <a:ext cx="9779795" cy="923330"/>
          </a:xfrm>
          <a:prstGeom prst="rect">
            <a:avLst/>
          </a:prstGeom>
          <a:noFill/>
        </p:spPr>
        <p:txBody>
          <a:bodyPr wrap="square" rtlCol="0">
            <a:spAutoFit/>
          </a:bodyPr>
          <a:lstStyle/>
          <a:p>
            <a:r>
              <a:rPr lang="en-US">
                <a:solidFill>
                  <a:schemeClr val="tx1">
                    <a:lumMod val="75000"/>
                  </a:schemeClr>
                </a:solidFill>
                <a:latin typeface="Poppins"/>
                <a:ea typeface="+mj-lt"/>
                <a:cs typeface="Poppins"/>
              </a:rPr>
              <a:t>To support this, </a:t>
            </a:r>
            <a:r>
              <a:rPr lang="en-US" err="1">
                <a:solidFill>
                  <a:schemeClr val="tx1">
                    <a:lumMod val="75000"/>
                  </a:schemeClr>
                </a:solidFill>
                <a:latin typeface="Poppins"/>
                <a:ea typeface="+mj-lt"/>
                <a:cs typeface="Poppins"/>
              </a:rPr>
              <a:t>Belcorp</a:t>
            </a:r>
            <a:r>
              <a:rPr lang="en-US">
                <a:solidFill>
                  <a:schemeClr val="tx1">
                    <a:lumMod val="75000"/>
                  </a:schemeClr>
                </a:solidFill>
                <a:latin typeface="Poppins"/>
                <a:ea typeface="+mj-lt"/>
                <a:cs typeface="Poppins"/>
              </a:rPr>
              <a:t> needs to acquire granular data to answer the following questions:</a:t>
            </a:r>
            <a:endParaRPr lang="en-US">
              <a:solidFill>
                <a:schemeClr val="tx1">
                  <a:lumMod val="75000"/>
                </a:schemeClr>
              </a:solidFill>
              <a:cs typeface="Calibri Light"/>
            </a:endParaRPr>
          </a:p>
          <a:p>
            <a:endParaRPr lang="en-US">
              <a:solidFill>
                <a:schemeClr val="tx1">
                  <a:lumMod val="75000"/>
                </a:schemeClr>
              </a:solidFill>
            </a:endParaRPr>
          </a:p>
        </p:txBody>
      </p:sp>
      <p:sp>
        <p:nvSpPr>
          <p:cNvPr id="8" name="CuadroTexto 7">
            <a:extLst>
              <a:ext uri="{FF2B5EF4-FFF2-40B4-BE49-F238E27FC236}">
                <a16:creationId xmlns:a16="http://schemas.microsoft.com/office/drawing/2014/main" id="{9D9BCB0C-5C3B-6F56-5F20-194F720411A3}"/>
              </a:ext>
            </a:extLst>
          </p:cNvPr>
          <p:cNvSpPr txBox="1"/>
          <p:nvPr/>
        </p:nvSpPr>
        <p:spPr>
          <a:xfrm>
            <a:off x="1187181" y="4997216"/>
            <a:ext cx="4554315" cy="1323439"/>
          </a:xfrm>
          <a:prstGeom prst="rect">
            <a:avLst/>
          </a:prstGeom>
          <a:noFill/>
        </p:spPr>
        <p:txBody>
          <a:bodyPr wrap="square" rtlCol="0">
            <a:spAutoFit/>
          </a:bodyPr>
          <a:lstStyle/>
          <a:p>
            <a:r>
              <a:rPr lang="en-US" sz="1600" b="1">
                <a:solidFill>
                  <a:srgbClr val="8D80FF"/>
                </a:solidFill>
                <a:latin typeface="Poppins"/>
                <a:ea typeface="+mj-lt"/>
                <a:cs typeface="Poppins"/>
              </a:rPr>
              <a:t>Planning Phase: </a:t>
            </a:r>
            <a:r>
              <a:rPr lang="en-US" sz="1600">
                <a:solidFill>
                  <a:schemeClr val="tx1">
                    <a:lumMod val="75000"/>
                  </a:schemeClr>
                </a:solidFill>
                <a:latin typeface="Poppins"/>
                <a:ea typeface="+mj-lt"/>
                <a:cs typeface="Poppins"/>
              </a:rPr>
              <a:t>Determine the expected sales volume </a:t>
            </a:r>
            <a:r>
              <a:rPr lang="en-US" sz="1600" err="1">
                <a:solidFill>
                  <a:schemeClr val="tx1">
                    <a:lumMod val="75000"/>
                  </a:schemeClr>
                </a:solidFill>
                <a:latin typeface="Poppins"/>
                <a:ea typeface="+mj-lt"/>
                <a:cs typeface="Poppins"/>
              </a:rPr>
              <a:t>Belcorp</a:t>
            </a:r>
            <a:r>
              <a:rPr lang="en-US" sz="1600">
                <a:solidFill>
                  <a:schemeClr val="tx1">
                    <a:lumMod val="75000"/>
                  </a:schemeClr>
                </a:solidFill>
                <a:latin typeface="Poppins"/>
                <a:ea typeface="+mj-lt"/>
                <a:cs typeface="Poppins"/>
              </a:rPr>
              <a:t> could obtain per retailer in order to optimize sales forecasting and performance.</a:t>
            </a:r>
            <a:endParaRPr lang="en-US" sz="1600">
              <a:solidFill>
                <a:schemeClr val="tx1">
                  <a:lumMod val="75000"/>
                </a:schemeClr>
              </a:solidFill>
              <a:cs typeface="Calibri Light" panose="020F0302020204030204"/>
            </a:endParaRPr>
          </a:p>
          <a:p>
            <a:endParaRPr lang="en-US" sz="1600">
              <a:solidFill>
                <a:schemeClr val="tx1">
                  <a:lumMod val="75000"/>
                </a:schemeClr>
              </a:solidFill>
            </a:endParaRPr>
          </a:p>
        </p:txBody>
      </p:sp>
      <p:sp>
        <p:nvSpPr>
          <p:cNvPr id="16" name="Rectángulo 15">
            <a:extLst>
              <a:ext uri="{FF2B5EF4-FFF2-40B4-BE49-F238E27FC236}">
                <a16:creationId xmlns:a16="http://schemas.microsoft.com/office/drawing/2014/main" id="{4F2AEA91-5A9B-188C-4172-5031CEF8F5A6}"/>
              </a:ext>
            </a:extLst>
          </p:cNvPr>
          <p:cNvSpPr/>
          <p:nvPr/>
        </p:nvSpPr>
        <p:spPr>
          <a:xfrm rot="16200000">
            <a:off x="383019" y="5550680"/>
            <a:ext cx="1198634" cy="65812"/>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Imagen 17">
            <a:extLst>
              <a:ext uri="{FF2B5EF4-FFF2-40B4-BE49-F238E27FC236}">
                <a16:creationId xmlns:a16="http://schemas.microsoft.com/office/drawing/2014/main" id="{79DE30F9-4756-AE7C-2271-17AA54FF49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9431" y="3888290"/>
            <a:ext cx="346049" cy="353749"/>
          </a:xfrm>
          <a:prstGeom prst="rect">
            <a:avLst/>
          </a:prstGeom>
        </p:spPr>
      </p:pic>
      <p:pic>
        <p:nvPicPr>
          <p:cNvPr id="19" name="Imagen 18">
            <a:extLst>
              <a:ext uri="{FF2B5EF4-FFF2-40B4-BE49-F238E27FC236}">
                <a16:creationId xmlns:a16="http://schemas.microsoft.com/office/drawing/2014/main" id="{CF6C3CA8-C9B6-21BB-A60E-623E475113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13059" y="5801114"/>
            <a:ext cx="312371" cy="312371"/>
          </a:xfrm>
          <a:prstGeom prst="rect">
            <a:avLst/>
          </a:prstGeom>
        </p:spPr>
      </p:pic>
      <p:pic>
        <p:nvPicPr>
          <p:cNvPr id="20" name="Imagen 19">
            <a:extLst>
              <a:ext uri="{FF2B5EF4-FFF2-40B4-BE49-F238E27FC236}">
                <a16:creationId xmlns:a16="http://schemas.microsoft.com/office/drawing/2014/main" id="{8C67AC4A-0131-B7B1-B379-968963ACF7FD}"/>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949430" y="1996766"/>
            <a:ext cx="346049" cy="353749"/>
          </a:xfrm>
          <a:prstGeom prst="rect">
            <a:avLst/>
          </a:prstGeom>
        </p:spPr>
      </p:pic>
      <p:sp>
        <p:nvSpPr>
          <p:cNvPr id="24" name="Rectángulo 23">
            <a:extLst>
              <a:ext uri="{FF2B5EF4-FFF2-40B4-BE49-F238E27FC236}">
                <a16:creationId xmlns:a16="http://schemas.microsoft.com/office/drawing/2014/main" id="{85CF012A-A107-05D5-97C7-517EC480E573}"/>
              </a:ext>
            </a:extLst>
          </p:cNvPr>
          <p:cNvSpPr/>
          <p:nvPr/>
        </p:nvSpPr>
        <p:spPr>
          <a:xfrm rot="16200000">
            <a:off x="5455324" y="5535524"/>
            <a:ext cx="1198634" cy="65812"/>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Imagen 11">
            <a:extLst>
              <a:ext uri="{FF2B5EF4-FFF2-40B4-BE49-F238E27FC236}">
                <a16:creationId xmlns:a16="http://schemas.microsoft.com/office/drawing/2014/main" id="{D771EE97-20A1-69ED-1574-6D054CA2A8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6200000">
            <a:off x="11142261" y="2716226"/>
            <a:ext cx="786536" cy="920506"/>
          </a:xfrm>
          <a:prstGeom prst="rect">
            <a:avLst/>
          </a:prstGeom>
        </p:spPr>
      </p:pic>
      <p:pic>
        <p:nvPicPr>
          <p:cNvPr id="27" name="Imagen 26">
            <a:extLst>
              <a:ext uri="{FF2B5EF4-FFF2-40B4-BE49-F238E27FC236}">
                <a16:creationId xmlns:a16="http://schemas.microsoft.com/office/drawing/2014/main" id="{CC003A9E-9701-D71D-049B-391EE56756C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341856" y="5800974"/>
            <a:ext cx="387345" cy="344645"/>
          </a:xfrm>
          <a:prstGeom prst="rect">
            <a:avLst/>
          </a:prstGeom>
        </p:spPr>
      </p:pic>
      <p:sp>
        <p:nvSpPr>
          <p:cNvPr id="9" name="CuadroTexto 8">
            <a:extLst>
              <a:ext uri="{FF2B5EF4-FFF2-40B4-BE49-F238E27FC236}">
                <a16:creationId xmlns:a16="http://schemas.microsoft.com/office/drawing/2014/main" id="{560AE2FC-6D6B-0A16-073C-D4414F1C9112}"/>
              </a:ext>
            </a:extLst>
          </p:cNvPr>
          <p:cNvSpPr txBox="1"/>
          <p:nvPr/>
        </p:nvSpPr>
        <p:spPr>
          <a:xfrm>
            <a:off x="6326616" y="5062573"/>
            <a:ext cx="5146464" cy="1384995"/>
          </a:xfrm>
          <a:prstGeom prst="rect">
            <a:avLst/>
          </a:prstGeom>
          <a:noFill/>
        </p:spPr>
        <p:txBody>
          <a:bodyPr wrap="square" lIns="91440" tIns="45720" rIns="91440" bIns="45720" rtlCol="0" anchor="t">
            <a:spAutoFit/>
          </a:bodyPr>
          <a:lstStyle/>
          <a:p>
            <a:r>
              <a:rPr lang="en-US" sz="1600" b="1">
                <a:solidFill>
                  <a:srgbClr val="8D80FF"/>
                </a:solidFill>
                <a:latin typeface="Poppins"/>
                <a:ea typeface="+mj-lt"/>
                <a:cs typeface="Poppins"/>
              </a:rPr>
              <a:t>Evaluation Phase:</a:t>
            </a:r>
            <a:r>
              <a:rPr lang="en-US" sz="1600">
                <a:solidFill>
                  <a:srgbClr val="8D80FF"/>
                </a:solidFill>
                <a:latin typeface="Poppins"/>
                <a:ea typeface="+mj-lt"/>
                <a:cs typeface="Poppins"/>
              </a:rPr>
              <a:t> </a:t>
            </a:r>
            <a:r>
              <a:rPr lang="en-US" sz="1600">
                <a:solidFill>
                  <a:schemeClr val="tx1">
                    <a:lumMod val="75000"/>
                  </a:schemeClr>
                </a:solidFill>
                <a:latin typeface="Poppins"/>
                <a:ea typeface="+mj-lt"/>
                <a:cs typeface="Poppins"/>
              </a:rPr>
              <a:t>Design and execution of a Sales Attribution Model that provides market level and campaign granular data for iteration and targeted decision making.</a:t>
            </a:r>
            <a:endParaRPr lang="en-US" sz="1600">
              <a:solidFill>
                <a:schemeClr val="tx1">
                  <a:lumMod val="75000"/>
                </a:schemeClr>
              </a:solidFill>
              <a:cs typeface="Calibri Light" panose="020F0302020204030204"/>
            </a:endParaRPr>
          </a:p>
          <a:p>
            <a:endParaRPr lang="en-US" sz="2000">
              <a:solidFill>
                <a:schemeClr val="tx1">
                  <a:lumMod val="75000"/>
                </a:schemeClr>
              </a:solidFill>
            </a:endParaRPr>
          </a:p>
        </p:txBody>
      </p:sp>
      <p:pic>
        <p:nvPicPr>
          <p:cNvPr id="11" name="Picture 2" descr="Belcorp | Brands of the World™ | Download vector logos and ...">
            <a:extLst>
              <a:ext uri="{FF2B5EF4-FFF2-40B4-BE49-F238E27FC236}">
                <a16:creationId xmlns:a16="http://schemas.microsoft.com/office/drawing/2014/main" id="{BED797C1-0A41-0BCE-3421-DEEB61E35FE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16326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635F3217-121B-5F21-C722-46CA6C527B94}"/>
              </a:ext>
            </a:extLst>
          </p:cNvPr>
          <p:cNvPicPr>
            <a:picLocks noChangeAspect="1"/>
          </p:cNvPicPr>
          <p:nvPr/>
        </p:nvPicPr>
        <p:blipFill rotWithShape="1">
          <a:blip r:embed="rId2"/>
          <a:srcRect t="1028" b="1972"/>
          <a:stretch/>
        </p:blipFill>
        <p:spPr>
          <a:xfrm>
            <a:off x="0" y="-1"/>
            <a:ext cx="12308114" cy="6858001"/>
          </a:xfrm>
          <a:prstGeom prst="rect">
            <a:avLst/>
          </a:prstGeom>
        </p:spPr>
      </p:pic>
      <p:sp>
        <p:nvSpPr>
          <p:cNvPr id="8" name="object 7">
            <a:extLst>
              <a:ext uri="{FF2B5EF4-FFF2-40B4-BE49-F238E27FC236}">
                <a16:creationId xmlns:a16="http://schemas.microsoft.com/office/drawing/2014/main" id="{C584C288-0DAF-DBF9-736C-B479DC8FCC51}"/>
              </a:ext>
            </a:extLst>
          </p:cNvPr>
          <p:cNvSpPr/>
          <p:nvPr/>
        </p:nvSpPr>
        <p:spPr>
          <a:xfrm>
            <a:off x="0" y="-1"/>
            <a:ext cx="1676400" cy="1137073"/>
          </a:xfrm>
          <a:custGeom>
            <a:avLst/>
            <a:gdLst/>
            <a:ahLst/>
            <a:cxnLst/>
            <a:rect l="l" t="t" r="r" b="b"/>
            <a:pathLst>
              <a:path w="1257300" h="852805">
                <a:moveTo>
                  <a:pt x="1257058" y="0"/>
                </a:moveTo>
                <a:lnTo>
                  <a:pt x="0" y="0"/>
                </a:lnTo>
                <a:lnTo>
                  <a:pt x="0" y="852424"/>
                </a:lnTo>
                <a:lnTo>
                  <a:pt x="1257058" y="0"/>
                </a:lnTo>
                <a:close/>
              </a:path>
            </a:pathLst>
          </a:custGeom>
          <a:solidFill>
            <a:srgbClr val="472C9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45354"/>
              </a:solidFill>
              <a:effectLst/>
              <a:uLnTx/>
              <a:uFillTx/>
              <a:latin typeface="Poppins Light"/>
              <a:ea typeface="+mn-ea"/>
              <a:cs typeface="+mn-cs"/>
            </a:endParaRPr>
          </a:p>
        </p:txBody>
      </p:sp>
      <p:sp>
        <p:nvSpPr>
          <p:cNvPr id="3" name="object 5">
            <a:extLst>
              <a:ext uri="{FF2B5EF4-FFF2-40B4-BE49-F238E27FC236}">
                <a16:creationId xmlns:a16="http://schemas.microsoft.com/office/drawing/2014/main" id="{8B2F4228-A736-B03F-C354-2606DA4F31E8}"/>
              </a:ext>
            </a:extLst>
          </p:cNvPr>
          <p:cNvSpPr/>
          <p:nvPr/>
        </p:nvSpPr>
        <p:spPr>
          <a:xfrm>
            <a:off x="4925182" y="4513793"/>
            <a:ext cx="7275472" cy="2356014"/>
          </a:xfrm>
          <a:custGeom>
            <a:avLst/>
            <a:gdLst/>
            <a:ahLst/>
            <a:cxnLst/>
            <a:rect l="l" t="t" r="r" b="b"/>
            <a:pathLst>
              <a:path w="5537200" h="1778000">
                <a:moveTo>
                  <a:pt x="5537200" y="0"/>
                </a:moveTo>
                <a:lnTo>
                  <a:pt x="877849" y="0"/>
                </a:lnTo>
                <a:lnTo>
                  <a:pt x="0" y="1778000"/>
                </a:lnTo>
                <a:lnTo>
                  <a:pt x="5537200" y="1778000"/>
                </a:lnTo>
                <a:lnTo>
                  <a:pt x="5537200" y="0"/>
                </a:lnTo>
                <a:close/>
              </a:path>
            </a:pathLst>
          </a:custGeom>
          <a:solidFill>
            <a:srgbClr val="4F37A2">
              <a:alpha val="63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4" name="object 6">
            <a:extLst>
              <a:ext uri="{FF2B5EF4-FFF2-40B4-BE49-F238E27FC236}">
                <a16:creationId xmlns:a16="http://schemas.microsoft.com/office/drawing/2014/main" id="{08DD85F6-56C9-4CF0-B93A-A7B6F16C246A}"/>
              </a:ext>
            </a:extLst>
          </p:cNvPr>
          <p:cNvSpPr txBox="1"/>
          <p:nvPr/>
        </p:nvSpPr>
        <p:spPr>
          <a:xfrm>
            <a:off x="5012313" y="4884063"/>
            <a:ext cx="5694407" cy="701047"/>
          </a:xfrm>
          <a:prstGeom prst="rect">
            <a:avLst/>
          </a:prstGeom>
        </p:spPr>
        <p:txBody>
          <a:bodyPr vert="horz" wrap="square" lIns="0" tIns="84667"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4000" b="1">
                <a:solidFill>
                  <a:srgbClr val="FFFFFF"/>
                </a:solidFill>
                <a:latin typeface="Poppins" pitchFamily="2" charset="77"/>
                <a:cs typeface="Poppins" pitchFamily="2" charset="77"/>
              </a:rPr>
              <a:t>Methodology</a:t>
            </a:r>
            <a:endParaRPr kumimoji="0" lang="en-US" sz="4000" b="1" i="0" u="none" strike="noStrike" kern="1200" cap="none" spc="0" normalizeH="0" baseline="0" noProof="0">
              <a:ln>
                <a:noFill/>
              </a:ln>
              <a:solidFill>
                <a:srgbClr val="FFFFFF"/>
              </a:solidFill>
              <a:effectLst/>
              <a:uLnTx/>
              <a:uFillTx/>
              <a:latin typeface="Poppins" pitchFamily="2" charset="77"/>
              <a:ea typeface="+mn-ea"/>
              <a:cs typeface="Poppins" pitchFamily="2" charset="77"/>
            </a:endParaRPr>
          </a:p>
        </p:txBody>
      </p:sp>
      <p:sp>
        <p:nvSpPr>
          <p:cNvPr id="5" name="object 8">
            <a:extLst>
              <a:ext uri="{FF2B5EF4-FFF2-40B4-BE49-F238E27FC236}">
                <a16:creationId xmlns:a16="http://schemas.microsoft.com/office/drawing/2014/main" id="{717A8C19-03E4-B81F-45D9-982050A6DF55}"/>
              </a:ext>
            </a:extLst>
          </p:cNvPr>
          <p:cNvSpPr/>
          <p:nvPr/>
        </p:nvSpPr>
        <p:spPr>
          <a:xfrm>
            <a:off x="6810921" y="488709"/>
            <a:ext cx="2097193" cy="2545080"/>
          </a:xfrm>
          <a:custGeom>
            <a:avLst/>
            <a:gdLst/>
            <a:ahLst/>
            <a:cxnLst/>
            <a:rect l="l" t="t" r="r" b="b"/>
            <a:pathLst>
              <a:path w="1572895" h="1908810">
                <a:moveTo>
                  <a:pt x="1103426" y="0"/>
                </a:moveTo>
                <a:lnTo>
                  <a:pt x="1102944" y="838"/>
                </a:lnTo>
                <a:lnTo>
                  <a:pt x="1102461" y="0"/>
                </a:lnTo>
                <a:lnTo>
                  <a:pt x="880846" y="383844"/>
                </a:lnTo>
                <a:lnTo>
                  <a:pt x="881354" y="384721"/>
                </a:lnTo>
                <a:lnTo>
                  <a:pt x="223240" y="1524609"/>
                </a:lnTo>
                <a:lnTo>
                  <a:pt x="221576" y="1524609"/>
                </a:lnTo>
                <a:lnTo>
                  <a:pt x="0" y="1908403"/>
                </a:lnTo>
                <a:lnTo>
                  <a:pt x="1572895" y="1908403"/>
                </a:lnTo>
                <a:lnTo>
                  <a:pt x="1351318" y="1524609"/>
                </a:lnTo>
                <a:lnTo>
                  <a:pt x="666407" y="1524609"/>
                </a:lnTo>
                <a:lnTo>
                  <a:pt x="1102944" y="768502"/>
                </a:lnTo>
                <a:lnTo>
                  <a:pt x="1142365" y="836777"/>
                </a:lnTo>
                <a:lnTo>
                  <a:pt x="1363954" y="452996"/>
                </a:lnTo>
                <a:lnTo>
                  <a:pt x="1324533" y="384721"/>
                </a:lnTo>
                <a:lnTo>
                  <a:pt x="1325041" y="383844"/>
                </a:lnTo>
                <a:lnTo>
                  <a:pt x="1103426" y="0"/>
                </a:lnTo>
                <a:close/>
              </a:path>
            </a:pathLst>
          </a:custGeom>
          <a:solidFill>
            <a:srgbClr val="8D80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45354"/>
              </a:solidFill>
              <a:effectLst/>
              <a:uLnTx/>
              <a:uFillTx/>
              <a:latin typeface="Poppins Light"/>
              <a:ea typeface="+mn-ea"/>
              <a:cs typeface="+mn-cs"/>
            </a:endParaRPr>
          </a:p>
        </p:txBody>
      </p:sp>
      <p:sp>
        <p:nvSpPr>
          <p:cNvPr id="6" name="object 9">
            <a:extLst>
              <a:ext uri="{FF2B5EF4-FFF2-40B4-BE49-F238E27FC236}">
                <a16:creationId xmlns:a16="http://schemas.microsoft.com/office/drawing/2014/main" id="{468B99D6-1EDA-9B6B-1005-C8807999B6A1}"/>
              </a:ext>
            </a:extLst>
          </p:cNvPr>
          <p:cNvSpPr txBox="1">
            <a:spLocks/>
          </p:cNvSpPr>
          <p:nvPr/>
        </p:nvSpPr>
        <p:spPr>
          <a:xfrm>
            <a:off x="8804550" y="1081096"/>
            <a:ext cx="2592793" cy="2492135"/>
          </a:xfrm>
          <a:prstGeom prst="rect">
            <a:avLst/>
          </a:prstGeom>
          <a:noFill/>
        </p:spPr>
        <p:txBody>
          <a:bodyPr spcFirstLastPara="1" vert="horz" wrap="square" lIns="0" tIns="16933" rIns="0" bIns="0" rtlCol="0" anchor="ctr" anchorCtr="0">
            <a:spAutoFit/>
          </a:bodyPr>
          <a:lstStyle>
            <a:lvl1pPr marL="0" algn="l" defTabSz="914400" rtl="0" eaLnBrk="1" latinLnBrk="0" hangingPunct="1">
              <a:lnSpc>
                <a:spcPct val="100000"/>
              </a:lnSpc>
              <a:spcBef>
                <a:spcPct val="0"/>
              </a:spcBef>
              <a:buNone/>
              <a:defRPr lang="en-US" sz="2400" b="0" i="0" kern="1200" dirty="0">
                <a:solidFill>
                  <a:srgbClr val="5E3FD1"/>
                </a:solidFill>
                <a:latin typeface="Poppins"/>
                <a:ea typeface="+mj-ea"/>
                <a:cs typeface="+mj-cs"/>
              </a:defRPr>
            </a:lvl1pPr>
          </a:lstStyle>
          <a:p>
            <a:pPr marL="16933" marR="0" lvl="0" indent="0" algn="l" defTabSz="914400" rtl="0" eaLnBrk="1" fontAlgn="auto" latinLnBrk="0" hangingPunct="1">
              <a:lnSpc>
                <a:spcPct val="100000"/>
              </a:lnSpc>
              <a:spcBef>
                <a:spcPts val="133"/>
              </a:spcBef>
              <a:spcAft>
                <a:spcPts val="0"/>
              </a:spcAft>
              <a:buClrTx/>
              <a:buSzTx/>
              <a:buFontTx/>
              <a:buNone/>
              <a:tabLst/>
              <a:defRPr/>
            </a:pPr>
            <a:r>
              <a:rPr kumimoji="0" lang="es-CO" sz="16000" b="1" i="0" u="none" strike="noStrike" kern="1200" cap="none" spc="-33" normalizeH="0" baseline="0" noProof="0">
                <a:ln>
                  <a:noFill/>
                </a:ln>
                <a:solidFill>
                  <a:srgbClr val="FFFFFF"/>
                </a:solidFill>
                <a:effectLst/>
                <a:uLnTx/>
                <a:uFillTx/>
                <a:latin typeface="Poppins" pitchFamily="2" charset="77"/>
                <a:ea typeface="+mj-ea"/>
                <a:cs typeface="Poppins" pitchFamily="2" charset="77"/>
              </a:rPr>
              <a:t>02</a:t>
            </a:r>
          </a:p>
        </p:txBody>
      </p:sp>
    </p:spTree>
    <p:extLst>
      <p:ext uri="{BB962C8B-B14F-4D97-AF65-F5344CB8AC3E}">
        <p14:creationId xmlns:p14="http://schemas.microsoft.com/office/powerpoint/2010/main" val="36821978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94C1BDAC-DAE8-D40D-E36A-597E8C0D9E42}"/>
              </a:ext>
            </a:extLst>
          </p:cNvPr>
          <p:cNvSpPr/>
          <p:nvPr/>
        </p:nvSpPr>
        <p:spPr>
          <a:xfrm>
            <a:off x="487168" y="3035714"/>
            <a:ext cx="3079076" cy="3316202"/>
          </a:xfrm>
          <a:prstGeom prst="roundRect">
            <a:avLst>
              <a:gd name="adj" fmla="val 6761"/>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F73A9C57-DC19-0C78-EA59-C208A330F6D3}"/>
              </a:ext>
            </a:extLst>
          </p:cNvPr>
          <p:cNvSpPr/>
          <p:nvPr/>
        </p:nvSpPr>
        <p:spPr>
          <a:xfrm>
            <a:off x="4210763" y="3008552"/>
            <a:ext cx="3079076" cy="3316202"/>
          </a:xfrm>
          <a:prstGeom prst="roundRect">
            <a:avLst>
              <a:gd name="adj" fmla="val 5770"/>
            </a:avLst>
          </a:prstGeom>
          <a:solidFill>
            <a:srgbClr val="8C7F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iangle 5">
            <a:extLst>
              <a:ext uri="{FF2B5EF4-FFF2-40B4-BE49-F238E27FC236}">
                <a16:creationId xmlns:a16="http://schemas.microsoft.com/office/drawing/2014/main" id="{A3D4ABC8-C041-9654-8551-BA30B44517DB}"/>
              </a:ext>
            </a:extLst>
          </p:cNvPr>
          <p:cNvSpPr/>
          <p:nvPr/>
        </p:nvSpPr>
        <p:spPr>
          <a:xfrm rot="5400000">
            <a:off x="2947902" y="4459223"/>
            <a:ext cx="1874622" cy="409757"/>
          </a:xfrm>
          <a:prstGeom prst="triangle">
            <a:avLst>
              <a:gd name="adj" fmla="val 50535"/>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O"/>
          </a:p>
        </p:txBody>
      </p:sp>
      <p:sp>
        <p:nvSpPr>
          <p:cNvPr id="12" name="CuadroTexto 11">
            <a:extLst>
              <a:ext uri="{FF2B5EF4-FFF2-40B4-BE49-F238E27FC236}">
                <a16:creationId xmlns:a16="http://schemas.microsoft.com/office/drawing/2014/main" id="{F552113D-78ED-898E-7145-43D4D898CD27}"/>
              </a:ext>
            </a:extLst>
          </p:cNvPr>
          <p:cNvSpPr txBox="1"/>
          <p:nvPr/>
        </p:nvSpPr>
        <p:spPr>
          <a:xfrm>
            <a:off x="496395" y="1380534"/>
            <a:ext cx="6857765" cy="113877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75000"/>
                  </a:schemeClr>
                </a:solidFill>
                <a:latin typeface="Poppins"/>
                <a:ea typeface="+mj-lt"/>
                <a:cs typeface="Poppins"/>
              </a:rPr>
              <a:t>IOTA Impact proposes a comprehensive approach to analyze the U.S. beauty industry retailer market, focusing on key areas that impact market dynamics and campaign execution to bullet proof </a:t>
            </a:r>
            <a:r>
              <a:rPr lang="en-US" sz="1600" dirty="0" err="1">
                <a:solidFill>
                  <a:schemeClr val="tx1">
                    <a:lumMod val="75000"/>
                  </a:schemeClr>
                </a:solidFill>
                <a:latin typeface="Poppins"/>
                <a:ea typeface="+mj-lt"/>
                <a:cs typeface="Poppins"/>
              </a:rPr>
              <a:t>Belcorp´s</a:t>
            </a:r>
            <a:r>
              <a:rPr lang="en-US" sz="1600" dirty="0">
                <a:solidFill>
                  <a:schemeClr val="tx1">
                    <a:lumMod val="75000"/>
                  </a:schemeClr>
                </a:solidFill>
                <a:latin typeface="Poppins"/>
                <a:ea typeface="+mj-lt"/>
                <a:cs typeface="Poppins"/>
              </a:rPr>
              <a:t> go – to market strategy</a:t>
            </a:r>
            <a:r>
              <a:rPr lang="en-US" sz="2000" dirty="0">
                <a:solidFill>
                  <a:schemeClr val="tx1">
                    <a:lumMod val="76000"/>
                    <a:lumOff val="24000"/>
                  </a:schemeClr>
                </a:solidFill>
                <a:latin typeface="Poppins Light"/>
                <a:cs typeface="Poppins Medium"/>
              </a:rPr>
              <a:t>. </a:t>
            </a:r>
            <a:endParaRPr lang="es-CO" sz="2000" b="0" i="0" u="none" strike="noStrike" kern="1200" cap="none" spc="0" normalizeH="0" baseline="0" noProof="0" dirty="0">
              <a:ln>
                <a:noFill/>
              </a:ln>
              <a:solidFill>
                <a:schemeClr val="tx1">
                  <a:lumMod val="76000"/>
                  <a:lumOff val="24000"/>
                </a:schemeClr>
              </a:solidFill>
              <a:effectLst/>
              <a:uLnTx/>
              <a:uFillTx/>
              <a:latin typeface="Poppins Light"/>
              <a:cs typeface="Poppins Medium"/>
            </a:endParaRPr>
          </a:p>
        </p:txBody>
      </p:sp>
      <p:sp>
        <p:nvSpPr>
          <p:cNvPr id="10" name="object 7">
            <a:extLst>
              <a:ext uri="{FF2B5EF4-FFF2-40B4-BE49-F238E27FC236}">
                <a16:creationId xmlns:a16="http://schemas.microsoft.com/office/drawing/2014/main" id="{876A170D-F86F-7089-05A3-65B382F70C35}"/>
              </a:ext>
            </a:extLst>
          </p:cNvPr>
          <p:cNvSpPr txBox="1">
            <a:spLocks/>
          </p:cNvSpPr>
          <p:nvPr/>
        </p:nvSpPr>
        <p:spPr>
          <a:xfrm>
            <a:off x="494516" y="548809"/>
            <a:ext cx="10665031" cy="460120"/>
          </a:xfrm>
          <a:prstGeom prst="rect">
            <a:avLst/>
          </a:prstGeom>
        </p:spPr>
        <p:txBody>
          <a:bodyPr vert="horz" wrap="square" lIns="0" tIns="71622"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kern="100" dirty="0">
                <a:solidFill>
                  <a:srgbClr val="442E98"/>
                </a:solidFill>
                <a:latin typeface="Poppins Bold"/>
                <a:ea typeface="Calibri"/>
                <a:cs typeface="Times New Roman"/>
              </a:rPr>
              <a:t> </a:t>
            </a:r>
            <a:r>
              <a:rPr lang="en-US" sz="2400" dirty="0">
                <a:solidFill>
                  <a:srgbClr val="442E98"/>
                </a:solidFill>
                <a:cs typeface="Poppins"/>
              </a:rPr>
              <a:t>Proposed Methodology</a:t>
            </a:r>
          </a:p>
        </p:txBody>
      </p:sp>
      <p:sp>
        <p:nvSpPr>
          <p:cNvPr id="11" name="Rectángulo 13">
            <a:extLst>
              <a:ext uri="{FF2B5EF4-FFF2-40B4-BE49-F238E27FC236}">
                <a16:creationId xmlns:a16="http://schemas.microsoft.com/office/drawing/2014/main" id="{A858DC3B-70A2-C057-33E0-26378F85CD3D}"/>
              </a:ext>
            </a:extLst>
          </p:cNvPr>
          <p:cNvSpPr/>
          <p:nvPr/>
        </p:nvSpPr>
        <p:spPr>
          <a:xfrm>
            <a:off x="8036485" y="1291"/>
            <a:ext cx="4159502" cy="6856709"/>
          </a:xfrm>
          <a:prstGeom prst="rect">
            <a:avLst/>
          </a:prstGeom>
          <a:solidFill>
            <a:srgbClr val="8D8BD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en-US" sz="1400" dirty="0"/>
          </a:p>
          <a:p>
            <a:endParaRPr lang="en-US" sz="1400" dirty="0"/>
          </a:p>
          <a:p>
            <a:r>
              <a:rPr lang="en-US" sz="1400" dirty="0"/>
              <a:t>The output of this approach centers around </a:t>
            </a:r>
            <a:r>
              <a:rPr lang="en-US" sz="1400" b="1" dirty="0"/>
              <a:t>sales planning</a:t>
            </a:r>
            <a:r>
              <a:rPr lang="en-US" sz="1400" dirty="0"/>
              <a:t>, specifically focusing on how many sales can be expected on a monthly basis. </a:t>
            </a:r>
          </a:p>
          <a:p>
            <a:endParaRPr lang="en-US" sz="1400" dirty="0"/>
          </a:p>
          <a:p>
            <a:r>
              <a:rPr lang="en-US" sz="1400" dirty="0"/>
              <a:t>This forecast would be influenced by </a:t>
            </a:r>
            <a:r>
              <a:rPr lang="en-US" sz="1400"/>
              <a:t>three </a:t>
            </a:r>
            <a:r>
              <a:rPr lang="en-US" sz="1400" dirty="0"/>
              <a:t>key factors:</a:t>
            </a:r>
          </a:p>
          <a:p>
            <a:pPr>
              <a:buFont typeface="+mj-lt"/>
              <a:buAutoNum type="arabicPeriod"/>
            </a:pPr>
            <a:r>
              <a:rPr lang="en-US" sz="1400" b="1" dirty="0"/>
              <a:t>Retailer Integration</a:t>
            </a:r>
            <a:r>
              <a:rPr lang="en-US" sz="1400" dirty="0"/>
              <a:t>: As new retailers are brought into the campaign, the sales potential grows. It is crucial to track and project how each retailer contributes to overall sales, allowing </a:t>
            </a:r>
            <a:r>
              <a:rPr lang="en-US" sz="1400" dirty="0" err="1"/>
              <a:t>Belcorp</a:t>
            </a:r>
            <a:r>
              <a:rPr lang="en-US" sz="1400" dirty="0"/>
              <a:t> to plan inventory and distribution accordingly.</a:t>
            </a:r>
          </a:p>
          <a:p>
            <a:pPr>
              <a:buAutoNum type="arabicPeriod"/>
            </a:pPr>
            <a:endParaRPr lang="en-US" sz="1400" b="1"/>
          </a:p>
          <a:p>
            <a:pPr>
              <a:buAutoNum type="arabicPeriod"/>
            </a:pPr>
            <a:r>
              <a:rPr lang="en-US" sz="1400" b="1"/>
              <a:t>Seasonality:</a:t>
            </a:r>
            <a:r>
              <a:rPr lang="en-US" sz="1400"/>
              <a:t> Retail Beauty sales are very seasonal, experiencing discrete peaks on sales on specific periods of time across all players in each retailer</a:t>
            </a:r>
          </a:p>
          <a:p>
            <a:endParaRPr lang="en-US" sz="1400"/>
          </a:p>
          <a:p>
            <a:r>
              <a:rPr lang="en-US" sz="1400" b="1"/>
              <a:t>3</a:t>
            </a:r>
            <a:r>
              <a:rPr lang="en-US" sz="1400" b="1" dirty="0"/>
              <a:t>. Marketing </a:t>
            </a:r>
            <a:r>
              <a:rPr lang="en-US" sz="1400" b="1"/>
              <a:t>campaigns</a:t>
            </a:r>
            <a:r>
              <a:rPr lang="en-US" sz="1400"/>
              <a:t>: Specific retailers define mandatory campaigns to be executed</a:t>
            </a:r>
            <a:r>
              <a:rPr lang="en-US" sz="1400" dirty="0"/>
              <a:t> across </a:t>
            </a:r>
            <a:r>
              <a:rPr lang="en-US" sz="1400"/>
              <a:t>a year. Additionally</a:t>
            </a:r>
            <a:r>
              <a:rPr lang="en-US" sz="1400" dirty="0"/>
              <a:t>, </a:t>
            </a:r>
            <a:r>
              <a:rPr lang="en-US" sz="1400"/>
              <a:t>they allow trade marketing campaigns in store. It is relevant to plan </a:t>
            </a:r>
            <a:r>
              <a:rPr lang="en-US" sz="1400" dirty="0"/>
              <a:t>and </a:t>
            </a:r>
            <a:r>
              <a:rPr lang="en-US" sz="1400"/>
              <a:t>forecast </a:t>
            </a:r>
            <a:r>
              <a:rPr lang="en-US" sz="1400" dirty="0"/>
              <a:t>the </a:t>
            </a:r>
            <a:r>
              <a:rPr lang="en-US" sz="1400"/>
              <a:t>impact </a:t>
            </a:r>
            <a:r>
              <a:rPr lang="en-US" sz="1400" dirty="0"/>
              <a:t>of each </a:t>
            </a:r>
            <a:r>
              <a:rPr lang="en-US" sz="1400"/>
              <a:t>campaign as well as time it with seasonality effects and competitors actions. Additionally</a:t>
            </a:r>
            <a:r>
              <a:rPr lang="en-US" sz="1400" dirty="0"/>
              <a:t>, </a:t>
            </a:r>
            <a:r>
              <a:rPr lang="en-US" sz="1400"/>
              <a:t>national level digital campaigns </a:t>
            </a:r>
            <a:r>
              <a:rPr lang="en-US" sz="1400" dirty="0"/>
              <a:t>will </a:t>
            </a:r>
            <a:r>
              <a:rPr lang="en-US" sz="1400"/>
              <a:t>also </a:t>
            </a:r>
            <a:r>
              <a:rPr lang="en-US" sz="1400" dirty="0"/>
              <a:t>provide </a:t>
            </a:r>
            <a:r>
              <a:rPr lang="en-US" sz="1400"/>
              <a:t>impact across all retailers</a:t>
            </a:r>
            <a:endParaRPr lang="en-US"/>
          </a:p>
        </p:txBody>
      </p:sp>
      <p:sp>
        <p:nvSpPr>
          <p:cNvPr id="2" name="CuadroTexto 14">
            <a:extLst>
              <a:ext uri="{FF2B5EF4-FFF2-40B4-BE49-F238E27FC236}">
                <a16:creationId xmlns:a16="http://schemas.microsoft.com/office/drawing/2014/main" id="{903B8CDE-E5E2-51B4-A2D3-3D2594593A78}"/>
              </a:ext>
            </a:extLst>
          </p:cNvPr>
          <p:cNvSpPr txBox="1"/>
          <p:nvPr/>
        </p:nvSpPr>
        <p:spPr>
          <a:xfrm>
            <a:off x="9119553" y="305179"/>
            <a:ext cx="199336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600" b="1" dirty="0">
                <a:solidFill>
                  <a:prstClr val="white"/>
                </a:solidFill>
                <a:latin typeface="Aptos Display" panose="02110004020202020204"/>
                <a:cs typeface="Poppins"/>
              </a:rPr>
              <a:t>OUTPUT </a:t>
            </a:r>
            <a:endParaRPr kumimoji="0" lang="en-US" sz="3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CuadroTexto 2">
            <a:extLst>
              <a:ext uri="{FF2B5EF4-FFF2-40B4-BE49-F238E27FC236}">
                <a16:creationId xmlns:a16="http://schemas.microsoft.com/office/drawing/2014/main" id="{C98A3492-C18D-DB18-1B37-9163B19FC6F4}"/>
              </a:ext>
            </a:extLst>
          </p:cNvPr>
          <p:cNvSpPr txBox="1"/>
          <p:nvPr/>
        </p:nvSpPr>
        <p:spPr>
          <a:xfrm>
            <a:off x="937207" y="4068462"/>
            <a:ext cx="23168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ptos Display" panose="02110004020202020204"/>
                <a:ea typeface="+mn-ea"/>
                <a:cs typeface="Poppins"/>
              </a:rPr>
              <a:t>Planning Phase </a:t>
            </a: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2" name="Rectángulo 31">
            <a:extLst>
              <a:ext uri="{FF2B5EF4-FFF2-40B4-BE49-F238E27FC236}">
                <a16:creationId xmlns:a16="http://schemas.microsoft.com/office/drawing/2014/main" id="{40C10643-B71B-E9A1-BD7A-D8EB987AF7BD}"/>
              </a:ext>
            </a:extLst>
          </p:cNvPr>
          <p:cNvSpPr/>
          <p:nvPr/>
        </p:nvSpPr>
        <p:spPr>
          <a:xfrm rot="10800000" flipV="1">
            <a:off x="1287159" y="4549975"/>
            <a:ext cx="1366280" cy="431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7" name="Rectángulo 46">
            <a:extLst>
              <a:ext uri="{FF2B5EF4-FFF2-40B4-BE49-F238E27FC236}">
                <a16:creationId xmlns:a16="http://schemas.microsoft.com/office/drawing/2014/main" id="{C7E68E7F-C7BE-14A1-27DD-231BD646710D}"/>
              </a:ext>
            </a:extLst>
          </p:cNvPr>
          <p:cNvSpPr/>
          <p:nvPr/>
        </p:nvSpPr>
        <p:spPr>
          <a:xfrm rot="10800000" flipV="1">
            <a:off x="5143891" y="4571568"/>
            <a:ext cx="1366280" cy="431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8" name="Picture 17" descr="A map pointer and circles&#10;&#10;Description automatically generated">
            <a:extLst>
              <a:ext uri="{FF2B5EF4-FFF2-40B4-BE49-F238E27FC236}">
                <a16:creationId xmlns:a16="http://schemas.microsoft.com/office/drawing/2014/main" id="{56B13916-4028-FE7C-90DC-FA5804584347}"/>
              </a:ext>
            </a:extLst>
          </p:cNvPr>
          <p:cNvPicPr>
            <a:picLocks noChangeAspect="1"/>
          </p:cNvPicPr>
          <p:nvPr/>
        </p:nvPicPr>
        <p:blipFill>
          <a:blip r:embed="rId2">
            <a:biLevel thresh="25000"/>
          </a:blip>
          <a:stretch>
            <a:fillRect/>
          </a:stretch>
        </p:blipFill>
        <p:spPr>
          <a:xfrm>
            <a:off x="1706368" y="3238597"/>
            <a:ext cx="644878" cy="600288"/>
          </a:xfrm>
          <a:prstGeom prst="rect">
            <a:avLst/>
          </a:prstGeom>
        </p:spPr>
      </p:pic>
      <p:pic>
        <p:nvPicPr>
          <p:cNvPr id="19" name="Picture 18" descr="A person sitting in a magnifying glass&#10;&#10;Description automatically generated">
            <a:extLst>
              <a:ext uri="{FF2B5EF4-FFF2-40B4-BE49-F238E27FC236}">
                <a16:creationId xmlns:a16="http://schemas.microsoft.com/office/drawing/2014/main" id="{C37B4831-9DAC-64E0-5925-184E3EEDB81E}"/>
              </a:ext>
            </a:extLst>
          </p:cNvPr>
          <p:cNvPicPr>
            <a:picLocks noChangeAspect="1"/>
          </p:cNvPicPr>
          <p:nvPr/>
        </p:nvPicPr>
        <p:blipFill>
          <a:blip r:embed="rId3">
            <a:biLevel thresh="25000"/>
          </a:blip>
          <a:stretch>
            <a:fillRect/>
          </a:stretch>
        </p:blipFill>
        <p:spPr>
          <a:xfrm>
            <a:off x="5378416" y="3191532"/>
            <a:ext cx="745241" cy="695356"/>
          </a:xfrm>
          <a:prstGeom prst="rect">
            <a:avLst/>
          </a:prstGeom>
        </p:spPr>
      </p:pic>
      <p:pic>
        <p:nvPicPr>
          <p:cNvPr id="21" name="Picture 20" descr="A blue and black object with a circle&#10;&#10;Description automatically generated">
            <a:extLst>
              <a:ext uri="{FF2B5EF4-FFF2-40B4-BE49-F238E27FC236}">
                <a16:creationId xmlns:a16="http://schemas.microsoft.com/office/drawing/2014/main" id="{A9429B57-F902-F99B-088B-54000D1CC8A6}"/>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8459334" y="149176"/>
            <a:ext cx="519794" cy="739129"/>
          </a:xfrm>
          <a:prstGeom prst="rect">
            <a:avLst/>
          </a:prstGeom>
        </p:spPr>
      </p:pic>
      <p:sp>
        <p:nvSpPr>
          <p:cNvPr id="22" name="Rectángulo 46">
            <a:extLst>
              <a:ext uri="{FF2B5EF4-FFF2-40B4-BE49-F238E27FC236}">
                <a16:creationId xmlns:a16="http://schemas.microsoft.com/office/drawing/2014/main" id="{CE3C22C1-A097-0CE6-05F1-766AD50C7A3B}"/>
              </a:ext>
            </a:extLst>
          </p:cNvPr>
          <p:cNvSpPr/>
          <p:nvPr/>
        </p:nvSpPr>
        <p:spPr>
          <a:xfrm rot="10800000" flipV="1">
            <a:off x="9098870" y="866773"/>
            <a:ext cx="2034732" cy="45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1" name="Triangle 5">
            <a:extLst>
              <a:ext uri="{FF2B5EF4-FFF2-40B4-BE49-F238E27FC236}">
                <a16:creationId xmlns:a16="http://schemas.microsoft.com/office/drawing/2014/main" id="{0DBD6D61-5986-CB9D-DD9D-2B61A4C82F30}"/>
              </a:ext>
            </a:extLst>
          </p:cNvPr>
          <p:cNvSpPr/>
          <p:nvPr/>
        </p:nvSpPr>
        <p:spPr>
          <a:xfrm rot="5400000">
            <a:off x="6677219" y="4459223"/>
            <a:ext cx="1874622" cy="409757"/>
          </a:xfrm>
          <a:prstGeom prst="triangle">
            <a:avLst>
              <a:gd name="adj" fmla="val 50535"/>
            </a:avLst>
          </a:prstGeom>
          <a:solidFill>
            <a:srgbClr val="8C7F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O"/>
          </a:p>
        </p:txBody>
      </p:sp>
      <p:sp>
        <p:nvSpPr>
          <p:cNvPr id="33" name="CuadroTexto 32">
            <a:extLst>
              <a:ext uri="{FF2B5EF4-FFF2-40B4-BE49-F238E27FC236}">
                <a16:creationId xmlns:a16="http://schemas.microsoft.com/office/drawing/2014/main" id="{8D473CC9-6265-2870-4D1C-29424148B631}"/>
              </a:ext>
            </a:extLst>
          </p:cNvPr>
          <p:cNvSpPr txBox="1"/>
          <p:nvPr/>
        </p:nvSpPr>
        <p:spPr>
          <a:xfrm>
            <a:off x="990468" y="4825084"/>
            <a:ext cx="2122846" cy="1384995"/>
          </a:xfrm>
          <a:prstGeom prst="rect">
            <a:avLst/>
          </a:prstGeom>
          <a:noFill/>
        </p:spPr>
        <p:txBody>
          <a:bodyPr wrap="square" lIns="91440" tIns="45720" rIns="91440" bIns="45720" rtlCol="0" anchor="t">
            <a:spAutoFit/>
          </a:bodyPr>
          <a:lstStyle/>
          <a:p>
            <a:pPr>
              <a:defRPr/>
            </a:pPr>
            <a:r>
              <a:rPr lang="en-US" sz="2800" b="1">
                <a:solidFill>
                  <a:prstClr val="white"/>
                </a:solidFill>
                <a:latin typeface="Aptos Display" panose="02110004020202020204"/>
                <a:cs typeface="Poppins"/>
              </a:rPr>
              <a:t>Revenue and campaign projections</a:t>
            </a:r>
          </a:p>
        </p:txBody>
      </p:sp>
      <p:sp>
        <p:nvSpPr>
          <p:cNvPr id="34" name="CuadroTexto 33">
            <a:extLst>
              <a:ext uri="{FF2B5EF4-FFF2-40B4-BE49-F238E27FC236}">
                <a16:creationId xmlns:a16="http://schemas.microsoft.com/office/drawing/2014/main" id="{A5F48FCE-E01C-43D9-F3F6-DCE10D8D2EC0}"/>
              </a:ext>
            </a:extLst>
          </p:cNvPr>
          <p:cNvSpPr txBox="1"/>
          <p:nvPr/>
        </p:nvSpPr>
        <p:spPr>
          <a:xfrm>
            <a:off x="4632144" y="4068461"/>
            <a:ext cx="244178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a:solidFill>
                  <a:prstClr val="white"/>
                </a:solidFill>
                <a:latin typeface="Aptos Display" panose="02110004020202020204"/>
                <a:cs typeface="Poppins"/>
              </a:rPr>
              <a:t>Evaluation</a:t>
            </a:r>
            <a:r>
              <a:rPr kumimoji="0" lang="en-US" sz="2400" b="1" i="0" u="none" strike="noStrike" kern="1200" cap="none" spc="0" normalizeH="0" baseline="0" noProof="0">
                <a:ln>
                  <a:noFill/>
                </a:ln>
                <a:solidFill>
                  <a:prstClr val="white"/>
                </a:solidFill>
                <a:effectLst/>
                <a:uLnTx/>
                <a:uFillTx/>
                <a:latin typeface="Aptos Display" panose="02110004020202020204"/>
                <a:ea typeface="+mn-ea"/>
                <a:cs typeface="Poppins"/>
              </a:rPr>
              <a:t> Phase </a:t>
            </a: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5" name="CuadroTexto 34">
            <a:extLst>
              <a:ext uri="{FF2B5EF4-FFF2-40B4-BE49-F238E27FC236}">
                <a16:creationId xmlns:a16="http://schemas.microsoft.com/office/drawing/2014/main" id="{3DB574AF-9508-8741-599F-911EFF5217A3}"/>
              </a:ext>
            </a:extLst>
          </p:cNvPr>
          <p:cNvSpPr txBox="1"/>
          <p:nvPr/>
        </p:nvSpPr>
        <p:spPr>
          <a:xfrm>
            <a:off x="4734498" y="4825083"/>
            <a:ext cx="2122846" cy="1384995"/>
          </a:xfrm>
          <a:prstGeom prst="rect">
            <a:avLst/>
          </a:prstGeom>
          <a:noFill/>
        </p:spPr>
        <p:txBody>
          <a:bodyPr wrap="square" lIns="91440" tIns="45720" rIns="91440" bIns="45720" rtlCol="0" anchor="t">
            <a:spAutoFit/>
          </a:bodyPr>
          <a:lstStyle/>
          <a:p>
            <a:pPr>
              <a:defRPr/>
            </a:pPr>
            <a:r>
              <a:rPr lang="en-US" sz="2800" b="1">
                <a:solidFill>
                  <a:prstClr val="white"/>
                </a:solidFill>
                <a:latin typeface="Aptos Display" panose="02110004020202020204"/>
                <a:cs typeface="Poppins"/>
              </a:rPr>
              <a:t>Sales Attribution &amp; Evaluation</a:t>
            </a:r>
            <a:endParaRPr lang="en-US">
              <a:solidFill>
                <a:prstClr val="white"/>
              </a:solidFill>
              <a:ea typeface="+mn-ea"/>
              <a:cs typeface="+mn-cs"/>
            </a:endParaRPr>
          </a:p>
        </p:txBody>
      </p:sp>
    </p:spTree>
    <p:extLst>
      <p:ext uri="{BB962C8B-B14F-4D97-AF65-F5344CB8AC3E}">
        <p14:creationId xmlns:p14="http://schemas.microsoft.com/office/powerpoint/2010/main" val="24848958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ángulo 36">
            <a:extLst>
              <a:ext uri="{FF2B5EF4-FFF2-40B4-BE49-F238E27FC236}">
                <a16:creationId xmlns:a16="http://schemas.microsoft.com/office/drawing/2014/main" id="{F37B525E-211D-CBD1-07E9-94EE30AA6A83}"/>
              </a:ext>
            </a:extLst>
          </p:cNvPr>
          <p:cNvSpPr/>
          <p:nvPr/>
        </p:nvSpPr>
        <p:spPr>
          <a:xfrm>
            <a:off x="704193" y="2208574"/>
            <a:ext cx="7198841" cy="4662441"/>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sp>
        <p:nvSpPr>
          <p:cNvPr id="4" name="object 7">
            <a:extLst>
              <a:ext uri="{FF2B5EF4-FFF2-40B4-BE49-F238E27FC236}">
                <a16:creationId xmlns:a16="http://schemas.microsoft.com/office/drawing/2014/main" id="{2E924692-48BC-74CB-F9CC-4BA04122D620}"/>
              </a:ext>
            </a:extLst>
          </p:cNvPr>
          <p:cNvSpPr txBox="1">
            <a:spLocks noGrp="1"/>
          </p:cNvSpPr>
          <p:nvPr>
            <p:ph type="title"/>
          </p:nvPr>
        </p:nvSpPr>
        <p:spPr>
          <a:xfrm>
            <a:off x="1112742" y="261262"/>
            <a:ext cx="10550013" cy="503209"/>
          </a:xfrm>
          <a:prstGeom prst="rect">
            <a:avLst/>
          </a:prstGeom>
        </p:spPr>
        <p:txBody>
          <a:bodyPr vert="horz" wrap="square" lIns="0" tIns="71622" rIns="0" bIns="0" rtlCol="0">
            <a:spAutoFit/>
          </a:bodyPr>
          <a:lstStyle/>
          <a:p>
            <a:r>
              <a:rPr lang="en-US" sz="2800" kern="100" dirty="0">
                <a:latin typeface="Calibri"/>
                <a:ea typeface="Calibri"/>
                <a:cs typeface="Times New Roman"/>
              </a:rPr>
              <a:t> </a:t>
            </a:r>
            <a:r>
              <a:rPr lang="en-US" dirty="0">
                <a:solidFill>
                  <a:srgbClr val="442E98"/>
                </a:solidFill>
                <a:latin typeface="+mj-lt"/>
                <a:cs typeface="Poppins"/>
              </a:rPr>
              <a:t>Methodology</a:t>
            </a:r>
          </a:p>
        </p:txBody>
      </p:sp>
      <p:sp>
        <p:nvSpPr>
          <p:cNvPr id="5" name="CuadroTexto 4">
            <a:extLst>
              <a:ext uri="{FF2B5EF4-FFF2-40B4-BE49-F238E27FC236}">
                <a16:creationId xmlns:a16="http://schemas.microsoft.com/office/drawing/2014/main" id="{B6C32AB8-0A2C-3704-C518-FECBBE92DC38}"/>
              </a:ext>
            </a:extLst>
          </p:cNvPr>
          <p:cNvSpPr txBox="1"/>
          <p:nvPr/>
        </p:nvSpPr>
        <p:spPr>
          <a:xfrm>
            <a:off x="1640034" y="1569129"/>
            <a:ext cx="2650337"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100">
                <a:solidFill>
                  <a:srgbClr val="442E98"/>
                </a:solidFill>
                <a:latin typeface="Poppins Medium"/>
                <a:ea typeface="Calibri"/>
                <a:cs typeface="Poppins Medium"/>
              </a:rPr>
              <a:t>Retailer Assessment</a:t>
            </a:r>
            <a:endParaRPr kumimoji="0" lang="en-US" sz="1800" b="0" i="0" u="none" strike="noStrike" kern="100" cap="none" spc="0" normalizeH="0" baseline="0" noProof="0">
              <a:ln>
                <a:noFill/>
              </a:ln>
              <a:solidFill>
                <a:srgbClr val="442E98"/>
              </a:solidFill>
              <a:effectLst/>
              <a:uLnTx/>
              <a:uFillTx/>
              <a:latin typeface="Poppins Medium" pitchFamily="2" charset="77"/>
              <a:ea typeface="Calibri" panose="020F0502020204030204" pitchFamily="34" charset="0"/>
              <a:cs typeface="Poppins Medium" pitchFamily="2" charset="77"/>
            </a:endParaRPr>
          </a:p>
        </p:txBody>
      </p:sp>
      <p:sp>
        <p:nvSpPr>
          <p:cNvPr id="8" name="object 22">
            <a:extLst>
              <a:ext uri="{FF2B5EF4-FFF2-40B4-BE49-F238E27FC236}">
                <a16:creationId xmlns:a16="http://schemas.microsoft.com/office/drawing/2014/main" id="{C325521A-027C-4E0F-7A5B-6C80B9C1A570}"/>
              </a:ext>
            </a:extLst>
          </p:cNvPr>
          <p:cNvSpPr txBox="1"/>
          <p:nvPr/>
        </p:nvSpPr>
        <p:spPr>
          <a:xfrm>
            <a:off x="1249301" y="1433845"/>
            <a:ext cx="333375" cy="748774"/>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sz="4800" b="1" i="0" u="none" strike="noStrike" kern="1200" cap="none" spc="-30" normalizeH="0" baseline="0" noProof="0">
                <a:ln>
                  <a:noFill/>
                </a:ln>
                <a:solidFill>
                  <a:srgbClr val="442E98"/>
                </a:solidFill>
                <a:effectLst/>
                <a:uLnTx/>
                <a:uFillTx/>
                <a:latin typeface="Poppins"/>
                <a:ea typeface="+mn-ea"/>
                <a:cs typeface="Poppins"/>
              </a:rPr>
              <a:t>1</a:t>
            </a:r>
            <a:endParaRPr kumimoji="0" sz="4800" b="0" i="0" u="none" strike="noStrike" kern="1200" cap="none" spc="0" normalizeH="0" baseline="0" noProof="0">
              <a:ln>
                <a:noFill/>
              </a:ln>
              <a:solidFill>
                <a:srgbClr val="442E98"/>
              </a:solidFill>
              <a:effectLst/>
              <a:uLnTx/>
              <a:uFillTx/>
              <a:latin typeface="Poppins"/>
              <a:ea typeface="+mn-ea"/>
              <a:cs typeface="Poppins"/>
            </a:endParaRPr>
          </a:p>
        </p:txBody>
      </p:sp>
      <p:sp>
        <p:nvSpPr>
          <p:cNvPr id="19" name="Rectángulo 18">
            <a:extLst>
              <a:ext uri="{FF2B5EF4-FFF2-40B4-BE49-F238E27FC236}">
                <a16:creationId xmlns:a16="http://schemas.microsoft.com/office/drawing/2014/main" id="{7E38FB2E-208E-C6DB-EE8A-FCF99ABEEF17}"/>
              </a:ext>
            </a:extLst>
          </p:cNvPr>
          <p:cNvSpPr/>
          <p:nvPr/>
        </p:nvSpPr>
        <p:spPr>
          <a:xfrm rot="10800000">
            <a:off x="1736038" y="1964417"/>
            <a:ext cx="2458328" cy="65812"/>
          </a:xfrm>
          <a:prstGeom prst="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Poppins Light"/>
              <a:ea typeface="+mn-ea"/>
              <a:cs typeface="+mn-cs"/>
            </a:endParaRPr>
          </a:p>
        </p:txBody>
      </p:sp>
      <p:pic>
        <p:nvPicPr>
          <p:cNvPr id="49" name="Imagen 48">
            <a:extLst>
              <a:ext uri="{FF2B5EF4-FFF2-40B4-BE49-F238E27FC236}">
                <a16:creationId xmlns:a16="http://schemas.microsoft.com/office/drawing/2014/main" id="{4FEC9B1A-D8EA-8C92-4F05-87BD3F5D7C9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26874" y="1622995"/>
            <a:ext cx="435851" cy="410288"/>
          </a:xfrm>
          <a:prstGeom prst="rect">
            <a:avLst/>
          </a:prstGeom>
        </p:spPr>
      </p:pic>
      <p:sp>
        <p:nvSpPr>
          <p:cNvPr id="11" name="CuadroTexto 10">
            <a:extLst>
              <a:ext uri="{FF2B5EF4-FFF2-40B4-BE49-F238E27FC236}">
                <a16:creationId xmlns:a16="http://schemas.microsoft.com/office/drawing/2014/main" id="{06D368A2-32B4-4656-5C66-6B8C1E22D22B}"/>
              </a:ext>
            </a:extLst>
          </p:cNvPr>
          <p:cNvSpPr txBox="1"/>
          <p:nvPr/>
        </p:nvSpPr>
        <p:spPr>
          <a:xfrm>
            <a:off x="1458021" y="2675879"/>
            <a:ext cx="5944265" cy="437042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100" cap="none" spc="0" normalizeH="0" baseline="0" noProof="0">
                <a:ln>
                  <a:noFill/>
                </a:ln>
                <a:solidFill>
                  <a:schemeClr val="bg1"/>
                </a:solidFill>
                <a:effectLst/>
                <a:uLnTx/>
                <a:uFillTx/>
                <a:latin typeface="Poppins"/>
                <a:ea typeface="Calibri" panose="020F0502020204030204" pitchFamily="34" charset="0"/>
                <a:cs typeface="Times New Roman" panose="02020603050405020304" pitchFamily="18" charset="0"/>
              </a:rPr>
              <a:t>Breakdown by retailor/doo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00" cap="none" spc="0" normalizeH="0" baseline="0" noProof="0">
                <a:ln>
                  <a:noFill/>
                </a:ln>
                <a:solidFill>
                  <a:schemeClr val="bg1"/>
                </a:solidFill>
                <a:effectLst/>
                <a:uLnTx/>
                <a:uFillTx/>
                <a:latin typeface="Poppins"/>
                <a:ea typeface="Calibri" panose="020F0502020204030204" pitchFamily="34" charset="0"/>
                <a:cs typeface="Times New Roman" panose="02020603050405020304" pitchFamily="18" charset="0"/>
              </a:rPr>
              <a:t>In depth profile for each selected retailer</a:t>
            </a:r>
          </a:p>
          <a:p>
            <a:pPr marL="742950" lvl="1" indent="-285750">
              <a:buFont typeface="Arial" panose="020B0604020202020204" pitchFamily="34" charset="0"/>
              <a:buChar char="•"/>
            </a:pPr>
            <a:r>
              <a:rPr lang="en-US" sz="1200" kern="100">
                <a:solidFill>
                  <a:schemeClr val="bg1"/>
                </a:solidFill>
                <a:latin typeface="Poppins"/>
                <a:ea typeface="Calibri" panose="020F0502020204030204" pitchFamily="34" charset="0"/>
                <a:cs typeface="Times New Roman" panose="02020603050405020304" pitchFamily="18" charset="0"/>
              </a:rPr>
              <a:t>Market position, customer demographics, over all performance in the beauty industry</a:t>
            </a:r>
          </a:p>
          <a:p>
            <a:pPr marL="742950" lvl="1" indent="-285750">
              <a:buFont typeface="Arial" panose="020B0604020202020204" pitchFamily="34" charset="0"/>
              <a:buChar char="•"/>
            </a:pPr>
            <a:r>
              <a:rPr kumimoji="0" lang="en-US" sz="1200" b="0" i="0" u="none" strike="noStrike" kern="100" cap="none" spc="0" normalizeH="0" baseline="0" noProof="0">
                <a:ln>
                  <a:noFill/>
                </a:ln>
                <a:solidFill>
                  <a:schemeClr val="bg1"/>
                </a:solidFill>
                <a:effectLst/>
                <a:uLnTx/>
                <a:uFillTx/>
                <a:latin typeface="Poppins"/>
                <a:ea typeface="Calibri" panose="020F0502020204030204" pitchFamily="34" charset="0"/>
                <a:cs typeface="Times New Roman" panose="02020603050405020304" pitchFamily="18" charset="0"/>
              </a:rPr>
              <a:t>Volume of sales, breakdown by individual retail store/doors </a:t>
            </a:r>
          </a:p>
          <a:p>
            <a:pPr marR="0" lvl="0" algn="l" defTabSz="914400" rtl="0" eaLnBrk="1" fontAlgn="auto" latinLnBrk="0" hangingPunct="1">
              <a:lnSpc>
                <a:spcPct val="100000"/>
              </a:lnSpc>
              <a:spcBef>
                <a:spcPts val="0"/>
              </a:spcBef>
              <a:spcAft>
                <a:spcPts val="0"/>
              </a:spcAft>
              <a:buClrTx/>
              <a:buSzTx/>
              <a:tabLst/>
              <a:defRPr/>
            </a:pPr>
            <a:endParaRPr lang="en-US" sz="1400" b="1" kern="100">
              <a:solidFill>
                <a:schemeClr val="bg1"/>
              </a:solidFill>
              <a:latin typeface="Poppins"/>
              <a:ea typeface="Calibri" panose="020F0502020204030204" pitchFamily="34" charset="0"/>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tabLst/>
              <a:defRPr/>
            </a:pPr>
            <a:endParaRPr lang="en-US" sz="1400" b="1" kern="100">
              <a:solidFill>
                <a:schemeClr val="bg1"/>
              </a:solidFill>
              <a:latin typeface="Poppins"/>
              <a:ea typeface="Calibri" panose="020F0502020204030204" pitchFamily="34" charset="0"/>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tabLst/>
              <a:defRPr/>
            </a:pPr>
            <a:r>
              <a:rPr lang="en-US" sz="1400" b="1" kern="100">
                <a:solidFill>
                  <a:schemeClr val="bg1"/>
                </a:solidFill>
                <a:latin typeface="Poppins"/>
                <a:ea typeface="Calibri" panose="020F0502020204030204" pitchFamily="34" charset="0"/>
                <a:cs typeface="Times New Roman" panose="02020603050405020304" pitchFamily="18" charset="0"/>
              </a:rPr>
              <a:t>Yearly seasonality mapp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00">
                <a:solidFill>
                  <a:schemeClr val="bg1"/>
                </a:solidFill>
                <a:latin typeface="Poppins"/>
                <a:ea typeface="Calibri" panose="020F0502020204030204" pitchFamily="34" charset="0"/>
                <a:cs typeface="Times New Roman" panose="02020603050405020304" pitchFamily="18" charset="0"/>
              </a:rPr>
              <a:t>Comprehensive calendar highlighting of expected sale peaks and troughs based on historical market trends and specific product categor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00">
                <a:solidFill>
                  <a:schemeClr val="bg1"/>
                </a:solidFill>
                <a:latin typeface="Poppins"/>
                <a:ea typeface="Calibri" panose="020F0502020204030204" pitchFamily="34" charset="0"/>
                <a:cs typeface="Times New Roman" panose="02020603050405020304" pitchFamily="18" charset="0"/>
              </a:rPr>
              <a:t>Mapping and recommended plan of marketing activities with key sales periods</a:t>
            </a:r>
          </a:p>
          <a:p>
            <a:pPr lvl="1"/>
            <a:endParaRPr lang="en-US" sz="1200" kern="100">
              <a:solidFill>
                <a:schemeClr val="bg1"/>
              </a:solidFill>
              <a:latin typeface="Poppins"/>
              <a:ea typeface="Calibri" panose="020F0502020204030204" pitchFamily="34" charset="0"/>
              <a:cs typeface="Times New Roman" panose="02020603050405020304" pitchFamily="18" charset="0"/>
            </a:endParaRPr>
          </a:p>
          <a:p>
            <a:pPr lvl="1"/>
            <a:endParaRPr lang="en-US" sz="1200" kern="100">
              <a:solidFill>
                <a:schemeClr val="bg1"/>
              </a:solidFill>
              <a:latin typeface="Poppins"/>
              <a:ea typeface="Calibri" panose="020F0502020204030204" pitchFamily="34" charset="0"/>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tabLst/>
              <a:defRPr/>
            </a:pPr>
            <a:r>
              <a:rPr lang="en-US" sz="1400" b="1" kern="100">
                <a:solidFill>
                  <a:schemeClr val="bg1"/>
                </a:solidFill>
                <a:latin typeface="Poppins"/>
                <a:ea typeface="Calibri" panose="020F0502020204030204" pitchFamily="34" charset="0"/>
                <a:cs typeface="Times New Roman" panose="02020603050405020304" pitchFamily="18" charset="0"/>
              </a:rPr>
              <a:t>Selection of campaigns to be executed by </a:t>
            </a:r>
            <a:r>
              <a:rPr lang="en-US" sz="1400" b="1" kern="100" err="1">
                <a:solidFill>
                  <a:schemeClr val="bg1"/>
                </a:solidFill>
                <a:latin typeface="Poppins"/>
                <a:ea typeface="Calibri" panose="020F0502020204030204" pitchFamily="34" charset="0"/>
                <a:cs typeface="Times New Roman" panose="02020603050405020304" pitchFamily="18" charset="0"/>
              </a:rPr>
              <a:t>Belcorp</a:t>
            </a:r>
            <a:r>
              <a:rPr lang="en-US" sz="1400" b="1" kern="100">
                <a:solidFill>
                  <a:schemeClr val="bg1"/>
                </a:solidFill>
                <a:latin typeface="Poppins"/>
                <a:ea typeface="Calibri" panose="020F0502020204030204" pitchFamily="34" charset="0"/>
                <a:cs typeface="Times New Roman" panose="02020603050405020304" pitchFamily="18"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00">
                <a:solidFill>
                  <a:schemeClr val="bg1"/>
                </a:solidFill>
                <a:latin typeface="Poppins"/>
                <a:ea typeface="Calibri" panose="020F0502020204030204" pitchFamily="34" charset="0"/>
                <a:cs typeface="Times New Roman" panose="02020603050405020304" pitchFamily="18" charset="0"/>
              </a:rPr>
              <a:t>Curated selection of marketing campaigns to be executed by </a:t>
            </a:r>
            <a:r>
              <a:rPr lang="en-US" sz="1200" kern="100" err="1">
                <a:solidFill>
                  <a:schemeClr val="bg1"/>
                </a:solidFill>
                <a:latin typeface="Poppins"/>
                <a:ea typeface="Calibri" panose="020F0502020204030204" pitchFamily="34" charset="0"/>
                <a:cs typeface="Times New Roman" panose="02020603050405020304" pitchFamily="18" charset="0"/>
              </a:rPr>
              <a:t>Belcorp</a:t>
            </a:r>
            <a:endParaRPr lang="en-US" sz="1200" kern="100">
              <a:solidFill>
                <a:schemeClr val="bg1"/>
              </a:solidFill>
              <a:latin typeface="Poppins"/>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00" cap="none" spc="0" normalizeH="0" baseline="0" noProof="0">
                <a:ln>
                  <a:noFill/>
                </a:ln>
                <a:solidFill>
                  <a:schemeClr val="bg1"/>
                </a:solidFill>
                <a:effectLst/>
                <a:uLnTx/>
                <a:uFillTx/>
                <a:latin typeface="Poppins"/>
                <a:ea typeface="Calibri" panose="020F0502020204030204" pitchFamily="34" charset="0"/>
                <a:cs typeface="Times New Roman" panose="02020603050405020304" pitchFamily="18" charset="0"/>
              </a:rPr>
              <a:t>Analysis of</a:t>
            </a:r>
            <a:r>
              <a:rPr lang="en-US" sz="1200" kern="100">
                <a:solidFill>
                  <a:schemeClr val="bg1"/>
                </a:solidFill>
                <a:latin typeface="Poppins"/>
                <a:ea typeface="Calibri" panose="020F0502020204030204" pitchFamily="34" charset="0"/>
                <a:cs typeface="Times New Roman" panose="02020603050405020304" pitchFamily="18" charset="0"/>
              </a:rPr>
              <a:t> selected campaigns based on seasonality and retailer strategies to assure that resources are efficiently allocated</a:t>
            </a:r>
            <a:endParaRPr kumimoji="0" lang="en-US" sz="1200" b="0" i="0" u="none" strike="noStrike" kern="100" cap="none" spc="0" normalizeH="0" baseline="0" noProof="0">
              <a:ln>
                <a:noFill/>
              </a:ln>
              <a:solidFill>
                <a:schemeClr val="bg1"/>
              </a:solidFill>
              <a:effectLst/>
              <a:uLnTx/>
              <a:uFillTx/>
              <a:latin typeface="Poppins"/>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00" cap="none" spc="0" normalizeH="0" baseline="0" noProof="0">
              <a:ln>
                <a:noFill/>
              </a:ln>
              <a:solidFill>
                <a:schemeClr val="bg1"/>
              </a:solidFill>
              <a:effectLst/>
              <a:uLnTx/>
              <a:uFillTx/>
              <a:latin typeface="Poppins"/>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00" cap="none" spc="0" normalizeH="0" baseline="0" noProof="0">
              <a:ln>
                <a:noFill/>
              </a:ln>
              <a:solidFill>
                <a:schemeClr val="bg1"/>
              </a:solidFill>
              <a:effectLst/>
              <a:uLnTx/>
              <a:uFillTx/>
              <a:latin typeface="Poppins"/>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Poppins"/>
              <a:ea typeface="+mn-ea"/>
              <a:cs typeface="+mn-cs"/>
            </a:endParaRPr>
          </a:p>
        </p:txBody>
      </p:sp>
      <p:sp>
        <p:nvSpPr>
          <p:cNvPr id="31" name="Flecha: pentágono 30">
            <a:extLst>
              <a:ext uri="{FF2B5EF4-FFF2-40B4-BE49-F238E27FC236}">
                <a16:creationId xmlns:a16="http://schemas.microsoft.com/office/drawing/2014/main" id="{9A21B61C-0624-D687-A6E9-B0DFB3F40FF4}"/>
              </a:ext>
            </a:extLst>
          </p:cNvPr>
          <p:cNvSpPr/>
          <p:nvPr/>
        </p:nvSpPr>
        <p:spPr>
          <a:xfrm>
            <a:off x="1165294" y="999099"/>
            <a:ext cx="5758330" cy="442920"/>
          </a:xfrm>
          <a:prstGeom prst="homePlate">
            <a:avLst/>
          </a:prstGeom>
          <a:solidFill>
            <a:srgbClr val="442E98"/>
          </a:solidFill>
          <a:ln>
            <a:solidFill>
              <a:srgbClr val="442E9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500" b="1">
                <a:solidFill>
                  <a:srgbClr val="FFFFFF"/>
                </a:solidFill>
                <a:latin typeface="Poppins"/>
              </a:rPr>
              <a:t>Planning Phase</a:t>
            </a:r>
            <a:endParaRPr kumimoji="0" lang="en-US" sz="1500" b="1" i="0" u="none" strike="noStrike" kern="1200" cap="none" spc="0" normalizeH="0" baseline="0">
              <a:ln>
                <a:noFill/>
              </a:ln>
              <a:solidFill>
                <a:srgbClr val="FFFFFF"/>
              </a:solidFill>
              <a:effectLst/>
              <a:uLnTx/>
              <a:uFillTx/>
              <a:latin typeface="Poppins"/>
              <a:ea typeface="+mn-ea"/>
              <a:cs typeface="+mn-cs"/>
            </a:endParaRPr>
          </a:p>
        </p:txBody>
      </p:sp>
      <p:pic>
        <p:nvPicPr>
          <p:cNvPr id="41" name="Imagen 40">
            <a:extLst>
              <a:ext uri="{FF2B5EF4-FFF2-40B4-BE49-F238E27FC236}">
                <a16:creationId xmlns:a16="http://schemas.microsoft.com/office/drawing/2014/main" id="{D3DECCBD-6F20-5F6E-6E15-D36618BD2A4D}"/>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17472" y="2737725"/>
            <a:ext cx="259479" cy="302084"/>
          </a:xfrm>
          <a:prstGeom prst="rect">
            <a:avLst/>
          </a:prstGeom>
        </p:spPr>
      </p:pic>
      <p:pic>
        <p:nvPicPr>
          <p:cNvPr id="23" name="Imagen 22">
            <a:extLst>
              <a:ext uri="{FF2B5EF4-FFF2-40B4-BE49-F238E27FC236}">
                <a16:creationId xmlns:a16="http://schemas.microsoft.com/office/drawing/2014/main" id="{CC0D0119-D873-AD82-BA45-2AF60F648C5B}"/>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28354" y="4027824"/>
            <a:ext cx="259479" cy="302084"/>
          </a:xfrm>
          <a:prstGeom prst="rect">
            <a:avLst/>
          </a:prstGeom>
        </p:spPr>
      </p:pic>
      <p:pic>
        <p:nvPicPr>
          <p:cNvPr id="24" name="Imagen 23">
            <a:extLst>
              <a:ext uri="{FF2B5EF4-FFF2-40B4-BE49-F238E27FC236}">
                <a16:creationId xmlns:a16="http://schemas.microsoft.com/office/drawing/2014/main" id="{AA772E51-8E9E-2C5D-C325-949E194F13C4}"/>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43469" y="5498763"/>
            <a:ext cx="259479" cy="302084"/>
          </a:xfrm>
          <a:prstGeom prst="rect">
            <a:avLst/>
          </a:prstGeom>
        </p:spPr>
      </p:pic>
      <p:pic>
        <p:nvPicPr>
          <p:cNvPr id="3" name="Picture 2" descr="A group of people around a table with laptops&#10;&#10;Description automatically generated">
            <a:extLst>
              <a:ext uri="{FF2B5EF4-FFF2-40B4-BE49-F238E27FC236}">
                <a16:creationId xmlns:a16="http://schemas.microsoft.com/office/drawing/2014/main" id="{B0879FE7-BCC3-596A-CEE4-D4AD532E9C9C}"/>
              </a:ext>
            </a:extLst>
          </p:cNvPr>
          <p:cNvPicPr>
            <a:picLocks noChangeAspect="1"/>
          </p:cNvPicPr>
          <p:nvPr/>
        </p:nvPicPr>
        <p:blipFill>
          <a:blip r:embed="rId4">
            <a:extLst>
              <a:ext uri="{28A0092B-C50C-407E-A947-70E740481C1C}">
                <a14:useLocalDpi xmlns:a14="http://schemas.microsoft.com/office/drawing/2010/main" val="0"/>
              </a:ext>
            </a:extLst>
          </a:blip>
          <a:srcRect b="1635"/>
          <a:stretch/>
        </p:blipFill>
        <p:spPr>
          <a:xfrm>
            <a:off x="7614748" y="-26105"/>
            <a:ext cx="4650824" cy="6884105"/>
          </a:xfrm>
          <a:prstGeom prst="rect">
            <a:avLst/>
          </a:prstGeom>
        </p:spPr>
      </p:pic>
      <p:pic>
        <p:nvPicPr>
          <p:cNvPr id="2" name="Picture 2" descr="Belcorp | Brands of the World™ | Download vector logos and ...">
            <a:extLst>
              <a:ext uri="{FF2B5EF4-FFF2-40B4-BE49-F238E27FC236}">
                <a16:creationId xmlns:a16="http://schemas.microsoft.com/office/drawing/2014/main" id="{45B6DF1A-DC2D-9C47-1F86-AC9A32FA5A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6761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2">
            <a:extLst>
              <a:ext uri="{FF2B5EF4-FFF2-40B4-BE49-F238E27FC236}">
                <a16:creationId xmlns:a16="http://schemas.microsoft.com/office/drawing/2014/main" id="{5A85ABF9-B390-6F35-7C6E-9101991E1B7E}"/>
              </a:ext>
            </a:extLst>
          </p:cNvPr>
          <p:cNvSpPr txBox="1">
            <a:spLocks/>
          </p:cNvSpPr>
          <p:nvPr/>
        </p:nvSpPr>
        <p:spPr>
          <a:xfrm>
            <a:off x="1157701" y="394105"/>
            <a:ext cx="7993358" cy="79883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a:solidFill>
                  <a:srgbClr val="472C9B"/>
                </a:solidFill>
                <a:latin typeface="Poppins"/>
                <a:cs typeface="Poppins Medium" pitchFamily="2" charset="77"/>
              </a:rPr>
              <a:t>Example of Retailer Breakdown</a:t>
            </a:r>
            <a:endParaRPr kumimoji="0" lang="en-US" sz="2000" b="0" i="0" u="none" strike="noStrike" kern="1200" cap="none" spc="0" normalizeH="0" baseline="0" noProof="0">
              <a:ln>
                <a:noFill/>
              </a:ln>
              <a:solidFill>
                <a:srgbClr val="472C9B"/>
              </a:solidFill>
              <a:effectLst/>
              <a:uLnTx/>
              <a:uFillTx/>
              <a:latin typeface="Poppins"/>
              <a:ea typeface="+mj-ea"/>
              <a:cs typeface="Poppins Medium" pitchFamily="2" charset="77"/>
            </a:endParaRPr>
          </a:p>
        </p:txBody>
      </p:sp>
      <p:pic>
        <p:nvPicPr>
          <p:cNvPr id="29" name="Picture 2" descr="Belcorp | Brands of the World™ | Download vector logos and ...">
            <a:extLst>
              <a:ext uri="{FF2B5EF4-FFF2-40B4-BE49-F238E27FC236}">
                <a16:creationId xmlns:a16="http://schemas.microsoft.com/office/drawing/2014/main" id="{DB8868D8-92E7-8523-D0E0-00A108D83F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n 9">
            <a:extLst>
              <a:ext uri="{FF2B5EF4-FFF2-40B4-BE49-F238E27FC236}">
                <a16:creationId xmlns:a16="http://schemas.microsoft.com/office/drawing/2014/main" id="{098C73C3-C83A-4BB3-04BC-0F37019EC32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0706" y="1971527"/>
            <a:ext cx="5450659" cy="2926942"/>
          </a:xfrm>
          <a:prstGeom prst="rect">
            <a:avLst/>
          </a:prstGeom>
        </p:spPr>
      </p:pic>
      <p:pic>
        <p:nvPicPr>
          <p:cNvPr id="20" name="Imagen 19">
            <a:extLst>
              <a:ext uri="{FF2B5EF4-FFF2-40B4-BE49-F238E27FC236}">
                <a16:creationId xmlns:a16="http://schemas.microsoft.com/office/drawing/2014/main" id="{C409DEB6-8698-9206-3BA7-F4A6F16D1F9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544412" y="3777635"/>
            <a:ext cx="5429875" cy="2928785"/>
          </a:xfrm>
          <a:prstGeom prst="rect">
            <a:avLst/>
          </a:prstGeom>
        </p:spPr>
      </p:pic>
      <p:pic>
        <p:nvPicPr>
          <p:cNvPr id="23" name="Imagen 22">
            <a:extLst>
              <a:ext uri="{FF2B5EF4-FFF2-40B4-BE49-F238E27FC236}">
                <a16:creationId xmlns:a16="http://schemas.microsoft.com/office/drawing/2014/main" id="{E9600898-46F4-30C9-3800-AFABB141DB3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642486" y="618144"/>
            <a:ext cx="5450659" cy="2982525"/>
          </a:xfrm>
          <a:prstGeom prst="rect">
            <a:avLst/>
          </a:prstGeom>
        </p:spPr>
      </p:pic>
    </p:spTree>
    <p:extLst>
      <p:ext uri="{BB962C8B-B14F-4D97-AF65-F5344CB8AC3E}">
        <p14:creationId xmlns:p14="http://schemas.microsoft.com/office/powerpoint/2010/main" val="2441489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esquinas redondeadas 2">
            <a:extLst>
              <a:ext uri="{FF2B5EF4-FFF2-40B4-BE49-F238E27FC236}">
                <a16:creationId xmlns:a16="http://schemas.microsoft.com/office/drawing/2014/main" id="{F8103641-49D7-748B-C957-279D358CCC1A}"/>
              </a:ext>
            </a:extLst>
          </p:cNvPr>
          <p:cNvSpPr/>
          <p:nvPr/>
        </p:nvSpPr>
        <p:spPr>
          <a:xfrm>
            <a:off x="1632857" y="968829"/>
            <a:ext cx="9252857" cy="5617028"/>
          </a:xfrm>
          <a:prstGeom prst="roundRect">
            <a:avLst/>
          </a:prstGeom>
          <a:solidFill>
            <a:srgbClr val="442E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9" name="Picture 2" descr="Belcorp | Brands of the World™ | Download vector logos and ...">
            <a:extLst>
              <a:ext uri="{FF2B5EF4-FFF2-40B4-BE49-F238E27FC236}">
                <a16:creationId xmlns:a16="http://schemas.microsoft.com/office/drawing/2014/main" id="{DB8868D8-92E7-8523-D0E0-00A108D83F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55" y="340656"/>
            <a:ext cx="498179" cy="498179"/>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2">
            <a:extLst>
              <a:ext uri="{FF2B5EF4-FFF2-40B4-BE49-F238E27FC236}">
                <a16:creationId xmlns:a16="http://schemas.microsoft.com/office/drawing/2014/main" id="{C2E08C40-23A0-0027-0D4A-840BE3881E59}"/>
              </a:ext>
            </a:extLst>
          </p:cNvPr>
          <p:cNvSpPr txBox="1">
            <a:spLocks/>
          </p:cNvSpPr>
          <p:nvPr/>
        </p:nvSpPr>
        <p:spPr>
          <a:xfrm>
            <a:off x="1157701" y="394105"/>
            <a:ext cx="7993358" cy="79883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a:solidFill>
                  <a:srgbClr val="472C9B"/>
                </a:solidFill>
                <a:latin typeface="Poppins"/>
                <a:cs typeface="Poppins Medium" pitchFamily="2" charset="77"/>
              </a:rPr>
              <a:t>Example of Seasonality Mapping</a:t>
            </a:r>
            <a:endParaRPr kumimoji="0" lang="en-US" sz="2000" b="0" i="0" u="none" strike="noStrike" kern="1200" cap="none" spc="0" normalizeH="0" baseline="0" noProof="0">
              <a:ln>
                <a:noFill/>
              </a:ln>
              <a:solidFill>
                <a:srgbClr val="472C9B"/>
              </a:solidFill>
              <a:effectLst/>
              <a:uLnTx/>
              <a:uFillTx/>
              <a:latin typeface="Poppins"/>
              <a:ea typeface="+mj-ea"/>
              <a:cs typeface="Poppins Medium" pitchFamily="2" charset="77"/>
            </a:endParaRPr>
          </a:p>
        </p:txBody>
      </p:sp>
      <p:pic>
        <p:nvPicPr>
          <p:cNvPr id="8" name="Imagen 7">
            <a:extLst>
              <a:ext uri="{FF2B5EF4-FFF2-40B4-BE49-F238E27FC236}">
                <a16:creationId xmlns:a16="http://schemas.microsoft.com/office/drawing/2014/main" id="{4D84789B-36D2-900E-08E9-C2EE429E13E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100131" y="1387733"/>
            <a:ext cx="8318308" cy="4779219"/>
          </a:xfrm>
          <a:prstGeom prst="rect">
            <a:avLst/>
          </a:prstGeom>
        </p:spPr>
      </p:pic>
    </p:spTree>
    <p:extLst>
      <p:ext uri="{BB962C8B-B14F-4D97-AF65-F5344CB8AC3E}">
        <p14:creationId xmlns:p14="http://schemas.microsoft.com/office/powerpoint/2010/main" val="1185356957"/>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1">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a1" id="{BBA5F1E4-660C-8B45-93A8-13D2E98F1FFD}" vid="{14DF4494-1080-5E41-9615-35D81F3A2EA1}"/>
    </a:ext>
  </a:extLst>
</a:theme>
</file>

<file path=ppt/theme/theme10.xml><?xml version="1.0" encoding="utf-8"?>
<a:theme xmlns:a="http://schemas.openxmlformats.org/drawingml/2006/main" name="6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11.xml><?xml version="1.0" encoding="utf-8"?>
<a:theme xmlns:a="http://schemas.openxmlformats.org/drawingml/2006/main" name="7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12.xml><?xml version="1.0" encoding="utf-8"?>
<a:theme xmlns:a="http://schemas.openxmlformats.org/drawingml/2006/main" name="8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1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3.xml><?xml version="1.0" encoding="utf-8"?>
<a:theme xmlns:a="http://schemas.openxmlformats.org/drawingml/2006/main" name="1_MasterFormat">
  <a:themeElements>
    <a:clrScheme name="Personalizados 2">
      <a:dk1>
        <a:srgbClr val="545354"/>
      </a:dk1>
      <a:lt1>
        <a:srgbClr val="FFFFFF"/>
      </a:lt1>
      <a:dk2>
        <a:srgbClr val="B2B2B2"/>
      </a:dk2>
      <a:lt2>
        <a:srgbClr val="F2F3F2"/>
      </a:lt2>
      <a:accent1>
        <a:srgbClr val="B6A7D3"/>
      </a:accent1>
      <a:accent2>
        <a:srgbClr val="8E8BD0"/>
      </a:accent2>
      <a:accent3>
        <a:srgbClr val="8E7FFE"/>
      </a:accent3>
      <a:accent4>
        <a:srgbClr val="442E8E"/>
      </a:accent4>
      <a:accent5>
        <a:srgbClr val="2D254E"/>
      </a:accent5>
      <a:accent6>
        <a:srgbClr val="271B53"/>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4.xml><?xml version="1.0" encoding="utf-8"?>
<a:theme xmlns:a="http://schemas.openxmlformats.org/drawingml/2006/main" name="2_MasterFormat">
  <a:themeElements>
    <a:clrScheme name="Personalizados 2">
      <a:dk1>
        <a:srgbClr val="545354"/>
      </a:dk1>
      <a:lt1>
        <a:srgbClr val="FFFFFF"/>
      </a:lt1>
      <a:dk2>
        <a:srgbClr val="B2B2B2"/>
      </a:dk2>
      <a:lt2>
        <a:srgbClr val="F2F3F2"/>
      </a:lt2>
      <a:accent1>
        <a:srgbClr val="B6A7D3"/>
      </a:accent1>
      <a:accent2>
        <a:srgbClr val="8E8BD0"/>
      </a:accent2>
      <a:accent3>
        <a:srgbClr val="8E7FFE"/>
      </a:accent3>
      <a:accent4>
        <a:srgbClr val="442E8E"/>
      </a:accent4>
      <a:accent5>
        <a:srgbClr val="2D254E"/>
      </a:accent5>
      <a:accent6>
        <a:srgbClr val="271B53"/>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5.xml><?xml version="1.0" encoding="utf-8"?>
<a:theme xmlns:a="http://schemas.openxmlformats.org/drawingml/2006/main" name="3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6.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ppt/theme/theme8.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5_MasterFormat">
  <a:themeElements>
    <a:clrScheme name="Personalizados 2">
      <a:dk1>
        <a:srgbClr val="545354"/>
      </a:dk1>
      <a:lt1>
        <a:srgbClr val="FFFFFF"/>
      </a:lt1>
      <a:dk2>
        <a:srgbClr val="B2B2B2"/>
      </a:dk2>
      <a:lt2>
        <a:srgbClr val="F2F3F2"/>
      </a:lt2>
      <a:accent1>
        <a:srgbClr val="B6A7D3"/>
      </a:accent1>
      <a:accent2>
        <a:srgbClr val="83579E"/>
      </a:accent2>
      <a:accent3>
        <a:srgbClr val="8D80FF"/>
      </a:accent3>
      <a:accent4>
        <a:srgbClr val="442E98"/>
      </a:accent4>
      <a:accent5>
        <a:srgbClr val="A6A5AD"/>
      </a:accent5>
      <a:accent6>
        <a:srgbClr val="2C264F"/>
      </a:accent6>
      <a:hlink>
        <a:srgbClr val="0166AF"/>
      </a:hlink>
      <a:folHlink>
        <a:srgbClr val="213F96"/>
      </a:folHlink>
    </a:clrScheme>
    <a:fontScheme name="Personalizado 2">
      <a:majorFont>
        <a:latin typeface="Poppins"/>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ota-MK-Template" id="{41F922A7-95CB-4462-87A1-D47DA56DDE61}" vid="{CCC09719-98FF-4BCC-81F9-A2D5EE8BC9C4}"/>
    </a:ext>
  </a:extLst>
</a:theme>
</file>

<file path=docProps/app.xml><?xml version="1.0" encoding="utf-8"?>
<Properties xmlns="http://schemas.openxmlformats.org/officeDocument/2006/extended-properties" xmlns:vt="http://schemas.openxmlformats.org/officeDocument/2006/docPropsVTypes">
  <TotalTime>2</TotalTime>
  <Words>2198</Words>
  <Application>Microsoft Office PowerPoint</Application>
  <PresentationFormat>Widescreen</PresentationFormat>
  <Paragraphs>387</Paragraphs>
  <Slides>30</Slides>
  <Notes>2</Notes>
  <HiddenSlides>0</HiddenSlides>
  <MMClips>0</MMClips>
  <ScaleCrop>false</ScaleCrop>
  <HeadingPairs>
    <vt:vector size="4" baseType="variant">
      <vt:variant>
        <vt:lpstr>Theme</vt:lpstr>
      </vt:variant>
      <vt:variant>
        <vt:i4>12</vt:i4>
      </vt:variant>
      <vt:variant>
        <vt:lpstr>Slide Titles</vt:lpstr>
      </vt:variant>
      <vt:variant>
        <vt:i4>30</vt:i4>
      </vt:variant>
    </vt:vector>
  </HeadingPairs>
  <TitlesOfParts>
    <vt:vector size="42" baseType="lpstr">
      <vt:lpstr>Tema1</vt:lpstr>
      <vt:lpstr>MasterFormat</vt:lpstr>
      <vt:lpstr>1_MasterFormat</vt:lpstr>
      <vt:lpstr>2_MasterFormat</vt:lpstr>
      <vt:lpstr>3_MasterFormat</vt:lpstr>
      <vt:lpstr>1_Tema de Office</vt:lpstr>
      <vt:lpstr>4_MasterFormat</vt:lpstr>
      <vt:lpstr>Tema de Office</vt:lpstr>
      <vt:lpstr>5_MasterFormat</vt:lpstr>
      <vt:lpstr>6_MasterFormat</vt:lpstr>
      <vt:lpstr>7_MasterFormat</vt:lpstr>
      <vt:lpstr>8_MasterFormat</vt:lpstr>
      <vt:lpstr>PowerPoint Presentation</vt:lpstr>
      <vt:lpstr>PowerPoint Presentation</vt:lpstr>
      <vt:lpstr>01</vt:lpstr>
      <vt:lpstr>The Challenge:  Secure successful US market entry and retailer understanding with Advanced Data Analytics</vt:lpstr>
      <vt:lpstr>PowerPoint Presentation</vt:lpstr>
      <vt:lpstr>PowerPoint Presentation</vt:lpstr>
      <vt:lpstr> Methodology</vt:lpstr>
      <vt:lpstr>PowerPoint Presentation</vt:lpstr>
      <vt:lpstr>PowerPoint Presentation</vt:lpstr>
      <vt:lpstr>PowerPoint Presentation</vt:lpstr>
      <vt:lpstr> Methodology</vt:lpstr>
      <vt:lpstr>PowerPoint Presentation</vt:lpstr>
      <vt:lpstr>Example MMM: Summary of campaign performance – with contribution margin</vt:lpstr>
      <vt:lpstr>Variables included in the sales attribution model 2%</vt:lpstr>
      <vt:lpstr>PowerPoint Presentation</vt:lpstr>
      <vt:lpstr>PowerPoint Presentation</vt:lpstr>
      <vt:lpstr>PowerPoint Presentation</vt:lpstr>
      <vt:lpstr>Team</vt:lpstr>
      <vt:lpstr>Directores de Proyecto</vt:lpstr>
      <vt:lpstr>Proposed Timeline for the Planning Exercise:</vt:lpstr>
      <vt:lpstr>PowerPoint Presentation</vt:lpstr>
      <vt:lpstr>PowerPoint Presentation</vt:lpstr>
      <vt:lpstr>IOTA Impact</vt:lpstr>
      <vt:lpstr>The IOTA Difference.</vt:lpstr>
      <vt:lpstr>Strategic Agility, Enhanced Growth Our expertise lies in analyzing data, but also in gathering it fast, empowering us to make informed decisions faster, driving superior results.</vt:lpstr>
      <vt:lpstr>Intentional AI Automation, Enhanced by Human Insight</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na Duran</dc:creator>
  <cp:lastModifiedBy>Ana Duran</cp:lastModifiedBy>
  <cp:revision>4</cp:revision>
  <dcterms:created xsi:type="dcterms:W3CDTF">2024-09-24T21:02:19Z</dcterms:created>
  <dcterms:modified xsi:type="dcterms:W3CDTF">2024-11-27T14:57:00Z</dcterms:modified>
</cp:coreProperties>
</file>